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9.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 id="2147483685" r:id="rId6"/>
    <p:sldMasterId id="2147483762" r:id="rId7"/>
  </p:sldMasterIdLst>
  <p:notesMasterIdLst>
    <p:notesMasterId r:id="rId44"/>
  </p:notesMasterIdLst>
  <p:sldIdLst>
    <p:sldId id="286" r:id="rId8"/>
    <p:sldId id="2147478651" r:id="rId9"/>
    <p:sldId id="289" r:id="rId10"/>
    <p:sldId id="259" r:id="rId11"/>
    <p:sldId id="2147483610" r:id="rId12"/>
    <p:sldId id="2147483506" r:id="rId13"/>
    <p:sldId id="258" r:id="rId14"/>
    <p:sldId id="257" r:id="rId15"/>
    <p:sldId id="256" r:id="rId16"/>
    <p:sldId id="2147478638" r:id="rId17"/>
    <p:sldId id="2147478654" r:id="rId18"/>
    <p:sldId id="2147478627" r:id="rId19"/>
    <p:sldId id="2147481422" r:id="rId20"/>
    <p:sldId id="2147483502" r:id="rId21"/>
    <p:sldId id="274" r:id="rId22"/>
    <p:sldId id="2147483647" r:id="rId23"/>
    <p:sldId id="267" r:id="rId24"/>
    <p:sldId id="268" r:id="rId25"/>
    <p:sldId id="307" r:id="rId26"/>
    <p:sldId id="308" r:id="rId27"/>
    <p:sldId id="309" r:id="rId28"/>
    <p:sldId id="306" r:id="rId29"/>
    <p:sldId id="310" r:id="rId30"/>
    <p:sldId id="2147483629" r:id="rId31"/>
    <p:sldId id="260" r:id="rId32"/>
    <p:sldId id="263" r:id="rId33"/>
    <p:sldId id="265" r:id="rId34"/>
    <p:sldId id="304" r:id="rId35"/>
    <p:sldId id="262" r:id="rId36"/>
    <p:sldId id="261" r:id="rId37"/>
    <p:sldId id="275" r:id="rId38"/>
    <p:sldId id="2147478646" r:id="rId39"/>
    <p:sldId id="2147483609" r:id="rId40"/>
    <p:sldId id="2147483608" r:id="rId41"/>
    <p:sldId id="280" r:id="rId42"/>
    <p:sldId id="2147483645" r:id="rId43"/>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E42B694-3B95-43C9-97B9-36990BA752A3}" v="399" dt="2025-12-03T10:05:44.604"/>
    <p1510:client id="{2F0B4127-EAAA-4E1B-9489-BF9CFBEBC9AA}" v="22" dt="2025-12-02T20:16:28.595"/>
    <p1510:client id="{787E4A1E-3D27-4FD7-9167-27CB54331D58}" v="80" dt="2025-12-03T10:02:09.87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6247" autoAdjust="0"/>
  </p:normalViewPr>
  <p:slideViewPr>
    <p:cSldViewPr snapToGrid="0">
      <p:cViewPr varScale="1">
        <p:scale>
          <a:sx n="153" d="100"/>
          <a:sy n="153" d="100"/>
        </p:scale>
        <p:origin x="120" y="-324"/>
      </p:cViewPr>
      <p:guideLst/>
    </p:cSldViewPr>
  </p:slideViewPr>
  <p:notesTextViewPr>
    <p:cViewPr>
      <p:scale>
        <a:sx n="200" d="100"/>
        <a:sy n="2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3734852694476771"/>
          <c:y val="5.0221294443978215E-2"/>
          <c:w val="0.58482447154874018"/>
          <c:h val="0.87723683580360878"/>
        </c:manualLayout>
      </c:layout>
      <c:doughnutChart>
        <c:varyColors val="1"/>
        <c:ser>
          <c:idx val="0"/>
          <c:order val="0"/>
          <c:tx>
            <c:strRef>
              <c:f>Hoja1!$B$1</c:f>
              <c:strCache>
                <c:ptCount val="1"/>
                <c:pt idx="0">
                  <c:v>Ventas</c:v>
                </c:pt>
              </c:strCache>
            </c:strRef>
          </c:tx>
          <c:dPt>
            <c:idx val="0"/>
            <c:bubble3D val="0"/>
            <c:spPr>
              <a:solidFill>
                <a:srgbClr val="23779A"/>
              </a:solidFill>
              <a:ln w="19050">
                <a:solidFill>
                  <a:schemeClr val="lt1"/>
                </a:solidFill>
              </a:ln>
              <a:effectLst/>
            </c:spPr>
            <c:extLst>
              <c:ext xmlns:c16="http://schemas.microsoft.com/office/drawing/2014/chart" uri="{C3380CC4-5D6E-409C-BE32-E72D297353CC}">
                <c16:uniqueId val="{00000001-8652-4566-B2FD-4D15FA212A9D}"/>
              </c:ext>
            </c:extLst>
          </c:dPt>
          <c:dPt>
            <c:idx val="1"/>
            <c:bubble3D val="0"/>
            <c:spPr>
              <a:solidFill>
                <a:srgbClr val="579CB7"/>
              </a:solidFill>
              <a:ln w="19050">
                <a:solidFill>
                  <a:schemeClr val="lt1"/>
                </a:solidFill>
              </a:ln>
              <a:effectLst/>
            </c:spPr>
            <c:extLst>
              <c:ext xmlns:c16="http://schemas.microsoft.com/office/drawing/2014/chart" uri="{C3380CC4-5D6E-409C-BE32-E72D297353CC}">
                <c16:uniqueId val="{00000003-8652-4566-B2FD-4D15FA212A9D}"/>
              </c:ext>
            </c:extLst>
          </c:dPt>
          <c:dPt>
            <c:idx val="2"/>
            <c:bubble3D val="0"/>
            <c:spPr>
              <a:solidFill>
                <a:srgbClr val="579CB7">
                  <a:alpha val="60000"/>
                </a:srgbClr>
              </a:solidFill>
              <a:ln w="19050">
                <a:solidFill>
                  <a:schemeClr val="lt1"/>
                </a:solidFill>
              </a:ln>
              <a:effectLst/>
            </c:spPr>
            <c:extLst>
              <c:ext xmlns:c16="http://schemas.microsoft.com/office/drawing/2014/chart" uri="{C3380CC4-5D6E-409C-BE32-E72D297353CC}">
                <c16:uniqueId val="{00000005-8652-4566-B2FD-4D15FA212A9D}"/>
              </c:ext>
            </c:extLst>
          </c:dPt>
          <c:dPt>
            <c:idx val="3"/>
            <c:bubble3D val="0"/>
            <c:spPr>
              <a:solidFill>
                <a:srgbClr val="9F9084"/>
              </a:solidFill>
              <a:ln w="19050">
                <a:noFill/>
              </a:ln>
              <a:effectLst/>
            </c:spPr>
            <c:extLst>
              <c:ext xmlns:c16="http://schemas.microsoft.com/office/drawing/2014/chart" uri="{C3380CC4-5D6E-409C-BE32-E72D297353CC}">
                <c16:uniqueId val="{00000007-8652-4566-B2FD-4D15FA212A9D}"/>
              </c:ext>
            </c:extLst>
          </c:dPt>
          <c:cat>
            <c:strRef>
              <c:f>Hoja1!$A$2:$A$5</c:f>
              <c:strCache>
                <c:ptCount val="4"/>
                <c:pt idx="0">
                  <c:v>1er trim.</c:v>
                </c:pt>
                <c:pt idx="1">
                  <c:v>25</c:v>
                </c:pt>
                <c:pt idx="2">
                  <c:v>25</c:v>
                </c:pt>
                <c:pt idx="3">
                  <c:v>2</c:v>
                </c:pt>
              </c:strCache>
            </c:strRef>
          </c:cat>
          <c:val>
            <c:numRef>
              <c:f>Hoja1!$B$2:$B$5</c:f>
              <c:numCache>
                <c:formatCode>General</c:formatCode>
                <c:ptCount val="4"/>
                <c:pt idx="0">
                  <c:v>25</c:v>
                </c:pt>
                <c:pt idx="1">
                  <c:v>25</c:v>
                </c:pt>
                <c:pt idx="2">
                  <c:v>25</c:v>
                </c:pt>
                <c:pt idx="3">
                  <c:v>25</c:v>
                </c:pt>
              </c:numCache>
            </c:numRef>
          </c:val>
          <c:extLst>
            <c:ext xmlns:c16="http://schemas.microsoft.com/office/drawing/2014/chart" uri="{C3380CC4-5D6E-409C-BE32-E72D297353CC}">
              <c16:uniqueId val="{00000008-8652-4566-B2FD-4D15FA212A9D}"/>
            </c:ext>
          </c:extLst>
        </c:ser>
        <c:dLbls>
          <c:showLegendKey val="0"/>
          <c:showVal val="0"/>
          <c:showCatName val="0"/>
          <c:showSerName val="0"/>
          <c:showPercent val="0"/>
          <c:showBubbleSize val="0"/>
          <c:showLeaderLines val="1"/>
        </c:dLbls>
        <c:firstSliceAng val="0"/>
        <c:holeSize val="69"/>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15C85B0-59B6-43CD-950B-8B598A24DF10}" type="datetimeFigureOut">
              <a:rPr lang="es-ES" smtClean="0"/>
              <a:t>03/12/2025</a:t>
            </a:fld>
            <a:endParaRPr lang="es-E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6C6A01-3FEF-48B2-82AD-AE05E3968B1B}" type="slidenum">
              <a:rPr lang="es-ES" smtClean="0"/>
              <a:t>‹#›</a:t>
            </a:fld>
            <a:endParaRPr lang="es-ES"/>
          </a:p>
        </p:txBody>
      </p:sp>
    </p:spTree>
    <p:extLst>
      <p:ext uri="{BB962C8B-B14F-4D97-AF65-F5344CB8AC3E}">
        <p14:creationId xmlns:p14="http://schemas.microsoft.com/office/powerpoint/2010/main" val="30990614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1563F4-6EC2-08D7-24ED-896421B9EE0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D87CAAE-6F7A-22C4-B00B-B21BB426F532}"/>
              </a:ext>
            </a:extLst>
          </p:cNvPr>
          <p:cNvSpPr>
            <a:spLocks noGrp="1" noRot="1" noChangeAspect="1"/>
          </p:cNvSpPr>
          <p:nvPr>
            <p:ph type="sldImg"/>
          </p:nvPr>
        </p:nvSpPr>
        <p:spPr/>
        <p:txBody>
          <a:bodyPr/>
          <a:lstStyle/>
          <a:p>
            <a:endParaRPr lang="en-US"/>
          </a:p>
        </p:txBody>
      </p:sp>
      <p:sp>
        <p:nvSpPr>
          <p:cNvPr id="3" name="Marcador de notas 2">
            <a:extLst>
              <a:ext uri="{FF2B5EF4-FFF2-40B4-BE49-F238E27FC236}">
                <a16:creationId xmlns:a16="http://schemas.microsoft.com/office/drawing/2014/main" id="{6A69AFC7-953A-9EEE-EF34-8F04488C465C}"/>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5A7CAB0E-3725-7110-7B21-FCDF854F67D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A44FE5-4F21-439E-90AB-8CF098BEFB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96833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B95F0-1D0B-62C0-3FE3-A8808E62093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22EB5EE3-5C6F-C3B9-2A8D-97E5D7E893DD}"/>
              </a:ext>
            </a:extLst>
          </p:cNvPr>
          <p:cNvSpPr>
            <a:spLocks noGrp="1" noRot="1" noChangeAspect="1"/>
          </p:cNvSpPr>
          <p:nvPr>
            <p:ph type="sldImg"/>
          </p:nvPr>
        </p:nvSpPr>
        <p:spPr/>
        <p:txBody>
          <a:bodyPr/>
          <a:lstStyle/>
          <a:p>
            <a:endParaRPr lang="en-US"/>
          </a:p>
        </p:txBody>
      </p:sp>
      <p:sp>
        <p:nvSpPr>
          <p:cNvPr id="3" name="Marcador de notas 2">
            <a:extLst>
              <a:ext uri="{FF2B5EF4-FFF2-40B4-BE49-F238E27FC236}">
                <a16:creationId xmlns:a16="http://schemas.microsoft.com/office/drawing/2014/main" id="{0C979906-86B2-05B7-1210-78850FF8ECBC}"/>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0208B256-C7E9-6308-873E-E078824D064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99A9D5-E41E-4234-B9D6-0E62D63F75A6}" type="slidenum">
              <a:rPr kumimoji="0" lang="es-E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s-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858825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57514A-2D14-6EA7-C976-DB37B6D5810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D56E207-8467-E027-7E1F-AA8A47257A01}"/>
              </a:ext>
            </a:extLst>
          </p:cNvPr>
          <p:cNvSpPr>
            <a:spLocks noGrp="1" noRot="1" noChangeAspect="1"/>
          </p:cNvSpPr>
          <p:nvPr>
            <p:ph type="sldImg"/>
          </p:nvPr>
        </p:nvSpPr>
        <p:spPr/>
        <p:txBody>
          <a:bodyPr/>
          <a:lstStyle/>
          <a:p>
            <a:endParaRPr lang="en-US"/>
          </a:p>
        </p:txBody>
      </p:sp>
      <p:sp>
        <p:nvSpPr>
          <p:cNvPr id="3" name="Marcador de notas 2">
            <a:extLst>
              <a:ext uri="{FF2B5EF4-FFF2-40B4-BE49-F238E27FC236}">
                <a16:creationId xmlns:a16="http://schemas.microsoft.com/office/drawing/2014/main" id="{DB670C22-2A7A-0FBA-F8D0-5FA89F170634}"/>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7DD5F0B7-B082-CA36-5B2B-F16A186C720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99A9D5-E41E-4234-B9D6-0E62D63F75A6}" type="slidenum">
              <a:rPr kumimoji="0" lang="es-E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s-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760773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AC99A9D5-E41E-4234-B9D6-0E62D63F75A6}" type="slidenum">
              <a:rPr lang="es-ES" smtClean="0"/>
              <a:t>33</a:t>
            </a:fld>
            <a:endParaRPr lang="es-ES"/>
          </a:p>
        </p:txBody>
      </p:sp>
    </p:spTree>
    <p:extLst>
      <p:ext uri="{BB962C8B-B14F-4D97-AF65-F5344CB8AC3E}">
        <p14:creationId xmlns:p14="http://schemas.microsoft.com/office/powerpoint/2010/main" val="12597349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E38B0F-A9FD-85E3-F9A7-286037B4913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2212ED8-87A5-7B15-FCF2-D43572FBA86C}"/>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A2D53F8-3955-B6F3-3BDB-F7DFD3E73FCC}"/>
              </a:ext>
            </a:extLst>
          </p:cNvPr>
          <p:cNvSpPr>
            <a:spLocks noGrp="1"/>
          </p:cNvSpPr>
          <p:nvPr>
            <p:ph type="body" idx="1"/>
          </p:nvPr>
        </p:nvSpPr>
        <p:spPr/>
        <p:txBody>
          <a:bodyPr/>
          <a:lstStyle/>
          <a:p>
            <a:r>
              <a:rPr lang="es-ES" err="1"/>
              <a:t>Reflexion</a:t>
            </a:r>
            <a:r>
              <a:rPr lang="es-ES"/>
              <a:t>&gt; Punto de autoevaluación</a:t>
            </a:r>
          </a:p>
        </p:txBody>
      </p:sp>
      <p:sp>
        <p:nvSpPr>
          <p:cNvPr id="4" name="Marcador de número de diapositiva 3">
            <a:extLst>
              <a:ext uri="{FF2B5EF4-FFF2-40B4-BE49-F238E27FC236}">
                <a16:creationId xmlns:a16="http://schemas.microsoft.com/office/drawing/2014/main" id="{36D45C70-9039-8B7B-0D8D-780F4F6C9918}"/>
              </a:ext>
            </a:extLst>
          </p:cNvPr>
          <p:cNvSpPr>
            <a:spLocks noGrp="1"/>
          </p:cNvSpPr>
          <p:nvPr>
            <p:ph type="sldNum" sz="quarter" idx="5"/>
          </p:nvPr>
        </p:nvSpPr>
        <p:spPr/>
        <p:txBody>
          <a:bodyPr/>
          <a:lstStyle/>
          <a:p>
            <a:fld id="{289590D7-3EA4-4038-AC5D-2999D462DD31}" type="slidenum">
              <a:rPr lang="es-ES" smtClean="0"/>
              <a:t>34</a:t>
            </a:fld>
            <a:endParaRPr lang="es-ES"/>
          </a:p>
        </p:txBody>
      </p:sp>
    </p:spTree>
    <p:extLst>
      <p:ext uri="{BB962C8B-B14F-4D97-AF65-F5344CB8AC3E}">
        <p14:creationId xmlns:p14="http://schemas.microsoft.com/office/powerpoint/2010/main" val="40612581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D93815-C4D9-108C-9D4C-58C203B55BE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74C7FEC-8627-F595-D99F-E6B293D205D9}"/>
              </a:ext>
            </a:extLst>
          </p:cNvPr>
          <p:cNvSpPr>
            <a:spLocks noGrp="1" noRot="1" noChangeAspect="1"/>
          </p:cNvSpPr>
          <p:nvPr>
            <p:ph type="sldImg"/>
          </p:nvPr>
        </p:nvSpPr>
        <p:spPr/>
        <p:txBody>
          <a:bodyPr/>
          <a:lstStyle/>
          <a:p>
            <a:endParaRPr lang="en-US"/>
          </a:p>
        </p:txBody>
      </p:sp>
      <p:sp>
        <p:nvSpPr>
          <p:cNvPr id="3" name="Marcador de notas 2">
            <a:extLst>
              <a:ext uri="{FF2B5EF4-FFF2-40B4-BE49-F238E27FC236}">
                <a16:creationId xmlns:a16="http://schemas.microsoft.com/office/drawing/2014/main" id="{7B6E548E-D5BD-93D2-D016-01A01A145D02}"/>
              </a:ext>
            </a:extLst>
          </p:cNvPr>
          <p:cNvSpPr>
            <a:spLocks noGrp="1"/>
          </p:cNvSpPr>
          <p:nvPr>
            <p:ph type="body" idx="1"/>
          </p:nvPr>
        </p:nvSpPr>
        <p:spPr/>
        <p:txBody>
          <a:bodyPr/>
          <a:lstStyle/>
          <a:p>
            <a:r>
              <a:rPr lang="es-ES" err="1"/>
              <a:t>Reflexion</a:t>
            </a:r>
            <a:r>
              <a:rPr lang="es-ES"/>
              <a:t>&gt; Punto de autoevaluación</a:t>
            </a:r>
          </a:p>
        </p:txBody>
      </p:sp>
      <p:sp>
        <p:nvSpPr>
          <p:cNvPr id="4" name="Marcador de número de diapositiva 3">
            <a:extLst>
              <a:ext uri="{FF2B5EF4-FFF2-40B4-BE49-F238E27FC236}">
                <a16:creationId xmlns:a16="http://schemas.microsoft.com/office/drawing/2014/main" id="{49E403C2-41F1-8E40-2C25-7A36936953BF}"/>
              </a:ext>
            </a:extLst>
          </p:cNvPr>
          <p:cNvSpPr>
            <a:spLocks noGrp="1"/>
          </p:cNvSpPr>
          <p:nvPr>
            <p:ph type="sldNum" sz="quarter" idx="5"/>
          </p:nvPr>
        </p:nvSpPr>
        <p:spPr/>
        <p:txBody>
          <a:bodyPr/>
          <a:lstStyle/>
          <a:p>
            <a:fld id="{289590D7-3EA4-4038-AC5D-2999D462DD31}" type="slidenum">
              <a:rPr lang="es-ES" smtClean="0"/>
              <a:t>35</a:t>
            </a:fld>
            <a:endParaRPr lang="es-ES"/>
          </a:p>
        </p:txBody>
      </p:sp>
    </p:spTree>
    <p:extLst>
      <p:ext uri="{BB962C8B-B14F-4D97-AF65-F5344CB8AC3E}">
        <p14:creationId xmlns:p14="http://schemas.microsoft.com/office/powerpoint/2010/main" val="11288257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1D5FBB-6D0C-1338-B819-6185244739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1D907E-A914-AD23-C241-8D60ABA796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7AA238-A5B4-EABD-1377-4954ED830F1F}"/>
              </a:ext>
            </a:extLst>
          </p:cNvPr>
          <p:cNvSpPr>
            <a:spLocks noGrp="1"/>
          </p:cNvSpPr>
          <p:nvPr>
            <p:ph type="body" idx="1"/>
          </p:nvPr>
        </p:nvSpPr>
        <p:spPr/>
        <p:txBody>
          <a:bodyPr/>
          <a:lstStyle/>
          <a:p>
            <a:endParaRPr lang="es-ES_tradnl"/>
          </a:p>
        </p:txBody>
      </p:sp>
      <p:sp>
        <p:nvSpPr>
          <p:cNvPr id="4" name="Slide Number Placeholder 3">
            <a:extLst>
              <a:ext uri="{FF2B5EF4-FFF2-40B4-BE49-F238E27FC236}">
                <a16:creationId xmlns:a16="http://schemas.microsoft.com/office/drawing/2014/main" id="{4B700251-2255-F7E3-9830-00E2BB9D15B3}"/>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B4A55CF2-256D-44FD-9430-5B63A079CF51}" type="slidenum">
              <a:rPr kumimoji="0" lang="es-ES_tradnl"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36</a:t>
            </a:fld>
            <a:endParaRPr kumimoji="0" lang="es-ES_tradnl"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1924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txBody>
          <a:bodyPr/>
          <a:lstStyle/>
          <a:p>
            <a:endParaRPr lang="en-US"/>
          </a:p>
        </p:txBody>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AC99A9D5-E41E-4234-B9D6-0E62D63F75A6}" type="slidenum">
              <a:rPr lang="es-ES" smtClean="0"/>
              <a:t>6</a:t>
            </a:fld>
            <a:endParaRPr lang="es-ES"/>
          </a:p>
        </p:txBody>
      </p:sp>
    </p:spTree>
    <p:extLst>
      <p:ext uri="{BB962C8B-B14F-4D97-AF65-F5344CB8AC3E}">
        <p14:creationId xmlns:p14="http://schemas.microsoft.com/office/powerpoint/2010/main" val="41586559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txBody>
          <a:bodyPr/>
          <a:lstStyle/>
          <a:p>
            <a:endParaRPr lang="en-US"/>
          </a:p>
        </p:txBody>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99A9D5-E41E-4234-B9D6-0E62D63F75A6}" type="slidenum">
              <a:rPr kumimoji="0" lang="es-E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s-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285583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E3147F-A07E-CFAE-B061-75E84F055D7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9240975-42E7-D9D0-1C96-80F928C1E86A}"/>
              </a:ext>
            </a:extLst>
          </p:cNvPr>
          <p:cNvSpPr>
            <a:spLocks noGrp="1" noRot="1" noChangeAspect="1"/>
          </p:cNvSpPr>
          <p:nvPr>
            <p:ph type="sldImg"/>
          </p:nvPr>
        </p:nvSpPr>
        <p:spPr/>
        <p:txBody>
          <a:bodyPr/>
          <a:lstStyle/>
          <a:p>
            <a:endParaRPr lang="en-US"/>
          </a:p>
        </p:txBody>
      </p:sp>
      <p:sp>
        <p:nvSpPr>
          <p:cNvPr id="3" name="Marcador de notas 2">
            <a:extLst>
              <a:ext uri="{FF2B5EF4-FFF2-40B4-BE49-F238E27FC236}">
                <a16:creationId xmlns:a16="http://schemas.microsoft.com/office/drawing/2014/main" id="{DFFD62F7-6EA4-C8E8-11A4-691DDC453FEF}"/>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3E9921C1-C151-DF5A-0602-7F5535762E6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2A894F-3838-0641-AA89-FF44FE6EE467}"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859410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9B9D4-D743-11E9-E432-D33067BE637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AAA41F4-2FB4-5E79-1B61-539C6F877889}"/>
              </a:ext>
            </a:extLst>
          </p:cNvPr>
          <p:cNvSpPr>
            <a:spLocks noGrp="1" noRot="1" noChangeAspect="1"/>
          </p:cNvSpPr>
          <p:nvPr>
            <p:ph type="sldImg"/>
          </p:nvPr>
        </p:nvSpPr>
        <p:spPr/>
        <p:txBody>
          <a:bodyPr/>
          <a:lstStyle/>
          <a:p>
            <a:endParaRPr lang="en-US"/>
          </a:p>
        </p:txBody>
      </p:sp>
      <p:sp>
        <p:nvSpPr>
          <p:cNvPr id="3" name="Marcador de notas 2">
            <a:extLst>
              <a:ext uri="{FF2B5EF4-FFF2-40B4-BE49-F238E27FC236}">
                <a16:creationId xmlns:a16="http://schemas.microsoft.com/office/drawing/2014/main" id="{A954BF23-47C0-94E2-C370-D88306838B23}"/>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5F97EF37-B79E-ED7F-7CC2-8DA6DE4FE5F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A44FE5-4F21-439E-90AB-8CF098BEFB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1741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5"/>
          </p:nvPr>
        </p:nvSpPr>
        <p:spPr/>
        <p:txBody>
          <a:bodyPr/>
          <a:lstStyle/>
          <a:p>
            <a:fld id="{AC99A9D5-E41E-4234-B9D6-0E62D63F75A6}" type="slidenum">
              <a:rPr lang="es-ES" smtClean="0"/>
              <a:t>16</a:t>
            </a:fld>
            <a:endParaRPr lang="es-ES"/>
          </a:p>
        </p:txBody>
      </p:sp>
    </p:spTree>
    <p:extLst>
      <p:ext uri="{BB962C8B-B14F-4D97-AF65-F5344CB8AC3E}">
        <p14:creationId xmlns:p14="http://schemas.microsoft.com/office/powerpoint/2010/main" val="4014451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B2A4E5-6733-ADBE-4953-CFFFB8BDDB0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08518FA-149F-5907-A8F6-0C4C27329459}"/>
              </a:ext>
            </a:extLst>
          </p:cNvPr>
          <p:cNvSpPr>
            <a:spLocks noGrp="1" noRot="1" noChangeAspect="1"/>
          </p:cNvSpPr>
          <p:nvPr>
            <p:ph type="sldImg"/>
          </p:nvPr>
        </p:nvSpPr>
        <p:spPr/>
        <p:txBody>
          <a:bodyPr/>
          <a:lstStyle/>
          <a:p>
            <a:endParaRPr lang="en-US"/>
          </a:p>
        </p:txBody>
      </p:sp>
      <p:sp>
        <p:nvSpPr>
          <p:cNvPr id="3" name="Marcador de notas 2">
            <a:extLst>
              <a:ext uri="{FF2B5EF4-FFF2-40B4-BE49-F238E27FC236}">
                <a16:creationId xmlns:a16="http://schemas.microsoft.com/office/drawing/2014/main" id="{A0C4963F-A665-ADFD-3C0B-40D39AB557EB}"/>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1637C9E2-3B03-CD99-C766-353AC455BB04}"/>
              </a:ext>
            </a:extLst>
          </p:cNvPr>
          <p:cNvSpPr>
            <a:spLocks noGrp="1"/>
          </p:cNvSpPr>
          <p:nvPr>
            <p:ph type="sldNum" sz="quarter" idx="5"/>
          </p:nvPr>
        </p:nvSpPr>
        <p:spPr/>
        <p:txBody>
          <a:bodyPr/>
          <a:lstStyle/>
          <a:p>
            <a:fld id="{AC99A9D5-E41E-4234-B9D6-0E62D63F75A6}" type="slidenum">
              <a:rPr lang="es-ES" smtClean="0"/>
              <a:t>24</a:t>
            </a:fld>
            <a:endParaRPr lang="es-ES"/>
          </a:p>
        </p:txBody>
      </p:sp>
    </p:spTree>
    <p:extLst>
      <p:ext uri="{BB962C8B-B14F-4D97-AF65-F5344CB8AC3E}">
        <p14:creationId xmlns:p14="http://schemas.microsoft.com/office/powerpoint/2010/main" val="34021526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AE618-419A-F5C6-A51E-1166CE0B3C2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D9B3184-B8E1-9511-0074-2B7BDBC465D0}"/>
              </a:ext>
            </a:extLst>
          </p:cNvPr>
          <p:cNvSpPr>
            <a:spLocks noGrp="1" noRot="1" noChangeAspect="1"/>
          </p:cNvSpPr>
          <p:nvPr>
            <p:ph type="sldImg"/>
          </p:nvPr>
        </p:nvSpPr>
        <p:spPr/>
        <p:txBody>
          <a:bodyPr/>
          <a:lstStyle/>
          <a:p>
            <a:endParaRPr lang="en-US"/>
          </a:p>
        </p:txBody>
      </p:sp>
      <p:sp>
        <p:nvSpPr>
          <p:cNvPr id="3" name="Marcador de notas 2">
            <a:extLst>
              <a:ext uri="{FF2B5EF4-FFF2-40B4-BE49-F238E27FC236}">
                <a16:creationId xmlns:a16="http://schemas.microsoft.com/office/drawing/2014/main" id="{54116B31-3344-8290-82A0-6552B7A12F6E}"/>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93FC3779-4496-8890-9D68-B895B473FD2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A44FE5-4F21-439E-90AB-8CF098BEFB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6710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txBody>
          <a:bodyPr/>
          <a:lstStyle/>
          <a:p>
            <a:endParaRPr lang="en-US"/>
          </a:p>
        </p:txBody>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99A9D5-E41E-4234-B9D6-0E62D63F75A6}" type="slidenum">
              <a:rPr kumimoji="0" lang="es-E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s-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642801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3" Type="http://schemas.openxmlformats.org/officeDocument/2006/relationships/image" Target="../media/image40.svg"/><Relationship Id="rId7" Type="http://schemas.openxmlformats.org/officeDocument/2006/relationships/image" Target="../media/image44.svg"/><Relationship Id="rId12" Type="http://schemas.openxmlformats.org/officeDocument/2006/relationships/image" Target="../media/image49.png"/><Relationship Id="rId2" Type="http://schemas.openxmlformats.org/officeDocument/2006/relationships/image" Target="../media/image39.png"/><Relationship Id="rId1" Type="http://schemas.openxmlformats.org/officeDocument/2006/relationships/slideMaster" Target="../slideMasters/slideMaster3.xml"/><Relationship Id="rId6" Type="http://schemas.openxmlformats.org/officeDocument/2006/relationships/image" Target="../media/image43.png"/><Relationship Id="rId11" Type="http://schemas.openxmlformats.org/officeDocument/2006/relationships/image" Target="../media/image48.svg"/><Relationship Id="rId5" Type="http://schemas.openxmlformats.org/officeDocument/2006/relationships/image" Target="../media/image42.svg"/><Relationship Id="rId15" Type="http://schemas.openxmlformats.org/officeDocument/2006/relationships/image" Target="../media/image7.sv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svg"/><Relationship Id="rId14" Type="http://schemas.openxmlformats.org/officeDocument/2006/relationships/image" Target="../media/image6.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52.svg"/><Relationship Id="rId7" Type="http://schemas.openxmlformats.org/officeDocument/2006/relationships/image" Target="../media/image7.svg"/><Relationship Id="rId2" Type="http://schemas.openxmlformats.org/officeDocument/2006/relationships/image" Target="../media/image51.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54.svg"/><Relationship Id="rId4" Type="http://schemas.openxmlformats.org/officeDocument/2006/relationships/image" Target="../media/image53.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3.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3.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3.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3.xml"/><Relationship Id="rId1" Type="http://schemas.openxmlformats.org/officeDocument/2006/relationships/tags" Target="../tags/tag9.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 Id="rId9" Type="http://schemas.openxmlformats.org/officeDocument/2006/relationships/image" Target="../media/image11.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 Id="rId9" Type="http://schemas.openxmlformats.org/officeDocument/2006/relationships/image" Target="../media/image11.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4.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3.xml"/><Relationship Id="rId1" Type="http://schemas.openxmlformats.org/officeDocument/2006/relationships/tags" Target="../tags/tag7.xml"/><Relationship Id="rId6" Type="http://schemas.openxmlformats.org/officeDocument/2006/relationships/image" Target="../media/image7.svg"/><Relationship Id="rId5" Type="http://schemas.openxmlformats.org/officeDocument/2006/relationships/image" Target="../media/image6.png"/><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3.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Master" Target="../slideMasters/slideMaster3.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Master" Target="../slideMasters/slideMaster3.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Master" Target="../slideMasters/slideMaster3.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Master" Target="../slideMasters/slideMaster3.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Master" Target="../slideMasters/slideMaster3.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3.xml"/><Relationship Id="rId6" Type="http://schemas.openxmlformats.org/officeDocument/2006/relationships/image" Target="../media/image4.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Master" Target="../slideMasters/slideMaster3.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Master" Target="../slideMasters/slideMaster3.xml"/><Relationship Id="rId6" Type="http://schemas.openxmlformats.org/officeDocument/2006/relationships/image" Target="../media/image8.png"/><Relationship Id="rId5" Type="http://schemas.openxmlformats.org/officeDocument/2006/relationships/image" Target="../media/image3.svg"/><Relationship Id="rId4" Type="http://schemas.openxmlformats.org/officeDocument/2006/relationships/image" Target="../media/image2.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emf"/><Relationship Id="rId1" Type="http://schemas.openxmlformats.org/officeDocument/2006/relationships/slideMaster" Target="../slideMasters/slideMaster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7.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1.xml"/><Relationship Id="rId1" Type="http://schemas.openxmlformats.org/officeDocument/2006/relationships/slideMaster" Target="../slideMasters/slideMaster3.xml"/><Relationship Id="rId4" Type="http://schemas.openxmlformats.org/officeDocument/2006/relationships/image" Target="../media/image7.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svg"/><Relationship Id="rId7" Type="http://schemas.openxmlformats.org/officeDocument/2006/relationships/image" Target="../media/image22.svg"/><Relationship Id="rId2" Type="http://schemas.openxmlformats.org/officeDocument/2006/relationships/image" Target="../media/image17.png"/><Relationship Id="rId1" Type="http://schemas.openxmlformats.org/officeDocument/2006/relationships/slideMaster" Target="../slideMasters/slideMaster3.xml"/><Relationship Id="rId6" Type="http://schemas.openxmlformats.org/officeDocument/2006/relationships/image" Target="../media/image21.png"/><Relationship Id="rId11" Type="http://schemas.openxmlformats.org/officeDocument/2006/relationships/image" Target="../media/image7.svg"/><Relationship Id="rId5" Type="http://schemas.openxmlformats.org/officeDocument/2006/relationships/image" Target="../media/image20.svg"/><Relationship Id="rId10" Type="http://schemas.openxmlformats.org/officeDocument/2006/relationships/image" Target="../media/image6.png"/><Relationship Id="rId4" Type="http://schemas.openxmlformats.org/officeDocument/2006/relationships/image" Target="../media/image19.png"/><Relationship Id="rId9" Type="http://schemas.openxmlformats.org/officeDocument/2006/relationships/image" Target="../media/image24.sv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3.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8.svg"/><Relationship Id="rId7" Type="http://schemas.openxmlformats.org/officeDocument/2006/relationships/image" Target="../media/image7.svg"/><Relationship Id="rId2" Type="http://schemas.openxmlformats.org/officeDocument/2006/relationships/image" Target="../media/image27.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30.svg"/><Relationship Id="rId4" Type="http://schemas.openxmlformats.org/officeDocument/2006/relationships/image" Target="../media/image29.png"/></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svg"/><Relationship Id="rId7" Type="http://schemas.openxmlformats.org/officeDocument/2006/relationships/image" Target="../media/image36.svg"/><Relationship Id="rId2" Type="http://schemas.openxmlformats.org/officeDocument/2006/relationships/image" Target="../media/image31.png"/><Relationship Id="rId1" Type="http://schemas.openxmlformats.org/officeDocument/2006/relationships/slideMaster" Target="../slideMasters/slideMaster3.xml"/><Relationship Id="rId6" Type="http://schemas.openxmlformats.org/officeDocument/2006/relationships/image" Target="../media/image35.png"/><Relationship Id="rId11" Type="http://schemas.openxmlformats.org/officeDocument/2006/relationships/image" Target="../media/image7.svg"/><Relationship Id="rId5" Type="http://schemas.openxmlformats.org/officeDocument/2006/relationships/image" Target="../media/image34.svg"/><Relationship Id="rId10" Type="http://schemas.openxmlformats.org/officeDocument/2006/relationships/image" Target="../media/image6.png"/><Relationship Id="rId4" Type="http://schemas.openxmlformats.org/officeDocument/2006/relationships/image" Target="../media/image33.png"/><Relationship Id="rId9" Type="http://schemas.openxmlformats.org/officeDocument/2006/relationships/image" Target="../media/image38.sv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0654C-B078-11CB-D10D-EA087C2B871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ES"/>
          </a:p>
        </p:txBody>
      </p:sp>
      <p:sp>
        <p:nvSpPr>
          <p:cNvPr id="3" name="Subtitle 2">
            <a:extLst>
              <a:ext uri="{FF2B5EF4-FFF2-40B4-BE49-F238E27FC236}">
                <a16:creationId xmlns:a16="http://schemas.microsoft.com/office/drawing/2014/main" id="{2F081C96-6BF6-FAAF-326A-ECC8EE27B0A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ES"/>
          </a:p>
        </p:txBody>
      </p:sp>
      <p:sp>
        <p:nvSpPr>
          <p:cNvPr id="4" name="Date Placeholder 3">
            <a:extLst>
              <a:ext uri="{FF2B5EF4-FFF2-40B4-BE49-F238E27FC236}">
                <a16:creationId xmlns:a16="http://schemas.microsoft.com/office/drawing/2014/main" id="{C8C6CA3E-7B0A-D3A8-A7A7-FC7C8699560F}"/>
              </a:ext>
            </a:extLst>
          </p:cNvPr>
          <p:cNvSpPr>
            <a:spLocks noGrp="1"/>
          </p:cNvSpPr>
          <p:nvPr>
            <p:ph type="dt" sz="half" idx="10"/>
          </p:nvPr>
        </p:nvSpPr>
        <p:spPr/>
        <p:txBody>
          <a:bodyPr/>
          <a:lstStyle/>
          <a:p>
            <a:fld id="{2936A72B-74AE-4828-B363-D54F043C4597}" type="datetimeFigureOut">
              <a:rPr lang="es-ES" smtClean="0"/>
              <a:t>03/12/2025</a:t>
            </a:fld>
            <a:endParaRPr lang="es-ES"/>
          </a:p>
        </p:txBody>
      </p:sp>
      <p:sp>
        <p:nvSpPr>
          <p:cNvPr id="5" name="Footer Placeholder 4">
            <a:extLst>
              <a:ext uri="{FF2B5EF4-FFF2-40B4-BE49-F238E27FC236}">
                <a16:creationId xmlns:a16="http://schemas.microsoft.com/office/drawing/2014/main" id="{2C136861-6E0B-F6FE-E388-588073CD0F5B}"/>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566218A7-3FAC-F76B-C138-810644F74836}"/>
              </a:ext>
            </a:extLst>
          </p:cNvPr>
          <p:cNvSpPr>
            <a:spLocks noGrp="1"/>
          </p:cNvSpPr>
          <p:nvPr>
            <p:ph type="sldNum" sz="quarter" idx="12"/>
          </p:nvPr>
        </p:nvSpPr>
        <p:spPr/>
        <p:txBody>
          <a:bodyPr/>
          <a:lstStyle/>
          <a:p>
            <a:fld id="{9CC58EAA-8CE3-4B47-B600-46B910A49F95}" type="slidenum">
              <a:rPr lang="es-ES" smtClean="0"/>
              <a:t>‹#›</a:t>
            </a:fld>
            <a:endParaRPr lang="es-ES"/>
          </a:p>
        </p:txBody>
      </p:sp>
    </p:spTree>
    <p:extLst>
      <p:ext uri="{BB962C8B-B14F-4D97-AF65-F5344CB8AC3E}">
        <p14:creationId xmlns:p14="http://schemas.microsoft.com/office/powerpoint/2010/main" val="10735046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55A7D0-9B5A-8CE1-D87C-75308671A1F4}"/>
              </a:ext>
            </a:extLst>
          </p:cNvPr>
          <p:cNvSpPr>
            <a:spLocks noGrp="1"/>
          </p:cNvSpPr>
          <p:nvPr>
            <p:ph type="title"/>
          </p:nvPr>
        </p:nvSpPr>
        <p:spPr/>
        <p:txBody>
          <a:bodyPr/>
          <a:lstStyle/>
          <a:p>
            <a:r>
              <a:rPr lang="en-US"/>
              <a:t>Click to edit Master title style</a:t>
            </a:r>
            <a:endParaRPr lang="es-ES"/>
          </a:p>
        </p:txBody>
      </p:sp>
      <p:sp>
        <p:nvSpPr>
          <p:cNvPr id="3" name="Vertical Text Placeholder 2">
            <a:extLst>
              <a:ext uri="{FF2B5EF4-FFF2-40B4-BE49-F238E27FC236}">
                <a16:creationId xmlns:a16="http://schemas.microsoft.com/office/drawing/2014/main" id="{B69F2A84-FD3E-AF4C-0E3B-5B9CB06C439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2EDD341B-82F6-5C01-EF5F-CFB77D62E293}"/>
              </a:ext>
            </a:extLst>
          </p:cNvPr>
          <p:cNvSpPr>
            <a:spLocks noGrp="1"/>
          </p:cNvSpPr>
          <p:nvPr>
            <p:ph type="dt" sz="half" idx="10"/>
          </p:nvPr>
        </p:nvSpPr>
        <p:spPr/>
        <p:txBody>
          <a:bodyPr/>
          <a:lstStyle/>
          <a:p>
            <a:fld id="{2936A72B-74AE-4828-B363-D54F043C4597}" type="datetimeFigureOut">
              <a:rPr lang="es-ES" smtClean="0"/>
              <a:t>03/12/2025</a:t>
            </a:fld>
            <a:endParaRPr lang="es-ES"/>
          </a:p>
        </p:txBody>
      </p:sp>
      <p:sp>
        <p:nvSpPr>
          <p:cNvPr id="5" name="Footer Placeholder 4">
            <a:extLst>
              <a:ext uri="{FF2B5EF4-FFF2-40B4-BE49-F238E27FC236}">
                <a16:creationId xmlns:a16="http://schemas.microsoft.com/office/drawing/2014/main" id="{248587CD-EC0A-F502-82CC-196CA8C8CCB9}"/>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5781658A-993A-52BC-B949-071E99C1FC2A}"/>
              </a:ext>
            </a:extLst>
          </p:cNvPr>
          <p:cNvSpPr>
            <a:spLocks noGrp="1"/>
          </p:cNvSpPr>
          <p:nvPr>
            <p:ph type="sldNum" sz="quarter" idx="12"/>
          </p:nvPr>
        </p:nvSpPr>
        <p:spPr/>
        <p:txBody>
          <a:bodyPr/>
          <a:lstStyle/>
          <a:p>
            <a:fld id="{9CC58EAA-8CE3-4B47-B600-46B910A49F95}" type="slidenum">
              <a:rPr lang="es-ES" smtClean="0"/>
              <a:t>‹#›</a:t>
            </a:fld>
            <a:endParaRPr lang="es-ES"/>
          </a:p>
        </p:txBody>
      </p:sp>
    </p:spTree>
    <p:extLst>
      <p:ext uri="{BB962C8B-B14F-4D97-AF65-F5344CB8AC3E}">
        <p14:creationId xmlns:p14="http://schemas.microsoft.com/office/powerpoint/2010/main" val="297085393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6_Header &amp; Content ">
    <p:spTree>
      <p:nvGrpSpPr>
        <p:cNvPr id="1" name=""/>
        <p:cNvGrpSpPr/>
        <p:nvPr/>
      </p:nvGrpSpPr>
      <p:grpSpPr>
        <a:xfrm>
          <a:off x="0" y="0"/>
          <a:ext cx="0" cy="0"/>
          <a:chOff x="0" y="0"/>
          <a:chExt cx="0" cy="0"/>
        </a:xfrm>
      </p:grpSpPr>
      <p:sp>
        <p:nvSpPr>
          <p:cNvPr id="227" name="Marcador de texto 54">
            <a:extLst>
              <a:ext uri="{FF2B5EF4-FFF2-40B4-BE49-F238E27FC236}">
                <a16:creationId xmlns:a16="http://schemas.microsoft.com/office/drawing/2014/main" id="{A9C49F05-5BB6-6DEE-FA0D-8FDD3048670F}"/>
              </a:ext>
            </a:extLst>
          </p:cNvPr>
          <p:cNvSpPr>
            <a:spLocks noGrp="1"/>
          </p:cNvSpPr>
          <p:nvPr>
            <p:ph type="body" sz="quarter" idx="50" hasCustomPrompt="1"/>
          </p:nvPr>
        </p:nvSpPr>
        <p:spPr>
          <a:xfrm>
            <a:off x="4410992" y="2538176"/>
            <a:ext cx="1185638" cy="914686"/>
          </a:xfrm>
          <a:prstGeom prst="rect">
            <a:avLst/>
          </a:prstGeom>
        </p:spPr>
        <p:txBody>
          <a:bodyPr/>
          <a:lstStyle>
            <a:lvl1pPr marL="0" indent="0" algn="l">
              <a:spcBef>
                <a:spcPts val="0"/>
              </a:spcBef>
              <a:spcAft>
                <a:spcPts val="0"/>
              </a:spcAft>
              <a:buNone/>
              <a:defRPr lang="es-ES" sz="1000" b="1" kern="1200" smtClean="0">
                <a:solidFill>
                  <a:srgbClr val="6F7779"/>
                </a:solidFill>
                <a:latin typeface="+mj-lt"/>
                <a:ea typeface="+mn-ea"/>
                <a:cs typeface="Arial" charset="0"/>
                <a:sym typeface="Arial"/>
              </a:defRPr>
            </a:lvl1pPr>
            <a:lvl2pPr marL="0" indent="0" algn="l">
              <a:lnSpc>
                <a:spcPct val="100000"/>
              </a:lnSpc>
              <a:spcBef>
                <a:spcPts val="200"/>
              </a:spcBef>
              <a:spcAft>
                <a:spcPts val="600"/>
              </a:spcAft>
              <a:buNone/>
              <a:defRPr sz="8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228" name="Marcador de texto 54">
            <a:extLst>
              <a:ext uri="{FF2B5EF4-FFF2-40B4-BE49-F238E27FC236}">
                <a16:creationId xmlns:a16="http://schemas.microsoft.com/office/drawing/2014/main" id="{B3F53EFF-5499-15B8-4AD3-060758B93DA5}"/>
              </a:ext>
            </a:extLst>
          </p:cNvPr>
          <p:cNvSpPr>
            <a:spLocks noGrp="1"/>
          </p:cNvSpPr>
          <p:nvPr>
            <p:ph type="body" sz="quarter" idx="51" hasCustomPrompt="1"/>
          </p:nvPr>
        </p:nvSpPr>
        <p:spPr>
          <a:xfrm>
            <a:off x="795973" y="1383899"/>
            <a:ext cx="1185638" cy="914686"/>
          </a:xfrm>
          <a:prstGeom prst="rect">
            <a:avLst/>
          </a:prstGeom>
        </p:spPr>
        <p:txBody>
          <a:bodyPr/>
          <a:lstStyle>
            <a:lvl1pPr marL="0" indent="0" algn="r">
              <a:spcBef>
                <a:spcPts val="0"/>
              </a:spcBef>
              <a:spcAft>
                <a:spcPts val="0"/>
              </a:spcAft>
              <a:buNone/>
              <a:defRPr lang="es-ES" sz="1000" b="1" kern="1200" smtClean="0">
                <a:solidFill>
                  <a:srgbClr val="6F7779"/>
                </a:solidFill>
                <a:latin typeface="+mj-lt"/>
                <a:ea typeface="+mn-ea"/>
                <a:cs typeface="Arial" charset="0"/>
                <a:sym typeface="Arial"/>
              </a:defRPr>
            </a:lvl1pPr>
            <a:lvl2pPr marL="0" indent="0" algn="r">
              <a:lnSpc>
                <a:spcPct val="100000"/>
              </a:lnSpc>
              <a:spcBef>
                <a:spcPts val="200"/>
              </a:spcBef>
              <a:spcAft>
                <a:spcPts val="600"/>
              </a:spcAft>
              <a:buNone/>
              <a:defRPr sz="8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229" name="Marcador de texto 54">
            <a:extLst>
              <a:ext uri="{FF2B5EF4-FFF2-40B4-BE49-F238E27FC236}">
                <a16:creationId xmlns:a16="http://schemas.microsoft.com/office/drawing/2014/main" id="{E06514A6-F981-26C8-F5AB-CA0A92A29F2E}"/>
              </a:ext>
            </a:extLst>
          </p:cNvPr>
          <p:cNvSpPr>
            <a:spLocks noGrp="1"/>
          </p:cNvSpPr>
          <p:nvPr>
            <p:ph type="body" sz="quarter" idx="52" hasCustomPrompt="1"/>
          </p:nvPr>
        </p:nvSpPr>
        <p:spPr>
          <a:xfrm>
            <a:off x="779720" y="2542543"/>
            <a:ext cx="1185638" cy="914686"/>
          </a:xfrm>
          <a:prstGeom prst="rect">
            <a:avLst/>
          </a:prstGeom>
        </p:spPr>
        <p:txBody>
          <a:bodyPr/>
          <a:lstStyle>
            <a:lvl1pPr marL="0" indent="0" algn="r">
              <a:spcBef>
                <a:spcPts val="0"/>
              </a:spcBef>
              <a:spcAft>
                <a:spcPts val="0"/>
              </a:spcAft>
              <a:buNone/>
              <a:defRPr lang="es-ES" sz="1000" b="1" kern="1200" smtClean="0">
                <a:solidFill>
                  <a:srgbClr val="6F7779"/>
                </a:solidFill>
                <a:latin typeface="+mj-lt"/>
                <a:ea typeface="+mn-ea"/>
                <a:cs typeface="Arial" charset="0"/>
                <a:sym typeface="Arial"/>
              </a:defRPr>
            </a:lvl1pPr>
            <a:lvl2pPr marL="0" indent="0" algn="r">
              <a:lnSpc>
                <a:spcPct val="100000"/>
              </a:lnSpc>
              <a:spcBef>
                <a:spcPts val="200"/>
              </a:spcBef>
              <a:spcAft>
                <a:spcPts val="600"/>
              </a:spcAft>
              <a:buNone/>
              <a:defRPr sz="8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230" name="Marcador de texto 54">
            <a:extLst>
              <a:ext uri="{FF2B5EF4-FFF2-40B4-BE49-F238E27FC236}">
                <a16:creationId xmlns:a16="http://schemas.microsoft.com/office/drawing/2014/main" id="{BA67867A-EB38-F19A-AF89-7ABAC782C81A}"/>
              </a:ext>
            </a:extLst>
          </p:cNvPr>
          <p:cNvSpPr>
            <a:spLocks noGrp="1"/>
          </p:cNvSpPr>
          <p:nvPr>
            <p:ph type="body" sz="quarter" idx="53" hasCustomPrompt="1"/>
          </p:nvPr>
        </p:nvSpPr>
        <p:spPr>
          <a:xfrm>
            <a:off x="4414909" y="1383899"/>
            <a:ext cx="1185638" cy="914686"/>
          </a:xfrm>
          <a:prstGeom prst="rect">
            <a:avLst/>
          </a:prstGeom>
        </p:spPr>
        <p:txBody>
          <a:bodyPr/>
          <a:lstStyle>
            <a:lvl1pPr marL="0" indent="0" algn="l">
              <a:spcBef>
                <a:spcPts val="0"/>
              </a:spcBef>
              <a:spcAft>
                <a:spcPts val="0"/>
              </a:spcAft>
              <a:buNone/>
              <a:defRPr lang="es-ES" sz="1000" b="1" kern="1200" smtClean="0">
                <a:solidFill>
                  <a:srgbClr val="6F7779"/>
                </a:solidFill>
                <a:latin typeface="+mj-lt"/>
                <a:ea typeface="+mn-ea"/>
                <a:cs typeface="Arial" charset="0"/>
                <a:sym typeface="Arial"/>
              </a:defRPr>
            </a:lvl1pPr>
            <a:lvl2pPr marL="0" indent="0" algn="l">
              <a:lnSpc>
                <a:spcPct val="100000"/>
              </a:lnSpc>
              <a:spcBef>
                <a:spcPts val="200"/>
              </a:spcBef>
              <a:spcAft>
                <a:spcPts val="600"/>
              </a:spcAft>
              <a:buNone/>
              <a:defRPr sz="8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232" name="Text Placeholder 231">
            <a:extLst>
              <a:ext uri="{FF2B5EF4-FFF2-40B4-BE49-F238E27FC236}">
                <a16:creationId xmlns:a16="http://schemas.microsoft.com/office/drawing/2014/main" id="{562F6046-4A27-F01C-049F-3083D34F21B7}"/>
              </a:ext>
            </a:extLst>
          </p:cNvPr>
          <p:cNvSpPr>
            <a:spLocks noGrp="1"/>
          </p:cNvSpPr>
          <p:nvPr>
            <p:ph type="body" sz="quarter" idx="54"/>
          </p:nvPr>
        </p:nvSpPr>
        <p:spPr>
          <a:xfrm>
            <a:off x="2341842" y="1558911"/>
            <a:ext cx="1598400" cy="1386000"/>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a:lstStyle>
            <a:lvl1pPr marL="0" indent="0">
              <a:buNone/>
              <a:defRPr sz="400">
                <a:noFill/>
                <a:latin typeface="+mj-lt"/>
              </a:defRPr>
            </a:lvl1pPr>
          </a:lstStyle>
          <a:p>
            <a:pPr lvl="0"/>
            <a:endParaRPr lang="en-GB"/>
          </a:p>
        </p:txBody>
      </p:sp>
      <p:sp>
        <p:nvSpPr>
          <p:cNvPr id="233" name="Text Placeholder 231">
            <a:extLst>
              <a:ext uri="{FF2B5EF4-FFF2-40B4-BE49-F238E27FC236}">
                <a16:creationId xmlns:a16="http://schemas.microsoft.com/office/drawing/2014/main" id="{0B286A6D-BA34-6A2C-92FA-1CB990266474}"/>
              </a:ext>
            </a:extLst>
          </p:cNvPr>
          <p:cNvSpPr>
            <a:spLocks noGrp="1"/>
          </p:cNvSpPr>
          <p:nvPr>
            <p:ph type="body" sz="quarter" idx="55"/>
          </p:nvPr>
        </p:nvSpPr>
        <p:spPr>
          <a:xfrm>
            <a:off x="1303011" y="4254890"/>
            <a:ext cx="1357200" cy="1353600"/>
          </a:xfrm>
          <a:prstGeom prst="rect">
            <a:avLst/>
          </a:prstGeom>
          <a:blipFill dpi="0" rotWithShape="1">
            <a:blip r:embed="rId4">
              <a:extLst>
                <a:ext uri="{96DAC541-7B7A-43D3-8B79-37D633B846F1}">
                  <asvg:svgBlip xmlns:asvg="http://schemas.microsoft.com/office/drawing/2016/SVG/main" r:embed="rId5"/>
                </a:ext>
              </a:extLst>
            </a:blip>
            <a:srcRect/>
            <a:stretch>
              <a:fillRect/>
            </a:stretch>
          </a:blipFill>
        </p:spPr>
        <p:txBody>
          <a:bodyPr/>
          <a:lstStyle>
            <a:lvl1pPr marL="0" indent="0">
              <a:buNone/>
              <a:defRPr sz="400">
                <a:noFill/>
                <a:latin typeface="+mj-lt"/>
              </a:defRPr>
            </a:lvl1pPr>
          </a:lstStyle>
          <a:p>
            <a:pPr lvl="0"/>
            <a:endParaRPr lang="en-GB"/>
          </a:p>
        </p:txBody>
      </p:sp>
      <p:sp>
        <p:nvSpPr>
          <p:cNvPr id="234" name="Text Placeholder 231">
            <a:extLst>
              <a:ext uri="{FF2B5EF4-FFF2-40B4-BE49-F238E27FC236}">
                <a16:creationId xmlns:a16="http://schemas.microsoft.com/office/drawing/2014/main" id="{C5DB2846-D63A-69BB-FE78-1024909A2962}"/>
              </a:ext>
            </a:extLst>
          </p:cNvPr>
          <p:cNvSpPr>
            <a:spLocks noGrp="1"/>
          </p:cNvSpPr>
          <p:nvPr>
            <p:ph type="body" sz="quarter" idx="56"/>
          </p:nvPr>
        </p:nvSpPr>
        <p:spPr>
          <a:xfrm>
            <a:off x="3364338" y="4219333"/>
            <a:ext cx="1454400" cy="1386000"/>
          </a:xfrm>
          <a:prstGeom prst="rect">
            <a:avLst/>
          </a:prstGeom>
          <a:blipFill dpi="0" rotWithShape="1">
            <a:blip r:embed="rId6">
              <a:extLst>
                <a:ext uri="{96DAC541-7B7A-43D3-8B79-37D633B846F1}">
                  <asvg:svgBlip xmlns:asvg="http://schemas.microsoft.com/office/drawing/2016/SVG/main" r:embed="rId7"/>
                </a:ext>
              </a:extLst>
            </a:blip>
            <a:srcRect/>
            <a:stretch>
              <a:fillRect/>
            </a:stretch>
          </a:blipFill>
        </p:spPr>
        <p:txBody>
          <a:bodyPr/>
          <a:lstStyle>
            <a:lvl1pPr marL="0" indent="0">
              <a:buNone/>
              <a:defRPr sz="400">
                <a:noFill/>
                <a:latin typeface="+mj-lt"/>
              </a:defRPr>
            </a:lvl1pPr>
          </a:lstStyle>
          <a:p>
            <a:pPr lvl="0"/>
            <a:endParaRPr lang="en-GB"/>
          </a:p>
        </p:txBody>
      </p:sp>
      <p:sp>
        <p:nvSpPr>
          <p:cNvPr id="235" name="Text Placeholder 231">
            <a:extLst>
              <a:ext uri="{FF2B5EF4-FFF2-40B4-BE49-F238E27FC236}">
                <a16:creationId xmlns:a16="http://schemas.microsoft.com/office/drawing/2014/main" id="{945CFBC6-78D9-13BE-27F3-02A928346D7D}"/>
              </a:ext>
            </a:extLst>
          </p:cNvPr>
          <p:cNvSpPr>
            <a:spLocks noGrp="1"/>
          </p:cNvSpPr>
          <p:nvPr>
            <p:ph type="body" sz="quarter" idx="57"/>
          </p:nvPr>
        </p:nvSpPr>
        <p:spPr>
          <a:xfrm>
            <a:off x="5522865" y="4251290"/>
            <a:ext cx="1533600" cy="1360800"/>
          </a:xfrm>
          <a:prstGeom prst="rect">
            <a:avLst/>
          </a:prstGeom>
          <a:blipFill dpi="0" rotWithShape="1">
            <a:blip r:embed="rId8">
              <a:extLst>
                <a:ext uri="{96DAC541-7B7A-43D3-8B79-37D633B846F1}">
                  <asvg:svgBlip xmlns:asvg="http://schemas.microsoft.com/office/drawing/2016/SVG/main" r:embed="rId9"/>
                </a:ext>
              </a:extLst>
            </a:blip>
            <a:srcRect/>
            <a:stretch>
              <a:fillRect/>
            </a:stretch>
          </a:blipFill>
        </p:spPr>
        <p:txBody>
          <a:bodyPr/>
          <a:lstStyle>
            <a:lvl1pPr marL="0" indent="0">
              <a:buNone/>
              <a:defRPr sz="400">
                <a:noFill/>
                <a:latin typeface="+mj-lt"/>
              </a:defRPr>
            </a:lvl1pPr>
          </a:lstStyle>
          <a:p>
            <a:pPr lvl="0"/>
            <a:endParaRPr lang="en-GB"/>
          </a:p>
        </p:txBody>
      </p:sp>
      <p:sp>
        <p:nvSpPr>
          <p:cNvPr id="236" name="Text Placeholder 231">
            <a:extLst>
              <a:ext uri="{FF2B5EF4-FFF2-40B4-BE49-F238E27FC236}">
                <a16:creationId xmlns:a16="http://schemas.microsoft.com/office/drawing/2014/main" id="{F81A299C-BEA3-9344-5D49-D734933E3350}"/>
              </a:ext>
            </a:extLst>
          </p:cNvPr>
          <p:cNvSpPr>
            <a:spLocks noGrp="1"/>
          </p:cNvSpPr>
          <p:nvPr>
            <p:ph type="body" sz="quarter" idx="58"/>
          </p:nvPr>
        </p:nvSpPr>
        <p:spPr>
          <a:xfrm>
            <a:off x="7760592" y="4168490"/>
            <a:ext cx="1479600" cy="1443600"/>
          </a:xfrm>
          <a:prstGeom prst="rect">
            <a:avLst/>
          </a:prstGeom>
          <a:blipFill dpi="0" rotWithShape="1">
            <a:blip r:embed="rId10">
              <a:extLst>
                <a:ext uri="{96DAC541-7B7A-43D3-8B79-37D633B846F1}">
                  <asvg:svgBlip xmlns:asvg="http://schemas.microsoft.com/office/drawing/2016/SVG/main" r:embed="rId11"/>
                </a:ext>
              </a:extLst>
            </a:blip>
            <a:srcRect/>
            <a:stretch>
              <a:fillRect/>
            </a:stretch>
          </a:blipFill>
        </p:spPr>
        <p:txBody>
          <a:bodyPr/>
          <a:lstStyle>
            <a:lvl1pPr marL="0" indent="0">
              <a:buNone/>
              <a:defRPr sz="400">
                <a:noFill/>
                <a:latin typeface="+mj-lt"/>
              </a:defRPr>
            </a:lvl1pPr>
          </a:lstStyle>
          <a:p>
            <a:pPr lvl="0"/>
            <a:endParaRPr lang="en-GB"/>
          </a:p>
        </p:txBody>
      </p:sp>
      <p:sp>
        <p:nvSpPr>
          <p:cNvPr id="237" name="Text Placeholder 231">
            <a:extLst>
              <a:ext uri="{FF2B5EF4-FFF2-40B4-BE49-F238E27FC236}">
                <a16:creationId xmlns:a16="http://schemas.microsoft.com/office/drawing/2014/main" id="{BE0D699F-2BFF-2AAB-EAE3-FF7EB30EDBA2}"/>
              </a:ext>
            </a:extLst>
          </p:cNvPr>
          <p:cNvSpPr>
            <a:spLocks noGrp="1"/>
          </p:cNvSpPr>
          <p:nvPr>
            <p:ph type="body" sz="quarter" idx="59"/>
          </p:nvPr>
        </p:nvSpPr>
        <p:spPr>
          <a:xfrm>
            <a:off x="9944320" y="4240490"/>
            <a:ext cx="1368000" cy="1371600"/>
          </a:xfrm>
          <a:prstGeom prst="rect">
            <a:avLst/>
          </a:prstGeom>
          <a:blipFill dpi="0" rotWithShape="1">
            <a:blip r:embed="rId12">
              <a:extLst>
                <a:ext uri="{96DAC541-7B7A-43D3-8B79-37D633B846F1}">
                  <asvg:svgBlip xmlns:asvg="http://schemas.microsoft.com/office/drawing/2016/SVG/main" r:embed="rId13"/>
                </a:ext>
              </a:extLst>
            </a:blip>
            <a:srcRect/>
            <a:stretch>
              <a:fillRect/>
            </a:stretch>
          </a:blipFill>
        </p:spPr>
        <p:txBody>
          <a:bodyPr/>
          <a:lstStyle>
            <a:lvl1pPr marL="0" indent="0">
              <a:buNone/>
              <a:defRPr sz="400">
                <a:noFill/>
                <a:latin typeface="+mj-lt"/>
              </a:defRPr>
            </a:lvl1pPr>
          </a:lstStyle>
          <a:p>
            <a:pPr lvl="0"/>
            <a:endParaRPr lang="en-GB"/>
          </a:p>
        </p:txBody>
      </p:sp>
      <p:sp>
        <p:nvSpPr>
          <p:cNvPr id="5" name="Marcador de número de diapositiva 5">
            <a:extLst>
              <a:ext uri="{FF2B5EF4-FFF2-40B4-BE49-F238E27FC236}">
                <a16:creationId xmlns:a16="http://schemas.microsoft.com/office/drawing/2014/main" id="{C3E2170A-FB16-316A-5D5A-2D25DD163FEB}"/>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F9F5EA98-AF9A-E4E6-2040-C0006DB469F1}"/>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6508F668-85DE-F64A-C6D0-39AE77882859}"/>
              </a:ext>
            </a:extLst>
          </p:cNvPr>
          <p:cNvPicPr>
            <a:picLocks noChangeAspect="1"/>
          </p:cNvPicPr>
          <p:nvPr userDrawn="1"/>
        </p:nvPicPr>
        <p:blipFill>
          <a:blip r:embed="rId14">
            <a:extLst>
              <a:ext uri="{96DAC541-7B7A-43D3-8B79-37D633B846F1}">
                <asvg:svgBlip xmlns:asvg="http://schemas.microsoft.com/office/drawing/2016/SVG/main" r:embed="rId15"/>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98087C3D-FE8A-ABFB-2E61-0E50C4D1680A}"/>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29E42D1E-946F-7FB2-8D00-B62CBA2C3324}"/>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7EA96E3A-54B1-38C5-F9C2-597AD54F23CF}"/>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24443399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17">
          <p15:clr>
            <a:srgbClr val="FBAE40"/>
          </p15:clr>
        </p15:guide>
        <p15:guide id="3" orient="horz" pos="383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7_Header &amp; Content ">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6906FF9E-C8DF-0B99-8545-0A8739A784B8}"/>
              </a:ext>
            </a:extLst>
          </p:cNvPr>
          <p:cNvSpPr>
            <a:spLocks noGrp="1"/>
          </p:cNvSpPr>
          <p:nvPr>
            <p:ph type="body" sz="quarter" idx="46" hasCustomPrompt="1"/>
          </p:nvPr>
        </p:nvSpPr>
        <p:spPr>
          <a:xfrm>
            <a:off x="2115348" y="1960234"/>
            <a:ext cx="1995138" cy="1896677"/>
          </a:xfrm>
          <a:prstGeom prst="rect">
            <a:avLst/>
          </a:prstGeom>
          <a:blipFill>
            <a:blip r:embed="rId2">
              <a:extLst>
                <a:ext uri="{96DAC541-7B7A-43D3-8B79-37D633B846F1}">
                  <asvg:svgBlip xmlns:asvg="http://schemas.microsoft.com/office/drawing/2016/SVG/main" r:embed="rId3"/>
                </a:ext>
              </a:extLst>
            </a:blip>
            <a:stretch>
              <a:fillRect/>
            </a:stretch>
          </a:blipFill>
        </p:spPr>
        <p:txBody>
          <a:bodyPr anchor="ctr"/>
          <a:lstStyle>
            <a:lvl1pPr marL="0" indent="0" algn="ctr">
              <a:lnSpc>
                <a:spcPct val="100000"/>
              </a:lnSpc>
              <a:spcBef>
                <a:spcPts val="0"/>
              </a:spcBef>
              <a:buNone/>
              <a:defRPr lang="en-GB" sz="1000" b="1" kern="1200" dirty="0" smtClean="0">
                <a:solidFill>
                  <a:srgbClr val="6F7779"/>
                </a:solidFill>
                <a:latin typeface="+mj-lt"/>
                <a:ea typeface="+mn-ea"/>
                <a:cs typeface="+mn-cs"/>
              </a:defRPr>
            </a:lvl1pPr>
          </a:lstStyle>
          <a:p>
            <a:pPr lvl="0"/>
            <a:r>
              <a:rPr lang="en-GB"/>
              <a:t>Click to edit </a:t>
            </a:r>
            <a:br>
              <a:rPr lang="en-GB"/>
            </a:br>
            <a:r>
              <a:rPr lang="en-GB"/>
              <a:t>Master text </a:t>
            </a:r>
            <a:br>
              <a:rPr lang="en-GB"/>
            </a:br>
            <a:r>
              <a:rPr lang="en-GB"/>
              <a:t>styles</a:t>
            </a:r>
          </a:p>
        </p:txBody>
      </p:sp>
      <p:sp>
        <p:nvSpPr>
          <p:cNvPr id="28" name="Marcador de texto 54">
            <a:extLst>
              <a:ext uri="{FF2B5EF4-FFF2-40B4-BE49-F238E27FC236}">
                <a16:creationId xmlns:a16="http://schemas.microsoft.com/office/drawing/2014/main" id="{CED875D7-C49C-7134-BE7D-21585E70F89B}"/>
              </a:ext>
            </a:extLst>
          </p:cNvPr>
          <p:cNvSpPr>
            <a:spLocks noGrp="1"/>
          </p:cNvSpPr>
          <p:nvPr>
            <p:ph type="body" sz="quarter" idx="50" hasCustomPrompt="1"/>
          </p:nvPr>
        </p:nvSpPr>
        <p:spPr>
          <a:xfrm>
            <a:off x="4353786" y="3116118"/>
            <a:ext cx="1185638" cy="914686"/>
          </a:xfrm>
          <a:prstGeom prst="rect">
            <a:avLst/>
          </a:prstGeom>
        </p:spPr>
        <p:txBody>
          <a:bodyPr/>
          <a:lstStyle>
            <a:lvl1pPr marL="0" indent="0" algn="l">
              <a:spcBef>
                <a:spcPts val="0"/>
              </a:spcBef>
              <a:spcAft>
                <a:spcPts val="0"/>
              </a:spcAft>
              <a:buNone/>
              <a:defRPr lang="es-ES" sz="1000" b="1" kern="1200" smtClean="0">
                <a:solidFill>
                  <a:srgbClr val="6F7779"/>
                </a:solidFill>
                <a:latin typeface="+mj-lt"/>
                <a:ea typeface="+mn-ea"/>
                <a:cs typeface="Arial" charset="0"/>
                <a:sym typeface="Arial"/>
              </a:defRPr>
            </a:lvl1pPr>
            <a:lvl2pPr marL="0" indent="0" algn="l">
              <a:lnSpc>
                <a:spcPct val="100000"/>
              </a:lnSpc>
              <a:spcBef>
                <a:spcPts val="200"/>
              </a:spcBef>
              <a:spcAft>
                <a:spcPts val="600"/>
              </a:spcAft>
              <a:buNone/>
              <a:defRPr sz="8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29" name="Marcador de texto 54">
            <a:extLst>
              <a:ext uri="{FF2B5EF4-FFF2-40B4-BE49-F238E27FC236}">
                <a16:creationId xmlns:a16="http://schemas.microsoft.com/office/drawing/2014/main" id="{47677836-DB93-36E6-CF29-1F4C7A769425}"/>
              </a:ext>
            </a:extLst>
          </p:cNvPr>
          <p:cNvSpPr>
            <a:spLocks noGrp="1"/>
          </p:cNvSpPr>
          <p:nvPr>
            <p:ph type="body" sz="quarter" idx="51" hasCustomPrompt="1"/>
          </p:nvPr>
        </p:nvSpPr>
        <p:spPr>
          <a:xfrm>
            <a:off x="710192" y="1961841"/>
            <a:ext cx="1185638" cy="914686"/>
          </a:xfrm>
          <a:prstGeom prst="rect">
            <a:avLst/>
          </a:prstGeom>
        </p:spPr>
        <p:txBody>
          <a:bodyPr/>
          <a:lstStyle>
            <a:lvl1pPr marL="0" indent="0" algn="r">
              <a:spcBef>
                <a:spcPts val="0"/>
              </a:spcBef>
              <a:spcAft>
                <a:spcPts val="0"/>
              </a:spcAft>
              <a:buNone/>
              <a:defRPr lang="es-ES" sz="1000" b="1" kern="1200" smtClean="0">
                <a:solidFill>
                  <a:srgbClr val="6F7779"/>
                </a:solidFill>
                <a:latin typeface="+mj-lt"/>
                <a:ea typeface="+mn-ea"/>
                <a:cs typeface="Arial" charset="0"/>
                <a:sym typeface="Arial"/>
              </a:defRPr>
            </a:lvl1pPr>
            <a:lvl2pPr marL="0" indent="0" algn="r">
              <a:lnSpc>
                <a:spcPct val="100000"/>
              </a:lnSpc>
              <a:spcBef>
                <a:spcPts val="200"/>
              </a:spcBef>
              <a:spcAft>
                <a:spcPts val="600"/>
              </a:spcAft>
              <a:buNone/>
              <a:defRPr sz="8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30" name="Marcador de texto 54">
            <a:extLst>
              <a:ext uri="{FF2B5EF4-FFF2-40B4-BE49-F238E27FC236}">
                <a16:creationId xmlns:a16="http://schemas.microsoft.com/office/drawing/2014/main" id="{784FE811-882A-563E-4417-023FAB9213DF}"/>
              </a:ext>
            </a:extLst>
          </p:cNvPr>
          <p:cNvSpPr>
            <a:spLocks noGrp="1"/>
          </p:cNvSpPr>
          <p:nvPr>
            <p:ph type="body" sz="quarter" idx="52" hasCustomPrompt="1"/>
          </p:nvPr>
        </p:nvSpPr>
        <p:spPr>
          <a:xfrm>
            <a:off x="693939" y="3120485"/>
            <a:ext cx="1185638" cy="914686"/>
          </a:xfrm>
          <a:prstGeom prst="rect">
            <a:avLst/>
          </a:prstGeom>
        </p:spPr>
        <p:txBody>
          <a:bodyPr/>
          <a:lstStyle>
            <a:lvl1pPr marL="0" indent="0" algn="r">
              <a:spcBef>
                <a:spcPts val="0"/>
              </a:spcBef>
              <a:spcAft>
                <a:spcPts val="0"/>
              </a:spcAft>
              <a:buNone/>
              <a:defRPr lang="es-ES" sz="1000" b="1" kern="1200" smtClean="0">
                <a:solidFill>
                  <a:srgbClr val="6F7779"/>
                </a:solidFill>
                <a:latin typeface="+mj-lt"/>
                <a:ea typeface="+mn-ea"/>
                <a:cs typeface="Arial" charset="0"/>
                <a:sym typeface="Arial"/>
              </a:defRPr>
            </a:lvl1pPr>
            <a:lvl2pPr marL="0" indent="0" algn="r">
              <a:lnSpc>
                <a:spcPct val="100000"/>
              </a:lnSpc>
              <a:spcBef>
                <a:spcPts val="200"/>
              </a:spcBef>
              <a:spcAft>
                <a:spcPts val="600"/>
              </a:spcAft>
              <a:buNone/>
              <a:defRPr sz="8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31" name="Marcador de texto 54">
            <a:extLst>
              <a:ext uri="{FF2B5EF4-FFF2-40B4-BE49-F238E27FC236}">
                <a16:creationId xmlns:a16="http://schemas.microsoft.com/office/drawing/2014/main" id="{D44C7CA2-9FD2-F508-8BE7-C2100D44AB6A}"/>
              </a:ext>
            </a:extLst>
          </p:cNvPr>
          <p:cNvSpPr>
            <a:spLocks noGrp="1"/>
          </p:cNvSpPr>
          <p:nvPr>
            <p:ph type="body" sz="quarter" idx="53" hasCustomPrompt="1"/>
          </p:nvPr>
        </p:nvSpPr>
        <p:spPr>
          <a:xfrm>
            <a:off x="4357703" y="1961841"/>
            <a:ext cx="1185638" cy="914686"/>
          </a:xfrm>
          <a:prstGeom prst="rect">
            <a:avLst/>
          </a:prstGeom>
        </p:spPr>
        <p:txBody>
          <a:bodyPr/>
          <a:lstStyle>
            <a:lvl1pPr marL="0" indent="0" algn="l">
              <a:spcBef>
                <a:spcPts val="0"/>
              </a:spcBef>
              <a:spcAft>
                <a:spcPts val="0"/>
              </a:spcAft>
              <a:buNone/>
              <a:defRPr lang="es-ES" sz="1000" b="1" kern="1200" smtClean="0">
                <a:solidFill>
                  <a:srgbClr val="6F7779"/>
                </a:solidFill>
                <a:latin typeface="+mj-lt"/>
                <a:ea typeface="+mn-ea"/>
                <a:cs typeface="Arial" charset="0"/>
                <a:sym typeface="Arial"/>
              </a:defRPr>
            </a:lvl1pPr>
            <a:lvl2pPr marL="0" indent="0" algn="l">
              <a:lnSpc>
                <a:spcPct val="100000"/>
              </a:lnSpc>
              <a:spcBef>
                <a:spcPts val="200"/>
              </a:spcBef>
              <a:spcAft>
                <a:spcPts val="600"/>
              </a:spcAft>
              <a:buNone/>
              <a:defRPr sz="8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32" name="Marcador de texto 54">
            <a:extLst>
              <a:ext uri="{FF2B5EF4-FFF2-40B4-BE49-F238E27FC236}">
                <a16:creationId xmlns:a16="http://schemas.microsoft.com/office/drawing/2014/main" id="{643AF3BA-3870-3E9D-95D4-660DCBB75197}"/>
              </a:ext>
            </a:extLst>
          </p:cNvPr>
          <p:cNvSpPr>
            <a:spLocks noGrp="1"/>
          </p:cNvSpPr>
          <p:nvPr>
            <p:ph type="body" sz="quarter" idx="54" hasCustomPrompt="1"/>
          </p:nvPr>
        </p:nvSpPr>
        <p:spPr>
          <a:xfrm>
            <a:off x="2453679" y="4030804"/>
            <a:ext cx="1185638" cy="914686"/>
          </a:xfrm>
          <a:prstGeom prst="rect">
            <a:avLst/>
          </a:prstGeom>
        </p:spPr>
        <p:txBody>
          <a:bodyPr/>
          <a:lstStyle>
            <a:lvl1pPr marL="0" indent="0" algn="l">
              <a:spcBef>
                <a:spcPts val="0"/>
              </a:spcBef>
              <a:spcAft>
                <a:spcPts val="0"/>
              </a:spcAft>
              <a:buNone/>
              <a:defRPr lang="es-ES" sz="1000" b="1" kern="1200" smtClean="0">
                <a:solidFill>
                  <a:srgbClr val="6F7779"/>
                </a:solidFill>
                <a:latin typeface="+mj-lt"/>
                <a:ea typeface="+mn-ea"/>
                <a:cs typeface="Arial" charset="0"/>
                <a:sym typeface="Arial"/>
              </a:defRPr>
            </a:lvl1pPr>
            <a:lvl2pPr marL="0" indent="0" algn="l">
              <a:lnSpc>
                <a:spcPct val="100000"/>
              </a:lnSpc>
              <a:spcBef>
                <a:spcPts val="200"/>
              </a:spcBef>
              <a:spcAft>
                <a:spcPts val="600"/>
              </a:spcAft>
              <a:buNone/>
              <a:defRPr sz="8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45" name="Text Placeholder 25">
            <a:extLst>
              <a:ext uri="{FF2B5EF4-FFF2-40B4-BE49-F238E27FC236}">
                <a16:creationId xmlns:a16="http://schemas.microsoft.com/office/drawing/2014/main" id="{0E8D4B82-2F24-78BF-30F6-FAE098364A47}"/>
              </a:ext>
            </a:extLst>
          </p:cNvPr>
          <p:cNvSpPr>
            <a:spLocks noGrp="1"/>
          </p:cNvSpPr>
          <p:nvPr>
            <p:ph type="body" sz="quarter" idx="55" hasCustomPrompt="1"/>
          </p:nvPr>
        </p:nvSpPr>
        <p:spPr>
          <a:xfrm>
            <a:off x="7878297" y="2548410"/>
            <a:ext cx="2145600" cy="18648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anchor="ctr"/>
          <a:lstStyle>
            <a:lvl1pPr marL="0" indent="0" algn="ctr">
              <a:lnSpc>
                <a:spcPct val="100000"/>
              </a:lnSpc>
              <a:spcBef>
                <a:spcPts val="0"/>
              </a:spcBef>
              <a:buNone/>
              <a:defRPr lang="en-GB" sz="1000" b="1" kern="1200" dirty="0" smtClean="0">
                <a:solidFill>
                  <a:srgbClr val="6F7779"/>
                </a:solidFill>
                <a:latin typeface="+mj-lt"/>
                <a:ea typeface="+mn-ea"/>
                <a:cs typeface="+mn-cs"/>
              </a:defRPr>
            </a:lvl1pPr>
          </a:lstStyle>
          <a:p>
            <a:pPr lvl="0"/>
            <a:r>
              <a:rPr lang="en-GB"/>
              <a:t>Click to edit </a:t>
            </a:r>
            <a:br>
              <a:rPr lang="en-GB"/>
            </a:br>
            <a:r>
              <a:rPr lang="en-GB"/>
              <a:t>Master text </a:t>
            </a:r>
            <a:br>
              <a:rPr lang="en-GB"/>
            </a:br>
            <a:r>
              <a:rPr lang="en-GB"/>
              <a:t>styles</a:t>
            </a:r>
          </a:p>
        </p:txBody>
      </p:sp>
      <p:sp>
        <p:nvSpPr>
          <p:cNvPr id="46" name="Marcador de texto 54">
            <a:extLst>
              <a:ext uri="{FF2B5EF4-FFF2-40B4-BE49-F238E27FC236}">
                <a16:creationId xmlns:a16="http://schemas.microsoft.com/office/drawing/2014/main" id="{62702C47-17C3-8C0F-91DE-B838F4F83E13}"/>
              </a:ext>
            </a:extLst>
          </p:cNvPr>
          <p:cNvSpPr>
            <a:spLocks noGrp="1"/>
          </p:cNvSpPr>
          <p:nvPr>
            <p:ph type="body" sz="quarter" idx="56" hasCustomPrompt="1"/>
          </p:nvPr>
        </p:nvSpPr>
        <p:spPr>
          <a:xfrm>
            <a:off x="10154511" y="3725718"/>
            <a:ext cx="1185638" cy="914686"/>
          </a:xfrm>
          <a:prstGeom prst="rect">
            <a:avLst/>
          </a:prstGeom>
        </p:spPr>
        <p:txBody>
          <a:bodyPr/>
          <a:lstStyle>
            <a:lvl1pPr marL="0" indent="0" algn="l">
              <a:spcBef>
                <a:spcPts val="0"/>
              </a:spcBef>
              <a:spcAft>
                <a:spcPts val="0"/>
              </a:spcAft>
              <a:buNone/>
              <a:defRPr lang="es-ES" sz="1000" b="1" kern="1200" smtClean="0">
                <a:solidFill>
                  <a:srgbClr val="6F7779"/>
                </a:solidFill>
                <a:latin typeface="+mj-lt"/>
                <a:ea typeface="+mn-ea"/>
                <a:cs typeface="Arial" charset="0"/>
                <a:sym typeface="Arial"/>
              </a:defRPr>
            </a:lvl1pPr>
            <a:lvl2pPr marL="0" indent="0" algn="l">
              <a:lnSpc>
                <a:spcPct val="100000"/>
              </a:lnSpc>
              <a:spcBef>
                <a:spcPts val="200"/>
              </a:spcBef>
              <a:spcAft>
                <a:spcPts val="600"/>
              </a:spcAft>
              <a:buNone/>
              <a:defRPr sz="8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47" name="Marcador de texto 54">
            <a:extLst>
              <a:ext uri="{FF2B5EF4-FFF2-40B4-BE49-F238E27FC236}">
                <a16:creationId xmlns:a16="http://schemas.microsoft.com/office/drawing/2014/main" id="{C646088F-1CB2-C7BD-8CFB-92FF09EBBCE6}"/>
              </a:ext>
            </a:extLst>
          </p:cNvPr>
          <p:cNvSpPr>
            <a:spLocks noGrp="1"/>
          </p:cNvSpPr>
          <p:nvPr>
            <p:ph type="body" sz="quarter" idx="57" hasCustomPrompt="1"/>
          </p:nvPr>
        </p:nvSpPr>
        <p:spPr>
          <a:xfrm>
            <a:off x="6510917" y="2571441"/>
            <a:ext cx="1185638" cy="914686"/>
          </a:xfrm>
          <a:prstGeom prst="rect">
            <a:avLst/>
          </a:prstGeom>
        </p:spPr>
        <p:txBody>
          <a:bodyPr/>
          <a:lstStyle>
            <a:lvl1pPr marL="0" indent="0" algn="r">
              <a:spcBef>
                <a:spcPts val="0"/>
              </a:spcBef>
              <a:spcAft>
                <a:spcPts val="0"/>
              </a:spcAft>
              <a:buNone/>
              <a:defRPr lang="es-ES" sz="1000" b="1" kern="1200" smtClean="0">
                <a:solidFill>
                  <a:srgbClr val="6F7779"/>
                </a:solidFill>
                <a:latin typeface="+mj-lt"/>
                <a:ea typeface="+mn-ea"/>
                <a:cs typeface="Arial" charset="0"/>
                <a:sym typeface="Arial"/>
              </a:defRPr>
            </a:lvl1pPr>
            <a:lvl2pPr marL="0" indent="0" algn="r">
              <a:lnSpc>
                <a:spcPct val="100000"/>
              </a:lnSpc>
              <a:spcBef>
                <a:spcPts val="200"/>
              </a:spcBef>
              <a:spcAft>
                <a:spcPts val="600"/>
              </a:spcAft>
              <a:buNone/>
              <a:defRPr sz="8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48" name="Marcador de texto 54">
            <a:extLst>
              <a:ext uri="{FF2B5EF4-FFF2-40B4-BE49-F238E27FC236}">
                <a16:creationId xmlns:a16="http://schemas.microsoft.com/office/drawing/2014/main" id="{6EB4AB3E-C5BE-3151-3008-BCBC7B9D8D50}"/>
              </a:ext>
            </a:extLst>
          </p:cNvPr>
          <p:cNvSpPr>
            <a:spLocks noGrp="1"/>
          </p:cNvSpPr>
          <p:nvPr>
            <p:ph type="body" sz="quarter" idx="58" hasCustomPrompt="1"/>
          </p:nvPr>
        </p:nvSpPr>
        <p:spPr>
          <a:xfrm>
            <a:off x="6494664" y="3626702"/>
            <a:ext cx="1185638" cy="914686"/>
          </a:xfrm>
          <a:prstGeom prst="rect">
            <a:avLst/>
          </a:prstGeom>
        </p:spPr>
        <p:txBody>
          <a:bodyPr/>
          <a:lstStyle>
            <a:lvl1pPr marL="0" indent="0" algn="r">
              <a:spcBef>
                <a:spcPts val="0"/>
              </a:spcBef>
              <a:spcAft>
                <a:spcPts val="0"/>
              </a:spcAft>
              <a:buNone/>
              <a:defRPr lang="es-ES" sz="1000" b="1" kern="1200" smtClean="0">
                <a:solidFill>
                  <a:srgbClr val="6F7779"/>
                </a:solidFill>
                <a:latin typeface="+mj-lt"/>
                <a:ea typeface="+mn-ea"/>
                <a:cs typeface="Arial" charset="0"/>
                <a:sym typeface="Arial"/>
              </a:defRPr>
            </a:lvl1pPr>
            <a:lvl2pPr marL="0" indent="0" algn="r">
              <a:lnSpc>
                <a:spcPct val="100000"/>
              </a:lnSpc>
              <a:spcBef>
                <a:spcPts val="200"/>
              </a:spcBef>
              <a:spcAft>
                <a:spcPts val="600"/>
              </a:spcAft>
              <a:buNone/>
              <a:defRPr sz="8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49" name="Marcador de texto 54">
            <a:extLst>
              <a:ext uri="{FF2B5EF4-FFF2-40B4-BE49-F238E27FC236}">
                <a16:creationId xmlns:a16="http://schemas.microsoft.com/office/drawing/2014/main" id="{FF9755BB-2F80-EBA3-C48D-69266A4AF7CF}"/>
              </a:ext>
            </a:extLst>
          </p:cNvPr>
          <p:cNvSpPr>
            <a:spLocks noGrp="1"/>
          </p:cNvSpPr>
          <p:nvPr>
            <p:ph type="body" sz="quarter" idx="59" hasCustomPrompt="1"/>
          </p:nvPr>
        </p:nvSpPr>
        <p:spPr>
          <a:xfrm>
            <a:off x="10158428" y="2571441"/>
            <a:ext cx="1185638" cy="914686"/>
          </a:xfrm>
          <a:prstGeom prst="rect">
            <a:avLst/>
          </a:prstGeom>
        </p:spPr>
        <p:txBody>
          <a:bodyPr/>
          <a:lstStyle>
            <a:lvl1pPr marL="0" indent="0" algn="l">
              <a:spcBef>
                <a:spcPts val="0"/>
              </a:spcBef>
              <a:spcAft>
                <a:spcPts val="0"/>
              </a:spcAft>
              <a:buNone/>
              <a:defRPr lang="es-ES" sz="1000" b="1" kern="1200" smtClean="0">
                <a:solidFill>
                  <a:srgbClr val="6F7779"/>
                </a:solidFill>
                <a:latin typeface="+mj-lt"/>
                <a:ea typeface="+mn-ea"/>
                <a:cs typeface="Arial" charset="0"/>
                <a:sym typeface="Arial"/>
              </a:defRPr>
            </a:lvl1pPr>
            <a:lvl2pPr marL="0" indent="0" algn="l">
              <a:lnSpc>
                <a:spcPct val="100000"/>
              </a:lnSpc>
              <a:spcBef>
                <a:spcPts val="200"/>
              </a:spcBef>
              <a:spcAft>
                <a:spcPts val="600"/>
              </a:spcAft>
              <a:buNone/>
              <a:defRPr sz="8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50" name="Marcador de texto 54">
            <a:extLst>
              <a:ext uri="{FF2B5EF4-FFF2-40B4-BE49-F238E27FC236}">
                <a16:creationId xmlns:a16="http://schemas.microsoft.com/office/drawing/2014/main" id="{5581EA92-1630-3322-A0AF-4D5AE5A99FF6}"/>
              </a:ext>
            </a:extLst>
          </p:cNvPr>
          <p:cNvSpPr>
            <a:spLocks noGrp="1"/>
          </p:cNvSpPr>
          <p:nvPr>
            <p:ph type="body" sz="quarter" idx="60" hasCustomPrompt="1"/>
          </p:nvPr>
        </p:nvSpPr>
        <p:spPr>
          <a:xfrm>
            <a:off x="8358278" y="4516236"/>
            <a:ext cx="1185638" cy="914686"/>
          </a:xfrm>
          <a:prstGeom prst="rect">
            <a:avLst/>
          </a:prstGeom>
        </p:spPr>
        <p:txBody>
          <a:bodyPr/>
          <a:lstStyle>
            <a:lvl1pPr marL="0" indent="0" algn="l">
              <a:spcBef>
                <a:spcPts val="0"/>
              </a:spcBef>
              <a:spcAft>
                <a:spcPts val="0"/>
              </a:spcAft>
              <a:buNone/>
              <a:defRPr lang="es-ES" sz="1000" b="1" kern="1200" smtClean="0">
                <a:solidFill>
                  <a:srgbClr val="6F7779"/>
                </a:solidFill>
                <a:latin typeface="+mj-lt"/>
                <a:ea typeface="+mn-ea"/>
                <a:cs typeface="Arial" charset="0"/>
                <a:sym typeface="Arial"/>
              </a:defRPr>
            </a:lvl1pPr>
            <a:lvl2pPr marL="0" indent="0" algn="l">
              <a:lnSpc>
                <a:spcPct val="100000"/>
              </a:lnSpc>
              <a:spcBef>
                <a:spcPts val="200"/>
              </a:spcBef>
              <a:spcAft>
                <a:spcPts val="600"/>
              </a:spcAft>
              <a:buNone/>
              <a:defRPr sz="8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51" name="Marcador de texto 54">
            <a:extLst>
              <a:ext uri="{FF2B5EF4-FFF2-40B4-BE49-F238E27FC236}">
                <a16:creationId xmlns:a16="http://schemas.microsoft.com/office/drawing/2014/main" id="{4B2D86C0-542D-3F9B-9C2D-665AC8FE5989}"/>
              </a:ext>
            </a:extLst>
          </p:cNvPr>
          <p:cNvSpPr>
            <a:spLocks noGrp="1"/>
          </p:cNvSpPr>
          <p:nvPr>
            <p:ph type="body" sz="quarter" idx="61" hasCustomPrompt="1"/>
          </p:nvPr>
        </p:nvSpPr>
        <p:spPr>
          <a:xfrm>
            <a:off x="8358278" y="1506679"/>
            <a:ext cx="1185638" cy="914686"/>
          </a:xfrm>
          <a:prstGeom prst="rect">
            <a:avLst/>
          </a:prstGeom>
        </p:spPr>
        <p:txBody>
          <a:bodyPr anchor="b"/>
          <a:lstStyle>
            <a:lvl1pPr marL="0" indent="0" algn="l">
              <a:spcBef>
                <a:spcPts val="0"/>
              </a:spcBef>
              <a:spcAft>
                <a:spcPts val="0"/>
              </a:spcAft>
              <a:buNone/>
              <a:defRPr lang="es-ES" sz="1000" b="1" kern="1200" smtClean="0">
                <a:solidFill>
                  <a:srgbClr val="6F7779"/>
                </a:solidFill>
                <a:latin typeface="+mj-lt"/>
                <a:ea typeface="+mn-ea"/>
                <a:cs typeface="Arial" charset="0"/>
                <a:sym typeface="Arial"/>
              </a:defRPr>
            </a:lvl1pPr>
            <a:lvl2pPr marL="0" indent="0" algn="l">
              <a:lnSpc>
                <a:spcPct val="100000"/>
              </a:lnSpc>
              <a:spcBef>
                <a:spcPts val="200"/>
              </a:spcBef>
              <a:spcAft>
                <a:spcPts val="600"/>
              </a:spcAft>
              <a:buNone/>
              <a:defRPr sz="8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5" name="Marcador de número de diapositiva 5">
            <a:extLst>
              <a:ext uri="{FF2B5EF4-FFF2-40B4-BE49-F238E27FC236}">
                <a16:creationId xmlns:a16="http://schemas.microsoft.com/office/drawing/2014/main" id="{4F4EECA8-0A07-5D9C-29D6-418B706B999A}"/>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6DEE7BEF-2AE7-4259-9BF5-C4E213D8EC5D}"/>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4B11C951-7565-AB36-01EB-A14591B0ECAD}"/>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0C5DEE55-A528-3C5C-1D4B-EE13E0359867}"/>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4998CD44-F517-E304-C64C-3FDCA7662940}"/>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ACE1735B-9BAC-9FC0-1BE5-C74B0E951DCA}"/>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34830434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37">
          <p15:clr>
            <a:srgbClr val="FBAE40"/>
          </p15:clr>
        </p15:guide>
        <p15:guide id="2" pos="3840">
          <p15:clr>
            <a:srgbClr val="FBAE40"/>
          </p15:clr>
        </p15:guide>
        <p15:guide id="3" orient="horz" pos="383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8_Header &amp; Content ">
    <p:spTree>
      <p:nvGrpSpPr>
        <p:cNvPr id="1" name=""/>
        <p:cNvGrpSpPr/>
        <p:nvPr/>
      </p:nvGrpSpPr>
      <p:grpSpPr>
        <a:xfrm>
          <a:off x="0" y="0"/>
          <a:ext cx="0" cy="0"/>
          <a:chOff x="0" y="0"/>
          <a:chExt cx="0" cy="0"/>
        </a:xfrm>
      </p:grpSpPr>
      <p:sp>
        <p:nvSpPr>
          <p:cNvPr id="58" name="Marcador de texto 54">
            <a:extLst>
              <a:ext uri="{FF2B5EF4-FFF2-40B4-BE49-F238E27FC236}">
                <a16:creationId xmlns:a16="http://schemas.microsoft.com/office/drawing/2014/main" id="{912A3BDA-06FC-12B4-B782-C068C98FDD35}"/>
              </a:ext>
            </a:extLst>
          </p:cNvPr>
          <p:cNvSpPr>
            <a:spLocks noGrp="1"/>
          </p:cNvSpPr>
          <p:nvPr>
            <p:ph type="body" sz="quarter" idx="53" hasCustomPrompt="1"/>
          </p:nvPr>
        </p:nvSpPr>
        <p:spPr>
          <a:xfrm>
            <a:off x="693939" y="1493211"/>
            <a:ext cx="3369506" cy="914686"/>
          </a:xfrm>
          <a:prstGeom prst="rect">
            <a:avLst/>
          </a:prstGeom>
        </p:spPr>
        <p:txBody>
          <a:bodyPr/>
          <a:lstStyle>
            <a:lvl1pPr marL="0" indent="0" algn="l">
              <a:spcBef>
                <a:spcPts val="0"/>
              </a:spcBef>
              <a:spcAft>
                <a:spcPts val="0"/>
              </a:spcAft>
              <a:buNone/>
              <a:defRPr lang="es-ES" sz="1200" b="1" kern="1200" smtClean="0">
                <a:solidFill>
                  <a:schemeClr val="tx1"/>
                </a:solidFill>
                <a:latin typeface="+mj-lt"/>
                <a:ea typeface="+mn-ea"/>
                <a:cs typeface="Arial" charset="0"/>
                <a:sym typeface="Arial"/>
              </a:defRPr>
            </a:lvl1pPr>
            <a:lvl2pPr marL="0" indent="0" algn="l">
              <a:lnSpc>
                <a:spcPct val="100000"/>
              </a:lnSpc>
              <a:spcBef>
                <a:spcPts val="200"/>
              </a:spcBef>
              <a:spcAft>
                <a:spcPts val="600"/>
              </a:spcAft>
              <a:buNone/>
              <a:defRPr sz="1050">
                <a:solidFill>
                  <a:schemeClr val="tx1"/>
                </a:solidFill>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65" name="Text Placeholder 56">
            <a:extLst>
              <a:ext uri="{FF2B5EF4-FFF2-40B4-BE49-F238E27FC236}">
                <a16:creationId xmlns:a16="http://schemas.microsoft.com/office/drawing/2014/main" id="{2B7AF398-214E-52A8-ADD3-8ED927E61F15}"/>
              </a:ext>
            </a:extLst>
          </p:cNvPr>
          <p:cNvSpPr>
            <a:spLocks noGrp="1"/>
          </p:cNvSpPr>
          <p:nvPr>
            <p:ph type="body" sz="quarter" idx="52"/>
          </p:nvPr>
        </p:nvSpPr>
        <p:spPr>
          <a:xfrm>
            <a:off x="4578859" y="2167129"/>
            <a:ext cx="3034282" cy="3034282"/>
          </a:xfrm>
          <a:prstGeom prst="rect">
            <a:avLst/>
          </a:prstGeom>
          <a:blipFill>
            <a:blip r:embed="rId2">
              <a:extLst>
                <a:ext uri="{96DAC541-7B7A-43D3-8B79-37D633B846F1}">
                  <asvg:svgBlip xmlns:asvg="http://schemas.microsoft.com/office/drawing/2016/SVG/main" r:embed="rId3"/>
                </a:ext>
              </a:extLst>
            </a:blip>
            <a:stretch>
              <a:fillRect l="516" t="478" r="516" b="478"/>
            </a:stretch>
          </a:blipFill>
        </p:spPr>
        <p:txBody>
          <a:bodyPr lIns="108000" tIns="108000" rIns="108000" bIns="72000"/>
          <a:lstStyle>
            <a:lvl1pPr marL="0" indent="0" algn="ctr">
              <a:buNone/>
              <a:defRPr sz="100">
                <a:solidFill>
                  <a:schemeClr val="tx1"/>
                </a:solidFill>
                <a:latin typeface="+mj-lt"/>
              </a:defRPr>
            </a:lvl1pPr>
            <a:lvl2pPr marL="457200" indent="0">
              <a:buNone/>
              <a:defRPr/>
            </a:lvl2pPr>
          </a:lstStyle>
          <a:p>
            <a:pPr lvl="0"/>
            <a:r>
              <a:rPr lang="en-GB"/>
              <a:t>Click to edit Master text styles</a:t>
            </a:r>
          </a:p>
        </p:txBody>
      </p:sp>
      <p:sp>
        <p:nvSpPr>
          <p:cNvPr id="66" name="Picture Placeholder 49">
            <a:extLst>
              <a:ext uri="{FF2B5EF4-FFF2-40B4-BE49-F238E27FC236}">
                <a16:creationId xmlns:a16="http://schemas.microsoft.com/office/drawing/2014/main" id="{179A9322-22B9-228D-E3C0-C99813BA6994}"/>
              </a:ext>
            </a:extLst>
          </p:cNvPr>
          <p:cNvSpPr>
            <a:spLocks noGrp="1"/>
          </p:cNvSpPr>
          <p:nvPr>
            <p:ph type="pic" sz="quarter" idx="46"/>
          </p:nvPr>
        </p:nvSpPr>
        <p:spPr>
          <a:xfrm>
            <a:off x="5929661" y="2397224"/>
            <a:ext cx="334844" cy="334844"/>
          </a:xfrm>
          <a:prstGeom prst="rect">
            <a:avLst/>
          </a:prstGeom>
        </p:spPr>
        <p:txBody>
          <a:bodyPr/>
          <a:lstStyle>
            <a:lvl1pPr marL="0" indent="0" algn="ctr">
              <a:buNone/>
              <a:defRPr sz="600">
                <a:solidFill>
                  <a:schemeClr val="bg1"/>
                </a:solidFill>
                <a:latin typeface="+mj-lt"/>
              </a:defRPr>
            </a:lvl1pPr>
          </a:lstStyle>
          <a:p>
            <a:endParaRPr lang="en-GB"/>
          </a:p>
        </p:txBody>
      </p:sp>
      <p:sp>
        <p:nvSpPr>
          <p:cNvPr id="67" name="Picture Placeholder 49">
            <a:extLst>
              <a:ext uri="{FF2B5EF4-FFF2-40B4-BE49-F238E27FC236}">
                <a16:creationId xmlns:a16="http://schemas.microsoft.com/office/drawing/2014/main" id="{12DE5EC3-C124-7ECB-76E4-54268A02C51E}"/>
              </a:ext>
            </a:extLst>
          </p:cNvPr>
          <p:cNvSpPr>
            <a:spLocks noGrp="1"/>
          </p:cNvSpPr>
          <p:nvPr>
            <p:ph type="pic" sz="quarter" idx="47"/>
          </p:nvPr>
        </p:nvSpPr>
        <p:spPr>
          <a:xfrm>
            <a:off x="5929661" y="4799765"/>
            <a:ext cx="334844" cy="334844"/>
          </a:xfrm>
          <a:prstGeom prst="rect">
            <a:avLst/>
          </a:prstGeom>
        </p:spPr>
        <p:txBody>
          <a:bodyPr/>
          <a:lstStyle>
            <a:lvl1pPr marL="0" indent="0" algn="ctr">
              <a:buNone/>
              <a:defRPr sz="600">
                <a:solidFill>
                  <a:schemeClr val="bg1"/>
                </a:solidFill>
                <a:latin typeface="+mj-lt"/>
              </a:defRPr>
            </a:lvl1pPr>
          </a:lstStyle>
          <a:p>
            <a:endParaRPr lang="en-GB"/>
          </a:p>
        </p:txBody>
      </p:sp>
      <p:sp>
        <p:nvSpPr>
          <p:cNvPr id="68" name="Picture Placeholder 49">
            <a:extLst>
              <a:ext uri="{FF2B5EF4-FFF2-40B4-BE49-F238E27FC236}">
                <a16:creationId xmlns:a16="http://schemas.microsoft.com/office/drawing/2014/main" id="{CFD441E1-4DFC-B606-28CA-378491027A00}"/>
              </a:ext>
            </a:extLst>
          </p:cNvPr>
          <p:cNvSpPr>
            <a:spLocks noGrp="1"/>
          </p:cNvSpPr>
          <p:nvPr>
            <p:ph type="pic" sz="quarter" idx="48"/>
          </p:nvPr>
        </p:nvSpPr>
        <p:spPr>
          <a:xfrm>
            <a:off x="6963591" y="2899248"/>
            <a:ext cx="334844" cy="334844"/>
          </a:xfrm>
          <a:prstGeom prst="rect">
            <a:avLst/>
          </a:prstGeom>
        </p:spPr>
        <p:txBody>
          <a:bodyPr/>
          <a:lstStyle>
            <a:lvl1pPr marL="0" indent="0" algn="ctr">
              <a:buNone/>
              <a:defRPr sz="600">
                <a:solidFill>
                  <a:schemeClr val="bg1"/>
                </a:solidFill>
                <a:latin typeface="+mj-lt"/>
              </a:defRPr>
            </a:lvl1pPr>
          </a:lstStyle>
          <a:p>
            <a:endParaRPr lang="en-GB"/>
          </a:p>
        </p:txBody>
      </p:sp>
      <p:sp>
        <p:nvSpPr>
          <p:cNvPr id="69" name="Picture Placeholder 49">
            <a:extLst>
              <a:ext uri="{FF2B5EF4-FFF2-40B4-BE49-F238E27FC236}">
                <a16:creationId xmlns:a16="http://schemas.microsoft.com/office/drawing/2014/main" id="{8F98C896-430C-33B0-6F2C-61B6619953C3}"/>
              </a:ext>
            </a:extLst>
          </p:cNvPr>
          <p:cNvSpPr>
            <a:spLocks noGrp="1"/>
          </p:cNvSpPr>
          <p:nvPr>
            <p:ph type="pic" sz="quarter" idx="49"/>
          </p:nvPr>
        </p:nvSpPr>
        <p:spPr>
          <a:xfrm>
            <a:off x="4913661" y="2887295"/>
            <a:ext cx="334844" cy="334844"/>
          </a:xfrm>
          <a:prstGeom prst="rect">
            <a:avLst/>
          </a:prstGeom>
        </p:spPr>
        <p:txBody>
          <a:bodyPr/>
          <a:lstStyle>
            <a:lvl1pPr marL="0" indent="0" algn="ctr">
              <a:buNone/>
              <a:defRPr sz="600">
                <a:solidFill>
                  <a:schemeClr val="bg1"/>
                </a:solidFill>
                <a:latin typeface="+mj-lt"/>
              </a:defRPr>
            </a:lvl1pPr>
          </a:lstStyle>
          <a:p>
            <a:endParaRPr lang="en-GB"/>
          </a:p>
        </p:txBody>
      </p:sp>
      <p:sp>
        <p:nvSpPr>
          <p:cNvPr id="70" name="Picture Placeholder 49">
            <a:extLst>
              <a:ext uri="{FF2B5EF4-FFF2-40B4-BE49-F238E27FC236}">
                <a16:creationId xmlns:a16="http://schemas.microsoft.com/office/drawing/2014/main" id="{94680E33-2C49-DA75-FACA-20F82C28C005}"/>
              </a:ext>
            </a:extLst>
          </p:cNvPr>
          <p:cNvSpPr>
            <a:spLocks noGrp="1"/>
          </p:cNvSpPr>
          <p:nvPr>
            <p:ph type="pic" sz="quarter" idx="50"/>
          </p:nvPr>
        </p:nvSpPr>
        <p:spPr>
          <a:xfrm>
            <a:off x="6957614" y="4255906"/>
            <a:ext cx="334844" cy="334844"/>
          </a:xfrm>
          <a:prstGeom prst="rect">
            <a:avLst/>
          </a:prstGeom>
        </p:spPr>
        <p:txBody>
          <a:bodyPr/>
          <a:lstStyle>
            <a:lvl1pPr marL="0" indent="0" algn="ctr">
              <a:buNone/>
              <a:defRPr sz="600">
                <a:solidFill>
                  <a:schemeClr val="bg1"/>
                </a:solidFill>
                <a:latin typeface="+mj-lt"/>
              </a:defRPr>
            </a:lvl1pPr>
          </a:lstStyle>
          <a:p>
            <a:endParaRPr lang="en-GB"/>
          </a:p>
        </p:txBody>
      </p:sp>
      <p:sp>
        <p:nvSpPr>
          <p:cNvPr id="71" name="Picture Placeholder 49">
            <a:extLst>
              <a:ext uri="{FF2B5EF4-FFF2-40B4-BE49-F238E27FC236}">
                <a16:creationId xmlns:a16="http://schemas.microsoft.com/office/drawing/2014/main" id="{B323F266-1020-63EA-B6EE-43DBE4826265}"/>
              </a:ext>
            </a:extLst>
          </p:cNvPr>
          <p:cNvSpPr>
            <a:spLocks noGrp="1"/>
          </p:cNvSpPr>
          <p:nvPr>
            <p:ph type="pic" sz="quarter" idx="51"/>
          </p:nvPr>
        </p:nvSpPr>
        <p:spPr>
          <a:xfrm>
            <a:off x="4901708" y="4267859"/>
            <a:ext cx="334844" cy="334844"/>
          </a:xfrm>
          <a:prstGeom prst="rect">
            <a:avLst/>
          </a:prstGeom>
        </p:spPr>
        <p:txBody>
          <a:bodyPr/>
          <a:lstStyle>
            <a:lvl1pPr marL="0" indent="0" algn="ctr">
              <a:buNone/>
              <a:defRPr sz="600">
                <a:solidFill>
                  <a:schemeClr val="bg1"/>
                </a:solidFill>
                <a:latin typeface="+mj-lt"/>
              </a:defRPr>
            </a:lvl1pPr>
          </a:lstStyle>
          <a:p>
            <a:endParaRPr lang="en-GB"/>
          </a:p>
        </p:txBody>
      </p:sp>
      <p:sp>
        <p:nvSpPr>
          <p:cNvPr id="72" name="Marcador de texto 54">
            <a:extLst>
              <a:ext uri="{FF2B5EF4-FFF2-40B4-BE49-F238E27FC236}">
                <a16:creationId xmlns:a16="http://schemas.microsoft.com/office/drawing/2014/main" id="{6E4EDAA1-33A9-A6A9-6FED-3D9A3CDC5D3F}"/>
              </a:ext>
            </a:extLst>
          </p:cNvPr>
          <p:cNvSpPr>
            <a:spLocks noGrp="1"/>
          </p:cNvSpPr>
          <p:nvPr>
            <p:ph type="body" sz="quarter" idx="54" hasCustomPrompt="1"/>
          </p:nvPr>
        </p:nvSpPr>
        <p:spPr>
          <a:xfrm>
            <a:off x="5412081" y="1910773"/>
            <a:ext cx="1564378" cy="312729"/>
          </a:xfrm>
          <a:prstGeom prst="rect">
            <a:avLst/>
          </a:prstGeom>
        </p:spPr>
        <p:txBody>
          <a:bodyPr/>
          <a:lstStyle>
            <a:lvl1pPr marL="0" indent="0" algn="ctr">
              <a:spcBef>
                <a:spcPts val="0"/>
              </a:spcBef>
              <a:spcAft>
                <a:spcPts val="0"/>
              </a:spcAft>
              <a:buNone/>
              <a:defRPr lang="es-ES" sz="1000" b="1" kern="1200" smtClean="0">
                <a:solidFill>
                  <a:schemeClr val="tx1"/>
                </a:solidFill>
                <a:latin typeface="+mj-lt"/>
                <a:ea typeface="+mn-ea"/>
                <a:cs typeface="Arial" charset="0"/>
                <a:sym typeface="Arial"/>
              </a:defRPr>
            </a:lvl1pPr>
            <a:lvl2pPr marL="0" indent="0" algn="l">
              <a:lnSpc>
                <a:spcPct val="100000"/>
              </a:lnSpc>
              <a:spcBef>
                <a:spcPts val="200"/>
              </a:spcBef>
              <a:spcAft>
                <a:spcPts val="600"/>
              </a:spcAft>
              <a:buNone/>
              <a:defRPr sz="1050"/>
            </a:lvl2pPr>
          </a:lstStyle>
          <a:p>
            <a:pPr lvl="0"/>
            <a:r>
              <a:rPr lang="es-ES"/>
              <a:t>Click </a:t>
            </a:r>
            <a:r>
              <a:rPr lang="es-ES" err="1"/>
              <a:t>to</a:t>
            </a:r>
            <a:r>
              <a:rPr lang="es-ES"/>
              <a:t> </a:t>
            </a:r>
            <a:r>
              <a:rPr lang="es-ES" err="1"/>
              <a:t>add</a:t>
            </a:r>
            <a:r>
              <a:rPr lang="es-ES"/>
              <a:t> </a:t>
            </a:r>
            <a:r>
              <a:rPr lang="es-ES" err="1"/>
              <a:t>text</a:t>
            </a:r>
            <a:endParaRPr lang="es-ES"/>
          </a:p>
        </p:txBody>
      </p:sp>
      <p:sp>
        <p:nvSpPr>
          <p:cNvPr id="73" name="Marcador de texto 54">
            <a:extLst>
              <a:ext uri="{FF2B5EF4-FFF2-40B4-BE49-F238E27FC236}">
                <a16:creationId xmlns:a16="http://schemas.microsoft.com/office/drawing/2014/main" id="{736CCF6D-C0D6-7183-510B-D3DA5D1563F7}"/>
              </a:ext>
            </a:extLst>
          </p:cNvPr>
          <p:cNvSpPr>
            <a:spLocks noGrp="1"/>
          </p:cNvSpPr>
          <p:nvPr>
            <p:ph type="body" sz="quarter" idx="55" hasCustomPrompt="1"/>
          </p:nvPr>
        </p:nvSpPr>
        <p:spPr>
          <a:xfrm>
            <a:off x="5286351" y="5236903"/>
            <a:ext cx="1564378" cy="312729"/>
          </a:xfrm>
          <a:prstGeom prst="rect">
            <a:avLst/>
          </a:prstGeom>
        </p:spPr>
        <p:txBody>
          <a:bodyPr/>
          <a:lstStyle>
            <a:lvl1pPr marL="0" indent="0" algn="ctr">
              <a:spcBef>
                <a:spcPts val="0"/>
              </a:spcBef>
              <a:spcAft>
                <a:spcPts val="0"/>
              </a:spcAft>
              <a:buNone/>
              <a:defRPr lang="es-ES" sz="1000" b="1" kern="1200" smtClean="0">
                <a:solidFill>
                  <a:schemeClr val="tx1"/>
                </a:solidFill>
                <a:latin typeface="+mj-lt"/>
                <a:ea typeface="+mn-ea"/>
                <a:cs typeface="Arial" charset="0"/>
                <a:sym typeface="Arial"/>
              </a:defRPr>
            </a:lvl1pPr>
            <a:lvl2pPr marL="0" indent="0" algn="l">
              <a:lnSpc>
                <a:spcPct val="100000"/>
              </a:lnSpc>
              <a:spcBef>
                <a:spcPts val="200"/>
              </a:spcBef>
              <a:spcAft>
                <a:spcPts val="600"/>
              </a:spcAft>
              <a:buNone/>
              <a:defRPr sz="1050"/>
            </a:lvl2pPr>
          </a:lstStyle>
          <a:p>
            <a:pPr lvl="0"/>
            <a:r>
              <a:rPr lang="es-ES"/>
              <a:t>Click </a:t>
            </a:r>
            <a:r>
              <a:rPr lang="es-ES" err="1"/>
              <a:t>to</a:t>
            </a:r>
            <a:r>
              <a:rPr lang="es-ES"/>
              <a:t> </a:t>
            </a:r>
            <a:r>
              <a:rPr lang="es-ES" err="1"/>
              <a:t>add</a:t>
            </a:r>
            <a:r>
              <a:rPr lang="es-ES"/>
              <a:t> </a:t>
            </a:r>
            <a:r>
              <a:rPr lang="es-ES" err="1"/>
              <a:t>text</a:t>
            </a:r>
            <a:endParaRPr lang="es-ES"/>
          </a:p>
        </p:txBody>
      </p:sp>
      <p:sp>
        <p:nvSpPr>
          <p:cNvPr id="74" name="Marcador de texto 54">
            <a:extLst>
              <a:ext uri="{FF2B5EF4-FFF2-40B4-BE49-F238E27FC236}">
                <a16:creationId xmlns:a16="http://schemas.microsoft.com/office/drawing/2014/main" id="{CCBAE903-2FC6-1EB4-7360-5E38532EB33B}"/>
              </a:ext>
            </a:extLst>
          </p:cNvPr>
          <p:cNvSpPr>
            <a:spLocks noGrp="1"/>
          </p:cNvSpPr>
          <p:nvPr>
            <p:ph type="body" sz="quarter" idx="56" hasCustomPrompt="1"/>
          </p:nvPr>
        </p:nvSpPr>
        <p:spPr>
          <a:xfrm>
            <a:off x="7526631" y="4391083"/>
            <a:ext cx="1564378" cy="312729"/>
          </a:xfrm>
          <a:prstGeom prst="rect">
            <a:avLst/>
          </a:prstGeom>
        </p:spPr>
        <p:txBody>
          <a:bodyPr/>
          <a:lstStyle>
            <a:lvl1pPr marL="0" indent="0" algn="l">
              <a:spcBef>
                <a:spcPts val="0"/>
              </a:spcBef>
              <a:spcAft>
                <a:spcPts val="0"/>
              </a:spcAft>
              <a:buNone/>
              <a:defRPr lang="es-ES" sz="800" b="1" kern="1200" smtClean="0">
                <a:solidFill>
                  <a:schemeClr val="bg1"/>
                </a:solidFill>
                <a:latin typeface="+mj-lt"/>
                <a:ea typeface="+mn-ea"/>
                <a:cs typeface="Arial" charset="0"/>
                <a:sym typeface="Arial"/>
              </a:defRPr>
            </a:lvl1pPr>
            <a:lvl2pPr marL="0" indent="0" algn="l">
              <a:lnSpc>
                <a:spcPct val="100000"/>
              </a:lnSpc>
              <a:spcBef>
                <a:spcPts val="200"/>
              </a:spcBef>
              <a:spcAft>
                <a:spcPts val="600"/>
              </a:spcAft>
              <a:buNone/>
              <a:defRPr sz="1050"/>
            </a:lvl2pPr>
          </a:lstStyle>
          <a:p>
            <a:pPr lvl="0"/>
            <a:r>
              <a:rPr lang="es-ES"/>
              <a:t>Click </a:t>
            </a:r>
            <a:r>
              <a:rPr lang="es-ES" err="1"/>
              <a:t>to</a:t>
            </a:r>
            <a:r>
              <a:rPr lang="es-ES"/>
              <a:t> </a:t>
            </a:r>
            <a:r>
              <a:rPr lang="es-ES" err="1"/>
              <a:t>add</a:t>
            </a:r>
            <a:r>
              <a:rPr lang="es-ES"/>
              <a:t> </a:t>
            </a:r>
            <a:r>
              <a:rPr lang="es-ES" err="1"/>
              <a:t>text</a:t>
            </a:r>
            <a:endParaRPr lang="es-ES"/>
          </a:p>
        </p:txBody>
      </p:sp>
      <p:sp>
        <p:nvSpPr>
          <p:cNvPr id="75" name="Marcador de texto 54">
            <a:extLst>
              <a:ext uri="{FF2B5EF4-FFF2-40B4-BE49-F238E27FC236}">
                <a16:creationId xmlns:a16="http://schemas.microsoft.com/office/drawing/2014/main" id="{ED5F5999-1D0B-87BB-3C20-23B1402985F7}"/>
              </a:ext>
            </a:extLst>
          </p:cNvPr>
          <p:cNvSpPr>
            <a:spLocks noGrp="1"/>
          </p:cNvSpPr>
          <p:nvPr>
            <p:ph type="body" sz="quarter" idx="57" hasCustomPrompt="1"/>
          </p:nvPr>
        </p:nvSpPr>
        <p:spPr>
          <a:xfrm>
            <a:off x="7698081" y="3042343"/>
            <a:ext cx="1564378" cy="312729"/>
          </a:xfrm>
          <a:prstGeom prst="rect">
            <a:avLst/>
          </a:prstGeom>
        </p:spPr>
        <p:txBody>
          <a:bodyPr/>
          <a:lstStyle>
            <a:lvl1pPr marL="0" indent="0" algn="l">
              <a:spcBef>
                <a:spcPts val="0"/>
              </a:spcBef>
              <a:spcAft>
                <a:spcPts val="0"/>
              </a:spcAft>
              <a:buNone/>
              <a:defRPr lang="es-ES" sz="1000" b="1" kern="1200" smtClean="0">
                <a:solidFill>
                  <a:schemeClr val="tx1"/>
                </a:solidFill>
                <a:latin typeface="+mj-lt"/>
                <a:ea typeface="+mn-ea"/>
                <a:cs typeface="Arial" charset="0"/>
                <a:sym typeface="Arial"/>
              </a:defRPr>
            </a:lvl1pPr>
            <a:lvl2pPr marL="0" indent="0" algn="l">
              <a:lnSpc>
                <a:spcPct val="100000"/>
              </a:lnSpc>
              <a:spcBef>
                <a:spcPts val="200"/>
              </a:spcBef>
              <a:spcAft>
                <a:spcPts val="600"/>
              </a:spcAft>
              <a:buNone/>
              <a:defRPr sz="1050"/>
            </a:lvl2pPr>
          </a:lstStyle>
          <a:p>
            <a:pPr lvl="0"/>
            <a:r>
              <a:rPr lang="es-ES"/>
              <a:t>Click </a:t>
            </a:r>
            <a:r>
              <a:rPr lang="es-ES" err="1"/>
              <a:t>to</a:t>
            </a:r>
            <a:r>
              <a:rPr lang="es-ES"/>
              <a:t> </a:t>
            </a:r>
            <a:r>
              <a:rPr lang="es-ES" err="1"/>
              <a:t>add</a:t>
            </a:r>
            <a:r>
              <a:rPr lang="es-ES"/>
              <a:t> </a:t>
            </a:r>
            <a:r>
              <a:rPr lang="es-ES" err="1"/>
              <a:t>text</a:t>
            </a:r>
            <a:endParaRPr lang="es-ES"/>
          </a:p>
        </p:txBody>
      </p:sp>
      <p:sp>
        <p:nvSpPr>
          <p:cNvPr id="76" name="Marcador de texto 54">
            <a:extLst>
              <a:ext uri="{FF2B5EF4-FFF2-40B4-BE49-F238E27FC236}">
                <a16:creationId xmlns:a16="http://schemas.microsoft.com/office/drawing/2014/main" id="{0CF4D47C-15AB-CADC-00A4-B559502CD43D}"/>
              </a:ext>
            </a:extLst>
          </p:cNvPr>
          <p:cNvSpPr>
            <a:spLocks noGrp="1"/>
          </p:cNvSpPr>
          <p:nvPr>
            <p:ph type="body" sz="quarter" idx="58" hasCustomPrompt="1"/>
          </p:nvPr>
        </p:nvSpPr>
        <p:spPr>
          <a:xfrm>
            <a:off x="2966061" y="3042343"/>
            <a:ext cx="1564378" cy="312729"/>
          </a:xfrm>
          <a:prstGeom prst="rect">
            <a:avLst/>
          </a:prstGeom>
        </p:spPr>
        <p:txBody>
          <a:bodyPr/>
          <a:lstStyle>
            <a:lvl1pPr marL="0" indent="0" algn="r">
              <a:spcBef>
                <a:spcPts val="0"/>
              </a:spcBef>
              <a:spcAft>
                <a:spcPts val="0"/>
              </a:spcAft>
              <a:buNone/>
              <a:defRPr lang="es-ES" sz="1000" b="1" kern="1200" smtClean="0">
                <a:solidFill>
                  <a:schemeClr val="tx1"/>
                </a:solidFill>
                <a:latin typeface="+mj-lt"/>
                <a:ea typeface="+mn-ea"/>
                <a:cs typeface="Arial" charset="0"/>
                <a:sym typeface="Arial"/>
              </a:defRPr>
            </a:lvl1pPr>
            <a:lvl2pPr marL="0" indent="0" algn="l">
              <a:lnSpc>
                <a:spcPct val="100000"/>
              </a:lnSpc>
              <a:spcBef>
                <a:spcPts val="200"/>
              </a:spcBef>
              <a:spcAft>
                <a:spcPts val="600"/>
              </a:spcAft>
              <a:buNone/>
              <a:defRPr sz="1050"/>
            </a:lvl2pPr>
          </a:lstStyle>
          <a:p>
            <a:pPr lvl="0"/>
            <a:r>
              <a:rPr lang="es-ES"/>
              <a:t>Click </a:t>
            </a:r>
            <a:r>
              <a:rPr lang="es-ES" err="1"/>
              <a:t>to</a:t>
            </a:r>
            <a:r>
              <a:rPr lang="es-ES"/>
              <a:t> </a:t>
            </a:r>
            <a:r>
              <a:rPr lang="es-ES" err="1"/>
              <a:t>add</a:t>
            </a:r>
            <a:r>
              <a:rPr lang="es-ES"/>
              <a:t> </a:t>
            </a:r>
            <a:r>
              <a:rPr lang="es-ES" err="1"/>
              <a:t>text</a:t>
            </a:r>
            <a:endParaRPr lang="es-ES"/>
          </a:p>
        </p:txBody>
      </p:sp>
      <p:sp>
        <p:nvSpPr>
          <p:cNvPr id="77" name="Marcador de texto 54">
            <a:extLst>
              <a:ext uri="{FF2B5EF4-FFF2-40B4-BE49-F238E27FC236}">
                <a16:creationId xmlns:a16="http://schemas.microsoft.com/office/drawing/2014/main" id="{5F4D2754-B210-6ACB-0A29-15BB925F0F83}"/>
              </a:ext>
            </a:extLst>
          </p:cNvPr>
          <p:cNvSpPr>
            <a:spLocks noGrp="1"/>
          </p:cNvSpPr>
          <p:nvPr>
            <p:ph type="body" sz="quarter" idx="59" hasCustomPrompt="1"/>
          </p:nvPr>
        </p:nvSpPr>
        <p:spPr>
          <a:xfrm>
            <a:off x="3217521" y="4356793"/>
            <a:ext cx="1564378" cy="312729"/>
          </a:xfrm>
          <a:prstGeom prst="rect">
            <a:avLst/>
          </a:prstGeom>
        </p:spPr>
        <p:txBody>
          <a:bodyPr/>
          <a:lstStyle>
            <a:lvl1pPr marL="0" indent="0" algn="r">
              <a:spcBef>
                <a:spcPts val="0"/>
              </a:spcBef>
              <a:spcAft>
                <a:spcPts val="0"/>
              </a:spcAft>
              <a:buNone/>
              <a:defRPr lang="es-ES" sz="1000" b="1" kern="1200" smtClean="0">
                <a:solidFill>
                  <a:schemeClr val="tx1"/>
                </a:solidFill>
                <a:latin typeface="+mj-lt"/>
                <a:ea typeface="+mn-ea"/>
                <a:cs typeface="Arial" charset="0"/>
                <a:sym typeface="Arial"/>
              </a:defRPr>
            </a:lvl1pPr>
            <a:lvl2pPr marL="0" indent="0" algn="l">
              <a:lnSpc>
                <a:spcPct val="100000"/>
              </a:lnSpc>
              <a:spcBef>
                <a:spcPts val="200"/>
              </a:spcBef>
              <a:spcAft>
                <a:spcPts val="600"/>
              </a:spcAft>
              <a:buNone/>
              <a:defRPr sz="1050"/>
            </a:lvl2pPr>
          </a:lstStyle>
          <a:p>
            <a:pPr lvl="0"/>
            <a:r>
              <a:rPr lang="es-ES"/>
              <a:t>Click </a:t>
            </a:r>
            <a:r>
              <a:rPr lang="es-ES" err="1"/>
              <a:t>to</a:t>
            </a:r>
            <a:r>
              <a:rPr lang="es-ES"/>
              <a:t> </a:t>
            </a:r>
            <a:r>
              <a:rPr lang="es-ES" err="1"/>
              <a:t>add</a:t>
            </a:r>
            <a:r>
              <a:rPr lang="es-ES"/>
              <a:t> </a:t>
            </a:r>
            <a:r>
              <a:rPr lang="es-ES" err="1"/>
              <a:t>text</a:t>
            </a:r>
            <a:endParaRPr lang="es-ES"/>
          </a:p>
        </p:txBody>
      </p:sp>
      <p:sp>
        <p:nvSpPr>
          <p:cNvPr id="78" name="Marcador de texto 54">
            <a:extLst>
              <a:ext uri="{FF2B5EF4-FFF2-40B4-BE49-F238E27FC236}">
                <a16:creationId xmlns:a16="http://schemas.microsoft.com/office/drawing/2014/main" id="{702DDC40-FE8E-87CE-566C-BD24A8BB5B76}"/>
              </a:ext>
            </a:extLst>
          </p:cNvPr>
          <p:cNvSpPr>
            <a:spLocks noGrp="1"/>
          </p:cNvSpPr>
          <p:nvPr>
            <p:ph type="body" sz="quarter" idx="60" hasCustomPrompt="1"/>
          </p:nvPr>
        </p:nvSpPr>
        <p:spPr>
          <a:xfrm>
            <a:off x="7950641" y="1405528"/>
            <a:ext cx="1440000" cy="1440000"/>
          </a:xfrm>
          <a:prstGeom prst="ellipse">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s-ES" sz="1050" dirty="0">
                <a:solidFill>
                  <a:schemeClr val="tx2"/>
                </a:solidFill>
                <a:latin typeface="+mj-lt"/>
              </a:defRPr>
            </a:lvl1pPr>
            <a:lvl2pPr>
              <a:defRPr lang="es-ES" sz="1800" dirty="0">
                <a:solidFill>
                  <a:schemeClr val="lt1"/>
                </a:solidFill>
                <a:latin typeface="+mn-lt"/>
              </a:defRPr>
            </a:lvl2pPr>
          </a:lstStyle>
          <a:p>
            <a:pPr marL="0" lvl="0" algn="ctr"/>
            <a:r>
              <a:rPr lang="es-ES"/>
              <a:t>Click </a:t>
            </a:r>
            <a:r>
              <a:rPr lang="es-ES" err="1"/>
              <a:t>to</a:t>
            </a:r>
            <a:r>
              <a:rPr lang="es-ES"/>
              <a:t> </a:t>
            </a:r>
            <a:r>
              <a:rPr lang="es-ES" err="1"/>
              <a:t>add</a:t>
            </a:r>
            <a:r>
              <a:rPr lang="es-ES"/>
              <a:t> </a:t>
            </a:r>
            <a:r>
              <a:rPr lang="es-ES" err="1"/>
              <a:t>text</a:t>
            </a:r>
            <a:endParaRPr lang="es-ES"/>
          </a:p>
        </p:txBody>
      </p:sp>
      <p:sp>
        <p:nvSpPr>
          <p:cNvPr id="5" name="Marcador de número de diapositiva 5">
            <a:extLst>
              <a:ext uri="{FF2B5EF4-FFF2-40B4-BE49-F238E27FC236}">
                <a16:creationId xmlns:a16="http://schemas.microsoft.com/office/drawing/2014/main" id="{CFD9FCED-65D5-7E23-38B8-02481BB9146A}"/>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3E7E9E18-65C6-9433-C223-505892F629D7}"/>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09BEFCEB-4B4C-C1A3-7839-CADCB46DAE21}"/>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9DEE77A6-B6D4-F244-9721-F1001FC9F54D}"/>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F8CA0323-9586-9609-2403-F345F865B84F}"/>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12B1DE0C-B959-A0F6-DC38-B18E0D910FF0}"/>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13718149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0_Header &amp; Content ">
    <p:spTree>
      <p:nvGrpSpPr>
        <p:cNvPr id="1" name=""/>
        <p:cNvGrpSpPr/>
        <p:nvPr/>
      </p:nvGrpSpPr>
      <p:grpSpPr>
        <a:xfrm>
          <a:off x="0" y="0"/>
          <a:ext cx="0" cy="0"/>
          <a:chOff x="0" y="0"/>
          <a:chExt cx="0" cy="0"/>
        </a:xfrm>
      </p:grpSpPr>
      <p:sp>
        <p:nvSpPr>
          <p:cNvPr id="40" name="Text Placeholder 39">
            <a:extLst>
              <a:ext uri="{FF2B5EF4-FFF2-40B4-BE49-F238E27FC236}">
                <a16:creationId xmlns:a16="http://schemas.microsoft.com/office/drawing/2014/main" id="{BE371A70-7B5C-84FB-5E9D-2D93CF9250BA}"/>
              </a:ext>
            </a:extLst>
          </p:cNvPr>
          <p:cNvSpPr>
            <a:spLocks noGrp="1"/>
          </p:cNvSpPr>
          <p:nvPr>
            <p:ph type="body" sz="quarter" idx="46"/>
          </p:nvPr>
        </p:nvSpPr>
        <p:spPr>
          <a:xfrm>
            <a:off x="5641830" y="1243874"/>
            <a:ext cx="936000" cy="2260827"/>
          </a:xfrm>
          <a:prstGeom prst="downArrow">
            <a:avLst>
              <a:gd name="adj1" fmla="val 100000"/>
              <a:gd name="adj2" fmla="val 50000"/>
            </a:avLst>
          </a:prstGeom>
          <a:solidFill>
            <a:schemeClr val="accent2"/>
          </a:solidFill>
        </p:spPr>
        <p:txBody>
          <a:bodyPr tIns="180000"/>
          <a:lstStyle>
            <a:lvl1pPr marL="0" indent="0" algn="ctr">
              <a:buNone/>
              <a:defRPr sz="1400" b="1">
                <a:solidFill>
                  <a:schemeClr val="bg1"/>
                </a:solidFill>
                <a:latin typeface="Santander Headline" panose="020B0504020201020104" pitchFamily="34" charset="0"/>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GB"/>
              <a:t>Click to edit Master text styles</a:t>
            </a:r>
          </a:p>
        </p:txBody>
      </p:sp>
      <p:sp>
        <p:nvSpPr>
          <p:cNvPr id="41" name="Text Placeholder 39">
            <a:extLst>
              <a:ext uri="{FF2B5EF4-FFF2-40B4-BE49-F238E27FC236}">
                <a16:creationId xmlns:a16="http://schemas.microsoft.com/office/drawing/2014/main" id="{45C082C2-7916-CF27-9B46-CEB7B7334F3C}"/>
              </a:ext>
            </a:extLst>
          </p:cNvPr>
          <p:cNvSpPr>
            <a:spLocks noGrp="1"/>
          </p:cNvSpPr>
          <p:nvPr>
            <p:ph type="body" sz="quarter" idx="47"/>
          </p:nvPr>
        </p:nvSpPr>
        <p:spPr>
          <a:xfrm>
            <a:off x="5641830" y="3635020"/>
            <a:ext cx="936000" cy="2260827"/>
          </a:xfrm>
          <a:prstGeom prst="upArrow">
            <a:avLst>
              <a:gd name="adj1" fmla="val 100000"/>
              <a:gd name="adj2" fmla="val 50000"/>
            </a:avLst>
          </a:prstGeom>
          <a:solidFill>
            <a:srgbClr val="60001D"/>
          </a:solidFill>
        </p:spPr>
        <p:txBody>
          <a:bodyPr tIns="36000" bIns="180000" anchor="b"/>
          <a:lstStyle>
            <a:lvl1pPr marL="0" indent="0" algn="ctr">
              <a:buNone/>
              <a:defRPr sz="1400" b="1">
                <a:solidFill>
                  <a:schemeClr val="bg1"/>
                </a:solidFill>
                <a:latin typeface="Santander Headline" panose="020B0504020201020104" pitchFamily="34" charset="0"/>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GB"/>
              <a:t>Click to edit Master text styles</a:t>
            </a:r>
          </a:p>
        </p:txBody>
      </p:sp>
      <p:sp>
        <p:nvSpPr>
          <p:cNvPr id="42" name="Text Placeholder 39">
            <a:extLst>
              <a:ext uri="{FF2B5EF4-FFF2-40B4-BE49-F238E27FC236}">
                <a16:creationId xmlns:a16="http://schemas.microsoft.com/office/drawing/2014/main" id="{F80C58FC-26BB-0136-1091-1292EE15D800}"/>
              </a:ext>
            </a:extLst>
          </p:cNvPr>
          <p:cNvSpPr>
            <a:spLocks noGrp="1"/>
          </p:cNvSpPr>
          <p:nvPr>
            <p:ph type="body" sz="quarter" idx="48"/>
          </p:nvPr>
        </p:nvSpPr>
        <p:spPr>
          <a:xfrm>
            <a:off x="6172699" y="3091809"/>
            <a:ext cx="2268000" cy="936000"/>
          </a:xfrm>
          <a:prstGeom prst="leftArrow">
            <a:avLst>
              <a:gd name="adj1" fmla="val 100000"/>
              <a:gd name="adj2" fmla="val 50000"/>
            </a:avLst>
          </a:prstGeom>
          <a:solidFill>
            <a:schemeClr val="accent3"/>
          </a:solidFill>
        </p:spPr>
        <p:txBody>
          <a:bodyPr lIns="180000" tIns="36000" rIns="216000" bIns="36000" anchor="ctr"/>
          <a:lstStyle>
            <a:lvl1pPr marL="0" indent="0" algn="r">
              <a:buNone/>
              <a:defRPr sz="1400" b="1">
                <a:solidFill>
                  <a:schemeClr val="bg1"/>
                </a:solidFill>
                <a:latin typeface="Santander Headline" panose="020B0504020201020104" pitchFamily="34" charset="0"/>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GB"/>
              <a:t>Click to edit Master text styles</a:t>
            </a:r>
          </a:p>
        </p:txBody>
      </p:sp>
      <p:sp>
        <p:nvSpPr>
          <p:cNvPr id="43" name="Text Placeholder 39">
            <a:extLst>
              <a:ext uri="{FF2B5EF4-FFF2-40B4-BE49-F238E27FC236}">
                <a16:creationId xmlns:a16="http://schemas.microsoft.com/office/drawing/2014/main" id="{3DAF5A2E-0436-4D96-8714-CB51B3DC621D}"/>
              </a:ext>
            </a:extLst>
          </p:cNvPr>
          <p:cNvSpPr>
            <a:spLocks noGrp="1"/>
          </p:cNvSpPr>
          <p:nvPr>
            <p:ph type="body" sz="quarter" idx="49"/>
          </p:nvPr>
        </p:nvSpPr>
        <p:spPr>
          <a:xfrm flipH="1">
            <a:off x="3772399" y="3091809"/>
            <a:ext cx="2268000" cy="936000"/>
          </a:xfrm>
          <a:prstGeom prst="leftArrow">
            <a:avLst>
              <a:gd name="adj1" fmla="val 100000"/>
              <a:gd name="adj2" fmla="val 50000"/>
            </a:avLst>
          </a:prstGeom>
          <a:solidFill>
            <a:srgbClr val="8C0014"/>
          </a:solidFill>
        </p:spPr>
        <p:txBody>
          <a:bodyPr lIns="180000" tIns="36000" rIns="216000" bIns="36000" anchor="ctr"/>
          <a:lstStyle>
            <a:lvl1pPr marL="0" indent="0" algn="l">
              <a:buNone/>
              <a:defRPr sz="1400" b="1">
                <a:solidFill>
                  <a:schemeClr val="bg1"/>
                </a:solidFill>
                <a:latin typeface="Santander Headline" panose="020B0504020201020104" pitchFamily="34" charset="0"/>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GB"/>
              <a:t>Click to edit Master text styles</a:t>
            </a:r>
          </a:p>
        </p:txBody>
      </p:sp>
      <p:sp>
        <p:nvSpPr>
          <p:cNvPr id="45" name="Text Placeholder 44">
            <a:extLst>
              <a:ext uri="{FF2B5EF4-FFF2-40B4-BE49-F238E27FC236}">
                <a16:creationId xmlns:a16="http://schemas.microsoft.com/office/drawing/2014/main" id="{CBBC720D-3992-0F7B-77F9-F9BB37614972}"/>
              </a:ext>
            </a:extLst>
          </p:cNvPr>
          <p:cNvSpPr>
            <a:spLocks noGrp="1"/>
          </p:cNvSpPr>
          <p:nvPr>
            <p:ph type="body" sz="quarter" idx="50" hasCustomPrompt="1"/>
          </p:nvPr>
        </p:nvSpPr>
        <p:spPr>
          <a:xfrm>
            <a:off x="5883453" y="2781018"/>
            <a:ext cx="452754" cy="452754"/>
          </a:xfrm>
          <a:prstGeom prst="ellipse">
            <a:avLst/>
          </a:prstGeom>
          <a:solidFill>
            <a:schemeClr val="bg1"/>
          </a:solidFill>
        </p:spPr>
        <p:txBody>
          <a:bodyPr lIns="36000" tIns="36000" rIns="36000" bIns="36000" anchor="ctr"/>
          <a:lstStyle>
            <a:lvl1pPr marL="0" indent="0" algn="ctr">
              <a:lnSpc>
                <a:spcPct val="100000"/>
              </a:lnSpc>
              <a:buNone/>
              <a:defRPr sz="2400" b="1">
                <a:latin typeface="Santander Headline" panose="020B0504020201020104" pitchFamily="34" charset="0"/>
              </a:defRPr>
            </a:lvl1pPr>
          </a:lstStyle>
          <a:p>
            <a:pPr lvl="0"/>
            <a:r>
              <a:rPr lang="en-GB"/>
              <a:t>#</a:t>
            </a:r>
          </a:p>
        </p:txBody>
      </p:sp>
      <p:sp>
        <p:nvSpPr>
          <p:cNvPr id="46" name="Text Placeholder 44">
            <a:extLst>
              <a:ext uri="{FF2B5EF4-FFF2-40B4-BE49-F238E27FC236}">
                <a16:creationId xmlns:a16="http://schemas.microsoft.com/office/drawing/2014/main" id="{9163A490-C363-33EE-1022-B475AA948137}"/>
              </a:ext>
            </a:extLst>
          </p:cNvPr>
          <p:cNvSpPr>
            <a:spLocks noGrp="1"/>
          </p:cNvSpPr>
          <p:nvPr>
            <p:ph type="body" sz="quarter" idx="51" hasCustomPrompt="1"/>
          </p:nvPr>
        </p:nvSpPr>
        <p:spPr>
          <a:xfrm>
            <a:off x="5883453" y="3916398"/>
            <a:ext cx="452754" cy="452754"/>
          </a:xfrm>
          <a:prstGeom prst="ellipse">
            <a:avLst/>
          </a:prstGeom>
          <a:solidFill>
            <a:schemeClr val="bg1"/>
          </a:solidFill>
        </p:spPr>
        <p:txBody>
          <a:bodyPr lIns="36000" tIns="36000" rIns="36000" bIns="36000" anchor="ctr"/>
          <a:lstStyle>
            <a:lvl1pPr marL="0" indent="0" algn="ctr">
              <a:lnSpc>
                <a:spcPct val="100000"/>
              </a:lnSpc>
              <a:buNone/>
              <a:defRPr sz="2400" b="1">
                <a:latin typeface="Santander Headline" panose="020B0504020201020104" pitchFamily="34" charset="0"/>
              </a:defRPr>
            </a:lvl1pPr>
          </a:lstStyle>
          <a:p>
            <a:pPr lvl="0"/>
            <a:r>
              <a:rPr lang="en-GB"/>
              <a:t>#</a:t>
            </a:r>
          </a:p>
        </p:txBody>
      </p:sp>
      <p:sp>
        <p:nvSpPr>
          <p:cNvPr id="47" name="Text Placeholder 44">
            <a:extLst>
              <a:ext uri="{FF2B5EF4-FFF2-40B4-BE49-F238E27FC236}">
                <a16:creationId xmlns:a16="http://schemas.microsoft.com/office/drawing/2014/main" id="{9D59540F-F50F-978A-82AD-0AA6E83E1E92}"/>
              </a:ext>
            </a:extLst>
          </p:cNvPr>
          <p:cNvSpPr>
            <a:spLocks noGrp="1"/>
          </p:cNvSpPr>
          <p:nvPr>
            <p:ph type="body" sz="quarter" idx="52" hasCustomPrompt="1"/>
          </p:nvPr>
        </p:nvSpPr>
        <p:spPr>
          <a:xfrm>
            <a:off x="5285691" y="3333432"/>
            <a:ext cx="452754" cy="452754"/>
          </a:xfrm>
          <a:prstGeom prst="ellipse">
            <a:avLst/>
          </a:prstGeom>
          <a:solidFill>
            <a:schemeClr val="bg1"/>
          </a:solidFill>
        </p:spPr>
        <p:txBody>
          <a:bodyPr lIns="36000" tIns="36000" rIns="36000" bIns="36000" anchor="ctr"/>
          <a:lstStyle>
            <a:lvl1pPr marL="0" indent="0" algn="ctr">
              <a:lnSpc>
                <a:spcPct val="100000"/>
              </a:lnSpc>
              <a:buNone/>
              <a:defRPr sz="2400" b="1">
                <a:latin typeface="Santander Headline" panose="020B0504020201020104" pitchFamily="34" charset="0"/>
              </a:defRPr>
            </a:lvl1pPr>
          </a:lstStyle>
          <a:p>
            <a:pPr lvl="0"/>
            <a:r>
              <a:rPr lang="en-GB"/>
              <a:t>#</a:t>
            </a:r>
          </a:p>
        </p:txBody>
      </p:sp>
      <p:sp>
        <p:nvSpPr>
          <p:cNvPr id="48" name="Text Placeholder 44">
            <a:extLst>
              <a:ext uri="{FF2B5EF4-FFF2-40B4-BE49-F238E27FC236}">
                <a16:creationId xmlns:a16="http://schemas.microsoft.com/office/drawing/2014/main" id="{94E853D5-2A0F-4B77-CC9E-84868EF375C6}"/>
              </a:ext>
            </a:extLst>
          </p:cNvPr>
          <p:cNvSpPr>
            <a:spLocks noGrp="1"/>
          </p:cNvSpPr>
          <p:nvPr>
            <p:ph type="body" sz="quarter" idx="53" hasCustomPrompt="1"/>
          </p:nvPr>
        </p:nvSpPr>
        <p:spPr>
          <a:xfrm>
            <a:off x="6436311" y="3333432"/>
            <a:ext cx="452754" cy="452754"/>
          </a:xfrm>
          <a:prstGeom prst="ellipse">
            <a:avLst/>
          </a:prstGeom>
          <a:solidFill>
            <a:schemeClr val="bg1"/>
          </a:solidFill>
        </p:spPr>
        <p:txBody>
          <a:bodyPr lIns="36000" tIns="36000" rIns="36000" bIns="36000" anchor="ctr"/>
          <a:lstStyle>
            <a:lvl1pPr marL="0" indent="0" algn="ctr">
              <a:lnSpc>
                <a:spcPct val="100000"/>
              </a:lnSpc>
              <a:buNone/>
              <a:defRPr sz="2400" b="1">
                <a:latin typeface="Santander Headline" panose="020B0504020201020104" pitchFamily="34" charset="0"/>
              </a:defRPr>
            </a:lvl1pPr>
          </a:lstStyle>
          <a:p>
            <a:pPr lvl="0"/>
            <a:r>
              <a:rPr lang="en-GB"/>
              <a:t>#</a:t>
            </a:r>
          </a:p>
        </p:txBody>
      </p:sp>
      <p:sp>
        <p:nvSpPr>
          <p:cNvPr id="50" name="Text Placeholder 49">
            <a:extLst>
              <a:ext uri="{FF2B5EF4-FFF2-40B4-BE49-F238E27FC236}">
                <a16:creationId xmlns:a16="http://schemas.microsoft.com/office/drawing/2014/main" id="{F7CC3B4D-EA91-62F6-085C-056A71FA21E8}"/>
              </a:ext>
            </a:extLst>
          </p:cNvPr>
          <p:cNvSpPr>
            <a:spLocks noGrp="1"/>
          </p:cNvSpPr>
          <p:nvPr>
            <p:ph type="body" sz="quarter" idx="54"/>
          </p:nvPr>
        </p:nvSpPr>
        <p:spPr>
          <a:xfrm>
            <a:off x="2162288" y="1445523"/>
            <a:ext cx="3150996" cy="1179481"/>
          </a:xfrm>
          <a:prstGeom prst="rect">
            <a:avLst/>
          </a:prstGeom>
        </p:spPr>
        <p:txBody>
          <a:bodyPr/>
          <a:lstStyle>
            <a:lvl1pPr marL="0" indent="0" algn="r">
              <a:spcBef>
                <a:spcPts val="0"/>
              </a:spcBef>
              <a:spcAft>
                <a:spcPts val="600"/>
              </a:spcAft>
              <a:buNone/>
              <a:defRPr sz="1100" b="1">
                <a:latin typeface="+mj-lt"/>
              </a:defRPr>
            </a:lvl1pPr>
            <a:lvl2pPr marL="0" indent="180000" algn="r">
              <a:lnSpc>
                <a:spcPct val="100000"/>
              </a:lnSpc>
              <a:spcBef>
                <a:spcPts val="0"/>
              </a:spcBef>
              <a:spcAft>
                <a:spcPts val="600"/>
              </a:spcAft>
              <a:buClr>
                <a:srgbClr val="EC0000"/>
              </a:buClr>
              <a:buFont typeface="Arial" panose="020B0604020202020204" pitchFamily="34" charset="0"/>
              <a:buChar char="●"/>
              <a:defRPr sz="1000">
                <a:latin typeface="+mj-lt"/>
              </a:defRPr>
            </a:lvl2pPr>
          </a:lstStyle>
          <a:p>
            <a:pPr lvl="0"/>
            <a:r>
              <a:rPr lang="en-GB"/>
              <a:t>Click to edit Master text styles</a:t>
            </a:r>
          </a:p>
          <a:p>
            <a:pPr lvl="1"/>
            <a:r>
              <a:rPr lang="en-GB"/>
              <a:t>Second level</a:t>
            </a:r>
          </a:p>
        </p:txBody>
      </p:sp>
      <p:sp>
        <p:nvSpPr>
          <p:cNvPr id="51" name="Text Placeholder 49">
            <a:extLst>
              <a:ext uri="{FF2B5EF4-FFF2-40B4-BE49-F238E27FC236}">
                <a16:creationId xmlns:a16="http://schemas.microsoft.com/office/drawing/2014/main" id="{BB26A751-FA71-18CE-1286-1F23E01C97E7}"/>
              </a:ext>
            </a:extLst>
          </p:cNvPr>
          <p:cNvSpPr>
            <a:spLocks noGrp="1"/>
          </p:cNvSpPr>
          <p:nvPr>
            <p:ph type="body" sz="quarter" idx="55"/>
          </p:nvPr>
        </p:nvSpPr>
        <p:spPr>
          <a:xfrm>
            <a:off x="2162288" y="4500695"/>
            <a:ext cx="3150996" cy="1179481"/>
          </a:xfrm>
          <a:prstGeom prst="rect">
            <a:avLst/>
          </a:prstGeom>
        </p:spPr>
        <p:txBody>
          <a:bodyPr/>
          <a:lstStyle>
            <a:lvl1pPr marL="0" indent="0" algn="r">
              <a:spcBef>
                <a:spcPts val="0"/>
              </a:spcBef>
              <a:spcAft>
                <a:spcPts val="600"/>
              </a:spcAft>
              <a:buNone/>
              <a:defRPr sz="1100" b="1">
                <a:latin typeface="+mj-lt"/>
              </a:defRPr>
            </a:lvl1pPr>
            <a:lvl2pPr marL="0" indent="180000" algn="r">
              <a:lnSpc>
                <a:spcPct val="100000"/>
              </a:lnSpc>
              <a:spcBef>
                <a:spcPts val="0"/>
              </a:spcBef>
              <a:spcAft>
                <a:spcPts val="600"/>
              </a:spcAft>
              <a:buClr>
                <a:srgbClr val="EC0000"/>
              </a:buClr>
              <a:buFont typeface="Arial" panose="020B0604020202020204" pitchFamily="34" charset="0"/>
              <a:buChar char="●"/>
              <a:defRPr sz="1000">
                <a:latin typeface="+mj-lt"/>
              </a:defRPr>
            </a:lvl2pPr>
          </a:lstStyle>
          <a:p>
            <a:pPr lvl="0"/>
            <a:r>
              <a:rPr lang="en-GB"/>
              <a:t>Click to edit Master text styles</a:t>
            </a:r>
          </a:p>
          <a:p>
            <a:pPr lvl="1"/>
            <a:r>
              <a:rPr lang="en-GB"/>
              <a:t>Second level</a:t>
            </a:r>
          </a:p>
        </p:txBody>
      </p:sp>
      <p:sp>
        <p:nvSpPr>
          <p:cNvPr id="52" name="Text Placeholder 49">
            <a:extLst>
              <a:ext uri="{FF2B5EF4-FFF2-40B4-BE49-F238E27FC236}">
                <a16:creationId xmlns:a16="http://schemas.microsoft.com/office/drawing/2014/main" id="{FD57D151-08C3-8E26-DC40-7F124D7A43D5}"/>
              </a:ext>
            </a:extLst>
          </p:cNvPr>
          <p:cNvSpPr>
            <a:spLocks noGrp="1"/>
          </p:cNvSpPr>
          <p:nvPr>
            <p:ph type="body" sz="quarter" idx="56"/>
          </p:nvPr>
        </p:nvSpPr>
        <p:spPr>
          <a:xfrm>
            <a:off x="6863380" y="1445523"/>
            <a:ext cx="3150996" cy="1179481"/>
          </a:xfrm>
          <a:prstGeom prst="rect">
            <a:avLst/>
          </a:prstGeom>
        </p:spPr>
        <p:txBody>
          <a:bodyPr/>
          <a:lstStyle>
            <a:lvl1pPr marL="0" indent="0" algn="l">
              <a:spcBef>
                <a:spcPts val="0"/>
              </a:spcBef>
              <a:spcAft>
                <a:spcPts val="600"/>
              </a:spcAft>
              <a:buNone/>
              <a:defRPr sz="1100" b="1">
                <a:latin typeface="+mj-lt"/>
              </a:defRPr>
            </a:lvl1pPr>
            <a:lvl2pPr marL="0" indent="180000" algn="l">
              <a:lnSpc>
                <a:spcPct val="100000"/>
              </a:lnSpc>
              <a:spcBef>
                <a:spcPts val="0"/>
              </a:spcBef>
              <a:spcAft>
                <a:spcPts val="600"/>
              </a:spcAft>
              <a:buClr>
                <a:srgbClr val="EC0000"/>
              </a:buClr>
              <a:buFont typeface="Arial" panose="020B0604020202020204" pitchFamily="34" charset="0"/>
              <a:buChar char="●"/>
              <a:defRPr sz="1000">
                <a:latin typeface="+mj-lt"/>
              </a:defRPr>
            </a:lvl2pPr>
          </a:lstStyle>
          <a:p>
            <a:pPr lvl="0"/>
            <a:r>
              <a:rPr lang="en-GB"/>
              <a:t>Click to edit Master text styles</a:t>
            </a:r>
          </a:p>
          <a:p>
            <a:pPr lvl="1"/>
            <a:r>
              <a:rPr lang="en-GB"/>
              <a:t>Second level</a:t>
            </a:r>
          </a:p>
        </p:txBody>
      </p:sp>
      <p:sp>
        <p:nvSpPr>
          <p:cNvPr id="53" name="Text Placeholder 49">
            <a:extLst>
              <a:ext uri="{FF2B5EF4-FFF2-40B4-BE49-F238E27FC236}">
                <a16:creationId xmlns:a16="http://schemas.microsoft.com/office/drawing/2014/main" id="{FB0C7631-F1EF-1675-442D-91429990A21A}"/>
              </a:ext>
            </a:extLst>
          </p:cNvPr>
          <p:cNvSpPr>
            <a:spLocks noGrp="1"/>
          </p:cNvSpPr>
          <p:nvPr>
            <p:ph type="body" sz="quarter" idx="57"/>
          </p:nvPr>
        </p:nvSpPr>
        <p:spPr>
          <a:xfrm>
            <a:off x="6863380" y="4500695"/>
            <a:ext cx="3150996" cy="1179481"/>
          </a:xfrm>
          <a:prstGeom prst="rect">
            <a:avLst/>
          </a:prstGeom>
        </p:spPr>
        <p:txBody>
          <a:bodyPr/>
          <a:lstStyle>
            <a:lvl1pPr marL="0" indent="0" algn="l">
              <a:spcBef>
                <a:spcPts val="0"/>
              </a:spcBef>
              <a:spcAft>
                <a:spcPts val="600"/>
              </a:spcAft>
              <a:buNone/>
              <a:defRPr sz="1100" b="1">
                <a:latin typeface="+mj-lt"/>
              </a:defRPr>
            </a:lvl1pPr>
            <a:lvl2pPr marL="0" indent="180000" algn="l">
              <a:lnSpc>
                <a:spcPct val="100000"/>
              </a:lnSpc>
              <a:spcBef>
                <a:spcPts val="0"/>
              </a:spcBef>
              <a:spcAft>
                <a:spcPts val="600"/>
              </a:spcAft>
              <a:buClr>
                <a:srgbClr val="EC0000"/>
              </a:buClr>
              <a:buFont typeface="Arial" panose="020B0604020202020204" pitchFamily="34" charset="0"/>
              <a:buChar char="●"/>
              <a:defRPr sz="1000">
                <a:latin typeface="+mj-lt"/>
              </a:defRPr>
            </a:lvl2pPr>
          </a:lstStyle>
          <a:p>
            <a:pPr lvl="0"/>
            <a:r>
              <a:rPr lang="en-GB"/>
              <a:t>Click to edit Master text styles</a:t>
            </a:r>
          </a:p>
          <a:p>
            <a:pPr lvl="1"/>
            <a:r>
              <a:rPr lang="en-GB"/>
              <a:t>Second level</a:t>
            </a:r>
          </a:p>
        </p:txBody>
      </p:sp>
      <p:sp>
        <p:nvSpPr>
          <p:cNvPr id="5" name="Marcador de número de diapositiva 5">
            <a:extLst>
              <a:ext uri="{FF2B5EF4-FFF2-40B4-BE49-F238E27FC236}">
                <a16:creationId xmlns:a16="http://schemas.microsoft.com/office/drawing/2014/main" id="{43624597-1CA6-41F1-28AF-129B17BE65BF}"/>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E4F59873-5033-596B-E6E4-22441C36F621}"/>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41B39EBE-9D97-5493-2A86-D9AC2CA8E04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C06D2E52-AC8B-4E0A-7FCE-2097444891B3}"/>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ACB997C7-8327-7A9F-1573-6632197C0DAF}"/>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9D05EFE3-9825-18DF-3544-E9EF6BDCD25D}"/>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30978954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9_Header &amp; Content ">
    <p:spTree>
      <p:nvGrpSpPr>
        <p:cNvPr id="1" name=""/>
        <p:cNvGrpSpPr/>
        <p:nvPr/>
      </p:nvGrpSpPr>
      <p:grpSpPr>
        <a:xfrm>
          <a:off x="0" y="0"/>
          <a:ext cx="0" cy="0"/>
          <a:chOff x="0" y="0"/>
          <a:chExt cx="0" cy="0"/>
        </a:xfrm>
      </p:grpSpPr>
      <p:sp>
        <p:nvSpPr>
          <p:cNvPr id="47" name="Text Placeholder 56">
            <a:extLst>
              <a:ext uri="{FF2B5EF4-FFF2-40B4-BE49-F238E27FC236}">
                <a16:creationId xmlns:a16="http://schemas.microsoft.com/office/drawing/2014/main" id="{7C8F0EC5-6ED6-7E4A-9EC1-5AF36D5A3950}"/>
              </a:ext>
            </a:extLst>
          </p:cNvPr>
          <p:cNvSpPr>
            <a:spLocks noGrp="1"/>
          </p:cNvSpPr>
          <p:nvPr>
            <p:ph type="body" sz="quarter" idx="52"/>
          </p:nvPr>
        </p:nvSpPr>
        <p:spPr>
          <a:xfrm>
            <a:off x="3187260" y="1246218"/>
            <a:ext cx="5860800" cy="4363200"/>
          </a:xfrm>
          <a:prstGeom prst="rect">
            <a:avLst/>
          </a:prstGeom>
          <a:blipFill>
            <a:blip r:embed="rId2">
              <a:extLst>
                <a:ext uri="{96DAC541-7B7A-43D3-8B79-37D633B846F1}">
                  <asvg:svgBlip xmlns:asvg="http://schemas.microsoft.com/office/drawing/2016/SVG/main" r:embed="rId3"/>
                </a:ext>
              </a:extLst>
            </a:blip>
            <a:stretch>
              <a:fillRect l="516" t="478" r="516" b="478"/>
            </a:stretch>
          </a:blipFill>
        </p:spPr>
        <p:txBody>
          <a:bodyPr lIns="108000" tIns="108000" rIns="108000" bIns="72000"/>
          <a:lstStyle>
            <a:lvl1pPr marL="0" indent="0" algn="ctr">
              <a:buNone/>
              <a:defRPr sz="100">
                <a:solidFill>
                  <a:schemeClr val="tx1">
                    <a:alpha val="0"/>
                  </a:schemeClr>
                </a:solidFill>
                <a:latin typeface="+mj-lt"/>
              </a:defRPr>
            </a:lvl1pPr>
            <a:lvl2pPr marL="457200" indent="0">
              <a:buNone/>
              <a:defRPr/>
            </a:lvl2pPr>
          </a:lstStyle>
          <a:p>
            <a:pPr lvl="0"/>
            <a:r>
              <a:rPr lang="en-GB"/>
              <a:t>Click to edit Master text styles</a:t>
            </a:r>
          </a:p>
        </p:txBody>
      </p:sp>
      <p:sp>
        <p:nvSpPr>
          <p:cNvPr id="48" name="Text Placeholder 44">
            <a:extLst>
              <a:ext uri="{FF2B5EF4-FFF2-40B4-BE49-F238E27FC236}">
                <a16:creationId xmlns:a16="http://schemas.microsoft.com/office/drawing/2014/main" id="{CEA6F44D-7B6C-E915-8C25-A50A79CFDDAC}"/>
              </a:ext>
            </a:extLst>
          </p:cNvPr>
          <p:cNvSpPr>
            <a:spLocks noGrp="1"/>
          </p:cNvSpPr>
          <p:nvPr>
            <p:ph type="body" sz="quarter" idx="50" hasCustomPrompt="1"/>
          </p:nvPr>
        </p:nvSpPr>
        <p:spPr>
          <a:xfrm>
            <a:off x="6454128" y="2641558"/>
            <a:ext cx="393753" cy="393753"/>
          </a:xfrm>
          <a:prstGeom prst="ellipse">
            <a:avLst/>
          </a:prstGeom>
          <a:solidFill>
            <a:schemeClr val="bg1"/>
          </a:solidFill>
        </p:spPr>
        <p:txBody>
          <a:bodyPr lIns="36000" tIns="36000" rIns="36000" bIns="36000" anchor="ctr"/>
          <a:lstStyle>
            <a:lvl1pPr marL="0" indent="0" algn="ctr">
              <a:lnSpc>
                <a:spcPct val="100000"/>
              </a:lnSpc>
              <a:buNone/>
              <a:defRPr sz="2400" b="1">
                <a:latin typeface="+mj-lt"/>
              </a:defRPr>
            </a:lvl1pPr>
          </a:lstStyle>
          <a:p>
            <a:pPr lvl="0"/>
            <a:r>
              <a:rPr lang="en-GB"/>
              <a:t>#</a:t>
            </a:r>
          </a:p>
        </p:txBody>
      </p:sp>
      <p:sp>
        <p:nvSpPr>
          <p:cNvPr id="49" name="Text Placeholder 44">
            <a:extLst>
              <a:ext uri="{FF2B5EF4-FFF2-40B4-BE49-F238E27FC236}">
                <a16:creationId xmlns:a16="http://schemas.microsoft.com/office/drawing/2014/main" id="{BB8A5B4C-C6B6-A4F1-377B-E3F25521FE4C}"/>
              </a:ext>
            </a:extLst>
          </p:cNvPr>
          <p:cNvSpPr>
            <a:spLocks noGrp="1"/>
          </p:cNvSpPr>
          <p:nvPr>
            <p:ph type="body" sz="quarter" idx="51" hasCustomPrompt="1"/>
          </p:nvPr>
        </p:nvSpPr>
        <p:spPr>
          <a:xfrm>
            <a:off x="5314506" y="3821100"/>
            <a:ext cx="393753" cy="393753"/>
          </a:xfrm>
          <a:prstGeom prst="ellipse">
            <a:avLst/>
          </a:prstGeom>
          <a:solidFill>
            <a:schemeClr val="bg1"/>
          </a:solidFill>
        </p:spPr>
        <p:txBody>
          <a:bodyPr lIns="36000" tIns="36000" rIns="36000" bIns="36000" anchor="ctr"/>
          <a:lstStyle>
            <a:lvl1pPr marL="0" indent="0" algn="ctr">
              <a:lnSpc>
                <a:spcPct val="100000"/>
              </a:lnSpc>
              <a:buNone/>
              <a:defRPr sz="2400" b="1">
                <a:latin typeface="+mj-lt"/>
              </a:defRPr>
            </a:lvl1pPr>
          </a:lstStyle>
          <a:p>
            <a:pPr lvl="0"/>
            <a:r>
              <a:rPr lang="en-GB"/>
              <a:t>#</a:t>
            </a:r>
          </a:p>
        </p:txBody>
      </p:sp>
      <p:sp>
        <p:nvSpPr>
          <p:cNvPr id="50" name="Text Placeholder 44">
            <a:extLst>
              <a:ext uri="{FF2B5EF4-FFF2-40B4-BE49-F238E27FC236}">
                <a16:creationId xmlns:a16="http://schemas.microsoft.com/office/drawing/2014/main" id="{7389A508-162B-9662-7AA4-7E52EEAA3E6D}"/>
              </a:ext>
            </a:extLst>
          </p:cNvPr>
          <p:cNvSpPr>
            <a:spLocks noGrp="1"/>
          </p:cNvSpPr>
          <p:nvPr>
            <p:ph type="body" sz="quarter" idx="53" hasCustomPrompt="1"/>
          </p:nvPr>
        </p:nvSpPr>
        <p:spPr>
          <a:xfrm>
            <a:off x="5314506" y="2625004"/>
            <a:ext cx="393753" cy="393753"/>
          </a:xfrm>
          <a:prstGeom prst="ellipse">
            <a:avLst/>
          </a:prstGeom>
          <a:solidFill>
            <a:schemeClr val="bg1"/>
          </a:solidFill>
        </p:spPr>
        <p:txBody>
          <a:bodyPr lIns="36000" tIns="36000" rIns="36000" bIns="36000" anchor="ctr"/>
          <a:lstStyle>
            <a:lvl1pPr marL="0" indent="0" algn="ctr">
              <a:lnSpc>
                <a:spcPct val="100000"/>
              </a:lnSpc>
              <a:buNone/>
              <a:defRPr sz="2400" b="1">
                <a:latin typeface="+mj-lt"/>
              </a:defRPr>
            </a:lvl1pPr>
          </a:lstStyle>
          <a:p>
            <a:pPr lvl="0"/>
            <a:r>
              <a:rPr lang="en-GB"/>
              <a:t>#</a:t>
            </a:r>
          </a:p>
        </p:txBody>
      </p:sp>
      <p:sp>
        <p:nvSpPr>
          <p:cNvPr id="51" name="Text Placeholder 44">
            <a:extLst>
              <a:ext uri="{FF2B5EF4-FFF2-40B4-BE49-F238E27FC236}">
                <a16:creationId xmlns:a16="http://schemas.microsoft.com/office/drawing/2014/main" id="{54B965A9-E0B2-0797-0748-9DC77DBC361D}"/>
              </a:ext>
            </a:extLst>
          </p:cNvPr>
          <p:cNvSpPr>
            <a:spLocks noGrp="1"/>
          </p:cNvSpPr>
          <p:nvPr>
            <p:ph type="body" sz="quarter" idx="54" hasCustomPrompt="1"/>
          </p:nvPr>
        </p:nvSpPr>
        <p:spPr>
          <a:xfrm>
            <a:off x="6454127" y="3821100"/>
            <a:ext cx="393753" cy="393753"/>
          </a:xfrm>
          <a:prstGeom prst="ellipse">
            <a:avLst/>
          </a:prstGeom>
          <a:solidFill>
            <a:schemeClr val="bg1"/>
          </a:solidFill>
        </p:spPr>
        <p:txBody>
          <a:bodyPr lIns="36000" tIns="36000" rIns="36000" bIns="36000" anchor="ctr"/>
          <a:lstStyle>
            <a:lvl1pPr marL="0" indent="0" algn="ctr">
              <a:lnSpc>
                <a:spcPct val="100000"/>
              </a:lnSpc>
              <a:buNone/>
              <a:defRPr sz="2400" b="1">
                <a:latin typeface="+mj-lt"/>
              </a:defRPr>
            </a:lvl1pPr>
          </a:lstStyle>
          <a:p>
            <a:pPr lvl="0"/>
            <a:r>
              <a:rPr lang="en-GB"/>
              <a:t>#</a:t>
            </a:r>
          </a:p>
        </p:txBody>
      </p:sp>
      <p:sp>
        <p:nvSpPr>
          <p:cNvPr id="52" name="Text Placeholder 49">
            <a:extLst>
              <a:ext uri="{FF2B5EF4-FFF2-40B4-BE49-F238E27FC236}">
                <a16:creationId xmlns:a16="http://schemas.microsoft.com/office/drawing/2014/main" id="{FBD4BF7A-02F3-CD53-0A31-353F5443CFEC}"/>
              </a:ext>
            </a:extLst>
          </p:cNvPr>
          <p:cNvSpPr>
            <a:spLocks noGrp="1"/>
          </p:cNvSpPr>
          <p:nvPr>
            <p:ph type="body" sz="quarter" idx="55"/>
          </p:nvPr>
        </p:nvSpPr>
        <p:spPr>
          <a:xfrm>
            <a:off x="2146789" y="1445523"/>
            <a:ext cx="3150996" cy="1179481"/>
          </a:xfrm>
          <a:prstGeom prst="rect">
            <a:avLst/>
          </a:prstGeom>
        </p:spPr>
        <p:txBody>
          <a:bodyPr/>
          <a:lstStyle>
            <a:lvl1pPr marL="0" indent="0" algn="r">
              <a:spcBef>
                <a:spcPts val="0"/>
              </a:spcBef>
              <a:spcAft>
                <a:spcPts val="600"/>
              </a:spcAft>
              <a:buNone/>
              <a:defRPr sz="1100" b="1">
                <a:solidFill>
                  <a:schemeClr val="tx1"/>
                </a:solidFill>
                <a:latin typeface="+mj-lt"/>
              </a:defRPr>
            </a:lvl1pPr>
            <a:lvl2pPr marL="0" indent="0" algn="r">
              <a:lnSpc>
                <a:spcPct val="100000"/>
              </a:lnSpc>
              <a:spcBef>
                <a:spcPts val="0"/>
              </a:spcBef>
              <a:spcAft>
                <a:spcPts val="600"/>
              </a:spcAft>
              <a:buClr>
                <a:schemeClr val="accent3"/>
              </a:buClr>
              <a:buFont typeface="Arial" panose="020B0604020202020204" pitchFamily="34" charset="0"/>
              <a:buNone/>
              <a:defRPr sz="1000">
                <a:solidFill>
                  <a:schemeClr val="tx1"/>
                </a:solidFill>
                <a:latin typeface="+mj-lt"/>
              </a:defRPr>
            </a:lvl2pPr>
          </a:lstStyle>
          <a:p>
            <a:pPr lvl="0"/>
            <a:r>
              <a:rPr lang="en-GB"/>
              <a:t>Click to edit Master text styles</a:t>
            </a:r>
          </a:p>
          <a:p>
            <a:pPr lvl="1"/>
            <a:r>
              <a:rPr lang="en-GB"/>
              <a:t>Second level</a:t>
            </a:r>
          </a:p>
        </p:txBody>
      </p:sp>
      <p:sp>
        <p:nvSpPr>
          <p:cNvPr id="53" name="Text Placeholder 49">
            <a:extLst>
              <a:ext uri="{FF2B5EF4-FFF2-40B4-BE49-F238E27FC236}">
                <a16:creationId xmlns:a16="http://schemas.microsoft.com/office/drawing/2014/main" id="{BC963D17-C145-FDEE-E69C-A4E5EA1110A2}"/>
              </a:ext>
            </a:extLst>
          </p:cNvPr>
          <p:cNvSpPr>
            <a:spLocks noGrp="1"/>
          </p:cNvSpPr>
          <p:nvPr>
            <p:ph type="body" sz="quarter" idx="56"/>
          </p:nvPr>
        </p:nvSpPr>
        <p:spPr>
          <a:xfrm>
            <a:off x="2146789" y="4500695"/>
            <a:ext cx="3150996" cy="1179481"/>
          </a:xfrm>
          <a:prstGeom prst="rect">
            <a:avLst/>
          </a:prstGeom>
        </p:spPr>
        <p:txBody>
          <a:bodyPr/>
          <a:lstStyle>
            <a:lvl1pPr marL="0" indent="0" algn="r">
              <a:spcBef>
                <a:spcPts val="0"/>
              </a:spcBef>
              <a:spcAft>
                <a:spcPts val="600"/>
              </a:spcAft>
              <a:buNone/>
              <a:defRPr sz="1100" b="1">
                <a:solidFill>
                  <a:schemeClr val="tx1"/>
                </a:solidFill>
                <a:latin typeface="+mj-lt"/>
              </a:defRPr>
            </a:lvl1pPr>
            <a:lvl2pPr marL="0" indent="0" algn="r">
              <a:lnSpc>
                <a:spcPct val="100000"/>
              </a:lnSpc>
              <a:spcBef>
                <a:spcPts val="0"/>
              </a:spcBef>
              <a:spcAft>
                <a:spcPts val="600"/>
              </a:spcAft>
              <a:buClr>
                <a:schemeClr val="accent3"/>
              </a:buClr>
              <a:buFont typeface="Arial" panose="020B0604020202020204" pitchFamily="34" charset="0"/>
              <a:buNone/>
              <a:defRPr sz="1000">
                <a:solidFill>
                  <a:schemeClr val="tx1"/>
                </a:solidFill>
                <a:latin typeface="+mj-lt"/>
              </a:defRPr>
            </a:lvl2pPr>
          </a:lstStyle>
          <a:p>
            <a:pPr lvl="0"/>
            <a:r>
              <a:rPr lang="en-GB"/>
              <a:t>Click to edit Master text styles</a:t>
            </a:r>
          </a:p>
          <a:p>
            <a:pPr lvl="1"/>
            <a:r>
              <a:rPr lang="en-GB"/>
              <a:t>Second level</a:t>
            </a:r>
          </a:p>
        </p:txBody>
      </p:sp>
      <p:sp>
        <p:nvSpPr>
          <p:cNvPr id="54" name="Text Placeholder 49">
            <a:extLst>
              <a:ext uri="{FF2B5EF4-FFF2-40B4-BE49-F238E27FC236}">
                <a16:creationId xmlns:a16="http://schemas.microsoft.com/office/drawing/2014/main" id="{1C34671A-E3CA-ED4A-1FCB-C955F3BFA749}"/>
              </a:ext>
            </a:extLst>
          </p:cNvPr>
          <p:cNvSpPr>
            <a:spLocks noGrp="1"/>
          </p:cNvSpPr>
          <p:nvPr>
            <p:ph type="body" sz="quarter" idx="57"/>
          </p:nvPr>
        </p:nvSpPr>
        <p:spPr>
          <a:xfrm>
            <a:off x="6847881" y="1445523"/>
            <a:ext cx="3150996" cy="1277916"/>
          </a:xfrm>
          <a:prstGeom prst="rect">
            <a:avLst/>
          </a:prstGeom>
        </p:spPr>
        <p:txBody>
          <a:bodyPr/>
          <a:lstStyle>
            <a:lvl1pPr marL="0" indent="0" algn="l">
              <a:spcBef>
                <a:spcPts val="0"/>
              </a:spcBef>
              <a:spcAft>
                <a:spcPts val="600"/>
              </a:spcAft>
              <a:buNone/>
              <a:defRPr sz="1100" b="1">
                <a:solidFill>
                  <a:schemeClr val="tx1"/>
                </a:solidFill>
                <a:latin typeface="+mj-lt"/>
              </a:defRPr>
            </a:lvl1pPr>
            <a:lvl2pPr marL="0" indent="0" algn="l">
              <a:lnSpc>
                <a:spcPct val="100000"/>
              </a:lnSpc>
              <a:spcBef>
                <a:spcPts val="0"/>
              </a:spcBef>
              <a:spcAft>
                <a:spcPts val="600"/>
              </a:spcAft>
              <a:buClr>
                <a:schemeClr val="accent3"/>
              </a:buClr>
              <a:buFont typeface="Arial" panose="020B0604020202020204" pitchFamily="34" charset="0"/>
              <a:buNone/>
              <a:defRPr sz="1000">
                <a:solidFill>
                  <a:schemeClr val="tx1"/>
                </a:solidFill>
                <a:latin typeface="+mj-lt"/>
              </a:defRPr>
            </a:lvl2pPr>
          </a:lstStyle>
          <a:p>
            <a:pPr lvl="0"/>
            <a:r>
              <a:rPr lang="en-GB"/>
              <a:t>Click to edit Master text styles</a:t>
            </a:r>
          </a:p>
          <a:p>
            <a:pPr lvl="1"/>
            <a:r>
              <a:rPr lang="en-GB"/>
              <a:t>Second level</a:t>
            </a:r>
          </a:p>
        </p:txBody>
      </p:sp>
      <p:sp>
        <p:nvSpPr>
          <p:cNvPr id="55" name="Text Placeholder 49">
            <a:extLst>
              <a:ext uri="{FF2B5EF4-FFF2-40B4-BE49-F238E27FC236}">
                <a16:creationId xmlns:a16="http://schemas.microsoft.com/office/drawing/2014/main" id="{C700244C-D235-0C0E-DF43-A34B3F432B68}"/>
              </a:ext>
            </a:extLst>
          </p:cNvPr>
          <p:cNvSpPr>
            <a:spLocks noGrp="1"/>
          </p:cNvSpPr>
          <p:nvPr>
            <p:ph type="body" sz="quarter" idx="58"/>
          </p:nvPr>
        </p:nvSpPr>
        <p:spPr>
          <a:xfrm>
            <a:off x="6847881" y="4500695"/>
            <a:ext cx="3150996" cy="1179481"/>
          </a:xfrm>
          <a:prstGeom prst="rect">
            <a:avLst/>
          </a:prstGeom>
        </p:spPr>
        <p:txBody>
          <a:bodyPr/>
          <a:lstStyle>
            <a:lvl1pPr marL="0" indent="0" algn="l">
              <a:spcBef>
                <a:spcPts val="0"/>
              </a:spcBef>
              <a:spcAft>
                <a:spcPts val="600"/>
              </a:spcAft>
              <a:buNone/>
              <a:defRPr sz="1100" b="1">
                <a:solidFill>
                  <a:schemeClr val="tx1"/>
                </a:solidFill>
                <a:latin typeface="+mj-lt"/>
              </a:defRPr>
            </a:lvl1pPr>
            <a:lvl2pPr marL="0" indent="0" algn="l">
              <a:lnSpc>
                <a:spcPct val="100000"/>
              </a:lnSpc>
              <a:spcBef>
                <a:spcPts val="0"/>
              </a:spcBef>
              <a:spcAft>
                <a:spcPts val="600"/>
              </a:spcAft>
              <a:buClr>
                <a:schemeClr val="accent3"/>
              </a:buClr>
              <a:buFont typeface="Arial" panose="020B0604020202020204" pitchFamily="34" charset="0"/>
              <a:buNone/>
              <a:defRPr sz="1000">
                <a:solidFill>
                  <a:schemeClr val="tx1"/>
                </a:solidFill>
                <a:latin typeface="+mj-lt"/>
              </a:defRPr>
            </a:lvl2pPr>
          </a:lstStyle>
          <a:p>
            <a:pPr lvl="0"/>
            <a:r>
              <a:rPr lang="en-GB"/>
              <a:t>Click to edit Master text styles</a:t>
            </a:r>
          </a:p>
          <a:p>
            <a:pPr lvl="1"/>
            <a:r>
              <a:rPr lang="en-GB"/>
              <a:t>Second level</a:t>
            </a:r>
          </a:p>
        </p:txBody>
      </p:sp>
      <p:sp>
        <p:nvSpPr>
          <p:cNvPr id="57" name="Text Placeholder 56">
            <a:extLst>
              <a:ext uri="{FF2B5EF4-FFF2-40B4-BE49-F238E27FC236}">
                <a16:creationId xmlns:a16="http://schemas.microsoft.com/office/drawing/2014/main" id="{67B26456-2ED0-1BD1-66AB-F956D18F72DE}"/>
              </a:ext>
            </a:extLst>
          </p:cNvPr>
          <p:cNvSpPr>
            <a:spLocks noGrp="1"/>
          </p:cNvSpPr>
          <p:nvPr>
            <p:ph type="body" sz="quarter" idx="59"/>
          </p:nvPr>
        </p:nvSpPr>
        <p:spPr>
          <a:xfrm>
            <a:off x="3213210" y="2924206"/>
            <a:ext cx="1566862" cy="335041"/>
          </a:xfrm>
          <a:prstGeom prst="rect">
            <a:avLst/>
          </a:prstGeom>
        </p:spPr>
        <p:txBody>
          <a:bodyPr/>
          <a:lstStyle>
            <a:lvl1pPr marL="0" indent="0" algn="l">
              <a:buNone/>
              <a:defRPr sz="800">
                <a:solidFill>
                  <a:schemeClr val="bg1"/>
                </a:solidFill>
                <a:latin typeface="+mj-lt"/>
              </a:defRPr>
            </a:lvl1pPr>
            <a:lvl2pPr marL="457200" indent="0" algn="l">
              <a:buNone/>
              <a:defRPr sz="800"/>
            </a:lvl2pPr>
            <a:lvl3pPr marL="914400" indent="0" algn="l">
              <a:buNone/>
              <a:defRPr sz="800"/>
            </a:lvl3pPr>
            <a:lvl4pPr marL="1371600" indent="0" algn="l">
              <a:buNone/>
              <a:defRPr sz="800"/>
            </a:lvl4pPr>
            <a:lvl5pPr marL="1828800" indent="0" algn="l">
              <a:buNone/>
              <a:defRPr sz="800"/>
            </a:lvl5pPr>
          </a:lstStyle>
          <a:p>
            <a:pPr lvl="0"/>
            <a:r>
              <a:rPr lang="en-GB"/>
              <a:t>Click to edit Master text styles</a:t>
            </a:r>
          </a:p>
        </p:txBody>
      </p:sp>
      <p:sp>
        <p:nvSpPr>
          <p:cNvPr id="58" name="Text Placeholder 56">
            <a:extLst>
              <a:ext uri="{FF2B5EF4-FFF2-40B4-BE49-F238E27FC236}">
                <a16:creationId xmlns:a16="http://schemas.microsoft.com/office/drawing/2014/main" id="{16986DD1-D048-C2CF-5E54-95AC4AECF6C2}"/>
              </a:ext>
            </a:extLst>
          </p:cNvPr>
          <p:cNvSpPr>
            <a:spLocks noGrp="1"/>
          </p:cNvSpPr>
          <p:nvPr>
            <p:ph type="body" sz="quarter" idx="60"/>
          </p:nvPr>
        </p:nvSpPr>
        <p:spPr>
          <a:xfrm>
            <a:off x="3213210" y="3594163"/>
            <a:ext cx="1566862" cy="335041"/>
          </a:xfrm>
          <a:prstGeom prst="rect">
            <a:avLst/>
          </a:prstGeom>
        </p:spPr>
        <p:txBody>
          <a:bodyPr/>
          <a:lstStyle>
            <a:lvl1pPr marL="0" indent="0" algn="l">
              <a:buNone/>
              <a:defRPr sz="800">
                <a:solidFill>
                  <a:schemeClr val="bg1"/>
                </a:solidFill>
                <a:latin typeface="+mj-lt"/>
              </a:defRPr>
            </a:lvl1pPr>
            <a:lvl2pPr marL="457200" indent="0" algn="l">
              <a:buNone/>
              <a:defRPr sz="800"/>
            </a:lvl2pPr>
            <a:lvl3pPr marL="914400" indent="0" algn="l">
              <a:buNone/>
              <a:defRPr sz="800"/>
            </a:lvl3pPr>
            <a:lvl4pPr marL="1371600" indent="0" algn="l">
              <a:buNone/>
              <a:defRPr sz="800"/>
            </a:lvl4pPr>
            <a:lvl5pPr marL="1828800" indent="0" algn="l">
              <a:buNone/>
              <a:defRPr sz="800"/>
            </a:lvl5pPr>
          </a:lstStyle>
          <a:p>
            <a:pPr lvl="0"/>
            <a:r>
              <a:rPr lang="en-GB"/>
              <a:t>Click to edit Master text styles</a:t>
            </a:r>
          </a:p>
        </p:txBody>
      </p:sp>
      <p:sp>
        <p:nvSpPr>
          <p:cNvPr id="59" name="Text Placeholder 56">
            <a:extLst>
              <a:ext uri="{FF2B5EF4-FFF2-40B4-BE49-F238E27FC236}">
                <a16:creationId xmlns:a16="http://schemas.microsoft.com/office/drawing/2014/main" id="{C1965FFE-A1D7-643E-9703-99E27347A852}"/>
              </a:ext>
            </a:extLst>
          </p:cNvPr>
          <p:cNvSpPr>
            <a:spLocks noGrp="1"/>
          </p:cNvSpPr>
          <p:nvPr>
            <p:ph type="body" sz="quarter" idx="61"/>
          </p:nvPr>
        </p:nvSpPr>
        <p:spPr>
          <a:xfrm>
            <a:off x="7441179" y="2924206"/>
            <a:ext cx="1566862" cy="335041"/>
          </a:xfrm>
          <a:prstGeom prst="rect">
            <a:avLst/>
          </a:prstGeom>
        </p:spPr>
        <p:txBody>
          <a:bodyPr/>
          <a:lstStyle>
            <a:lvl1pPr marL="0" indent="0" algn="r">
              <a:buNone/>
              <a:defRPr sz="800">
                <a:solidFill>
                  <a:schemeClr val="bg1"/>
                </a:solidFill>
                <a:latin typeface="+mj-lt"/>
              </a:defRPr>
            </a:lvl1pPr>
            <a:lvl2pPr marL="457200" indent="0" algn="l">
              <a:buNone/>
              <a:defRPr sz="800"/>
            </a:lvl2pPr>
            <a:lvl3pPr marL="914400" indent="0" algn="l">
              <a:buNone/>
              <a:defRPr sz="800"/>
            </a:lvl3pPr>
            <a:lvl4pPr marL="1371600" indent="0" algn="l">
              <a:buNone/>
              <a:defRPr sz="800"/>
            </a:lvl4pPr>
            <a:lvl5pPr marL="1828800" indent="0" algn="l">
              <a:buNone/>
              <a:defRPr sz="800"/>
            </a:lvl5pPr>
          </a:lstStyle>
          <a:p>
            <a:pPr lvl="0"/>
            <a:r>
              <a:rPr lang="en-GB"/>
              <a:t>Click to edit Master text styles</a:t>
            </a:r>
          </a:p>
        </p:txBody>
      </p:sp>
      <p:sp>
        <p:nvSpPr>
          <p:cNvPr id="60" name="Text Placeholder 56">
            <a:extLst>
              <a:ext uri="{FF2B5EF4-FFF2-40B4-BE49-F238E27FC236}">
                <a16:creationId xmlns:a16="http://schemas.microsoft.com/office/drawing/2014/main" id="{810DF0C3-F296-2D73-7EA2-BCCC81B6F502}"/>
              </a:ext>
            </a:extLst>
          </p:cNvPr>
          <p:cNvSpPr>
            <a:spLocks noGrp="1"/>
          </p:cNvSpPr>
          <p:nvPr>
            <p:ph type="body" sz="quarter" idx="62"/>
          </p:nvPr>
        </p:nvSpPr>
        <p:spPr>
          <a:xfrm>
            <a:off x="7441179" y="3594163"/>
            <a:ext cx="1566862" cy="335041"/>
          </a:xfrm>
          <a:prstGeom prst="rect">
            <a:avLst/>
          </a:prstGeom>
        </p:spPr>
        <p:txBody>
          <a:bodyPr/>
          <a:lstStyle>
            <a:lvl1pPr marL="0" indent="0" algn="r">
              <a:buNone/>
              <a:defRPr sz="800">
                <a:solidFill>
                  <a:schemeClr val="bg1"/>
                </a:solidFill>
                <a:latin typeface="+mj-lt"/>
              </a:defRPr>
            </a:lvl1pPr>
            <a:lvl2pPr marL="457200" indent="0" algn="l">
              <a:buNone/>
              <a:defRPr sz="800"/>
            </a:lvl2pPr>
            <a:lvl3pPr marL="914400" indent="0" algn="l">
              <a:buNone/>
              <a:defRPr sz="800"/>
            </a:lvl3pPr>
            <a:lvl4pPr marL="1371600" indent="0" algn="l">
              <a:buNone/>
              <a:defRPr sz="800"/>
            </a:lvl4pPr>
            <a:lvl5pPr marL="1828800" indent="0" algn="l">
              <a:buNone/>
              <a:defRPr sz="800"/>
            </a:lvl5pPr>
          </a:lstStyle>
          <a:p>
            <a:pPr lvl="0"/>
            <a:r>
              <a:rPr lang="en-GB"/>
              <a:t>Click to edit Master text styles</a:t>
            </a:r>
          </a:p>
        </p:txBody>
      </p:sp>
      <p:sp>
        <p:nvSpPr>
          <p:cNvPr id="5" name="Marcador de número de diapositiva 5">
            <a:extLst>
              <a:ext uri="{FF2B5EF4-FFF2-40B4-BE49-F238E27FC236}">
                <a16:creationId xmlns:a16="http://schemas.microsoft.com/office/drawing/2014/main" id="{CA238A1F-D253-6063-6407-062821854721}"/>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CC7AB63E-5D82-D8C1-280E-53F27BBCB786}"/>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AD4DC89A-265C-F4F0-1006-0D89014F4564}"/>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F8D99DCD-E2AE-B6A4-F6FB-E18B4AE175E6}"/>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27F648C1-DE69-5B44-62DC-3949851A5889}"/>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B9BED1B4-ED24-02C7-040C-90196BD21C57}"/>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22807004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1_Header &amp; Content ">
    <p:spTree>
      <p:nvGrpSpPr>
        <p:cNvPr id="1" name=""/>
        <p:cNvGrpSpPr/>
        <p:nvPr/>
      </p:nvGrpSpPr>
      <p:grpSpPr>
        <a:xfrm>
          <a:off x="0" y="0"/>
          <a:ext cx="0" cy="0"/>
          <a:chOff x="0" y="0"/>
          <a:chExt cx="0" cy="0"/>
        </a:xfrm>
      </p:grpSpPr>
      <p:sp>
        <p:nvSpPr>
          <p:cNvPr id="22" name="Elipse 66">
            <a:extLst>
              <a:ext uri="{FF2B5EF4-FFF2-40B4-BE49-F238E27FC236}">
                <a16:creationId xmlns:a16="http://schemas.microsoft.com/office/drawing/2014/main" id="{C1DF33A8-7DF8-BE6B-9E34-81C8DE011ECB}"/>
              </a:ext>
            </a:extLst>
          </p:cNvPr>
          <p:cNvSpPr/>
          <p:nvPr userDrawn="1"/>
        </p:nvSpPr>
        <p:spPr>
          <a:xfrm>
            <a:off x="6248811" y="4867837"/>
            <a:ext cx="453388" cy="4533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latin typeface="Santander Headline" panose="020B0504020201020104" pitchFamily="34" charset="0"/>
            </a:endParaRPr>
          </a:p>
        </p:txBody>
      </p:sp>
      <p:sp>
        <p:nvSpPr>
          <p:cNvPr id="24" name="Elipse 68">
            <a:extLst>
              <a:ext uri="{FF2B5EF4-FFF2-40B4-BE49-F238E27FC236}">
                <a16:creationId xmlns:a16="http://schemas.microsoft.com/office/drawing/2014/main" id="{41C0C0C9-99B8-FD6C-B43B-46D67FE5D5C4}"/>
              </a:ext>
            </a:extLst>
          </p:cNvPr>
          <p:cNvSpPr/>
          <p:nvPr userDrawn="1"/>
        </p:nvSpPr>
        <p:spPr>
          <a:xfrm>
            <a:off x="4320639" y="3747237"/>
            <a:ext cx="453388" cy="4533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latin typeface="Santander Headline" panose="020B0504020201020104" pitchFamily="34" charset="0"/>
            </a:endParaRPr>
          </a:p>
        </p:txBody>
      </p:sp>
      <p:sp>
        <p:nvSpPr>
          <p:cNvPr id="26" name="Elipse 70">
            <a:extLst>
              <a:ext uri="{FF2B5EF4-FFF2-40B4-BE49-F238E27FC236}">
                <a16:creationId xmlns:a16="http://schemas.microsoft.com/office/drawing/2014/main" id="{2B5E2878-6CAC-F89F-5D24-D35660C14807}"/>
              </a:ext>
            </a:extLst>
          </p:cNvPr>
          <p:cNvSpPr/>
          <p:nvPr userDrawn="1"/>
        </p:nvSpPr>
        <p:spPr>
          <a:xfrm>
            <a:off x="7353711" y="2981754"/>
            <a:ext cx="453388" cy="4533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latin typeface="Santander Headline" panose="020B0504020201020104" pitchFamily="34" charset="0"/>
            </a:endParaRPr>
          </a:p>
        </p:txBody>
      </p:sp>
      <p:sp>
        <p:nvSpPr>
          <p:cNvPr id="28" name="Elipse 72">
            <a:extLst>
              <a:ext uri="{FF2B5EF4-FFF2-40B4-BE49-F238E27FC236}">
                <a16:creationId xmlns:a16="http://schemas.microsoft.com/office/drawing/2014/main" id="{3A267605-2330-3D0C-4F63-2D3684269AF8}"/>
              </a:ext>
            </a:extLst>
          </p:cNvPr>
          <p:cNvSpPr/>
          <p:nvPr userDrawn="1"/>
        </p:nvSpPr>
        <p:spPr>
          <a:xfrm>
            <a:off x="5444239" y="1825126"/>
            <a:ext cx="453388" cy="4533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latin typeface="Santander Headline" panose="020B0504020201020104" pitchFamily="34" charset="0"/>
            </a:endParaRPr>
          </a:p>
        </p:txBody>
      </p:sp>
      <p:sp>
        <p:nvSpPr>
          <p:cNvPr id="65" name="Text Placeholder 56">
            <a:extLst>
              <a:ext uri="{FF2B5EF4-FFF2-40B4-BE49-F238E27FC236}">
                <a16:creationId xmlns:a16="http://schemas.microsoft.com/office/drawing/2014/main" id="{ADBE861D-DCA5-5CE5-3E01-C42CEEE1DB3D}"/>
              </a:ext>
            </a:extLst>
          </p:cNvPr>
          <p:cNvSpPr>
            <a:spLocks noGrp="1"/>
          </p:cNvSpPr>
          <p:nvPr>
            <p:ph type="body" sz="quarter" idx="52" hasCustomPrompt="1"/>
          </p:nvPr>
        </p:nvSpPr>
        <p:spPr>
          <a:xfrm>
            <a:off x="4463904" y="1666148"/>
            <a:ext cx="3445061" cy="3445061"/>
          </a:xfrm>
          <a:prstGeom prst="rect">
            <a:avLst/>
          </a:prstGeom>
          <a:blipFill>
            <a:blip r:embed="rId2">
              <a:extLst>
                <a:ext uri="{96DAC541-7B7A-43D3-8B79-37D633B846F1}">
                  <asvg:svgBlip xmlns:asvg="http://schemas.microsoft.com/office/drawing/2016/SVG/main" r:embed="rId3"/>
                </a:ext>
              </a:extLst>
            </a:blip>
            <a:stretch>
              <a:fillRect l="516" t="478" r="516" b="478"/>
            </a:stretch>
          </a:blipFill>
          <a:ln>
            <a:noFill/>
          </a:ln>
        </p:spPr>
        <p:txBody>
          <a:bodyPr lIns="108000" tIns="108000" rIns="108000" bIns="72000" anchor="ctr"/>
          <a:lstStyle>
            <a:lvl1pPr marL="0" indent="0" algn="ctr">
              <a:lnSpc>
                <a:spcPct val="100000"/>
              </a:lnSpc>
              <a:spcBef>
                <a:spcPts val="0"/>
              </a:spcBef>
              <a:buNone/>
              <a:defRPr sz="1800" b="1">
                <a:solidFill>
                  <a:schemeClr val="tx1"/>
                </a:solidFill>
                <a:latin typeface="+mj-lt"/>
              </a:defRPr>
            </a:lvl1pPr>
            <a:lvl2pPr marL="457200" indent="0">
              <a:buNone/>
              <a:defRPr/>
            </a:lvl2pPr>
          </a:lstStyle>
          <a:p>
            <a:pPr lvl="0"/>
            <a:r>
              <a:rPr lang="en-GB"/>
              <a:t>Click to edit </a:t>
            </a:r>
            <a:br>
              <a:rPr lang="en-GB"/>
            </a:br>
            <a:r>
              <a:rPr lang="en-GB"/>
              <a:t>Master text styles</a:t>
            </a:r>
          </a:p>
        </p:txBody>
      </p:sp>
      <p:sp>
        <p:nvSpPr>
          <p:cNvPr id="66" name="Text Placeholder 44">
            <a:extLst>
              <a:ext uri="{FF2B5EF4-FFF2-40B4-BE49-F238E27FC236}">
                <a16:creationId xmlns:a16="http://schemas.microsoft.com/office/drawing/2014/main" id="{44C875C5-F35B-B216-C699-93D55A157068}"/>
              </a:ext>
            </a:extLst>
          </p:cNvPr>
          <p:cNvSpPr>
            <a:spLocks noGrp="1"/>
          </p:cNvSpPr>
          <p:nvPr>
            <p:ph type="body" sz="quarter" idx="50" hasCustomPrompt="1"/>
          </p:nvPr>
        </p:nvSpPr>
        <p:spPr>
          <a:xfrm>
            <a:off x="7377072" y="2991936"/>
            <a:ext cx="432000" cy="432000"/>
          </a:xfrm>
          <a:prstGeom prst="ellipse">
            <a:avLst/>
          </a:prstGeom>
          <a:solidFill>
            <a:schemeClr val="bg1"/>
          </a:solidFill>
        </p:spPr>
        <p:txBody>
          <a:bodyPr lIns="36000" tIns="36000" rIns="36000" bIns="36000" anchor="ctr"/>
          <a:lstStyle>
            <a:lvl1pPr marL="0" indent="0" algn="ctr">
              <a:lnSpc>
                <a:spcPct val="100000"/>
              </a:lnSpc>
              <a:buNone/>
              <a:defRPr sz="2400" b="1">
                <a:solidFill>
                  <a:srgbClr val="23779A"/>
                </a:solidFill>
                <a:latin typeface="+mj-lt"/>
              </a:defRPr>
            </a:lvl1pPr>
          </a:lstStyle>
          <a:p>
            <a:pPr lvl="0"/>
            <a:r>
              <a:rPr lang="en-GB"/>
              <a:t>#</a:t>
            </a:r>
          </a:p>
        </p:txBody>
      </p:sp>
      <p:sp>
        <p:nvSpPr>
          <p:cNvPr id="67" name="Text Placeholder 44">
            <a:extLst>
              <a:ext uri="{FF2B5EF4-FFF2-40B4-BE49-F238E27FC236}">
                <a16:creationId xmlns:a16="http://schemas.microsoft.com/office/drawing/2014/main" id="{2C007FCA-B513-937E-FE2A-FE056917373F}"/>
              </a:ext>
            </a:extLst>
          </p:cNvPr>
          <p:cNvSpPr>
            <a:spLocks noGrp="1"/>
          </p:cNvSpPr>
          <p:nvPr>
            <p:ph type="body" sz="quarter" idx="51" hasCustomPrompt="1"/>
          </p:nvPr>
        </p:nvSpPr>
        <p:spPr>
          <a:xfrm>
            <a:off x="4340284" y="3752733"/>
            <a:ext cx="432000" cy="432000"/>
          </a:xfrm>
          <a:prstGeom prst="ellipse">
            <a:avLst/>
          </a:prstGeom>
          <a:solidFill>
            <a:schemeClr val="bg1"/>
          </a:solidFill>
        </p:spPr>
        <p:txBody>
          <a:bodyPr lIns="36000" tIns="36000" rIns="36000" bIns="36000" anchor="ctr"/>
          <a:lstStyle>
            <a:lvl1pPr marL="0" indent="0" algn="ctr">
              <a:lnSpc>
                <a:spcPct val="100000"/>
              </a:lnSpc>
              <a:buNone/>
              <a:defRPr sz="2400" b="1">
                <a:solidFill>
                  <a:srgbClr val="60001D"/>
                </a:solidFill>
                <a:latin typeface="+mj-lt"/>
              </a:defRPr>
            </a:lvl1pPr>
          </a:lstStyle>
          <a:p>
            <a:pPr lvl="0"/>
            <a:r>
              <a:rPr lang="en-GB"/>
              <a:t>#</a:t>
            </a:r>
          </a:p>
        </p:txBody>
      </p:sp>
      <p:sp>
        <p:nvSpPr>
          <p:cNvPr id="68" name="Text Placeholder 44">
            <a:extLst>
              <a:ext uri="{FF2B5EF4-FFF2-40B4-BE49-F238E27FC236}">
                <a16:creationId xmlns:a16="http://schemas.microsoft.com/office/drawing/2014/main" id="{41D20BBD-3493-DB75-EA20-534FF119C3BF}"/>
              </a:ext>
            </a:extLst>
          </p:cNvPr>
          <p:cNvSpPr>
            <a:spLocks noGrp="1"/>
          </p:cNvSpPr>
          <p:nvPr>
            <p:ph type="body" sz="quarter" idx="53" hasCustomPrompt="1"/>
          </p:nvPr>
        </p:nvSpPr>
        <p:spPr>
          <a:xfrm>
            <a:off x="5451237" y="1838791"/>
            <a:ext cx="432000" cy="432000"/>
          </a:xfrm>
          <a:prstGeom prst="ellipse">
            <a:avLst/>
          </a:prstGeom>
          <a:solidFill>
            <a:schemeClr val="bg1"/>
          </a:solidFill>
        </p:spPr>
        <p:txBody>
          <a:bodyPr lIns="36000" tIns="36000" rIns="36000" bIns="36000" anchor="ctr"/>
          <a:lstStyle>
            <a:lvl1pPr marL="0" indent="0" algn="ctr">
              <a:lnSpc>
                <a:spcPct val="100000"/>
              </a:lnSpc>
              <a:buNone/>
              <a:defRPr sz="2400" b="1">
                <a:solidFill>
                  <a:srgbClr val="8C0014"/>
                </a:solidFill>
                <a:latin typeface="+mj-lt"/>
              </a:defRPr>
            </a:lvl1pPr>
          </a:lstStyle>
          <a:p>
            <a:pPr lvl="0"/>
            <a:r>
              <a:rPr lang="en-GB"/>
              <a:t>#</a:t>
            </a:r>
          </a:p>
        </p:txBody>
      </p:sp>
      <p:sp>
        <p:nvSpPr>
          <p:cNvPr id="69" name="Text Placeholder 44">
            <a:extLst>
              <a:ext uri="{FF2B5EF4-FFF2-40B4-BE49-F238E27FC236}">
                <a16:creationId xmlns:a16="http://schemas.microsoft.com/office/drawing/2014/main" id="{E60C28D1-F6FE-4441-395F-3632B4359C87}"/>
              </a:ext>
            </a:extLst>
          </p:cNvPr>
          <p:cNvSpPr>
            <a:spLocks noGrp="1"/>
          </p:cNvSpPr>
          <p:nvPr>
            <p:ph type="body" sz="quarter" idx="54" hasCustomPrompt="1"/>
          </p:nvPr>
        </p:nvSpPr>
        <p:spPr>
          <a:xfrm>
            <a:off x="6249026" y="4880779"/>
            <a:ext cx="432000" cy="432000"/>
          </a:xfrm>
          <a:prstGeom prst="ellipse">
            <a:avLst/>
          </a:prstGeom>
          <a:solidFill>
            <a:schemeClr val="bg1"/>
          </a:solidFill>
        </p:spPr>
        <p:txBody>
          <a:bodyPr lIns="36000" tIns="36000" rIns="36000" bIns="36000" anchor="ctr"/>
          <a:lstStyle>
            <a:lvl1pPr marL="0" indent="0" algn="ctr">
              <a:lnSpc>
                <a:spcPct val="100000"/>
              </a:lnSpc>
              <a:buNone/>
              <a:defRPr sz="2400" b="1">
                <a:solidFill>
                  <a:srgbClr val="579CB7"/>
                </a:solidFill>
                <a:latin typeface="+mj-lt"/>
              </a:defRPr>
            </a:lvl1pPr>
          </a:lstStyle>
          <a:p>
            <a:pPr lvl="0"/>
            <a:r>
              <a:rPr lang="en-GB"/>
              <a:t>#</a:t>
            </a:r>
          </a:p>
        </p:txBody>
      </p:sp>
      <p:sp>
        <p:nvSpPr>
          <p:cNvPr id="72" name="Marcador de texto 54">
            <a:extLst>
              <a:ext uri="{FF2B5EF4-FFF2-40B4-BE49-F238E27FC236}">
                <a16:creationId xmlns:a16="http://schemas.microsoft.com/office/drawing/2014/main" id="{9CD0FB3E-0324-7E5D-2443-3009FD30ED80}"/>
              </a:ext>
            </a:extLst>
          </p:cNvPr>
          <p:cNvSpPr>
            <a:spLocks noGrp="1"/>
          </p:cNvSpPr>
          <p:nvPr>
            <p:ph type="body" sz="quarter" idx="55" hasCustomPrompt="1"/>
          </p:nvPr>
        </p:nvSpPr>
        <p:spPr>
          <a:xfrm>
            <a:off x="2180900" y="2444390"/>
            <a:ext cx="1926543" cy="914686"/>
          </a:xfrm>
          <a:prstGeom prst="rect">
            <a:avLst/>
          </a:prstGeom>
        </p:spPr>
        <p:txBody>
          <a:bodyPr/>
          <a:lstStyle>
            <a:lvl1pPr marL="0" indent="0" algn="r">
              <a:spcBef>
                <a:spcPts val="0"/>
              </a:spcBef>
              <a:spcAft>
                <a:spcPts val="0"/>
              </a:spcAft>
              <a:buNone/>
              <a:defRPr lang="es-ES" sz="1200" b="1" kern="1200" smtClean="0">
                <a:solidFill>
                  <a:srgbClr val="8C0014"/>
                </a:solidFill>
                <a:latin typeface="+mj-lt"/>
                <a:ea typeface="+mn-ea"/>
                <a:cs typeface="Arial" charset="0"/>
                <a:sym typeface="Arial"/>
              </a:defRPr>
            </a:lvl1pPr>
            <a:lvl2pPr marL="0" indent="0" algn="r">
              <a:lnSpc>
                <a:spcPct val="100000"/>
              </a:lnSpc>
              <a:spcBef>
                <a:spcPts val="200"/>
              </a:spcBef>
              <a:spcAft>
                <a:spcPts val="600"/>
              </a:spcAft>
              <a:buNone/>
              <a:defRPr sz="11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73" name="Marcador de posición de imagen 28">
            <a:extLst>
              <a:ext uri="{FF2B5EF4-FFF2-40B4-BE49-F238E27FC236}">
                <a16:creationId xmlns:a16="http://schemas.microsoft.com/office/drawing/2014/main" id="{7782484A-3DF9-2B88-017A-D6EC515C4C8A}"/>
              </a:ext>
            </a:extLst>
          </p:cNvPr>
          <p:cNvSpPr>
            <a:spLocks noGrp="1"/>
          </p:cNvSpPr>
          <p:nvPr>
            <p:ph type="pic" sz="quarter" idx="60" hasCustomPrompt="1"/>
          </p:nvPr>
        </p:nvSpPr>
        <p:spPr>
          <a:xfrm>
            <a:off x="3586087" y="1811708"/>
            <a:ext cx="521356" cy="521356"/>
          </a:xfrm>
          <a:prstGeom prst="rect">
            <a:avLst/>
          </a:prstGeom>
        </p:spPr>
        <p:txBody>
          <a:bodyPr/>
          <a:lstStyle>
            <a:lvl1pPr marL="0" indent="0" algn="r">
              <a:buNone/>
              <a:defRPr sz="900">
                <a:latin typeface="Santander Headline" panose="020B0504020201020104" pitchFamily="34" charset="0"/>
              </a:defRPr>
            </a:lvl1pPr>
          </a:lstStyle>
          <a:p>
            <a:r>
              <a:rPr lang="es-ES" err="1"/>
              <a:t>Insert</a:t>
            </a:r>
            <a:r>
              <a:rPr lang="es-ES"/>
              <a:t> </a:t>
            </a:r>
            <a:r>
              <a:rPr lang="es-ES" err="1"/>
              <a:t>icon</a:t>
            </a:r>
            <a:r>
              <a:rPr lang="es-ES"/>
              <a:t> </a:t>
            </a:r>
          </a:p>
        </p:txBody>
      </p:sp>
      <p:sp>
        <p:nvSpPr>
          <p:cNvPr id="74" name="Marcador de texto 54">
            <a:extLst>
              <a:ext uri="{FF2B5EF4-FFF2-40B4-BE49-F238E27FC236}">
                <a16:creationId xmlns:a16="http://schemas.microsoft.com/office/drawing/2014/main" id="{B0D15C96-E20A-D89E-0927-13B26FC1A2DF}"/>
              </a:ext>
            </a:extLst>
          </p:cNvPr>
          <p:cNvSpPr>
            <a:spLocks noGrp="1"/>
          </p:cNvSpPr>
          <p:nvPr>
            <p:ph type="body" sz="quarter" idx="61" hasCustomPrompt="1"/>
          </p:nvPr>
        </p:nvSpPr>
        <p:spPr>
          <a:xfrm>
            <a:off x="2180900" y="4384285"/>
            <a:ext cx="1926543" cy="914686"/>
          </a:xfrm>
          <a:prstGeom prst="rect">
            <a:avLst/>
          </a:prstGeom>
        </p:spPr>
        <p:txBody>
          <a:bodyPr/>
          <a:lstStyle>
            <a:lvl1pPr marL="0" indent="0" algn="r">
              <a:spcBef>
                <a:spcPts val="0"/>
              </a:spcBef>
              <a:spcAft>
                <a:spcPts val="0"/>
              </a:spcAft>
              <a:buNone/>
              <a:defRPr lang="es-ES" sz="1200" b="1" kern="1200" smtClean="0">
                <a:solidFill>
                  <a:srgbClr val="60001D"/>
                </a:solidFill>
                <a:latin typeface="+mj-lt"/>
                <a:ea typeface="+mn-ea"/>
                <a:cs typeface="Arial" charset="0"/>
                <a:sym typeface="Arial"/>
              </a:defRPr>
            </a:lvl1pPr>
            <a:lvl2pPr marL="0" indent="0" algn="r">
              <a:lnSpc>
                <a:spcPct val="100000"/>
              </a:lnSpc>
              <a:spcBef>
                <a:spcPts val="200"/>
              </a:spcBef>
              <a:spcAft>
                <a:spcPts val="600"/>
              </a:spcAft>
              <a:buNone/>
              <a:defRPr sz="11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75" name="Marcador de posición de imagen 28">
            <a:extLst>
              <a:ext uri="{FF2B5EF4-FFF2-40B4-BE49-F238E27FC236}">
                <a16:creationId xmlns:a16="http://schemas.microsoft.com/office/drawing/2014/main" id="{30001D3A-7064-06C0-225A-8F58A3195F7D}"/>
              </a:ext>
            </a:extLst>
          </p:cNvPr>
          <p:cNvSpPr>
            <a:spLocks noGrp="1"/>
          </p:cNvSpPr>
          <p:nvPr>
            <p:ph type="pic" sz="quarter" idx="62" hasCustomPrompt="1"/>
          </p:nvPr>
        </p:nvSpPr>
        <p:spPr>
          <a:xfrm>
            <a:off x="3586087" y="3751603"/>
            <a:ext cx="521356" cy="521356"/>
          </a:xfrm>
          <a:prstGeom prst="rect">
            <a:avLst/>
          </a:prstGeom>
        </p:spPr>
        <p:txBody>
          <a:bodyPr/>
          <a:lstStyle>
            <a:lvl1pPr marL="0" indent="0" algn="r">
              <a:buNone/>
              <a:defRPr sz="900">
                <a:latin typeface="Santander Headline" panose="020B0504020201020104" pitchFamily="34" charset="0"/>
              </a:defRPr>
            </a:lvl1pPr>
          </a:lstStyle>
          <a:p>
            <a:r>
              <a:rPr lang="es-ES" err="1"/>
              <a:t>Insert</a:t>
            </a:r>
            <a:r>
              <a:rPr lang="es-ES"/>
              <a:t> </a:t>
            </a:r>
            <a:r>
              <a:rPr lang="es-ES" err="1"/>
              <a:t>icon</a:t>
            </a:r>
            <a:r>
              <a:rPr lang="es-ES"/>
              <a:t> </a:t>
            </a:r>
          </a:p>
        </p:txBody>
      </p:sp>
      <p:sp>
        <p:nvSpPr>
          <p:cNvPr id="80" name="Marcador de texto 54">
            <a:extLst>
              <a:ext uri="{FF2B5EF4-FFF2-40B4-BE49-F238E27FC236}">
                <a16:creationId xmlns:a16="http://schemas.microsoft.com/office/drawing/2014/main" id="{B732C5A9-E646-CF1D-9373-60350FDE3F4A}"/>
              </a:ext>
            </a:extLst>
          </p:cNvPr>
          <p:cNvSpPr>
            <a:spLocks noGrp="1"/>
          </p:cNvSpPr>
          <p:nvPr>
            <p:ph type="body" sz="quarter" idx="63" hasCustomPrompt="1"/>
          </p:nvPr>
        </p:nvSpPr>
        <p:spPr>
          <a:xfrm>
            <a:off x="8026224" y="2444390"/>
            <a:ext cx="1926543" cy="914686"/>
          </a:xfrm>
          <a:prstGeom prst="rect">
            <a:avLst/>
          </a:prstGeom>
        </p:spPr>
        <p:txBody>
          <a:bodyPr/>
          <a:lstStyle>
            <a:lvl1pPr marL="0" indent="0" algn="l">
              <a:spcBef>
                <a:spcPts val="0"/>
              </a:spcBef>
              <a:spcAft>
                <a:spcPts val="0"/>
              </a:spcAft>
              <a:buNone/>
              <a:defRPr lang="es-ES" sz="1200" b="1" kern="1200" smtClean="0">
                <a:solidFill>
                  <a:srgbClr val="23779A"/>
                </a:solidFill>
                <a:latin typeface="+mj-lt"/>
                <a:ea typeface="+mn-ea"/>
                <a:cs typeface="Arial" charset="0"/>
                <a:sym typeface="Arial"/>
              </a:defRPr>
            </a:lvl1pPr>
            <a:lvl2pPr marL="0" indent="0" algn="l">
              <a:lnSpc>
                <a:spcPct val="100000"/>
              </a:lnSpc>
              <a:spcBef>
                <a:spcPts val="200"/>
              </a:spcBef>
              <a:spcAft>
                <a:spcPts val="600"/>
              </a:spcAft>
              <a:buNone/>
              <a:defRPr sz="11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81" name="Marcador de posición de imagen 28">
            <a:extLst>
              <a:ext uri="{FF2B5EF4-FFF2-40B4-BE49-F238E27FC236}">
                <a16:creationId xmlns:a16="http://schemas.microsoft.com/office/drawing/2014/main" id="{67FEB768-C5F3-F841-5F4C-D40080E34D73}"/>
              </a:ext>
            </a:extLst>
          </p:cNvPr>
          <p:cNvSpPr>
            <a:spLocks noGrp="1"/>
          </p:cNvSpPr>
          <p:nvPr>
            <p:ph type="pic" sz="quarter" idx="64" hasCustomPrompt="1"/>
          </p:nvPr>
        </p:nvSpPr>
        <p:spPr>
          <a:xfrm>
            <a:off x="8026224" y="1811708"/>
            <a:ext cx="521356" cy="521356"/>
          </a:xfrm>
          <a:prstGeom prst="rect">
            <a:avLst/>
          </a:prstGeom>
        </p:spPr>
        <p:txBody>
          <a:bodyPr/>
          <a:lstStyle>
            <a:lvl1pPr marL="0" indent="0" algn="r">
              <a:buNone/>
              <a:defRPr sz="900">
                <a:latin typeface="Santander Headline" panose="020B0504020201020104" pitchFamily="34" charset="0"/>
              </a:defRPr>
            </a:lvl1pPr>
          </a:lstStyle>
          <a:p>
            <a:r>
              <a:rPr lang="es-ES" err="1"/>
              <a:t>Insert</a:t>
            </a:r>
            <a:r>
              <a:rPr lang="es-ES"/>
              <a:t> </a:t>
            </a:r>
            <a:r>
              <a:rPr lang="es-ES" err="1"/>
              <a:t>icon</a:t>
            </a:r>
            <a:r>
              <a:rPr lang="es-ES"/>
              <a:t> </a:t>
            </a:r>
          </a:p>
        </p:txBody>
      </p:sp>
      <p:sp>
        <p:nvSpPr>
          <p:cNvPr id="82" name="Marcador de texto 54">
            <a:extLst>
              <a:ext uri="{FF2B5EF4-FFF2-40B4-BE49-F238E27FC236}">
                <a16:creationId xmlns:a16="http://schemas.microsoft.com/office/drawing/2014/main" id="{BA09ED99-DF41-5E21-40E9-F70929274DA5}"/>
              </a:ext>
            </a:extLst>
          </p:cNvPr>
          <p:cNvSpPr>
            <a:spLocks noGrp="1"/>
          </p:cNvSpPr>
          <p:nvPr>
            <p:ph type="body" sz="quarter" idx="65" hasCustomPrompt="1"/>
          </p:nvPr>
        </p:nvSpPr>
        <p:spPr>
          <a:xfrm>
            <a:off x="8026224" y="4384285"/>
            <a:ext cx="1926543" cy="914686"/>
          </a:xfrm>
          <a:prstGeom prst="rect">
            <a:avLst/>
          </a:prstGeom>
        </p:spPr>
        <p:txBody>
          <a:bodyPr/>
          <a:lstStyle>
            <a:lvl1pPr marL="0" indent="0" algn="l">
              <a:spcBef>
                <a:spcPts val="0"/>
              </a:spcBef>
              <a:spcAft>
                <a:spcPts val="0"/>
              </a:spcAft>
              <a:buNone/>
              <a:defRPr lang="es-ES" sz="1200" b="1" kern="1200" smtClean="0">
                <a:solidFill>
                  <a:srgbClr val="579CB7"/>
                </a:solidFill>
                <a:latin typeface="+mj-lt"/>
                <a:ea typeface="+mn-ea"/>
                <a:cs typeface="Arial" charset="0"/>
                <a:sym typeface="Arial"/>
              </a:defRPr>
            </a:lvl1pPr>
            <a:lvl2pPr marL="0" indent="0" algn="l">
              <a:lnSpc>
                <a:spcPct val="100000"/>
              </a:lnSpc>
              <a:spcBef>
                <a:spcPts val="200"/>
              </a:spcBef>
              <a:spcAft>
                <a:spcPts val="600"/>
              </a:spcAft>
              <a:buNone/>
              <a:defRPr sz="11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83" name="Marcador de posición de imagen 28">
            <a:extLst>
              <a:ext uri="{FF2B5EF4-FFF2-40B4-BE49-F238E27FC236}">
                <a16:creationId xmlns:a16="http://schemas.microsoft.com/office/drawing/2014/main" id="{6BD0D82B-2E66-8E02-DAA6-3C8B4BDF4B19}"/>
              </a:ext>
            </a:extLst>
          </p:cNvPr>
          <p:cNvSpPr>
            <a:spLocks noGrp="1"/>
          </p:cNvSpPr>
          <p:nvPr>
            <p:ph type="pic" sz="quarter" idx="66" hasCustomPrompt="1"/>
          </p:nvPr>
        </p:nvSpPr>
        <p:spPr>
          <a:xfrm>
            <a:off x="8026224" y="3751603"/>
            <a:ext cx="521356" cy="521356"/>
          </a:xfrm>
          <a:prstGeom prst="rect">
            <a:avLst/>
          </a:prstGeom>
        </p:spPr>
        <p:txBody>
          <a:bodyPr/>
          <a:lstStyle>
            <a:lvl1pPr marL="0" indent="0" algn="r">
              <a:buNone/>
              <a:defRPr sz="900">
                <a:latin typeface="Santander Headline" panose="020B0504020201020104" pitchFamily="34" charset="0"/>
              </a:defRPr>
            </a:lvl1pPr>
          </a:lstStyle>
          <a:p>
            <a:r>
              <a:rPr lang="es-ES" err="1"/>
              <a:t>Insert</a:t>
            </a:r>
            <a:r>
              <a:rPr lang="es-ES"/>
              <a:t> </a:t>
            </a:r>
            <a:r>
              <a:rPr lang="es-ES" err="1"/>
              <a:t>icon</a:t>
            </a:r>
            <a:r>
              <a:rPr lang="es-ES"/>
              <a:t> </a:t>
            </a:r>
          </a:p>
        </p:txBody>
      </p:sp>
      <p:sp>
        <p:nvSpPr>
          <p:cNvPr id="7" name="Título 1">
            <a:extLst>
              <a:ext uri="{FF2B5EF4-FFF2-40B4-BE49-F238E27FC236}">
                <a16:creationId xmlns:a16="http://schemas.microsoft.com/office/drawing/2014/main" id="{C20A9B82-E658-E1AB-362A-E60AFB429293}"/>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0CACBB88-5D4E-1E3A-C240-3FF0F21AA2AD}"/>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3C8974D9-042D-AC5A-DB07-602F58CBC07C}"/>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241919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2_Header &amp; Content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432F60-F2D3-2F6C-A064-C35447BA4123}"/>
              </a:ext>
            </a:extLst>
          </p:cNvPr>
          <p:cNvSpPr/>
          <p:nvPr userDrawn="1"/>
        </p:nvSpPr>
        <p:spPr>
          <a:xfrm>
            <a:off x="0" y="1418492"/>
            <a:ext cx="12192000" cy="447735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Santander Headline" panose="020B0504020201020104" pitchFamily="34" charset="0"/>
            </a:endParaRPr>
          </a:p>
        </p:txBody>
      </p:sp>
      <p:grpSp>
        <p:nvGrpSpPr>
          <p:cNvPr id="5" name="Group 9">
            <a:extLst>
              <a:ext uri="{FF2B5EF4-FFF2-40B4-BE49-F238E27FC236}">
                <a16:creationId xmlns:a16="http://schemas.microsoft.com/office/drawing/2014/main" id="{3085C212-1595-85AD-BEF5-46457AE34D97}"/>
              </a:ext>
            </a:extLst>
          </p:cNvPr>
          <p:cNvGrpSpPr>
            <a:grpSpLocks noChangeAspect="1"/>
          </p:cNvGrpSpPr>
          <p:nvPr userDrawn="1"/>
        </p:nvGrpSpPr>
        <p:grpSpPr bwMode="auto">
          <a:xfrm>
            <a:off x="6568029" y="1729814"/>
            <a:ext cx="3827112" cy="4166893"/>
            <a:chOff x="7189" y="-2053"/>
            <a:chExt cx="3762" cy="4096"/>
          </a:xfrm>
        </p:grpSpPr>
        <p:sp>
          <p:nvSpPr>
            <p:cNvPr id="6" name="Freeform 10">
              <a:extLst>
                <a:ext uri="{FF2B5EF4-FFF2-40B4-BE49-F238E27FC236}">
                  <a16:creationId xmlns:a16="http://schemas.microsoft.com/office/drawing/2014/main" id="{935655AA-6B79-854D-F0F5-7951404A3612}"/>
                </a:ext>
              </a:extLst>
            </p:cNvPr>
            <p:cNvSpPr>
              <a:spLocks/>
            </p:cNvSpPr>
            <p:nvPr/>
          </p:nvSpPr>
          <p:spPr bwMode="auto">
            <a:xfrm>
              <a:off x="7233" y="-2053"/>
              <a:ext cx="2037" cy="2022"/>
            </a:xfrm>
            <a:custGeom>
              <a:avLst/>
              <a:gdLst>
                <a:gd name="T0" fmla="*/ 9098 w 9098"/>
                <a:gd name="T1" fmla="*/ 0 h 9036"/>
                <a:gd name="T2" fmla="*/ 2658 w 9098"/>
                <a:gd name="T3" fmla="*/ 3365 h 9036"/>
                <a:gd name="T4" fmla="*/ 2004 w 9098"/>
                <a:gd name="T5" fmla="*/ 6245 h 9036"/>
                <a:gd name="T6" fmla="*/ 260 w 9098"/>
                <a:gd name="T7" fmla="*/ 8566 h 9036"/>
                <a:gd name="T8" fmla="*/ 0 w 9098"/>
                <a:gd name="T9" fmla="*/ 9036 h 9036"/>
                <a:gd name="T10" fmla="*/ 9098 w 9098"/>
                <a:gd name="T11" fmla="*/ 9036 h 9036"/>
                <a:gd name="T12" fmla="*/ 9098 w 9098"/>
                <a:gd name="T13" fmla="*/ 0 h 9036"/>
              </a:gdLst>
              <a:ahLst/>
              <a:cxnLst>
                <a:cxn ang="0">
                  <a:pos x="T0" y="T1"/>
                </a:cxn>
                <a:cxn ang="0">
                  <a:pos x="T2" y="T3"/>
                </a:cxn>
                <a:cxn ang="0">
                  <a:pos x="T4" y="T5"/>
                </a:cxn>
                <a:cxn ang="0">
                  <a:pos x="T6" y="T7"/>
                </a:cxn>
                <a:cxn ang="0">
                  <a:pos x="T8" y="T9"/>
                </a:cxn>
                <a:cxn ang="0">
                  <a:pos x="T10" y="T11"/>
                </a:cxn>
                <a:cxn ang="0">
                  <a:pos x="T12" y="T13"/>
                </a:cxn>
              </a:cxnLst>
              <a:rect l="0" t="0" r="r" b="b"/>
              <a:pathLst>
                <a:path w="9098" h="9036">
                  <a:moveTo>
                    <a:pt x="9098" y="0"/>
                  </a:moveTo>
                  <a:cubicBezTo>
                    <a:pt x="6303" y="11"/>
                    <a:pt x="3573" y="1227"/>
                    <a:pt x="2658" y="3365"/>
                  </a:cubicBezTo>
                  <a:cubicBezTo>
                    <a:pt x="1718" y="5560"/>
                    <a:pt x="2344" y="5547"/>
                    <a:pt x="2004" y="6245"/>
                  </a:cubicBezTo>
                  <a:cubicBezTo>
                    <a:pt x="1787" y="6690"/>
                    <a:pt x="1150" y="7269"/>
                    <a:pt x="260" y="8566"/>
                  </a:cubicBezTo>
                  <a:cubicBezTo>
                    <a:pt x="138" y="8744"/>
                    <a:pt x="54" y="8899"/>
                    <a:pt x="0" y="9036"/>
                  </a:cubicBezTo>
                  <a:cubicBezTo>
                    <a:pt x="9098" y="9036"/>
                    <a:pt x="9098" y="9036"/>
                    <a:pt x="9098" y="9036"/>
                  </a:cubicBezTo>
                  <a:lnTo>
                    <a:pt x="9098"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latin typeface="Santander Headline" panose="020B0504020201020104" pitchFamily="34" charset="0"/>
              </a:endParaRPr>
            </a:p>
          </p:txBody>
        </p:sp>
        <p:sp>
          <p:nvSpPr>
            <p:cNvPr id="7" name="Freeform 11">
              <a:extLst>
                <a:ext uri="{FF2B5EF4-FFF2-40B4-BE49-F238E27FC236}">
                  <a16:creationId xmlns:a16="http://schemas.microsoft.com/office/drawing/2014/main" id="{361E0D83-E83A-2D49-9FA2-370C4F93FAAB}"/>
                </a:ext>
              </a:extLst>
            </p:cNvPr>
            <p:cNvSpPr>
              <a:spLocks/>
            </p:cNvSpPr>
            <p:nvPr/>
          </p:nvSpPr>
          <p:spPr bwMode="auto">
            <a:xfrm>
              <a:off x="7189" y="20"/>
              <a:ext cx="2081" cy="2023"/>
            </a:xfrm>
            <a:custGeom>
              <a:avLst/>
              <a:gdLst>
                <a:gd name="T0" fmla="*/ 132 w 9295"/>
                <a:gd name="T1" fmla="*/ 0 h 9036"/>
                <a:gd name="T2" fmla="*/ 1397 w 9295"/>
                <a:gd name="T3" fmla="*/ 1057 h 9036"/>
                <a:gd name="T4" fmla="*/ 1062 w 9295"/>
                <a:gd name="T5" fmla="*/ 2183 h 9036"/>
                <a:gd name="T6" fmla="*/ 1494 w 9295"/>
                <a:gd name="T7" fmla="*/ 2747 h 9036"/>
                <a:gd name="T8" fmla="*/ 1331 w 9295"/>
                <a:gd name="T9" fmla="*/ 3550 h 9036"/>
                <a:gd name="T10" fmla="*/ 1363 w 9295"/>
                <a:gd name="T11" fmla="*/ 5192 h 9036"/>
                <a:gd name="T12" fmla="*/ 2618 w 9295"/>
                <a:gd name="T13" fmla="*/ 6707 h 9036"/>
                <a:gd name="T14" fmla="*/ 4990 w 9295"/>
                <a:gd name="T15" fmla="*/ 6724 h 9036"/>
                <a:gd name="T16" fmla="*/ 5954 w 9295"/>
                <a:gd name="T17" fmla="*/ 9036 h 9036"/>
                <a:gd name="T18" fmla="*/ 9295 w 9295"/>
                <a:gd name="T19" fmla="*/ 9036 h 9036"/>
                <a:gd name="T20" fmla="*/ 9295 w 9295"/>
                <a:gd name="T21" fmla="*/ 0 h 9036"/>
                <a:gd name="T22" fmla="*/ 132 w 9295"/>
                <a:gd name="T23" fmla="*/ 0 h 9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95" h="9036">
                  <a:moveTo>
                    <a:pt x="132" y="0"/>
                  </a:moveTo>
                  <a:cubicBezTo>
                    <a:pt x="0" y="832"/>
                    <a:pt x="1287" y="758"/>
                    <a:pt x="1397" y="1057"/>
                  </a:cubicBezTo>
                  <a:cubicBezTo>
                    <a:pt x="1589" y="1580"/>
                    <a:pt x="1062" y="1935"/>
                    <a:pt x="1062" y="2183"/>
                  </a:cubicBezTo>
                  <a:cubicBezTo>
                    <a:pt x="1062" y="2511"/>
                    <a:pt x="1272" y="2688"/>
                    <a:pt x="1494" y="2747"/>
                  </a:cubicBezTo>
                  <a:cubicBezTo>
                    <a:pt x="1494" y="2747"/>
                    <a:pt x="924" y="3162"/>
                    <a:pt x="1331" y="3550"/>
                  </a:cubicBezTo>
                  <a:cubicBezTo>
                    <a:pt x="1864" y="4058"/>
                    <a:pt x="1483" y="4776"/>
                    <a:pt x="1363" y="5192"/>
                  </a:cubicBezTo>
                  <a:cubicBezTo>
                    <a:pt x="1139" y="5964"/>
                    <a:pt x="1694" y="6631"/>
                    <a:pt x="2618" y="6707"/>
                  </a:cubicBezTo>
                  <a:cubicBezTo>
                    <a:pt x="3400" y="6772"/>
                    <a:pt x="4462" y="6712"/>
                    <a:pt x="4990" y="6724"/>
                  </a:cubicBezTo>
                  <a:cubicBezTo>
                    <a:pt x="5634" y="6738"/>
                    <a:pt x="5663" y="7578"/>
                    <a:pt x="5954" y="9036"/>
                  </a:cubicBezTo>
                  <a:cubicBezTo>
                    <a:pt x="9295" y="9036"/>
                    <a:pt x="9295" y="9036"/>
                    <a:pt x="9295" y="9036"/>
                  </a:cubicBezTo>
                  <a:cubicBezTo>
                    <a:pt x="9295" y="0"/>
                    <a:pt x="9295" y="0"/>
                    <a:pt x="9295" y="0"/>
                  </a:cubicBezTo>
                  <a:lnTo>
                    <a:pt x="132" y="0"/>
                  </a:lnTo>
                  <a:close/>
                </a:path>
              </a:pathLst>
            </a:custGeom>
            <a:solidFill>
              <a:srgbClr val="8C00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latin typeface="Santander Headline" panose="020B0504020201020104" pitchFamily="34" charset="0"/>
              </a:endParaRPr>
            </a:p>
          </p:txBody>
        </p:sp>
        <p:sp>
          <p:nvSpPr>
            <p:cNvPr id="8" name="Freeform 12">
              <a:extLst>
                <a:ext uri="{FF2B5EF4-FFF2-40B4-BE49-F238E27FC236}">
                  <a16:creationId xmlns:a16="http://schemas.microsoft.com/office/drawing/2014/main" id="{6B2CE98A-213F-7A9E-BBB1-8A27EC5A10A8}"/>
                </a:ext>
              </a:extLst>
            </p:cNvPr>
            <p:cNvSpPr>
              <a:spLocks/>
            </p:cNvSpPr>
            <p:nvPr/>
          </p:nvSpPr>
          <p:spPr bwMode="auto">
            <a:xfrm>
              <a:off x="9321" y="-2053"/>
              <a:ext cx="1630" cy="2022"/>
            </a:xfrm>
            <a:custGeom>
              <a:avLst/>
              <a:gdLst>
                <a:gd name="T0" fmla="*/ 6839 w 7280"/>
                <a:gd name="T1" fmla="*/ 9034 h 9034"/>
                <a:gd name="T2" fmla="*/ 7097 w 7280"/>
                <a:gd name="T3" fmla="*/ 5688 h 9034"/>
                <a:gd name="T4" fmla="*/ 0 w 7280"/>
                <a:gd name="T5" fmla="*/ 0 h 9034"/>
                <a:gd name="T6" fmla="*/ 0 w 7280"/>
                <a:gd name="T7" fmla="*/ 9034 h 9034"/>
                <a:gd name="T8" fmla="*/ 6839 w 7280"/>
                <a:gd name="T9" fmla="*/ 9034 h 9034"/>
              </a:gdLst>
              <a:ahLst/>
              <a:cxnLst>
                <a:cxn ang="0">
                  <a:pos x="T0" y="T1"/>
                </a:cxn>
                <a:cxn ang="0">
                  <a:pos x="T2" y="T3"/>
                </a:cxn>
                <a:cxn ang="0">
                  <a:pos x="T4" y="T5"/>
                </a:cxn>
                <a:cxn ang="0">
                  <a:pos x="T6" y="T7"/>
                </a:cxn>
                <a:cxn ang="0">
                  <a:pos x="T8" y="T9"/>
                </a:cxn>
              </a:cxnLst>
              <a:rect l="0" t="0" r="r" b="b"/>
              <a:pathLst>
                <a:path w="7280" h="9034">
                  <a:moveTo>
                    <a:pt x="6839" y="9034"/>
                  </a:moveTo>
                  <a:cubicBezTo>
                    <a:pt x="7132" y="8186"/>
                    <a:pt x="7280" y="7123"/>
                    <a:pt x="7097" y="5688"/>
                  </a:cubicBezTo>
                  <a:cubicBezTo>
                    <a:pt x="6602" y="1808"/>
                    <a:pt x="3289" y="66"/>
                    <a:pt x="0" y="0"/>
                  </a:cubicBezTo>
                  <a:cubicBezTo>
                    <a:pt x="0" y="9034"/>
                    <a:pt x="0" y="9034"/>
                    <a:pt x="0" y="9034"/>
                  </a:cubicBezTo>
                  <a:lnTo>
                    <a:pt x="6839" y="9034"/>
                  </a:lnTo>
                  <a:close/>
                </a:path>
              </a:pathLst>
            </a:custGeom>
            <a:solidFill>
              <a:srgbClr val="E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latin typeface="Santander Headline" panose="020B0504020201020104" pitchFamily="34" charset="0"/>
              </a:endParaRPr>
            </a:p>
          </p:txBody>
        </p:sp>
        <p:sp>
          <p:nvSpPr>
            <p:cNvPr id="11" name="Freeform 13">
              <a:extLst>
                <a:ext uri="{FF2B5EF4-FFF2-40B4-BE49-F238E27FC236}">
                  <a16:creationId xmlns:a16="http://schemas.microsoft.com/office/drawing/2014/main" id="{7101F6B8-2FE4-9AF5-33E8-F569F8F36DE8}"/>
                </a:ext>
              </a:extLst>
            </p:cNvPr>
            <p:cNvSpPr>
              <a:spLocks/>
            </p:cNvSpPr>
            <p:nvPr/>
          </p:nvSpPr>
          <p:spPr bwMode="auto">
            <a:xfrm>
              <a:off x="9321" y="20"/>
              <a:ext cx="1512" cy="2023"/>
            </a:xfrm>
            <a:custGeom>
              <a:avLst/>
              <a:gdLst>
                <a:gd name="T0" fmla="*/ 6754 w 6754"/>
                <a:gd name="T1" fmla="*/ 0 h 9036"/>
                <a:gd name="T2" fmla="*/ 0 w 6754"/>
                <a:gd name="T3" fmla="*/ 0 h 9036"/>
                <a:gd name="T4" fmla="*/ 0 w 6754"/>
                <a:gd name="T5" fmla="*/ 9036 h 9036"/>
                <a:gd name="T6" fmla="*/ 5407 w 6754"/>
                <a:gd name="T7" fmla="*/ 9036 h 9036"/>
                <a:gd name="T8" fmla="*/ 4833 w 6754"/>
                <a:gd name="T9" fmla="*/ 3460 h 9036"/>
                <a:gd name="T10" fmla="*/ 6754 w 6754"/>
                <a:gd name="T11" fmla="*/ 0 h 9036"/>
              </a:gdLst>
              <a:ahLst/>
              <a:cxnLst>
                <a:cxn ang="0">
                  <a:pos x="T0" y="T1"/>
                </a:cxn>
                <a:cxn ang="0">
                  <a:pos x="T2" y="T3"/>
                </a:cxn>
                <a:cxn ang="0">
                  <a:pos x="T4" y="T5"/>
                </a:cxn>
                <a:cxn ang="0">
                  <a:pos x="T6" y="T7"/>
                </a:cxn>
                <a:cxn ang="0">
                  <a:pos x="T8" y="T9"/>
                </a:cxn>
                <a:cxn ang="0">
                  <a:pos x="T10" y="T11"/>
                </a:cxn>
              </a:cxnLst>
              <a:rect l="0" t="0" r="r" b="b"/>
              <a:pathLst>
                <a:path w="6754" h="9036">
                  <a:moveTo>
                    <a:pt x="6754" y="0"/>
                  </a:moveTo>
                  <a:cubicBezTo>
                    <a:pt x="0" y="0"/>
                    <a:pt x="0" y="0"/>
                    <a:pt x="0" y="0"/>
                  </a:cubicBezTo>
                  <a:cubicBezTo>
                    <a:pt x="0" y="9036"/>
                    <a:pt x="0" y="9036"/>
                    <a:pt x="0" y="9036"/>
                  </a:cubicBezTo>
                  <a:cubicBezTo>
                    <a:pt x="5407" y="9036"/>
                    <a:pt x="5407" y="9036"/>
                    <a:pt x="5407" y="9036"/>
                  </a:cubicBezTo>
                  <a:cubicBezTo>
                    <a:pt x="5407" y="9036"/>
                    <a:pt x="4462" y="4939"/>
                    <a:pt x="4833" y="3460"/>
                  </a:cubicBezTo>
                  <a:cubicBezTo>
                    <a:pt x="5119" y="2322"/>
                    <a:pt x="6159" y="1508"/>
                    <a:pt x="675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latin typeface="Santander Headline" panose="020B0504020201020104" pitchFamily="34" charset="0"/>
              </a:endParaRPr>
            </a:p>
          </p:txBody>
        </p:sp>
      </p:grpSp>
      <p:grpSp>
        <p:nvGrpSpPr>
          <p:cNvPr id="24" name="Grupo 5">
            <a:extLst>
              <a:ext uri="{FF2B5EF4-FFF2-40B4-BE49-F238E27FC236}">
                <a16:creationId xmlns:a16="http://schemas.microsoft.com/office/drawing/2014/main" id="{DD4094BD-E96A-F258-9F4A-CA9175132732}"/>
              </a:ext>
            </a:extLst>
          </p:cNvPr>
          <p:cNvGrpSpPr/>
          <p:nvPr userDrawn="1"/>
        </p:nvGrpSpPr>
        <p:grpSpPr>
          <a:xfrm>
            <a:off x="8898355" y="2655177"/>
            <a:ext cx="866547" cy="866547"/>
            <a:chOff x="7445375" y="2524601"/>
            <a:chExt cx="846244" cy="846244"/>
          </a:xfrm>
        </p:grpSpPr>
        <p:sp>
          <p:nvSpPr>
            <p:cNvPr id="25" name="Elipse 270">
              <a:extLst>
                <a:ext uri="{FF2B5EF4-FFF2-40B4-BE49-F238E27FC236}">
                  <a16:creationId xmlns:a16="http://schemas.microsoft.com/office/drawing/2014/main" id="{41F25D8A-7276-C0E4-FCE8-42EAE8C99C28}"/>
                </a:ext>
              </a:extLst>
            </p:cNvPr>
            <p:cNvSpPr/>
            <p:nvPr/>
          </p:nvSpPr>
          <p:spPr>
            <a:xfrm>
              <a:off x="7445375" y="2524601"/>
              <a:ext cx="846244" cy="84624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latin typeface="+mj-lt"/>
              </a:endParaRPr>
            </a:p>
          </p:txBody>
        </p:sp>
        <p:sp>
          <p:nvSpPr>
            <p:cNvPr id="26" name="CuadroTexto 271">
              <a:extLst>
                <a:ext uri="{FF2B5EF4-FFF2-40B4-BE49-F238E27FC236}">
                  <a16:creationId xmlns:a16="http://schemas.microsoft.com/office/drawing/2014/main" id="{CED26FE1-A317-95A0-26F8-A84E9234E90F}"/>
                </a:ext>
              </a:extLst>
            </p:cNvPr>
            <p:cNvSpPr txBox="1"/>
            <p:nvPr/>
          </p:nvSpPr>
          <p:spPr>
            <a:xfrm>
              <a:off x="7661323" y="2900593"/>
              <a:ext cx="433966" cy="450848"/>
            </a:xfrm>
            <a:prstGeom prst="rect">
              <a:avLst/>
            </a:prstGeom>
            <a:noFill/>
          </p:spPr>
          <p:txBody>
            <a:bodyPr wrap="square" rtlCol="0">
              <a:spAutoFit/>
            </a:bodyPr>
            <a:lstStyle/>
            <a:p>
              <a:pPr algn="ctr" defTabSz="895350">
                <a:spcBef>
                  <a:spcPts val="300"/>
                </a:spcBef>
                <a:spcAft>
                  <a:spcPts val="300"/>
                </a:spcAft>
              </a:pPr>
              <a:r>
                <a:rPr lang="en-US" sz="2400" b="1">
                  <a:solidFill>
                    <a:srgbClr val="6F7779"/>
                  </a:solidFill>
                  <a:latin typeface="+mj-lt"/>
                </a:rPr>
                <a:t>1</a:t>
              </a:r>
            </a:p>
          </p:txBody>
        </p:sp>
        <p:grpSp>
          <p:nvGrpSpPr>
            <p:cNvPr id="27" name="Group 12">
              <a:extLst>
                <a:ext uri="{FF2B5EF4-FFF2-40B4-BE49-F238E27FC236}">
                  <a16:creationId xmlns:a16="http://schemas.microsoft.com/office/drawing/2014/main" id="{2B2E0E1B-EB1D-FAE0-CC42-9AF4AA478345}"/>
                </a:ext>
              </a:extLst>
            </p:cNvPr>
            <p:cNvGrpSpPr>
              <a:grpSpLocks noChangeAspect="1"/>
            </p:cNvGrpSpPr>
            <p:nvPr/>
          </p:nvGrpSpPr>
          <p:grpSpPr bwMode="auto">
            <a:xfrm>
              <a:off x="7695306" y="2657556"/>
              <a:ext cx="345197" cy="298800"/>
              <a:chOff x="1700" y="3117"/>
              <a:chExt cx="186" cy="161"/>
            </a:xfrm>
            <a:solidFill>
              <a:schemeClr val="accent3"/>
            </a:solidFill>
          </p:grpSpPr>
          <p:sp>
            <p:nvSpPr>
              <p:cNvPr id="28" name="Freeform 14">
                <a:extLst>
                  <a:ext uri="{FF2B5EF4-FFF2-40B4-BE49-F238E27FC236}">
                    <a16:creationId xmlns:a16="http://schemas.microsoft.com/office/drawing/2014/main" id="{7C240A71-10A7-92DB-05E0-0EDBB647AE74}"/>
                  </a:ext>
                </a:extLst>
              </p:cNvPr>
              <p:cNvSpPr>
                <a:spLocks noEditPoints="1"/>
              </p:cNvSpPr>
              <p:nvPr/>
            </p:nvSpPr>
            <p:spPr bwMode="auto">
              <a:xfrm>
                <a:off x="1700" y="3181"/>
                <a:ext cx="186" cy="97"/>
              </a:xfrm>
              <a:custGeom>
                <a:avLst/>
                <a:gdLst>
                  <a:gd name="T0" fmla="*/ 3251 w 3558"/>
                  <a:gd name="T1" fmla="*/ 1605 h 1838"/>
                  <a:gd name="T2" fmla="*/ 3481 w 3558"/>
                  <a:gd name="T3" fmla="*/ 734 h 1838"/>
                  <a:gd name="T4" fmla="*/ 3088 w 3558"/>
                  <a:gd name="T5" fmla="*/ 169 h 1838"/>
                  <a:gd name="T6" fmla="*/ 2851 w 3558"/>
                  <a:gd name="T7" fmla="*/ 210 h 1838"/>
                  <a:gd name="T8" fmla="*/ 2606 w 3558"/>
                  <a:gd name="T9" fmla="*/ 169 h 1838"/>
                  <a:gd name="T10" fmla="*/ 2001 w 3558"/>
                  <a:gd name="T11" fmla="*/ 0 h 1838"/>
                  <a:gd name="T12" fmla="*/ 1774 w 3558"/>
                  <a:gd name="T13" fmla="*/ 42 h 1838"/>
                  <a:gd name="T14" fmla="*/ 1535 w 3558"/>
                  <a:gd name="T15" fmla="*/ 0 h 1838"/>
                  <a:gd name="T16" fmla="*/ 936 w 3558"/>
                  <a:gd name="T17" fmla="*/ 169 h 1838"/>
                  <a:gd name="T18" fmla="*/ 695 w 3558"/>
                  <a:gd name="T19" fmla="*/ 210 h 1838"/>
                  <a:gd name="T20" fmla="*/ 457 w 3558"/>
                  <a:gd name="T21" fmla="*/ 169 h 1838"/>
                  <a:gd name="T22" fmla="*/ 65 w 3558"/>
                  <a:gd name="T23" fmla="*/ 710 h 1838"/>
                  <a:gd name="T24" fmla="*/ 286 w 3558"/>
                  <a:gd name="T25" fmla="*/ 1606 h 1838"/>
                  <a:gd name="T26" fmla="*/ 11 w 3558"/>
                  <a:gd name="T27" fmla="*/ 1759 h 1838"/>
                  <a:gd name="T28" fmla="*/ 1773 w 3558"/>
                  <a:gd name="T29" fmla="*/ 1627 h 1838"/>
                  <a:gd name="T30" fmla="*/ 3459 w 3558"/>
                  <a:gd name="T31" fmla="*/ 1832 h 1838"/>
                  <a:gd name="T32" fmla="*/ 3480 w 3558"/>
                  <a:gd name="T33" fmla="*/ 1654 h 1838"/>
                  <a:gd name="T34" fmla="*/ 2763 w 3558"/>
                  <a:gd name="T35" fmla="*/ 380 h 1838"/>
                  <a:gd name="T36" fmla="*/ 2853 w 3558"/>
                  <a:gd name="T37" fmla="*/ 848 h 1838"/>
                  <a:gd name="T38" fmla="*/ 2943 w 3558"/>
                  <a:gd name="T39" fmla="*/ 379 h 1838"/>
                  <a:gd name="T40" fmla="*/ 3301 w 3558"/>
                  <a:gd name="T41" fmla="*/ 488 h 1838"/>
                  <a:gd name="T42" fmla="*/ 3131 w 3558"/>
                  <a:gd name="T43" fmla="*/ 1452 h 1838"/>
                  <a:gd name="T44" fmla="*/ 2399 w 3558"/>
                  <a:gd name="T45" fmla="*/ 1480 h 1838"/>
                  <a:gd name="T46" fmla="*/ 2399 w 3558"/>
                  <a:gd name="T47" fmla="*/ 705 h 1838"/>
                  <a:gd name="T48" fmla="*/ 2596 w 3558"/>
                  <a:gd name="T49" fmla="*/ 349 h 1838"/>
                  <a:gd name="T50" fmla="*/ 245 w 3558"/>
                  <a:gd name="T51" fmla="*/ 711 h 1838"/>
                  <a:gd name="T52" fmla="*/ 447 w 3558"/>
                  <a:gd name="T53" fmla="*/ 349 h 1838"/>
                  <a:gd name="T54" fmla="*/ 603 w 3558"/>
                  <a:gd name="T55" fmla="*/ 758 h 1838"/>
                  <a:gd name="T56" fmla="*/ 783 w 3558"/>
                  <a:gd name="T57" fmla="*/ 758 h 1838"/>
                  <a:gd name="T58" fmla="*/ 946 w 3558"/>
                  <a:gd name="T59" fmla="*/ 349 h 1838"/>
                  <a:gd name="T60" fmla="*/ 1145 w 3558"/>
                  <a:gd name="T61" fmla="*/ 705 h 1838"/>
                  <a:gd name="T62" fmla="*/ 476 w 3558"/>
                  <a:gd name="T63" fmla="*/ 1570 h 1838"/>
                  <a:gd name="T64" fmla="*/ 1325 w 3558"/>
                  <a:gd name="T65" fmla="*/ 1465 h 1838"/>
                  <a:gd name="T66" fmla="*/ 1325 w 3558"/>
                  <a:gd name="T67" fmla="*/ 488 h 1838"/>
                  <a:gd name="T68" fmla="*/ 1525 w 3558"/>
                  <a:gd name="T69" fmla="*/ 180 h 1838"/>
                  <a:gd name="T70" fmla="*/ 1786 w 3558"/>
                  <a:gd name="T71" fmla="*/ 222 h 1838"/>
                  <a:gd name="T72" fmla="*/ 2219 w 3558"/>
                  <a:gd name="T73" fmla="*/ 318 h 1838"/>
                  <a:gd name="T74" fmla="*/ 2219 w 3558"/>
                  <a:gd name="T75" fmla="*/ 488 h 1838"/>
                  <a:gd name="T76" fmla="*/ 1773 w 3558"/>
                  <a:gd name="T77" fmla="*/ 1447 h 1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58" h="1838">
                    <a:moveTo>
                      <a:pt x="3480" y="1654"/>
                    </a:moveTo>
                    <a:cubicBezTo>
                      <a:pt x="3404" y="1637"/>
                      <a:pt x="3328" y="1620"/>
                      <a:pt x="3251" y="1605"/>
                    </a:cubicBezTo>
                    <a:cubicBezTo>
                      <a:pt x="3290" y="1537"/>
                      <a:pt x="3290" y="1537"/>
                      <a:pt x="3290" y="1537"/>
                    </a:cubicBezTo>
                    <a:cubicBezTo>
                      <a:pt x="3412" y="1289"/>
                      <a:pt x="3478" y="1012"/>
                      <a:pt x="3481" y="734"/>
                    </a:cubicBezTo>
                    <a:cubicBezTo>
                      <a:pt x="3481" y="488"/>
                      <a:pt x="3481" y="488"/>
                      <a:pt x="3481" y="488"/>
                    </a:cubicBezTo>
                    <a:cubicBezTo>
                      <a:pt x="3481" y="341"/>
                      <a:pt x="3378" y="169"/>
                      <a:pt x="3088" y="169"/>
                    </a:cubicBezTo>
                    <a:cubicBezTo>
                      <a:pt x="3081" y="169"/>
                      <a:pt x="3075" y="170"/>
                      <a:pt x="3068" y="171"/>
                    </a:cubicBezTo>
                    <a:cubicBezTo>
                      <a:pt x="2996" y="188"/>
                      <a:pt x="2923" y="201"/>
                      <a:pt x="2851" y="210"/>
                    </a:cubicBezTo>
                    <a:cubicBezTo>
                      <a:pt x="2776" y="201"/>
                      <a:pt x="2701" y="188"/>
                      <a:pt x="2626" y="171"/>
                    </a:cubicBezTo>
                    <a:cubicBezTo>
                      <a:pt x="2620" y="170"/>
                      <a:pt x="2613" y="169"/>
                      <a:pt x="2606" y="169"/>
                    </a:cubicBezTo>
                    <a:cubicBezTo>
                      <a:pt x="2512" y="169"/>
                      <a:pt x="2438" y="188"/>
                      <a:pt x="2381" y="218"/>
                    </a:cubicBezTo>
                    <a:cubicBezTo>
                      <a:pt x="2339" y="103"/>
                      <a:pt x="2225" y="0"/>
                      <a:pt x="2001" y="0"/>
                    </a:cubicBezTo>
                    <a:cubicBezTo>
                      <a:pt x="1994" y="0"/>
                      <a:pt x="1987" y="1"/>
                      <a:pt x="1979" y="3"/>
                    </a:cubicBezTo>
                    <a:cubicBezTo>
                      <a:pt x="1912" y="20"/>
                      <a:pt x="1843" y="33"/>
                      <a:pt x="1774" y="42"/>
                    </a:cubicBezTo>
                    <a:cubicBezTo>
                      <a:pt x="1701" y="33"/>
                      <a:pt x="1628" y="20"/>
                      <a:pt x="1557" y="2"/>
                    </a:cubicBezTo>
                    <a:cubicBezTo>
                      <a:pt x="1550" y="1"/>
                      <a:pt x="1542" y="0"/>
                      <a:pt x="1535" y="0"/>
                    </a:cubicBezTo>
                    <a:cubicBezTo>
                      <a:pt x="1312" y="0"/>
                      <a:pt x="1200" y="103"/>
                      <a:pt x="1161" y="217"/>
                    </a:cubicBezTo>
                    <a:cubicBezTo>
                      <a:pt x="1104" y="187"/>
                      <a:pt x="1030" y="169"/>
                      <a:pt x="936" y="169"/>
                    </a:cubicBezTo>
                    <a:cubicBezTo>
                      <a:pt x="929" y="169"/>
                      <a:pt x="922" y="170"/>
                      <a:pt x="915" y="171"/>
                    </a:cubicBezTo>
                    <a:cubicBezTo>
                      <a:pt x="843" y="188"/>
                      <a:pt x="769" y="201"/>
                      <a:pt x="695" y="210"/>
                    </a:cubicBezTo>
                    <a:cubicBezTo>
                      <a:pt x="622" y="201"/>
                      <a:pt x="549" y="188"/>
                      <a:pt x="478" y="171"/>
                    </a:cubicBezTo>
                    <a:cubicBezTo>
                      <a:pt x="471" y="170"/>
                      <a:pt x="464" y="169"/>
                      <a:pt x="457" y="169"/>
                    </a:cubicBezTo>
                    <a:cubicBezTo>
                      <a:pt x="167" y="169"/>
                      <a:pt x="65" y="341"/>
                      <a:pt x="65" y="488"/>
                    </a:cubicBezTo>
                    <a:cubicBezTo>
                      <a:pt x="65" y="710"/>
                      <a:pt x="65" y="710"/>
                      <a:pt x="65" y="710"/>
                    </a:cubicBezTo>
                    <a:cubicBezTo>
                      <a:pt x="62" y="1000"/>
                      <a:pt x="127" y="1292"/>
                      <a:pt x="258" y="1561"/>
                    </a:cubicBezTo>
                    <a:cubicBezTo>
                      <a:pt x="286" y="1606"/>
                      <a:pt x="286" y="1606"/>
                      <a:pt x="286" y="1606"/>
                    </a:cubicBezTo>
                    <a:cubicBezTo>
                      <a:pt x="217" y="1620"/>
                      <a:pt x="147" y="1635"/>
                      <a:pt x="78" y="1651"/>
                    </a:cubicBezTo>
                    <a:cubicBezTo>
                      <a:pt x="30" y="1662"/>
                      <a:pt x="0" y="1711"/>
                      <a:pt x="11" y="1759"/>
                    </a:cubicBezTo>
                    <a:cubicBezTo>
                      <a:pt x="22" y="1807"/>
                      <a:pt x="71" y="1838"/>
                      <a:pt x="119" y="1826"/>
                    </a:cubicBezTo>
                    <a:cubicBezTo>
                      <a:pt x="661" y="1701"/>
                      <a:pt x="1218" y="1634"/>
                      <a:pt x="1773" y="1627"/>
                    </a:cubicBezTo>
                    <a:cubicBezTo>
                      <a:pt x="2333" y="1634"/>
                      <a:pt x="2894" y="1702"/>
                      <a:pt x="3439" y="1830"/>
                    </a:cubicBezTo>
                    <a:cubicBezTo>
                      <a:pt x="3446" y="1831"/>
                      <a:pt x="3453" y="1832"/>
                      <a:pt x="3459" y="1832"/>
                    </a:cubicBezTo>
                    <a:cubicBezTo>
                      <a:pt x="3500" y="1832"/>
                      <a:pt x="3537" y="1804"/>
                      <a:pt x="3547" y="1763"/>
                    </a:cubicBezTo>
                    <a:cubicBezTo>
                      <a:pt x="3558" y="1714"/>
                      <a:pt x="3528" y="1666"/>
                      <a:pt x="3480" y="1654"/>
                    </a:cubicBezTo>
                    <a:close/>
                    <a:moveTo>
                      <a:pt x="2596" y="349"/>
                    </a:moveTo>
                    <a:cubicBezTo>
                      <a:pt x="2651" y="362"/>
                      <a:pt x="2707" y="372"/>
                      <a:pt x="2763" y="380"/>
                    </a:cubicBezTo>
                    <a:cubicBezTo>
                      <a:pt x="2763" y="758"/>
                      <a:pt x="2763" y="758"/>
                      <a:pt x="2763" y="758"/>
                    </a:cubicBezTo>
                    <a:cubicBezTo>
                      <a:pt x="2763" y="807"/>
                      <a:pt x="2803" y="848"/>
                      <a:pt x="2853" y="848"/>
                    </a:cubicBezTo>
                    <a:cubicBezTo>
                      <a:pt x="2903" y="848"/>
                      <a:pt x="2943" y="807"/>
                      <a:pt x="2943" y="758"/>
                    </a:cubicBezTo>
                    <a:cubicBezTo>
                      <a:pt x="2943" y="379"/>
                      <a:pt x="2943" y="379"/>
                      <a:pt x="2943" y="379"/>
                    </a:cubicBezTo>
                    <a:cubicBezTo>
                      <a:pt x="2995" y="371"/>
                      <a:pt x="3047" y="361"/>
                      <a:pt x="3098" y="349"/>
                    </a:cubicBezTo>
                    <a:cubicBezTo>
                      <a:pt x="3178" y="351"/>
                      <a:pt x="3301" y="372"/>
                      <a:pt x="3301" y="488"/>
                    </a:cubicBezTo>
                    <a:cubicBezTo>
                      <a:pt x="3301" y="733"/>
                      <a:pt x="3301" y="733"/>
                      <a:pt x="3301" y="733"/>
                    </a:cubicBezTo>
                    <a:cubicBezTo>
                      <a:pt x="3298" y="983"/>
                      <a:pt x="3238" y="1234"/>
                      <a:pt x="3131" y="1452"/>
                    </a:cubicBezTo>
                    <a:cubicBezTo>
                      <a:pt x="3064" y="1569"/>
                      <a:pt x="3064" y="1569"/>
                      <a:pt x="3064" y="1569"/>
                    </a:cubicBezTo>
                    <a:cubicBezTo>
                      <a:pt x="2844" y="1530"/>
                      <a:pt x="2622" y="1500"/>
                      <a:pt x="2399" y="1480"/>
                    </a:cubicBezTo>
                    <a:cubicBezTo>
                      <a:pt x="2399" y="707"/>
                      <a:pt x="2399" y="707"/>
                      <a:pt x="2399" y="707"/>
                    </a:cubicBezTo>
                    <a:cubicBezTo>
                      <a:pt x="2399" y="706"/>
                      <a:pt x="2399" y="706"/>
                      <a:pt x="2399" y="705"/>
                    </a:cubicBezTo>
                    <a:cubicBezTo>
                      <a:pt x="2399" y="486"/>
                      <a:pt x="2399" y="486"/>
                      <a:pt x="2399" y="486"/>
                    </a:cubicBezTo>
                    <a:cubicBezTo>
                      <a:pt x="2400" y="377"/>
                      <a:pt x="2504" y="351"/>
                      <a:pt x="2596" y="349"/>
                    </a:cubicBezTo>
                    <a:close/>
                    <a:moveTo>
                      <a:pt x="416" y="1474"/>
                    </a:moveTo>
                    <a:cubicBezTo>
                      <a:pt x="301" y="1238"/>
                      <a:pt x="242" y="974"/>
                      <a:pt x="245" y="711"/>
                    </a:cubicBezTo>
                    <a:cubicBezTo>
                      <a:pt x="245" y="488"/>
                      <a:pt x="245" y="488"/>
                      <a:pt x="245" y="488"/>
                    </a:cubicBezTo>
                    <a:cubicBezTo>
                      <a:pt x="245" y="372"/>
                      <a:pt x="367" y="351"/>
                      <a:pt x="447" y="349"/>
                    </a:cubicBezTo>
                    <a:cubicBezTo>
                      <a:pt x="499" y="361"/>
                      <a:pt x="551" y="371"/>
                      <a:pt x="603" y="379"/>
                    </a:cubicBezTo>
                    <a:cubicBezTo>
                      <a:pt x="603" y="758"/>
                      <a:pt x="603" y="758"/>
                      <a:pt x="603" y="758"/>
                    </a:cubicBezTo>
                    <a:cubicBezTo>
                      <a:pt x="603" y="807"/>
                      <a:pt x="643" y="848"/>
                      <a:pt x="693" y="848"/>
                    </a:cubicBezTo>
                    <a:cubicBezTo>
                      <a:pt x="743" y="848"/>
                      <a:pt x="783" y="807"/>
                      <a:pt x="783" y="758"/>
                    </a:cubicBezTo>
                    <a:cubicBezTo>
                      <a:pt x="783" y="380"/>
                      <a:pt x="783" y="380"/>
                      <a:pt x="783" y="380"/>
                    </a:cubicBezTo>
                    <a:cubicBezTo>
                      <a:pt x="837" y="371"/>
                      <a:pt x="892" y="361"/>
                      <a:pt x="946" y="349"/>
                    </a:cubicBezTo>
                    <a:cubicBezTo>
                      <a:pt x="1039" y="351"/>
                      <a:pt x="1145" y="377"/>
                      <a:pt x="1145" y="488"/>
                    </a:cubicBezTo>
                    <a:cubicBezTo>
                      <a:pt x="1145" y="705"/>
                      <a:pt x="1145" y="705"/>
                      <a:pt x="1145" y="705"/>
                    </a:cubicBezTo>
                    <a:cubicBezTo>
                      <a:pt x="1145" y="1479"/>
                      <a:pt x="1145" y="1479"/>
                      <a:pt x="1145" y="1479"/>
                    </a:cubicBezTo>
                    <a:cubicBezTo>
                      <a:pt x="920" y="1500"/>
                      <a:pt x="697" y="1530"/>
                      <a:pt x="476" y="1570"/>
                    </a:cubicBezTo>
                    <a:lnTo>
                      <a:pt x="416" y="1474"/>
                    </a:lnTo>
                    <a:close/>
                    <a:moveTo>
                      <a:pt x="1325" y="1465"/>
                    </a:moveTo>
                    <a:cubicBezTo>
                      <a:pt x="1325" y="705"/>
                      <a:pt x="1325" y="705"/>
                      <a:pt x="1325" y="705"/>
                    </a:cubicBezTo>
                    <a:cubicBezTo>
                      <a:pt x="1325" y="488"/>
                      <a:pt x="1325" y="488"/>
                      <a:pt x="1325" y="488"/>
                    </a:cubicBezTo>
                    <a:cubicBezTo>
                      <a:pt x="1325" y="318"/>
                      <a:pt x="1325" y="318"/>
                      <a:pt x="1325" y="318"/>
                    </a:cubicBezTo>
                    <a:cubicBezTo>
                      <a:pt x="1325" y="203"/>
                      <a:pt x="1445" y="182"/>
                      <a:pt x="1525" y="180"/>
                    </a:cubicBezTo>
                    <a:cubicBezTo>
                      <a:pt x="1603" y="199"/>
                      <a:pt x="1684" y="213"/>
                      <a:pt x="1764" y="222"/>
                    </a:cubicBezTo>
                    <a:cubicBezTo>
                      <a:pt x="1771" y="223"/>
                      <a:pt x="1779" y="223"/>
                      <a:pt x="1786" y="222"/>
                    </a:cubicBezTo>
                    <a:cubicBezTo>
                      <a:pt x="1862" y="212"/>
                      <a:pt x="1938" y="198"/>
                      <a:pt x="2012" y="180"/>
                    </a:cubicBezTo>
                    <a:cubicBezTo>
                      <a:pt x="2093" y="182"/>
                      <a:pt x="2216" y="203"/>
                      <a:pt x="2219" y="318"/>
                    </a:cubicBezTo>
                    <a:cubicBezTo>
                      <a:pt x="2219" y="484"/>
                      <a:pt x="2219" y="484"/>
                      <a:pt x="2219" y="484"/>
                    </a:cubicBezTo>
                    <a:cubicBezTo>
                      <a:pt x="2219" y="485"/>
                      <a:pt x="2219" y="486"/>
                      <a:pt x="2219" y="488"/>
                    </a:cubicBezTo>
                    <a:cubicBezTo>
                      <a:pt x="2219" y="1465"/>
                      <a:pt x="2219" y="1465"/>
                      <a:pt x="2219" y="1465"/>
                    </a:cubicBezTo>
                    <a:cubicBezTo>
                      <a:pt x="2071" y="1455"/>
                      <a:pt x="1922" y="1449"/>
                      <a:pt x="1773" y="1447"/>
                    </a:cubicBezTo>
                    <a:cubicBezTo>
                      <a:pt x="1624" y="1449"/>
                      <a:pt x="1474" y="1455"/>
                      <a:pt x="1325" y="14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latin typeface="+mj-lt"/>
                </a:endParaRPr>
              </a:p>
            </p:txBody>
          </p:sp>
          <p:sp>
            <p:nvSpPr>
              <p:cNvPr id="29" name="Freeform 15">
                <a:extLst>
                  <a:ext uri="{FF2B5EF4-FFF2-40B4-BE49-F238E27FC236}">
                    <a16:creationId xmlns:a16="http://schemas.microsoft.com/office/drawing/2014/main" id="{204B7540-DC0A-7FA3-25D4-96D5A195C4FD}"/>
                  </a:ext>
                </a:extLst>
              </p:cNvPr>
              <p:cNvSpPr>
                <a:spLocks noEditPoints="1"/>
              </p:cNvSpPr>
              <p:nvPr/>
            </p:nvSpPr>
            <p:spPr bwMode="auto">
              <a:xfrm>
                <a:off x="1770" y="3117"/>
                <a:ext cx="46" cy="58"/>
              </a:xfrm>
              <a:custGeom>
                <a:avLst/>
                <a:gdLst>
                  <a:gd name="T0" fmla="*/ 45 w 876"/>
                  <a:gd name="T1" fmla="*/ 772 h 1107"/>
                  <a:gd name="T2" fmla="*/ 413 w 876"/>
                  <a:gd name="T3" fmla="*/ 1098 h 1107"/>
                  <a:gd name="T4" fmla="*/ 428 w 876"/>
                  <a:gd name="T5" fmla="*/ 1098 h 1107"/>
                  <a:gd name="T6" fmla="*/ 818 w 876"/>
                  <a:gd name="T7" fmla="*/ 770 h 1107"/>
                  <a:gd name="T8" fmla="*/ 859 w 876"/>
                  <a:gd name="T9" fmla="*/ 444 h 1107"/>
                  <a:gd name="T10" fmla="*/ 783 w 876"/>
                  <a:gd name="T11" fmla="*/ 166 h 1107"/>
                  <a:gd name="T12" fmla="*/ 435 w 876"/>
                  <a:gd name="T13" fmla="*/ 7 h 1107"/>
                  <a:gd name="T14" fmla="*/ 144 w 876"/>
                  <a:gd name="T15" fmla="*/ 102 h 1107"/>
                  <a:gd name="T16" fmla="*/ 2 w 876"/>
                  <a:gd name="T17" fmla="*/ 378 h 1107"/>
                  <a:gd name="T18" fmla="*/ 2 w 876"/>
                  <a:gd name="T19" fmla="*/ 440 h 1107"/>
                  <a:gd name="T20" fmla="*/ 45 w 876"/>
                  <a:gd name="T21" fmla="*/ 772 h 1107"/>
                  <a:gd name="T22" fmla="*/ 182 w 876"/>
                  <a:gd name="T23" fmla="*/ 392 h 1107"/>
                  <a:gd name="T24" fmla="*/ 260 w 876"/>
                  <a:gd name="T25" fmla="*/ 239 h 1107"/>
                  <a:gd name="T26" fmla="*/ 406 w 876"/>
                  <a:gd name="T27" fmla="*/ 186 h 1107"/>
                  <a:gd name="T28" fmla="*/ 424 w 876"/>
                  <a:gd name="T29" fmla="*/ 187 h 1107"/>
                  <a:gd name="T30" fmla="*/ 644 w 876"/>
                  <a:gd name="T31" fmla="*/ 282 h 1107"/>
                  <a:gd name="T32" fmla="*/ 681 w 876"/>
                  <a:gd name="T33" fmla="*/ 417 h 1107"/>
                  <a:gd name="T34" fmla="*/ 639 w 876"/>
                  <a:gd name="T35" fmla="*/ 747 h 1107"/>
                  <a:gd name="T36" fmla="*/ 428 w 876"/>
                  <a:gd name="T37" fmla="*/ 918 h 1107"/>
                  <a:gd name="T38" fmla="*/ 224 w 876"/>
                  <a:gd name="T39" fmla="*/ 748 h 1107"/>
                  <a:gd name="T40" fmla="*/ 181 w 876"/>
                  <a:gd name="T41" fmla="*/ 423 h 1107"/>
                  <a:gd name="T42" fmla="*/ 182 w 876"/>
                  <a:gd name="T43" fmla="*/ 392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6" h="1107">
                    <a:moveTo>
                      <a:pt x="45" y="772"/>
                    </a:moveTo>
                    <a:cubicBezTo>
                      <a:pt x="71" y="960"/>
                      <a:pt x="231" y="1098"/>
                      <a:pt x="413" y="1098"/>
                    </a:cubicBezTo>
                    <a:cubicBezTo>
                      <a:pt x="418" y="1098"/>
                      <a:pt x="423" y="1098"/>
                      <a:pt x="428" y="1098"/>
                    </a:cubicBezTo>
                    <a:cubicBezTo>
                      <a:pt x="622" y="1107"/>
                      <a:pt x="791" y="965"/>
                      <a:pt x="818" y="770"/>
                    </a:cubicBezTo>
                    <a:cubicBezTo>
                      <a:pt x="859" y="444"/>
                      <a:pt x="859" y="444"/>
                      <a:pt x="859" y="444"/>
                    </a:cubicBezTo>
                    <a:cubicBezTo>
                      <a:pt x="876" y="345"/>
                      <a:pt x="849" y="246"/>
                      <a:pt x="783" y="166"/>
                    </a:cubicBezTo>
                    <a:cubicBezTo>
                      <a:pt x="701" y="69"/>
                      <a:pt x="568" y="8"/>
                      <a:pt x="435" y="7"/>
                    </a:cubicBezTo>
                    <a:cubicBezTo>
                      <a:pt x="329" y="0"/>
                      <a:pt x="225" y="33"/>
                      <a:pt x="144" y="102"/>
                    </a:cubicBezTo>
                    <a:cubicBezTo>
                      <a:pt x="61" y="172"/>
                      <a:pt x="11" y="270"/>
                      <a:pt x="2" y="378"/>
                    </a:cubicBezTo>
                    <a:cubicBezTo>
                      <a:pt x="1" y="396"/>
                      <a:pt x="0" y="415"/>
                      <a:pt x="2" y="440"/>
                    </a:cubicBezTo>
                    <a:lnTo>
                      <a:pt x="45" y="772"/>
                    </a:lnTo>
                    <a:close/>
                    <a:moveTo>
                      <a:pt x="182" y="392"/>
                    </a:moveTo>
                    <a:cubicBezTo>
                      <a:pt x="186" y="333"/>
                      <a:pt x="214" y="278"/>
                      <a:pt x="260" y="239"/>
                    </a:cubicBezTo>
                    <a:cubicBezTo>
                      <a:pt x="301" y="204"/>
                      <a:pt x="352" y="186"/>
                      <a:pt x="406" y="186"/>
                    </a:cubicBezTo>
                    <a:cubicBezTo>
                      <a:pt x="412" y="186"/>
                      <a:pt x="418" y="186"/>
                      <a:pt x="424" y="187"/>
                    </a:cubicBezTo>
                    <a:cubicBezTo>
                      <a:pt x="504" y="192"/>
                      <a:pt x="595" y="222"/>
                      <a:pt x="644" y="282"/>
                    </a:cubicBezTo>
                    <a:cubicBezTo>
                      <a:pt x="677" y="321"/>
                      <a:pt x="690" y="365"/>
                      <a:pt x="681" y="417"/>
                    </a:cubicBezTo>
                    <a:cubicBezTo>
                      <a:pt x="639" y="747"/>
                      <a:pt x="639" y="747"/>
                      <a:pt x="639" y="747"/>
                    </a:cubicBezTo>
                    <a:cubicBezTo>
                      <a:pt x="625" y="848"/>
                      <a:pt x="535" y="919"/>
                      <a:pt x="428" y="918"/>
                    </a:cubicBezTo>
                    <a:cubicBezTo>
                      <a:pt x="323" y="921"/>
                      <a:pt x="238" y="848"/>
                      <a:pt x="224" y="748"/>
                    </a:cubicBezTo>
                    <a:cubicBezTo>
                      <a:pt x="181" y="423"/>
                      <a:pt x="181" y="423"/>
                      <a:pt x="181" y="423"/>
                    </a:cubicBezTo>
                    <a:cubicBezTo>
                      <a:pt x="181" y="413"/>
                      <a:pt x="181" y="403"/>
                      <a:pt x="182" y="3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latin typeface="+mj-lt"/>
                </a:endParaRPr>
              </a:p>
            </p:txBody>
          </p:sp>
          <p:sp>
            <p:nvSpPr>
              <p:cNvPr id="30" name="Freeform 16">
                <a:extLst>
                  <a:ext uri="{FF2B5EF4-FFF2-40B4-BE49-F238E27FC236}">
                    <a16:creationId xmlns:a16="http://schemas.microsoft.com/office/drawing/2014/main" id="{66FEE5D1-CDE4-7C9E-CDFE-A5C81F5366F2}"/>
                  </a:ext>
                </a:extLst>
              </p:cNvPr>
              <p:cNvSpPr>
                <a:spLocks noEditPoints="1"/>
              </p:cNvSpPr>
              <p:nvPr/>
            </p:nvSpPr>
            <p:spPr bwMode="auto">
              <a:xfrm>
                <a:off x="1713" y="3126"/>
                <a:ext cx="46" cy="58"/>
              </a:xfrm>
              <a:custGeom>
                <a:avLst/>
                <a:gdLst>
                  <a:gd name="T0" fmla="*/ 57 w 887"/>
                  <a:gd name="T1" fmla="*/ 765 h 1100"/>
                  <a:gd name="T2" fmla="*/ 425 w 887"/>
                  <a:gd name="T3" fmla="*/ 1091 h 1100"/>
                  <a:gd name="T4" fmla="*/ 440 w 887"/>
                  <a:gd name="T5" fmla="*/ 1090 h 1100"/>
                  <a:gd name="T6" fmla="*/ 828 w 887"/>
                  <a:gd name="T7" fmla="*/ 764 h 1100"/>
                  <a:gd name="T8" fmla="*/ 871 w 887"/>
                  <a:gd name="T9" fmla="*/ 435 h 1100"/>
                  <a:gd name="T10" fmla="*/ 790 w 887"/>
                  <a:gd name="T11" fmla="*/ 156 h 1100"/>
                  <a:gd name="T12" fmla="*/ 444 w 887"/>
                  <a:gd name="T13" fmla="*/ 0 h 1100"/>
                  <a:gd name="T14" fmla="*/ 95 w 887"/>
                  <a:gd name="T15" fmla="*/ 158 h 1100"/>
                  <a:gd name="T16" fmla="*/ 16 w 887"/>
                  <a:gd name="T17" fmla="*/ 432 h 1100"/>
                  <a:gd name="T18" fmla="*/ 57 w 887"/>
                  <a:gd name="T19" fmla="*/ 765 h 1100"/>
                  <a:gd name="T20" fmla="*/ 232 w 887"/>
                  <a:gd name="T21" fmla="*/ 274 h 1100"/>
                  <a:gd name="T22" fmla="*/ 444 w 887"/>
                  <a:gd name="T23" fmla="*/ 180 h 1100"/>
                  <a:gd name="T24" fmla="*/ 653 w 887"/>
                  <a:gd name="T25" fmla="*/ 273 h 1100"/>
                  <a:gd name="T26" fmla="*/ 693 w 887"/>
                  <a:gd name="T27" fmla="*/ 409 h 1100"/>
                  <a:gd name="T28" fmla="*/ 650 w 887"/>
                  <a:gd name="T29" fmla="*/ 740 h 1100"/>
                  <a:gd name="T30" fmla="*/ 440 w 887"/>
                  <a:gd name="T31" fmla="*/ 911 h 1100"/>
                  <a:gd name="T32" fmla="*/ 236 w 887"/>
                  <a:gd name="T33" fmla="*/ 741 h 1100"/>
                  <a:gd name="T34" fmla="*/ 194 w 887"/>
                  <a:gd name="T35" fmla="*/ 406 h 1100"/>
                  <a:gd name="T36" fmla="*/ 232 w 887"/>
                  <a:gd name="T37" fmla="*/ 274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7" h="1100">
                    <a:moveTo>
                      <a:pt x="57" y="765"/>
                    </a:moveTo>
                    <a:cubicBezTo>
                      <a:pt x="83" y="953"/>
                      <a:pt x="243" y="1091"/>
                      <a:pt x="425" y="1091"/>
                    </a:cubicBezTo>
                    <a:cubicBezTo>
                      <a:pt x="430" y="1091"/>
                      <a:pt x="435" y="1091"/>
                      <a:pt x="440" y="1090"/>
                    </a:cubicBezTo>
                    <a:cubicBezTo>
                      <a:pt x="633" y="1100"/>
                      <a:pt x="801" y="957"/>
                      <a:pt x="828" y="764"/>
                    </a:cubicBezTo>
                    <a:cubicBezTo>
                      <a:pt x="871" y="435"/>
                      <a:pt x="871" y="435"/>
                      <a:pt x="871" y="435"/>
                    </a:cubicBezTo>
                    <a:cubicBezTo>
                      <a:pt x="887" y="335"/>
                      <a:pt x="858" y="236"/>
                      <a:pt x="790" y="156"/>
                    </a:cubicBezTo>
                    <a:cubicBezTo>
                      <a:pt x="708" y="60"/>
                      <a:pt x="575" y="0"/>
                      <a:pt x="444" y="0"/>
                    </a:cubicBezTo>
                    <a:cubicBezTo>
                      <a:pt x="311" y="0"/>
                      <a:pt x="177" y="60"/>
                      <a:pt x="95" y="158"/>
                    </a:cubicBezTo>
                    <a:cubicBezTo>
                      <a:pt x="27" y="238"/>
                      <a:pt x="0" y="336"/>
                      <a:pt x="16" y="432"/>
                    </a:cubicBezTo>
                    <a:lnTo>
                      <a:pt x="57" y="765"/>
                    </a:lnTo>
                    <a:close/>
                    <a:moveTo>
                      <a:pt x="232" y="274"/>
                    </a:moveTo>
                    <a:cubicBezTo>
                      <a:pt x="280" y="217"/>
                      <a:pt x="363" y="180"/>
                      <a:pt x="444" y="180"/>
                    </a:cubicBezTo>
                    <a:cubicBezTo>
                      <a:pt x="523" y="180"/>
                      <a:pt x="605" y="216"/>
                      <a:pt x="653" y="273"/>
                    </a:cubicBezTo>
                    <a:cubicBezTo>
                      <a:pt x="687" y="313"/>
                      <a:pt x="701" y="358"/>
                      <a:pt x="693" y="409"/>
                    </a:cubicBezTo>
                    <a:cubicBezTo>
                      <a:pt x="650" y="740"/>
                      <a:pt x="650" y="740"/>
                      <a:pt x="650" y="740"/>
                    </a:cubicBezTo>
                    <a:cubicBezTo>
                      <a:pt x="636" y="841"/>
                      <a:pt x="547" y="914"/>
                      <a:pt x="440" y="911"/>
                    </a:cubicBezTo>
                    <a:cubicBezTo>
                      <a:pt x="338" y="914"/>
                      <a:pt x="250" y="841"/>
                      <a:pt x="236" y="741"/>
                    </a:cubicBezTo>
                    <a:cubicBezTo>
                      <a:pt x="194" y="406"/>
                      <a:pt x="194" y="406"/>
                      <a:pt x="194" y="406"/>
                    </a:cubicBezTo>
                    <a:cubicBezTo>
                      <a:pt x="186" y="358"/>
                      <a:pt x="199" y="314"/>
                      <a:pt x="232" y="2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latin typeface="+mj-lt"/>
                </a:endParaRPr>
              </a:p>
            </p:txBody>
          </p:sp>
          <p:sp>
            <p:nvSpPr>
              <p:cNvPr id="31" name="Freeform 17">
                <a:extLst>
                  <a:ext uri="{FF2B5EF4-FFF2-40B4-BE49-F238E27FC236}">
                    <a16:creationId xmlns:a16="http://schemas.microsoft.com/office/drawing/2014/main" id="{78D095AB-3F48-6AFC-012B-8A97BE34EABD}"/>
                  </a:ext>
                </a:extLst>
              </p:cNvPr>
              <p:cNvSpPr>
                <a:spLocks noEditPoints="1"/>
              </p:cNvSpPr>
              <p:nvPr/>
            </p:nvSpPr>
            <p:spPr bwMode="auto">
              <a:xfrm>
                <a:off x="1826" y="3126"/>
                <a:ext cx="46" cy="58"/>
              </a:xfrm>
              <a:custGeom>
                <a:avLst/>
                <a:gdLst>
                  <a:gd name="T0" fmla="*/ 61 w 891"/>
                  <a:gd name="T1" fmla="*/ 768 h 1091"/>
                  <a:gd name="T2" fmla="*/ 379 w 891"/>
                  <a:gd name="T3" fmla="*/ 1085 h 1091"/>
                  <a:gd name="T4" fmla="*/ 447 w 891"/>
                  <a:gd name="T5" fmla="*/ 1091 h 1091"/>
                  <a:gd name="T6" fmla="*/ 671 w 891"/>
                  <a:gd name="T7" fmla="*/ 1020 h 1091"/>
                  <a:gd name="T8" fmla="*/ 831 w 891"/>
                  <a:gd name="T9" fmla="*/ 764 h 1091"/>
                  <a:gd name="T10" fmla="*/ 874 w 891"/>
                  <a:gd name="T11" fmla="*/ 436 h 1091"/>
                  <a:gd name="T12" fmla="*/ 796 w 891"/>
                  <a:gd name="T13" fmla="*/ 158 h 1091"/>
                  <a:gd name="T14" fmla="*/ 447 w 891"/>
                  <a:gd name="T15" fmla="*/ 0 h 1091"/>
                  <a:gd name="T16" fmla="*/ 92 w 891"/>
                  <a:gd name="T17" fmla="*/ 162 h 1091"/>
                  <a:gd name="T18" fmla="*/ 18 w 891"/>
                  <a:gd name="T19" fmla="*/ 433 h 1091"/>
                  <a:gd name="T20" fmla="*/ 61 w 891"/>
                  <a:gd name="T21" fmla="*/ 768 h 1091"/>
                  <a:gd name="T22" fmla="*/ 231 w 891"/>
                  <a:gd name="T23" fmla="*/ 277 h 1091"/>
                  <a:gd name="T24" fmla="*/ 447 w 891"/>
                  <a:gd name="T25" fmla="*/ 180 h 1091"/>
                  <a:gd name="T26" fmla="*/ 658 w 891"/>
                  <a:gd name="T27" fmla="*/ 274 h 1091"/>
                  <a:gd name="T28" fmla="*/ 696 w 891"/>
                  <a:gd name="T29" fmla="*/ 409 h 1091"/>
                  <a:gd name="T30" fmla="*/ 654 w 891"/>
                  <a:gd name="T31" fmla="*/ 737 h 1091"/>
                  <a:gd name="T32" fmla="*/ 567 w 891"/>
                  <a:gd name="T33" fmla="*/ 873 h 1091"/>
                  <a:gd name="T34" fmla="*/ 410 w 891"/>
                  <a:gd name="T35" fmla="*/ 908 h 1091"/>
                  <a:gd name="T36" fmla="*/ 239 w 891"/>
                  <a:gd name="T37" fmla="*/ 741 h 1091"/>
                  <a:gd name="T38" fmla="*/ 195 w 891"/>
                  <a:gd name="T39" fmla="*/ 404 h 1091"/>
                  <a:gd name="T40" fmla="*/ 231 w 891"/>
                  <a:gd name="T41" fmla="*/ 277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91" h="1091">
                    <a:moveTo>
                      <a:pt x="61" y="768"/>
                    </a:moveTo>
                    <a:cubicBezTo>
                      <a:pt x="90" y="929"/>
                      <a:pt x="217" y="1057"/>
                      <a:pt x="379" y="1085"/>
                    </a:cubicBezTo>
                    <a:cubicBezTo>
                      <a:pt x="402" y="1089"/>
                      <a:pt x="424" y="1091"/>
                      <a:pt x="447" y="1091"/>
                    </a:cubicBezTo>
                    <a:cubicBezTo>
                      <a:pt x="526" y="1091"/>
                      <a:pt x="604" y="1067"/>
                      <a:pt x="671" y="1020"/>
                    </a:cubicBezTo>
                    <a:cubicBezTo>
                      <a:pt x="756" y="960"/>
                      <a:pt x="813" y="870"/>
                      <a:pt x="831" y="764"/>
                    </a:cubicBezTo>
                    <a:cubicBezTo>
                      <a:pt x="874" y="436"/>
                      <a:pt x="874" y="436"/>
                      <a:pt x="874" y="436"/>
                    </a:cubicBezTo>
                    <a:cubicBezTo>
                      <a:pt x="891" y="336"/>
                      <a:pt x="863" y="238"/>
                      <a:pt x="796" y="158"/>
                    </a:cubicBezTo>
                    <a:cubicBezTo>
                      <a:pt x="714" y="60"/>
                      <a:pt x="580" y="0"/>
                      <a:pt x="447" y="0"/>
                    </a:cubicBezTo>
                    <a:cubicBezTo>
                      <a:pt x="311" y="0"/>
                      <a:pt x="175" y="62"/>
                      <a:pt x="92" y="162"/>
                    </a:cubicBezTo>
                    <a:cubicBezTo>
                      <a:pt x="26" y="242"/>
                      <a:pt x="0" y="340"/>
                      <a:pt x="18" y="433"/>
                    </a:cubicBezTo>
                    <a:lnTo>
                      <a:pt x="61" y="768"/>
                    </a:lnTo>
                    <a:close/>
                    <a:moveTo>
                      <a:pt x="231" y="277"/>
                    </a:moveTo>
                    <a:cubicBezTo>
                      <a:pt x="279" y="219"/>
                      <a:pt x="366" y="180"/>
                      <a:pt x="447" y="180"/>
                    </a:cubicBezTo>
                    <a:cubicBezTo>
                      <a:pt x="527" y="180"/>
                      <a:pt x="610" y="217"/>
                      <a:pt x="658" y="274"/>
                    </a:cubicBezTo>
                    <a:cubicBezTo>
                      <a:pt x="692" y="314"/>
                      <a:pt x="705" y="358"/>
                      <a:pt x="696" y="409"/>
                    </a:cubicBezTo>
                    <a:cubicBezTo>
                      <a:pt x="654" y="737"/>
                      <a:pt x="654" y="737"/>
                      <a:pt x="654" y="737"/>
                    </a:cubicBezTo>
                    <a:cubicBezTo>
                      <a:pt x="644" y="792"/>
                      <a:pt x="613" y="840"/>
                      <a:pt x="567" y="873"/>
                    </a:cubicBezTo>
                    <a:cubicBezTo>
                      <a:pt x="521" y="905"/>
                      <a:pt x="466" y="918"/>
                      <a:pt x="410" y="908"/>
                    </a:cubicBezTo>
                    <a:cubicBezTo>
                      <a:pt x="323" y="893"/>
                      <a:pt x="254" y="824"/>
                      <a:pt x="239" y="741"/>
                    </a:cubicBezTo>
                    <a:cubicBezTo>
                      <a:pt x="195" y="404"/>
                      <a:pt x="195" y="404"/>
                      <a:pt x="195" y="404"/>
                    </a:cubicBezTo>
                    <a:cubicBezTo>
                      <a:pt x="187" y="358"/>
                      <a:pt x="199" y="315"/>
                      <a:pt x="231" y="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latin typeface="+mj-lt"/>
                </a:endParaRPr>
              </a:p>
            </p:txBody>
          </p:sp>
          <p:sp>
            <p:nvSpPr>
              <p:cNvPr id="32" name="Freeform 18">
                <a:extLst>
                  <a:ext uri="{FF2B5EF4-FFF2-40B4-BE49-F238E27FC236}">
                    <a16:creationId xmlns:a16="http://schemas.microsoft.com/office/drawing/2014/main" id="{05514763-0F58-1F68-A60A-565EDD4DD109}"/>
                  </a:ext>
                </a:extLst>
              </p:cNvPr>
              <p:cNvSpPr>
                <a:spLocks/>
              </p:cNvSpPr>
              <p:nvPr/>
            </p:nvSpPr>
            <p:spPr bwMode="auto">
              <a:xfrm>
                <a:off x="1788" y="3197"/>
                <a:ext cx="10" cy="19"/>
              </a:xfrm>
              <a:custGeom>
                <a:avLst/>
                <a:gdLst>
                  <a:gd name="T0" fmla="*/ 90 w 180"/>
                  <a:gd name="T1" fmla="*/ 0 h 360"/>
                  <a:gd name="T2" fmla="*/ 0 w 180"/>
                  <a:gd name="T3" fmla="*/ 90 h 360"/>
                  <a:gd name="T4" fmla="*/ 0 w 180"/>
                  <a:gd name="T5" fmla="*/ 270 h 360"/>
                  <a:gd name="T6" fmla="*/ 90 w 180"/>
                  <a:gd name="T7" fmla="*/ 360 h 360"/>
                  <a:gd name="T8" fmla="*/ 180 w 180"/>
                  <a:gd name="T9" fmla="*/ 270 h 360"/>
                  <a:gd name="T10" fmla="*/ 180 w 180"/>
                  <a:gd name="T11" fmla="*/ 90 h 360"/>
                  <a:gd name="T12" fmla="*/ 90 w 180"/>
                  <a:gd name="T13" fmla="*/ 0 h 360"/>
                </a:gdLst>
                <a:ahLst/>
                <a:cxnLst>
                  <a:cxn ang="0">
                    <a:pos x="T0" y="T1"/>
                  </a:cxn>
                  <a:cxn ang="0">
                    <a:pos x="T2" y="T3"/>
                  </a:cxn>
                  <a:cxn ang="0">
                    <a:pos x="T4" y="T5"/>
                  </a:cxn>
                  <a:cxn ang="0">
                    <a:pos x="T6" y="T7"/>
                  </a:cxn>
                  <a:cxn ang="0">
                    <a:pos x="T8" y="T9"/>
                  </a:cxn>
                  <a:cxn ang="0">
                    <a:pos x="T10" y="T11"/>
                  </a:cxn>
                  <a:cxn ang="0">
                    <a:pos x="T12" y="T13"/>
                  </a:cxn>
                </a:cxnLst>
                <a:rect l="0" t="0" r="r" b="b"/>
                <a:pathLst>
                  <a:path w="180" h="360">
                    <a:moveTo>
                      <a:pt x="90" y="0"/>
                    </a:moveTo>
                    <a:cubicBezTo>
                      <a:pt x="40" y="0"/>
                      <a:pt x="0" y="40"/>
                      <a:pt x="0" y="90"/>
                    </a:cubicBezTo>
                    <a:cubicBezTo>
                      <a:pt x="0" y="270"/>
                      <a:pt x="0" y="270"/>
                      <a:pt x="0" y="270"/>
                    </a:cubicBezTo>
                    <a:cubicBezTo>
                      <a:pt x="0" y="320"/>
                      <a:pt x="40" y="360"/>
                      <a:pt x="90" y="360"/>
                    </a:cubicBezTo>
                    <a:cubicBezTo>
                      <a:pt x="139" y="360"/>
                      <a:pt x="180" y="320"/>
                      <a:pt x="180" y="270"/>
                    </a:cubicBezTo>
                    <a:cubicBezTo>
                      <a:pt x="180" y="90"/>
                      <a:pt x="180" y="90"/>
                      <a:pt x="180" y="90"/>
                    </a:cubicBezTo>
                    <a:cubicBezTo>
                      <a:pt x="180" y="40"/>
                      <a:pt x="139" y="0"/>
                      <a:pt x="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latin typeface="+mj-lt"/>
                </a:endParaRPr>
              </a:p>
            </p:txBody>
          </p:sp>
          <p:sp>
            <p:nvSpPr>
              <p:cNvPr id="33" name="Freeform 19">
                <a:extLst>
                  <a:ext uri="{FF2B5EF4-FFF2-40B4-BE49-F238E27FC236}">
                    <a16:creationId xmlns:a16="http://schemas.microsoft.com/office/drawing/2014/main" id="{C938315B-D8F8-B0EB-4417-C82A812E6565}"/>
                  </a:ext>
                </a:extLst>
              </p:cNvPr>
              <p:cNvSpPr>
                <a:spLocks/>
              </p:cNvSpPr>
              <p:nvPr/>
            </p:nvSpPr>
            <p:spPr bwMode="auto">
              <a:xfrm>
                <a:off x="1788" y="3226"/>
                <a:ext cx="10" cy="19"/>
              </a:xfrm>
              <a:custGeom>
                <a:avLst/>
                <a:gdLst>
                  <a:gd name="T0" fmla="*/ 90 w 180"/>
                  <a:gd name="T1" fmla="*/ 0 h 360"/>
                  <a:gd name="T2" fmla="*/ 0 w 180"/>
                  <a:gd name="T3" fmla="*/ 90 h 360"/>
                  <a:gd name="T4" fmla="*/ 0 w 180"/>
                  <a:gd name="T5" fmla="*/ 270 h 360"/>
                  <a:gd name="T6" fmla="*/ 90 w 180"/>
                  <a:gd name="T7" fmla="*/ 360 h 360"/>
                  <a:gd name="T8" fmla="*/ 180 w 180"/>
                  <a:gd name="T9" fmla="*/ 270 h 360"/>
                  <a:gd name="T10" fmla="*/ 180 w 180"/>
                  <a:gd name="T11" fmla="*/ 90 h 360"/>
                  <a:gd name="T12" fmla="*/ 90 w 180"/>
                  <a:gd name="T13" fmla="*/ 0 h 360"/>
                </a:gdLst>
                <a:ahLst/>
                <a:cxnLst>
                  <a:cxn ang="0">
                    <a:pos x="T0" y="T1"/>
                  </a:cxn>
                  <a:cxn ang="0">
                    <a:pos x="T2" y="T3"/>
                  </a:cxn>
                  <a:cxn ang="0">
                    <a:pos x="T4" y="T5"/>
                  </a:cxn>
                  <a:cxn ang="0">
                    <a:pos x="T6" y="T7"/>
                  </a:cxn>
                  <a:cxn ang="0">
                    <a:pos x="T8" y="T9"/>
                  </a:cxn>
                  <a:cxn ang="0">
                    <a:pos x="T10" y="T11"/>
                  </a:cxn>
                  <a:cxn ang="0">
                    <a:pos x="T12" y="T13"/>
                  </a:cxn>
                </a:cxnLst>
                <a:rect l="0" t="0" r="r" b="b"/>
                <a:pathLst>
                  <a:path w="180" h="360">
                    <a:moveTo>
                      <a:pt x="90" y="0"/>
                    </a:moveTo>
                    <a:cubicBezTo>
                      <a:pt x="40" y="0"/>
                      <a:pt x="0" y="40"/>
                      <a:pt x="0" y="90"/>
                    </a:cubicBezTo>
                    <a:cubicBezTo>
                      <a:pt x="0" y="270"/>
                      <a:pt x="0" y="270"/>
                      <a:pt x="0" y="270"/>
                    </a:cubicBezTo>
                    <a:cubicBezTo>
                      <a:pt x="0" y="320"/>
                      <a:pt x="40" y="360"/>
                      <a:pt x="90" y="360"/>
                    </a:cubicBezTo>
                    <a:cubicBezTo>
                      <a:pt x="139" y="360"/>
                      <a:pt x="180" y="320"/>
                      <a:pt x="180" y="270"/>
                    </a:cubicBezTo>
                    <a:cubicBezTo>
                      <a:pt x="180" y="90"/>
                      <a:pt x="180" y="90"/>
                      <a:pt x="180" y="90"/>
                    </a:cubicBezTo>
                    <a:cubicBezTo>
                      <a:pt x="180" y="40"/>
                      <a:pt x="139" y="0"/>
                      <a:pt x="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latin typeface="+mj-lt"/>
                </a:endParaRPr>
              </a:p>
            </p:txBody>
          </p:sp>
        </p:grpSp>
      </p:grpSp>
      <p:grpSp>
        <p:nvGrpSpPr>
          <p:cNvPr id="42" name="Grupo 6">
            <a:extLst>
              <a:ext uri="{FF2B5EF4-FFF2-40B4-BE49-F238E27FC236}">
                <a16:creationId xmlns:a16="http://schemas.microsoft.com/office/drawing/2014/main" id="{EAFCD693-2AEA-92FE-FCB4-FBFE8123ABB5}"/>
              </a:ext>
            </a:extLst>
          </p:cNvPr>
          <p:cNvGrpSpPr/>
          <p:nvPr userDrawn="1"/>
        </p:nvGrpSpPr>
        <p:grpSpPr>
          <a:xfrm>
            <a:off x="7595812" y="2655177"/>
            <a:ext cx="866547" cy="866547"/>
            <a:chOff x="5997575" y="2524601"/>
            <a:chExt cx="846244" cy="846244"/>
          </a:xfrm>
        </p:grpSpPr>
        <p:sp>
          <p:nvSpPr>
            <p:cNvPr id="43" name="Elipse 263">
              <a:extLst>
                <a:ext uri="{FF2B5EF4-FFF2-40B4-BE49-F238E27FC236}">
                  <a16:creationId xmlns:a16="http://schemas.microsoft.com/office/drawing/2014/main" id="{71C00A01-0E39-E596-7D29-CD075BFE02B5}"/>
                </a:ext>
              </a:extLst>
            </p:cNvPr>
            <p:cNvSpPr/>
            <p:nvPr/>
          </p:nvSpPr>
          <p:spPr>
            <a:xfrm>
              <a:off x="5997575" y="2524601"/>
              <a:ext cx="846244" cy="84624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latin typeface="+mj-lt"/>
              </a:endParaRPr>
            </a:p>
          </p:txBody>
        </p:sp>
        <p:sp>
          <p:nvSpPr>
            <p:cNvPr id="44" name="CuadroTexto 264">
              <a:extLst>
                <a:ext uri="{FF2B5EF4-FFF2-40B4-BE49-F238E27FC236}">
                  <a16:creationId xmlns:a16="http://schemas.microsoft.com/office/drawing/2014/main" id="{AC31C054-C823-4F3B-DCD0-D691DCE76E12}"/>
                </a:ext>
              </a:extLst>
            </p:cNvPr>
            <p:cNvSpPr txBox="1"/>
            <p:nvPr/>
          </p:nvSpPr>
          <p:spPr>
            <a:xfrm>
              <a:off x="6213523" y="2900593"/>
              <a:ext cx="433966" cy="450848"/>
            </a:xfrm>
            <a:prstGeom prst="rect">
              <a:avLst/>
            </a:prstGeom>
            <a:noFill/>
          </p:spPr>
          <p:txBody>
            <a:bodyPr wrap="square" rtlCol="0">
              <a:spAutoFit/>
            </a:bodyPr>
            <a:lstStyle/>
            <a:p>
              <a:pPr algn="ctr" defTabSz="895350">
                <a:spcBef>
                  <a:spcPts val="300"/>
                </a:spcBef>
                <a:spcAft>
                  <a:spcPts val="300"/>
                </a:spcAft>
              </a:pPr>
              <a:r>
                <a:rPr lang="en-US" sz="2400" b="1">
                  <a:solidFill>
                    <a:srgbClr val="6F7779"/>
                  </a:solidFill>
                  <a:latin typeface="+mj-lt"/>
                </a:rPr>
                <a:t>4</a:t>
              </a:r>
            </a:p>
          </p:txBody>
        </p:sp>
        <p:sp>
          <p:nvSpPr>
            <p:cNvPr id="45" name="Freeform 24">
              <a:extLst>
                <a:ext uri="{FF2B5EF4-FFF2-40B4-BE49-F238E27FC236}">
                  <a16:creationId xmlns:a16="http://schemas.microsoft.com/office/drawing/2014/main" id="{E7A6381B-5167-4EE6-0BD9-D43F49704122}"/>
                </a:ext>
              </a:extLst>
            </p:cNvPr>
            <p:cNvSpPr>
              <a:spLocks noEditPoints="1"/>
            </p:cNvSpPr>
            <p:nvPr/>
          </p:nvSpPr>
          <p:spPr bwMode="auto">
            <a:xfrm>
              <a:off x="6266147" y="2620251"/>
              <a:ext cx="274637" cy="298800"/>
            </a:xfrm>
            <a:custGeom>
              <a:avLst/>
              <a:gdLst>
                <a:gd name="T0" fmla="*/ 3034 w 3291"/>
                <a:gd name="T1" fmla="*/ 2214 h 3246"/>
                <a:gd name="T2" fmla="*/ 2517 w 3291"/>
                <a:gd name="T3" fmla="*/ 2386 h 3246"/>
                <a:gd name="T4" fmla="*/ 1890 w 3291"/>
                <a:gd name="T5" fmla="*/ 2160 h 3246"/>
                <a:gd name="T6" fmla="*/ 2432 w 3291"/>
                <a:gd name="T7" fmla="*/ 900 h 3246"/>
                <a:gd name="T8" fmla="*/ 3152 w 3291"/>
                <a:gd name="T9" fmla="*/ 0 h 3246"/>
                <a:gd name="T10" fmla="*/ 1710 w 3291"/>
                <a:gd name="T11" fmla="*/ 810 h 3246"/>
                <a:gd name="T12" fmla="*/ 1080 w 3291"/>
                <a:gd name="T13" fmla="*/ 540 h 3246"/>
                <a:gd name="T14" fmla="*/ 360 w 3291"/>
                <a:gd name="T15" fmla="*/ 630 h 3246"/>
                <a:gd name="T16" fmla="*/ 1710 w 3291"/>
                <a:gd name="T17" fmla="*/ 1440 h 3246"/>
                <a:gd name="T18" fmla="*/ 1658 w 3291"/>
                <a:gd name="T19" fmla="*/ 2160 h 3246"/>
                <a:gd name="T20" fmla="*/ 1222 w 3291"/>
                <a:gd name="T21" fmla="*/ 1980 h 3246"/>
                <a:gd name="T22" fmla="*/ 900 w 3291"/>
                <a:gd name="T23" fmla="*/ 1890 h 3246"/>
                <a:gd name="T24" fmla="*/ 90 w 3291"/>
                <a:gd name="T25" fmla="*/ 1800 h 3246"/>
                <a:gd name="T26" fmla="*/ 0 w 3291"/>
                <a:gd name="T27" fmla="*/ 2826 h 3246"/>
                <a:gd name="T28" fmla="*/ 810 w 3291"/>
                <a:gd name="T29" fmla="*/ 3240 h 3246"/>
                <a:gd name="T30" fmla="*/ 900 w 3291"/>
                <a:gd name="T31" fmla="*/ 3052 h 3246"/>
                <a:gd name="T32" fmla="*/ 1829 w 3291"/>
                <a:gd name="T33" fmla="*/ 3246 h 3246"/>
                <a:gd name="T34" fmla="*/ 3093 w 3291"/>
                <a:gd name="T35" fmla="*/ 2757 h 3246"/>
                <a:gd name="T36" fmla="*/ 2520 w 3291"/>
                <a:gd name="T37" fmla="*/ 180 h 3246"/>
                <a:gd name="T38" fmla="*/ 2432 w 3291"/>
                <a:gd name="T39" fmla="*/ 720 h 3246"/>
                <a:gd name="T40" fmla="*/ 2520 w 3291"/>
                <a:gd name="T41" fmla="*/ 180 h 3246"/>
                <a:gd name="T42" fmla="*/ 547 w 3291"/>
                <a:gd name="T43" fmla="*/ 720 h 3246"/>
                <a:gd name="T44" fmla="*/ 1704 w 3291"/>
                <a:gd name="T45" fmla="*/ 1260 h 3246"/>
                <a:gd name="T46" fmla="*/ 414 w 3291"/>
                <a:gd name="T47" fmla="*/ 3060 h 3246"/>
                <a:gd name="T48" fmla="*/ 180 w 3291"/>
                <a:gd name="T49" fmla="*/ 1980 h 3246"/>
                <a:gd name="T50" fmla="*/ 720 w 3291"/>
                <a:gd name="T51" fmla="*/ 2934 h 3246"/>
                <a:gd name="T52" fmla="*/ 720 w 3291"/>
                <a:gd name="T53" fmla="*/ 3060 h 3246"/>
                <a:gd name="T54" fmla="*/ 3008 w 3291"/>
                <a:gd name="T55" fmla="*/ 2598 h 3246"/>
                <a:gd name="T56" fmla="*/ 1533 w 3291"/>
                <a:gd name="T57" fmla="*/ 3028 h 3246"/>
                <a:gd name="T58" fmla="*/ 900 w 3291"/>
                <a:gd name="T59" fmla="*/ 2160 h 3246"/>
                <a:gd name="T60" fmla="*/ 1376 w 3291"/>
                <a:gd name="T61" fmla="*/ 2223 h 3246"/>
                <a:gd name="T62" fmla="*/ 2250 w 3291"/>
                <a:gd name="T63" fmla="*/ 2340 h 3246"/>
                <a:gd name="T64" fmla="*/ 2250 w 3291"/>
                <a:gd name="T65" fmla="*/ 2520 h 3246"/>
                <a:gd name="T66" fmla="*/ 1620 w 3291"/>
                <a:gd name="T67" fmla="*/ 2610 h 3246"/>
                <a:gd name="T68" fmla="*/ 2250 w 3291"/>
                <a:gd name="T69" fmla="*/ 2700 h 3246"/>
                <a:gd name="T70" fmla="*/ 2908 w 3291"/>
                <a:gd name="T71" fmla="*/ 2401 h 3246"/>
                <a:gd name="T72" fmla="*/ 3008 w 3291"/>
                <a:gd name="T73" fmla="*/ 2598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91" h="3246">
                  <a:moveTo>
                    <a:pt x="3211" y="2346"/>
                  </a:moveTo>
                  <a:cubicBezTo>
                    <a:pt x="3171" y="2280"/>
                    <a:pt x="3109" y="2233"/>
                    <a:pt x="3034" y="2214"/>
                  </a:cubicBezTo>
                  <a:cubicBezTo>
                    <a:pt x="2959" y="2196"/>
                    <a:pt x="2882" y="2207"/>
                    <a:pt x="2824" y="2242"/>
                  </a:cubicBezTo>
                  <a:cubicBezTo>
                    <a:pt x="2517" y="2386"/>
                    <a:pt x="2517" y="2386"/>
                    <a:pt x="2517" y="2386"/>
                  </a:cubicBezTo>
                  <a:cubicBezTo>
                    <a:pt x="2495" y="2258"/>
                    <a:pt x="2384" y="2160"/>
                    <a:pt x="2250" y="2160"/>
                  </a:cubicBezTo>
                  <a:cubicBezTo>
                    <a:pt x="1890" y="2160"/>
                    <a:pt x="1890" y="2160"/>
                    <a:pt x="1890" y="2160"/>
                  </a:cubicBezTo>
                  <a:cubicBezTo>
                    <a:pt x="1890" y="900"/>
                    <a:pt x="1890" y="900"/>
                    <a:pt x="1890" y="900"/>
                  </a:cubicBezTo>
                  <a:cubicBezTo>
                    <a:pt x="2432" y="900"/>
                    <a:pt x="2432" y="900"/>
                    <a:pt x="2432" y="900"/>
                  </a:cubicBezTo>
                  <a:cubicBezTo>
                    <a:pt x="2879" y="900"/>
                    <a:pt x="3242" y="536"/>
                    <a:pt x="3242" y="90"/>
                  </a:cubicBezTo>
                  <a:cubicBezTo>
                    <a:pt x="3242" y="40"/>
                    <a:pt x="3202" y="0"/>
                    <a:pt x="3152" y="0"/>
                  </a:cubicBezTo>
                  <a:cubicBezTo>
                    <a:pt x="2520" y="0"/>
                    <a:pt x="2520" y="0"/>
                    <a:pt x="2520" y="0"/>
                  </a:cubicBezTo>
                  <a:cubicBezTo>
                    <a:pt x="2074" y="0"/>
                    <a:pt x="1710" y="363"/>
                    <a:pt x="1710" y="810"/>
                  </a:cubicBezTo>
                  <a:cubicBezTo>
                    <a:pt x="1710" y="841"/>
                    <a:pt x="1710" y="841"/>
                    <a:pt x="1710" y="841"/>
                  </a:cubicBezTo>
                  <a:cubicBezTo>
                    <a:pt x="1562" y="658"/>
                    <a:pt x="1334" y="540"/>
                    <a:pt x="1080" y="540"/>
                  </a:cubicBezTo>
                  <a:cubicBezTo>
                    <a:pt x="450" y="540"/>
                    <a:pt x="450" y="540"/>
                    <a:pt x="450" y="540"/>
                  </a:cubicBezTo>
                  <a:cubicBezTo>
                    <a:pt x="400" y="540"/>
                    <a:pt x="360" y="580"/>
                    <a:pt x="360" y="630"/>
                  </a:cubicBezTo>
                  <a:cubicBezTo>
                    <a:pt x="360" y="1076"/>
                    <a:pt x="724" y="1440"/>
                    <a:pt x="1170" y="1440"/>
                  </a:cubicBezTo>
                  <a:cubicBezTo>
                    <a:pt x="1710" y="1440"/>
                    <a:pt x="1710" y="1440"/>
                    <a:pt x="1710" y="1440"/>
                  </a:cubicBezTo>
                  <a:cubicBezTo>
                    <a:pt x="1710" y="2160"/>
                    <a:pt x="1710" y="2160"/>
                    <a:pt x="1710" y="2160"/>
                  </a:cubicBezTo>
                  <a:cubicBezTo>
                    <a:pt x="1658" y="2160"/>
                    <a:pt x="1658" y="2160"/>
                    <a:pt x="1658" y="2160"/>
                  </a:cubicBezTo>
                  <a:cubicBezTo>
                    <a:pt x="1598" y="2154"/>
                    <a:pt x="1544" y="2137"/>
                    <a:pt x="1504" y="2096"/>
                  </a:cubicBezTo>
                  <a:cubicBezTo>
                    <a:pt x="1430" y="2022"/>
                    <a:pt x="1327" y="1971"/>
                    <a:pt x="1222" y="1980"/>
                  </a:cubicBezTo>
                  <a:cubicBezTo>
                    <a:pt x="900" y="1980"/>
                    <a:pt x="900" y="1980"/>
                    <a:pt x="900" y="1980"/>
                  </a:cubicBezTo>
                  <a:cubicBezTo>
                    <a:pt x="900" y="1890"/>
                    <a:pt x="900" y="1890"/>
                    <a:pt x="900" y="1890"/>
                  </a:cubicBezTo>
                  <a:cubicBezTo>
                    <a:pt x="900" y="1840"/>
                    <a:pt x="860" y="1800"/>
                    <a:pt x="810" y="1800"/>
                  </a:cubicBezTo>
                  <a:cubicBezTo>
                    <a:pt x="90" y="1800"/>
                    <a:pt x="90" y="1800"/>
                    <a:pt x="90" y="1800"/>
                  </a:cubicBezTo>
                  <a:cubicBezTo>
                    <a:pt x="40" y="1800"/>
                    <a:pt x="0" y="1840"/>
                    <a:pt x="0" y="1890"/>
                  </a:cubicBezTo>
                  <a:cubicBezTo>
                    <a:pt x="0" y="2826"/>
                    <a:pt x="0" y="2826"/>
                    <a:pt x="0" y="2826"/>
                  </a:cubicBezTo>
                  <a:cubicBezTo>
                    <a:pt x="0" y="3054"/>
                    <a:pt x="186" y="3240"/>
                    <a:pt x="414" y="3240"/>
                  </a:cubicBezTo>
                  <a:cubicBezTo>
                    <a:pt x="810" y="3240"/>
                    <a:pt x="810" y="3240"/>
                    <a:pt x="810" y="3240"/>
                  </a:cubicBezTo>
                  <a:cubicBezTo>
                    <a:pt x="860" y="3240"/>
                    <a:pt x="900" y="3200"/>
                    <a:pt x="900" y="3150"/>
                  </a:cubicBezTo>
                  <a:cubicBezTo>
                    <a:pt x="900" y="3052"/>
                    <a:pt x="900" y="3052"/>
                    <a:pt x="900" y="3052"/>
                  </a:cubicBezTo>
                  <a:cubicBezTo>
                    <a:pt x="1488" y="3203"/>
                    <a:pt x="1488" y="3203"/>
                    <a:pt x="1488" y="3203"/>
                  </a:cubicBezTo>
                  <a:cubicBezTo>
                    <a:pt x="1600" y="3232"/>
                    <a:pt x="1714" y="3246"/>
                    <a:pt x="1829" y="3246"/>
                  </a:cubicBezTo>
                  <a:cubicBezTo>
                    <a:pt x="1998" y="3246"/>
                    <a:pt x="2168" y="3214"/>
                    <a:pt x="2333" y="3151"/>
                  </a:cubicBezTo>
                  <a:cubicBezTo>
                    <a:pt x="3093" y="2757"/>
                    <a:pt x="3093" y="2757"/>
                    <a:pt x="3093" y="2757"/>
                  </a:cubicBezTo>
                  <a:cubicBezTo>
                    <a:pt x="3237" y="2678"/>
                    <a:pt x="3291" y="2501"/>
                    <a:pt x="3211" y="2346"/>
                  </a:cubicBezTo>
                  <a:close/>
                  <a:moveTo>
                    <a:pt x="2520" y="180"/>
                  </a:moveTo>
                  <a:cubicBezTo>
                    <a:pt x="3056" y="180"/>
                    <a:pt x="3056" y="180"/>
                    <a:pt x="3056" y="180"/>
                  </a:cubicBezTo>
                  <a:cubicBezTo>
                    <a:pt x="3012" y="485"/>
                    <a:pt x="2749" y="720"/>
                    <a:pt x="2432" y="720"/>
                  </a:cubicBezTo>
                  <a:cubicBezTo>
                    <a:pt x="1896" y="720"/>
                    <a:pt x="1896" y="720"/>
                    <a:pt x="1896" y="720"/>
                  </a:cubicBezTo>
                  <a:cubicBezTo>
                    <a:pt x="1940" y="415"/>
                    <a:pt x="2203" y="180"/>
                    <a:pt x="2520" y="180"/>
                  </a:cubicBezTo>
                  <a:close/>
                  <a:moveTo>
                    <a:pt x="1170" y="1260"/>
                  </a:moveTo>
                  <a:cubicBezTo>
                    <a:pt x="853" y="1260"/>
                    <a:pt x="590" y="1025"/>
                    <a:pt x="547" y="720"/>
                  </a:cubicBezTo>
                  <a:cubicBezTo>
                    <a:pt x="1080" y="720"/>
                    <a:pt x="1080" y="720"/>
                    <a:pt x="1080" y="720"/>
                  </a:cubicBezTo>
                  <a:cubicBezTo>
                    <a:pt x="1397" y="720"/>
                    <a:pt x="1660" y="955"/>
                    <a:pt x="1704" y="1260"/>
                  </a:cubicBezTo>
                  <a:lnTo>
                    <a:pt x="1170" y="1260"/>
                  </a:lnTo>
                  <a:close/>
                  <a:moveTo>
                    <a:pt x="414" y="3060"/>
                  </a:moveTo>
                  <a:cubicBezTo>
                    <a:pt x="285" y="3060"/>
                    <a:pt x="180" y="2955"/>
                    <a:pt x="180" y="2826"/>
                  </a:cubicBezTo>
                  <a:cubicBezTo>
                    <a:pt x="180" y="1980"/>
                    <a:pt x="180" y="1980"/>
                    <a:pt x="180" y="1980"/>
                  </a:cubicBezTo>
                  <a:cubicBezTo>
                    <a:pt x="720" y="1980"/>
                    <a:pt x="720" y="1980"/>
                    <a:pt x="720" y="1980"/>
                  </a:cubicBezTo>
                  <a:cubicBezTo>
                    <a:pt x="720" y="2934"/>
                    <a:pt x="720" y="2934"/>
                    <a:pt x="720" y="2934"/>
                  </a:cubicBezTo>
                  <a:cubicBezTo>
                    <a:pt x="720" y="2935"/>
                    <a:pt x="720" y="2936"/>
                    <a:pt x="720" y="2938"/>
                  </a:cubicBezTo>
                  <a:cubicBezTo>
                    <a:pt x="720" y="3060"/>
                    <a:pt x="720" y="3060"/>
                    <a:pt x="720" y="3060"/>
                  </a:cubicBezTo>
                  <a:lnTo>
                    <a:pt x="414" y="3060"/>
                  </a:lnTo>
                  <a:close/>
                  <a:moveTo>
                    <a:pt x="3008" y="2598"/>
                  </a:moveTo>
                  <a:cubicBezTo>
                    <a:pt x="2259" y="2987"/>
                    <a:pt x="2259" y="2987"/>
                    <a:pt x="2259" y="2987"/>
                  </a:cubicBezTo>
                  <a:cubicBezTo>
                    <a:pt x="2026" y="3076"/>
                    <a:pt x="1775" y="3090"/>
                    <a:pt x="1533" y="3028"/>
                  </a:cubicBezTo>
                  <a:cubicBezTo>
                    <a:pt x="900" y="2866"/>
                    <a:pt x="900" y="2866"/>
                    <a:pt x="900" y="2866"/>
                  </a:cubicBezTo>
                  <a:cubicBezTo>
                    <a:pt x="900" y="2160"/>
                    <a:pt x="900" y="2160"/>
                    <a:pt x="900" y="2160"/>
                  </a:cubicBezTo>
                  <a:cubicBezTo>
                    <a:pt x="1223" y="2160"/>
                    <a:pt x="1223" y="2160"/>
                    <a:pt x="1223" y="2160"/>
                  </a:cubicBezTo>
                  <a:cubicBezTo>
                    <a:pt x="1284" y="2154"/>
                    <a:pt x="1336" y="2183"/>
                    <a:pt x="1376" y="2223"/>
                  </a:cubicBezTo>
                  <a:cubicBezTo>
                    <a:pt x="1451" y="2298"/>
                    <a:pt x="1554" y="2337"/>
                    <a:pt x="1658" y="2340"/>
                  </a:cubicBezTo>
                  <a:cubicBezTo>
                    <a:pt x="2250" y="2340"/>
                    <a:pt x="2250" y="2340"/>
                    <a:pt x="2250" y="2340"/>
                  </a:cubicBezTo>
                  <a:cubicBezTo>
                    <a:pt x="2300" y="2340"/>
                    <a:pt x="2340" y="2380"/>
                    <a:pt x="2340" y="2430"/>
                  </a:cubicBezTo>
                  <a:cubicBezTo>
                    <a:pt x="2340" y="2479"/>
                    <a:pt x="2300" y="2520"/>
                    <a:pt x="2250" y="2520"/>
                  </a:cubicBezTo>
                  <a:cubicBezTo>
                    <a:pt x="1710" y="2520"/>
                    <a:pt x="1710" y="2520"/>
                    <a:pt x="1710" y="2520"/>
                  </a:cubicBezTo>
                  <a:cubicBezTo>
                    <a:pt x="1660" y="2520"/>
                    <a:pt x="1620" y="2560"/>
                    <a:pt x="1620" y="2610"/>
                  </a:cubicBezTo>
                  <a:cubicBezTo>
                    <a:pt x="1620" y="2660"/>
                    <a:pt x="1660" y="2700"/>
                    <a:pt x="1710" y="2700"/>
                  </a:cubicBezTo>
                  <a:cubicBezTo>
                    <a:pt x="2250" y="2700"/>
                    <a:pt x="2250" y="2700"/>
                    <a:pt x="2250" y="2700"/>
                  </a:cubicBezTo>
                  <a:cubicBezTo>
                    <a:pt x="2325" y="2700"/>
                    <a:pt x="2393" y="2669"/>
                    <a:pt x="2442" y="2619"/>
                  </a:cubicBezTo>
                  <a:cubicBezTo>
                    <a:pt x="2908" y="2401"/>
                    <a:pt x="2908" y="2401"/>
                    <a:pt x="2908" y="2401"/>
                  </a:cubicBezTo>
                  <a:cubicBezTo>
                    <a:pt x="2959" y="2370"/>
                    <a:pt x="3026" y="2387"/>
                    <a:pt x="3056" y="2437"/>
                  </a:cubicBezTo>
                  <a:cubicBezTo>
                    <a:pt x="3086" y="2496"/>
                    <a:pt x="3064" y="2567"/>
                    <a:pt x="3008" y="259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defTabSz="914400"/>
              <a:endParaRPr lang="en-US">
                <a:solidFill>
                  <a:prstClr val="black"/>
                </a:solidFill>
                <a:latin typeface="+mj-lt"/>
              </a:endParaRPr>
            </a:p>
          </p:txBody>
        </p:sp>
      </p:grpSp>
      <p:sp>
        <p:nvSpPr>
          <p:cNvPr id="49" name="Text Placeholder 47">
            <a:extLst>
              <a:ext uri="{FF2B5EF4-FFF2-40B4-BE49-F238E27FC236}">
                <a16:creationId xmlns:a16="http://schemas.microsoft.com/office/drawing/2014/main" id="{137732B1-4D14-AB31-6DAE-E52509731184}"/>
              </a:ext>
            </a:extLst>
          </p:cNvPr>
          <p:cNvSpPr>
            <a:spLocks noGrp="1"/>
          </p:cNvSpPr>
          <p:nvPr userDrawn="1">
            <p:ph type="body" sz="quarter" idx="46"/>
          </p:nvPr>
        </p:nvSpPr>
        <p:spPr>
          <a:xfrm>
            <a:off x="632681" y="1727444"/>
            <a:ext cx="4063208" cy="3864464"/>
          </a:xfrm>
          <a:prstGeom prst="rect">
            <a:avLst/>
          </a:prstGeom>
        </p:spPr>
        <p:txBody>
          <a:bodyPr/>
          <a:lstStyle>
            <a:lvl1pPr marL="0" indent="0">
              <a:buNone/>
              <a:defRPr sz="1400" b="1">
                <a:latin typeface="+mj-lt"/>
              </a:defRPr>
            </a:lvl1pPr>
            <a:lvl2pPr marL="0" indent="0">
              <a:spcBef>
                <a:spcPts val="600"/>
              </a:spcBef>
              <a:buNone/>
              <a:defRPr sz="1400" i="1">
                <a:latin typeface="+mj-lt"/>
              </a:defRPr>
            </a:lvl2pPr>
            <a:lvl3pPr marL="216000" indent="-216000">
              <a:spcBef>
                <a:spcPts val="800"/>
              </a:spcBef>
              <a:buClr>
                <a:srgbClr val="EC0000"/>
              </a:buClr>
              <a:buFont typeface="+mj-lt"/>
              <a:buAutoNum type="arabicPeriod"/>
              <a:defRPr sz="1200">
                <a:latin typeface="+mj-lt"/>
              </a:defRPr>
            </a:lvl3pPr>
          </a:lstStyle>
          <a:p>
            <a:pPr lvl="0"/>
            <a:r>
              <a:rPr lang="en-GB"/>
              <a:t>Click to edit Master text styles</a:t>
            </a:r>
          </a:p>
          <a:p>
            <a:pPr lvl="1"/>
            <a:r>
              <a:rPr lang="en-GB"/>
              <a:t>Second level</a:t>
            </a:r>
          </a:p>
          <a:p>
            <a:pPr lvl="2"/>
            <a:r>
              <a:rPr lang="en-GB"/>
              <a:t>Third level</a:t>
            </a:r>
          </a:p>
        </p:txBody>
      </p:sp>
      <p:sp>
        <p:nvSpPr>
          <p:cNvPr id="50" name="Text Placeholder 44">
            <a:extLst>
              <a:ext uri="{FF2B5EF4-FFF2-40B4-BE49-F238E27FC236}">
                <a16:creationId xmlns:a16="http://schemas.microsoft.com/office/drawing/2014/main" id="{BCD5A00B-86AE-D84F-5E92-6A66C3E22FB7}"/>
              </a:ext>
            </a:extLst>
          </p:cNvPr>
          <p:cNvSpPr>
            <a:spLocks noGrp="1"/>
          </p:cNvSpPr>
          <p:nvPr userDrawn="1">
            <p:ph type="body" sz="quarter" idx="50" hasCustomPrompt="1"/>
          </p:nvPr>
        </p:nvSpPr>
        <p:spPr>
          <a:xfrm>
            <a:off x="7603810" y="2655656"/>
            <a:ext cx="863104" cy="863104"/>
          </a:xfrm>
          <a:prstGeom prst="ellipse">
            <a:avLst/>
          </a:prstGeom>
          <a:solidFill>
            <a:schemeClr val="bg1"/>
          </a:solidFill>
        </p:spPr>
        <p:txBody>
          <a:bodyPr lIns="0" tIns="720000" rIns="0" bIns="0" anchor="b"/>
          <a:lstStyle>
            <a:lvl1pPr marL="0" indent="0" algn="ctr">
              <a:lnSpc>
                <a:spcPct val="100000"/>
              </a:lnSpc>
              <a:spcBef>
                <a:spcPts val="0"/>
              </a:spcBef>
              <a:buNone/>
              <a:defRPr sz="2400" b="1">
                <a:latin typeface="+mj-lt"/>
              </a:defRPr>
            </a:lvl1pPr>
          </a:lstStyle>
          <a:p>
            <a:pPr lvl="0"/>
            <a:r>
              <a:rPr lang="en-GB"/>
              <a:t>#</a:t>
            </a:r>
          </a:p>
        </p:txBody>
      </p:sp>
      <p:sp>
        <p:nvSpPr>
          <p:cNvPr id="54" name="Marcador de posición de imagen 28">
            <a:extLst>
              <a:ext uri="{FF2B5EF4-FFF2-40B4-BE49-F238E27FC236}">
                <a16:creationId xmlns:a16="http://schemas.microsoft.com/office/drawing/2014/main" id="{89BD398B-8437-E75D-6633-D5AC4D7F5194}"/>
              </a:ext>
            </a:extLst>
          </p:cNvPr>
          <p:cNvSpPr>
            <a:spLocks noGrp="1"/>
          </p:cNvSpPr>
          <p:nvPr userDrawn="1">
            <p:ph type="pic" sz="quarter" idx="64" hasCustomPrompt="1"/>
          </p:nvPr>
        </p:nvSpPr>
        <p:spPr>
          <a:xfrm>
            <a:off x="7826037" y="2675406"/>
            <a:ext cx="409529" cy="409529"/>
          </a:xfrm>
          <a:prstGeom prst="ellipse">
            <a:avLst/>
          </a:prstGeom>
          <a:solidFill>
            <a:schemeClr val="bg1"/>
          </a:solidFill>
        </p:spPr>
        <p:txBody>
          <a:bodyPr lIns="0" tIns="0" rIns="0" bIns="0"/>
          <a:lstStyle>
            <a:lvl1pPr marL="0" indent="0" algn="ctr">
              <a:buNone/>
              <a:defRPr sz="900">
                <a:latin typeface="+mj-lt"/>
              </a:defRPr>
            </a:lvl1pPr>
          </a:lstStyle>
          <a:p>
            <a:r>
              <a:rPr lang="es-ES" err="1"/>
              <a:t>Icon</a:t>
            </a:r>
            <a:endParaRPr lang="es-ES"/>
          </a:p>
        </p:txBody>
      </p:sp>
      <p:sp>
        <p:nvSpPr>
          <p:cNvPr id="55" name="Text Placeholder 44">
            <a:extLst>
              <a:ext uri="{FF2B5EF4-FFF2-40B4-BE49-F238E27FC236}">
                <a16:creationId xmlns:a16="http://schemas.microsoft.com/office/drawing/2014/main" id="{29186631-AFA6-8051-5B8C-3E49E238E64B}"/>
              </a:ext>
            </a:extLst>
          </p:cNvPr>
          <p:cNvSpPr>
            <a:spLocks noGrp="1"/>
          </p:cNvSpPr>
          <p:nvPr userDrawn="1">
            <p:ph type="body" sz="quarter" idx="65" hasCustomPrompt="1"/>
          </p:nvPr>
        </p:nvSpPr>
        <p:spPr>
          <a:xfrm>
            <a:off x="8902537" y="2655656"/>
            <a:ext cx="863104" cy="863104"/>
          </a:xfrm>
          <a:prstGeom prst="ellipse">
            <a:avLst/>
          </a:prstGeom>
          <a:solidFill>
            <a:schemeClr val="bg1"/>
          </a:solidFill>
        </p:spPr>
        <p:txBody>
          <a:bodyPr lIns="0" tIns="720000" rIns="0" bIns="0" anchor="b"/>
          <a:lstStyle>
            <a:lvl1pPr marL="0" indent="0" algn="ctr">
              <a:lnSpc>
                <a:spcPct val="100000"/>
              </a:lnSpc>
              <a:spcBef>
                <a:spcPts val="0"/>
              </a:spcBef>
              <a:buNone/>
              <a:defRPr sz="2400" b="1">
                <a:latin typeface="+mj-lt"/>
              </a:defRPr>
            </a:lvl1pPr>
          </a:lstStyle>
          <a:p>
            <a:pPr lvl="0"/>
            <a:r>
              <a:rPr lang="en-GB"/>
              <a:t>#</a:t>
            </a:r>
          </a:p>
        </p:txBody>
      </p:sp>
      <p:sp>
        <p:nvSpPr>
          <p:cNvPr id="56" name="Marcador de posición de imagen 28">
            <a:extLst>
              <a:ext uri="{FF2B5EF4-FFF2-40B4-BE49-F238E27FC236}">
                <a16:creationId xmlns:a16="http://schemas.microsoft.com/office/drawing/2014/main" id="{D449F069-F9AF-21D3-089C-76C9AE676033}"/>
              </a:ext>
            </a:extLst>
          </p:cNvPr>
          <p:cNvSpPr>
            <a:spLocks noGrp="1"/>
          </p:cNvSpPr>
          <p:nvPr userDrawn="1">
            <p:ph type="pic" sz="quarter" idx="66" hasCustomPrompt="1"/>
          </p:nvPr>
        </p:nvSpPr>
        <p:spPr>
          <a:xfrm>
            <a:off x="9124764" y="2675406"/>
            <a:ext cx="409529" cy="409529"/>
          </a:xfrm>
          <a:prstGeom prst="ellipse">
            <a:avLst/>
          </a:prstGeom>
          <a:solidFill>
            <a:schemeClr val="bg1"/>
          </a:solidFill>
        </p:spPr>
        <p:txBody>
          <a:bodyPr lIns="0" tIns="0" rIns="0" bIns="0"/>
          <a:lstStyle>
            <a:lvl1pPr marL="0" indent="0" algn="ctr">
              <a:buNone/>
              <a:defRPr sz="900">
                <a:latin typeface="+mj-lt"/>
              </a:defRPr>
            </a:lvl1pPr>
          </a:lstStyle>
          <a:p>
            <a:r>
              <a:rPr lang="es-ES" err="1"/>
              <a:t>Icon</a:t>
            </a:r>
            <a:endParaRPr lang="es-ES"/>
          </a:p>
        </p:txBody>
      </p:sp>
      <p:grpSp>
        <p:nvGrpSpPr>
          <p:cNvPr id="57" name="Grupo 5">
            <a:extLst>
              <a:ext uri="{FF2B5EF4-FFF2-40B4-BE49-F238E27FC236}">
                <a16:creationId xmlns:a16="http://schemas.microsoft.com/office/drawing/2014/main" id="{013CA1D9-84E8-1B36-6DF8-820F79690B47}"/>
              </a:ext>
            </a:extLst>
          </p:cNvPr>
          <p:cNvGrpSpPr/>
          <p:nvPr userDrawn="1"/>
        </p:nvGrpSpPr>
        <p:grpSpPr>
          <a:xfrm>
            <a:off x="8898355" y="3979884"/>
            <a:ext cx="866547" cy="866547"/>
            <a:chOff x="7445375" y="2524601"/>
            <a:chExt cx="846244" cy="846244"/>
          </a:xfrm>
        </p:grpSpPr>
        <p:sp>
          <p:nvSpPr>
            <p:cNvPr id="58" name="Elipse 270">
              <a:extLst>
                <a:ext uri="{FF2B5EF4-FFF2-40B4-BE49-F238E27FC236}">
                  <a16:creationId xmlns:a16="http://schemas.microsoft.com/office/drawing/2014/main" id="{1CB06BD1-C52A-3981-962F-C211B4755719}"/>
                </a:ext>
              </a:extLst>
            </p:cNvPr>
            <p:cNvSpPr/>
            <p:nvPr/>
          </p:nvSpPr>
          <p:spPr>
            <a:xfrm>
              <a:off x="7445375" y="2524601"/>
              <a:ext cx="846244" cy="84624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latin typeface="+mj-lt"/>
              </a:endParaRPr>
            </a:p>
          </p:txBody>
        </p:sp>
        <p:sp>
          <p:nvSpPr>
            <p:cNvPr id="59" name="CuadroTexto 271">
              <a:extLst>
                <a:ext uri="{FF2B5EF4-FFF2-40B4-BE49-F238E27FC236}">
                  <a16:creationId xmlns:a16="http://schemas.microsoft.com/office/drawing/2014/main" id="{0091F311-6303-E2A5-FD53-4BE156744A63}"/>
                </a:ext>
              </a:extLst>
            </p:cNvPr>
            <p:cNvSpPr txBox="1"/>
            <p:nvPr/>
          </p:nvSpPr>
          <p:spPr>
            <a:xfrm>
              <a:off x="7661323" y="2900593"/>
              <a:ext cx="433966" cy="450848"/>
            </a:xfrm>
            <a:prstGeom prst="rect">
              <a:avLst/>
            </a:prstGeom>
            <a:noFill/>
          </p:spPr>
          <p:txBody>
            <a:bodyPr wrap="square" rtlCol="0">
              <a:spAutoFit/>
            </a:bodyPr>
            <a:lstStyle/>
            <a:p>
              <a:pPr algn="ctr" defTabSz="895350">
                <a:spcBef>
                  <a:spcPts val="300"/>
                </a:spcBef>
                <a:spcAft>
                  <a:spcPts val="300"/>
                </a:spcAft>
              </a:pPr>
              <a:r>
                <a:rPr lang="en-US" sz="2400" b="1">
                  <a:solidFill>
                    <a:srgbClr val="6F7779"/>
                  </a:solidFill>
                  <a:latin typeface="+mj-lt"/>
                </a:rPr>
                <a:t>1</a:t>
              </a:r>
            </a:p>
          </p:txBody>
        </p:sp>
        <p:grpSp>
          <p:nvGrpSpPr>
            <p:cNvPr id="60" name="Group 12">
              <a:extLst>
                <a:ext uri="{FF2B5EF4-FFF2-40B4-BE49-F238E27FC236}">
                  <a16:creationId xmlns:a16="http://schemas.microsoft.com/office/drawing/2014/main" id="{C384B642-D409-A801-B2B2-CBD4A01EA336}"/>
                </a:ext>
              </a:extLst>
            </p:cNvPr>
            <p:cNvGrpSpPr>
              <a:grpSpLocks noChangeAspect="1"/>
            </p:cNvGrpSpPr>
            <p:nvPr/>
          </p:nvGrpSpPr>
          <p:grpSpPr bwMode="auto">
            <a:xfrm>
              <a:off x="7695306" y="2657556"/>
              <a:ext cx="345197" cy="298800"/>
              <a:chOff x="1700" y="3117"/>
              <a:chExt cx="186" cy="161"/>
            </a:xfrm>
            <a:solidFill>
              <a:schemeClr val="accent3"/>
            </a:solidFill>
          </p:grpSpPr>
          <p:sp>
            <p:nvSpPr>
              <p:cNvPr id="61" name="Freeform 14">
                <a:extLst>
                  <a:ext uri="{FF2B5EF4-FFF2-40B4-BE49-F238E27FC236}">
                    <a16:creationId xmlns:a16="http://schemas.microsoft.com/office/drawing/2014/main" id="{1E8B4B25-F82F-703F-3E26-90F557515F36}"/>
                  </a:ext>
                </a:extLst>
              </p:cNvPr>
              <p:cNvSpPr>
                <a:spLocks noEditPoints="1"/>
              </p:cNvSpPr>
              <p:nvPr/>
            </p:nvSpPr>
            <p:spPr bwMode="auto">
              <a:xfrm>
                <a:off x="1700" y="3181"/>
                <a:ext cx="186" cy="97"/>
              </a:xfrm>
              <a:custGeom>
                <a:avLst/>
                <a:gdLst>
                  <a:gd name="T0" fmla="*/ 3251 w 3558"/>
                  <a:gd name="T1" fmla="*/ 1605 h 1838"/>
                  <a:gd name="T2" fmla="*/ 3481 w 3558"/>
                  <a:gd name="T3" fmla="*/ 734 h 1838"/>
                  <a:gd name="T4" fmla="*/ 3088 w 3558"/>
                  <a:gd name="T5" fmla="*/ 169 h 1838"/>
                  <a:gd name="T6" fmla="*/ 2851 w 3558"/>
                  <a:gd name="T7" fmla="*/ 210 h 1838"/>
                  <a:gd name="T8" fmla="*/ 2606 w 3558"/>
                  <a:gd name="T9" fmla="*/ 169 h 1838"/>
                  <a:gd name="T10" fmla="*/ 2001 w 3558"/>
                  <a:gd name="T11" fmla="*/ 0 h 1838"/>
                  <a:gd name="T12" fmla="*/ 1774 w 3558"/>
                  <a:gd name="T13" fmla="*/ 42 h 1838"/>
                  <a:gd name="T14" fmla="*/ 1535 w 3558"/>
                  <a:gd name="T15" fmla="*/ 0 h 1838"/>
                  <a:gd name="T16" fmla="*/ 936 w 3558"/>
                  <a:gd name="T17" fmla="*/ 169 h 1838"/>
                  <a:gd name="T18" fmla="*/ 695 w 3558"/>
                  <a:gd name="T19" fmla="*/ 210 h 1838"/>
                  <a:gd name="T20" fmla="*/ 457 w 3558"/>
                  <a:gd name="T21" fmla="*/ 169 h 1838"/>
                  <a:gd name="T22" fmla="*/ 65 w 3558"/>
                  <a:gd name="T23" fmla="*/ 710 h 1838"/>
                  <a:gd name="T24" fmla="*/ 286 w 3558"/>
                  <a:gd name="T25" fmla="*/ 1606 h 1838"/>
                  <a:gd name="T26" fmla="*/ 11 w 3558"/>
                  <a:gd name="T27" fmla="*/ 1759 h 1838"/>
                  <a:gd name="T28" fmla="*/ 1773 w 3558"/>
                  <a:gd name="T29" fmla="*/ 1627 h 1838"/>
                  <a:gd name="T30" fmla="*/ 3459 w 3558"/>
                  <a:gd name="T31" fmla="*/ 1832 h 1838"/>
                  <a:gd name="T32" fmla="*/ 3480 w 3558"/>
                  <a:gd name="T33" fmla="*/ 1654 h 1838"/>
                  <a:gd name="T34" fmla="*/ 2763 w 3558"/>
                  <a:gd name="T35" fmla="*/ 380 h 1838"/>
                  <a:gd name="T36" fmla="*/ 2853 w 3558"/>
                  <a:gd name="T37" fmla="*/ 848 h 1838"/>
                  <a:gd name="T38" fmla="*/ 2943 w 3558"/>
                  <a:gd name="T39" fmla="*/ 379 h 1838"/>
                  <a:gd name="T40" fmla="*/ 3301 w 3558"/>
                  <a:gd name="T41" fmla="*/ 488 h 1838"/>
                  <a:gd name="T42" fmla="*/ 3131 w 3558"/>
                  <a:gd name="T43" fmla="*/ 1452 h 1838"/>
                  <a:gd name="T44" fmla="*/ 2399 w 3558"/>
                  <a:gd name="T45" fmla="*/ 1480 h 1838"/>
                  <a:gd name="T46" fmla="*/ 2399 w 3558"/>
                  <a:gd name="T47" fmla="*/ 705 h 1838"/>
                  <a:gd name="T48" fmla="*/ 2596 w 3558"/>
                  <a:gd name="T49" fmla="*/ 349 h 1838"/>
                  <a:gd name="T50" fmla="*/ 245 w 3558"/>
                  <a:gd name="T51" fmla="*/ 711 h 1838"/>
                  <a:gd name="T52" fmla="*/ 447 w 3558"/>
                  <a:gd name="T53" fmla="*/ 349 h 1838"/>
                  <a:gd name="T54" fmla="*/ 603 w 3558"/>
                  <a:gd name="T55" fmla="*/ 758 h 1838"/>
                  <a:gd name="T56" fmla="*/ 783 w 3558"/>
                  <a:gd name="T57" fmla="*/ 758 h 1838"/>
                  <a:gd name="T58" fmla="*/ 946 w 3558"/>
                  <a:gd name="T59" fmla="*/ 349 h 1838"/>
                  <a:gd name="T60" fmla="*/ 1145 w 3558"/>
                  <a:gd name="T61" fmla="*/ 705 h 1838"/>
                  <a:gd name="T62" fmla="*/ 476 w 3558"/>
                  <a:gd name="T63" fmla="*/ 1570 h 1838"/>
                  <a:gd name="T64" fmla="*/ 1325 w 3558"/>
                  <a:gd name="T65" fmla="*/ 1465 h 1838"/>
                  <a:gd name="T66" fmla="*/ 1325 w 3558"/>
                  <a:gd name="T67" fmla="*/ 488 h 1838"/>
                  <a:gd name="T68" fmla="*/ 1525 w 3558"/>
                  <a:gd name="T69" fmla="*/ 180 h 1838"/>
                  <a:gd name="T70" fmla="*/ 1786 w 3558"/>
                  <a:gd name="T71" fmla="*/ 222 h 1838"/>
                  <a:gd name="T72" fmla="*/ 2219 w 3558"/>
                  <a:gd name="T73" fmla="*/ 318 h 1838"/>
                  <a:gd name="T74" fmla="*/ 2219 w 3558"/>
                  <a:gd name="T75" fmla="*/ 488 h 1838"/>
                  <a:gd name="T76" fmla="*/ 1773 w 3558"/>
                  <a:gd name="T77" fmla="*/ 1447 h 1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58" h="1838">
                    <a:moveTo>
                      <a:pt x="3480" y="1654"/>
                    </a:moveTo>
                    <a:cubicBezTo>
                      <a:pt x="3404" y="1637"/>
                      <a:pt x="3328" y="1620"/>
                      <a:pt x="3251" y="1605"/>
                    </a:cubicBezTo>
                    <a:cubicBezTo>
                      <a:pt x="3290" y="1537"/>
                      <a:pt x="3290" y="1537"/>
                      <a:pt x="3290" y="1537"/>
                    </a:cubicBezTo>
                    <a:cubicBezTo>
                      <a:pt x="3412" y="1289"/>
                      <a:pt x="3478" y="1012"/>
                      <a:pt x="3481" y="734"/>
                    </a:cubicBezTo>
                    <a:cubicBezTo>
                      <a:pt x="3481" y="488"/>
                      <a:pt x="3481" y="488"/>
                      <a:pt x="3481" y="488"/>
                    </a:cubicBezTo>
                    <a:cubicBezTo>
                      <a:pt x="3481" y="341"/>
                      <a:pt x="3378" y="169"/>
                      <a:pt x="3088" y="169"/>
                    </a:cubicBezTo>
                    <a:cubicBezTo>
                      <a:pt x="3081" y="169"/>
                      <a:pt x="3075" y="170"/>
                      <a:pt x="3068" y="171"/>
                    </a:cubicBezTo>
                    <a:cubicBezTo>
                      <a:pt x="2996" y="188"/>
                      <a:pt x="2923" y="201"/>
                      <a:pt x="2851" y="210"/>
                    </a:cubicBezTo>
                    <a:cubicBezTo>
                      <a:pt x="2776" y="201"/>
                      <a:pt x="2701" y="188"/>
                      <a:pt x="2626" y="171"/>
                    </a:cubicBezTo>
                    <a:cubicBezTo>
                      <a:pt x="2620" y="170"/>
                      <a:pt x="2613" y="169"/>
                      <a:pt x="2606" y="169"/>
                    </a:cubicBezTo>
                    <a:cubicBezTo>
                      <a:pt x="2512" y="169"/>
                      <a:pt x="2438" y="188"/>
                      <a:pt x="2381" y="218"/>
                    </a:cubicBezTo>
                    <a:cubicBezTo>
                      <a:pt x="2339" y="103"/>
                      <a:pt x="2225" y="0"/>
                      <a:pt x="2001" y="0"/>
                    </a:cubicBezTo>
                    <a:cubicBezTo>
                      <a:pt x="1994" y="0"/>
                      <a:pt x="1987" y="1"/>
                      <a:pt x="1979" y="3"/>
                    </a:cubicBezTo>
                    <a:cubicBezTo>
                      <a:pt x="1912" y="20"/>
                      <a:pt x="1843" y="33"/>
                      <a:pt x="1774" y="42"/>
                    </a:cubicBezTo>
                    <a:cubicBezTo>
                      <a:pt x="1701" y="33"/>
                      <a:pt x="1628" y="20"/>
                      <a:pt x="1557" y="2"/>
                    </a:cubicBezTo>
                    <a:cubicBezTo>
                      <a:pt x="1550" y="1"/>
                      <a:pt x="1542" y="0"/>
                      <a:pt x="1535" y="0"/>
                    </a:cubicBezTo>
                    <a:cubicBezTo>
                      <a:pt x="1312" y="0"/>
                      <a:pt x="1200" y="103"/>
                      <a:pt x="1161" y="217"/>
                    </a:cubicBezTo>
                    <a:cubicBezTo>
                      <a:pt x="1104" y="187"/>
                      <a:pt x="1030" y="169"/>
                      <a:pt x="936" y="169"/>
                    </a:cubicBezTo>
                    <a:cubicBezTo>
                      <a:pt x="929" y="169"/>
                      <a:pt x="922" y="170"/>
                      <a:pt x="915" y="171"/>
                    </a:cubicBezTo>
                    <a:cubicBezTo>
                      <a:pt x="843" y="188"/>
                      <a:pt x="769" y="201"/>
                      <a:pt x="695" y="210"/>
                    </a:cubicBezTo>
                    <a:cubicBezTo>
                      <a:pt x="622" y="201"/>
                      <a:pt x="549" y="188"/>
                      <a:pt x="478" y="171"/>
                    </a:cubicBezTo>
                    <a:cubicBezTo>
                      <a:pt x="471" y="170"/>
                      <a:pt x="464" y="169"/>
                      <a:pt x="457" y="169"/>
                    </a:cubicBezTo>
                    <a:cubicBezTo>
                      <a:pt x="167" y="169"/>
                      <a:pt x="65" y="341"/>
                      <a:pt x="65" y="488"/>
                    </a:cubicBezTo>
                    <a:cubicBezTo>
                      <a:pt x="65" y="710"/>
                      <a:pt x="65" y="710"/>
                      <a:pt x="65" y="710"/>
                    </a:cubicBezTo>
                    <a:cubicBezTo>
                      <a:pt x="62" y="1000"/>
                      <a:pt x="127" y="1292"/>
                      <a:pt x="258" y="1561"/>
                    </a:cubicBezTo>
                    <a:cubicBezTo>
                      <a:pt x="286" y="1606"/>
                      <a:pt x="286" y="1606"/>
                      <a:pt x="286" y="1606"/>
                    </a:cubicBezTo>
                    <a:cubicBezTo>
                      <a:pt x="217" y="1620"/>
                      <a:pt x="147" y="1635"/>
                      <a:pt x="78" y="1651"/>
                    </a:cubicBezTo>
                    <a:cubicBezTo>
                      <a:pt x="30" y="1662"/>
                      <a:pt x="0" y="1711"/>
                      <a:pt x="11" y="1759"/>
                    </a:cubicBezTo>
                    <a:cubicBezTo>
                      <a:pt x="22" y="1807"/>
                      <a:pt x="71" y="1838"/>
                      <a:pt x="119" y="1826"/>
                    </a:cubicBezTo>
                    <a:cubicBezTo>
                      <a:pt x="661" y="1701"/>
                      <a:pt x="1218" y="1634"/>
                      <a:pt x="1773" y="1627"/>
                    </a:cubicBezTo>
                    <a:cubicBezTo>
                      <a:pt x="2333" y="1634"/>
                      <a:pt x="2894" y="1702"/>
                      <a:pt x="3439" y="1830"/>
                    </a:cubicBezTo>
                    <a:cubicBezTo>
                      <a:pt x="3446" y="1831"/>
                      <a:pt x="3453" y="1832"/>
                      <a:pt x="3459" y="1832"/>
                    </a:cubicBezTo>
                    <a:cubicBezTo>
                      <a:pt x="3500" y="1832"/>
                      <a:pt x="3537" y="1804"/>
                      <a:pt x="3547" y="1763"/>
                    </a:cubicBezTo>
                    <a:cubicBezTo>
                      <a:pt x="3558" y="1714"/>
                      <a:pt x="3528" y="1666"/>
                      <a:pt x="3480" y="1654"/>
                    </a:cubicBezTo>
                    <a:close/>
                    <a:moveTo>
                      <a:pt x="2596" y="349"/>
                    </a:moveTo>
                    <a:cubicBezTo>
                      <a:pt x="2651" y="362"/>
                      <a:pt x="2707" y="372"/>
                      <a:pt x="2763" y="380"/>
                    </a:cubicBezTo>
                    <a:cubicBezTo>
                      <a:pt x="2763" y="758"/>
                      <a:pt x="2763" y="758"/>
                      <a:pt x="2763" y="758"/>
                    </a:cubicBezTo>
                    <a:cubicBezTo>
                      <a:pt x="2763" y="807"/>
                      <a:pt x="2803" y="848"/>
                      <a:pt x="2853" y="848"/>
                    </a:cubicBezTo>
                    <a:cubicBezTo>
                      <a:pt x="2903" y="848"/>
                      <a:pt x="2943" y="807"/>
                      <a:pt x="2943" y="758"/>
                    </a:cubicBezTo>
                    <a:cubicBezTo>
                      <a:pt x="2943" y="379"/>
                      <a:pt x="2943" y="379"/>
                      <a:pt x="2943" y="379"/>
                    </a:cubicBezTo>
                    <a:cubicBezTo>
                      <a:pt x="2995" y="371"/>
                      <a:pt x="3047" y="361"/>
                      <a:pt x="3098" y="349"/>
                    </a:cubicBezTo>
                    <a:cubicBezTo>
                      <a:pt x="3178" y="351"/>
                      <a:pt x="3301" y="372"/>
                      <a:pt x="3301" y="488"/>
                    </a:cubicBezTo>
                    <a:cubicBezTo>
                      <a:pt x="3301" y="733"/>
                      <a:pt x="3301" y="733"/>
                      <a:pt x="3301" y="733"/>
                    </a:cubicBezTo>
                    <a:cubicBezTo>
                      <a:pt x="3298" y="983"/>
                      <a:pt x="3238" y="1234"/>
                      <a:pt x="3131" y="1452"/>
                    </a:cubicBezTo>
                    <a:cubicBezTo>
                      <a:pt x="3064" y="1569"/>
                      <a:pt x="3064" y="1569"/>
                      <a:pt x="3064" y="1569"/>
                    </a:cubicBezTo>
                    <a:cubicBezTo>
                      <a:pt x="2844" y="1530"/>
                      <a:pt x="2622" y="1500"/>
                      <a:pt x="2399" y="1480"/>
                    </a:cubicBezTo>
                    <a:cubicBezTo>
                      <a:pt x="2399" y="707"/>
                      <a:pt x="2399" y="707"/>
                      <a:pt x="2399" y="707"/>
                    </a:cubicBezTo>
                    <a:cubicBezTo>
                      <a:pt x="2399" y="706"/>
                      <a:pt x="2399" y="706"/>
                      <a:pt x="2399" y="705"/>
                    </a:cubicBezTo>
                    <a:cubicBezTo>
                      <a:pt x="2399" y="486"/>
                      <a:pt x="2399" y="486"/>
                      <a:pt x="2399" y="486"/>
                    </a:cubicBezTo>
                    <a:cubicBezTo>
                      <a:pt x="2400" y="377"/>
                      <a:pt x="2504" y="351"/>
                      <a:pt x="2596" y="349"/>
                    </a:cubicBezTo>
                    <a:close/>
                    <a:moveTo>
                      <a:pt x="416" y="1474"/>
                    </a:moveTo>
                    <a:cubicBezTo>
                      <a:pt x="301" y="1238"/>
                      <a:pt x="242" y="974"/>
                      <a:pt x="245" y="711"/>
                    </a:cubicBezTo>
                    <a:cubicBezTo>
                      <a:pt x="245" y="488"/>
                      <a:pt x="245" y="488"/>
                      <a:pt x="245" y="488"/>
                    </a:cubicBezTo>
                    <a:cubicBezTo>
                      <a:pt x="245" y="372"/>
                      <a:pt x="367" y="351"/>
                      <a:pt x="447" y="349"/>
                    </a:cubicBezTo>
                    <a:cubicBezTo>
                      <a:pt x="499" y="361"/>
                      <a:pt x="551" y="371"/>
                      <a:pt x="603" y="379"/>
                    </a:cubicBezTo>
                    <a:cubicBezTo>
                      <a:pt x="603" y="758"/>
                      <a:pt x="603" y="758"/>
                      <a:pt x="603" y="758"/>
                    </a:cubicBezTo>
                    <a:cubicBezTo>
                      <a:pt x="603" y="807"/>
                      <a:pt x="643" y="848"/>
                      <a:pt x="693" y="848"/>
                    </a:cubicBezTo>
                    <a:cubicBezTo>
                      <a:pt x="743" y="848"/>
                      <a:pt x="783" y="807"/>
                      <a:pt x="783" y="758"/>
                    </a:cubicBezTo>
                    <a:cubicBezTo>
                      <a:pt x="783" y="380"/>
                      <a:pt x="783" y="380"/>
                      <a:pt x="783" y="380"/>
                    </a:cubicBezTo>
                    <a:cubicBezTo>
                      <a:pt x="837" y="371"/>
                      <a:pt x="892" y="361"/>
                      <a:pt x="946" y="349"/>
                    </a:cubicBezTo>
                    <a:cubicBezTo>
                      <a:pt x="1039" y="351"/>
                      <a:pt x="1145" y="377"/>
                      <a:pt x="1145" y="488"/>
                    </a:cubicBezTo>
                    <a:cubicBezTo>
                      <a:pt x="1145" y="705"/>
                      <a:pt x="1145" y="705"/>
                      <a:pt x="1145" y="705"/>
                    </a:cubicBezTo>
                    <a:cubicBezTo>
                      <a:pt x="1145" y="1479"/>
                      <a:pt x="1145" y="1479"/>
                      <a:pt x="1145" y="1479"/>
                    </a:cubicBezTo>
                    <a:cubicBezTo>
                      <a:pt x="920" y="1500"/>
                      <a:pt x="697" y="1530"/>
                      <a:pt x="476" y="1570"/>
                    </a:cubicBezTo>
                    <a:lnTo>
                      <a:pt x="416" y="1474"/>
                    </a:lnTo>
                    <a:close/>
                    <a:moveTo>
                      <a:pt x="1325" y="1465"/>
                    </a:moveTo>
                    <a:cubicBezTo>
                      <a:pt x="1325" y="705"/>
                      <a:pt x="1325" y="705"/>
                      <a:pt x="1325" y="705"/>
                    </a:cubicBezTo>
                    <a:cubicBezTo>
                      <a:pt x="1325" y="488"/>
                      <a:pt x="1325" y="488"/>
                      <a:pt x="1325" y="488"/>
                    </a:cubicBezTo>
                    <a:cubicBezTo>
                      <a:pt x="1325" y="318"/>
                      <a:pt x="1325" y="318"/>
                      <a:pt x="1325" y="318"/>
                    </a:cubicBezTo>
                    <a:cubicBezTo>
                      <a:pt x="1325" y="203"/>
                      <a:pt x="1445" y="182"/>
                      <a:pt x="1525" y="180"/>
                    </a:cubicBezTo>
                    <a:cubicBezTo>
                      <a:pt x="1603" y="199"/>
                      <a:pt x="1684" y="213"/>
                      <a:pt x="1764" y="222"/>
                    </a:cubicBezTo>
                    <a:cubicBezTo>
                      <a:pt x="1771" y="223"/>
                      <a:pt x="1779" y="223"/>
                      <a:pt x="1786" y="222"/>
                    </a:cubicBezTo>
                    <a:cubicBezTo>
                      <a:pt x="1862" y="212"/>
                      <a:pt x="1938" y="198"/>
                      <a:pt x="2012" y="180"/>
                    </a:cubicBezTo>
                    <a:cubicBezTo>
                      <a:pt x="2093" y="182"/>
                      <a:pt x="2216" y="203"/>
                      <a:pt x="2219" y="318"/>
                    </a:cubicBezTo>
                    <a:cubicBezTo>
                      <a:pt x="2219" y="484"/>
                      <a:pt x="2219" y="484"/>
                      <a:pt x="2219" y="484"/>
                    </a:cubicBezTo>
                    <a:cubicBezTo>
                      <a:pt x="2219" y="485"/>
                      <a:pt x="2219" y="486"/>
                      <a:pt x="2219" y="488"/>
                    </a:cubicBezTo>
                    <a:cubicBezTo>
                      <a:pt x="2219" y="1465"/>
                      <a:pt x="2219" y="1465"/>
                      <a:pt x="2219" y="1465"/>
                    </a:cubicBezTo>
                    <a:cubicBezTo>
                      <a:pt x="2071" y="1455"/>
                      <a:pt x="1922" y="1449"/>
                      <a:pt x="1773" y="1447"/>
                    </a:cubicBezTo>
                    <a:cubicBezTo>
                      <a:pt x="1624" y="1449"/>
                      <a:pt x="1474" y="1455"/>
                      <a:pt x="1325" y="14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latin typeface="+mj-lt"/>
                </a:endParaRPr>
              </a:p>
            </p:txBody>
          </p:sp>
          <p:sp>
            <p:nvSpPr>
              <p:cNvPr id="62" name="Freeform 15">
                <a:extLst>
                  <a:ext uri="{FF2B5EF4-FFF2-40B4-BE49-F238E27FC236}">
                    <a16:creationId xmlns:a16="http://schemas.microsoft.com/office/drawing/2014/main" id="{4EF70EC8-E046-B16B-F033-B70F53F0C40B}"/>
                  </a:ext>
                </a:extLst>
              </p:cNvPr>
              <p:cNvSpPr>
                <a:spLocks noEditPoints="1"/>
              </p:cNvSpPr>
              <p:nvPr/>
            </p:nvSpPr>
            <p:spPr bwMode="auto">
              <a:xfrm>
                <a:off x="1770" y="3117"/>
                <a:ext cx="46" cy="58"/>
              </a:xfrm>
              <a:custGeom>
                <a:avLst/>
                <a:gdLst>
                  <a:gd name="T0" fmla="*/ 45 w 876"/>
                  <a:gd name="T1" fmla="*/ 772 h 1107"/>
                  <a:gd name="T2" fmla="*/ 413 w 876"/>
                  <a:gd name="T3" fmla="*/ 1098 h 1107"/>
                  <a:gd name="T4" fmla="*/ 428 w 876"/>
                  <a:gd name="T5" fmla="*/ 1098 h 1107"/>
                  <a:gd name="T6" fmla="*/ 818 w 876"/>
                  <a:gd name="T7" fmla="*/ 770 h 1107"/>
                  <a:gd name="T8" fmla="*/ 859 w 876"/>
                  <a:gd name="T9" fmla="*/ 444 h 1107"/>
                  <a:gd name="T10" fmla="*/ 783 w 876"/>
                  <a:gd name="T11" fmla="*/ 166 h 1107"/>
                  <a:gd name="T12" fmla="*/ 435 w 876"/>
                  <a:gd name="T13" fmla="*/ 7 h 1107"/>
                  <a:gd name="T14" fmla="*/ 144 w 876"/>
                  <a:gd name="T15" fmla="*/ 102 h 1107"/>
                  <a:gd name="T16" fmla="*/ 2 w 876"/>
                  <a:gd name="T17" fmla="*/ 378 h 1107"/>
                  <a:gd name="T18" fmla="*/ 2 w 876"/>
                  <a:gd name="T19" fmla="*/ 440 h 1107"/>
                  <a:gd name="T20" fmla="*/ 45 w 876"/>
                  <a:gd name="T21" fmla="*/ 772 h 1107"/>
                  <a:gd name="T22" fmla="*/ 182 w 876"/>
                  <a:gd name="T23" fmla="*/ 392 h 1107"/>
                  <a:gd name="T24" fmla="*/ 260 w 876"/>
                  <a:gd name="T25" fmla="*/ 239 h 1107"/>
                  <a:gd name="T26" fmla="*/ 406 w 876"/>
                  <a:gd name="T27" fmla="*/ 186 h 1107"/>
                  <a:gd name="T28" fmla="*/ 424 w 876"/>
                  <a:gd name="T29" fmla="*/ 187 h 1107"/>
                  <a:gd name="T30" fmla="*/ 644 w 876"/>
                  <a:gd name="T31" fmla="*/ 282 h 1107"/>
                  <a:gd name="T32" fmla="*/ 681 w 876"/>
                  <a:gd name="T33" fmla="*/ 417 h 1107"/>
                  <a:gd name="T34" fmla="*/ 639 w 876"/>
                  <a:gd name="T35" fmla="*/ 747 h 1107"/>
                  <a:gd name="T36" fmla="*/ 428 w 876"/>
                  <a:gd name="T37" fmla="*/ 918 h 1107"/>
                  <a:gd name="T38" fmla="*/ 224 w 876"/>
                  <a:gd name="T39" fmla="*/ 748 h 1107"/>
                  <a:gd name="T40" fmla="*/ 181 w 876"/>
                  <a:gd name="T41" fmla="*/ 423 h 1107"/>
                  <a:gd name="T42" fmla="*/ 182 w 876"/>
                  <a:gd name="T43" fmla="*/ 392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6" h="1107">
                    <a:moveTo>
                      <a:pt x="45" y="772"/>
                    </a:moveTo>
                    <a:cubicBezTo>
                      <a:pt x="71" y="960"/>
                      <a:pt x="231" y="1098"/>
                      <a:pt x="413" y="1098"/>
                    </a:cubicBezTo>
                    <a:cubicBezTo>
                      <a:pt x="418" y="1098"/>
                      <a:pt x="423" y="1098"/>
                      <a:pt x="428" y="1098"/>
                    </a:cubicBezTo>
                    <a:cubicBezTo>
                      <a:pt x="622" y="1107"/>
                      <a:pt x="791" y="965"/>
                      <a:pt x="818" y="770"/>
                    </a:cubicBezTo>
                    <a:cubicBezTo>
                      <a:pt x="859" y="444"/>
                      <a:pt x="859" y="444"/>
                      <a:pt x="859" y="444"/>
                    </a:cubicBezTo>
                    <a:cubicBezTo>
                      <a:pt x="876" y="345"/>
                      <a:pt x="849" y="246"/>
                      <a:pt x="783" y="166"/>
                    </a:cubicBezTo>
                    <a:cubicBezTo>
                      <a:pt x="701" y="69"/>
                      <a:pt x="568" y="8"/>
                      <a:pt x="435" y="7"/>
                    </a:cubicBezTo>
                    <a:cubicBezTo>
                      <a:pt x="329" y="0"/>
                      <a:pt x="225" y="33"/>
                      <a:pt x="144" y="102"/>
                    </a:cubicBezTo>
                    <a:cubicBezTo>
                      <a:pt x="61" y="172"/>
                      <a:pt x="11" y="270"/>
                      <a:pt x="2" y="378"/>
                    </a:cubicBezTo>
                    <a:cubicBezTo>
                      <a:pt x="1" y="396"/>
                      <a:pt x="0" y="415"/>
                      <a:pt x="2" y="440"/>
                    </a:cubicBezTo>
                    <a:lnTo>
                      <a:pt x="45" y="772"/>
                    </a:lnTo>
                    <a:close/>
                    <a:moveTo>
                      <a:pt x="182" y="392"/>
                    </a:moveTo>
                    <a:cubicBezTo>
                      <a:pt x="186" y="333"/>
                      <a:pt x="214" y="278"/>
                      <a:pt x="260" y="239"/>
                    </a:cubicBezTo>
                    <a:cubicBezTo>
                      <a:pt x="301" y="204"/>
                      <a:pt x="352" y="186"/>
                      <a:pt x="406" y="186"/>
                    </a:cubicBezTo>
                    <a:cubicBezTo>
                      <a:pt x="412" y="186"/>
                      <a:pt x="418" y="186"/>
                      <a:pt x="424" y="187"/>
                    </a:cubicBezTo>
                    <a:cubicBezTo>
                      <a:pt x="504" y="192"/>
                      <a:pt x="595" y="222"/>
                      <a:pt x="644" y="282"/>
                    </a:cubicBezTo>
                    <a:cubicBezTo>
                      <a:pt x="677" y="321"/>
                      <a:pt x="690" y="365"/>
                      <a:pt x="681" y="417"/>
                    </a:cubicBezTo>
                    <a:cubicBezTo>
                      <a:pt x="639" y="747"/>
                      <a:pt x="639" y="747"/>
                      <a:pt x="639" y="747"/>
                    </a:cubicBezTo>
                    <a:cubicBezTo>
                      <a:pt x="625" y="848"/>
                      <a:pt x="535" y="919"/>
                      <a:pt x="428" y="918"/>
                    </a:cubicBezTo>
                    <a:cubicBezTo>
                      <a:pt x="323" y="921"/>
                      <a:pt x="238" y="848"/>
                      <a:pt x="224" y="748"/>
                    </a:cubicBezTo>
                    <a:cubicBezTo>
                      <a:pt x="181" y="423"/>
                      <a:pt x="181" y="423"/>
                      <a:pt x="181" y="423"/>
                    </a:cubicBezTo>
                    <a:cubicBezTo>
                      <a:pt x="181" y="413"/>
                      <a:pt x="181" y="403"/>
                      <a:pt x="182" y="3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latin typeface="+mj-lt"/>
                </a:endParaRPr>
              </a:p>
            </p:txBody>
          </p:sp>
          <p:sp>
            <p:nvSpPr>
              <p:cNvPr id="63" name="Freeform 16">
                <a:extLst>
                  <a:ext uri="{FF2B5EF4-FFF2-40B4-BE49-F238E27FC236}">
                    <a16:creationId xmlns:a16="http://schemas.microsoft.com/office/drawing/2014/main" id="{E3C15461-FB49-CD82-90D6-E255CBFD8A0F}"/>
                  </a:ext>
                </a:extLst>
              </p:cNvPr>
              <p:cNvSpPr>
                <a:spLocks noEditPoints="1"/>
              </p:cNvSpPr>
              <p:nvPr/>
            </p:nvSpPr>
            <p:spPr bwMode="auto">
              <a:xfrm>
                <a:off x="1713" y="3126"/>
                <a:ext cx="46" cy="58"/>
              </a:xfrm>
              <a:custGeom>
                <a:avLst/>
                <a:gdLst>
                  <a:gd name="T0" fmla="*/ 57 w 887"/>
                  <a:gd name="T1" fmla="*/ 765 h 1100"/>
                  <a:gd name="T2" fmla="*/ 425 w 887"/>
                  <a:gd name="T3" fmla="*/ 1091 h 1100"/>
                  <a:gd name="T4" fmla="*/ 440 w 887"/>
                  <a:gd name="T5" fmla="*/ 1090 h 1100"/>
                  <a:gd name="T6" fmla="*/ 828 w 887"/>
                  <a:gd name="T7" fmla="*/ 764 h 1100"/>
                  <a:gd name="T8" fmla="*/ 871 w 887"/>
                  <a:gd name="T9" fmla="*/ 435 h 1100"/>
                  <a:gd name="T10" fmla="*/ 790 w 887"/>
                  <a:gd name="T11" fmla="*/ 156 h 1100"/>
                  <a:gd name="T12" fmla="*/ 444 w 887"/>
                  <a:gd name="T13" fmla="*/ 0 h 1100"/>
                  <a:gd name="T14" fmla="*/ 95 w 887"/>
                  <a:gd name="T15" fmla="*/ 158 h 1100"/>
                  <a:gd name="T16" fmla="*/ 16 w 887"/>
                  <a:gd name="T17" fmla="*/ 432 h 1100"/>
                  <a:gd name="T18" fmla="*/ 57 w 887"/>
                  <a:gd name="T19" fmla="*/ 765 h 1100"/>
                  <a:gd name="T20" fmla="*/ 232 w 887"/>
                  <a:gd name="T21" fmla="*/ 274 h 1100"/>
                  <a:gd name="T22" fmla="*/ 444 w 887"/>
                  <a:gd name="T23" fmla="*/ 180 h 1100"/>
                  <a:gd name="T24" fmla="*/ 653 w 887"/>
                  <a:gd name="T25" fmla="*/ 273 h 1100"/>
                  <a:gd name="T26" fmla="*/ 693 w 887"/>
                  <a:gd name="T27" fmla="*/ 409 h 1100"/>
                  <a:gd name="T28" fmla="*/ 650 w 887"/>
                  <a:gd name="T29" fmla="*/ 740 h 1100"/>
                  <a:gd name="T30" fmla="*/ 440 w 887"/>
                  <a:gd name="T31" fmla="*/ 911 h 1100"/>
                  <a:gd name="T32" fmla="*/ 236 w 887"/>
                  <a:gd name="T33" fmla="*/ 741 h 1100"/>
                  <a:gd name="T34" fmla="*/ 194 w 887"/>
                  <a:gd name="T35" fmla="*/ 406 h 1100"/>
                  <a:gd name="T36" fmla="*/ 232 w 887"/>
                  <a:gd name="T37" fmla="*/ 274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7" h="1100">
                    <a:moveTo>
                      <a:pt x="57" y="765"/>
                    </a:moveTo>
                    <a:cubicBezTo>
                      <a:pt x="83" y="953"/>
                      <a:pt x="243" y="1091"/>
                      <a:pt x="425" y="1091"/>
                    </a:cubicBezTo>
                    <a:cubicBezTo>
                      <a:pt x="430" y="1091"/>
                      <a:pt x="435" y="1091"/>
                      <a:pt x="440" y="1090"/>
                    </a:cubicBezTo>
                    <a:cubicBezTo>
                      <a:pt x="633" y="1100"/>
                      <a:pt x="801" y="957"/>
                      <a:pt x="828" y="764"/>
                    </a:cubicBezTo>
                    <a:cubicBezTo>
                      <a:pt x="871" y="435"/>
                      <a:pt x="871" y="435"/>
                      <a:pt x="871" y="435"/>
                    </a:cubicBezTo>
                    <a:cubicBezTo>
                      <a:pt x="887" y="335"/>
                      <a:pt x="858" y="236"/>
                      <a:pt x="790" y="156"/>
                    </a:cubicBezTo>
                    <a:cubicBezTo>
                      <a:pt x="708" y="60"/>
                      <a:pt x="575" y="0"/>
                      <a:pt x="444" y="0"/>
                    </a:cubicBezTo>
                    <a:cubicBezTo>
                      <a:pt x="311" y="0"/>
                      <a:pt x="177" y="60"/>
                      <a:pt x="95" y="158"/>
                    </a:cubicBezTo>
                    <a:cubicBezTo>
                      <a:pt x="27" y="238"/>
                      <a:pt x="0" y="336"/>
                      <a:pt x="16" y="432"/>
                    </a:cubicBezTo>
                    <a:lnTo>
                      <a:pt x="57" y="765"/>
                    </a:lnTo>
                    <a:close/>
                    <a:moveTo>
                      <a:pt x="232" y="274"/>
                    </a:moveTo>
                    <a:cubicBezTo>
                      <a:pt x="280" y="217"/>
                      <a:pt x="363" y="180"/>
                      <a:pt x="444" y="180"/>
                    </a:cubicBezTo>
                    <a:cubicBezTo>
                      <a:pt x="523" y="180"/>
                      <a:pt x="605" y="216"/>
                      <a:pt x="653" y="273"/>
                    </a:cubicBezTo>
                    <a:cubicBezTo>
                      <a:pt x="687" y="313"/>
                      <a:pt x="701" y="358"/>
                      <a:pt x="693" y="409"/>
                    </a:cubicBezTo>
                    <a:cubicBezTo>
                      <a:pt x="650" y="740"/>
                      <a:pt x="650" y="740"/>
                      <a:pt x="650" y="740"/>
                    </a:cubicBezTo>
                    <a:cubicBezTo>
                      <a:pt x="636" y="841"/>
                      <a:pt x="547" y="914"/>
                      <a:pt x="440" y="911"/>
                    </a:cubicBezTo>
                    <a:cubicBezTo>
                      <a:pt x="338" y="914"/>
                      <a:pt x="250" y="841"/>
                      <a:pt x="236" y="741"/>
                    </a:cubicBezTo>
                    <a:cubicBezTo>
                      <a:pt x="194" y="406"/>
                      <a:pt x="194" y="406"/>
                      <a:pt x="194" y="406"/>
                    </a:cubicBezTo>
                    <a:cubicBezTo>
                      <a:pt x="186" y="358"/>
                      <a:pt x="199" y="314"/>
                      <a:pt x="232" y="2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latin typeface="+mj-lt"/>
                </a:endParaRPr>
              </a:p>
            </p:txBody>
          </p:sp>
          <p:sp>
            <p:nvSpPr>
              <p:cNvPr id="64" name="Freeform 17">
                <a:extLst>
                  <a:ext uri="{FF2B5EF4-FFF2-40B4-BE49-F238E27FC236}">
                    <a16:creationId xmlns:a16="http://schemas.microsoft.com/office/drawing/2014/main" id="{ACEE4CE5-1889-F2D1-E3BC-F85F936DE5FD}"/>
                  </a:ext>
                </a:extLst>
              </p:cNvPr>
              <p:cNvSpPr>
                <a:spLocks noEditPoints="1"/>
              </p:cNvSpPr>
              <p:nvPr/>
            </p:nvSpPr>
            <p:spPr bwMode="auto">
              <a:xfrm>
                <a:off x="1826" y="3126"/>
                <a:ext cx="46" cy="58"/>
              </a:xfrm>
              <a:custGeom>
                <a:avLst/>
                <a:gdLst>
                  <a:gd name="T0" fmla="*/ 61 w 891"/>
                  <a:gd name="T1" fmla="*/ 768 h 1091"/>
                  <a:gd name="T2" fmla="*/ 379 w 891"/>
                  <a:gd name="T3" fmla="*/ 1085 h 1091"/>
                  <a:gd name="T4" fmla="*/ 447 w 891"/>
                  <a:gd name="T5" fmla="*/ 1091 h 1091"/>
                  <a:gd name="T6" fmla="*/ 671 w 891"/>
                  <a:gd name="T7" fmla="*/ 1020 h 1091"/>
                  <a:gd name="T8" fmla="*/ 831 w 891"/>
                  <a:gd name="T9" fmla="*/ 764 h 1091"/>
                  <a:gd name="T10" fmla="*/ 874 w 891"/>
                  <a:gd name="T11" fmla="*/ 436 h 1091"/>
                  <a:gd name="T12" fmla="*/ 796 w 891"/>
                  <a:gd name="T13" fmla="*/ 158 h 1091"/>
                  <a:gd name="T14" fmla="*/ 447 w 891"/>
                  <a:gd name="T15" fmla="*/ 0 h 1091"/>
                  <a:gd name="T16" fmla="*/ 92 w 891"/>
                  <a:gd name="T17" fmla="*/ 162 h 1091"/>
                  <a:gd name="T18" fmla="*/ 18 w 891"/>
                  <a:gd name="T19" fmla="*/ 433 h 1091"/>
                  <a:gd name="T20" fmla="*/ 61 w 891"/>
                  <a:gd name="T21" fmla="*/ 768 h 1091"/>
                  <a:gd name="T22" fmla="*/ 231 w 891"/>
                  <a:gd name="T23" fmla="*/ 277 h 1091"/>
                  <a:gd name="T24" fmla="*/ 447 w 891"/>
                  <a:gd name="T25" fmla="*/ 180 h 1091"/>
                  <a:gd name="T26" fmla="*/ 658 w 891"/>
                  <a:gd name="T27" fmla="*/ 274 h 1091"/>
                  <a:gd name="T28" fmla="*/ 696 w 891"/>
                  <a:gd name="T29" fmla="*/ 409 h 1091"/>
                  <a:gd name="T30" fmla="*/ 654 w 891"/>
                  <a:gd name="T31" fmla="*/ 737 h 1091"/>
                  <a:gd name="T32" fmla="*/ 567 w 891"/>
                  <a:gd name="T33" fmla="*/ 873 h 1091"/>
                  <a:gd name="T34" fmla="*/ 410 w 891"/>
                  <a:gd name="T35" fmla="*/ 908 h 1091"/>
                  <a:gd name="T36" fmla="*/ 239 w 891"/>
                  <a:gd name="T37" fmla="*/ 741 h 1091"/>
                  <a:gd name="T38" fmla="*/ 195 w 891"/>
                  <a:gd name="T39" fmla="*/ 404 h 1091"/>
                  <a:gd name="T40" fmla="*/ 231 w 891"/>
                  <a:gd name="T41" fmla="*/ 277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91" h="1091">
                    <a:moveTo>
                      <a:pt x="61" y="768"/>
                    </a:moveTo>
                    <a:cubicBezTo>
                      <a:pt x="90" y="929"/>
                      <a:pt x="217" y="1057"/>
                      <a:pt x="379" y="1085"/>
                    </a:cubicBezTo>
                    <a:cubicBezTo>
                      <a:pt x="402" y="1089"/>
                      <a:pt x="424" y="1091"/>
                      <a:pt x="447" y="1091"/>
                    </a:cubicBezTo>
                    <a:cubicBezTo>
                      <a:pt x="526" y="1091"/>
                      <a:pt x="604" y="1067"/>
                      <a:pt x="671" y="1020"/>
                    </a:cubicBezTo>
                    <a:cubicBezTo>
                      <a:pt x="756" y="960"/>
                      <a:pt x="813" y="870"/>
                      <a:pt x="831" y="764"/>
                    </a:cubicBezTo>
                    <a:cubicBezTo>
                      <a:pt x="874" y="436"/>
                      <a:pt x="874" y="436"/>
                      <a:pt x="874" y="436"/>
                    </a:cubicBezTo>
                    <a:cubicBezTo>
                      <a:pt x="891" y="336"/>
                      <a:pt x="863" y="238"/>
                      <a:pt x="796" y="158"/>
                    </a:cubicBezTo>
                    <a:cubicBezTo>
                      <a:pt x="714" y="60"/>
                      <a:pt x="580" y="0"/>
                      <a:pt x="447" y="0"/>
                    </a:cubicBezTo>
                    <a:cubicBezTo>
                      <a:pt x="311" y="0"/>
                      <a:pt x="175" y="62"/>
                      <a:pt x="92" y="162"/>
                    </a:cubicBezTo>
                    <a:cubicBezTo>
                      <a:pt x="26" y="242"/>
                      <a:pt x="0" y="340"/>
                      <a:pt x="18" y="433"/>
                    </a:cubicBezTo>
                    <a:lnTo>
                      <a:pt x="61" y="768"/>
                    </a:lnTo>
                    <a:close/>
                    <a:moveTo>
                      <a:pt x="231" y="277"/>
                    </a:moveTo>
                    <a:cubicBezTo>
                      <a:pt x="279" y="219"/>
                      <a:pt x="366" y="180"/>
                      <a:pt x="447" y="180"/>
                    </a:cubicBezTo>
                    <a:cubicBezTo>
                      <a:pt x="527" y="180"/>
                      <a:pt x="610" y="217"/>
                      <a:pt x="658" y="274"/>
                    </a:cubicBezTo>
                    <a:cubicBezTo>
                      <a:pt x="692" y="314"/>
                      <a:pt x="705" y="358"/>
                      <a:pt x="696" y="409"/>
                    </a:cubicBezTo>
                    <a:cubicBezTo>
                      <a:pt x="654" y="737"/>
                      <a:pt x="654" y="737"/>
                      <a:pt x="654" y="737"/>
                    </a:cubicBezTo>
                    <a:cubicBezTo>
                      <a:pt x="644" y="792"/>
                      <a:pt x="613" y="840"/>
                      <a:pt x="567" y="873"/>
                    </a:cubicBezTo>
                    <a:cubicBezTo>
                      <a:pt x="521" y="905"/>
                      <a:pt x="466" y="918"/>
                      <a:pt x="410" y="908"/>
                    </a:cubicBezTo>
                    <a:cubicBezTo>
                      <a:pt x="323" y="893"/>
                      <a:pt x="254" y="824"/>
                      <a:pt x="239" y="741"/>
                    </a:cubicBezTo>
                    <a:cubicBezTo>
                      <a:pt x="195" y="404"/>
                      <a:pt x="195" y="404"/>
                      <a:pt x="195" y="404"/>
                    </a:cubicBezTo>
                    <a:cubicBezTo>
                      <a:pt x="187" y="358"/>
                      <a:pt x="199" y="315"/>
                      <a:pt x="231" y="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latin typeface="+mj-lt"/>
                </a:endParaRPr>
              </a:p>
            </p:txBody>
          </p:sp>
          <p:sp>
            <p:nvSpPr>
              <p:cNvPr id="65" name="Freeform 18">
                <a:extLst>
                  <a:ext uri="{FF2B5EF4-FFF2-40B4-BE49-F238E27FC236}">
                    <a16:creationId xmlns:a16="http://schemas.microsoft.com/office/drawing/2014/main" id="{8A2C5952-C00B-68AE-99E9-AC09717B0C31}"/>
                  </a:ext>
                </a:extLst>
              </p:cNvPr>
              <p:cNvSpPr>
                <a:spLocks/>
              </p:cNvSpPr>
              <p:nvPr/>
            </p:nvSpPr>
            <p:spPr bwMode="auto">
              <a:xfrm>
                <a:off x="1788" y="3197"/>
                <a:ext cx="10" cy="19"/>
              </a:xfrm>
              <a:custGeom>
                <a:avLst/>
                <a:gdLst>
                  <a:gd name="T0" fmla="*/ 90 w 180"/>
                  <a:gd name="T1" fmla="*/ 0 h 360"/>
                  <a:gd name="T2" fmla="*/ 0 w 180"/>
                  <a:gd name="T3" fmla="*/ 90 h 360"/>
                  <a:gd name="T4" fmla="*/ 0 w 180"/>
                  <a:gd name="T5" fmla="*/ 270 h 360"/>
                  <a:gd name="T6" fmla="*/ 90 w 180"/>
                  <a:gd name="T7" fmla="*/ 360 h 360"/>
                  <a:gd name="T8" fmla="*/ 180 w 180"/>
                  <a:gd name="T9" fmla="*/ 270 h 360"/>
                  <a:gd name="T10" fmla="*/ 180 w 180"/>
                  <a:gd name="T11" fmla="*/ 90 h 360"/>
                  <a:gd name="T12" fmla="*/ 90 w 180"/>
                  <a:gd name="T13" fmla="*/ 0 h 360"/>
                </a:gdLst>
                <a:ahLst/>
                <a:cxnLst>
                  <a:cxn ang="0">
                    <a:pos x="T0" y="T1"/>
                  </a:cxn>
                  <a:cxn ang="0">
                    <a:pos x="T2" y="T3"/>
                  </a:cxn>
                  <a:cxn ang="0">
                    <a:pos x="T4" y="T5"/>
                  </a:cxn>
                  <a:cxn ang="0">
                    <a:pos x="T6" y="T7"/>
                  </a:cxn>
                  <a:cxn ang="0">
                    <a:pos x="T8" y="T9"/>
                  </a:cxn>
                  <a:cxn ang="0">
                    <a:pos x="T10" y="T11"/>
                  </a:cxn>
                  <a:cxn ang="0">
                    <a:pos x="T12" y="T13"/>
                  </a:cxn>
                </a:cxnLst>
                <a:rect l="0" t="0" r="r" b="b"/>
                <a:pathLst>
                  <a:path w="180" h="360">
                    <a:moveTo>
                      <a:pt x="90" y="0"/>
                    </a:moveTo>
                    <a:cubicBezTo>
                      <a:pt x="40" y="0"/>
                      <a:pt x="0" y="40"/>
                      <a:pt x="0" y="90"/>
                    </a:cubicBezTo>
                    <a:cubicBezTo>
                      <a:pt x="0" y="270"/>
                      <a:pt x="0" y="270"/>
                      <a:pt x="0" y="270"/>
                    </a:cubicBezTo>
                    <a:cubicBezTo>
                      <a:pt x="0" y="320"/>
                      <a:pt x="40" y="360"/>
                      <a:pt x="90" y="360"/>
                    </a:cubicBezTo>
                    <a:cubicBezTo>
                      <a:pt x="139" y="360"/>
                      <a:pt x="180" y="320"/>
                      <a:pt x="180" y="270"/>
                    </a:cubicBezTo>
                    <a:cubicBezTo>
                      <a:pt x="180" y="90"/>
                      <a:pt x="180" y="90"/>
                      <a:pt x="180" y="90"/>
                    </a:cubicBezTo>
                    <a:cubicBezTo>
                      <a:pt x="180" y="40"/>
                      <a:pt x="139" y="0"/>
                      <a:pt x="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latin typeface="+mj-lt"/>
                </a:endParaRPr>
              </a:p>
            </p:txBody>
          </p:sp>
          <p:sp>
            <p:nvSpPr>
              <p:cNvPr id="66" name="Freeform 19">
                <a:extLst>
                  <a:ext uri="{FF2B5EF4-FFF2-40B4-BE49-F238E27FC236}">
                    <a16:creationId xmlns:a16="http://schemas.microsoft.com/office/drawing/2014/main" id="{71CA22A4-28A9-C99A-2856-568AB476C797}"/>
                  </a:ext>
                </a:extLst>
              </p:cNvPr>
              <p:cNvSpPr>
                <a:spLocks/>
              </p:cNvSpPr>
              <p:nvPr/>
            </p:nvSpPr>
            <p:spPr bwMode="auto">
              <a:xfrm>
                <a:off x="1788" y="3226"/>
                <a:ext cx="10" cy="19"/>
              </a:xfrm>
              <a:custGeom>
                <a:avLst/>
                <a:gdLst>
                  <a:gd name="T0" fmla="*/ 90 w 180"/>
                  <a:gd name="T1" fmla="*/ 0 h 360"/>
                  <a:gd name="T2" fmla="*/ 0 w 180"/>
                  <a:gd name="T3" fmla="*/ 90 h 360"/>
                  <a:gd name="T4" fmla="*/ 0 w 180"/>
                  <a:gd name="T5" fmla="*/ 270 h 360"/>
                  <a:gd name="T6" fmla="*/ 90 w 180"/>
                  <a:gd name="T7" fmla="*/ 360 h 360"/>
                  <a:gd name="T8" fmla="*/ 180 w 180"/>
                  <a:gd name="T9" fmla="*/ 270 h 360"/>
                  <a:gd name="T10" fmla="*/ 180 w 180"/>
                  <a:gd name="T11" fmla="*/ 90 h 360"/>
                  <a:gd name="T12" fmla="*/ 90 w 180"/>
                  <a:gd name="T13" fmla="*/ 0 h 360"/>
                </a:gdLst>
                <a:ahLst/>
                <a:cxnLst>
                  <a:cxn ang="0">
                    <a:pos x="T0" y="T1"/>
                  </a:cxn>
                  <a:cxn ang="0">
                    <a:pos x="T2" y="T3"/>
                  </a:cxn>
                  <a:cxn ang="0">
                    <a:pos x="T4" y="T5"/>
                  </a:cxn>
                  <a:cxn ang="0">
                    <a:pos x="T6" y="T7"/>
                  </a:cxn>
                  <a:cxn ang="0">
                    <a:pos x="T8" y="T9"/>
                  </a:cxn>
                  <a:cxn ang="0">
                    <a:pos x="T10" y="T11"/>
                  </a:cxn>
                  <a:cxn ang="0">
                    <a:pos x="T12" y="T13"/>
                  </a:cxn>
                </a:cxnLst>
                <a:rect l="0" t="0" r="r" b="b"/>
                <a:pathLst>
                  <a:path w="180" h="360">
                    <a:moveTo>
                      <a:pt x="90" y="0"/>
                    </a:moveTo>
                    <a:cubicBezTo>
                      <a:pt x="40" y="0"/>
                      <a:pt x="0" y="40"/>
                      <a:pt x="0" y="90"/>
                    </a:cubicBezTo>
                    <a:cubicBezTo>
                      <a:pt x="0" y="270"/>
                      <a:pt x="0" y="270"/>
                      <a:pt x="0" y="270"/>
                    </a:cubicBezTo>
                    <a:cubicBezTo>
                      <a:pt x="0" y="320"/>
                      <a:pt x="40" y="360"/>
                      <a:pt x="90" y="360"/>
                    </a:cubicBezTo>
                    <a:cubicBezTo>
                      <a:pt x="139" y="360"/>
                      <a:pt x="180" y="320"/>
                      <a:pt x="180" y="270"/>
                    </a:cubicBezTo>
                    <a:cubicBezTo>
                      <a:pt x="180" y="90"/>
                      <a:pt x="180" y="90"/>
                      <a:pt x="180" y="90"/>
                    </a:cubicBezTo>
                    <a:cubicBezTo>
                      <a:pt x="180" y="40"/>
                      <a:pt x="139" y="0"/>
                      <a:pt x="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latin typeface="+mj-lt"/>
                </a:endParaRPr>
              </a:p>
            </p:txBody>
          </p:sp>
        </p:grpSp>
      </p:grpSp>
      <p:grpSp>
        <p:nvGrpSpPr>
          <p:cNvPr id="67" name="Grupo 6">
            <a:extLst>
              <a:ext uri="{FF2B5EF4-FFF2-40B4-BE49-F238E27FC236}">
                <a16:creationId xmlns:a16="http://schemas.microsoft.com/office/drawing/2014/main" id="{BF0C4AB3-F657-675B-2728-D26ECF472DAB}"/>
              </a:ext>
            </a:extLst>
          </p:cNvPr>
          <p:cNvGrpSpPr/>
          <p:nvPr userDrawn="1"/>
        </p:nvGrpSpPr>
        <p:grpSpPr>
          <a:xfrm>
            <a:off x="7595812" y="3979884"/>
            <a:ext cx="866547" cy="866547"/>
            <a:chOff x="5997575" y="2524601"/>
            <a:chExt cx="846244" cy="846244"/>
          </a:xfrm>
        </p:grpSpPr>
        <p:sp>
          <p:nvSpPr>
            <p:cNvPr id="68" name="Elipse 263">
              <a:extLst>
                <a:ext uri="{FF2B5EF4-FFF2-40B4-BE49-F238E27FC236}">
                  <a16:creationId xmlns:a16="http://schemas.microsoft.com/office/drawing/2014/main" id="{C7D78B47-324F-199D-BAB7-2091F883F4CE}"/>
                </a:ext>
              </a:extLst>
            </p:cNvPr>
            <p:cNvSpPr/>
            <p:nvPr/>
          </p:nvSpPr>
          <p:spPr>
            <a:xfrm>
              <a:off x="5997575" y="2524601"/>
              <a:ext cx="846244" cy="84624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latin typeface="+mj-lt"/>
              </a:endParaRPr>
            </a:p>
          </p:txBody>
        </p:sp>
        <p:sp>
          <p:nvSpPr>
            <p:cNvPr id="69" name="CuadroTexto 264">
              <a:extLst>
                <a:ext uri="{FF2B5EF4-FFF2-40B4-BE49-F238E27FC236}">
                  <a16:creationId xmlns:a16="http://schemas.microsoft.com/office/drawing/2014/main" id="{E461B1CD-3108-6FBC-5D7D-191B172044EB}"/>
                </a:ext>
              </a:extLst>
            </p:cNvPr>
            <p:cNvSpPr txBox="1"/>
            <p:nvPr/>
          </p:nvSpPr>
          <p:spPr>
            <a:xfrm>
              <a:off x="6213523" y="2900593"/>
              <a:ext cx="433966" cy="450848"/>
            </a:xfrm>
            <a:prstGeom prst="rect">
              <a:avLst/>
            </a:prstGeom>
            <a:noFill/>
          </p:spPr>
          <p:txBody>
            <a:bodyPr wrap="square" rtlCol="0">
              <a:spAutoFit/>
            </a:bodyPr>
            <a:lstStyle/>
            <a:p>
              <a:pPr algn="ctr" defTabSz="895350">
                <a:spcBef>
                  <a:spcPts val="300"/>
                </a:spcBef>
                <a:spcAft>
                  <a:spcPts val="300"/>
                </a:spcAft>
              </a:pPr>
              <a:r>
                <a:rPr lang="en-US" sz="2400" b="1">
                  <a:solidFill>
                    <a:srgbClr val="6F7779"/>
                  </a:solidFill>
                  <a:latin typeface="+mj-lt"/>
                </a:rPr>
                <a:t>4</a:t>
              </a:r>
            </a:p>
          </p:txBody>
        </p:sp>
        <p:sp>
          <p:nvSpPr>
            <p:cNvPr id="70" name="Freeform 24">
              <a:extLst>
                <a:ext uri="{FF2B5EF4-FFF2-40B4-BE49-F238E27FC236}">
                  <a16:creationId xmlns:a16="http://schemas.microsoft.com/office/drawing/2014/main" id="{97640302-4F6C-DA88-91E9-05CB005D1FEA}"/>
                </a:ext>
              </a:extLst>
            </p:cNvPr>
            <p:cNvSpPr>
              <a:spLocks noEditPoints="1"/>
            </p:cNvSpPr>
            <p:nvPr/>
          </p:nvSpPr>
          <p:spPr bwMode="auto">
            <a:xfrm>
              <a:off x="6266147" y="2620251"/>
              <a:ext cx="274637" cy="298800"/>
            </a:xfrm>
            <a:custGeom>
              <a:avLst/>
              <a:gdLst>
                <a:gd name="T0" fmla="*/ 3034 w 3291"/>
                <a:gd name="T1" fmla="*/ 2214 h 3246"/>
                <a:gd name="T2" fmla="*/ 2517 w 3291"/>
                <a:gd name="T3" fmla="*/ 2386 h 3246"/>
                <a:gd name="T4" fmla="*/ 1890 w 3291"/>
                <a:gd name="T5" fmla="*/ 2160 h 3246"/>
                <a:gd name="T6" fmla="*/ 2432 w 3291"/>
                <a:gd name="T7" fmla="*/ 900 h 3246"/>
                <a:gd name="T8" fmla="*/ 3152 w 3291"/>
                <a:gd name="T9" fmla="*/ 0 h 3246"/>
                <a:gd name="T10" fmla="*/ 1710 w 3291"/>
                <a:gd name="T11" fmla="*/ 810 h 3246"/>
                <a:gd name="T12" fmla="*/ 1080 w 3291"/>
                <a:gd name="T13" fmla="*/ 540 h 3246"/>
                <a:gd name="T14" fmla="*/ 360 w 3291"/>
                <a:gd name="T15" fmla="*/ 630 h 3246"/>
                <a:gd name="T16" fmla="*/ 1710 w 3291"/>
                <a:gd name="T17" fmla="*/ 1440 h 3246"/>
                <a:gd name="T18" fmla="*/ 1658 w 3291"/>
                <a:gd name="T19" fmla="*/ 2160 h 3246"/>
                <a:gd name="T20" fmla="*/ 1222 w 3291"/>
                <a:gd name="T21" fmla="*/ 1980 h 3246"/>
                <a:gd name="T22" fmla="*/ 900 w 3291"/>
                <a:gd name="T23" fmla="*/ 1890 h 3246"/>
                <a:gd name="T24" fmla="*/ 90 w 3291"/>
                <a:gd name="T25" fmla="*/ 1800 h 3246"/>
                <a:gd name="T26" fmla="*/ 0 w 3291"/>
                <a:gd name="T27" fmla="*/ 2826 h 3246"/>
                <a:gd name="T28" fmla="*/ 810 w 3291"/>
                <a:gd name="T29" fmla="*/ 3240 h 3246"/>
                <a:gd name="T30" fmla="*/ 900 w 3291"/>
                <a:gd name="T31" fmla="*/ 3052 h 3246"/>
                <a:gd name="T32" fmla="*/ 1829 w 3291"/>
                <a:gd name="T33" fmla="*/ 3246 h 3246"/>
                <a:gd name="T34" fmla="*/ 3093 w 3291"/>
                <a:gd name="T35" fmla="*/ 2757 h 3246"/>
                <a:gd name="T36" fmla="*/ 2520 w 3291"/>
                <a:gd name="T37" fmla="*/ 180 h 3246"/>
                <a:gd name="T38" fmla="*/ 2432 w 3291"/>
                <a:gd name="T39" fmla="*/ 720 h 3246"/>
                <a:gd name="T40" fmla="*/ 2520 w 3291"/>
                <a:gd name="T41" fmla="*/ 180 h 3246"/>
                <a:gd name="T42" fmla="*/ 547 w 3291"/>
                <a:gd name="T43" fmla="*/ 720 h 3246"/>
                <a:gd name="T44" fmla="*/ 1704 w 3291"/>
                <a:gd name="T45" fmla="*/ 1260 h 3246"/>
                <a:gd name="T46" fmla="*/ 414 w 3291"/>
                <a:gd name="T47" fmla="*/ 3060 h 3246"/>
                <a:gd name="T48" fmla="*/ 180 w 3291"/>
                <a:gd name="T49" fmla="*/ 1980 h 3246"/>
                <a:gd name="T50" fmla="*/ 720 w 3291"/>
                <a:gd name="T51" fmla="*/ 2934 h 3246"/>
                <a:gd name="T52" fmla="*/ 720 w 3291"/>
                <a:gd name="T53" fmla="*/ 3060 h 3246"/>
                <a:gd name="T54" fmla="*/ 3008 w 3291"/>
                <a:gd name="T55" fmla="*/ 2598 h 3246"/>
                <a:gd name="T56" fmla="*/ 1533 w 3291"/>
                <a:gd name="T57" fmla="*/ 3028 h 3246"/>
                <a:gd name="T58" fmla="*/ 900 w 3291"/>
                <a:gd name="T59" fmla="*/ 2160 h 3246"/>
                <a:gd name="T60" fmla="*/ 1376 w 3291"/>
                <a:gd name="T61" fmla="*/ 2223 h 3246"/>
                <a:gd name="T62" fmla="*/ 2250 w 3291"/>
                <a:gd name="T63" fmla="*/ 2340 h 3246"/>
                <a:gd name="T64" fmla="*/ 2250 w 3291"/>
                <a:gd name="T65" fmla="*/ 2520 h 3246"/>
                <a:gd name="T66" fmla="*/ 1620 w 3291"/>
                <a:gd name="T67" fmla="*/ 2610 h 3246"/>
                <a:gd name="T68" fmla="*/ 2250 w 3291"/>
                <a:gd name="T69" fmla="*/ 2700 h 3246"/>
                <a:gd name="T70" fmla="*/ 2908 w 3291"/>
                <a:gd name="T71" fmla="*/ 2401 h 3246"/>
                <a:gd name="T72" fmla="*/ 3008 w 3291"/>
                <a:gd name="T73" fmla="*/ 2598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91" h="3246">
                  <a:moveTo>
                    <a:pt x="3211" y="2346"/>
                  </a:moveTo>
                  <a:cubicBezTo>
                    <a:pt x="3171" y="2280"/>
                    <a:pt x="3109" y="2233"/>
                    <a:pt x="3034" y="2214"/>
                  </a:cubicBezTo>
                  <a:cubicBezTo>
                    <a:pt x="2959" y="2196"/>
                    <a:pt x="2882" y="2207"/>
                    <a:pt x="2824" y="2242"/>
                  </a:cubicBezTo>
                  <a:cubicBezTo>
                    <a:pt x="2517" y="2386"/>
                    <a:pt x="2517" y="2386"/>
                    <a:pt x="2517" y="2386"/>
                  </a:cubicBezTo>
                  <a:cubicBezTo>
                    <a:pt x="2495" y="2258"/>
                    <a:pt x="2384" y="2160"/>
                    <a:pt x="2250" y="2160"/>
                  </a:cubicBezTo>
                  <a:cubicBezTo>
                    <a:pt x="1890" y="2160"/>
                    <a:pt x="1890" y="2160"/>
                    <a:pt x="1890" y="2160"/>
                  </a:cubicBezTo>
                  <a:cubicBezTo>
                    <a:pt x="1890" y="900"/>
                    <a:pt x="1890" y="900"/>
                    <a:pt x="1890" y="900"/>
                  </a:cubicBezTo>
                  <a:cubicBezTo>
                    <a:pt x="2432" y="900"/>
                    <a:pt x="2432" y="900"/>
                    <a:pt x="2432" y="900"/>
                  </a:cubicBezTo>
                  <a:cubicBezTo>
                    <a:pt x="2879" y="900"/>
                    <a:pt x="3242" y="536"/>
                    <a:pt x="3242" y="90"/>
                  </a:cubicBezTo>
                  <a:cubicBezTo>
                    <a:pt x="3242" y="40"/>
                    <a:pt x="3202" y="0"/>
                    <a:pt x="3152" y="0"/>
                  </a:cubicBezTo>
                  <a:cubicBezTo>
                    <a:pt x="2520" y="0"/>
                    <a:pt x="2520" y="0"/>
                    <a:pt x="2520" y="0"/>
                  </a:cubicBezTo>
                  <a:cubicBezTo>
                    <a:pt x="2074" y="0"/>
                    <a:pt x="1710" y="363"/>
                    <a:pt x="1710" y="810"/>
                  </a:cubicBezTo>
                  <a:cubicBezTo>
                    <a:pt x="1710" y="841"/>
                    <a:pt x="1710" y="841"/>
                    <a:pt x="1710" y="841"/>
                  </a:cubicBezTo>
                  <a:cubicBezTo>
                    <a:pt x="1562" y="658"/>
                    <a:pt x="1334" y="540"/>
                    <a:pt x="1080" y="540"/>
                  </a:cubicBezTo>
                  <a:cubicBezTo>
                    <a:pt x="450" y="540"/>
                    <a:pt x="450" y="540"/>
                    <a:pt x="450" y="540"/>
                  </a:cubicBezTo>
                  <a:cubicBezTo>
                    <a:pt x="400" y="540"/>
                    <a:pt x="360" y="580"/>
                    <a:pt x="360" y="630"/>
                  </a:cubicBezTo>
                  <a:cubicBezTo>
                    <a:pt x="360" y="1076"/>
                    <a:pt x="724" y="1440"/>
                    <a:pt x="1170" y="1440"/>
                  </a:cubicBezTo>
                  <a:cubicBezTo>
                    <a:pt x="1710" y="1440"/>
                    <a:pt x="1710" y="1440"/>
                    <a:pt x="1710" y="1440"/>
                  </a:cubicBezTo>
                  <a:cubicBezTo>
                    <a:pt x="1710" y="2160"/>
                    <a:pt x="1710" y="2160"/>
                    <a:pt x="1710" y="2160"/>
                  </a:cubicBezTo>
                  <a:cubicBezTo>
                    <a:pt x="1658" y="2160"/>
                    <a:pt x="1658" y="2160"/>
                    <a:pt x="1658" y="2160"/>
                  </a:cubicBezTo>
                  <a:cubicBezTo>
                    <a:pt x="1598" y="2154"/>
                    <a:pt x="1544" y="2137"/>
                    <a:pt x="1504" y="2096"/>
                  </a:cubicBezTo>
                  <a:cubicBezTo>
                    <a:pt x="1430" y="2022"/>
                    <a:pt x="1327" y="1971"/>
                    <a:pt x="1222" y="1980"/>
                  </a:cubicBezTo>
                  <a:cubicBezTo>
                    <a:pt x="900" y="1980"/>
                    <a:pt x="900" y="1980"/>
                    <a:pt x="900" y="1980"/>
                  </a:cubicBezTo>
                  <a:cubicBezTo>
                    <a:pt x="900" y="1890"/>
                    <a:pt x="900" y="1890"/>
                    <a:pt x="900" y="1890"/>
                  </a:cubicBezTo>
                  <a:cubicBezTo>
                    <a:pt x="900" y="1840"/>
                    <a:pt x="860" y="1800"/>
                    <a:pt x="810" y="1800"/>
                  </a:cubicBezTo>
                  <a:cubicBezTo>
                    <a:pt x="90" y="1800"/>
                    <a:pt x="90" y="1800"/>
                    <a:pt x="90" y="1800"/>
                  </a:cubicBezTo>
                  <a:cubicBezTo>
                    <a:pt x="40" y="1800"/>
                    <a:pt x="0" y="1840"/>
                    <a:pt x="0" y="1890"/>
                  </a:cubicBezTo>
                  <a:cubicBezTo>
                    <a:pt x="0" y="2826"/>
                    <a:pt x="0" y="2826"/>
                    <a:pt x="0" y="2826"/>
                  </a:cubicBezTo>
                  <a:cubicBezTo>
                    <a:pt x="0" y="3054"/>
                    <a:pt x="186" y="3240"/>
                    <a:pt x="414" y="3240"/>
                  </a:cubicBezTo>
                  <a:cubicBezTo>
                    <a:pt x="810" y="3240"/>
                    <a:pt x="810" y="3240"/>
                    <a:pt x="810" y="3240"/>
                  </a:cubicBezTo>
                  <a:cubicBezTo>
                    <a:pt x="860" y="3240"/>
                    <a:pt x="900" y="3200"/>
                    <a:pt x="900" y="3150"/>
                  </a:cubicBezTo>
                  <a:cubicBezTo>
                    <a:pt x="900" y="3052"/>
                    <a:pt x="900" y="3052"/>
                    <a:pt x="900" y="3052"/>
                  </a:cubicBezTo>
                  <a:cubicBezTo>
                    <a:pt x="1488" y="3203"/>
                    <a:pt x="1488" y="3203"/>
                    <a:pt x="1488" y="3203"/>
                  </a:cubicBezTo>
                  <a:cubicBezTo>
                    <a:pt x="1600" y="3232"/>
                    <a:pt x="1714" y="3246"/>
                    <a:pt x="1829" y="3246"/>
                  </a:cubicBezTo>
                  <a:cubicBezTo>
                    <a:pt x="1998" y="3246"/>
                    <a:pt x="2168" y="3214"/>
                    <a:pt x="2333" y="3151"/>
                  </a:cubicBezTo>
                  <a:cubicBezTo>
                    <a:pt x="3093" y="2757"/>
                    <a:pt x="3093" y="2757"/>
                    <a:pt x="3093" y="2757"/>
                  </a:cubicBezTo>
                  <a:cubicBezTo>
                    <a:pt x="3237" y="2678"/>
                    <a:pt x="3291" y="2501"/>
                    <a:pt x="3211" y="2346"/>
                  </a:cubicBezTo>
                  <a:close/>
                  <a:moveTo>
                    <a:pt x="2520" y="180"/>
                  </a:moveTo>
                  <a:cubicBezTo>
                    <a:pt x="3056" y="180"/>
                    <a:pt x="3056" y="180"/>
                    <a:pt x="3056" y="180"/>
                  </a:cubicBezTo>
                  <a:cubicBezTo>
                    <a:pt x="3012" y="485"/>
                    <a:pt x="2749" y="720"/>
                    <a:pt x="2432" y="720"/>
                  </a:cubicBezTo>
                  <a:cubicBezTo>
                    <a:pt x="1896" y="720"/>
                    <a:pt x="1896" y="720"/>
                    <a:pt x="1896" y="720"/>
                  </a:cubicBezTo>
                  <a:cubicBezTo>
                    <a:pt x="1940" y="415"/>
                    <a:pt x="2203" y="180"/>
                    <a:pt x="2520" y="180"/>
                  </a:cubicBezTo>
                  <a:close/>
                  <a:moveTo>
                    <a:pt x="1170" y="1260"/>
                  </a:moveTo>
                  <a:cubicBezTo>
                    <a:pt x="853" y="1260"/>
                    <a:pt x="590" y="1025"/>
                    <a:pt x="547" y="720"/>
                  </a:cubicBezTo>
                  <a:cubicBezTo>
                    <a:pt x="1080" y="720"/>
                    <a:pt x="1080" y="720"/>
                    <a:pt x="1080" y="720"/>
                  </a:cubicBezTo>
                  <a:cubicBezTo>
                    <a:pt x="1397" y="720"/>
                    <a:pt x="1660" y="955"/>
                    <a:pt x="1704" y="1260"/>
                  </a:cubicBezTo>
                  <a:lnTo>
                    <a:pt x="1170" y="1260"/>
                  </a:lnTo>
                  <a:close/>
                  <a:moveTo>
                    <a:pt x="414" y="3060"/>
                  </a:moveTo>
                  <a:cubicBezTo>
                    <a:pt x="285" y="3060"/>
                    <a:pt x="180" y="2955"/>
                    <a:pt x="180" y="2826"/>
                  </a:cubicBezTo>
                  <a:cubicBezTo>
                    <a:pt x="180" y="1980"/>
                    <a:pt x="180" y="1980"/>
                    <a:pt x="180" y="1980"/>
                  </a:cubicBezTo>
                  <a:cubicBezTo>
                    <a:pt x="720" y="1980"/>
                    <a:pt x="720" y="1980"/>
                    <a:pt x="720" y="1980"/>
                  </a:cubicBezTo>
                  <a:cubicBezTo>
                    <a:pt x="720" y="2934"/>
                    <a:pt x="720" y="2934"/>
                    <a:pt x="720" y="2934"/>
                  </a:cubicBezTo>
                  <a:cubicBezTo>
                    <a:pt x="720" y="2935"/>
                    <a:pt x="720" y="2936"/>
                    <a:pt x="720" y="2938"/>
                  </a:cubicBezTo>
                  <a:cubicBezTo>
                    <a:pt x="720" y="3060"/>
                    <a:pt x="720" y="3060"/>
                    <a:pt x="720" y="3060"/>
                  </a:cubicBezTo>
                  <a:lnTo>
                    <a:pt x="414" y="3060"/>
                  </a:lnTo>
                  <a:close/>
                  <a:moveTo>
                    <a:pt x="3008" y="2598"/>
                  </a:moveTo>
                  <a:cubicBezTo>
                    <a:pt x="2259" y="2987"/>
                    <a:pt x="2259" y="2987"/>
                    <a:pt x="2259" y="2987"/>
                  </a:cubicBezTo>
                  <a:cubicBezTo>
                    <a:pt x="2026" y="3076"/>
                    <a:pt x="1775" y="3090"/>
                    <a:pt x="1533" y="3028"/>
                  </a:cubicBezTo>
                  <a:cubicBezTo>
                    <a:pt x="900" y="2866"/>
                    <a:pt x="900" y="2866"/>
                    <a:pt x="900" y="2866"/>
                  </a:cubicBezTo>
                  <a:cubicBezTo>
                    <a:pt x="900" y="2160"/>
                    <a:pt x="900" y="2160"/>
                    <a:pt x="900" y="2160"/>
                  </a:cubicBezTo>
                  <a:cubicBezTo>
                    <a:pt x="1223" y="2160"/>
                    <a:pt x="1223" y="2160"/>
                    <a:pt x="1223" y="2160"/>
                  </a:cubicBezTo>
                  <a:cubicBezTo>
                    <a:pt x="1284" y="2154"/>
                    <a:pt x="1336" y="2183"/>
                    <a:pt x="1376" y="2223"/>
                  </a:cubicBezTo>
                  <a:cubicBezTo>
                    <a:pt x="1451" y="2298"/>
                    <a:pt x="1554" y="2337"/>
                    <a:pt x="1658" y="2340"/>
                  </a:cubicBezTo>
                  <a:cubicBezTo>
                    <a:pt x="2250" y="2340"/>
                    <a:pt x="2250" y="2340"/>
                    <a:pt x="2250" y="2340"/>
                  </a:cubicBezTo>
                  <a:cubicBezTo>
                    <a:pt x="2300" y="2340"/>
                    <a:pt x="2340" y="2380"/>
                    <a:pt x="2340" y="2430"/>
                  </a:cubicBezTo>
                  <a:cubicBezTo>
                    <a:pt x="2340" y="2479"/>
                    <a:pt x="2300" y="2520"/>
                    <a:pt x="2250" y="2520"/>
                  </a:cubicBezTo>
                  <a:cubicBezTo>
                    <a:pt x="1710" y="2520"/>
                    <a:pt x="1710" y="2520"/>
                    <a:pt x="1710" y="2520"/>
                  </a:cubicBezTo>
                  <a:cubicBezTo>
                    <a:pt x="1660" y="2520"/>
                    <a:pt x="1620" y="2560"/>
                    <a:pt x="1620" y="2610"/>
                  </a:cubicBezTo>
                  <a:cubicBezTo>
                    <a:pt x="1620" y="2660"/>
                    <a:pt x="1660" y="2700"/>
                    <a:pt x="1710" y="2700"/>
                  </a:cubicBezTo>
                  <a:cubicBezTo>
                    <a:pt x="2250" y="2700"/>
                    <a:pt x="2250" y="2700"/>
                    <a:pt x="2250" y="2700"/>
                  </a:cubicBezTo>
                  <a:cubicBezTo>
                    <a:pt x="2325" y="2700"/>
                    <a:pt x="2393" y="2669"/>
                    <a:pt x="2442" y="2619"/>
                  </a:cubicBezTo>
                  <a:cubicBezTo>
                    <a:pt x="2908" y="2401"/>
                    <a:pt x="2908" y="2401"/>
                    <a:pt x="2908" y="2401"/>
                  </a:cubicBezTo>
                  <a:cubicBezTo>
                    <a:pt x="2959" y="2370"/>
                    <a:pt x="3026" y="2387"/>
                    <a:pt x="3056" y="2437"/>
                  </a:cubicBezTo>
                  <a:cubicBezTo>
                    <a:pt x="3086" y="2496"/>
                    <a:pt x="3064" y="2567"/>
                    <a:pt x="3008" y="259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defTabSz="914400"/>
              <a:endParaRPr lang="en-US">
                <a:solidFill>
                  <a:prstClr val="black"/>
                </a:solidFill>
                <a:latin typeface="+mj-lt"/>
              </a:endParaRPr>
            </a:p>
          </p:txBody>
        </p:sp>
      </p:grpSp>
      <p:sp>
        <p:nvSpPr>
          <p:cNvPr id="71" name="Text Placeholder 44">
            <a:extLst>
              <a:ext uri="{FF2B5EF4-FFF2-40B4-BE49-F238E27FC236}">
                <a16:creationId xmlns:a16="http://schemas.microsoft.com/office/drawing/2014/main" id="{B9425FA9-0D5F-6206-7991-0CC36368AD35}"/>
              </a:ext>
            </a:extLst>
          </p:cNvPr>
          <p:cNvSpPr>
            <a:spLocks noGrp="1"/>
          </p:cNvSpPr>
          <p:nvPr>
            <p:ph type="body" sz="quarter" idx="67" hasCustomPrompt="1"/>
          </p:nvPr>
        </p:nvSpPr>
        <p:spPr>
          <a:xfrm>
            <a:off x="7603810" y="3980363"/>
            <a:ext cx="863104" cy="863104"/>
          </a:xfrm>
          <a:prstGeom prst="ellipse">
            <a:avLst/>
          </a:prstGeom>
          <a:solidFill>
            <a:schemeClr val="bg1"/>
          </a:solidFill>
        </p:spPr>
        <p:txBody>
          <a:bodyPr lIns="0" tIns="720000" rIns="0" bIns="0" anchor="b"/>
          <a:lstStyle>
            <a:lvl1pPr marL="0" indent="0" algn="ctr">
              <a:lnSpc>
                <a:spcPct val="100000"/>
              </a:lnSpc>
              <a:spcBef>
                <a:spcPts val="0"/>
              </a:spcBef>
              <a:buNone/>
              <a:defRPr sz="2400" b="1">
                <a:latin typeface="+mj-lt"/>
              </a:defRPr>
            </a:lvl1pPr>
          </a:lstStyle>
          <a:p>
            <a:pPr lvl="0"/>
            <a:r>
              <a:rPr lang="en-GB"/>
              <a:t>#</a:t>
            </a:r>
          </a:p>
        </p:txBody>
      </p:sp>
      <p:sp>
        <p:nvSpPr>
          <p:cNvPr id="72" name="Marcador de posición de imagen 28">
            <a:extLst>
              <a:ext uri="{FF2B5EF4-FFF2-40B4-BE49-F238E27FC236}">
                <a16:creationId xmlns:a16="http://schemas.microsoft.com/office/drawing/2014/main" id="{418AE41A-D671-CC88-521C-777D5523646D}"/>
              </a:ext>
            </a:extLst>
          </p:cNvPr>
          <p:cNvSpPr>
            <a:spLocks noGrp="1"/>
          </p:cNvSpPr>
          <p:nvPr>
            <p:ph type="pic" sz="quarter" idx="68" hasCustomPrompt="1"/>
          </p:nvPr>
        </p:nvSpPr>
        <p:spPr>
          <a:xfrm>
            <a:off x="7826037" y="4000113"/>
            <a:ext cx="409529" cy="409529"/>
          </a:xfrm>
          <a:prstGeom prst="ellipse">
            <a:avLst/>
          </a:prstGeom>
          <a:solidFill>
            <a:schemeClr val="bg1"/>
          </a:solidFill>
        </p:spPr>
        <p:txBody>
          <a:bodyPr lIns="0" tIns="0" rIns="0" bIns="0"/>
          <a:lstStyle>
            <a:lvl1pPr marL="0" indent="0" algn="ctr">
              <a:buNone/>
              <a:defRPr sz="900">
                <a:latin typeface="+mj-lt"/>
              </a:defRPr>
            </a:lvl1pPr>
          </a:lstStyle>
          <a:p>
            <a:r>
              <a:rPr lang="es-ES" err="1"/>
              <a:t>Icon</a:t>
            </a:r>
            <a:endParaRPr lang="es-ES"/>
          </a:p>
        </p:txBody>
      </p:sp>
      <p:sp>
        <p:nvSpPr>
          <p:cNvPr id="73" name="Text Placeholder 44">
            <a:extLst>
              <a:ext uri="{FF2B5EF4-FFF2-40B4-BE49-F238E27FC236}">
                <a16:creationId xmlns:a16="http://schemas.microsoft.com/office/drawing/2014/main" id="{CCF3CE23-F8A7-0758-C2A3-C2264E7C0B22}"/>
              </a:ext>
            </a:extLst>
          </p:cNvPr>
          <p:cNvSpPr>
            <a:spLocks noGrp="1"/>
          </p:cNvSpPr>
          <p:nvPr>
            <p:ph type="body" sz="quarter" idx="69" hasCustomPrompt="1"/>
          </p:nvPr>
        </p:nvSpPr>
        <p:spPr>
          <a:xfrm>
            <a:off x="8902537" y="3980363"/>
            <a:ext cx="863104" cy="863104"/>
          </a:xfrm>
          <a:prstGeom prst="ellipse">
            <a:avLst/>
          </a:prstGeom>
          <a:solidFill>
            <a:schemeClr val="bg1"/>
          </a:solidFill>
        </p:spPr>
        <p:txBody>
          <a:bodyPr lIns="0" tIns="720000" rIns="0" bIns="0" anchor="b"/>
          <a:lstStyle>
            <a:lvl1pPr marL="0" indent="0" algn="ctr">
              <a:lnSpc>
                <a:spcPct val="100000"/>
              </a:lnSpc>
              <a:spcBef>
                <a:spcPts val="0"/>
              </a:spcBef>
              <a:buNone/>
              <a:defRPr sz="2400" b="1">
                <a:latin typeface="+mj-lt"/>
              </a:defRPr>
            </a:lvl1pPr>
          </a:lstStyle>
          <a:p>
            <a:pPr lvl="0"/>
            <a:r>
              <a:rPr lang="en-GB"/>
              <a:t>#</a:t>
            </a:r>
          </a:p>
        </p:txBody>
      </p:sp>
      <p:sp>
        <p:nvSpPr>
          <p:cNvPr id="74" name="Marcador de posición de imagen 28">
            <a:extLst>
              <a:ext uri="{FF2B5EF4-FFF2-40B4-BE49-F238E27FC236}">
                <a16:creationId xmlns:a16="http://schemas.microsoft.com/office/drawing/2014/main" id="{CB906117-30E4-9226-EF95-1590B56DC2F8}"/>
              </a:ext>
            </a:extLst>
          </p:cNvPr>
          <p:cNvSpPr>
            <a:spLocks noGrp="1"/>
          </p:cNvSpPr>
          <p:nvPr>
            <p:ph type="pic" sz="quarter" idx="70" hasCustomPrompt="1"/>
          </p:nvPr>
        </p:nvSpPr>
        <p:spPr>
          <a:xfrm>
            <a:off x="9124764" y="4000113"/>
            <a:ext cx="409529" cy="409529"/>
          </a:xfrm>
          <a:prstGeom prst="ellipse">
            <a:avLst/>
          </a:prstGeom>
          <a:solidFill>
            <a:schemeClr val="bg1"/>
          </a:solidFill>
        </p:spPr>
        <p:txBody>
          <a:bodyPr lIns="0" tIns="0" rIns="0" bIns="0"/>
          <a:lstStyle>
            <a:lvl1pPr marL="0" indent="0" algn="ctr">
              <a:buNone/>
              <a:defRPr sz="900">
                <a:latin typeface="+mj-lt"/>
              </a:defRPr>
            </a:lvl1pPr>
          </a:lstStyle>
          <a:p>
            <a:r>
              <a:rPr lang="es-ES" err="1"/>
              <a:t>Icon</a:t>
            </a:r>
            <a:endParaRPr lang="es-ES"/>
          </a:p>
        </p:txBody>
      </p:sp>
      <p:sp>
        <p:nvSpPr>
          <p:cNvPr id="13" name="Marcador de número de diapositiva 5">
            <a:extLst>
              <a:ext uri="{FF2B5EF4-FFF2-40B4-BE49-F238E27FC236}">
                <a16:creationId xmlns:a16="http://schemas.microsoft.com/office/drawing/2014/main" id="{9A4E7450-4719-902D-0CCF-FB73AE5BEB6A}"/>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15" name="Footnotes">
            <a:extLst>
              <a:ext uri="{FF2B5EF4-FFF2-40B4-BE49-F238E27FC236}">
                <a16:creationId xmlns:a16="http://schemas.microsoft.com/office/drawing/2014/main" id="{1EA978D6-85EB-FB17-2260-E7C83B8C5FBE}"/>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1C5EA507-A363-7343-EA10-57A155EB9F1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12" name="Título 1">
            <a:extLst>
              <a:ext uri="{FF2B5EF4-FFF2-40B4-BE49-F238E27FC236}">
                <a16:creationId xmlns:a16="http://schemas.microsoft.com/office/drawing/2014/main" id="{CFFC7435-5727-DC1C-2410-70333F19E8FC}"/>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16" name="Marcador de texto 14">
            <a:extLst>
              <a:ext uri="{FF2B5EF4-FFF2-40B4-BE49-F238E27FC236}">
                <a16:creationId xmlns:a16="http://schemas.microsoft.com/office/drawing/2014/main" id="{9B4505C7-3DD3-9BDA-3BA3-3A4D84433182}"/>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3D91F178-A677-9C23-10FB-AA0F803D5AF0}"/>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26019843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3_Header &amp; Content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432F60-F2D3-2F6C-A064-C35447BA4123}"/>
              </a:ext>
            </a:extLst>
          </p:cNvPr>
          <p:cNvSpPr/>
          <p:nvPr userDrawn="1"/>
        </p:nvSpPr>
        <p:spPr>
          <a:xfrm>
            <a:off x="0" y="1315092"/>
            <a:ext cx="12192000" cy="458075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Santander Headline" panose="020B0504020201020104" pitchFamily="34" charset="0"/>
            </a:endParaRPr>
          </a:p>
        </p:txBody>
      </p:sp>
      <p:sp>
        <p:nvSpPr>
          <p:cNvPr id="77" name="Text Placeholder 52">
            <a:extLst>
              <a:ext uri="{FF2B5EF4-FFF2-40B4-BE49-F238E27FC236}">
                <a16:creationId xmlns:a16="http://schemas.microsoft.com/office/drawing/2014/main" id="{55716315-8065-98AC-F9A5-2009C63091A8}"/>
              </a:ext>
            </a:extLst>
          </p:cNvPr>
          <p:cNvSpPr>
            <a:spLocks noGrp="1"/>
          </p:cNvSpPr>
          <p:nvPr>
            <p:ph type="body" sz="quarter" idx="46"/>
          </p:nvPr>
        </p:nvSpPr>
        <p:spPr>
          <a:xfrm>
            <a:off x="2409523" y="1602055"/>
            <a:ext cx="2635089" cy="2322673"/>
          </a:xfrm>
          <a:prstGeom prst="rect">
            <a:avLst/>
          </a:prstGeom>
        </p:spPr>
        <p:txBody>
          <a:bodyPr/>
          <a:lstStyle>
            <a:lvl1pPr marL="0" indent="0">
              <a:buNone/>
              <a:defRPr sz="1400" b="1">
                <a:latin typeface="+mj-lt"/>
              </a:defRPr>
            </a:lvl1pPr>
            <a:lvl2pPr marL="180000" indent="-180000">
              <a:spcBef>
                <a:spcPts val="600"/>
              </a:spcBef>
              <a:buClr>
                <a:srgbClr val="EC0000"/>
              </a:buClr>
              <a:defRPr sz="1200">
                <a:latin typeface="+mj-lt"/>
              </a:defRPr>
            </a:lvl2pPr>
          </a:lstStyle>
          <a:p>
            <a:pPr lvl="0"/>
            <a:r>
              <a:rPr lang="en-GB"/>
              <a:t>Click to edit Master text styles</a:t>
            </a:r>
          </a:p>
          <a:p>
            <a:pPr lvl="1"/>
            <a:r>
              <a:rPr lang="en-GB"/>
              <a:t>Second level</a:t>
            </a:r>
          </a:p>
        </p:txBody>
      </p:sp>
      <p:sp>
        <p:nvSpPr>
          <p:cNvPr id="78" name="Text Placeholder 52">
            <a:extLst>
              <a:ext uri="{FF2B5EF4-FFF2-40B4-BE49-F238E27FC236}">
                <a16:creationId xmlns:a16="http://schemas.microsoft.com/office/drawing/2014/main" id="{C73D36B6-AEC9-B4E0-835B-B6F4EC832A20}"/>
              </a:ext>
            </a:extLst>
          </p:cNvPr>
          <p:cNvSpPr>
            <a:spLocks noGrp="1"/>
          </p:cNvSpPr>
          <p:nvPr>
            <p:ph type="body" sz="quarter" idx="47"/>
          </p:nvPr>
        </p:nvSpPr>
        <p:spPr>
          <a:xfrm>
            <a:off x="6776039" y="1602055"/>
            <a:ext cx="2635089" cy="2322673"/>
          </a:xfrm>
          <a:prstGeom prst="rect">
            <a:avLst/>
          </a:prstGeom>
        </p:spPr>
        <p:txBody>
          <a:bodyPr/>
          <a:lstStyle>
            <a:lvl1pPr marL="0" indent="0">
              <a:buNone/>
              <a:defRPr sz="1400" b="1">
                <a:latin typeface="+mj-lt"/>
              </a:defRPr>
            </a:lvl1pPr>
            <a:lvl2pPr marL="180000" indent="-180000">
              <a:spcBef>
                <a:spcPts val="600"/>
              </a:spcBef>
              <a:buClr>
                <a:srgbClr val="EC0000"/>
              </a:buClr>
              <a:defRPr sz="1200">
                <a:latin typeface="+mj-lt"/>
              </a:defRPr>
            </a:lvl2pPr>
          </a:lstStyle>
          <a:p>
            <a:pPr lvl="0"/>
            <a:r>
              <a:rPr lang="en-GB"/>
              <a:t>Click to edit Master text styles</a:t>
            </a:r>
          </a:p>
          <a:p>
            <a:pPr lvl="1"/>
            <a:r>
              <a:rPr lang="en-GB"/>
              <a:t>Second level</a:t>
            </a:r>
          </a:p>
        </p:txBody>
      </p:sp>
      <p:grpSp>
        <p:nvGrpSpPr>
          <p:cNvPr id="80" name="Group 79">
            <a:extLst>
              <a:ext uri="{FF2B5EF4-FFF2-40B4-BE49-F238E27FC236}">
                <a16:creationId xmlns:a16="http://schemas.microsoft.com/office/drawing/2014/main" id="{6AA69E66-B97C-9DA9-8234-D4A5588274EA}"/>
              </a:ext>
            </a:extLst>
          </p:cNvPr>
          <p:cNvGrpSpPr/>
          <p:nvPr userDrawn="1"/>
        </p:nvGrpSpPr>
        <p:grpSpPr>
          <a:xfrm>
            <a:off x="1859623" y="3838054"/>
            <a:ext cx="8075488" cy="1915474"/>
            <a:chOff x="1859623" y="3838054"/>
            <a:chExt cx="8075488" cy="1915474"/>
          </a:xfrm>
        </p:grpSpPr>
        <p:sp>
          <p:nvSpPr>
            <p:cNvPr id="79" name="Oval 78">
              <a:extLst>
                <a:ext uri="{FF2B5EF4-FFF2-40B4-BE49-F238E27FC236}">
                  <a16:creationId xmlns:a16="http://schemas.microsoft.com/office/drawing/2014/main" id="{E0B67648-8269-CE34-AD8D-30C42B3260F7}"/>
                </a:ext>
              </a:extLst>
            </p:cNvPr>
            <p:cNvSpPr/>
            <p:nvPr userDrawn="1"/>
          </p:nvSpPr>
          <p:spPr>
            <a:xfrm>
              <a:off x="1859623" y="5564170"/>
              <a:ext cx="8075488" cy="189358"/>
            </a:xfrm>
            <a:prstGeom prst="ellipse">
              <a:avLst/>
            </a:prstGeom>
            <a:solidFill>
              <a:schemeClr val="accent5">
                <a:lumMod val="50000"/>
              </a:schemeClr>
            </a:solidFill>
            <a:ln>
              <a:noFill/>
            </a:ln>
            <a:effectLst>
              <a:softEdge rad="762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Santander Headline" panose="020B0504020201020104" pitchFamily="34" charset="0"/>
              </a:endParaRPr>
            </a:p>
          </p:txBody>
        </p:sp>
        <p:pic>
          <p:nvPicPr>
            <p:cNvPr id="76" name="Graphic 75">
              <a:extLst>
                <a:ext uri="{FF2B5EF4-FFF2-40B4-BE49-F238E27FC236}">
                  <a16:creationId xmlns:a16="http://schemas.microsoft.com/office/drawing/2014/main" id="{3EBCD32F-B3FD-4CD3-A944-2378007FC34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72113" y="3838054"/>
              <a:ext cx="6918467" cy="1854951"/>
            </a:xfrm>
            <a:prstGeom prst="rect">
              <a:avLst/>
            </a:prstGeom>
          </p:spPr>
        </p:pic>
      </p:grpSp>
      <p:sp>
        <p:nvSpPr>
          <p:cNvPr id="6" name="Marcador de número de diapositiva 5">
            <a:extLst>
              <a:ext uri="{FF2B5EF4-FFF2-40B4-BE49-F238E27FC236}">
                <a16:creationId xmlns:a16="http://schemas.microsoft.com/office/drawing/2014/main" id="{A87F9495-9991-4E91-BE42-67874ABFA043}"/>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7" name="Footnotes">
            <a:extLst>
              <a:ext uri="{FF2B5EF4-FFF2-40B4-BE49-F238E27FC236}">
                <a16:creationId xmlns:a16="http://schemas.microsoft.com/office/drawing/2014/main" id="{F6163B3B-FB21-9F12-35DB-53ABC5FFB86D}"/>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63278D48-1931-5E2A-4BD9-D94954B4D2CF}"/>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54606" y="6214291"/>
            <a:ext cx="1564445" cy="293776"/>
          </a:xfrm>
          <a:prstGeom prst="rect">
            <a:avLst/>
          </a:prstGeom>
        </p:spPr>
      </p:pic>
      <p:sp>
        <p:nvSpPr>
          <p:cNvPr id="8" name="Título 1">
            <a:extLst>
              <a:ext uri="{FF2B5EF4-FFF2-40B4-BE49-F238E27FC236}">
                <a16:creationId xmlns:a16="http://schemas.microsoft.com/office/drawing/2014/main" id="{935BA553-409B-D787-0332-000D67EE6380}"/>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10" name="Marcador de texto 14">
            <a:extLst>
              <a:ext uri="{FF2B5EF4-FFF2-40B4-BE49-F238E27FC236}">
                <a16:creationId xmlns:a16="http://schemas.microsoft.com/office/drawing/2014/main" id="{4F825C89-E992-6D5C-EAD2-BF8E0492F591}"/>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49368BA2-19D3-1451-243A-C6FBD6165A50}"/>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31684504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4_Header &amp; Content ">
    <p:spTree>
      <p:nvGrpSpPr>
        <p:cNvPr id="1" name=""/>
        <p:cNvGrpSpPr/>
        <p:nvPr/>
      </p:nvGrpSpPr>
      <p:grpSpPr>
        <a:xfrm>
          <a:off x="0" y="0"/>
          <a:ext cx="0" cy="0"/>
          <a:chOff x="0" y="0"/>
          <a:chExt cx="0" cy="0"/>
        </a:xfrm>
      </p:grpSpPr>
      <p:sp>
        <p:nvSpPr>
          <p:cNvPr id="42" name="Text Placeholder 41">
            <a:extLst>
              <a:ext uri="{FF2B5EF4-FFF2-40B4-BE49-F238E27FC236}">
                <a16:creationId xmlns:a16="http://schemas.microsoft.com/office/drawing/2014/main" id="{E14D8606-F671-5C3E-4A7F-C8933FDE0547}"/>
              </a:ext>
            </a:extLst>
          </p:cNvPr>
          <p:cNvSpPr>
            <a:spLocks noGrp="1"/>
          </p:cNvSpPr>
          <p:nvPr>
            <p:ph type="body" sz="quarter" idx="46" hasCustomPrompt="1"/>
          </p:nvPr>
        </p:nvSpPr>
        <p:spPr>
          <a:xfrm>
            <a:off x="698674" y="3194512"/>
            <a:ext cx="1623287" cy="849313"/>
          </a:xfrm>
          <a:prstGeom prst="rightArrow">
            <a:avLst>
              <a:gd name="adj1" fmla="val 100000"/>
              <a:gd name="adj2" fmla="val 27016"/>
            </a:avLst>
          </a:prstGeom>
          <a:solidFill>
            <a:schemeClr val="accent1"/>
          </a:solidFill>
        </p:spPr>
        <p:txBody>
          <a:bodyPr lIns="144000" anchor="b"/>
          <a:lstStyle>
            <a:lvl1pPr marL="0" indent="0">
              <a:buNone/>
              <a:defRPr sz="3600">
                <a:solidFill>
                  <a:schemeClr val="bg1"/>
                </a:solidFill>
                <a:latin typeface="+mj-lt"/>
              </a:defRPr>
            </a:lvl1pPr>
            <a:lvl2pPr marL="457200" indent="0">
              <a:buNone/>
              <a:defRPr>
                <a:solidFill>
                  <a:schemeClr val="bg1"/>
                </a:solidFill>
                <a:latin typeface="+mn-lt"/>
              </a:defRPr>
            </a:lvl2pPr>
            <a:lvl3pPr marL="914400" indent="0">
              <a:buNone/>
              <a:defRPr>
                <a:solidFill>
                  <a:schemeClr val="bg1"/>
                </a:solidFill>
                <a:latin typeface="+mn-lt"/>
              </a:defRPr>
            </a:lvl3pPr>
            <a:lvl4pPr marL="1371600" indent="0">
              <a:buNone/>
              <a:defRPr>
                <a:solidFill>
                  <a:schemeClr val="bg1"/>
                </a:solidFill>
                <a:latin typeface="+mn-lt"/>
              </a:defRPr>
            </a:lvl4pPr>
            <a:lvl5pPr marL="1828800" indent="0">
              <a:buNone/>
              <a:defRPr>
                <a:solidFill>
                  <a:schemeClr val="bg1"/>
                </a:solidFill>
                <a:latin typeface="+mn-lt"/>
              </a:defRPr>
            </a:lvl5pPr>
          </a:lstStyle>
          <a:p>
            <a:pPr lvl="0"/>
            <a:r>
              <a:rPr lang="en-GB"/>
              <a:t>#</a:t>
            </a:r>
          </a:p>
        </p:txBody>
      </p:sp>
      <p:sp>
        <p:nvSpPr>
          <p:cNvPr id="43" name="Text Placeholder 41">
            <a:extLst>
              <a:ext uri="{FF2B5EF4-FFF2-40B4-BE49-F238E27FC236}">
                <a16:creationId xmlns:a16="http://schemas.microsoft.com/office/drawing/2014/main" id="{5269DABA-8323-CE42-78EC-56F02CC681B2}"/>
              </a:ext>
            </a:extLst>
          </p:cNvPr>
          <p:cNvSpPr>
            <a:spLocks noGrp="1"/>
          </p:cNvSpPr>
          <p:nvPr>
            <p:ph type="body" sz="quarter" idx="47" hasCustomPrompt="1"/>
          </p:nvPr>
        </p:nvSpPr>
        <p:spPr>
          <a:xfrm>
            <a:off x="2251784" y="3194512"/>
            <a:ext cx="1623287" cy="849313"/>
          </a:xfrm>
          <a:prstGeom prst="chevron">
            <a:avLst>
              <a:gd name="adj" fmla="val 25806"/>
            </a:avLst>
          </a:prstGeom>
          <a:solidFill>
            <a:schemeClr val="accent2"/>
          </a:solidFill>
        </p:spPr>
        <p:txBody>
          <a:bodyPr lIns="144000" anchor="b"/>
          <a:lstStyle>
            <a:lvl1pPr marL="0" indent="0">
              <a:buNone/>
              <a:defRPr sz="3600">
                <a:solidFill>
                  <a:schemeClr val="bg1"/>
                </a:solidFill>
                <a:latin typeface="+mj-lt"/>
              </a:defRPr>
            </a:lvl1pPr>
            <a:lvl2pPr marL="457200" indent="0">
              <a:buNone/>
              <a:defRPr>
                <a:solidFill>
                  <a:schemeClr val="bg1"/>
                </a:solidFill>
                <a:latin typeface="+mn-lt"/>
              </a:defRPr>
            </a:lvl2pPr>
            <a:lvl3pPr marL="914400" indent="0">
              <a:buNone/>
              <a:defRPr>
                <a:solidFill>
                  <a:schemeClr val="bg1"/>
                </a:solidFill>
                <a:latin typeface="+mn-lt"/>
              </a:defRPr>
            </a:lvl3pPr>
            <a:lvl4pPr marL="1371600" indent="0">
              <a:buNone/>
              <a:defRPr>
                <a:solidFill>
                  <a:schemeClr val="bg1"/>
                </a:solidFill>
                <a:latin typeface="+mn-lt"/>
              </a:defRPr>
            </a:lvl4pPr>
            <a:lvl5pPr marL="1828800" indent="0">
              <a:buNone/>
              <a:defRPr>
                <a:solidFill>
                  <a:schemeClr val="bg1"/>
                </a:solidFill>
                <a:latin typeface="+mn-lt"/>
              </a:defRPr>
            </a:lvl5pPr>
          </a:lstStyle>
          <a:p>
            <a:pPr lvl="0"/>
            <a:r>
              <a:rPr lang="en-GB"/>
              <a:t>#</a:t>
            </a:r>
          </a:p>
        </p:txBody>
      </p:sp>
      <p:sp>
        <p:nvSpPr>
          <p:cNvPr id="45" name="Text Placeholder 44">
            <a:extLst>
              <a:ext uri="{FF2B5EF4-FFF2-40B4-BE49-F238E27FC236}">
                <a16:creationId xmlns:a16="http://schemas.microsoft.com/office/drawing/2014/main" id="{00E2195F-C43D-9DF4-303D-1281F7F794F0}"/>
              </a:ext>
            </a:extLst>
          </p:cNvPr>
          <p:cNvSpPr>
            <a:spLocks noGrp="1"/>
          </p:cNvSpPr>
          <p:nvPr>
            <p:ph type="body" sz="quarter" idx="48"/>
          </p:nvPr>
        </p:nvSpPr>
        <p:spPr>
          <a:xfrm>
            <a:off x="893852" y="1448555"/>
            <a:ext cx="1726058" cy="1726160"/>
          </a:xfrm>
          <a:prstGeom prst="rect">
            <a:avLst/>
          </a:prstGeom>
          <a:noFill/>
          <a:ln w="19050" cap="sq">
            <a:gradFill flip="none" rotWithShape="1">
              <a:gsLst>
                <a:gs pos="99000">
                  <a:schemeClr val="bg1">
                    <a:alpha val="0"/>
                  </a:schemeClr>
                </a:gs>
                <a:gs pos="100000">
                  <a:schemeClr val="tx1">
                    <a:lumMod val="75000"/>
                  </a:schemeClr>
                </a:gs>
              </a:gsLst>
              <a:lin ang="10800000" scaled="1"/>
              <a:tileRect/>
            </a:gradFill>
          </a:ln>
        </p:spPr>
        <p:txBody>
          <a:bodyPr lIns="108000" tIns="108000" rIns="108000" bIns="108000"/>
          <a:lstStyle>
            <a:lvl1pPr marL="0" indent="0">
              <a:spcBef>
                <a:spcPts val="0"/>
              </a:spcBef>
              <a:spcAft>
                <a:spcPts val="300"/>
              </a:spcAft>
              <a:buNone/>
              <a:defRPr sz="1200" b="1">
                <a:solidFill>
                  <a:schemeClr val="tx1"/>
                </a:solidFill>
                <a:latin typeface="+mj-lt"/>
              </a:defRPr>
            </a:lvl1pPr>
            <a:lvl2pPr marL="0" indent="0">
              <a:spcBef>
                <a:spcPts val="0"/>
              </a:spcBef>
              <a:spcAft>
                <a:spcPts val="1200"/>
              </a:spcAft>
              <a:buNone/>
              <a:defRPr sz="1200">
                <a:solidFill>
                  <a:schemeClr val="tx1"/>
                </a:solidFill>
                <a:latin typeface="+mj-lt"/>
              </a:defRPr>
            </a:lvl2pPr>
          </a:lstStyle>
          <a:p>
            <a:pPr lvl="0"/>
            <a:r>
              <a:rPr lang="en-GB"/>
              <a:t>Click to edit Master text styles</a:t>
            </a:r>
          </a:p>
          <a:p>
            <a:pPr lvl="1"/>
            <a:r>
              <a:rPr lang="en-GB"/>
              <a:t>Second level</a:t>
            </a:r>
          </a:p>
        </p:txBody>
      </p:sp>
      <p:sp>
        <p:nvSpPr>
          <p:cNvPr id="46" name="Text Placeholder 41">
            <a:extLst>
              <a:ext uri="{FF2B5EF4-FFF2-40B4-BE49-F238E27FC236}">
                <a16:creationId xmlns:a16="http://schemas.microsoft.com/office/drawing/2014/main" id="{FCE1AFB5-4F56-805C-01A0-311B2DE5BA8E}"/>
              </a:ext>
            </a:extLst>
          </p:cNvPr>
          <p:cNvSpPr>
            <a:spLocks noGrp="1"/>
          </p:cNvSpPr>
          <p:nvPr>
            <p:ph type="body" sz="quarter" idx="49" hasCustomPrompt="1"/>
          </p:nvPr>
        </p:nvSpPr>
        <p:spPr>
          <a:xfrm>
            <a:off x="3804894" y="3194512"/>
            <a:ext cx="1623287" cy="849313"/>
          </a:xfrm>
          <a:prstGeom prst="chevron">
            <a:avLst>
              <a:gd name="adj" fmla="val 25806"/>
            </a:avLst>
          </a:prstGeom>
          <a:solidFill>
            <a:schemeClr val="accent3"/>
          </a:solidFill>
        </p:spPr>
        <p:txBody>
          <a:bodyPr lIns="144000" anchor="b"/>
          <a:lstStyle>
            <a:lvl1pPr marL="0" indent="0">
              <a:buNone/>
              <a:defRPr sz="3600">
                <a:solidFill>
                  <a:schemeClr val="bg1"/>
                </a:solidFill>
                <a:latin typeface="+mj-lt"/>
              </a:defRPr>
            </a:lvl1pPr>
            <a:lvl2pPr marL="457200" indent="0">
              <a:buNone/>
              <a:defRPr>
                <a:solidFill>
                  <a:schemeClr val="bg1"/>
                </a:solidFill>
                <a:latin typeface="+mn-lt"/>
              </a:defRPr>
            </a:lvl2pPr>
            <a:lvl3pPr marL="914400" indent="0">
              <a:buNone/>
              <a:defRPr>
                <a:solidFill>
                  <a:schemeClr val="bg1"/>
                </a:solidFill>
                <a:latin typeface="+mn-lt"/>
              </a:defRPr>
            </a:lvl3pPr>
            <a:lvl4pPr marL="1371600" indent="0">
              <a:buNone/>
              <a:defRPr>
                <a:solidFill>
                  <a:schemeClr val="bg1"/>
                </a:solidFill>
                <a:latin typeface="+mn-lt"/>
              </a:defRPr>
            </a:lvl4pPr>
            <a:lvl5pPr marL="1828800" indent="0">
              <a:buNone/>
              <a:defRPr>
                <a:solidFill>
                  <a:schemeClr val="bg1"/>
                </a:solidFill>
                <a:latin typeface="+mn-lt"/>
              </a:defRPr>
            </a:lvl5pPr>
          </a:lstStyle>
          <a:p>
            <a:pPr lvl="0"/>
            <a:r>
              <a:rPr lang="en-GB"/>
              <a:t>#</a:t>
            </a:r>
          </a:p>
        </p:txBody>
      </p:sp>
      <p:sp>
        <p:nvSpPr>
          <p:cNvPr id="47" name="Text Placeholder 41">
            <a:extLst>
              <a:ext uri="{FF2B5EF4-FFF2-40B4-BE49-F238E27FC236}">
                <a16:creationId xmlns:a16="http://schemas.microsoft.com/office/drawing/2014/main" id="{A1A25033-7BB0-31F7-CCFF-84FC47D027CC}"/>
              </a:ext>
            </a:extLst>
          </p:cNvPr>
          <p:cNvSpPr>
            <a:spLocks noGrp="1"/>
          </p:cNvSpPr>
          <p:nvPr>
            <p:ph type="body" sz="quarter" idx="50" hasCustomPrompt="1"/>
          </p:nvPr>
        </p:nvSpPr>
        <p:spPr>
          <a:xfrm>
            <a:off x="5358004" y="3194512"/>
            <a:ext cx="1623287" cy="849313"/>
          </a:xfrm>
          <a:prstGeom prst="chevron">
            <a:avLst>
              <a:gd name="adj" fmla="val 25806"/>
            </a:avLst>
          </a:prstGeom>
          <a:solidFill>
            <a:schemeClr val="accent4"/>
          </a:solidFill>
        </p:spPr>
        <p:txBody>
          <a:bodyPr lIns="144000" anchor="b"/>
          <a:lstStyle>
            <a:lvl1pPr marL="0" indent="0">
              <a:buNone/>
              <a:defRPr sz="3600">
                <a:solidFill>
                  <a:schemeClr val="bg1"/>
                </a:solidFill>
                <a:latin typeface="+mj-lt"/>
              </a:defRPr>
            </a:lvl1pPr>
            <a:lvl2pPr marL="457200" indent="0">
              <a:buNone/>
              <a:defRPr>
                <a:solidFill>
                  <a:schemeClr val="bg1"/>
                </a:solidFill>
                <a:latin typeface="+mn-lt"/>
              </a:defRPr>
            </a:lvl2pPr>
            <a:lvl3pPr marL="914400" indent="0">
              <a:buNone/>
              <a:defRPr>
                <a:solidFill>
                  <a:schemeClr val="bg1"/>
                </a:solidFill>
                <a:latin typeface="+mn-lt"/>
              </a:defRPr>
            </a:lvl3pPr>
            <a:lvl4pPr marL="1371600" indent="0">
              <a:buNone/>
              <a:defRPr>
                <a:solidFill>
                  <a:schemeClr val="bg1"/>
                </a:solidFill>
                <a:latin typeface="+mn-lt"/>
              </a:defRPr>
            </a:lvl4pPr>
            <a:lvl5pPr marL="1828800" indent="0">
              <a:buNone/>
              <a:defRPr>
                <a:solidFill>
                  <a:schemeClr val="bg1"/>
                </a:solidFill>
                <a:latin typeface="+mn-lt"/>
              </a:defRPr>
            </a:lvl5pPr>
          </a:lstStyle>
          <a:p>
            <a:pPr lvl="0"/>
            <a:r>
              <a:rPr lang="en-GB"/>
              <a:t>#</a:t>
            </a:r>
          </a:p>
        </p:txBody>
      </p:sp>
      <p:sp>
        <p:nvSpPr>
          <p:cNvPr id="48" name="Text Placeholder 41">
            <a:extLst>
              <a:ext uri="{FF2B5EF4-FFF2-40B4-BE49-F238E27FC236}">
                <a16:creationId xmlns:a16="http://schemas.microsoft.com/office/drawing/2014/main" id="{97A458EE-37A2-1E2C-4107-21F0C2A9228C}"/>
              </a:ext>
            </a:extLst>
          </p:cNvPr>
          <p:cNvSpPr>
            <a:spLocks noGrp="1"/>
          </p:cNvSpPr>
          <p:nvPr>
            <p:ph type="body" sz="quarter" idx="51" hasCustomPrompt="1"/>
          </p:nvPr>
        </p:nvSpPr>
        <p:spPr>
          <a:xfrm>
            <a:off x="6911114" y="3194512"/>
            <a:ext cx="1623287" cy="849313"/>
          </a:xfrm>
          <a:prstGeom prst="chevron">
            <a:avLst>
              <a:gd name="adj" fmla="val 25806"/>
            </a:avLst>
          </a:prstGeom>
          <a:solidFill>
            <a:srgbClr val="E6DCD2"/>
          </a:solidFill>
        </p:spPr>
        <p:txBody>
          <a:bodyPr lIns="144000" anchor="b"/>
          <a:lstStyle>
            <a:lvl1pPr marL="0" indent="0">
              <a:buNone/>
              <a:defRPr sz="3600">
                <a:solidFill>
                  <a:schemeClr val="bg1"/>
                </a:solidFill>
                <a:latin typeface="+mj-lt"/>
              </a:defRPr>
            </a:lvl1pPr>
            <a:lvl2pPr marL="457200" indent="0">
              <a:buNone/>
              <a:defRPr>
                <a:solidFill>
                  <a:schemeClr val="bg1"/>
                </a:solidFill>
                <a:latin typeface="+mn-lt"/>
              </a:defRPr>
            </a:lvl2pPr>
            <a:lvl3pPr marL="914400" indent="0">
              <a:buNone/>
              <a:defRPr>
                <a:solidFill>
                  <a:schemeClr val="bg1"/>
                </a:solidFill>
                <a:latin typeface="+mn-lt"/>
              </a:defRPr>
            </a:lvl3pPr>
            <a:lvl4pPr marL="1371600" indent="0">
              <a:buNone/>
              <a:defRPr>
                <a:solidFill>
                  <a:schemeClr val="bg1"/>
                </a:solidFill>
                <a:latin typeface="+mn-lt"/>
              </a:defRPr>
            </a:lvl4pPr>
            <a:lvl5pPr marL="1828800" indent="0">
              <a:buNone/>
              <a:defRPr>
                <a:solidFill>
                  <a:schemeClr val="bg1"/>
                </a:solidFill>
                <a:latin typeface="+mn-lt"/>
              </a:defRPr>
            </a:lvl5pPr>
          </a:lstStyle>
          <a:p>
            <a:pPr lvl="0"/>
            <a:r>
              <a:rPr lang="en-GB"/>
              <a:t>#</a:t>
            </a:r>
          </a:p>
        </p:txBody>
      </p:sp>
      <p:sp>
        <p:nvSpPr>
          <p:cNvPr id="49" name="Text Placeholder 41">
            <a:extLst>
              <a:ext uri="{FF2B5EF4-FFF2-40B4-BE49-F238E27FC236}">
                <a16:creationId xmlns:a16="http://schemas.microsoft.com/office/drawing/2014/main" id="{D58AB5E5-ADE4-31ED-1F62-E08107AD4E6F}"/>
              </a:ext>
            </a:extLst>
          </p:cNvPr>
          <p:cNvSpPr>
            <a:spLocks noGrp="1"/>
          </p:cNvSpPr>
          <p:nvPr>
            <p:ph type="body" sz="quarter" idx="52" hasCustomPrompt="1"/>
          </p:nvPr>
        </p:nvSpPr>
        <p:spPr>
          <a:xfrm>
            <a:off x="10017333" y="3194512"/>
            <a:ext cx="1623287" cy="849313"/>
          </a:xfrm>
          <a:prstGeom prst="chevron">
            <a:avLst>
              <a:gd name="adj" fmla="val 25806"/>
            </a:avLst>
          </a:prstGeom>
          <a:solidFill>
            <a:srgbClr val="CCB8A3"/>
          </a:solidFill>
        </p:spPr>
        <p:txBody>
          <a:bodyPr lIns="144000" anchor="b"/>
          <a:lstStyle>
            <a:lvl1pPr marL="0" indent="0">
              <a:buNone/>
              <a:defRPr sz="3600">
                <a:solidFill>
                  <a:schemeClr val="bg1"/>
                </a:solidFill>
                <a:latin typeface="+mj-lt"/>
              </a:defRPr>
            </a:lvl1pPr>
            <a:lvl2pPr marL="457200" indent="0">
              <a:buNone/>
              <a:defRPr>
                <a:solidFill>
                  <a:schemeClr val="bg1"/>
                </a:solidFill>
                <a:latin typeface="+mn-lt"/>
              </a:defRPr>
            </a:lvl2pPr>
            <a:lvl3pPr marL="914400" indent="0">
              <a:buNone/>
              <a:defRPr>
                <a:solidFill>
                  <a:schemeClr val="bg1"/>
                </a:solidFill>
                <a:latin typeface="+mn-lt"/>
              </a:defRPr>
            </a:lvl3pPr>
            <a:lvl4pPr marL="1371600" indent="0">
              <a:buNone/>
              <a:defRPr>
                <a:solidFill>
                  <a:schemeClr val="bg1"/>
                </a:solidFill>
                <a:latin typeface="+mn-lt"/>
              </a:defRPr>
            </a:lvl4pPr>
            <a:lvl5pPr marL="1828800" indent="0">
              <a:buNone/>
              <a:defRPr>
                <a:solidFill>
                  <a:schemeClr val="bg1"/>
                </a:solidFill>
                <a:latin typeface="+mn-lt"/>
              </a:defRPr>
            </a:lvl5pPr>
          </a:lstStyle>
          <a:p>
            <a:pPr lvl="0"/>
            <a:r>
              <a:rPr lang="en-GB"/>
              <a:t>#</a:t>
            </a:r>
          </a:p>
        </p:txBody>
      </p:sp>
      <p:sp>
        <p:nvSpPr>
          <p:cNvPr id="50" name="Text Placeholder 41">
            <a:extLst>
              <a:ext uri="{FF2B5EF4-FFF2-40B4-BE49-F238E27FC236}">
                <a16:creationId xmlns:a16="http://schemas.microsoft.com/office/drawing/2014/main" id="{82EE5A62-12F0-F09E-2950-B7DEE51ED42B}"/>
              </a:ext>
            </a:extLst>
          </p:cNvPr>
          <p:cNvSpPr>
            <a:spLocks noGrp="1"/>
          </p:cNvSpPr>
          <p:nvPr>
            <p:ph type="body" sz="quarter" idx="53" hasCustomPrompt="1"/>
          </p:nvPr>
        </p:nvSpPr>
        <p:spPr>
          <a:xfrm>
            <a:off x="8464224" y="3194512"/>
            <a:ext cx="1623287" cy="849313"/>
          </a:xfrm>
          <a:prstGeom prst="chevron">
            <a:avLst>
              <a:gd name="adj" fmla="val 25806"/>
            </a:avLst>
          </a:prstGeom>
          <a:solidFill>
            <a:srgbClr val="DBCCBD"/>
          </a:solidFill>
        </p:spPr>
        <p:txBody>
          <a:bodyPr lIns="144000" anchor="b"/>
          <a:lstStyle>
            <a:lvl1pPr marL="0" indent="0">
              <a:buNone/>
              <a:defRPr sz="3600">
                <a:solidFill>
                  <a:schemeClr val="bg1"/>
                </a:solidFill>
                <a:latin typeface="+mj-lt"/>
              </a:defRPr>
            </a:lvl1pPr>
            <a:lvl2pPr marL="457200" indent="0">
              <a:buNone/>
              <a:defRPr>
                <a:solidFill>
                  <a:schemeClr val="bg1"/>
                </a:solidFill>
                <a:latin typeface="+mn-lt"/>
              </a:defRPr>
            </a:lvl2pPr>
            <a:lvl3pPr marL="914400" indent="0">
              <a:buNone/>
              <a:defRPr>
                <a:solidFill>
                  <a:schemeClr val="bg1"/>
                </a:solidFill>
                <a:latin typeface="+mn-lt"/>
              </a:defRPr>
            </a:lvl3pPr>
            <a:lvl4pPr marL="1371600" indent="0">
              <a:buNone/>
              <a:defRPr>
                <a:solidFill>
                  <a:schemeClr val="bg1"/>
                </a:solidFill>
                <a:latin typeface="+mn-lt"/>
              </a:defRPr>
            </a:lvl4pPr>
            <a:lvl5pPr marL="1828800" indent="0">
              <a:buNone/>
              <a:defRPr>
                <a:solidFill>
                  <a:schemeClr val="bg1"/>
                </a:solidFill>
                <a:latin typeface="+mn-lt"/>
              </a:defRPr>
            </a:lvl5pPr>
          </a:lstStyle>
          <a:p>
            <a:pPr lvl="0"/>
            <a:r>
              <a:rPr lang="en-GB"/>
              <a:t>#</a:t>
            </a:r>
          </a:p>
        </p:txBody>
      </p:sp>
      <p:sp>
        <p:nvSpPr>
          <p:cNvPr id="57" name="Text Placeholder 44">
            <a:extLst>
              <a:ext uri="{FF2B5EF4-FFF2-40B4-BE49-F238E27FC236}">
                <a16:creationId xmlns:a16="http://schemas.microsoft.com/office/drawing/2014/main" id="{483FF18C-B388-3193-1165-11A6D25F2F36}"/>
              </a:ext>
            </a:extLst>
          </p:cNvPr>
          <p:cNvSpPr>
            <a:spLocks noGrp="1"/>
          </p:cNvSpPr>
          <p:nvPr>
            <p:ph type="body" sz="quarter" idx="55"/>
          </p:nvPr>
        </p:nvSpPr>
        <p:spPr>
          <a:xfrm>
            <a:off x="2451048" y="4064324"/>
            <a:ext cx="1726058" cy="1766108"/>
          </a:xfrm>
          <a:prstGeom prst="rect">
            <a:avLst/>
          </a:prstGeom>
          <a:noFill/>
          <a:ln w="19050" cap="sq">
            <a:gradFill flip="none" rotWithShape="1">
              <a:gsLst>
                <a:gs pos="99000">
                  <a:schemeClr val="bg1">
                    <a:alpha val="0"/>
                  </a:schemeClr>
                </a:gs>
                <a:gs pos="100000">
                  <a:schemeClr val="tx1">
                    <a:lumMod val="75000"/>
                  </a:schemeClr>
                </a:gs>
              </a:gsLst>
              <a:lin ang="10800000" scaled="1"/>
              <a:tileRect/>
            </a:gradFill>
          </a:ln>
        </p:spPr>
        <p:txBody>
          <a:bodyPr lIns="108000" tIns="108000" rIns="108000" bIns="108000" anchor="b"/>
          <a:lstStyle>
            <a:lvl1pPr marL="0" indent="0">
              <a:spcBef>
                <a:spcPts val="0"/>
              </a:spcBef>
              <a:spcAft>
                <a:spcPts val="300"/>
              </a:spcAft>
              <a:buNone/>
              <a:defRPr sz="1200" b="1">
                <a:solidFill>
                  <a:schemeClr val="tx1"/>
                </a:solidFill>
                <a:latin typeface="+mj-lt"/>
              </a:defRPr>
            </a:lvl1pPr>
            <a:lvl2pPr marL="0" indent="0">
              <a:spcBef>
                <a:spcPts val="0"/>
              </a:spcBef>
              <a:spcAft>
                <a:spcPts val="1200"/>
              </a:spcAft>
              <a:buNone/>
              <a:defRPr sz="1200">
                <a:solidFill>
                  <a:schemeClr val="tx1"/>
                </a:solidFill>
                <a:latin typeface="+mj-lt"/>
              </a:defRPr>
            </a:lvl2pPr>
          </a:lstStyle>
          <a:p>
            <a:pPr lvl="0"/>
            <a:r>
              <a:rPr lang="en-GB"/>
              <a:t>Click to edit Master text styles</a:t>
            </a:r>
          </a:p>
          <a:p>
            <a:pPr lvl="1"/>
            <a:r>
              <a:rPr lang="en-GB"/>
              <a:t>Second level</a:t>
            </a:r>
          </a:p>
        </p:txBody>
      </p:sp>
      <p:sp>
        <p:nvSpPr>
          <p:cNvPr id="58" name="Text Placeholder 44">
            <a:extLst>
              <a:ext uri="{FF2B5EF4-FFF2-40B4-BE49-F238E27FC236}">
                <a16:creationId xmlns:a16="http://schemas.microsoft.com/office/drawing/2014/main" id="{42AB0196-C456-48AE-1FA1-9505CBDC52BA}"/>
              </a:ext>
            </a:extLst>
          </p:cNvPr>
          <p:cNvSpPr>
            <a:spLocks noGrp="1"/>
          </p:cNvSpPr>
          <p:nvPr>
            <p:ph type="body" sz="quarter" idx="56"/>
          </p:nvPr>
        </p:nvSpPr>
        <p:spPr>
          <a:xfrm>
            <a:off x="4017297" y="1448555"/>
            <a:ext cx="1726058" cy="1726160"/>
          </a:xfrm>
          <a:prstGeom prst="rect">
            <a:avLst/>
          </a:prstGeom>
          <a:noFill/>
          <a:ln w="19050" cap="sq">
            <a:gradFill flip="none" rotWithShape="1">
              <a:gsLst>
                <a:gs pos="99000">
                  <a:schemeClr val="bg1">
                    <a:alpha val="0"/>
                  </a:schemeClr>
                </a:gs>
                <a:gs pos="100000">
                  <a:schemeClr val="tx1">
                    <a:lumMod val="75000"/>
                  </a:schemeClr>
                </a:gs>
              </a:gsLst>
              <a:lin ang="10800000" scaled="1"/>
              <a:tileRect/>
            </a:gradFill>
          </a:ln>
        </p:spPr>
        <p:txBody>
          <a:bodyPr lIns="108000" tIns="108000" rIns="108000" bIns="108000"/>
          <a:lstStyle>
            <a:lvl1pPr marL="0" indent="0">
              <a:spcBef>
                <a:spcPts val="0"/>
              </a:spcBef>
              <a:spcAft>
                <a:spcPts val="300"/>
              </a:spcAft>
              <a:buNone/>
              <a:defRPr sz="1200" b="1">
                <a:solidFill>
                  <a:schemeClr val="tx1"/>
                </a:solidFill>
                <a:latin typeface="+mj-lt"/>
              </a:defRPr>
            </a:lvl1pPr>
            <a:lvl2pPr marL="0" indent="0">
              <a:spcBef>
                <a:spcPts val="0"/>
              </a:spcBef>
              <a:spcAft>
                <a:spcPts val="1200"/>
              </a:spcAft>
              <a:buNone/>
              <a:defRPr sz="1200">
                <a:solidFill>
                  <a:schemeClr val="tx1"/>
                </a:solidFill>
                <a:latin typeface="+mj-lt"/>
              </a:defRPr>
            </a:lvl2pPr>
          </a:lstStyle>
          <a:p>
            <a:pPr lvl="0"/>
            <a:r>
              <a:rPr lang="en-GB"/>
              <a:t>Click to edit Master text styles</a:t>
            </a:r>
          </a:p>
          <a:p>
            <a:pPr lvl="1"/>
            <a:r>
              <a:rPr lang="en-GB"/>
              <a:t>Second level</a:t>
            </a:r>
          </a:p>
        </p:txBody>
      </p:sp>
      <p:sp>
        <p:nvSpPr>
          <p:cNvPr id="59" name="Text Placeholder 44">
            <a:extLst>
              <a:ext uri="{FF2B5EF4-FFF2-40B4-BE49-F238E27FC236}">
                <a16:creationId xmlns:a16="http://schemas.microsoft.com/office/drawing/2014/main" id="{5FD7B5E4-608C-A5FA-F799-6DF9E2A2D962}"/>
              </a:ext>
            </a:extLst>
          </p:cNvPr>
          <p:cNvSpPr>
            <a:spLocks noGrp="1"/>
          </p:cNvSpPr>
          <p:nvPr>
            <p:ph type="body" sz="quarter" idx="57"/>
          </p:nvPr>
        </p:nvSpPr>
        <p:spPr>
          <a:xfrm>
            <a:off x="5574493" y="4064324"/>
            <a:ext cx="1726058" cy="1766108"/>
          </a:xfrm>
          <a:prstGeom prst="rect">
            <a:avLst/>
          </a:prstGeom>
          <a:noFill/>
          <a:ln w="19050" cap="sq">
            <a:gradFill flip="none" rotWithShape="1">
              <a:gsLst>
                <a:gs pos="99000">
                  <a:schemeClr val="bg1">
                    <a:alpha val="0"/>
                  </a:schemeClr>
                </a:gs>
                <a:gs pos="100000">
                  <a:schemeClr val="tx1">
                    <a:lumMod val="75000"/>
                  </a:schemeClr>
                </a:gs>
              </a:gsLst>
              <a:lin ang="10800000" scaled="1"/>
              <a:tileRect/>
            </a:gradFill>
          </a:ln>
        </p:spPr>
        <p:txBody>
          <a:bodyPr lIns="108000" tIns="108000" rIns="108000" bIns="108000" anchor="b"/>
          <a:lstStyle>
            <a:lvl1pPr marL="0" indent="0">
              <a:spcBef>
                <a:spcPts val="0"/>
              </a:spcBef>
              <a:spcAft>
                <a:spcPts val="300"/>
              </a:spcAft>
              <a:buNone/>
              <a:defRPr sz="1200" b="1">
                <a:solidFill>
                  <a:schemeClr val="tx1"/>
                </a:solidFill>
                <a:latin typeface="+mj-lt"/>
              </a:defRPr>
            </a:lvl1pPr>
            <a:lvl2pPr marL="0" indent="0">
              <a:spcBef>
                <a:spcPts val="0"/>
              </a:spcBef>
              <a:spcAft>
                <a:spcPts val="1200"/>
              </a:spcAft>
              <a:buNone/>
              <a:defRPr sz="1200">
                <a:solidFill>
                  <a:schemeClr val="tx1"/>
                </a:solidFill>
                <a:latin typeface="+mj-lt"/>
              </a:defRPr>
            </a:lvl2pPr>
          </a:lstStyle>
          <a:p>
            <a:pPr lvl="0"/>
            <a:r>
              <a:rPr lang="en-GB"/>
              <a:t>Click to edit Master text styles</a:t>
            </a:r>
          </a:p>
          <a:p>
            <a:pPr lvl="1"/>
            <a:r>
              <a:rPr lang="en-GB"/>
              <a:t>Second level</a:t>
            </a:r>
          </a:p>
        </p:txBody>
      </p:sp>
      <p:sp>
        <p:nvSpPr>
          <p:cNvPr id="60" name="Text Placeholder 44">
            <a:extLst>
              <a:ext uri="{FF2B5EF4-FFF2-40B4-BE49-F238E27FC236}">
                <a16:creationId xmlns:a16="http://schemas.microsoft.com/office/drawing/2014/main" id="{EDD21AFC-DC84-6B9B-4200-A2E0A42FB7DC}"/>
              </a:ext>
            </a:extLst>
          </p:cNvPr>
          <p:cNvSpPr>
            <a:spLocks noGrp="1"/>
          </p:cNvSpPr>
          <p:nvPr>
            <p:ph type="body" sz="quarter" idx="58"/>
          </p:nvPr>
        </p:nvSpPr>
        <p:spPr>
          <a:xfrm>
            <a:off x="7104529" y="1448555"/>
            <a:ext cx="1726058" cy="1726160"/>
          </a:xfrm>
          <a:prstGeom prst="rect">
            <a:avLst/>
          </a:prstGeom>
          <a:noFill/>
          <a:ln w="19050" cap="sq">
            <a:gradFill flip="none" rotWithShape="1">
              <a:gsLst>
                <a:gs pos="99000">
                  <a:schemeClr val="bg1">
                    <a:alpha val="0"/>
                  </a:schemeClr>
                </a:gs>
                <a:gs pos="100000">
                  <a:schemeClr val="tx1">
                    <a:lumMod val="75000"/>
                  </a:schemeClr>
                </a:gs>
              </a:gsLst>
              <a:lin ang="10800000" scaled="1"/>
              <a:tileRect/>
            </a:gradFill>
          </a:ln>
        </p:spPr>
        <p:txBody>
          <a:bodyPr lIns="108000" tIns="108000" rIns="108000" bIns="108000"/>
          <a:lstStyle>
            <a:lvl1pPr marL="0" indent="0">
              <a:spcBef>
                <a:spcPts val="0"/>
              </a:spcBef>
              <a:spcAft>
                <a:spcPts val="300"/>
              </a:spcAft>
              <a:buNone/>
              <a:defRPr sz="1200" b="1">
                <a:solidFill>
                  <a:schemeClr val="tx1"/>
                </a:solidFill>
                <a:latin typeface="+mj-lt"/>
              </a:defRPr>
            </a:lvl1pPr>
            <a:lvl2pPr marL="0" indent="0">
              <a:spcBef>
                <a:spcPts val="0"/>
              </a:spcBef>
              <a:spcAft>
                <a:spcPts val="1200"/>
              </a:spcAft>
              <a:buNone/>
              <a:defRPr sz="1200">
                <a:solidFill>
                  <a:schemeClr val="tx1"/>
                </a:solidFill>
                <a:latin typeface="+mj-lt"/>
              </a:defRPr>
            </a:lvl2pPr>
          </a:lstStyle>
          <a:p>
            <a:pPr lvl="0"/>
            <a:r>
              <a:rPr lang="en-GB"/>
              <a:t>Click to edit Master text styles</a:t>
            </a:r>
          </a:p>
          <a:p>
            <a:pPr lvl="1"/>
            <a:r>
              <a:rPr lang="en-GB"/>
              <a:t>Second level</a:t>
            </a:r>
          </a:p>
        </p:txBody>
      </p:sp>
      <p:sp>
        <p:nvSpPr>
          <p:cNvPr id="61" name="Text Placeholder 44">
            <a:extLst>
              <a:ext uri="{FF2B5EF4-FFF2-40B4-BE49-F238E27FC236}">
                <a16:creationId xmlns:a16="http://schemas.microsoft.com/office/drawing/2014/main" id="{9E112525-B6FE-A308-64A2-27FCF3C3F092}"/>
              </a:ext>
            </a:extLst>
          </p:cNvPr>
          <p:cNvSpPr>
            <a:spLocks noGrp="1"/>
          </p:cNvSpPr>
          <p:nvPr>
            <p:ph type="body" sz="quarter" idx="59"/>
          </p:nvPr>
        </p:nvSpPr>
        <p:spPr>
          <a:xfrm>
            <a:off x="8661725" y="4064324"/>
            <a:ext cx="1726058" cy="1766108"/>
          </a:xfrm>
          <a:prstGeom prst="rect">
            <a:avLst/>
          </a:prstGeom>
          <a:noFill/>
          <a:ln w="19050" cap="sq">
            <a:gradFill flip="none" rotWithShape="1">
              <a:gsLst>
                <a:gs pos="99000">
                  <a:schemeClr val="bg1">
                    <a:alpha val="0"/>
                  </a:schemeClr>
                </a:gs>
                <a:gs pos="100000">
                  <a:schemeClr val="tx1">
                    <a:lumMod val="75000"/>
                  </a:schemeClr>
                </a:gs>
              </a:gsLst>
              <a:lin ang="10800000" scaled="1"/>
              <a:tileRect/>
            </a:gradFill>
          </a:ln>
        </p:spPr>
        <p:txBody>
          <a:bodyPr lIns="108000" tIns="108000" rIns="108000" bIns="108000" anchor="b"/>
          <a:lstStyle>
            <a:lvl1pPr marL="0" indent="0">
              <a:spcBef>
                <a:spcPts val="0"/>
              </a:spcBef>
              <a:spcAft>
                <a:spcPts val="300"/>
              </a:spcAft>
              <a:buNone/>
              <a:defRPr sz="1200" b="1">
                <a:solidFill>
                  <a:schemeClr val="tx1"/>
                </a:solidFill>
                <a:latin typeface="+mj-lt"/>
              </a:defRPr>
            </a:lvl1pPr>
            <a:lvl2pPr marL="0" indent="0">
              <a:spcBef>
                <a:spcPts val="0"/>
              </a:spcBef>
              <a:spcAft>
                <a:spcPts val="1200"/>
              </a:spcAft>
              <a:buNone/>
              <a:defRPr sz="1200">
                <a:solidFill>
                  <a:schemeClr val="tx1"/>
                </a:solidFill>
                <a:latin typeface="+mj-lt"/>
              </a:defRPr>
            </a:lvl2pPr>
          </a:lstStyle>
          <a:p>
            <a:pPr lvl="0"/>
            <a:r>
              <a:rPr lang="en-GB"/>
              <a:t>Click to edit Master text styles</a:t>
            </a:r>
          </a:p>
          <a:p>
            <a:pPr lvl="1"/>
            <a:r>
              <a:rPr lang="en-GB"/>
              <a:t>Second level</a:t>
            </a:r>
          </a:p>
        </p:txBody>
      </p:sp>
      <p:sp>
        <p:nvSpPr>
          <p:cNvPr id="62" name="Text Placeholder 44">
            <a:extLst>
              <a:ext uri="{FF2B5EF4-FFF2-40B4-BE49-F238E27FC236}">
                <a16:creationId xmlns:a16="http://schemas.microsoft.com/office/drawing/2014/main" id="{F7EAC354-2874-928E-4AE4-91178E67D010}"/>
              </a:ext>
            </a:extLst>
          </p:cNvPr>
          <p:cNvSpPr>
            <a:spLocks noGrp="1"/>
          </p:cNvSpPr>
          <p:nvPr>
            <p:ph type="body" sz="quarter" idx="60"/>
          </p:nvPr>
        </p:nvSpPr>
        <p:spPr>
          <a:xfrm>
            <a:off x="10209867" y="1448555"/>
            <a:ext cx="1726058" cy="1726160"/>
          </a:xfrm>
          <a:prstGeom prst="rect">
            <a:avLst/>
          </a:prstGeom>
          <a:noFill/>
          <a:ln w="19050" cap="sq">
            <a:gradFill flip="none" rotWithShape="1">
              <a:gsLst>
                <a:gs pos="99000">
                  <a:schemeClr val="bg1">
                    <a:alpha val="0"/>
                  </a:schemeClr>
                </a:gs>
                <a:gs pos="100000">
                  <a:schemeClr val="tx1">
                    <a:lumMod val="75000"/>
                  </a:schemeClr>
                </a:gs>
              </a:gsLst>
              <a:lin ang="10800000" scaled="1"/>
              <a:tileRect/>
            </a:gradFill>
          </a:ln>
        </p:spPr>
        <p:txBody>
          <a:bodyPr lIns="108000" tIns="108000" rIns="108000" bIns="108000"/>
          <a:lstStyle>
            <a:lvl1pPr marL="0" indent="0">
              <a:spcBef>
                <a:spcPts val="0"/>
              </a:spcBef>
              <a:spcAft>
                <a:spcPts val="300"/>
              </a:spcAft>
              <a:buNone/>
              <a:defRPr sz="1200" b="1">
                <a:solidFill>
                  <a:schemeClr val="tx1"/>
                </a:solidFill>
                <a:latin typeface="+mj-lt"/>
              </a:defRPr>
            </a:lvl1pPr>
            <a:lvl2pPr marL="0" indent="0">
              <a:spcBef>
                <a:spcPts val="0"/>
              </a:spcBef>
              <a:spcAft>
                <a:spcPts val="1200"/>
              </a:spcAft>
              <a:buNone/>
              <a:defRPr sz="1200">
                <a:solidFill>
                  <a:schemeClr val="tx1"/>
                </a:solidFill>
                <a:latin typeface="+mj-lt"/>
              </a:defRPr>
            </a:lvl2pPr>
          </a:lstStyle>
          <a:p>
            <a:pPr lvl="0"/>
            <a:r>
              <a:rPr lang="en-GB"/>
              <a:t>Click to edit Master text styles</a:t>
            </a:r>
          </a:p>
          <a:p>
            <a:pPr lvl="1"/>
            <a:r>
              <a:rPr lang="en-GB"/>
              <a:t>Second level</a:t>
            </a:r>
          </a:p>
        </p:txBody>
      </p:sp>
      <p:sp>
        <p:nvSpPr>
          <p:cNvPr id="5" name="Marcador de número de diapositiva 5">
            <a:extLst>
              <a:ext uri="{FF2B5EF4-FFF2-40B4-BE49-F238E27FC236}">
                <a16:creationId xmlns:a16="http://schemas.microsoft.com/office/drawing/2014/main" id="{D1BFA677-5851-8E4C-D1AF-347FD829CF71}"/>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DCBCDAFB-5572-ABED-3A52-C13456C51697}"/>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EA6C1756-51A3-4C10-565F-6D632A3DB73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5ED1E7BD-CBC7-3907-BE89-D4B116A36436}"/>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E893E1B1-CBA0-5208-6451-F0027C44AEA5}"/>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5A425345-9A23-976F-0E66-9F5D69C6E0A6}"/>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22093542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5_Header &amp; Content ">
    <p:spTree>
      <p:nvGrpSpPr>
        <p:cNvPr id="1" name=""/>
        <p:cNvGrpSpPr/>
        <p:nvPr/>
      </p:nvGrpSpPr>
      <p:grpSpPr>
        <a:xfrm>
          <a:off x="0" y="0"/>
          <a:ext cx="0" cy="0"/>
          <a:chOff x="0" y="0"/>
          <a:chExt cx="0" cy="0"/>
        </a:xfrm>
      </p:grpSpPr>
      <p:sp>
        <p:nvSpPr>
          <p:cNvPr id="5" name="Marcador de número de diapositiva 5">
            <a:extLst>
              <a:ext uri="{FF2B5EF4-FFF2-40B4-BE49-F238E27FC236}">
                <a16:creationId xmlns:a16="http://schemas.microsoft.com/office/drawing/2014/main" id="{EFCC220C-C32E-CB88-81F6-64FC8E7DFBF2}"/>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66AFC5C4-C95B-9F69-1DB9-F261939AA730}"/>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BC62DE39-01E0-933E-0FE0-291D4B90387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1CE284A4-CCD4-1CF0-AE58-0F2BFF8C8670}"/>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EC006A9D-08AA-F7A6-EEAC-22E5EF236BFE}"/>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5C4B2100-66EA-9FF0-5C77-B496854D282A}"/>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21095328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35F5496-9645-F19E-30D3-B7B23BA8C64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s-ES"/>
          </a:p>
        </p:txBody>
      </p:sp>
      <p:sp>
        <p:nvSpPr>
          <p:cNvPr id="3" name="Vertical Text Placeholder 2">
            <a:extLst>
              <a:ext uri="{FF2B5EF4-FFF2-40B4-BE49-F238E27FC236}">
                <a16:creationId xmlns:a16="http://schemas.microsoft.com/office/drawing/2014/main" id="{C44AEA2C-0F1C-8F9A-E17C-34654FDF645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8624F2AC-DB1E-9710-B8D5-DF9BABBBF11C}"/>
              </a:ext>
            </a:extLst>
          </p:cNvPr>
          <p:cNvSpPr>
            <a:spLocks noGrp="1"/>
          </p:cNvSpPr>
          <p:nvPr>
            <p:ph type="dt" sz="half" idx="10"/>
          </p:nvPr>
        </p:nvSpPr>
        <p:spPr/>
        <p:txBody>
          <a:bodyPr/>
          <a:lstStyle/>
          <a:p>
            <a:fld id="{2936A72B-74AE-4828-B363-D54F043C4597}" type="datetimeFigureOut">
              <a:rPr lang="es-ES" smtClean="0"/>
              <a:t>03/12/2025</a:t>
            </a:fld>
            <a:endParaRPr lang="es-ES"/>
          </a:p>
        </p:txBody>
      </p:sp>
      <p:sp>
        <p:nvSpPr>
          <p:cNvPr id="5" name="Footer Placeholder 4">
            <a:extLst>
              <a:ext uri="{FF2B5EF4-FFF2-40B4-BE49-F238E27FC236}">
                <a16:creationId xmlns:a16="http://schemas.microsoft.com/office/drawing/2014/main" id="{172FBEA2-8369-43AF-CB31-95CBAAA3522D}"/>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5FA156EF-CCCC-07B1-78BA-003DD8C80007}"/>
              </a:ext>
            </a:extLst>
          </p:cNvPr>
          <p:cNvSpPr>
            <a:spLocks noGrp="1"/>
          </p:cNvSpPr>
          <p:nvPr>
            <p:ph type="sldNum" sz="quarter" idx="12"/>
          </p:nvPr>
        </p:nvSpPr>
        <p:spPr/>
        <p:txBody>
          <a:bodyPr/>
          <a:lstStyle/>
          <a:p>
            <a:fld id="{9CC58EAA-8CE3-4B47-B600-46B910A49F95}" type="slidenum">
              <a:rPr lang="es-ES" smtClean="0"/>
              <a:t>‹#›</a:t>
            </a:fld>
            <a:endParaRPr lang="es-ES"/>
          </a:p>
        </p:txBody>
      </p:sp>
    </p:spTree>
    <p:extLst>
      <p:ext uri="{BB962C8B-B14F-4D97-AF65-F5344CB8AC3E}">
        <p14:creationId xmlns:p14="http://schemas.microsoft.com/office/powerpoint/2010/main" val="283719902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0_Header &amp; Content Continents">
    <p:spTree>
      <p:nvGrpSpPr>
        <p:cNvPr id="1" name=""/>
        <p:cNvGrpSpPr/>
        <p:nvPr/>
      </p:nvGrpSpPr>
      <p:grpSpPr>
        <a:xfrm>
          <a:off x="0" y="0"/>
          <a:ext cx="0" cy="0"/>
          <a:chOff x="0" y="0"/>
          <a:chExt cx="0" cy="0"/>
        </a:xfrm>
      </p:grpSpPr>
      <p:sp>
        <p:nvSpPr>
          <p:cNvPr id="6" name="Marcador de tabla 11">
            <a:extLst>
              <a:ext uri="{FF2B5EF4-FFF2-40B4-BE49-F238E27FC236}">
                <a16:creationId xmlns:a16="http://schemas.microsoft.com/office/drawing/2014/main" id="{E4247FA5-46C6-7CAB-9B87-932CDB09C15D}"/>
              </a:ext>
            </a:extLst>
          </p:cNvPr>
          <p:cNvSpPr>
            <a:spLocks noGrp="1"/>
          </p:cNvSpPr>
          <p:nvPr>
            <p:ph type="tbl" sz="quarter" idx="48" hasCustomPrompt="1"/>
          </p:nvPr>
        </p:nvSpPr>
        <p:spPr>
          <a:xfrm>
            <a:off x="693939" y="1435100"/>
            <a:ext cx="10991650" cy="4657725"/>
          </a:xfrm>
          <a:prstGeom prst="rect">
            <a:avLst/>
          </a:prstGeom>
        </p:spPr>
        <p:txBody>
          <a:bodyPr/>
          <a:lstStyle>
            <a:lvl1pPr marL="0" indent="0" algn="ctr">
              <a:buNone/>
              <a:defRPr sz="1400">
                <a:latin typeface="+mj-lt"/>
              </a:defRPr>
            </a:lvl1pPr>
          </a:lstStyle>
          <a:p>
            <a:r>
              <a:rPr lang="es-ES" err="1"/>
              <a:t>Insert</a:t>
            </a:r>
            <a:r>
              <a:rPr lang="es-ES"/>
              <a:t> </a:t>
            </a:r>
            <a:r>
              <a:rPr lang="es-ES" err="1"/>
              <a:t>Tab</a:t>
            </a:r>
            <a:r>
              <a:rPr lang="es-ES"/>
              <a:t> Here</a:t>
            </a:r>
          </a:p>
        </p:txBody>
      </p:sp>
      <p:sp>
        <p:nvSpPr>
          <p:cNvPr id="8" name="Marcador de número de diapositiva 5">
            <a:extLst>
              <a:ext uri="{FF2B5EF4-FFF2-40B4-BE49-F238E27FC236}">
                <a16:creationId xmlns:a16="http://schemas.microsoft.com/office/drawing/2014/main" id="{75E56C11-292A-BF10-9BA3-D52DE30C48D7}"/>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pic>
        <p:nvPicPr>
          <p:cNvPr id="2" name="Gráfico 1">
            <a:extLst>
              <a:ext uri="{FF2B5EF4-FFF2-40B4-BE49-F238E27FC236}">
                <a16:creationId xmlns:a16="http://schemas.microsoft.com/office/drawing/2014/main" id="{4A3539BB-DC73-8E2F-CFF1-C413626F2A90}"/>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4" name="Título 1">
            <a:extLst>
              <a:ext uri="{FF2B5EF4-FFF2-40B4-BE49-F238E27FC236}">
                <a16:creationId xmlns:a16="http://schemas.microsoft.com/office/drawing/2014/main" id="{491D4BF5-34EB-3CBC-659D-6A2EE40D9B9D}"/>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5" name="Marcador de texto 14">
            <a:extLst>
              <a:ext uri="{FF2B5EF4-FFF2-40B4-BE49-F238E27FC236}">
                <a16:creationId xmlns:a16="http://schemas.microsoft.com/office/drawing/2014/main" id="{2E337E84-481A-1E39-95D2-D8F9D5C0B74D}"/>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7" name="Marcador de texto 14">
            <a:extLst>
              <a:ext uri="{FF2B5EF4-FFF2-40B4-BE49-F238E27FC236}">
                <a16:creationId xmlns:a16="http://schemas.microsoft.com/office/drawing/2014/main" id="{60336897-E16F-BF4B-1FAF-42C94B71FE9E}"/>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3" name="Footnotes">
            <a:extLst>
              <a:ext uri="{FF2B5EF4-FFF2-40B4-BE49-F238E27FC236}">
                <a16:creationId xmlns:a16="http://schemas.microsoft.com/office/drawing/2014/main" id="{F4200544-D26B-A9FC-1C97-D2FEE2B75060}"/>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spTree>
    <p:extLst>
      <p:ext uri="{BB962C8B-B14F-4D97-AF65-F5344CB8AC3E}">
        <p14:creationId xmlns:p14="http://schemas.microsoft.com/office/powerpoint/2010/main" val="7653171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ack cover slide 1">
    <p:spTree>
      <p:nvGrpSpPr>
        <p:cNvPr id="1" name=""/>
        <p:cNvGrpSpPr/>
        <p:nvPr/>
      </p:nvGrpSpPr>
      <p:grpSpPr>
        <a:xfrm>
          <a:off x="0" y="0"/>
          <a:ext cx="0" cy="0"/>
          <a:chOff x="0" y="0"/>
          <a:chExt cx="0" cy="0"/>
        </a:xfrm>
      </p:grpSpPr>
      <p:pic>
        <p:nvPicPr>
          <p:cNvPr id="11" name="Picture 10" descr="A road with cars on it&#10;&#10;Description automatically generated">
            <a:extLst>
              <a:ext uri="{FF2B5EF4-FFF2-40B4-BE49-F238E27FC236}">
                <a16:creationId xmlns:a16="http://schemas.microsoft.com/office/drawing/2014/main" id="{0AA77C48-716B-4771-7CB4-C775C9555D0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1"/>
            <a:ext cx="12192000" cy="6967145"/>
          </a:xfrm>
          <a:prstGeom prst="rect">
            <a:avLst/>
          </a:prstGeom>
        </p:spPr>
      </p:pic>
      <p:sp>
        <p:nvSpPr>
          <p:cNvPr id="4" name="TextBox 20">
            <a:extLst>
              <a:ext uri="{FF2B5EF4-FFF2-40B4-BE49-F238E27FC236}">
                <a16:creationId xmlns:a16="http://schemas.microsoft.com/office/drawing/2014/main" id="{2BC5A094-F52B-D930-5333-EFE00CBFC2D9}"/>
              </a:ext>
            </a:extLst>
          </p:cNvPr>
          <p:cNvSpPr txBox="1"/>
          <p:nvPr userDrawn="1">
            <p:custDataLst>
              <p:tags r:id="rId1"/>
            </p:custDataLst>
          </p:nvPr>
        </p:nvSpPr>
        <p:spPr>
          <a:xfrm>
            <a:off x="10824088" y="130264"/>
            <a:ext cx="1189498" cy="161583"/>
          </a:xfrm>
          <a:prstGeom prst="rect">
            <a:avLst/>
          </a:prstGeom>
        </p:spPr>
        <p:txBody>
          <a:bodyPr wrap="square" lIns="0" tIns="0" rIns="0" bIns="0">
            <a:spAutoFit/>
          </a:bodyPr>
          <a:lstStyle/>
          <a:p>
            <a:pPr algn="r"/>
            <a:r>
              <a:rPr lang="en-GB" sz="1050" kern="1200">
                <a:solidFill>
                  <a:schemeClr val="bg1"/>
                </a:solidFill>
                <a:latin typeface="Santander Headline" panose="020B0504020201020104" pitchFamily="34" charset="0"/>
                <a:ea typeface="+mn-ea"/>
                <a:cs typeface="+mn-cs"/>
              </a:rPr>
              <a:t>Confidential</a:t>
            </a:r>
          </a:p>
        </p:txBody>
      </p:sp>
      <p:sp>
        <p:nvSpPr>
          <p:cNvPr id="3" name="Rectangle 2">
            <a:extLst>
              <a:ext uri="{FF2B5EF4-FFF2-40B4-BE49-F238E27FC236}">
                <a16:creationId xmlns:a16="http://schemas.microsoft.com/office/drawing/2014/main" id="{87CB03CC-02AD-14EA-9A73-9346C5E34970}"/>
              </a:ext>
            </a:extLst>
          </p:cNvPr>
          <p:cNvSpPr>
            <a:spLocks noChangeArrowheads="1"/>
          </p:cNvSpPr>
          <p:nvPr userDrawn="1"/>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15" name="Rectángulo 4">
            <a:extLst>
              <a:ext uri="{FF2B5EF4-FFF2-40B4-BE49-F238E27FC236}">
                <a16:creationId xmlns:a16="http://schemas.microsoft.com/office/drawing/2014/main" id="{56E299E8-9677-A29B-4B9E-F32246CC2495}"/>
              </a:ext>
            </a:extLst>
          </p:cNvPr>
          <p:cNvSpPr/>
          <p:nvPr userDrawn="1"/>
        </p:nvSpPr>
        <p:spPr>
          <a:xfrm>
            <a:off x="0" y="1192368"/>
            <a:ext cx="6164752" cy="5774776"/>
          </a:xfrm>
          <a:prstGeom prst="rect">
            <a:avLst/>
          </a:prstGeom>
          <a:gradFill>
            <a:gsLst>
              <a:gs pos="100000">
                <a:srgbClr val="8C0014"/>
              </a:gs>
              <a:gs pos="51000">
                <a:srgbClr val="64001E">
                  <a:alpha val="0"/>
                </a:srgb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pic>
        <p:nvPicPr>
          <p:cNvPr id="16" name="Gráfico 5">
            <a:extLst>
              <a:ext uri="{FF2B5EF4-FFF2-40B4-BE49-F238E27FC236}">
                <a16:creationId xmlns:a16="http://schemas.microsoft.com/office/drawing/2014/main" id="{84834D0D-2591-98F2-08D6-157BF3001C19}"/>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51850" y="5860646"/>
            <a:ext cx="2201021" cy="413314"/>
          </a:xfrm>
          <a:prstGeom prst="rect">
            <a:avLst/>
          </a:prstGeom>
        </p:spPr>
      </p:pic>
      <p:sp>
        <p:nvSpPr>
          <p:cNvPr id="21" name="Text Placeholder 18">
            <a:extLst>
              <a:ext uri="{FF2B5EF4-FFF2-40B4-BE49-F238E27FC236}">
                <a16:creationId xmlns:a16="http://schemas.microsoft.com/office/drawing/2014/main" id="{B2EBC0E1-E075-533D-E635-A58CE14561F3}"/>
              </a:ext>
            </a:extLst>
          </p:cNvPr>
          <p:cNvSpPr>
            <a:spLocks noGrp="1"/>
          </p:cNvSpPr>
          <p:nvPr>
            <p:ph type="body" sz="quarter" idx="10"/>
          </p:nvPr>
        </p:nvSpPr>
        <p:spPr>
          <a:xfrm>
            <a:off x="688285" y="1571102"/>
            <a:ext cx="4970237" cy="4257675"/>
          </a:xfrm>
          <a:prstGeom prst="rect">
            <a:avLst/>
          </a:prstGeom>
        </p:spPr>
        <p:txBody>
          <a:bodyPr/>
          <a:lstStyle>
            <a:lvl1pPr marL="0" indent="0">
              <a:spcBef>
                <a:spcPts val="0"/>
              </a:spcBef>
              <a:spcAft>
                <a:spcPts val="1200"/>
              </a:spcAft>
              <a:buNone/>
              <a:defRPr sz="4000">
                <a:solidFill>
                  <a:schemeClr val="bg1"/>
                </a:solidFill>
                <a:latin typeface="Santander Headline" panose="020B0504020201020104" pitchFamily="34" charset="0"/>
              </a:defRPr>
            </a:lvl1pPr>
            <a:lvl2pPr marL="0" indent="0">
              <a:lnSpc>
                <a:spcPct val="100000"/>
              </a:lnSpc>
              <a:spcBef>
                <a:spcPts val="1200"/>
              </a:spcBef>
              <a:spcAft>
                <a:spcPts val="0"/>
              </a:spcAft>
              <a:buNone/>
              <a:defRPr sz="1200">
                <a:solidFill>
                  <a:schemeClr val="bg1"/>
                </a:solidFill>
              </a:defRPr>
            </a:lvl2pPr>
            <a:lvl3pPr marL="0" indent="0">
              <a:lnSpc>
                <a:spcPct val="100000"/>
              </a:lnSpc>
              <a:spcBef>
                <a:spcPts val="3000"/>
              </a:spcBef>
              <a:buNone/>
              <a:defRPr>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0048654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ack cover slide 2">
    <p:bg>
      <p:bgPr>
        <a:solidFill>
          <a:schemeClr val="accent5">
            <a:lumMod val="40000"/>
            <a:lumOff val="60000"/>
          </a:schemeClr>
        </a:solidFill>
        <a:effectLst/>
      </p:bgPr>
    </p:bg>
    <p:spTree>
      <p:nvGrpSpPr>
        <p:cNvPr id="1" name=""/>
        <p:cNvGrpSpPr/>
        <p:nvPr/>
      </p:nvGrpSpPr>
      <p:grpSpPr>
        <a:xfrm>
          <a:off x="0" y="0"/>
          <a:ext cx="0" cy="0"/>
          <a:chOff x="0" y="0"/>
          <a:chExt cx="0" cy="0"/>
        </a:xfrm>
      </p:grpSpPr>
      <p:sp>
        <p:nvSpPr>
          <p:cNvPr id="4" name="Rectángulo 4">
            <a:extLst>
              <a:ext uri="{FF2B5EF4-FFF2-40B4-BE49-F238E27FC236}">
                <a16:creationId xmlns:a16="http://schemas.microsoft.com/office/drawing/2014/main" id="{189617B8-77F5-6CF2-A80B-A7FC39D44C2B}"/>
              </a:ext>
            </a:extLst>
          </p:cNvPr>
          <p:cNvSpPr/>
          <p:nvPr userDrawn="1"/>
        </p:nvSpPr>
        <p:spPr>
          <a:xfrm>
            <a:off x="-68752" y="1192762"/>
            <a:ext cx="6164752" cy="5774776"/>
          </a:xfrm>
          <a:prstGeom prst="rect">
            <a:avLst/>
          </a:prstGeom>
          <a:gradFill>
            <a:gsLst>
              <a:gs pos="100000">
                <a:schemeClr val="bg1"/>
              </a:gs>
              <a:gs pos="63000">
                <a:schemeClr val="bg1">
                  <a:alpha val="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3" name="Rectangle 2">
            <a:extLst>
              <a:ext uri="{FF2B5EF4-FFF2-40B4-BE49-F238E27FC236}">
                <a16:creationId xmlns:a16="http://schemas.microsoft.com/office/drawing/2014/main" id="{87CB03CC-02AD-14EA-9A73-9346C5E34970}"/>
              </a:ext>
            </a:extLst>
          </p:cNvPr>
          <p:cNvSpPr>
            <a:spLocks noChangeArrowheads="1"/>
          </p:cNvSpPr>
          <p:nvPr userDrawn="1"/>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pic>
        <p:nvPicPr>
          <p:cNvPr id="16" name="Gráfico 5">
            <a:extLst>
              <a:ext uri="{FF2B5EF4-FFF2-40B4-BE49-F238E27FC236}">
                <a16:creationId xmlns:a16="http://schemas.microsoft.com/office/drawing/2014/main" id="{84834D0D-2591-98F2-08D6-157BF3001C1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1850" y="5860646"/>
            <a:ext cx="2201021" cy="413314"/>
          </a:xfrm>
          <a:prstGeom prst="rect">
            <a:avLst/>
          </a:prstGeom>
        </p:spPr>
      </p:pic>
      <p:sp>
        <p:nvSpPr>
          <p:cNvPr id="21" name="Text Placeholder 18">
            <a:extLst>
              <a:ext uri="{FF2B5EF4-FFF2-40B4-BE49-F238E27FC236}">
                <a16:creationId xmlns:a16="http://schemas.microsoft.com/office/drawing/2014/main" id="{B2EBC0E1-E075-533D-E635-A58CE14561F3}"/>
              </a:ext>
            </a:extLst>
          </p:cNvPr>
          <p:cNvSpPr>
            <a:spLocks noGrp="1"/>
          </p:cNvSpPr>
          <p:nvPr>
            <p:ph type="body" sz="quarter" idx="10"/>
          </p:nvPr>
        </p:nvSpPr>
        <p:spPr>
          <a:xfrm>
            <a:off x="688285" y="1571102"/>
            <a:ext cx="4970237" cy="4257675"/>
          </a:xfrm>
          <a:prstGeom prst="rect">
            <a:avLst/>
          </a:prstGeom>
        </p:spPr>
        <p:txBody>
          <a:bodyPr/>
          <a:lstStyle>
            <a:lvl1pPr marL="0" indent="0">
              <a:spcBef>
                <a:spcPts val="0"/>
              </a:spcBef>
              <a:spcAft>
                <a:spcPts val="1200"/>
              </a:spcAft>
              <a:buNone/>
              <a:defRPr sz="4000">
                <a:solidFill>
                  <a:schemeClr val="tx2"/>
                </a:solidFill>
                <a:latin typeface="Santander Headline" panose="020B0504020201020104" pitchFamily="34" charset="0"/>
              </a:defRPr>
            </a:lvl1pPr>
            <a:lvl2pPr marL="0" indent="0">
              <a:lnSpc>
                <a:spcPct val="100000"/>
              </a:lnSpc>
              <a:spcBef>
                <a:spcPts val="1200"/>
              </a:spcBef>
              <a:spcAft>
                <a:spcPts val="0"/>
              </a:spcAft>
              <a:buNone/>
              <a:defRPr sz="1200">
                <a:solidFill>
                  <a:schemeClr val="tx2"/>
                </a:solidFill>
              </a:defRPr>
            </a:lvl2pPr>
            <a:lvl3pPr marL="0" indent="0">
              <a:lnSpc>
                <a:spcPct val="100000"/>
              </a:lnSpc>
              <a:spcBef>
                <a:spcPts val="3000"/>
              </a:spcBef>
              <a:buNone/>
              <a:defRPr>
                <a:solidFill>
                  <a:schemeClr val="tx2"/>
                </a:solidFill>
              </a:defRPr>
            </a:lvl3pPr>
            <a:lvl4pPr marL="1371600" indent="0">
              <a:buNone/>
              <a:defRPr sz="1200">
                <a:solidFill>
                  <a:schemeClr val="tx2"/>
                </a:solidFill>
              </a:defRPr>
            </a:lvl4pPr>
            <a:lvl5pPr marL="1828800" indent="0">
              <a:buNone/>
              <a:defRPr sz="1200">
                <a:solidFill>
                  <a:schemeClr val="tx2"/>
                </a:solidFill>
              </a:defRPr>
            </a:lvl5pPr>
          </a:lstStyle>
          <a:p>
            <a:pPr lvl="0"/>
            <a:r>
              <a:rPr lang="en-GB"/>
              <a:t>Click to edit Master text styles</a:t>
            </a:r>
          </a:p>
        </p:txBody>
      </p:sp>
    </p:spTree>
    <p:extLst>
      <p:ext uri="{BB962C8B-B14F-4D97-AF65-F5344CB8AC3E}">
        <p14:creationId xmlns:p14="http://schemas.microsoft.com/office/powerpoint/2010/main" val="42832556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Content &amp; Chart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3205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9224E-6D9A-F20A-E95C-3BD86FD1C342}"/>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55D3C075-3634-BEB1-AB31-623AD293F0B4}"/>
              </a:ext>
            </a:extLst>
          </p:cNvPr>
          <p:cNvSpPr>
            <a:spLocks noGrp="1"/>
          </p:cNvSpPr>
          <p:nvPr>
            <p:ph type="dt" sz="half" idx="10"/>
          </p:nvPr>
        </p:nvSpPr>
        <p:spPr/>
        <p:txBody>
          <a:bodyPr/>
          <a:lstStyle/>
          <a:p>
            <a:r>
              <a:rPr lang="es-ES"/>
              <a:t>Noviembre 2024</a:t>
            </a:r>
            <a:endParaRPr lang="en-US"/>
          </a:p>
        </p:txBody>
      </p:sp>
      <p:sp>
        <p:nvSpPr>
          <p:cNvPr id="4" name="Footer Placeholder 3">
            <a:extLst>
              <a:ext uri="{FF2B5EF4-FFF2-40B4-BE49-F238E27FC236}">
                <a16:creationId xmlns:a16="http://schemas.microsoft.com/office/drawing/2014/main" id="{45657D48-2016-6562-8C30-A2CF18ED1733}"/>
              </a:ext>
            </a:extLst>
          </p:cNvPr>
          <p:cNvSpPr>
            <a:spLocks noGrp="1"/>
          </p:cNvSpPr>
          <p:nvPr>
            <p:ph type="ftr" sz="quarter" idx="11"/>
          </p:nvPr>
        </p:nvSpPr>
        <p:spPr/>
        <p:txBody>
          <a:bodyPr/>
          <a:lstStyle/>
          <a:p>
            <a:r>
              <a:rPr lang="en-US"/>
              <a:t>NTT DATA, Inc.</a:t>
            </a:r>
          </a:p>
        </p:txBody>
      </p:sp>
      <p:sp>
        <p:nvSpPr>
          <p:cNvPr id="5" name="Slide Number Placeholder 4">
            <a:extLst>
              <a:ext uri="{FF2B5EF4-FFF2-40B4-BE49-F238E27FC236}">
                <a16:creationId xmlns:a16="http://schemas.microsoft.com/office/drawing/2014/main" id="{851B9585-B814-96B8-821F-CFBD1EE522B1}"/>
              </a:ext>
            </a:extLst>
          </p:cNvPr>
          <p:cNvSpPr>
            <a:spLocks noGrp="1"/>
          </p:cNvSpPr>
          <p:nvPr>
            <p:ph type="sldNum" sz="quarter" idx="12"/>
          </p:nvPr>
        </p:nvSpPr>
        <p:spPr>
          <a:xfrm>
            <a:off x="5562600" y="6400800"/>
            <a:ext cx="1066800" cy="304800"/>
          </a:xfrm>
          <a:prstGeom prst="rect">
            <a:avLst/>
          </a:prstGeom>
        </p:spPr>
        <p:txBody>
          <a:bodyPr/>
          <a:lstStyle/>
          <a:p>
            <a:pPr algn="ctr"/>
            <a:fld id="{60D39823-8059-4D49-BD26-6D32C31B8621}" type="slidenum">
              <a:rPr lang="en-US" smtClean="0"/>
              <a:pPr algn="ctr"/>
              <a:t>‹#›</a:t>
            </a:fld>
            <a:endParaRPr lang="en-US"/>
          </a:p>
        </p:txBody>
      </p:sp>
    </p:spTree>
    <p:extLst>
      <p:ext uri="{BB962C8B-B14F-4D97-AF65-F5344CB8AC3E}">
        <p14:creationId xmlns:p14="http://schemas.microsoft.com/office/powerpoint/2010/main" val="324274857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1 Column Body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1A231-5EDC-C1A1-4ABB-BC6DA52F4EC1}"/>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DC224402-4AF5-E408-D3B7-C91183711897}"/>
              </a:ext>
            </a:extLst>
          </p:cNvPr>
          <p:cNvSpPr>
            <a:spLocks noGrp="1"/>
          </p:cNvSpPr>
          <p:nvPr>
            <p:ph type="dt" sz="half" idx="10"/>
          </p:nvPr>
        </p:nvSpPr>
        <p:spPr/>
        <p:txBody>
          <a:bodyPr/>
          <a:lstStyle/>
          <a:p>
            <a:r>
              <a:rPr lang="es-ES"/>
              <a:t>Noviembre 2024</a:t>
            </a:r>
            <a:endParaRPr lang="en-US"/>
          </a:p>
        </p:txBody>
      </p:sp>
      <p:sp>
        <p:nvSpPr>
          <p:cNvPr id="4" name="Footer Placeholder 3">
            <a:extLst>
              <a:ext uri="{FF2B5EF4-FFF2-40B4-BE49-F238E27FC236}">
                <a16:creationId xmlns:a16="http://schemas.microsoft.com/office/drawing/2014/main" id="{DEDB1DA6-2C96-66B0-2A4C-85DA50585493}"/>
              </a:ext>
            </a:extLst>
          </p:cNvPr>
          <p:cNvSpPr>
            <a:spLocks noGrp="1"/>
          </p:cNvSpPr>
          <p:nvPr>
            <p:ph type="ftr" sz="quarter" idx="11"/>
          </p:nvPr>
        </p:nvSpPr>
        <p:spPr/>
        <p:txBody>
          <a:bodyPr/>
          <a:lstStyle/>
          <a:p>
            <a:r>
              <a:rPr lang="en-US"/>
              <a:t>NTT DATA, Inc.</a:t>
            </a:r>
          </a:p>
        </p:txBody>
      </p:sp>
      <p:sp>
        <p:nvSpPr>
          <p:cNvPr id="5" name="Slide Number Placeholder 4">
            <a:extLst>
              <a:ext uri="{FF2B5EF4-FFF2-40B4-BE49-F238E27FC236}">
                <a16:creationId xmlns:a16="http://schemas.microsoft.com/office/drawing/2014/main" id="{E2979F26-3C27-4303-6B8D-77E75E532965}"/>
              </a:ext>
            </a:extLst>
          </p:cNvPr>
          <p:cNvSpPr>
            <a:spLocks noGrp="1"/>
          </p:cNvSpPr>
          <p:nvPr>
            <p:ph type="sldNum" sz="quarter" idx="12"/>
          </p:nvPr>
        </p:nvSpPr>
        <p:spPr>
          <a:xfrm>
            <a:off x="5562600" y="6400800"/>
            <a:ext cx="1066800" cy="304800"/>
          </a:xfrm>
          <a:prstGeom prst="rect">
            <a:avLst/>
          </a:prstGeom>
        </p:spPr>
        <p:txBody>
          <a:bodyPr/>
          <a:lstStyle/>
          <a:p>
            <a:pPr algn="ctr"/>
            <a:fld id="{60D39823-8059-4D49-BD26-6D32C31B8621}" type="slidenum">
              <a:rPr lang="en-US" smtClean="0"/>
              <a:pPr algn="ctr"/>
              <a:t>‹#›</a:t>
            </a:fld>
            <a:endParaRPr lang="en-US"/>
          </a:p>
        </p:txBody>
      </p:sp>
      <p:sp>
        <p:nvSpPr>
          <p:cNvPr id="7" name="Content Placeholder 6">
            <a:extLst>
              <a:ext uri="{FF2B5EF4-FFF2-40B4-BE49-F238E27FC236}">
                <a16:creationId xmlns:a16="http://schemas.microsoft.com/office/drawing/2014/main" id="{2D21A092-B787-801E-8664-20954CF6809B}"/>
              </a:ext>
            </a:extLst>
          </p:cNvPr>
          <p:cNvSpPr>
            <a:spLocks noGrp="1"/>
          </p:cNvSpPr>
          <p:nvPr>
            <p:ph sz="quarter" idx="13"/>
          </p:nvPr>
        </p:nvSpPr>
        <p:spPr>
          <a:xfrm>
            <a:off x="381000" y="1371600"/>
            <a:ext cx="11430000" cy="487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57489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itle, 2 Column Body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066817-B6CF-A2DE-966F-DB9281D305B8}"/>
              </a:ext>
            </a:extLst>
          </p:cNvPr>
          <p:cNvSpPr>
            <a:spLocks noGrp="1"/>
          </p:cNvSpPr>
          <p:nvPr>
            <p:ph sz="half" idx="1"/>
          </p:nvPr>
        </p:nvSpPr>
        <p:spPr>
          <a:xfrm>
            <a:off x="381000" y="1371600"/>
            <a:ext cx="5562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27829AD-F282-6D19-1BDE-62A372EE4637}"/>
              </a:ext>
            </a:extLst>
          </p:cNvPr>
          <p:cNvSpPr>
            <a:spLocks noGrp="1"/>
          </p:cNvSpPr>
          <p:nvPr>
            <p:ph sz="half" idx="2"/>
          </p:nvPr>
        </p:nvSpPr>
        <p:spPr>
          <a:xfrm>
            <a:off x="6248400" y="1371600"/>
            <a:ext cx="5562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DCFB687-132C-1CA9-8A9A-779EFBBCE80B}"/>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5" name="Date Placeholder 4">
            <a:extLst>
              <a:ext uri="{FF2B5EF4-FFF2-40B4-BE49-F238E27FC236}">
                <a16:creationId xmlns:a16="http://schemas.microsoft.com/office/drawing/2014/main" id="{1179F7A9-35D1-1344-0A60-0E8C3F562CD9}"/>
              </a:ext>
            </a:extLst>
          </p:cNvPr>
          <p:cNvSpPr>
            <a:spLocks noGrp="1"/>
          </p:cNvSpPr>
          <p:nvPr>
            <p:ph type="dt" sz="half" idx="10"/>
          </p:nvPr>
        </p:nvSpPr>
        <p:spPr/>
        <p:txBody>
          <a:bodyPr/>
          <a:lstStyle/>
          <a:p>
            <a:r>
              <a:rPr lang="es-ES"/>
              <a:t>Noviembre 2024</a:t>
            </a:r>
            <a:endParaRPr lang="en-US"/>
          </a:p>
        </p:txBody>
      </p:sp>
      <p:sp>
        <p:nvSpPr>
          <p:cNvPr id="6" name="Footer Placeholder 5">
            <a:extLst>
              <a:ext uri="{FF2B5EF4-FFF2-40B4-BE49-F238E27FC236}">
                <a16:creationId xmlns:a16="http://schemas.microsoft.com/office/drawing/2014/main" id="{CAE9646E-BBCC-2CA0-9416-FFBF3870D6AE}"/>
              </a:ext>
            </a:extLst>
          </p:cNvPr>
          <p:cNvSpPr>
            <a:spLocks noGrp="1"/>
          </p:cNvSpPr>
          <p:nvPr>
            <p:ph type="ftr" sz="quarter" idx="11"/>
          </p:nvPr>
        </p:nvSpPr>
        <p:spPr>
          <a:xfrm>
            <a:off x="1371600" y="6400800"/>
            <a:ext cx="4114800" cy="304800"/>
          </a:xfrm>
          <a:prstGeom prst="rect">
            <a:avLst/>
          </a:prstGeom>
        </p:spPr>
        <p:txBody>
          <a:bodyPr/>
          <a:lstStyle/>
          <a:p>
            <a:r>
              <a:rPr lang="en-US"/>
              <a:t>NTT DATA, Inc.</a:t>
            </a:r>
          </a:p>
        </p:txBody>
      </p:sp>
      <p:sp>
        <p:nvSpPr>
          <p:cNvPr id="7" name="Slide Number Placeholder 6">
            <a:extLst>
              <a:ext uri="{FF2B5EF4-FFF2-40B4-BE49-F238E27FC236}">
                <a16:creationId xmlns:a16="http://schemas.microsoft.com/office/drawing/2014/main" id="{EFFA3CBC-D481-CBC2-5EFC-A4CAE0345F5B}"/>
              </a:ext>
            </a:extLst>
          </p:cNvPr>
          <p:cNvSpPr>
            <a:spLocks noGrp="1"/>
          </p:cNvSpPr>
          <p:nvPr>
            <p:ph type="sldNum" sz="quarter" idx="12"/>
          </p:nvPr>
        </p:nvSpPr>
        <p:spPr>
          <a:xfrm>
            <a:off x="5562600" y="6400800"/>
            <a:ext cx="1066800" cy="304800"/>
          </a:xfrm>
          <a:prstGeom prst="rect">
            <a:avLst/>
          </a:prstGeom>
        </p:spPr>
        <p:txBody>
          <a:bodyPr/>
          <a:lstStyle>
            <a:lvl1pPr algn="ctr">
              <a:defRPr/>
            </a:lvl1pPr>
          </a:lstStyle>
          <a:p>
            <a:fld id="{60D39823-8059-4D49-BD26-6D32C31B8621}" type="slidenum">
              <a:rPr lang="en-US" smtClean="0"/>
              <a:pPr/>
              <a:t>‹#›</a:t>
            </a:fld>
            <a:endParaRPr lang="en-US"/>
          </a:p>
        </p:txBody>
      </p:sp>
    </p:spTree>
    <p:extLst>
      <p:ext uri="{BB962C8B-B14F-4D97-AF65-F5344CB8AC3E}">
        <p14:creationId xmlns:p14="http://schemas.microsoft.com/office/powerpoint/2010/main" val="191838550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3 Column Body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066817-B6CF-A2DE-966F-DB9281D305B8}"/>
              </a:ext>
            </a:extLst>
          </p:cNvPr>
          <p:cNvSpPr>
            <a:spLocks noGrp="1"/>
          </p:cNvSpPr>
          <p:nvPr>
            <p:ph sz="half" idx="1"/>
          </p:nvPr>
        </p:nvSpPr>
        <p:spPr>
          <a:xfrm>
            <a:off x="381000" y="1371600"/>
            <a:ext cx="3657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27829AD-F282-6D19-1BDE-62A372EE4637}"/>
              </a:ext>
            </a:extLst>
          </p:cNvPr>
          <p:cNvSpPr>
            <a:spLocks noGrp="1"/>
          </p:cNvSpPr>
          <p:nvPr>
            <p:ph sz="half" idx="2"/>
          </p:nvPr>
        </p:nvSpPr>
        <p:spPr>
          <a:xfrm>
            <a:off x="4267200" y="1371600"/>
            <a:ext cx="3657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3BCA8BAD-045F-5449-26C8-1CC7E5D921AD}"/>
              </a:ext>
            </a:extLst>
          </p:cNvPr>
          <p:cNvSpPr>
            <a:spLocks noGrp="1"/>
          </p:cNvSpPr>
          <p:nvPr>
            <p:ph sz="half" idx="13"/>
          </p:nvPr>
        </p:nvSpPr>
        <p:spPr>
          <a:xfrm>
            <a:off x="8153400" y="1371600"/>
            <a:ext cx="3657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DCFB687-132C-1CA9-8A9A-779EFBBCE80B}"/>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5" name="Date Placeholder 4">
            <a:extLst>
              <a:ext uri="{FF2B5EF4-FFF2-40B4-BE49-F238E27FC236}">
                <a16:creationId xmlns:a16="http://schemas.microsoft.com/office/drawing/2014/main" id="{1179F7A9-35D1-1344-0A60-0E8C3F562CD9}"/>
              </a:ext>
            </a:extLst>
          </p:cNvPr>
          <p:cNvSpPr>
            <a:spLocks noGrp="1"/>
          </p:cNvSpPr>
          <p:nvPr>
            <p:ph type="dt" sz="half" idx="10"/>
          </p:nvPr>
        </p:nvSpPr>
        <p:spPr/>
        <p:txBody>
          <a:bodyPr/>
          <a:lstStyle/>
          <a:p>
            <a:r>
              <a:rPr lang="es-ES"/>
              <a:t>Noviembre 2024</a:t>
            </a:r>
            <a:endParaRPr lang="en-US"/>
          </a:p>
        </p:txBody>
      </p:sp>
      <p:sp>
        <p:nvSpPr>
          <p:cNvPr id="6" name="Footer Placeholder 5">
            <a:extLst>
              <a:ext uri="{FF2B5EF4-FFF2-40B4-BE49-F238E27FC236}">
                <a16:creationId xmlns:a16="http://schemas.microsoft.com/office/drawing/2014/main" id="{CAE9646E-BBCC-2CA0-9416-FFBF3870D6AE}"/>
              </a:ext>
            </a:extLst>
          </p:cNvPr>
          <p:cNvSpPr>
            <a:spLocks noGrp="1"/>
          </p:cNvSpPr>
          <p:nvPr>
            <p:ph type="ftr" sz="quarter" idx="11"/>
          </p:nvPr>
        </p:nvSpPr>
        <p:spPr>
          <a:xfrm>
            <a:off x="1371600" y="6400800"/>
            <a:ext cx="4114800" cy="304800"/>
          </a:xfrm>
          <a:prstGeom prst="rect">
            <a:avLst/>
          </a:prstGeom>
        </p:spPr>
        <p:txBody>
          <a:bodyPr/>
          <a:lstStyle/>
          <a:p>
            <a:r>
              <a:rPr lang="en-US"/>
              <a:t>NTT DATA, Inc.</a:t>
            </a:r>
          </a:p>
        </p:txBody>
      </p:sp>
      <p:sp>
        <p:nvSpPr>
          <p:cNvPr id="7" name="Slide Number Placeholder 6">
            <a:extLst>
              <a:ext uri="{FF2B5EF4-FFF2-40B4-BE49-F238E27FC236}">
                <a16:creationId xmlns:a16="http://schemas.microsoft.com/office/drawing/2014/main" id="{EFFA3CBC-D481-CBC2-5EFC-A4CAE0345F5B}"/>
              </a:ext>
            </a:extLst>
          </p:cNvPr>
          <p:cNvSpPr>
            <a:spLocks noGrp="1"/>
          </p:cNvSpPr>
          <p:nvPr>
            <p:ph type="sldNum" sz="quarter" idx="12"/>
          </p:nvPr>
        </p:nvSpPr>
        <p:spPr>
          <a:xfrm>
            <a:off x="5562600" y="6400800"/>
            <a:ext cx="1066800" cy="304800"/>
          </a:xfrm>
          <a:prstGeom prst="rect">
            <a:avLst/>
          </a:prstGeom>
        </p:spPr>
        <p:txBody>
          <a:bodyPr/>
          <a:lstStyle>
            <a:lvl1pPr algn="ctr">
              <a:defRPr/>
            </a:lvl1pPr>
          </a:lstStyle>
          <a:p>
            <a:fld id="{60D39823-8059-4D49-BD26-6D32C31B8621}" type="slidenum">
              <a:rPr lang="en-US" smtClean="0"/>
              <a:pPr/>
              <a:t>‹#›</a:t>
            </a:fld>
            <a:endParaRPr lang="en-US"/>
          </a:p>
        </p:txBody>
      </p:sp>
    </p:spTree>
    <p:extLst>
      <p:ext uri="{BB962C8B-B14F-4D97-AF65-F5344CB8AC3E}">
        <p14:creationId xmlns:p14="http://schemas.microsoft.com/office/powerpoint/2010/main" val="60663637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838200"/>
            <a:ext cx="11430000" cy="685800"/>
          </a:xfrm>
        </p:spPr>
        <p:txBody>
          <a:bodyPr>
            <a:noAutofit/>
          </a:bodyPr>
          <a:lstStyle>
            <a:lvl1pPr marL="0" indent="0">
              <a:buNone/>
              <a:defRPr lang="en-US" sz="2000" kern="1200" dirty="0" smtClean="0">
                <a:solidFill>
                  <a:schemeClr val="bg2"/>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US"/>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3B3B26C9-4CC7-EA8C-EBD1-615FCBB4A9FA}"/>
              </a:ext>
            </a:extLst>
          </p:cNvPr>
          <p:cNvSpPr>
            <a:spLocks noGrp="1"/>
          </p:cNvSpPr>
          <p:nvPr>
            <p:ph type="dt" sz="half" idx="10"/>
          </p:nvPr>
        </p:nvSpPr>
        <p:spPr/>
        <p:txBody>
          <a:bodyPr/>
          <a:lstStyle/>
          <a:p>
            <a:r>
              <a:rPr lang="es-ES" err="1"/>
              <a:t>JNoviembre</a:t>
            </a:r>
            <a:r>
              <a:rPr lang="es-ES"/>
              <a:t> 2024</a:t>
            </a:r>
            <a:endParaRPr lang="en-US"/>
          </a:p>
        </p:txBody>
      </p:sp>
      <p:sp>
        <p:nvSpPr>
          <p:cNvPr id="4" name="Footer Placeholder 3">
            <a:extLst>
              <a:ext uri="{FF2B5EF4-FFF2-40B4-BE49-F238E27FC236}">
                <a16:creationId xmlns:a16="http://schemas.microsoft.com/office/drawing/2014/main" id="{53161E99-54BE-C3A5-B54E-49B9C7224B09}"/>
              </a:ext>
            </a:extLst>
          </p:cNvPr>
          <p:cNvSpPr>
            <a:spLocks noGrp="1"/>
          </p:cNvSpPr>
          <p:nvPr>
            <p:ph type="ftr" sz="quarter" idx="11"/>
          </p:nvPr>
        </p:nvSpPr>
        <p:spPr/>
        <p:txBody>
          <a:bodyPr/>
          <a:lstStyle/>
          <a:p>
            <a:r>
              <a:rPr lang="en-US"/>
              <a:t>NTT DATA, Inc.</a:t>
            </a:r>
          </a:p>
        </p:txBody>
      </p:sp>
      <p:sp>
        <p:nvSpPr>
          <p:cNvPr id="5" name="Slide Number Placeholder 4">
            <a:extLst>
              <a:ext uri="{FF2B5EF4-FFF2-40B4-BE49-F238E27FC236}">
                <a16:creationId xmlns:a16="http://schemas.microsoft.com/office/drawing/2014/main" id="{C716319C-85FE-4494-FC99-C4DE72E7B990}"/>
              </a:ext>
            </a:extLst>
          </p:cNvPr>
          <p:cNvSpPr>
            <a:spLocks noGrp="1"/>
          </p:cNvSpPr>
          <p:nvPr>
            <p:ph type="sldNum" sz="quarter" idx="12"/>
          </p:nvPr>
        </p:nvSpPr>
        <p:spPr>
          <a:xfrm>
            <a:off x="5562600" y="6400800"/>
            <a:ext cx="1066800" cy="304800"/>
          </a:xfrm>
          <a:prstGeom prst="rect">
            <a:avLst/>
          </a:prstGeom>
        </p:spPr>
        <p:txBody>
          <a:bodyPr/>
          <a:lstStyle/>
          <a:p>
            <a:pPr algn="ctr"/>
            <a:fld id="{60D39823-8059-4D49-BD26-6D32C31B8621}" type="slidenum">
              <a:rPr lang="en-US" smtClean="0"/>
              <a:pPr algn="ctr"/>
              <a:t>‹#›</a:t>
            </a:fld>
            <a:endParaRPr lang="en-US"/>
          </a:p>
        </p:txBody>
      </p:sp>
    </p:spTree>
    <p:extLst>
      <p:ext uri="{BB962C8B-B14F-4D97-AF65-F5344CB8AC3E}">
        <p14:creationId xmlns:p14="http://schemas.microsoft.com/office/powerpoint/2010/main" val="403264223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ubtitle, 1 Column Body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838200"/>
            <a:ext cx="11430000" cy="395377"/>
          </a:xfrm>
        </p:spPr>
        <p:txBody>
          <a:bodyPr>
            <a:noAutofit/>
          </a:bodyPr>
          <a:lstStyle>
            <a:lvl1pPr marL="0" indent="0">
              <a:buNone/>
              <a:defRPr lang="en-US" sz="2000" kern="1200" dirty="0" smtClean="0">
                <a:solidFill>
                  <a:schemeClr val="bg2"/>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US"/>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3B3B26C9-4CC7-EA8C-EBD1-615FCBB4A9FA}"/>
              </a:ext>
            </a:extLst>
          </p:cNvPr>
          <p:cNvSpPr>
            <a:spLocks noGrp="1"/>
          </p:cNvSpPr>
          <p:nvPr>
            <p:ph type="dt" sz="half" idx="10"/>
          </p:nvPr>
        </p:nvSpPr>
        <p:spPr/>
        <p:txBody>
          <a:bodyPr/>
          <a:lstStyle/>
          <a:p>
            <a:r>
              <a:rPr lang="es-ES"/>
              <a:t>Noviembre 2024</a:t>
            </a:r>
            <a:endParaRPr lang="en-US"/>
          </a:p>
        </p:txBody>
      </p:sp>
      <p:sp>
        <p:nvSpPr>
          <p:cNvPr id="4" name="Footer Placeholder 3">
            <a:extLst>
              <a:ext uri="{FF2B5EF4-FFF2-40B4-BE49-F238E27FC236}">
                <a16:creationId xmlns:a16="http://schemas.microsoft.com/office/drawing/2014/main" id="{53161E99-54BE-C3A5-B54E-49B9C7224B09}"/>
              </a:ext>
            </a:extLst>
          </p:cNvPr>
          <p:cNvSpPr>
            <a:spLocks noGrp="1"/>
          </p:cNvSpPr>
          <p:nvPr>
            <p:ph type="ftr" sz="quarter" idx="11"/>
          </p:nvPr>
        </p:nvSpPr>
        <p:spPr/>
        <p:txBody>
          <a:bodyPr/>
          <a:lstStyle/>
          <a:p>
            <a:r>
              <a:rPr lang="en-US"/>
              <a:t>NTT DATA, Inc.</a:t>
            </a:r>
          </a:p>
        </p:txBody>
      </p:sp>
      <p:sp>
        <p:nvSpPr>
          <p:cNvPr id="5" name="Slide Number Placeholder 4">
            <a:extLst>
              <a:ext uri="{FF2B5EF4-FFF2-40B4-BE49-F238E27FC236}">
                <a16:creationId xmlns:a16="http://schemas.microsoft.com/office/drawing/2014/main" id="{C716319C-85FE-4494-FC99-C4DE72E7B990}"/>
              </a:ext>
            </a:extLst>
          </p:cNvPr>
          <p:cNvSpPr>
            <a:spLocks noGrp="1"/>
          </p:cNvSpPr>
          <p:nvPr>
            <p:ph type="sldNum" sz="quarter" idx="12"/>
          </p:nvPr>
        </p:nvSpPr>
        <p:spPr>
          <a:xfrm>
            <a:off x="5562600" y="6400800"/>
            <a:ext cx="1066800" cy="304800"/>
          </a:xfrm>
          <a:prstGeom prst="rect">
            <a:avLst/>
          </a:prstGeom>
        </p:spPr>
        <p:txBody>
          <a:bodyPr/>
          <a:lstStyle/>
          <a:p>
            <a:pPr algn="ctr"/>
            <a:fld id="{60D39823-8059-4D49-BD26-6D32C31B8621}" type="slidenum">
              <a:rPr lang="en-US" smtClean="0"/>
              <a:pPr algn="ctr"/>
              <a:t>‹#›</a:t>
            </a:fld>
            <a:endParaRPr lang="en-US"/>
          </a:p>
        </p:txBody>
      </p:sp>
      <p:sp>
        <p:nvSpPr>
          <p:cNvPr id="8" name="Content Placeholder 7">
            <a:extLst>
              <a:ext uri="{FF2B5EF4-FFF2-40B4-BE49-F238E27FC236}">
                <a16:creationId xmlns:a16="http://schemas.microsoft.com/office/drawing/2014/main" id="{5568FE96-3E29-F907-5227-E6C308DA1835}"/>
              </a:ext>
            </a:extLst>
          </p:cNvPr>
          <p:cNvSpPr>
            <a:spLocks noGrp="1"/>
          </p:cNvSpPr>
          <p:nvPr>
            <p:ph sz="quarter" idx="14"/>
          </p:nvPr>
        </p:nvSpPr>
        <p:spPr>
          <a:xfrm>
            <a:off x="381000" y="1371599"/>
            <a:ext cx="11430000" cy="4876801"/>
          </a:xfrm>
        </p:spPr>
        <p:txBody>
          <a:bodyPr>
            <a:noAutofit/>
          </a:bodyPr>
          <a:lstStyle>
            <a:lvl1pPr marL="227013" indent="-227013">
              <a:buFont typeface="Wingdings" panose="05000000000000000000" pitchFamily="2" charset="2"/>
              <a:buChar char="§"/>
              <a:defRPr sz="1400"/>
            </a:lvl1pPr>
            <a:lvl2pPr marL="798513" indent="-285750">
              <a:buFont typeface="Courier New" panose="02070309020205020404" pitchFamily="49" charset="0"/>
              <a:buChar char="o"/>
              <a:defRPr sz="1400"/>
            </a:lvl2pPr>
            <a:lvl3pPr>
              <a:defRPr sz="1400"/>
            </a:lvl3pPr>
            <a:lvl4pPr>
              <a:defRPr sz="1400"/>
            </a:lvl4pPr>
            <a:lvl5pPr marL="2114550" indent="-228600">
              <a:buFont typeface="Wingdings" panose="05000000000000000000" pitchFamily="2" charset="2"/>
              <a:buChar char="ü"/>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04743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Page Dark Photo">
    <p:spTree>
      <p:nvGrpSpPr>
        <p:cNvPr id="1" name=""/>
        <p:cNvGrpSpPr/>
        <p:nvPr/>
      </p:nvGrpSpPr>
      <p:grpSpPr>
        <a:xfrm>
          <a:off x="0" y="0"/>
          <a:ext cx="0" cy="0"/>
          <a:chOff x="0" y="0"/>
          <a:chExt cx="0" cy="0"/>
        </a:xfrm>
      </p:grpSpPr>
      <p:pic>
        <p:nvPicPr>
          <p:cNvPr id="9" name="Marcador de posición de imagen 6" descr="Ciudad con edificios altos&#10;&#10;Descripción generada automáticamente">
            <a:extLst>
              <a:ext uri="{FF2B5EF4-FFF2-40B4-BE49-F238E27FC236}">
                <a16:creationId xmlns:a16="http://schemas.microsoft.com/office/drawing/2014/main" id="{046E0A77-0A3D-36AC-CD7E-9836788C4816}"/>
              </a:ext>
            </a:extLst>
          </p:cNvPr>
          <p:cNvPicPr>
            <a:picLocks noChangeAspect="1"/>
          </p:cNvPicPr>
          <p:nvPr userDrawn="1"/>
        </p:nvPicPr>
        <p:blipFill rotWithShape="1">
          <a:blip r:embed="rId3">
            <a:alphaModFix/>
            <a:extLst>
              <a:ext uri="{28A0092B-C50C-407E-A947-70E740481C1C}">
                <a14:useLocalDpi xmlns:a14="http://schemas.microsoft.com/office/drawing/2010/main" val="0"/>
              </a:ext>
            </a:extLst>
          </a:blip>
          <a:srcRect t="57309" r="6751" b="220"/>
          <a:stretch/>
        </p:blipFill>
        <p:spPr>
          <a:xfrm>
            <a:off x="-119857" y="-109538"/>
            <a:ext cx="12431713" cy="7077076"/>
          </a:xfrm>
          <a:prstGeom prst="rect">
            <a:avLst/>
          </a:prstGeom>
        </p:spPr>
      </p:pic>
      <p:sp>
        <p:nvSpPr>
          <p:cNvPr id="5" name="Rectángulo 4">
            <a:extLst>
              <a:ext uri="{FF2B5EF4-FFF2-40B4-BE49-F238E27FC236}">
                <a16:creationId xmlns:a16="http://schemas.microsoft.com/office/drawing/2014/main" id="{6E7FCD49-6A40-5509-A060-DDA7D90C6784}"/>
              </a:ext>
            </a:extLst>
          </p:cNvPr>
          <p:cNvSpPr/>
          <p:nvPr userDrawn="1"/>
        </p:nvSpPr>
        <p:spPr>
          <a:xfrm>
            <a:off x="-68752" y="1192762"/>
            <a:ext cx="6164752" cy="5774776"/>
          </a:xfrm>
          <a:prstGeom prst="rect">
            <a:avLst/>
          </a:prstGeom>
          <a:gradFill>
            <a:gsLst>
              <a:gs pos="100000">
                <a:srgbClr val="8C0014"/>
              </a:gs>
              <a:gs pos="63000">
                <a:srgbClr val="64001E">
                  <a:alpha val="0"/>
                </a:srgb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7" name="Marcador de texto 3">
            <a:extLst>
              <a:ext uri="{FF2B5EF4-FFF2-40B4-BE49-F238E27FC236}">
                <a16:creationId xmlns:a16="http://schemas.microsoft.com/office/drawing/2014/main" id="{B3B5D16D-FBE8-399C-195D-4FA57BA2D6DB}"/>
              </a:ext>
            </a:extLst>
          </p:cNvPr>
          <p:cNvSpPr txBox="1">
            <a:spLocks/>
          </p:cNvSpPr>
          <p:nvPr userDrawn="1"/>
        </p:nvSpPr>
        <p:spPr>
          <a:xfrm>
            <a:off x="668706" y="333651"/>
            <a:ext cx="1914177" cy="4191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900" b="0" i="0" kern="1200">
                <a:solidFill>
                  <a:schemeClr val="bg2"/>
                </a:solidFill>
                <a:latin typeface="Santander Text" panose="020B0504020201020104" pitchFamily="34"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FFFFFF"/>
                </a:solidFill>
                <a:effectLst/>
                <a:uLnTx/>
                <a:uFillTx/>
                <a:latin typeface="Santander Headline" panose="020B0504020201020104" pitchFamily="34" charset="0"/>
                <a:ea typeface="+mn-ea"/>
                <a:cs typeface="+mn-cs"/>
              </a:rPr>
              <a:t>Date</a:t>
            </a:r>
          </a:p>
        </p:txBody>
      </p:sp>
      <p:sp>
        <p:nvSpPr>
          <p:cNvPr id="14" name="Título 1">
            <a:extLst>
              <a:ext uri="{FF2B5EF4-FFF2-40B4-BE49-F238E27FC236}">
                <a16:creationId xmlns:a16="http://schemas.microsoft.com/office/drawing/2014/main" id="{E6A2EDE0-A1AB-DE03-E808-263885D8BDED}"/>
              </a:ext>
            </a:extLst>
          </p:cNvPr>
          <p:cNvSpPr>
            <a:spLocks noGrp="1"/>
          </p:cNvSpPr>
          <p:nvPr>
            <p:ph type="ctrTitle"/>
          </p:nvPr>
        </p:nvSpPr>
        <p:spPr>
          <a:xfrm>
            <a:off x="660329" y="1799664"/>
            <a:ext cx="4937184" cy="1407004"/>
          </a:xfrm>
          <a:prstGeom prst="rect">
            <a:avLst/>
          </a:prstGeom>
        </p:spPr>
        <p:txBody>
          <a:bodyPr anchor="t">
            <a:normAutofit/>
          </a:bodyPr>
          <a:lstStyle>
            <a:lvl1pPr algn="l">
              <a:lnSpc>
                <a:spcPct val="90000"/>
              </a:lnSpc>
              <a:defRPr sz="4000" b="0" i="0">
                <a:solidFill>
                  <a:schemeClr val="bg1"/>
                </a:solidFill>
                <a:latin typeface="Santander Headline" panose="020B0504020201020104" pitchFamily="34" charset="0"/>
                <a:cs typeface="Santander Headline" panose="020B0504020201020104" pitchFamily="34" charset="0"/>
              </a:defRPr>
            </a:lvl1pPr>
          </a:lstStyle>
          <a:p>
            <a:endParaRPr lang="es-ES"/>
          </a:p>
        </p:txBody>
      </p:sp>
      <p:sp>
        <p:nvSpPr>
          <p:cNvPr id="15" name="Subtítulo 2">
            <a:extLst>
              <a:ext uri="{FF2B5EF4-FFF2-40B4-BE49-F238E27FC236}">
                <a16:creationId xmlns:a16="http://schemas.microsoft.com/office/drawing/2014/main" id="{256405C8-42DD-6385-46DE-833F6A93175E}"/>
              </a:ext>
            </a:extLst>
          </p:cNvPr>
          <p:cNvSpPr>
            <a:spLocks noGrp="1"/>
          </p:cNvSpPr>
          <p:nvPr>
            <p:ph type="subTitle" idx="1"/>
          </p:nvPr>
        </p:nvSpPr>
        <p:spPr>
          <a:xfrm>
            <a:off x="663204" y="3216319"/>
            <a:ext cx="4934309" cy="2436454"/>
          </a:xfrm>
          <a:prstGeom prst="rect">
            <a:avLst/>
          </a:prstGeom>
        </p:spPr>
        <p:txBody>
          <a:bodyPr>
            <a:noAutofit/>
          </a:bodyPr>
          <a:lstStyle>
            <a:lvl1pPr marL="0" indent="0" algn="l">
              <a:lnSpc>
                <a:spcPct val="100000"/>
              </a:lnSpc>
              <a:spcBef>
                <a:spcPts val="0"/>
              </a:spcBef>
              <a:spcAft>
                <a:spcPts val="1200"/>
              </a:spcAft>
              <a:buNone/>
              <a:defRPr sz="2000">
                <a:solidFill>
                  <a:schemeClr val="bg1"/>
                </a:solidFill>
                <a:latin typeface="Santander Headline" panose="020B050402020102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
        <p:nvSpPr>
          <p:cNvPr id="3" name="CuadroTexto 2">
            <a:extLst>
              <a:ext uri="{FF2B5EF4-FFF2-40B4-BE49-F238E27FC236}">
                <a16:creationId xmlns:a16="http://schemas.microsoft.com/office/drawing/2014/main" id="{BD7BBDB1-A153-A5ED-9156-EAEE4C4CCE9D}"/>
              </a:ext>
            </a:extLst>
          </p:cNvPr>
          <p:cNvSpPr txBox="1"/>
          <p:nvPr userDrawn="1"/>
        </p:nvSpPr>
        <p:spPr>
          <a:xfrm>
            <a:off x="677437" y="1393231"/>
            <a:ext cx="7287322" cy="261610"/>
          </a:xfrm>
          <a:prstGeom prst="rect">
            <a:avLst/>
          </a:prstGeom>
          <a:noFill/>
        </p:spPr>
        <p:txBody>
          <a:bodyPr wrap="square">
            <a:spAutoFit/>
          </a:bodyPr>
          <a:lstStyle/>
          <a:p>
            <a:r>
              <a:rPr lang="es-ES" sz="1100" err="1">
                <a:solidFill>
                  <a:schemeClr val="bg1"/>
                </a:solidFill>
                <a:effectLst/>
                <a:latin typeface="Santander Headline" panose="020B0504020201020104" pitchFamily="34" charset="0"/>
                <a:ea typeface="Times New Roman" panose="02020603050405020304" pitchFamily="18" charset="0"/>
              </a:rPr>
              <a:t>Strictly</a:t>
            </a:r>
            <a:r>
              <a:rPr lang="es-ES" sz="1100">
                <a:solidFill>
                  <a:schemeClr val="bg1"/>
                </a:solidFill>
                <a:effectLst/>
                <a:latin typeface="Santander Headline" panose="020B0504020201020104" pitchFamily="34" charset="0"/>
                <a:ea typeface="Times New Roman" panose="02020603050405020304" pitchFamily="18" charset="0"/>
              </a:rPr>
              <a:t> </a:t>
            </a:r>
            <a:r>
              <a:rPr lang="es-ES" sz="1100" err="1">
                <a:solidFill>
                  <a:schemeClr val="bg1"/>
                </a:solidFill>
                <a:effectLst/>
                <a:latin typeface="Santander Headline" panose="020B0504020201020104" pitchFamily="34" charset="0"/>
                <a:ea typeface="Times New Roman" panose="02020603050405020304" pitchFamily="18" charset="0"/>
              </a:rPr>
              <a:t>Private</a:t>
            </a:r>
            <a:r>
              <a:rPr lang="es-ES" sz="1100">
                <a:solidFill>
                  <a:schemeClr val="bg1"/>
                </a:solidFill>
                <a:effectLst/>
                <a:latin typeface="Santander Headline" panose="020B0504020201020104" pitchFamily="34" charset="0"/>
                <a:ea typeface="Times New Roman" panose="02020603050405020304" pitchFamily="18" charset="0"/>
              </a:rPr>
              <a:t> and </a:t>
            </a:r>
            <a:r>
              <a:rPr lang="es-ES" sz="1100" err="1">
                <a:solidFill>
                  <a:schemeClr val="bg1"/>
                </a:solidFill>
                <a:effectLst/>
                <a:latin typeface="Santander Headline" panose="020B0504020201020104" pitchFamily="34" charset="0"/>
                <a:ea typeface="Times New Roman" panose="02020603050405020304" pitchFamily="18" charset="0"/>
              </a:rPr>
              <a:t>Confidential</a:t>
            </a:r>
            <a:endParaRPr lang="en-GB" sz="1100">
              <a:solidFill>
                <a:schemeClr val="bg1"/>
              </a:solidFill>
              <a:latin typeface="Santander Headline" panose="020B0504020201020104" pitchFamily="34" charset="0"/>
            </a:endParaRPr>
          </a:p>
        </p:txBody>
      </p:sp>
      <p:pic>
        <p:nvPicPr>
          <p:cNvPr id="6" name="Gráfico 5">
            <a:extLst>
              <a:ext uri="{FF2B5EF4-FFF2-40B4-BE49-F238E27FC236}">
                <a16:creationId xmlns:a16="http://schemas.microsoft.com/office/drawing/2014/main" id="{08E20AD3-3DA3-B651-D6FE-433DAE85AD3A}"/>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51850" y="5860646"/>
            <a:ext cx="2201021" cy="413314"/>
          </a:xfrm>
          <a:prstGeom prst="rect">
            <a:avLst/>
          </a:prstGeom>
        </p:spPr>
      </p:pic>
      <p:sp>
        <p:nvSpPr>
          <p:cNvPr id="2" name="TextBox 20">
            <a:extLst>
              <a:ext uri="{FF2B5EF4-FFF2-40B4-BE49-F238E27FC236}">
                <a16:creationId xmlns:a16="http://schemas.microsoft.com/office/drawing/2014/main" id="{476BE67B-11C1-FBFF-A7B6-DF0DC3B95163}"/>
              </a:ext>
            </a:extLst>
          </p:cNvPr>
          <p:cNvSpPr txBox="1"/>
          <p:nvPr userDrawn="1">
            <p:custDataLst>
              <p:tags r:id="rId1"/>
            </p:custDataLst>
          </p:nvPr>
        </p:nvSpPr>
        <p:spPr>
          <a:xfrm>
            <a:off x="10824088" y="130264"/>
            <a:ext cx="1189498" cy="161583"/>
          </a:xfrm>
          <a:prstGeom prst="rect">
            <a:avLst/>
          </a:prstGeom>
        </p:spPr>
        <p:txBody>
          <a:bodyPr wrap="square" lIns="0" tIns="0" rIns="0" bIns="0">
            <a:spAutoFit/>
          </a:bodyPr>
          <a:lstStyle/>
          <a:p>
            <a:pPr algn="r"/>
            <a:r>
              <a:rPr lang="en-GB" sz="1050" kern="1200">
                <a:solidFill>
                  <a:schemeClr val="bg1"/>
                </a:solidFill>
                <a:latin typeface="Santander Headline" panose="020B0504020201020104" pitchFamily="34" charset="0"/>
                <a:ea typeface="+mn-ea"/>
                <a:cs typeface="+mn-cs"/>
              </a:rPr>
              <a:t>Confidential</a:t>
            </a:r>
          </a:p>
        </p:txBody>
      </p:sp>
    </p:spTree>
    <p:extLst>
      <p:ext uri="{BB962C8B-B14F-4D97-AF65-F5344CB8AC3E}">
        <p14:creationId xmlns:p14="http://schemas.microsoft.com/office/powerpoint/2010/main" val="1546598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ubtitle, 2 Column Body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838200"/>
            <a:ext cx="11430000" cy="685800"/>
          </a:xfrm>
        </p:spPr>
        <p:txBody>
          <a:bodyPr>
            <a:noAutofit/>
          </a:bodyPr>
          <a:lstStyle>
            <a:lvl1pPr marL="0" indent="0">
              <a:buNone/>
              <a:defRPr lang="en-US" sz="2000" kern="1200" dirty="0" smtClean="0">
                <a:solidFill>
                  <a:schemeClr val="bg2"/>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US"/>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3B3B26C9-4CC7-EA8C-EBD1-615FCBB4A9FA}"/>
              </a:ext>
            </a:extLst>
          </p:cNvPr>
          <p:cNvSpPr>
            <a:spLocks noGrp="1"/>
          </p:cNvSpPr>
          <p:nvPr>
            <p:ph type="dt" sz="half" idx="10"/>
          </p:nvPr>
        </p:nvSpPr>
        <p:spPr/>
        <p:txBody>
          <a:bodyPr/>
          <a:lstStyle/>
          <a:p>
            <a:r>
              <a:rPr lang="es-ES" err="1"/>
              <a:t>JNoviembre</a:t>
            </a:r>
            <a:r>
              <a:rPr lang="es-ES"/>
              <a:t> 2024</a:t>
            </a:r>
            <a:endParaRPr lang="en-US"/>
          </a:p>
        </p:txBody>
      </p:sp>
      <p:sp>
        <p:nvSpPr>
          <p:cNvPr id="4" name="Footer Placeholder 3">
            <a:extLst>
              <a:ext uri="{FF2B5EF4-FFF2-40B4-BE49-F238E27FC236}">
                <a16:creationId xmlns:a16="http://schemas.microsoft.com/office/drawing/2014/main" id="{53161E99-54BE-C3A5-B54E-49B9C7224B09}"/>
              </a:ext>
            </a:extLst>
          </p:cNvPr>
          <p:cNvSpPr>
            <a:spLocks noGrp="1"/>
          </p:cNvSpPr>
          <p:nvPr>
            <p:ph type="ftr" sz="quarter" idx="11"/>
          </p:nvPr>
        </p:nvSpPr>
        <p:spPr/>
        <p:txBody>
          <a:bodyPr/>
          <a:lstStyle/>
          <a:p>
            <a:r>
              <a:rPr lang="en-US"/>
              <a:t>NTT DATA, Inc.</a:t>
            </a:r>
          </a:p>
        </p:txBody>
      </p:sp>
      <p:sp>
        <p:nvSpPr>
          <p:cNvPr id="5" name="Slide Number Placeholder 4">
            <a:extLst>
              <a:ext uri="{FF2B5EF4-FFF2-40B4-BE49-F238E27FC236}">
                <a16:creationId xmlns:a16="http://schemas.microsoft.com/office/drawing/2014/main" id="{C716319C-85FE-4494-FC99-C4DE72E7B990}"/>
              </a:ext>
            </a:extLst>
          </p:cNvPr>
          <p:cNvSpPr>
            <a:spLocks noGrp="1"/>
          </p:cNvSpPr>
          <p:nvPr>
            <p:ph type="sldNum" sz="quarter" idx="12"/>
          </p:nvPr>
        </p:nvSpPr>
        <p:spPr>
          <a:xfrm>
            <a:off x="5562600" y="6400800"/>
            <a:ext cx="1066800" cy="304800"/>
          </a:xfrm>
          <a:prstGeom prst="rect">
            <a:avLst/>
          </a:prstGeom>
        </p:spPr>
        <p:txBody>
          <a:bodyPr/>
          <a:lstStyle/>
          <a:p>
            <a:pPr algn="ctr"/>
            <a:fld id="{60D39823-8059-4D49-BD26-6D32C31B8621}" type="slidenum">
              <a:rPr lang="en-US" smtClean="0"/>
              <a:pPr algn="ctr"/>
              <a:t>‹#›</a:t>
            </a:fld>
            <a:endParaRPr lang="en-US"/>
          </a:p>
        </p:txBody>
      </p:sp>
      <p:sp>
        <p:nvSpPr>
          <p:cNvPr id="8" name="Content Placeholder 7">
            <a:extLst>
              <a:ext uri="{FF2B5EF4-FFF2-40B4-BE49-F238E27FC236}">
                <a16:creationId xmlns:a16="http://schemas.microsoft.com/office/drawing/2014/main" id="{5568FE96-3E29-F907-5227-E6C308DA1835}"/>
              </a:ext>
            </a:extLst>
          </p:cNvPr>
          <p:cNvSpPr>
            <a:spLocks noGrp="1"/>
          </p:cNvSpPr>
          <p:nvPr>
            <p:ph sz="quarter" idx="14"/>
          </p:nvPr>
        </p:nvSpPr>
        <p:spPr>
          <a:xfrm>
            <a:off x="381000" y="1676400"/>
            <a:ext cx="5562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E71A1A39-1496-229F-4AC6-886D7CFB5B25}"/>
              </a:ext>
            </a:extLst>
          </p:cNvPr>
          <p:cNvSpPr>
            <a:spLocks noGrp="1"/>
          </p:cNvSpPr>
          <p:nvPr>
            <p:ph sz="quarter" idx="15"/>
          </p:nvPr>
        </p:nvSpPr>
        <p:spPr>
          <a:xfrm>
            <a:off x="6248400" y="1676400"/>
            <a:ext cx="5562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842058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ubtitle, 3 Column Body Tex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5568FE96-3E29-F907-5227-E6C308DA1835}"/>
              </a:ext>
            </a:extLst>
          </p:cNvPr>
          <p:cNvSpPr>
            <a:spLocks noGrp="1"/>
          </p:cNvSpPr>
          <p:nvPr>
            <p:ph sz="quarter" idx="14"/>
          </p:nvPr>
        </p:nvSpPr>
        <p:spPr>
          <a:xfrm>
            <a:off x="381000" y="1676400"/>
            <a:ext cx="3657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E71A1A39-1496-229F-4AC6-886D7CFB5B25}"/>
              </a:ext>
            </a:extLst>
          </p:cNvPr>
          <p:cNvSpPr>
            <a:spLocks noGrp="1"/>
          </p:cNvSpPr>
          <p:nvPr>
            <p:ph sz="quarter" idx="15"/>
          </p:nvPr>
        </p:nvSpPr>
        <p:spPr>
          <a:xfrm>
            <a:off x="4267200" y="1676400"/>
            <a:ext cx="3657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7">
            <a:extLst>
              <a:ext uri="{FF2B5EF4-FFF2-40B4-BE49-F238E27FC236}">
                <a16:creationId xmlns:a16="http://schemas.microsoft.com/office/drawing/2014/main" id="{ADFD2628-F803-8221-12EB-7198D350225D}"/>
              </a:ext>
            </a:extLst>
          </p:cNvPr>
          <p:cNvSpPr>
            <a:spLocks noGrp="1"/>
          </p:cNvSpPr>
          <p:nvPr>
            <p:ph sz="quarter" idx="16"/>
          </p:nvPr>
        </p:nvSpPr>
        <p:spPr>
          <a:xfrm>
            <a:off x="8153400" y="1676400"/>
            <a:ext cx="3657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838200"/>
            <a:ext cx="11430000" cy="685800"/>
          </a:xfrm>
        </p:spPr>
        <p:txBody>
          <a:bodyPr>
            <a:noAutofit/>
          </a:bodyPr>
          <a:lstStyle>
            <a:lvl1pPr marL="0" indent="0">
              <a:buNone/>
              <a:defRPr lang="en-US" sz="2000" kern="1200" dirty="0" smtClean="0">
                <a:solidFill>
                  <a:schemeClr val="bg2"/>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US"/>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3B3B26C9-4CC7-EA8C-EBD1-615FCBB4A9FA}"/>
              </a:ext>
            </a:extLst>
          </p:cNvPr>
          <p:cNvSpPr>
            <a:spLocks noGrp="1"/>
          </p:cNvSpPr>
          <p:nvPr>
            <p:ph type="dt" sz="half" idx="10"/>
          </p:nvPr>
        </p:nvSpPr>
        <p:spPr/>
        <p:txBody>
          <a:bodyPr/>
          <a:lstStyle/>
          <a:p>
            <a:r>
              <a:rPr lang="es-ES"/>
              <a:t>Noviembre 2024</a:t>
            </a:r>
            <a:endParaRPr lang="en-US"/>
          </a:p>
        </p:txBody>
      </p:sp>
      <p:sp>
        <p:nvSpPr>
          <p:cNvPr id="4" name="Footer Placeholder 3">
            <a:extLst>
              <a:ext uri="{FF2B5EF4-FFF2-40B4-BE49-F238E27FC236}">
                <a16:creationId xmlns:a16="http://schemas.microsoft.com/office/drawing/2014/main" id="{53161E99-54BE-C3A5-B54E-49B9C7224B09}"/>
              </a:ext>
            </a:extLst>
          </p:cNvPr>
          <p:cNvSpPr>
            <a:spLocks noGrp="1"/>
          </p:cNvSpPr>
          <p:nvPr>
            <p:ph type="ftr" sz="quarter" idx="11"/>
          </p:nvPr>
        </p:nvSpPr>
        <p:spPr/>
        <p:txBody>
          <a:bodyPr/>
          <a:lstStyle/>
          <a:p>
            <a:r>
              <a:rPr lang="en-US"/>
              <a:t>NTT DATA, Inc.</a:t>
            </a:r>
          </a:p>
        </p:txBody>
      </p:sp>
      <p:sp>
        <p:nvSpPr>
          <p:cNvPr id="5" name="Slide Number Placeholder 4">
            <a:extLst>
              <a:ext uri="{FF2B5EF4-FFF2-40B4-BE49-F238E27FC236}">
                <a16:creationId xmlns:a16="http://schemas.microsoft.com/office/drawing/2014/main" id="{C716319C-85FE-4494-FC99-C4DE72E7B990}"/>
              </a:ext>
            </a:extLst>
          </p:cNvPr>
          <p:cNvSpPr>
            <a:spLocks noGrp="1"/>
          </p:cNvSpPr>
          <p:nvPr>
            <p:ph type="sldNum" sz="quarter" idx="12"/>
          </p:nvPr>
        </p:nvSpPr>
        <p:spPr>
          <a:xfrm>
            <a:off x="5562600" y="6400800"/>
            <a:ext cx="1066800" cy="304800"/>
          </a:xfrm>
          <a:prstGeom prst="rect">
            <a:avLst/>
          </a:prstGeom>
        </p:spPr>
        <p:txBody>
          <a:bodyPr/>
          <a:lstStyle/>
          <a:p>
            <a:pPr algn="ctr"/>
            <a:fld id="{60D39823-8059-4D49-BD26-6D32C31B8621}" type="slidenum">
              <a:rPr lang="en-US" smtClean="0"/>
              <a:pPr algn="ctr"/>
              <a:t>‹#›</a:t>
            </a:fld>
            <a:endParaRPr lang="en-US"/>
          </a:p>
        </p:txBody>
      </p:sp>
    </p:spTree>
    <p:extLst>
      <p:ext uri="{BB962C8B-B14F-4D97-AF65-F5344CB8AC3E}">
        <p14:creationId xmlns:p14="http://schemas.microsoft.com/office/powerpoint/2010/main" val="385885328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Future Blue">
    <p:bg>
      <p:bgPr>
        <a:solidFill>
          <a:schemeClr val="bg2"/>
        </a:solidFill>
        <a:effectLst/>
      </p:bgPr>
    </p:bg>
    <p:spTree>
      <p:nvGrpSpPr>
        <p:cNvPr id="1" name=""/>
        <p:cNvGrpSpPr/>
        <p:nvPr/>
      </p:nvGrpSpPr>
      <p:grpSpPr>
        <a:xfrm>
          <a:off x="0" y="0"/>
          <a:ext cx="0" cy="0"/>
          <a:chOff x="0" y="0"/>
          <a:chExt cx="0" cy="0"/>
        </a:xfrm>
      </p:grpSpPr>
      <p:sp>
        <p:nvSpPr>
          <p:cNvPr id="2" name="NTT DATA Global Logo" descr="NTT DATA Global Logo">
            <a:extLst>
              <a:ext uri="{FF2B5EF4-FFF2-40B4-BE49-F238E27FC236}">
                <a16:creationId xmlns:a16="http://schemas.microsoft.com/office/drawing/2014/main" id="{2A4A4756-BF09-2DAA-9B2B-7274ADF973F2}"/>
              </a:ext>
            </a:extLst>
          </p:cNvPr>
          <p:cNvSpPr/>
          <p:nvPr userDrawn="1"/>
        </p:nvSpPr>
        <p:spPr bwMode="black">
          <a:xfrm>
            <a:off x="3403470" y="2880360"/>
            <a:ext cx="5385061" cy="1097280"/>
          </a:xfrm>
          <a:custGeom>
            <a:avLst/>
            <a:gdLst>
              <a:gd name="connsiteX0" fmla="*/ 9329240 w 10020924"/>
              <a:gd name="connsiteY0" fmla="*/ 1080290 h 2041903"/>
              <a:gd name="connsiteX1" fmla="*/ 9251983 w 10020924"/>
              <a:gd name="connsiteY1" fmla="*/ 1187029 h 2041903"/>
              <a:gd name="connsiteX2" fmla="*/ 9329240 w 10020924"/>
              <a:gd name="connsiteY2" fmla="*/ 1296468 h 2041903"/>
              <a:gd name="connsiteX3" fmla="*/ 9782722 w 10020924"/>
              <a:gd name="connsiteY3" fmla="*/ 1296468 h 2041903"/>
              <a:gd name="connsiteX4" fmla="*/ 9782722 w 10020924"/>
              <a:gd name="connsiteY4" fmla="*/ 1080290 h 2041903"/>
              <a:gd name="connsiteX5" fmla="*/ 7331825 w 10020924"/>
              <a:gd name="connsiteY5" fmla="*/ 1080290 h 2041903"/>
              <a:gd name="connsiteX6" fmla="*/ 7254583 w 10020924"/>
              <a:gd name="connsiteY6" fmla="*/ 1187029 h 2041903"/>
              <a:gd name="connsiteX7" fmla="*/ 7331825 w 10020924"/>
              <a:gd name="connsiteY7" fmla="*/ 1296468 h 2041903"/>
              <a:gd name="connsiteX8" fmla="*/ 7785307 w 10020924"/>
              <a:gd name="connsiteY8" fmla="*/ 1296468 h 2041903"/>
              <a:gd name="connsiteX9" fmla="*/ 7785307 w 10020924"/>
              <a:gd name="connsiteY9" fmla="*/ 1080290 h 2041903"/>
              <a:gd name="connsiteX10" fmla="*/ 6171264 w 10020924"/>
              <a:gd name="connsiteY10" fmla="*/ 689323 h 2041903"/>
              <a:gd name="connsiteX11" fmla="*/ 6171264 w 10020924"/>
              <a:gd name="connsiteY11" fmla="*/ 1297318 h 2041903"/>
              <a:gd name="connsiteX12" fmla="*/ 6558679 w 10020924"/>
              <a:gd name="connsiteY12" fmla="*/ 1297318 h 2041903"/>
              <a:gd name="connsiteX13" fmla="*/ 6679368 w 10020924"/>
              <a:gd name="connsiteY13" fmla="*/ 1156413 h 2041903"/>
              <a:gd name="connsiteX14" fmla="*/ 6679368 w 10020924"/>
              <a:gd name="connsiteY14" fmla="*/ 830244 h 2041903"/>
              <a:gd name="connsiteX15" fmla="*/ 6558679 w 10020924"/>
              <a:gd name="connsiteY15" fmla="*/ 689323 h 2041903"/>
              <a:gd name="connsiteX16" fmla="*/ 9072763 w 10020924"/>
              <a:gd name="connsiteY16" fmla="*/ 463851 h 2041903"/>
              <a:gd name="connsiteX17" fmla="*/ 9678449 w 10020924"/>
              <a:gd name="connsiteY17" fmla="*/ 463851 h 2041903"/>
              <a:gd name="connsiteX18" fmla="*/ 10020924 w 10020924"/>
              <a:gd name="connsiteY18" fmla="*/ 826574 h 2041903"/>
              <a:gd name="connsiteX19" fmla="*/ 10020924 w 10020924"/>
              <a:gd name="connsiteY19" fmla="*/ 1522671 h 2041903"/>
              <a:gd name="connsiteX20" fmla="*/ 9304207 w 10020924"/>
              <a:gd name="connsiteY20" fmla="*/ 1522671 h 2041903"/>
              <a:gd name="connsiteX21" fmla="*/ 9015771 w 10020924"/>
              <a:gd name="connsiteY21" fmla="*/ 1219793 h 2041903"/>
              <a:gd name="connsiteX22" fmla="*/ 9015771 w 10020924"/>
              <a:gd name="connsiteY22" fmla="*/ 1169781 h 2041903"/>
              <a:gd name="connsiteX23" fmla="*/ 9294061 w 10020924"/>
              <a:gd name="connsiteY23" fmla="*/ 866738 h 2041903"/>
              <a:gd name="connsiteX24" fmla="*/ 9782829 w 10020924"/>
              <a:gd name="connsiteY24" fmla="*/ 866738 h 2041903"/>
              <a:gd name="connsiteX25" fmla="*/ 9782707 w 10020924"/>
              <a:gd name="connsiteY25" fmla="*/ 829349 h 2041903"/>
              <a:gd name="connsiteX26" fmla="*/ 9662481 w 10020924"/>
              <a:gd name="connsiteY26" fmla="*/ 688428 h 2041903"/>
              <a:gd name="connsiteX27" fmla="*/ 9072763 w 10020924"/>
              <a:gd name="connsiteY27" fmla="*/ 688428 h 2041903"/>
              <a:gd name="connsiteX28" fmla="*/ 8071817 w 10020924"/>
              <a:gd name="connsiteY28" fmla="*/ 463851 h 2041903"/>
              <a:gd name="connsiteX29" fmla="*/ 8991911 w 10020924"/>
              <a:gd name="connsiteY29" fmla="*/ 463851 h 2041903"/>
              <a:gd name="connsiteX30" fmla="*/ 8991911 w 10020924"/>
              <a:gd name="connsiteY30" fmla="*/ 686668 h 2041903"/>
              <a:gd name="connsiteX31" fmla="*/ 8652240 w 10020924"/>
              <a:gd name="connsiteY31" fmla="*/ 686668 h 2041903"/>
              <a:gd name="connsiteX32" fmla="*/ 8652240 w 10020924"/>
              <a:gd name="connsiteY32" fmla="*/ 1522955 h 2041903"/>
              <a:gd name="connsiteX33" fmla="*/ 8411534 w 10020924"/>
              <a:gd name="connsiteY33" fmla="*/ 1522955 h 2041903"/>
              <a:gd name="connsiteX34" fmla="*/ 8411534 w 10020924"/>
              <a:gd name="connsiteY34" fmla="*/ 686668 h 2041903"/>
              <a:gd name="connsiteX35" fmla="*/ 8071817 w 10020924"/>
              <a:gd name="connsiteY35" fmla="*/ 686668 h 2041903"/>
              <a:gd name="connsiteX36" fmla="*/ 7075333 w 10020924"/>
              <a:gd name="connsiteY36" fmla="*/ 463851 h 2041903"/>
              <a:gd name="connsiteX37" fmla="*/ 7681075 w 10020924"/>
              <a:gd name="connsiteY37" fmla="*/ 463851 h 2041903"/>
              <a:gd name="connsiteX38" fmla="*/ 8023417 w 10020924"/>
              <a:gd name="connsiteY38" fmla="*/ 826574 h 2041903"/>
              <a:gd name="connsiteX39" fmla="*/ 8023417 w 10020924"/>
              <a:gd name="connsiteY39" fmla="*/ 1522671 h 2041903"/>
              <a:gd name="connsiteX40" fmla="*/ 7306759 w 10020924"/>
              <a:gd name="connsiteY40" fmla="*/ 1522671 h 2041903"/>
              <a:gd name="connsiteX41" fmla="*/ 7018293 w 10020924"/>
              <a:gd name="connsiteY41" fmla="*/ 1219793 h 2041903"/>
              <a:gd name="connsiteX42" fmla="*/ 7018293 w 10020924"/>
              <a:gd name="connsiteY42" fmla="*/ 1169781 h 2041903"/>
              <a:gd name="connsiteX43" fmla="*/ 7296628 w 10020924"/>
              <a:gd name="connsiteY43" fmla="*/ 866738 h 2041903"/>
              <a:gd name="connsiteX44" fmla="*/ 7785307 w 10020924"/>
              <a:gd name="connsiteY44" fmla="*/ 866738 h 2041903"/>
              <a:gd name="connsiteX45" fmla="*/ 7785307 w 10020924"/>
              <a:gd name="connsiteY45" fmla="*/ 829349 h 2041903"/>
              <a:gd name="connsiteX46" fmla="*/ 7665080 w 10020924"/>
              <a:gd name="connsiteY46" fmla="*/ 688428 h 2041903"/>
              <a:gd name="connsiteX47" fmla="*/ 7075333 w 10020924"/>
              <a:gd name="connsiteY47" fmla="*/ 688428 h 2041903"/>
              <a:gd name="connsiteX48" fmla="*/ 5930572 w 10020924"/>
              <a:gd name="connsiteY48" fmla="*/ 463851 h 2041903"/>
              <a:gd name="connsiteX49" fmla="*/ 6574718 w 10020924"/>
              <a:gd name="connsiteY49" fmla="*/ 463851 h 2041903"/>
              <a:gd name="connsiteX50" fmla="*/ 6925013 w 10020924"/>
              <a:gd name="connsiteY50" fmla="*/ 834884 h 2041903"/>
              <a:gd name="connsiteX51" fmla="*/ 6925013 w 10020924"/>
              <a:gd name="connsiteY51" fmla="*/ 1151743 h 2041903"/>
              <a:gd name="connsiteX52" fmla="*/ 6585968 w 10020924"/>
              <a:gd name="connsiteY52" fmla="*/ 1522671 h 2041903"/>
              <a:gd name="connsiteX53" fmla="*/ 5930572 w 10020924"/>
              <a:gd name="connsiteY53" fmla="*/ 1522671 h 2041903"/>
              <a:gd name="connsiteX54" fmla="*/ 4717895 w 10020924"/>
              <a:gd name="connsiteY54" fmla="*/ 463851 h 2041903"/>
              <a:gd name="connsiteX55" fmla="*/ 5638093 w 10020924"/>
              <a:gd name="connsiteY55" fmla="*/ 463851 h 2041903"/>
              <a:gd name="connsiteX56" fmla="*/ 5638093 w 10020924"/>
              <a:gd name="connsiteY56" fmla="*/ 686668 h 2041903"/>
              <a:gd name="connsiteX57" fmla="*/ 5298318 w 10020924"/>
              <a:gd name="connsiteY57" fmla="*/ 686668 h 2041903"/>
              <a:gd name="connsiteX58" fmla="*/ 5298318 w 10020924"/>
              <a:gd name="connsiteY58" fmla="*/ 1522955 h 2041903"/>
              <a:gd name="connsiteX59" fmla="*/ 5057626 w 10020924"/>
              <a:gd name="connsiteY59" fmla="*/ 1522955 h 2041903"/>
              <a:gd name="connsiteX60" fmla="*/ 5057626 w 10020924"/>
              <a:gd name="connsiteY60" fmla="*/ 686668 h 2041903"/>
              <a:gd name="connsiteX61" fmla="*/ 4717895 w 10020924"/>
              <a:gd name="connsiteY61" fmla="*/ 686668 h 2041903"/>
              <a:gd name="connsiteX62" fmla="*/ 3721291 w 10020924"/>
              <a:gd name="connsiteY62" fmla="*/ 463851 h 2041903"/>
              <a:gd name="connsiteX63" fmla="*/ 4641430 w 10020924"/>
              <a:gd name="connsiteY63" fmla="*/ 463851 h 2041903"/>
              <a:gd name="connsiteX64" fmla="*/ 4641430 w 10020924"/>
              <a:gd name="connsiteY64" fmla="*/ 686668 h 2041903"/>
              <a:gd name="connsiteX65" fmla="*/ 4301654 w 10020924"/>
              <a:gd name="connsiteY65" fmla="*/ 686668 h 2041903"/>
              <a:gd name="connsiteX66" fmla="*/ 4301654 w 10020924"/>
              <a:gd name="connsiteY66" fmla="*/ 1522955 h 2041903"/>
              <a:gd name="connsiteX67" fmla="*/ 4061067 w 10020924"/>
              <a:gd name="connsiteY67" fmla="*/ 1522955 h 2041903"/>
              <a:gd name="connsiteX68" fmla="*/ 4061067 w 10020924"/>
              <a:gd name="connsiteY68" fmla="*/ 686668 h 2041903"/>
              <a:gd name="connsiteX69" fmla="*/ 3721291 w 10020924"/>
              <a:gd name="connsiteY69" fmla="*/ 686668 h 2041903"/>
              <a:gd name="connsiteX70" fmla="*/ 2809822 w 10020924"/>
              <a:gd name="connsiteY70" fmla="*/ 452019 h 2041903"/>
              <a:gd name="connsiteX71" fmla="*/ 3016077 w 10020924"/>
              <a:gd name="connsiteY71" fmla="*/ 572753 h 2041903"/>
              <a:gd name="connsiteX72" fmla="*/ 3381948 w 10020924"/>
              <a:gd name="connsiteY72" fmla="*/ 1270566 h 2041903"/>
              <a:gd name="connsiteX73" fmla="*/ 3400240 w 10020924"/>
              <a:gd name="connsiteY73" fmla="*/ 1281756 h 2041903"/>
              <a:gd name="connsiteX74" fmla="*/ 3406134 w 10020924"/>
              <a:gd name="connsiteY74" fmla="*/ 1255736 h 2041903"/>
              <a:gd name="connsiteX75" fmla="*/ 3402657 w 10020924"/>
              <a:gd name="connsiteY75" fmla="*/ 1123946 h 2041903"/>
              <a:gd name="connsiteX76" fmla="*/ 3402657 w 10020924"/>
              <a:gd name="connsiteY76" fmla="*/ 463522 h 2041903"/>
              <a:gd name="connsiteX77" fmla="*/ 3639813 w 10020924"/>
              <a:gd name="connsiteY77" fmla="*/ 463522 h 2041903"/>
              <a:gd name="connsiteX78" fmla="*/ 3639813 w 10020924"/>
              <a:gd name="connsiteY78" fmla="*/ 1255333 h 2041903"/>
              <a:gd name="connsiteX79" fmla="*/ 3425426 w 10020924"/>
              <a:gd name="connsiteY79" fmla="*/ 1534727 h 2041903"/>
              <a:gd name="connsiteX80" fmla="*/ 3219125 w 10020924"/>
              <a:gd name="connsiteY80" fmla="*/ 1413949 h 2041903"/>
              <a:gd name="connsiteX81" fmla="*/ 2853165 w 10020924"/>
              <a:gd name="connsiteY81" fmla="*/ 716135 h 2041903"/>
              <a:gd name="connsiteX82" fmla="*/ 2834887 w 10020924"/>
              <a:gd name="connsiteY82" fmla="*/ 704930 h 2041903"/>
              <a:gd name="connsiteX83" fmla="*/ 2829009 w 10020924"/>
              <a:gd name="connsiteY83" fmla="*/ 730980 h 2041903"/>
              <a:gd name="connsiteX84" fmla="*/ 2832590 w 10020924"/>
              <a:gd name="connsiteY84" fmla="*/ 862725 h 2041903"/>
              <a:gd name="connsiteX85" fmla="*/ 2832590 w 10020924"/>
              <a:gd name="connsiteY85" fmla="*/ 1523194 h 2041903"/>
              <a:gd name="connsiteX86" fmla="*/ 2595360 w 10020924"/>
              <a:gd name="connsiteY86" fmla="*/ 1523194 h 2041903"/>
              <a:gd name="connsiteX87" fmla="*/ 2595360 w 10020924"/>
              <a:gd name="connsiteY87" fmla="*/ 731368 h 2041903"/>
              <a:gd name="connsiteX88" fmla="*/ 2809822 w 10020924"/>
              <a:gd name="connsiteY88" fmla="*/ 452019 h 2041903"/>
              <a:gd name="connsiteX89" fmla="*/ 1079247 w 10020924"/>
              <a:gd name="connsiteY89" fmla="*/ 330967 h 2041903"/>
              <a:gd name="connsiteX90" fmla="*/ 952084 w 10020924"/>
              <a:gd name="connsiteY90" fmla="*/ 465588 h 2041903"/>
              <a:gd name="connsiteX91" fmla="*/ 887125 w 10020924"/>
              <a:gd name="connsiteY91" fmla="*/ 684091 h 2041903"/>
              <a:gd name="connsiteX92" fmla="*/ 940315 w 10020924"/>
              <a:gd name="connsiteY92" fmla="*/ 833769 h 2041903"/>
              <a:gd name="connsiteX93" fmla="*/ 1079206 w 10020924"/>
              <a:gd name="connsiteY93" fmla="*/ 894946 h 2041903"/>
              <a:gd name="connsiteX94" fmla="*/ 1218097 w 10020924"/>
              <a:gd name="connsiteY94" fmla="*/ 833769 h 2041903"/>
              <a:gd name="connsiteX95" fmla="*/ 1271286 w 10020924"/>
              <a:gd name="connsiteY95" fmla="*/ 684091 h 2041903"/>
              <a:gd name="connsiteX96" fmla="*/ 1206328 w 10020924"/>
              <a:gd name="connsiteY96" fmla="*/ 465588 h 2041903"/>
              <a:gd name="connsiteX97" fmla="*/ 1079247 w 10020924"/>
              <a:gd name="connsiteY97" fmla="*/ 330967 h 2041903"/>
              <a:gd name="connsiteX98" fmla="*/ 805966 w 10020924"/>
              <a:gd name="connsiteY98" fmla="*/ 263259 h 2041903"/>
              <a:gd name="connsiteX99" fmla="*/ 446364 w 10020924"/>
              <a:gd name="connsiteY99" fmla="*/ 449558 h 2041903"/>
              <a:gd name="connsiteX100" fmla="*/ 316290 w 10020924"/>
              <a:gd name="connsiteY100" fmla="*/ 671430 h 2041903"/>
              <a:gd name="connsiteX101" fmla="*/ 265280 w 10020924"/>
              <a:gd name="connsiteY101" fmla="*/ 958605 h 2041903"/>
              <a:gd name="connsiteX102" fmla="*/ 329833 w 10020924"/>
              <a:gd name="connsiteY102" fmla="*/ 1280240 h 2041903"/>
              <a:gd name="connsiteX103" fmla="*/ 505249 w 10020924"/>
              <a:gd name="connsiteY103" fmla="*/ 1539802 h 2041903"/>
              <a:gd name="connsiteX104" fmla="*/ 764163 w 10020924"/>
              <a:gd name="connsiteY104" fmla="*/ 1713204 h 2041903"/>
              <a:gd name="connsiteX105" fmla="*/ 1079208 w 10020924"/>
              <a:gd name="connsiteY105" fmla="*/ 1776358 h 2041903"/>
              <a:gd name="connsiteX106" fmla="*/ 1394254 w 10020924"/>
              <a:gd name="connsiteY106" fmla="*/ 1713204 h 2041903"/>
              <a:gd name="connsiteX107" fmla="*/ 1653167 w 10020924"/>
              <a:gd name="connsiteY107" fmla="*/ 1539802 h 2041903"/>
              <a:gd name="connsiteX108" fmla="*/ 1828584 w 10020924"/>
              <a:gd name="connsiteY108" fmla="*/ 1280240 h 2041903"/>
              <a:gd name="connsiteX109" fmla="*/ 1893137 w 10020924"/>
              <a:gd name="connsiteY109" fmla="*/ 958605 h 2041903"/>
              <a:gd name="connsiteX110" fmla="*/ 1843297 w 10020924"/>
              <a:gd name="connsiteY110" fmla="*/ 674433 h 2041903"/>
              <a:gd name="connsiteX111" fmla="*/ 1715171 w 10020924"/>
              <a:gd name="connsiteY111" fmla="*/ 452650 h 2041903"/>
              <a:gd name="connsiteX112" fmla="*/ 1352451 w 10020924"/>
              <a:gd name="connsiteY112" fmla="*/ 263259 h 2041903"/>
              <a:gd name="connsiteX113" fmla="*/ 1489332 w 10020924"/>
              <a:gd name="connsiteY113" fmla="*/ 469668 h 2041903"/>
              <a:gd name="connsiteX114" fmla="*/ 1533501 w 10020924"/>
              <a:gd name="connsiteY114" fmla="*/ 697463 h 2041903"/>
              <a:gd name="connsiteX115" fmla="*/ 1395669 w 10020924"/>
              <a:gd name="connsiteY115" fmla="*/ 1031243 h 2041903"/>
              <a:gd name="connsiteX116" fmla="*/ 1079208 w 10020924"/>
              <a:gd name="connsiteY116" fmla="*/ 1160853 h 2041903"/>
              <a:gd name="connsiteX117" fmla="*/ 762748 w 10020924"/>
              <a:gd name="connsiteY117" fmla="*/ 1031243 h 2041903"/>
              <a:gd name="connsiteX118" fmla="*/ 624916 w 10020924"/>
              <a:gd name="connsiteY118" fmla="*/ 697463 h 2041903"/>
              <a:gd name="connsiteX119" fmla="*/ 673201 w 10020924"/>
              <a:gd name="connsiteY119" fmla="*/ 463015 h 2041903"/>
              <a:gd name="connsiteX120" fmla="*/ 805966 w 10020924"/>
              <a:gd name="connsiteY120" fmla="*/ 263259 h 2041903"/>
              <a:gd name="connsiteX121" fmla="*/ 817834 w 10020924"/>
              <a:gd name="connsiteY121" fmla="*/ 0 h 2041903"/>
              <a:gd name="connsiteX122" fmla="*/ 963091 w 10020924"/>
              <a:gd name="connsiteY122" fmla="*/ 14770 h 2041903"/>
              <a:gd name="connsiteX123" fmla="*/ 1079167 w 10020924"/>
              <a:gd name="connsiteY123" fmla="*/ 48893 h 2041903"/>
              <a:gd name="connsiteX124" fmla="*/ 1194646 w 10020924"/>
              <a:gd name="connsiteY124" fmla="*/ 14436 h 2041903"/>
              <a:gd name="connsiteX125" fmla="*/ 1340583 w 10020924"/>
              <a:gd name="connsiteY125" fmla="*/ 0 h 2041903"/>
              <a:gd name="connsiteX126" fmla="*/ 1649693 w 10020924"/>
              <a:gd name="connsiteY126" fmla="*/ 72213 h 2041903"/>
              <a:gd name="connsiteX127" fmla="*/ 1910677 w 10020924"/>
              <a:gd name="connsiteY127" fmla="*/ 272891 h 2041903"/>
              <a:gd name="connsiteX128" fmla="*/ 2091072 w 10020924"/>
              <a:gd name="connsiteY128" fmla="*/ 578096 h 2041903"/>
              <a:gd name="connsiteX129" fmla="*/ 2158417 w 10020924"/>
              <a:gd name="connsiteY129" fmla="*/ 963886 h 2041903"/>
              <a:gd name="connsiteX130" fmla="*/ 2071704 w 10020924"/>
              <a:gd name="connsiteY130" fmla="*/ 1388805 h 2041903"/>
              <a:gd name="connsiteX131" fmla="*/ 1837251 w 10020924"/>
              <a:gd name="connsiteY131" fmla="*/ 1730875 h 2041903"/>
              <a:gd name="connsiteX132" fmla="*/ 1493585 w 10020924"/>
              <a:gd name="connsiteY132" fmla="*/ 1958956 h 2041903"/>
              <a:gd name="connsiteX133" fmla="*/ 1079208 w 10020924"/>
              <a:gd name="connsiteY133" fmla="*/ 2041903 h 2041903"/>
              <a:gd name="connsiteX134" fmla="*/ 664832 w 10020924"/>
              <a:gd name="connsiteY134" fmla="*/ 1958956 h 2041903"/>
              <a:gd name="connsiteX135" fmla="*/ 321166 w 10020924"/>
              <a:gd name="connsiteY135" fmla="*/ 1730875 h 2041903"/>
              <a:gd name="connsiteX136" fmla="*/ 86713 w 10020924"/>
              <a:gd name="connsiteY136" fmla="*/ 1388805 h 2041903"/>
              <a:gd name="connsiteX137" fmla="*/ 0 w 10020924"/>
              <a:gd name="connsiteY137" fmla="*/ 963886 h 2041903"/>
              <a:gd name="connsiteX138" fmla="*/ 67345 w 10020924"/>
              <a:gd name="connsiteY138" fmla="*/ 578096 h 2041903"/>
              <a:gd name="connsiteX139" fmla="*/ 247740 w 10020924"/>
              <a:gd name="connsiteY139" fmla="*/ 272891 h 2041903"/>
              <a:gd name="connsiteX140" fmla="*/ 508723 w 10020924"/>
              <a:gd name="connsiteY140" fmla="*/ 72213 h 2041903"/>
              <a:gd name="connsiteX141" fmla="*/ 817834 w 10020924"/>
              <a:gd name="connsiteY141" fmla="*/ 0 h 204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0020924" h="2041903">
                <a:moveTo>
                  <a:pt x="9329240" y="1080290"/>
                </a:moveTo>
                <a:cubicBezTo>
                  <a:pt x="9292358" y="1080290"/>
                  <a:pt x="9251983" y="1096116"/>
                  <a:pt x="9251983" y="1187029"/>
                </a:cubicBezTo>
                <a:cubicBezTo>
                  <a:pt x="9251983" y="1277880"/>
                  <a:pt x="9292801" y="1296468"/>
                  <a:pt x="9329240" y="1296468"/>
                </a:cubicBezTo>
                <a:lnTo>
                  <a:pt x="9782722" y="1296468"/>
                </a:lnTo>
                <a:lnTo>
                  <a:pt x="9782722" y="1080290"/>
                </a:lnTo>
                <a:close/>
                <a:moveTo>
                  <a:pt x="7331825" y="1080290"/>
                </a:moveTo>
                <a:cubicBezTo>
                  <a:pt x="7294927" y="1080290"/>
                  <a:pt x="7254583" y="1096116"/>
                  <a:pt x="7254583" y="1187029"/>
                </a:cubicBezTo>
                <a:cubicBezTo>
                  <a:pt x="7254583" y="1277880"/>
                  <a:pt x="7295379" y="1296468"/>
                  <a:pt x="7331825" y="1296468"/>
                </a:cubicBezTo>
                <a:lnTo>
                  <a:pt x="7785307" y="1296468"/>
                </a:lnTo>
                <a:lnTo>
                  <a:pt x="7785307" y="1080290"/>
                </a:lnTo>
                <a:close/>
                <a:moveTo>
                  <a:pt x="6171264" y="689323"/>
                </a:moveTo>
                <a:lnTo>
                  <a:pt x="6171264" y="1297318"/>
                </a:lnTo>
                <a:lnTo>
                  <a:pt x="6558679" y="1297318"/>
                </a:lnTo>
                <a:cubicBezTo>
                  <a:pt x="6645146" y="1297318"/>
                  <a:pt x="6679368" y="1257837"/>
                  <a:pt x="6679368" y="1156413"/>
                </a:cubicBezTo>
                <a:lnTo>
                  <a:pt x="6679368" y="830244"/>
                </a:lnTo>
                <a:cubicBezTo>
                  <a:pt x="6679368" y="728827"/>
                  <a:pt x="6645146" y="689323"/>
                  <a:pt x="6558679" y="689323"/>
                </a:cubicBezTo>
                <a:close/>
                <a:moveTo>
                  <a:pt x="9072763" y="463851"/>
                </a:moveTo>
                <a:lnTo>
                  <a:pt x="9678449" y="463851"/>
                </a:lnTo>
                <a:cubicBezTo>
                  <a:pt x="9932730" y="463851"/>
                  <a:pt x="10020924" y="559816"/>
                  <a:pt x="10020924" y="826574"/>
                </a:cubicBezTo>
                <a:lnTo>
                  <a:pt x="10020924" y="1522671"/>
                </a:lnTo>
                <a:lnTo>
                  <a:pt x="9304207" y="1522671"/>
                </a:lnTo>
                <a:cubicBezTo>
                  <a:pt x="9111641" y="1522671"/>
                  <a:pt x="9015771" y="1435849"/>
                  <a:pt x="9015771" y="1219793"/>
                </a:cubicBezTo>
                <a:lnTo>
                  <a:pt x="9015771" y="1169781"/>
                </a:lnTo>
                <a:cubicBezTo>
                  <a:pt x="9015771" y="959714"/>
                  <a:pt x="9108248" y="866738"/>
                  <a:pt x="9294061" y="866738"/>
                </a:cubicBezTo>
                <a:lnTo>
                  <a:pt x="9782829" y="866738"/>
                </a:lnTo>
                <a:cubicBezTo>
                  <a:pt x="9782829" y="858122"/>
                  <a:pt x="9782707" y="829861"/>
                  <a:pt x="9782707" y="829349"/>
                </a:cubicBezTo>
                <a:cubicBezTo>
                  <a:pt x="9782707" y="727955"/>
                  <a:pt x="9749047" y="688428"/>
                  <a:pt x="9662481" y="688428"/>
                </a:cubicBezTo>
                <a:lnTo>
                  <a:pt x="9072763" y="688428"/>
                </a:lnTo>
                <a:close/>
                <a:moveTo>
                  <a:pt x="8071817" y="463851"/>
                </a:moveTo>
                <a:lnTo>
                  <a:pt x="8991911" y="463851"/>
                </a:lnTo>
                <a:lnTo>
                  <a:pt x="8991911" y="686668"/>
                </a:lnTo>
                <a:lnTo>
                  <a:pt x="8652240" y="686668"/>
                </a:lnTo>
                <a:lnTo>
                  <a:pt x="8652240" y="1522955"/>
                </a:lnTo>
                <a:lnTo>
                  <a:pt x="8411534" y="1522955"/>
                </a:lnTo>
                <a:lnTo>
                  <a:pt x="8411534" y="686668"/>
                </a:lnTo>
                <a:lnTo>
                  <a:pt x="8071817" y="686668"/>
                </a:lnTo>
                <a:close/>
                <a:moveTo>
                  <a:pt x="7075333" y="463851"/>
                </a:moveTo>
                <a:lnTo>
                  <a:pt x="7681075" y="463851"/>
                </a:lnTo>
                <a:cubicBezTo>
                  <a:pt x="7935303" y="463851"/>
                  <a:pt x="8023424" y="559816"/>
                  <a:pt x="8023417" y="826574"/>
                </a:cubicBezTo>
                <a:lnTo>
                  <a:pt x="8023417" y="1522671"/>
                </a:lnTo>
                <a:lnTo>
                  <a:pt x="7306759" y="1522671"/>
                </a:lnTo>
                <a:cubicBezTo>
                  <a:pt x="7114170" y="1522671"/>
                  <a:pt x="7018293" y="1435849"/>
                  <a:pt x="7018293" y="1219793"/>
                </a:cubicBezTo>
                <a:lnTo>
                  <a:pt x="7018293" y="1169781"/>
                </a:lnTo>
                <a:cubicBezTo>
                  <a:pt x="7018293" y="959714"/>
                  <a:pt x="7110792" y="866738"/>
                  <a:pt x="7296628" y="866738"/>
                </a:cubicBezTo>
                <a:lnTo>
                  <a:pt x="7785307" y="866738"/>
                </a:lnTo>
                <a:lnTo>
                  <a:pt x="7785307" y="829349"/>
                </a:lnTo>
                <a:cubicBezTo>
                  <a:pt x="7785307" y="727955"/>
                  <a:pt x="7751547" y="688428"/>
                  <a:pt x="7665080" y="688428"/>
                </a:cubicBezTo>
                <a:lnTo>
                  <a:pt x="7075333" y="688428"/>
                </a:lnTo>
                <a:close/>
                <a:moveTo>
                  <a:pt x="5930572" y="463851"/>
                </a:moveTo>
                <a:lnTo>
                  <a:pt x="6574718" y="463851"/>
                </a:lnTo>
                <a:cubicBezTo>
                  <a:pt x="6817412" y="463851"/>
                  <a:pt x="6925013" y="557409"/>
                  <a:pt x="6925013" y="834884"/>
                </a:cubicBezTo>
                <a:lnTo>
                  <a:pt x="6925013" y="1151743"/>
                </a:lnTo>
                <a:cubicBezTo>
                  <a:pt x="6925013" y="1394650"/>
                  <a:pt x="6843589" y="1522671"/>
                  <a:pt x="6585968" y="1522671"/>
                </a:cubicBezTo>
                <a:lnTo>
                  <a:pt x="5930572" y="1522671"/>
                </a:lnTo>
                <a:close/>
                <a:moveTo>
                  <a:pt x="4717895" y="463851"/>
                </a:moveTo>
                <a:lnTo>
                  <a:pt x="5638093" y="463851"/>
                </a:lnTo>
                <a:lnTo>
                  <a:pt x="5638093" y="686668"/>
                </a:lnTo>
                <a:lnTo>
                  <a:pt x="5298318" y="686668"/>
                </a:lnTo>
                <a:lnTo>
                  <a:pt x="5298318" y="1522955"/>
                </a:lnTo>
                <a:lnTo>
                  <a:pt x="5057626" y="1522955"/>
                </a:lnTo>
                <a:lnTo>
                  <a:pt x="5057626" y="686668"/>
                </a:lnTo>
                <a:lnTo>
                  <a:pt x="4717895" y="686668"/>
                </a:lnTo>
                <a:close/>
                <a:moveTo>
                  <a:pt x="3721291" y="463851"/>
                </a:moveTo>
                <a:lnTo>
                  <a:pt x="4641430" y="463851"/>
                </a:lnTo>
                <a:lnTo>
                  <a:pt x="4641430" y="686668"/>
                </a:lnTo>
                <a:lnTo>
                  <a:pt x="4301654" y="686668"/>
                </a:lnTo>
                <a:lnTo>
                  <a:pt x="4301654" y="1522955"/>
                </a:lnTo>
                <a:lnTo>
                  <a:pt x="4061067" y="1522955"/>
                </a:lnTo>
                <a:lnTo>
                  <a:pt x="4061067" y="686668"/>
                </a:lnTo>
                <a:lnTo>
                  <a:pt x="3721291" y="686668"/>
                </a:lnTo>
                <a:close/>
                <a:moveTo>
                  <a:pt x="2809822" y="452019"/>
                </a:moveTo>
                <a:cubicBezTo>
                  <a:pt x="2915562" y="452019"/>
                  <a:pt x="2970732" y="501487"/>
                  <a:pt x="3016077" y="572753"/>
                </a:cubicBezTo>
                <a:cubicBezTo>
                  <a:pt x="3055320" y="634446"/>
                  <a:pt x="3376830" y="1260842"/>
                  <a:pt x="3381948" y="1270566"/>
                </a:cubicBezTo>
                <a:cubicBezTo>
                  <a:pt x="3386677" y="1279328"/>
                  <a:pt x="3393442" y="1285729"/>
                  <a:pt x="3400240" y="1281756"/>
                </a:cubicBezTo>
                <a:cubicBezTo>
                  <a:pt x="3406237" y="1278349"/>
                  <a:pt x="3406646" y="1267378"/>
                  <a:pt x="3406134" y="1255736"/>
                </a:cubicBezTo>
                <a:cubicBezTo>
                  <a:pt x="3405492" y="1241619"/>
                  <a:pt x="3402657" y="1171378"/>
                  <a:pt x="3402657" y="1123946"/>
                </a:cubicBezTo>
                <a:lnTo>
                  <a:pt x="3402657" y="463522"/>
                </a:lnTo>
                <a:lnTo>
                  <a:pt x="3639813" y="463522"/>
                </a:lnTo>
                <a:lnTo>
                  <a:pt x="3639813" y="1255333"/>
                </a:lnTo>
                <a:cubicBezTo>
                  <a:pt x="3639813" y="1491113"/>
                  <a:pt x="3523557" y="1534727"/>
                  <a:pt x="3425426" y="1534727"/>
                </a:cubicBezTo>
                <a:cubicBezTo>
                  <a:pt x="3319670" y="1534727"/>
                  <a:pt x="3264509" y="1485221"/>
                  <a:pt x="3219125" y="1413949"/>
                </a:cubicBezTo>
                <a:cubicBezTo>
                  <a:pt x="3155813" y="1314503"/>
                  <a:pt x="2857763" y="724966"/>
                  <a:pt x="2853165" y="716135"/>
                </a:cubicBezTo>
                <a:cubicBezTo>
                  <a:pt x="2848558" y="707335"/>
                  <a:pt x="2841793" y="701034"/>
                  <a:pt x="2834887" y="704930"/>
                </a:cubicBezTo>
                <a:cubicBezTo>
                  <a:pt x="2829005" y="708344"/>
                  <a:pt x="2828497" y="719338"/>
                  <a:pt x="2829009" y="730980"/>
                </a:cubicBezTo>
                <a:cubicBezTo>
                  <a:pt x="2829628" y="745090"/>
                  <a:pt x="2832590" y="815378"/>
                  <a:pt x="2832590" y="862725"/>
                </a:cubicBezTo>
                <a:lnTo>
                  <a:pt x="2832590" y="1523194"/>
                </a:lnTo>
                <a:lnTo>
                  <a:pt x="2595360" y="1523194"/>
                </a:lnTo>
                <a:lnTo>
                  <a:pt x="2595360" y="731368"/>
                </a:lnTo>
                <a:cubicBezTo>
                  <a:pt x="2595360" y="495611"/>
                  <a:pt x="2711606" y="452019"/>
                  <a:pt x="2809822" y="452019"/>
                </a:cubicBezTo>
                <a:close/>
                <a:moveTo>
                  <a:pt x="1079247" y="330967"/>
                </a:moveTo>
                <a:cubicBezTo>
                  <a:pt x="1039101" y="354484"/>
                  <a:pt x="989740" y="403598"/>
                  <a:pt x="952084" y="465588"/>
                </a:cubicBezTo>
                <a:cubicBezTo>
                  <a:pt x="914427" y="527577"/>
                  <a:pt x="887125" y="603548"/>
                  <a:pt x="887125" y="684091"/>
                </a:cubicBezTo>
                <a:cubicBezTo>
                  <a:pt x="887125" y="743091"/>
                  <a:pt x="906578" y="795805"/>
                  <a:pt x="940315" y="833769"/>
                </a:cubicBezTo>
                <a:cubicBezTo>
                  <a:pt x="974052" y="871732"/>
                  <a:pt x="1022072" y="894946"/>
                  <a:pt x="1079206" y="894946"/>
                </a:cubicBezTo>
                <a:cubicBezTo>
                  <a:pt x="1136340" y="894946"/>
                  <a:pt x="1184360" y="871732"/>
                  <a:pt x="1218097" y="833769"/>
                </a:cubicBezTo>
                <a:cubicBezTo>
                  <a:pt x="1251833" y="795805"/>
                  <a:pt x="1271286" y="743091"/>
                  <a:pt x="1271286" y="684091"/>
                </a:cubicBezTo>
                <a:cubicBezTo>
                  <a:pt x="1271286" y="603548"/>
                  <a:pt x="1243984" y="527577"/>
                  <a:pt x="1206328" y="465588"/>
                </a:cubicBezTo>
                <a:cubicBezTo>
                  <a:pt x="1168672" y="403598"/>
                  <a:pt x="1110735" y="347874"/>
                  <a:pt x="1079247" y="330967"/>
                </a:cubicBezTo>
                <a:close/>
                <a:moveTo>
                  <a:pt x="805966" y="263259"/>
                </a:moveTo>
                <a:cubicBezTo>
                  <a:pt x="686954" y="257894"/>
                  <a:pt x="551782" y="326830"/>
                  <a:pt x="446364" y="449558"/>
                </a:cubicBezTo>
                <a:cubicBezTo>
                  <a:pt x="393654" y="510922"/>
                  <a:pt x="348383" y="585734"/>
                  <a:pt x="316290" y="671430"/>
                </a:cubicBezTo>
                <a:cubicBezTo>
                  <a:pt x="284196" y="757125"/>
                  <a:pt x="265280" y="853705"/>
                  <a:pt x="265280" y="958605"/>
                </a:cubicBezTo>
                <a:cubicBezTo>
                  <a:pt x="265280" y="1073486"/>
                  <a:pt x="288318" y="1182036"/>
                  <a:pt x="329833" y="1280240"/>
                </a:cubicBezTo>
                <a:cubicBezTo>
                  <a:pt x="371348" y="1378444"/>
                  <a:pt x="431341" y="1466303"/>
                  <a:pt x="505249" y="1539802"/>
                </a:cubicBezTo>
                <a:cubicBezTo>
                  <a:pt x="579158" y="1613301"/>
                  <a:pt x="666983" y="1672440"/>
                  <a:pt x="764163" y="1713204"/>
                </a:cubicBezTo>
                <a:cubicBezTo>
                  <a:pt x="861343" y="1753969"/>
                  <a:pt x="967878" y="1776358"/>
                  <a:pt x="1079208" y="1776358"/>
                </a:cubicBezTo>
                <a:cubicBezTo>
                  <a:pt x="1190538" y="1776358"/>
                  <a:pt x="1297074" y="1753969"/>
                  <a:pt x="1394254" y="1713204"/>
                </a:cubicBezTo>
                <a:cubicBezTo>
                  <a:pt x="1491434" y="1672440"/>
                  <a:pt x="1579259" y="1613301"/>
                  <a:pt x="1653167" y="1539802"/>
                </a:cubicBezTo>
                <a:cubicBezTo>
                  <a:pt x="1727076" y="1466303"/>
                  <a:pt x="1787068" y="1378444"/>
                  <a:pt x="1828584" y="1280240"/>
                </a:cubicBezTo>
                <a:cubicBezTo>
                  <a:pt x="1870099" y="1182036"/>
                  <a:pt x="1893137" y="1073486"/>
                  <a:pt x="1893137" y="958605"/>
                </a:cubicBezTo>
                <a:cubicBezTo>
                  <a:pt x="1893137" y="855344"/>
                  <a:pt x="1874740" y="759689"/>
                  <a:pt x="1843297" y="674433"/>
                </a:cubicBezTo>
                <a:cubicBezTo>
                  <a:pt x="1811852" y="589176"/>
                  <a:pt x="1767361" y="514318"/>
                  <a:pt x="1715171" y="452650"/>
                </a:cubicBezTo>
                <a:cubicBezTo>
                  <a:pt x="1610792" y="329313"/>
                  <a:pt x="1475621" y="258738"/>
                  <a:pt x="1352451" y="263259"/>
                </a:cubicBezTo>
                <a:cubicBezTo>
                  <a:pt x="1412945" y="322179"/>
                  <a:pt x="1458865" y="394141"/>
                  <a:pt x="1489332" y="469668"/>
                </a:cubicBezTo>
                <a:cubicBezTo>
                  <a:pt x="1519800" y="545194"/>
                  <a:pt x="1534815" y="624285"/>
                  <a:pt x="1533501" y="697463"/>
                </a:cubicBezTo>
                <a:cubicBezTo>
                  <a:pt x="1533501" y="833577"/>
                  <a:pt x="1479467" y="949424"/>
                  <a:pt x="1395669" y="1031243"/>
                </a:cubicBezTo>
                <a:cubicBezTo>
                  <a:pt x="1311871" y="1113062"/>
                  <a:pt x="1198308" y="1160853"/>
                  <a:pt x="1079208" y="1160853"/>
                </a:cubicBezTo>
                <a:cubicBezTo>
                  <a:pt x="960109" y="1160853"/>
                  <a:pt x="846546" y="1113062"/>
                  <a:pt x="762748" y="1031243"/>
                </a:cubicBezTo>
                <a:cubicBezTo>
                  <a:pt x="678950" y="949424"/>
                  <a:pt x="624916" y="833577"/>
                  <a:pt x="624916" y="697463"/>
                </a:cubicBezTo>
                <a:cubicBezTo>
                  <a:pt x="624916" y="618236"/>
                  <a:pt x="642018" y="537734"/>
                  <a:pt x="673201" y="463015"/>
                </a:cubicBezTo>
                <a:cubicBezTo>
                  <a:pt x="704383" y="388296"/>
                  <a:pt x="749646" y="319359"/>
                  <a:pt x="805966" y="263259"/>
                </a:cubicBezTo>
                <a:close/>
                <a:moveTo>
                  <a:pt x="817834" y="0"/>
                </a:moveTo>
                <a:cubicBezTo>
                  <a:pt x="866589" y="0"/>
                  <a:pt x="917272" y="5772"/>
                  <a:pt x="963091" y="14770"/>
                </a:cubicBezTo>
                <a:cubicBezTo>
                  <a:pt x="1008909" y="23768"/>
                  <a:pt x="1049865" y="35991"/>
                  <a:pt x="1079167" y="48893"/>
                </a:cubicBezTo>
                <a:cubicBezTo>
                  <a:pt x="1107617" y="35545"/>
                  <a:pt x="1148593" y="23322"/>
                  <a:pt x="1194646" y="14436"/>
                </a:cubicBezTo>
                <a:cubicBezTo>
                  <a:pt x="1240699" y="5549"/>
                  <a:pt x="1291827" y="0"/>
                  <a:pt x="1340583" y="0"/>
                </a:cubicBezTo>
                <a:cubicBezTo>
                  <a:pt x="1448034" y="0"/>
                  <a:pt x="1552874" y="25401"/>
                  <a:pt x="1649693" y="72213"/>
                </a:cubicBezTo>
                <a:cubicBezTo>
                  <a:pt x="1746513" y="119025"/>
                  <a:pt x="1835310" y="187248"/>
                  <a:pt x="1910677" y="272891"/>
                </a:cubicBezTo>
                <a:cubicBezTo>
                  <a:pt x="1986043" y="358535"/>
                  <a:pt x="2047978" y="461600"/>
                  <a:pt x="2091072" y="578096"/>
                </a:cubicBezTo>
                <a:cubicBezTo>
                  <a:pt x="2134165" y="694592"/>
                  <a:pt x="2158417" y="824518"/>
                  <a:pt x="2158417" y="963886"/>
                </a:cubicBezTo>
                <a:cubicBezTo>
                  <a:pt x="2158417" y="1115873"/>
                  <a:pt x="2127372" y="1259243"/>
                  <a:pt x="2071704" y="1388805"/>
                </a:cubicBezTo>
                <a:cubicBezTo>
                  <a:pt x="2016036" y="1518366"/>
                  <a:pt x="1935744" y="1634120"/>
                  <a:pt x="1837251" y="1730875"/>
                </a:cubicBezTo>
                <a:cubicBezTo>
                  <a:pt x="1738759" y="1827631"/>
                  <a:pt x="1622064" y="1905388"/>
                  <a:pt x="1493585" y="1958956"/>
                </a:cubicBezTo>
                <a:cubicBezTo>
                  <a:pt x="1365105" y="2012524"/>
                  <a:pt x="1224841" y="2041903"/>
                  <a:pt x="1079208" y="2041903"/>
                </a:cubicBezTo>
                <a:cubicBezTo>
                  <a:pt x="933576" y="2041903"/>
                  <a:pt x="793312" y="2012524"/>
                  <a:pt x="664832" y="1958956"/>
                </a:cubicBezTo>
                <a:cubicBezTo>
                  <a:pt x="536353" y="1905388"/>
                  <a:pt x="419658" y="1827631"/>
                  <a:pt x="321166" y="1730875"/>
                </a:cubicBezTo>
                <a:cubicBezTo>
                  <a:pt x="222673" y="1634120"/>
                  <a:pt x="142381" y="1518366"/>
                  <a:pt x="86713" y="1388805"/>
                </a:cubicBezTo>
                <a:cubicBezTo>
                  <a:pt x="31045" y="1259243"/>
                  <a:pt x="0" y="1115873"/>
                  <a:pt x="0" y="963886"/>
                </a:cubicBezTo>
                <a:cubicBezTo>
                  <a:pt x="0" y="824518"/>
                  <a:pt x="24252" y="694592"/>
                  <a:pt x="67345" y="578096"/>
                </a:cubicBezTo>
                <a:cubicBezTo>
                  <a:pt x="110439" y="461600"/>
                  <a:pt x="172374" y="358535"/>
                  <a:pt x="247740" y="272891"/>
                </a:cubicBezTo>
                <a:cubicBezTo>
                  <a:pt x="323106" y="187248"/>
                  <a:pt x="411904" y="119025"/>
                  <a:pt x="508723" y="72213"/>
                </a:cubicBezTo>
                <a:cubicBezTo>
                  <a:pt x="605542" y="25401"/>
                  <a:pt x="710382" y="0"/>
                  <a:pt x="817834" y="0"/>
                </a:cubicBezTo>
                <a:close/>
              </a:path>
            </a:pathLst>
          </a:custGeom>
          <a:solidFill>
            <a:srgbClr val="FFFFFF"/>
          </a:solidFill>
          <a:ln w="7639" cap="flat">
            <a:noFill/>
            <a:prstDash val="solid"/>
            <a:miter/>
          </a:ln>
        </p:spPr>
        <p:txBody>
          <a:bodyPr rtlCol="0" anchor="ctr"/>
          <a:lstStyle/>
          <a:p>
            <a:endParaRPr lang="en-US"/>
          </a:p>
        </p:txBody>
      </p:sp>
    </p:spTree>
    <p:extLst>
      <p:ext uri="{BB962C8B-B14F-4D97-AF65-F5344CB8AC3E}">
        <p14:creationId xmlns:p14="http://schemas.microsoft.com/office/powerpoint/2010/main" val="131251891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26_Diseño personalizado">
  <p:cSld name="26_Diseño personalizado">
    <p:spTree>
      <p:nvGrpSpPr>
        <p:cNvPr id="1" name="Shape 19"/>
        <p:cNvGrpSpPr/>
        <p:nvPr/>
      </p:nvGrpSpPr>
      <p:grpSpPr>
        <a:xfrm>
          <a:off x="0" y="0"/>
          <a:ext cx="0" cy="0"/>
          <a:chOff x="0" y="0"/>
          <a:chExt cx="0" cy="0"/>
        </a:xfrm>
      </p:grpSpPr>
      <p:sp>
        <p:nvSpPr>
          <p:cNvPr id="20" name="Google Shape;20;p3"/>
          <p:cNvSpPr txBox="1">
            <a:spLocks noGrp="1"/>
          </p:cNvSpPr>
          <p:nvPr>
            <p:ph type="ctrTitle"/>
          </p:nvPr>
        </p:nvSpPr>
        <p:spPr>
          <a:xfrm>
            <a:off x="2476751" y="543292"/>
            <a:ext cx="7590000" cy="1022800"/>
          </a:xfrm>
          <a:prstGeom prst="rect">
            <a:avLst/>
          </a:prstGeom>
          <a:noFill/>
          <a:ln>
            <a:noFill/>
          </a:ln>
        </p:spPr>
        <p:txBody>
          <a:bodyPr spcFirstLastPara="1" wrap="square" lIns="68575" tIns="34275" rIns="68575" bIns="34275" anchor="t" anchorCtr="0">
            <a:noAutofit/>
          </a:bodyPr>
          <a:lstStyle>
            <a:lvl1pPr marR="0" lvl="0" algn="l" rtl="0">
              <a:lnSpc>
                <a:spcPct val="90000"/>
              </a:lnSpc>
              <a:spcBef>
                <a:spcPts val="0"/>
              </a:spcBef>
              <a:spcAft>
                <a:spcPts val="0"/>
              </a:spcAft>
              <a:buClr>
                <a:srgbClr val="434343"/>
              </a:buClr>
              <a:buSzPts val="2100"/>
              <a:buFont typeface="Ubuntu"/>
              <a:buNone/>
              <a:defRPr sz="2800" b="1" i="0" u="none" strike="noStrike" cap="none">
                <a:solidFill>
                  <a:srgbClr val="434343"/>
                </a:solidFill>
                <a:latin typeface="Ubuntu"/>
                <a:ea typeface="Ubuntu"/>
                <a:cs typeface="Ubuntu"/>
                <a:sym typeface="Ubuntu"/>
              </a:defRPr>
            </a:lvl1pPr>
            <a:lvl2pPr marR="0" lvl="1"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9pPr>
          </a:lstStyle>
          <a:p>
            <a:endParaRPr/>
          </a:p>
        </p:txBody>
      </p:sp>
      <p:sp>
        <p:nvSpPr>
          <p:cNvPr id="21" name="Google Shape;21;p3"/>
          <p:cNvSpPr txBox="1">
            <a:spLocks noGrp="1"/>
          </p:cNvSpPr>
          <p:nvPr>
            <p:ph type="subTitle" idx="1"/>
          </p:nvPr>
        </p:nvSpPr>
        <p:spPr>
          <a:xfrm>
            <a:off x="727651" y="1942451"/>
            <a:ext cx="10795600" cy="4218400"/>
          </a:xfrm>
          <a:prstGeom prst="rect">
            <a:avLst/>
          </a:prstGeom>
          <a:noFill/>
          <a:ln>
            <a:noFill/>
          </a:ln>
        </p:spPr>
        <p:txBody>
          <a:bodyPr spcFirstLastPara="1" wrap="square" lIns="68575" tIns="68575" rIns="68575" bIns="68575" anchor="t" anchorCtr="0">
            <a:noAutofit/>
          </a:bodyPr>
          <a:lstStyle>
            <a:lvl1pPr marR="0" lvl="0" algn="l" rtl="0">
              <a:lnSpc>
                <a:spcPct val="100000"/>
              </a:lnSpc>
              <a:spcBef>
                <a:spcPts val="0"/>
              </a:spcBef>
              <a:spcAft>
                <a:spcPts val="0"/>
              </a:spcAft>
              <a:buClr>
                <a:srgbClr val="000000"/>
              </a:buClr>
              <a:buSzPts val="1400"/>
              <a:buFont typeface="Arial"/>
              <a:buNone/>
              <a:defRPr sz="1867" b="0" i="0" u="none" strike="noStrike" cap="none">
                <a:solidFill>
                  <a:srgbClr val="434343"/>
                </a:solidFill>
                <a:latin typeface="Ubuntu"/>
                <a:ea typeface="Ubuntu"/>
                <a:cs typeface="Ubuntu"/>
                <a:sym typeface="Ubuntu"/>
              </a:defRPr>
            </a:lvl1pPr>
            <a:lvl2pPr marR="0" lvl="1"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9pPr>
          </a:lstStyle>
          <a:p>
            <a:endParaRPr/>
          </a:p>
        </p:txBody>
      </p:sp>
      <p:sp>
        <p:nvSpPr>
          <p:cNvPr id="4" name="Holder 6">
            <a:extLst>
              <a:ext uri="{FF2B5EF4-FFF2-40B4-BE49-F238E27FC236}">
                <a16:creationId xmlns:a16="http://schemas.microsoft.com/office/drawing/2014/main" id="{D6F16813-322D-7E47-8D85-026FBB44A591}"/>
              </a:ext>
            </a:extLst>
          </p:cNvPr>
          <p:cNvSpPr txBox="1">
            <a:spLocks/>
          </p:cNvSpPr>
          <p:nvPr userDrawn="1"/>
        </p:nvSpPr>
        <p:spPr>
          <a:xfrm>
            <a:off x="11430000" y="6590809"/>
            <a:ext cx="611681" cy="146194"/>
          </a:xfrm>
          <a:prstGeom prst="rect">
            <a:avLst/>
          </a:prstGeom>
        </p:spPr>
        <p:txBody>
          <a:bodyPr lIns="0" tIns="0" rIns="0" bIns="0"/>
          <a:lstStyle>
            <a:defPPr>
              <a:defRPr lang="es-ES"/>
            </a:defPPr>
            <a:lvl1pPr marL="0" algn="ctr" defTabSz="914400" rtl="0" eaLnBrk="1" latinLnBrk="0" hangingPunct="1">
              <a:defRPr sz="950" b="1" i="0" kern="1200">
                <a:solidFill>
                  <a:schemeClr val="tx1">
                    <a:tint val="75000"/>
                  </a:schemeClr>
                </a:solidFill>
                <a:latin typeface="Century Gothic" panose="020B0502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FA92D62-9D92-0542-98DD-3DAA296D71C9}" type="slidenum">
              <a:rPr lang="es-ES" smtClean="0"/>
              <a:pPr/>
              <a:t>‹#›</a:t>
            </a:fld>
            <a:endParaRPr lang="es-ES"/>
          </a:p>
        </p:txBody>
      </p:sp>
    </p:spTree>
    <p:extLst>
      <p:ext uri="{BB962C8B-B14F-4D97-AF65-F5344CB8AC3E}">
        <p14:creationId xmlns:p14="http://schemas.microsoft.com/office/powerpoint/2010/main" val="10250771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FDE1F7-62EC-6D2E-396B-811A50532381}"/>
              </a:ext>
            </a:extLst>
          </p:cNvPr>
          <p:cNvSpPr>
            <a:spLocks noGrp="1"/>
          </p:cNvSpPr>
          <p:nvPr>
            <p:ph type="title"/>
          </p:nvPr>
        </p:nvSpPr>
        <p:spPr>
          <a:xfrm>
            <a:off x="3493008" y="539496"/>
            <a:ext cx="7772400" cy="557784"/>
          </a:xfrm>
          <a:prstGeom prst="rect">
            <a:avLst/>
          </a:prstGeom>
        </p:spPr>
        <p:txBody>
          <a:bodyPr lIns="0" tIns="0" rIns="0" bIns="0"/>
          <a:lstStyle>
            <a:lvl1pPr>
              <a:defRPr sz="2000">
                <a:solidFill>
                  <a:schemeClr val="tx2"/>
                </a:solidFill>
                <a:latin typeface="Georgia" panose="02040502050405020303" pitchFamily="18" charset="0"/>
              </a:defRPr>
            </a:lvl1pPr>
          </a:lstStyle>
          <a:p>
            <a:r>
              <a:rPr lang="en-US"/>
              <a:t>Click to edit Master title style</a:t>
            </a:r>
          </a:p>
        </p:txBody>
      </p:sp>
      <p:sp>
        <p:nvSpPr>
          <p:cNvPr id="8" name="Text Placeholder 7">
            <a:extLst>
              <a:ext uri="{FF2B5EF4-FFF2-40B4-BE49-F238E27FC236}">
                <a16:creationId xmlns:a16="http://schemas.microsoft.com/office/drawing/2014/main" id="{3C1BD431-D4B4-298C-982D-B1EB3888F5D3}"/>
              </a:ext>
            </a:extLst>
          </p:cNvPr>
          <p:cNvSpPr>
            <a:spLocks noGrp="1"/>
          </p:cNvSpPr>
          <p:nvPr>
            <p:ph type="body" sz="quarter" idx="11" hasCustomPrompt="1"/>
          </p:nvPr>
        </p:nvSpPr>
        <p:spPr>
          <a:xfrm>
            <a:off x="3492500" y="365760"/>
            <a:ext cx="4297680" cy="128016"/>
          </a:xfrm>
          <a:prstGeom prst="rect">
            <a:avLst/>
          </a:prstGeom>
        </p:spPr>
        <p:txBody>
          <a:bodyPr lIns="0" tIns="0" rIns="0" bIns="0"/>
          <a:lstStyle>
            <a:lvl1pPr marL="0" indent="0">
              <a:buNone/>
              <a:defRPr sz="800">
                <a:solidFill>
                  <a:schemeClr val="bg2"/>
                </a:solidFill>
                <a:latin typeface="+mn-lt"/>
              </a:defRPr>
            </a:lvl1pPr>
            <a:lvl2pPr marL="457200" indent="0">
              <a:buNone/>
              <a:defRPr sz="800">
                <a:solidFill>
                  <a:schemeClr val="bg2"/>
                </a:solidFill>
                <a:latin typeface="+mn-lt"/>
              </a:defRPr>
            </a:lvl2pPr>
            <a:lvl3pPr marL="914400" indent="0">
              <a:buNone/>
              <a:defRPr sz="800">
                <a:solidFill>
                  <a:schemeClr val="bg2"/>
                </a:solidFill>
                <a:latin typeface="+mn-lt"/>
              </a:defRPr>
            </a:lvl3pPr>
            <a:lvl4pPr marL="1371600" indent="0">
              <a:buNone/>
              <a:defRPr sz="800">
                <a:solidFill>
                  <a:schemeClr val="bg2"/>
                </a:solidFill>
                <a:latin typeface="+mn-lt"/>
              </a:defRPr>
            </a:lvl4pPr>
            <a:lvl5pPr marL="1828800" indent="0">
              <a:buNone/>
              <a:defRPr sz="800">
                <a:solidFill>
                  <a:schemeClr val="bg2"/>
                </a:solidFill>
                <a:latin typeface="+mn-lt"/>
              </a:defRPr>
            </a:lvl5pPr>
          </a:lstStyle>
          <a:p>
            <a:pPr lvl="0"/>
            <a:r>
              <a:rPr lang="en-US"/>
              <a:t>Case study | Company | Region</a:t>
            </a:r>
          </a:p>
        </p:txBody>
      </p:sp>
      <p:sp>
        <p:nvSpPr>
          <p:cNvPr id="10" name="Text Placeholder 9">
            <a:extLst>
              <a:ext uri="{FF2B5EF4-FFF2-40B4-BE49-F238E27FC236}">
                <a16:creationId xmlns:a16="http://schemas.microsoft.com/office/drawing/2014/main" id="{C985DE3C-7BC8-9785-98E8-9A797E9ED09E}"/>
              </a:ext>
            </a:extLst>
          </p:cNvPr>
          <p:cNvSpPr>
            <a:spLocks noGrp="1"/>
          </p:cNvSpPr>
          <p:nvPr>
            <p:ph type="body" sz="quarter" idx="12" hasCustomPrompt="1"/>
          </p:nvPr>
        </p:nvSpPr>
        <p:spPr>
          <a:xfrm>
            <a:off x="3493008" y="1280160"/>
            <a:ext cx="3419856" cy="182880"/>
          </a:xfrm>
          <a:prstGeom prst="rect">
            <a:avLst/>
          </a:prstGeom>
        </p:spPr>
        <p:txBody>
          <a:bodyPr lIns="0" tIns="0" rIns="0" bIns="0"/>
          <a:lstStyle>
            <a:lvl1pPr marL="0" indent="0">
              <a:buNone/>
              <a:defRPr sz="1200" b="1">
                <a:solidFill>
                  <a:schemeClr val="bg2"/>
                </a:solidFill>
              </a:defRPr>
            </a:lvl1pPr>
            <a:lvl2pPr marL="457200" indent="0">
              <a:buNone/>
              <a:defRPr sz="1200" b="1">
                <a:solidFill>
                  <a:schemeClr val="bg2"/>
                </a:solidFill>
              </a:defRPr>
            </a:lvl2pPr>
            <a:lvl3pPr marL="914400" indent="0">
              <a:buNone/>
              <a:defRPr sz="1200" b="1">
                <a:solidFill>
                  <a:schemeClr val="bg2"/>
                </a:solidFill>
              </a:defRPr>
            </a:lvl3pPr>
            <a:lvl4pPr marL="1371600" indent="0">
              <a:buNone/>
              <a:defRPr sz="1200" b="1">
                <a:solidFill>
                  <a:schemeClr val="bg2"/>
                </a:solidFill>
              </a:defRPr>
            </a:lvl4pPr>
            <a:lvl5pPr marL="1828800" indent="0">
              <a:buNone/>
              <a:defRPr sz="1200" b="1">
                <a:solidFill>
                  <a:schemeClr val="bg2"/>
                </a:solidFill>
              </a:defRPr>
            </a:lvl5pPr>
          </a:lstStyle>
          <a:p>
            <a:pPr lvl="0"/>
            <a:r>
              <a:rPr lang="en-US"/>
              <a:t>Business need</a:t>
            </a:r>
          </a:p>
        </p:txBody>
      </p:sp>
      <p:sp>
        <p:nvSpPr>
          <p:cNvPr id="18" name="Text Placeholder 17">
            <a:extLst>
              <a:ext uri="{FF2B5EF4-FFF2-40B4-BE49-F238E27FC236}">
                <a16:creationId xmlns:a16="http://schemas.microsoft.com/office/drawing/2014/main" id="{2B9DF92C-1315-B1E9-910F-235FD53DC49B}"/>
              </a:ext>
            </a:extLst>
          </p:cNvPr>
          <p:cNvSpPr>
            <a:spLocks noGrp="1"/>
          </p:cNvSpPr>
          <p:nvPr>
            <p:ph type="body" sz="quarter" idx="16"/>
          </p:nvPr>
        </p:nvSpPr>
        <p:spPr>
          <a:xfrm>
            <a:off x="3492501" y="1589878"/>
            <a:ext cx="3247735" cy="1126363"/>
          </a:xfrm>
          <a:prstGeom prst="rect">
            <a:avLst/>
          </a:prstGeom>
        </p:spPr>
        <p:txBody>
          <a:bodyPr lIns="0" tIns="0" rIns="0" bIns="0"/>
          <a:lstStyle>
            <a:lvl1pPr marL="0" indent="0">
              <a:lnSpc>
                <a:spcPts val="1200"/>
              </a:lnSpc>
              <a:spcBef>
                <a:spcPts val="0"/>
              </a:spcBef>
              <a:buNone/>
              <a:defRPr sz="900">
                <a:solidFill>
                  <a:schemeClr val="tx2"/>
                </a:solidFill>
              </a:defRPr>
            </a:lvl1pPr>
            <a:lvl2pPr marL="457200" indent="0">
              <a:buNone/>
              <a:defRPr sz="1000">
                <a:solidFill>
                  <a:schemeClr val="tx2"/>
                </a:solidFill>
              </a:defRPr>
            </a:lvl2pPr>
            <a:lvl3pPr marL="914400" indent="0">
              <a:buNone/>
              <a:defRPr sz="1000">
                <a:solidFill>
                  <a:schemeClr val="tx2"/>
                </a:solidFill>
              </a:defRPr>
            </a:lvl3pPr>
            <a:lvl4pPr marL="1371600" indent="0">
              <a:buNone/>
              <a:defRPr sz="1000">
                <a:solidFill>
                  <a:schemeClr val="tx2"/>
                </a:solidFill>
              </a:defRPr>
            </a:lvl4pPr>
            <a:lvl5pPr marL="1828800" indent="0">
              <a:buNone/>
              <a:defRPr sz="1000">
                <a:solidFill>
                  <a:schemeClr val="tx2"/>
                </a:solidFill>
              </a:defRPr>
            </a:lvl5pPr>
          </a:lstStyle>
          <a:p>
            <a:pPr lvl="0"/>
            <a:r>
              <a:rPr lang="en-US"/>
              <a:t>Click to edit Master text styles</a:t>
            </a:r>
          </a:p>
        </p:txBody>
      </p:sp>
      <p:sp>
        <p:nvSpPr>
          <p:cNvPr id="12" name="Text Placeholder 11">
            <a:extLst>
              <a:ext uri="{FF2B5EF4-FFF2-40B4-BE49-F238E27FC236}">
                <a16:creationId xmlns:a16="http://schemas.microsoft.com/office/drawing/2014/main" id="{99C811F2-9653-8B9D-EAB0-41EB998FE77A}"/>
              </a:ext>
            </a:extLst>
          </p:cNvPr>
          <p:cNvSpPr>
            <a:spLocks noGrp="1"/>
          </p:cNvSpPr>
          <p:nvPr>
            <p:ph type="body" sz="quarter" idx="13" hasCustomPrompt="1"/>
          </p:nvPr>
        </p:nvSpPr>
        <p:spPr>
          <a:xfrm>
            <a:off x="7187184" y="1280160"/>
            <a:ext cx="3419856" cy="182880"/>
          </a:xfrm>
          <a:prstGeom prst="rect">
            <a:avLst/>
          </a:prstGeom>
        </p:spPr>
        <p:txBody>
          <a:bodyPr lIns="0" tIns="0" rIns="0" bIns="0"/>
          <a:lstStyle>
            <a:lvl1pPr marL="0" indent="0">
              <a:buNone/>
              <a:defRPr sz="1200" b="1">
                <a:solidFill>
                  <a:schemeClr val="bg2"/>
                </a:solidFill>
              </a:defRPr>
            </a:lvl1pPr>
            <a:lvl2pPr marL="457200" indent="0">
              <a:buNone/>
              <a:defRPr sz="1200" b="1">
                <a:solidFill>
                  <a:schemeClr val="bg2"/>
                </a:solidFill>
              </a:defRPr>
            </a:lvl2pPr>
            <a:lvl3pPr marL="914400" indent="0">
              <a:buNone/>
              <a:defRPr sz="1200" b="1">
                <a:solidFill>
                  <a:schemeClr val="bg2"/>
                </a:solidFill>
              </a:defRPr>
            </a:lvl3pPr>
            <a:lvl4pPr marL="1371600" indent="0">
              <a:buNone/>
              <a:defRPr sz="1200" b="1">
                <a:solidFill>
                  <a:schemeClr val="bg2"/>
                </a:solidFill>
              </a:defRPr>
            </a:lvl4pPr>
            <a:lvl5pPr marL="1828800" indent="0">
              <a:buNone/>
              <a:defRPr sz="1200" b="1">
                <a:solidFill>
                  <a:schemeClr val="bg2"/>
                </a:solidFill>
              </a:defRPr>
            </a:lvl5pPr>
          </a:lstStyle>
          <a:p>
            <a:pPr lvl="0"/>
            <a:r>
              <a:rPr lang="en-US"/>
              <a:t>Solution</a:t>
            </a:r>
          </a:p>
        </p:txBody>
      </p:sp>
      <p:sp>
        <p:nvSpPr>
          <p:cNvPr id="20" name="Text Placeholder 19">
            <a:extLst>
              <a:ext uri="{FF2B5EF4-FFF2-40B4-BE49-F238E27FC236}">
                <a16:creationId xmlns:a16="http://schemas.microsoft.com/office/drawing/2014/main" id="{01A1CCA1-1B11-5F5F-2867-7006D1201515}"/>
              </a:ext>
            </a:extLst>
          </p:cNvPr>
          <p:cNvSpPr>
            <a:spLocks noGrp="1"/>
          </p:cNvSpPr>
          <p:nvPr>
            <p:ph type="body" sz="quarter" idx="17"/>
          </p:nvPr>
        </p:nvSpPr>
        <p:spPr>
          <a:xfrm>
            <a:off x="7186613" y="1589116"/>
            <a:ext cx="4630483" cy="1127125"/>
          </a:xfrm>
          <a:prstGeom prst="rect">
            <a:avLst/>
          </a:prstGeom>
        </p:spPr>
        <p:txBody>
          <a:bodyPr lIns="0" tIns="0" rIns="0" bIns="0"/>
          <a:lstStyle>
            <a:lvl1pPr marL="0" indent="0">
              <a:lnSpc>
                <a:spcPts val="1200"/>
              </a:lnSpc>
              <a:spcBef>
                <a:spcPts val="0"/>
              </a:spcBef>
              <a:buNone/>
              <a:defRPr sz="900">
                <a:solidFill>
                  <a:schemeClr val="tx2"/>
                </a:solidFill>
              </a:defRPr>
            </a:lvl1pPr>
            <a:lvl2pPr marL="457200" indent="0">
              <a:buNone/>
              <a:defRPr sz="1000">
                <a:solidFill>
                  <a:schemeClr val="tx2"/>
                </a:solidFill>
              </a:defRPr>
            </a:lvl2pPr>
            <a:lvl3pPr marL="914400" indent="0">
              <a:buNone/>
              <a:defRPr sz="1000">
                <a:solidFill>
                  <a:schemeClr val="tx2"/>
                </a:solidFill>
              </a:defRPr>
            </a:lvl3pPr>
            <a:lvl4pPr marL="1371600" indent="0">
              <a:buNone/>
              <a:defRPr sz="1000">
                <a:solidFill>
                  <a:schemeClr val="tx2"/>
                </a:solidFill>
              </a:defRPr>
            </a:lvl4pPr>
            <a:lvl5pPr marL="1828800" indent="0">
              <a:buNone/>
              <a:defRPr sz="1000">
                <a:solidFill>
                  <a:schemeClr val="tx2"/>
                </a:solidFill>
              </a:defRPr>
            </a:lvl5pPr>
          </a:lstStyle>
          <a:p>
            <a:pPr lvl="0"/>
            <a:r>
              <a:rPr lang="en-US"/>
              <a:t>Click to edit Master text styles</a:t>
            </a:r>
          </a:p>
        </p:txBody>
      </p:sp>
      <p:sp>
        <p:nvSpPr>
          <p:cNvPr id="14" name="Text Placeholder 13">
            <a:extLst>
              <a:ext uri="{FF2B5EF4-FFF2-40B4-BE49-F238E27FC236}">
                <a16:creationId xmlns:a16="http://schemas.microsoft.com/office/drawing/2014/main" id="{E4E06A39-7AB7-8CFE-6D5D-1B7B685846B5}"/>
              </a:ext>
            </a:extLst>
          </p:cNvPr>
          <p:cNvSpPr>
            <a:spLocks noGrp="1"/>
          </p:cNvSpPr>
          <p:nvPr>
            <p:ph type="body" sz="quarter" idx="14" hasCustomPrompt="1"/>
          </p:nvPr>
        </p:nvSpPr>
        <p:spPr>
          <a:xfrm>
            <a:off x="3492500" y="2990088"/>
            <a:ext cx="3419856" cy="182880"/>
          </a:xfrm>
          <a:prstGeom prst="rect">
            <a:avLst/>
          </a:prstGeom>
        </p:spPr>
        <p:txBody>
          <a:bodyPr lIns="0" tIns="0" rIns="0" bIns="0"/>
          <a:lstStyle>
            <a:lvl1pPr marL="0" indent="0">
              <a:buNone/>
              <a:defRPr sz="1200" b="1">
                <a:solidFill>
                  <a:schemeClr val="bg2"/>
                </a:solidFill>
              </a:defRPr>
            </a:lvl1pPr>
            <a:lvl2pPr marL="457200" indent="0">
              <a:buNone/>
              <a:defRPr sz="1200" b="1">
                <a:solidFill>
                  <a:schemeClr val="bg2"/>
                </a:solidFill>
              </a:defRPr>
            </a:lvl2pPr>
            <a:lvl3pPr marL="914400" indent="0">
              <a:buNone/>
              <a:defRPr sz="1200" b="1">
                <a:solidFill>
                  <a:schemeClr val="bg2"/>
                </a:solidFill>
              </a:defRPr>
            </a:lvl3pPr>
            <a:lvl4pPr marL="1371600" indent="0">
              <a:buNone/>
              <a:defRPr sz="1200" b="1">
                <a:solidFill>
                  <a:schemeClr val="bg2"/>
                </a:solidFill>
              </a:defRPr>
            </a:lvl4pPr>
            <a:lvl5pPr marL="1828800" indent="0">
              <a:buNone/>
              <a:defRPr sz="1200" b="1">
                <a:solidFill>
                  <a:schemeClr val="bg2"/>
                </a:solidFill>
              </a:defRPr>
            </a:lvl5pPr>
          </a:lstStyle>
          <a:p>
            <a:pPr lvl="0"/>
            <a:r>
              <a:rPr lang="en-US"/>
              <a:t>Outcome</a:t>
            </a:r>
          </a:p>
        </p:txBody>
      </p:sp>
      <p:sp>
        <p:nvSpPr>
          <p:cNvPr id="16" name="Picture Placeholder 15">
            <a:extLst>
              <a:ext uri="{FF2B5EF4-FFF2-40B4-BE49-F238E27FC236}">
                <a16:creationId xmlns:a16="http://schemas.microsoft.com/office/drawing/2014/main" id="{34E3891F-6B5F-192A-B2B0-E4C4CF22FBC7}"/>
              </a:ext>
            </a:extLst>
          </p:cNvPr>
          <p:cNvSpPr>
            <a:spLocks noGrp="1"/>
          </p:cNvSpPr>
          <p:nvPr>
            <p:ph type="pic" sz="quarter" idx="15"/>
          </p:nvPr>
        </p:nvSpPr>
        <p:spPr>
          <a:xfrm>
            <a:off x="384048" y="1179576"/>
            <a:ext cx="2743200" cy="4992624"/>
          </a:xfrm>
          <a:prstGeom prst="rect">
            <a:avLst/>
          </a:prstGeom>
        </p:spPr>
        <p:txBody>
          <a:bodyPr lIns="0" tIns="0" rIns="0" bIns="0"/>
          <a:lstStyle/>
          <a:p>
            <a:endParaRPr lang="en-US"/>
          </a:p>
        </p:txBody>
      </p:sp>
      <p:sp>
        <p:nvSpPr>
          <p:cNvPr id="22" name="Text Placeholder 21">
            <a:extLst>
              <a:ext uri="{FF2B5EF4-FFF2-40B4-BE49-F238E27FC236}">
                <a16:creationId xmlns:a16="http://schemas.microsoft.com/office/drawing/2014/main" id="{60A8416C-30FF-773C-2806-AFCE02B28DD4}"/>
              </a:ext>
            </a:extLst>
          </p:cNvPr>
          <p:cNvSpPr>
            <a:spLocks noGrp="1"/>
          </p:cNvSpPr>
          <p:nvPr>
            <p:ph type="body" sz="quarter" idx="18"/>
          </p:nvPr>
        </p:nvSpPr>
        <p:spPr>
          <a:xfrm>
            <a:off x="4039757" y="3306792"/>
            <a:ext cx="3247735" cy="1127125"/>
          </a:xfrm>
          <a:prstGeom prst="rect">
            <a:avLst/>
          </a:prstGeom>
        </p:spPr>
        <p:txBody>
          <a:bodyPr lIns="0" tIns="0" rIns="0" bIns="0"/>
          <a:lstStyle>
            <a:lvl1pPr marL="0" indent="0">
              <a:lnSpc>
                <a:spcPts val="1200"/>
              </a:lnSpc>
              <a:spcBef>
                <a:spcPts val="0"/>
              </a:spcBef>
              <a:spcAft>
                <a:spcPts val="600"/>
              </a:spcAft>
              <a:buNone/>
              <a:defRPr sz="900">
                <a:solidFill>
                  <a:schemeClr val="tx2"/>
                </a:solidFill>
              </a:defRPr>
            </a:lvl1pPr>
            <a:lvl2pPr marL="457200" indent="0">
              <a:buNone/>
              <a:defRPr sz="1000">
                <a:solidFill>
                  <a:schemeClr val="tx2"/>
                </a:solidFill>
              </a:defRPr>
            </a:lvl2pPr>
            <a:lvl3pPr marL="914400" indent="0">
              <a:buNone/>
              <a:defRPr sz="1000">
                <a:solidFill>
                  <a:schemeClr val="tx2"/>
                </a:solidFill>
              </a:defRPr>
            </a:lvl3pPr>
            <a:lvl4pPr marL="1371600" indent="0">
              <a:buNone/>
              <a:defRPr sz="1000">
                <a:solidFill>
                  <a:schemeClr val="tx2"/>
                </a:solidFill>
              </a:defRPr>
            </a:lvl4pPr>
            <a:lvl5pPr marL="1828800" indent="0">
              <a:buNone/>
              <a:defRPr sz="1000">
                <a:solidFill>
                  <a:schemeClr val="tx2"/>
                </a:solidFill>
              </a:defRPr>
            </a:lvl5pPr>
          </a:lstStyle>
          <a:p>
            <a:pPr lvl="0"/>
            <a:r>
              <a:rPr lang="en-US"/>
              <a:t>Click to edit Master text styles</a:t>
            </a:r>
          </a:p>
        </p:txBody>
      </p:sp>
      <p:sp>
        <p:nvSpPr>
          <p:cNvPr id="24" name="Text Placeholder 23">
            <a:extLst>
              <a:ext uri="{FF2B5EF4-FFF2-40B4-BE49-F238E27FC236}">
                <a16:creationId xmlns:a16="http://schemas.microsoft.com/office/drawing/2014/main" id="{D43B238D-3173-D69C-8B53-132972198AF6}"/>
              </a:ext>
            </a:extLst>
          </p:cNvPr>
          <p:cNvSpPr>
            <a:spLocks noGrp="1"/>
          </p:cNvSpPr>
          <p:nvPr>
            <p:ph type="body" sz="quarter" idx="19"/>
          </p:nvPr>
        </p:nvSpPr>
        <p:spPr>
          <a:xfrm>
            <a:off x="7733870" y="3306792"/>
            <a:ext cx="4078287" cy="1127125"/>
          </a:xfrm>
          <a:prstGeom prst="rect">
            <a:avLst/>
          </a:prstGeom>
        </p:spPr>
        <p:txBody>
          <a:bodyPr lIns="0" tIns="0" rIns="0" bIns="0"/>
          <a:lstStyle>
            <a:lvl1pPr marL="0" indent="0">
              <a:lnSpc>
                <a:spcPts val="1200"/>
              </a:lnSpc>
              <a:spcBef>
                <a:spcPts val="0"/>
              </a:spcBef>
              <a:spcAft>
                <a:spcPts val="600"/>
              </a:spcAft>
              <a:buNone/>
              <a:defRPr sz="900">
                <a:solidFill>
                  <a:schemeClr val="tx2"/>
                </a:solidFill>
              </a:defRPr>
            </a:lvl1pPr>
            <a:lvl2pPr marL="457200" indent="0">
              <a:buNone/>
              <a:defRPr sz="1000">
                <a:solidFill>
                  <a:schemeClr val="tx2"/>
                </a:solidFill>
              </a:defRPr>
            </a:lvl2pPr>
            <a:lvl3pPr marL="914400" indent="0">
              <a:buNone/>
              <a:defRPr sz="1000">
                <a:solidFill>
                  <a:schemeClr val="tx2"/>
                </a:solidFill>
              </a:defRPr>
            </a:lvl3pPr>
            <a:lvl4pPr marL="1371600" indent="0">
              <a:buNone/>
              <a:defRPr sz="1000">
                <a:solidFill>
                  <a:schemeClr val="tx2"/>
                </a:solidFill>
              </a:defRPr>
            </a:lvl4pPr>
            <a:lvl5pPr marL="1828800" indent="0">
              <a:buNone/>
              <a:defRPr sz="1000">
                <a:solidFill>
                  <a:schemeClr val="tx2"/>
                </a:solidFill>
              </a:defRPr>
            </a:lvl5pPr>
          </a:lstStyle>
          <a:p>
            <a:pPr lvl="0"/>
            <a:r>
              <a:rPr lang="en-US"/>
              <a:t>Click to edit Master text styles</a:t>
            </a:r>
          </a:p>
        </p:txBody>
      </p:sp>
      <p:sp>
        <p:nvSpPr>
          <p:cNvPr id="26" name="Text Placeholder 25">
            <a:extLst>
              <a:ext uri="{FF2B5EF4-FFF2-40B4-BE49-F238E27FC236}">
                <a16:creationId xmlns:a16="http://schemas.microsoft.com/office/drawing/2014/main" id="{2C01DE9E-5F31-F140-2E87-C0B1212E0821}"/>
              </a:ext>
            </a:extLst>
          </p:cNvPr>
          <p:cNvSpPr>
            <a:spLocks noGrp="1"/>
          </p:cNvSpPr>
          <p:nvPr>
            <p:ph type="body" sz="quarter" idx="20"/>
          </p:nvPr>
        </p:nvSpPr>
        <p:spPr>
          <a:xfrm>
            <a:off x="3968750" y="5076970"/>
            <a:ext cx="5663388" cy="554903"/>
          </a:xfrm>
          <a:prstGeom prst="rect">
            <a:avLst/>
          </a:prstGeom>
        </p:spPr>
        <p:txBody>
          <a:bodyPr lIns="0" tIns="0" rIns="0" bIns="0"/>
          <a:lstStyle>
            <a:lvl1pPr marL="0" indent="0">
              <a:lnSpc>
                <a:spcPts val="1200"/>
              </a:lnSpc>
              <a:spcBef>
                <a:spcPts val="0"/>
              </a:spcBef>
              <a:buNone/>
              <a:defRPr sz="900">
                <a:solidFill>
                  <a:schemeClr val="tx2"/>
                </a:solidFill>
                <a:latin typeface="Georgia" panose="02040502050405020303" pitchFamily="18" charset="0"/>
              </a:defRPr>
            </a:lvl1pPr>
            <a:lvl2pPr marL="457200" indent="0">
              <a:buNone/>
              <a:defRPr sz="900">
                <a:solidFill>
                  <a:schemeClr val="tx2"/>
                </a:solidFill>
                <a:latin typeface="Georgia" panose="02040502050405020303" pitchFamily="18" charset="0"/>
              </a:defRPr>
            </a:lvl2pPr>
            <a:lvl3pPr marL="914400" indent="0">
              <a:buNone/>
              <a:defRPr sz="900">
                <a:solidFill>
                  <a:schemeClr val="tx2"/>
                </a:solidFill>
                <a:latin typeface="Georgia" panose="02040502050405020303" pitchFamily="18" charset="0"/>
              </a:defRPr>
            </a:lvl3pPr>
            <a:lvl4pPr marL="1371600" indent="0">
              <a:buNone/>
              <a:defRPr sz="900">
                <a:solidFill>
                  <a:schemeClr val="tx2"/>
                </a:solidFill>
                <a:latin typeface="Georgia" panose="02040502050405020303" pitchFamily="18" charset="0"/>
              </a:defRPr>
            </a:lvl4pPr>
            <a:lvl5pPr marL="1828800" indent="0">
              <a:buNone/>
              <a:defRPr sz="900">
                <a:solidFill>
                  <a:schemeClr val="tx2"/>
                </a:solidFill>
                <a:latin typeface="Georgia" panose="02040502050405020303" pitchFamily="18" charset="0"/>
              </a:defRPr>
            </a:lvl5pPr>
          </a:lstStyle>
          <a:p>
            <a:pPr lvl="0"/>
            <a:r>
              <a:rPr lang="en-US"/>
              <a:t>Click to edit Master text styles</a:t>
            </a:r>
          </a:p>
        </p:txBody>
      </p:sp>
      <p:sp>
        <p:nvSpPr>
          <p:cNvPr id="29" name="Text Placeholder 28">
            <a:extLst>
              <a:ext uri="{FF2B5EF4-FFF2-40B4-BE49-F238E27FC236}">
                <a16:creationId xmlns:a16="http://schemas.microsoft.com/office/drawing/2014/main" id="{51324C1C-4229-7DE2-097E-ED90CB5E44A9}"/>
              </a:ext>
            </a:extLst>
          </p:cNvPr>
          <p:cNvSpPr>
            <a:spLocks noGrp="1"/>
          </p:cNvSpPr>
          <p:nvPr>
            <p:ph type="body" sz="quarter" idx="21"/>
          </p:nvPr>
        </p:nvSpPr>
        <p:spPr>
          <a:xfrm>
            <a:off x="3968750" y="5729432"/>
            <a:ext cx="4641850" cy="131763"/>
          </a:xfrm>
          <a:prstGeom prst="rect">
            <a:avLst/>
          </a:prstGeom>
        </p:spPr>
        <p:txBody>
          <a:bodyPr lIns="0" anchor="ctr"/>
          <a:lstStyle>
            <a:lvl1pPr marL="0" indent="0">
              <a:lnSpc>
                <a:spcPct val="100000"/>
              </a:lnSpc>
              <a:spcBef>
                <a:spcPts val="0"/>
              </a:spcBef>
              <a:buNone/>
              <a:defRPr sz="800">
                <a:solidFill>
                  <a:schemeClr val="bg2"/>
                </a:solidFill>
              </a:defRPr>
            </a:lvl1pPr>
            <a:lvl2pPr marL="457200" indent="0">
              <a:lnSpc>
                <a:spcPct val="100000"/>
              </a:lnSpc>
              <a:spcBef>
                <a:spcPts val="0"/>
              </a:spcBef>
              <a:buNone/>
              <a:defRPr sz="800">
                <a:solidFill>
                  <a:schemeClr val="bg2"/>
                </a:solidFill>
              </a:defRPr>
            </a:lvl2pPr>
            <a:lvl3pPr marL="914400" indent="0">
              <a:lnSpc>
                <a:spcPct val="100000"/>
              </a:lnSpc>
              <a:spcBef>
                <a:spcPts val="0"/>
              </a:spcBef>
              <a:buNone/>
              <a:defRPr sz="800">
                <a:solidFill>
                  <a:schemeClr val="bg2"/>
                </a:solidFill>
              </a:defRPr>
            </a:lvl3pPr>
            <a:lvl4pPr marL="1371600" indent="0">
              <a:lnSpc>
                <a:spcPct val="100000"/>
              </a:lnSpc>
              <a:spcBef>
                <a:spcPts val="0"/>
              </a:spcBef>
              <a:buNone/>
              <a:defRPr sz="800">
                <a:solidFill>
                  <a:schemeClr val="bg2"/>
                </a:solidFill>
              </a:defRPr>
            </a:lvl4pPr>
            <a:lvl5pPr marL="1828800" indent="0">
              <a:lnSpc>
                <a:spcPct val="100000"/>
              </a:lnSpc>
              <a:spcBef>
                <a:spcPts val="0"/>
              </a:spcBef>
              <a:buNone/>
              <a:defRPr sz="800">
                <a:solidFill>
                  <a:schemeClr val="bg2"/>
                </a:solidFill>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B137B176-3B35-FC26-E2B3-21D63E5555DC}"/>
              </a:ext>
            </a:extLst>
          </p:cNvPr>
          <p:cNvSpPr>
            <a:spLocks noGrp="1"/>
          </p:cNvSpPr>
          <p:nvPr>
            <p:ph type="sldNum" sz="quarter" idx="10"/>
          </p:nvPr>
        </p:nvSpPr>
        <p:spPr/>
        <p:txBody>
          <a:bodyPr/>
          <a:lstStyle/>
          <a:p>
            <a:pPr algn="ctr"/>
            <a:fld id="{83ADEA99-682E-4231-A4C9-95AE759D37D5}" type="slidenum">
              <a:rPr lang="en-SG" smtClean="0"/>
              <a:pPr algn="ctr"/>
              <a:t>‹#›</a:t>
            </a:fld>
            <a:endParaRPr lang="en-SG"/>
          </a:p>
        </p:txBody>
      </p:sp>
    </p:spTree>
    <p:extLst>
      <p:ext uri="{BB962C8B-B14F-4D97-AF65-F5344CB8AC3E}">
        <p14:creationId xmlns:p14="http://schemas.microsoft.com/office/powerpoint/2010/main" val="25579904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B2B76634-1EA4-4580-AFB0-9D30C3DC69C4}"/>
              </a:ext>
            </a:extLst>
          </p:cNvPr>
          <p:cNvSpPr txBox="1"/>
          <p:nvPr userDrawn="1"/>
        </p:nvSpPr>
        <p:spPr>
          <a:xfrm>
            <a:off x="383117" y="6512993"/>
            <a:ext cx="432000" cy="129600"/>
          </a:xfrm>
          <a:prstGeom prst="rect">
            <a:avLst/>
          </a:prstGeom>
          <a:noFill/>
        </p:spPr>
        <p:txBody>
          <a:bodyPr vert="horz" wrap="none" lIns="0" tIns="0" rIns="0" bIns="0" rtlCol="0" anchor="ctr"/>
          <a:lstStyle>
            <a:defPPr>
              <a:defRPr lang="es-ES"/>
            </a:defPPr>
            <a:lvl1pPr>
              <a:defRPr sz="800" b="1">
                <a:solidFill>
                  <a:srgbClr val="000000"/>
                </a:solidFill>
              </a:defRPr>
            </a:lvl1pPr>
          </a:lstStyle>
          <a:p>
            <a:pPr lvl="0"/>
            <a:fld id="{5C400F64-36F9-4816-BB20-163C389136A8}" type="slidenum">
              <a:rPr lang="es-ES" smtClean="0">
                <a:solidFill>
                  <a:schemeClr val="tx1"/>
                </a:solidFill>
              </a:rPr>
              <a:pPr lvl="0"/>
              <a:t>‹#›</a:t>
            </a:fld>
            <a:endParaRPr lang="es-ES">
              <a:solidFill>
                <a:schemeClr val="tx1"/>
              </a:solidFill>
            </a:endParaRPr>
          </a:p>
        </p:txBody>
      </p:sp>
    </p:spTree>
    <p:extLst>
      <p:ext uri="{BB962C8B-B14F-4D97-AF65-F5344CB8AC3E}">
        <p14:creationId xmlns:p14="http://schemas.microsoft.com/office/powerpoint/2010/main" val="235337472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E1ED9162-BD8D-83DD-C407-4D3DD258AB52}"/>
              </a:ext>
            </a:extLst>
          </p:cNvPr>
          <p:cNvSpPr>
            <a:spLocks noGrp="1"/>
          </p:cNvSpPr>
          <p:nvPr>
            <p:ph type="dt" sz="half" idx="10"/>
          </p:nvPr>
        </p:nvSpPr>
        <p:spPr/>
        <p:txBody>
          <a:bodyPr/>
          <a:lstStyle/>
          <a:p>
            <a:fld id="{28D705CA-CBC0-4097-B196-F0EF0836FF52}" type="datetimeFigureOut">
              <a:rPr lang="es-ES" smtClean="0"/>
              <a:t>03/12/2025</a:t>
            </a:fld>
            <a:endParaRPr lang="es-ES"/>
          </a:p>
        </p:txBody>
      </p:sp>
      <p:sp>
        <p:nvSpPr>
          <p:cNvPr id="3" name="Marcador de pie de página 2">
            <a:extLst>
              <a:ext uri="{FF2B5EF4-FFF2-40B4-BE49-F238E27FC236}">
                <a16:creationId xmlns:a16="http://schemas.microsoft.com/office/drawing/2014/main" id="{D4B6F6B6-1363-CC71-4A7C-4437CBDD227D}"/>
              </a:ext>
            </a:extLst>
          </p:cNvPr>
          <p:cNvSpPr>
            <a:spLocks noGrp="1"/>
          </p:cNvSpPr>
          <p:nvPr>
            <p:ph type="ftr" sz="quarter" idx="11"/>
          </p:nvPr>
        </p:nvSpPr>
        <p:spPr/>
        <p:txBody>
          <a:bodyPr/>
          <a:lstStyle/>
          <a:p>
            <a:endParaRPr lang="es-ES"/>
          </a:p>
        </p:txBody>
      </p:sp>
      <p:sp>
        <p:nvSpPr>
          <p:cNvPr id="4" name="Marcador de número de diapositiva 3">
            <a:extLst>
              <a:ext uri="{FF2B5EF4-FFF2-40B4-BE49-F238E27FC236}">
                <a16:creationId xmlns:a16="http://schemas.microsoft.com/office/drawing/2014/main" id="{7D0FF532-D434-21F7-32F0-F536CF983550}"/>
              </a:ext>
            </a:extLst>
          </p:cNvPr>
          <p:cNvSpPr>
            <a:spLocks noGrp="1"/>
          </p:cNvSpPr>
          <p:nvPr>
            <p:ph type="sldNum" sz="quarter" idx="12"/>
          </p:nvPr>
        </p:nvSpPr>
        <p:spPr/>
        <p:txBody>
          <a:bodyPr/>
          <a:lstStyle/>
          <a:p>
            <a:fld id="{0718D44A-D972-40D5-8AAA-4F1692DE203F}" type="slidenum">
              <a:rPr lang="es-ES" smtClean="0"/>
              <a:t>‹#›</a:t>
            </a:fld>
            <a:endParaRPr lang="es-ES"/>
          </a:p>
        </p:txBody>
      </p:sp>
    </p:spTree>
    <p:extLst>
      <p:ext uri="{BB962C8B-B14F-4D97-AF65-F5344CB8AC3E}">
        <p14:creationId xmlns:p14="http://schemas.microsoft.com/office/powerpoint/2010/main" val="21791532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Index">
    <p:bg>
      <p:bgPr>
        <a:solidFill>
          <a:srgbClr val="D9D3CE"/>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BA7AB22C-7676-1241-4073-818B903E591E}"/>
              </a:ext>
            </a:extLst>
          </p:cNvPr>
          <p:cNvSpPr/>
          <p:nvPr userDrawn="1"/>
        </p:nvSpPr>
        <p:spPr>
          <a:xfrm flipH="1">
            <a:off x="766762" y="729870"/>
            <a:ext cx="6479111" cy="6414999"/>
          </a:xfrm>
          <a:prstGeom prst="rect">
            <a:avLst/>
          </a:prstGeom>
          <a:gradFill>
            <a:gsLst>
              <a:gs pos="100000">
                <a:schemeClr val="bg1"/>
              </a:gs>
              <a:gs pos="63000">
                <a:schemeClr val="bg1">
                  <a:alpha val="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14" name="Marcador de texto 11">
            <a:extLst>
              <a:ext uri="{FF2B5EF4-FFF2-40B4-BE49-F238E27FC236}">
                <a16:creationId xmlns:a16="http://schemas.microsoft.com/office/drawing/2014/main" id="{0CC57AA0-6C3B-4C80-BF6B-C321A960A96C}"/>
              </a:ext>
            </a:extLst>
          </p:cNvPr>
          <p:cNvSpPr>
            <a:spLocks noGrp="1"/>
          </p:cNvSpPr>
          <p:nvPr>
            <p:ph type="body" sz="quarter" idx="13"/>
          </p:nvPr>
        </p:nvSpPr>
        <p:spPr>
          <a:xfrm>
            <a:off x="1126202" y="1931948"/>
            <a:ext cx="6119672" cy="3644931"/>
          </a:xfrm>
          <a:prstGeom prst="rect">
            <a:avLst/>
          </a:prstGeom>
        </p:spPr>
        <p:txBody>
          <a:bodyPr>
            <a:normAutofit/>
          </a:bodyPr>
          <a:lstStyle>
            <a:lvl1pPr marL="400050" indent="-365125">
              <a:spcBef>
                <a:spcPts val="0"/>
              </a:spcBef>
              <a:spcAft>
                <a:spcPts val="1200"/>
              </a:spcAft>
              <a:buClr>
                <a:srgbClr val="EC0000"/>
              </a:buClr>
              <a:buSzPct val="100000"/>
              <a:buFont typeface="+mj-lt"/>
              <a:buAutoNum type="arabicPeriod"/>
              <a:tabLst/>
              <a:defRPr lang="es-ES" sz="2200" b="0" i="0" kern="1200" dirty="0" smtClean="0">
                <a:solidFill>
                  <a:srgbClr val="3C3C3B"/>
                </a:solidFill>
                <a:latin typeface="Santander Headline" panose="020B0504020201020104" pitchFamily="34" charset="0"/>
                <a:ea typeface="+mn-ea"/>
                <a:cs typeface="Santander Headline" panose="020B0504020201020104" pitchFamily="34" charset="0"/>
              </a:defRPr>
            </a:lvl1pPr>
            <a:lvl2pPr marL="457200" indent="0">
              <a:buNone/>
              <a:defRPr/>
            </a:lvl2pPr>
          </a:lstStyle>
          <a:p>
            <a:pPr lvl="0"/>
            <a:r>
              <a:rPr lang="en-US"/>
              <a:t>Edit Master text styles</a:t>
            </a:r>
          </a:p>
        </p:txBody>
      </p:sp>
      <p:sp>
        <p:nvSpPr>
          <p:cNvPr id="9" name="Marcador de texto 7">
            <a:extLst>
              <a:ext uri="{FF2B5EF4-FFF2-40B4-BE49-F238E27FC236}">
                <a16:creationId xmlns:a16="http://schemas.microsoft.com/office/drawing/2014/main" id="{36368BB1-91D3-7F76-86E7-01818D83DE92}"/>
              </a:ext>
            </a:extLst>
          </p:cNvPr>
          <p:cNvSpPr>
            <a:spLocks noGrp="1"/>
          </p:cNvSpPr>
          <p:nvPr>
            <p:ph type="body" sz="quarter" idx="15" hasCustomPrompt="1"/>
          </p:nvPr>
        </p:nvSpPr>
        <p:spPr>
          <a:xfrm>
            <a:off x="1126201" y="934043"/>
            <a:ext cx="6119672" cy="763588"/>
          </a:xfrm>
          <a:prstGeom prst="rect">
            <a:avLst/>
          </a:prstGeom>
        </p:spPr>
        <p:txBody>
          <a:bodyPr/>
          <a:lstStyle>
            <a:lvl1pPr marL="0" indent="0">
              <a:buNone/>
              <a:defRPr lang="es-ES" sz="4400" b="0" i="0" kern="1200" smtClean="0">
                <a:solidFill>
                  <a:srgbClr val="FF0000"/>
                </a:solidFill>
                <a:latin typeface="Santander Headline" panose="020B0504020201020104" pitchFamily="34" charset="0"/>
                <a:ea typeface="+mj-ea"/>
                <a:cs typeface="Santander Headline" panose="020B0504020201020104" pitchFamily="34" charset="0"/>
              </a:defRPr>
            </a:lvl1pPr>
            <a:lvl2pPr marL="457200" indent="0">
              <a:buNone/>
              <a:defRPr/>
            </a:lvl2pPr>
          </a:lstStyle>
          <a:p>
            <a:pPr lvl="0"/>
            <a:r>
              <a:rPr lang="es-ES"/>
              <a:t>Text</a:t>
            </a:r>
          </a:p>
        </p:txBody>
      </p:sp>
      <p:sp>
        <p:nvSpPr>
          <p:cNvPr id="12" name="Marcador de posición de imagen 5">
            <a:extLst>
              <a:ext uri="{FF2B5EF4-FFF2-40B4-BE49-F238E27FC236}">
                <a16:creationId xmlns:a16="http://schemas.microsoft.com/office/drawing/2014/main" id="{CA9BF8C5-84B7-F1B9-F586-B1E0956B532D}"/>
              </a:ext>
            </a:extLst>
          </p:cNvPr>
          <p:cNvSpPr>
            <a:spLocks noGrp="1"/>
          </p:cNvSpPr>
          <p:nvPr>
            <p:ph type="pic" sz="quarter" idx="10"/>
          </p:nvPr>
        </p:nvSpPr>
        <p:spPr>
          <a:xfrm>
            <a:off x="7561263" y="0"/>
            <a:ext cx="4630737" cy="6858000"/>
          </a:xfrm>
          <a:prstGeom prst="rect">
            <a:avLst/>
          </a:prstGeom>
          <a:solidFill>
            <a:srgbClr val="D9D3CE"/>
          </a:solidFill>
        </p:spPr>
        <p:txBody>
          <a:bodyPr/>
          <a:lstStyle>
            <a:lvl1pPr marL="0" indent="0" algn="ctr">
              <a:buNone/>
              <a:defRPr sz="1800">
                <a:latin typeface="Santander Headline" panose="020B0504020201020104" pitchFamily="34" charset="0"/>
              </a:defRPr>
            </a:lvl1pPr>
          </a:lstStyle>
          <a:p>
            <a:endParaRPr lang="es-ES"/>
          </a:p>
        </p:txBody>
      </p:sp>
      <p:sp>
        <p:nvSpPr>
          <p:cNvPr id="5" name="Text Placeholder 3">
            <a:extLst>
              <a:ext uri="{FF2B5EF4-FFF2-40B4-BE49-F238E27FC236}">
                <a16:creationId xmlns:a16="http://schemas.microsoft.com/office/drawing/2014/main" id="{E4B484C8-E579-F3EC-0267-2CD7AD66E970}"/>
              </a:ext>
            </a:extLst>
          </p:cNvPr>
          <p:cNvSpPr>
            <a:spLocks noGrp="1"/>
          </p:cNvSpPr>
          <p:nvPr>
            <p:ph type="body" sz="quarter" idx="16"/>
          </p:nvPr>
        </p:nvSpPr>
        <p:spPr>
          <a:xfrm>
            <a:off x="10815678" y="89692"/>
            <a:ext cx="1285311" cy="281220"/>
          </a:xfrm>
          <a:prstGeom prst="rect">
            <a:avLst/>
          </a:prstGeo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solidFill>
                  <a:schemeClr val="bg1">
                    <a:alpha val="0"/>
                  </a:schemeClr>
                </a:solidFill>
              </a:defRPr>
            </a:lvl1pPr>
          </a:lstStyle>
          <a:p>
            <a:pPr lvl="0"/>
            <a:endParaRPr lang="en-GB"/>
          </a:p>
        </p:txBody>
      </p:sp>
      <p:sp>
        <p:nvSpPr>
          <p:cNvPr id="2" name="Marcador de texto 12">
            <a:extLst>
              <a:ext uri="{FF2B5EF4-FFF2-40B4-BE49-F238E27FC236}">
                <a16:creationId xmlns:a16="http://schemas.microsoft.com/office/drawing/2014/main" id="{A90062B9-9CEF-7BB4-965B-D4A03343BC4B}"/>
              </a:ext>
            </a:extLst>
          </p:cNvPr>
          <p:cNvSpPr>
            <a:spLocks noGrp="1" noChangeAspect="1"/>
          </p:cNvSpPr>
          <p:nvPr>
            <p:ph type="body" sz="quarter" idx="19"/>
          </p:nvPr>
        </p:nvSpPr>
        <p:spPr>
          <a:xfrm>
            <a:off x="745994" y="5863748"/>
            <a:ext cx="2212052" cy="403940"/>
          </a:xfrm>
          <a:prstGeom prst="rect">
            <a:avLst/>
          </a:prstGeom>
          <a:blipFill dpi="0" rotWithShape="1">
            <a:blip r:embed="rId4">
              <a:extLst>
                <a:ext uri="{96DAC541-7B7A-43D3-8B79-37D633B846F1}">
                  <asvg:svgBlip xmlns:asvg="http://schemas.microsoft.com/office/drawing/2016/SVG/main" r:embed="rId5"/>
                </a:ext>
              </a:extLst>
            </a:blip>
            <a:srcRect/>
            <a:stretch>
              <a:fillRect/>
            </a:stretch>
          </a:blipFill>
        </p:spPr>
        <p:txBody>
          <a:bodyPr/>
          <a:lstStyle>
            <a:lvl1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1pPr>
            <a:lvl2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2pPr>
            <a:lvl3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3pPr>
            <a:lvl4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4pPr>
            <a:lvl5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pic>
        <p:nvPicPr>
          <p:cNvPr id="3" name="NTT DATA Global Logo">
            <a:extLst>
              <a:ext uri="{FF2B5EF4-FFF2-40B4-BE49-F238E27FC236}">
                <a16:creationId xmlns:a16="http://schemas.microsoft.com/office/drawing/2014/main" id="{06C890C0-1C51-6938-4438-47CBFF504E7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bwMode="gray">
          <a:xfrm>
            <a:off x="10774351" y="291847"/>
            <a:ext cx="1288971" cy="262800"/>
          </a:xfrm>
          <a:prstGeom prst="rect">
            <a:avLst/>
          </a:prstGeom>
        </p:spPr>
      </p:pic>
    </p:spTree>
    <p:extLst>
      <p:ext uri="{BB962C8B-B14F-4D97-AF65-F5344CB8AC3E}">
        <p14:creationId xmlns:p14="http://schemas.microsoft.com/office/powerpoint/2010/main" val="17806425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guide id="4" orient="horz" pos="4065">
          <p15:clr>
            <a:srgbClr val="FBAE40"/>
          </p15:clr>
        </p15:guide>
        <p15:guide id="5" orient="horz" pos="383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Section Divider Burgundy">
    <p:spTree>
      <p:nvGrpSpPr>
        <p:cNvPr id="1" name=""/>
        <p:cNvGrpSpPr/>
        <p:nvPr/>
      </p:nvGrpSpPr>
      <p:grpSpPr>
        <a:xfrm>
          <a:off x="0" y="0"/>
          <a:ext cx="0" cy="0"/>
          <a:chOff x="0" y="0"/>
          <a:chExt cx="0" cy="0"/>
        </a:xfrm>
      </p:grpSpPr>
      <p:sp>
        <p:nvSpPr>
          <p:cNvPr id="14" name="Marcador de texto 13">
            <a:extLst>
              <a:ext uri="{FF2B5EF4-FFF2-40B4-BE49-F238E27FC236}">
                <a16:creationId xmlns:a16="http://schemas.microsoft.com/office/drawing/2014/main" id="{6E38BAEA-EEE9-4346-9DB7-91D26BC942D7}"/>
              </a:ext>
            </a:extLst>
          </p:cNvPr>
          <p:cNvSpPr>
            <a:spLocks noGrp="1"/>
          </p:cNvSpPr>
          <p:nvPr>
            <p:ph type="body" sz="quarter" idx="14" hasCustomPrompt="1"/>
          </p:nvPr>
        </p:nvSpPr>
        <p:spPr>
          <a:xfrm>
            <a:off x="8879903" y="4438926"/>
            <a:ext cx="2958754" cy="2364961"/>
          </a:xfrm>
          <a:prstGeom prst="rect">
            <a:avLst/>
          </a:prstGeom>
        </p:spPr>
        <p:txBody>
          <a:bodyPr>
            <a:noAutofit/>
          </a:bodyPr>
          <a:lstStyle>
            <a:lvl1pPr marL="0" indent="0" algn="r">
              <a:buFontTx/>
              <a:buNone/>
              <a:defRPr sz="16600" b="0" i="0">
                <a:solidFill>
                  <a:srgbClr val="EC0000"/>
                </a:solidFill>
                <a:latin typeface="Santander Headline" panose="020B0504020201020104" pitchFamily="34" charset="0"/>
                <a:cs typeface="Santander Headline" panose="020B0504020201020104" pitchFamily="34" charset="0"/>
              </a:defRPr>
            </a:lvl1pPr>
            <a:lvl2pPr>
              <a:defRPr sz="13800">
                <a:solidFill>
                  <a:schemeClr val="tx1"/>
                </a:solidFill>
              </a:defRPr>
            </a:lvl2pPr>
            <a:lvl3pPr>
              <a:defRPr sz="11500">
                <a:solidFill>
                  <a:schemeClr val="tx1"/>
                </a:solidFill>
              </a:defRPr>
            </a:lvl3pPr>
            <a:lvl4pPr>
              <a:defRPr sz="9600">
                <a:solidFill>
                  <a:schemeClr val="tx1"/>
                </a:solidFill>
              </a:defRPr>
            </a:lvl4pPr>
            <a:lvl5pPr>
              <a:defRPr sz="9600">
                <a:solidFill>
                  <a:schemeClr val="tx1"/>
                </a:solidFill>
              </a:defRPr>
            </a:lvl5pPr>
          </a:lstStyle>
          <a:p>
            <a:pPr lvl="0"/>
            <a:r>
              <a:rPr lang="es-ES"/>
              <a:t>00</a:t>
            </a:r>
          </a:p>
        </p:txBody>
      </p:sp>
      <p:sp>
        <p:nvSpPr>
          <p:cNvPr id="11" name="Marcador de texto 9">
            <a:extLst>
              <a:ext uri="{FF2B5EF4-FFF2-40B4-BE49-F238E27FC236}">
                <a16:creationId xmlns:a16="http://schemas.microsoft.com/office/drawing/2014/main" id="{5F41502A-FBBB-CA84-2151-6ABBCEC5F2C3}"/>
              </a:ext>
            </a:extLst>
          </p:cNvPr>
          <p:cNvSpPr>
            <a:spLocks noGrp="1"/>
          </p:cNvSpPr>
          <p:nvPr>
            <p:ph type="body" sz="quarter" idx="17"/>
          </p:nvPr>
        </p:nvSpPr>
        <p:spPr>
          <a:xfrm>
            <a:off x="0" y="752475"/>
            <a:ext cx="8547614" cy="6105525"/>
          </a:xfrm>
          <a:prstGeom prst="rect">
            <a:avLst/>
          </a:prstGeom>
          <a:gradFill>
            <a:gsLst>
              <a:gs pos="100000">
                <a:srgbClr val="8C0014"/>
              </a:gs>
              <a:gs pos="30000">
                <a:srgbClr val="64001E">
                  <a:alpha val="0"/>
                </a:srgb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a:defRPr lang="es-ES" sz="100" smtClean="0">
                <a:noFill/>
                <a:latin typeface="Santander Headline" panose="020B0504020201020104" pitchFamily="34" charset="0"/>
              </a:defRPr>
            </a:lvl1pPr>
            <a:lvl2pPr>
              <a:defRPr lang="es-ES" sz="100" smtClean="0">
                <a:noFill/>
                <a:latin typeface="Santander Headline" panose="020B0504020201020104" pitchFamily="34" charset="0"/>
              </a:defRPr>
            </a:lvl2pPr>
            <a:lvl3pPr>
              <a:defRPr lang="es-ES" sz="100" smtClean="0">
                <a:noFill/>
                <a:latin typeface="Santander Headline" panose="020B0504020201020104" pitchFamily="34" charset="0"/>
              </a:defRPr>
            </a:lvl3pPr>
            <a:lvl4pPr>
              <a:defRPr lang="es-ES" sz="100" smtClean="0">
                <a:noFill/>
                <a:latin typeface="Santander Headline" panose="020B0504020201020104" pitchFamily="34" charset="0"/>
              </a:defRPr>
            </a:lvl4pPr>
            <a:lvl5pPr>
              <a:defRPr lang="es-ES" sz="100">
                <a:noFill/>
                <a:latin typeface="Santander Headline" panose="020B0504020201020104" pitchFamily="34" charset="0"/>
              </a:defRPr>
            </a:lvl5pPr>
          </a:lstStyle>
          <a:p>
            <a:pPr marL="0" lvl="0" algn="ctr" defTabSz="457200"/>
            <a:r>
              <a:rPr lang="es-ES"/>
              <a:t>Haga clic para modificar los estilos de texto del patrón</a:t>
            </a:r>
          </a:p>
          <a:p>
            <a:pPr marL="457200" lvl="1" defTabSz="457200"/>
            <a:r>
              <a:rPr lang="es-ES"/>
              <a:t>Segundo nivel</a:t>
            </a:r>
          </a:p>
          <a:p>
            <a:pPr marL="914400" lvl="2" defTabSz="457200"/>
            <a:r>
              <a:rPr lang="es-ES"/>
              <a:t>Tercer nivel</a:t>
            </a:r>
          </a:p>
          <a:p>
            <a:pPr marL="1371600" lvl="3" defTabSz="457200"/>
            <a:r>
              <a:rPr lang="es-ES"/>
              <a:t>Cuarto nivel</a:t>
            </a:r>
          </a:p>
          <a:p>
            <a:pPr marL="1828800" lvl="4" defTabSz="457200"/>
            <a:r>
              <a:rPr lang="es-ES"/>
              <a:t>Quinto nivel</a:t>
            </a:r>
          </a:p>
        </p:txBody>
      </p:sp>
      <p:sp>
        <p:nvSpPr>
          <p:cNvPr id="2" name="Título 1">
            <a:extLst>
              <a:ext uri="{FF2B5EF4-FFF2-40B4-BE49-F238E27FC236}">
                <a16:creationId xmlns:a16="http://schemas.microsoft.com/office/drawing/2014/main" id="{B045CB15-1F44-40E1-909E-6233010BC133}"/>
              </a:ext>
            </a:extLst>
          </p:cNvPr>
          <p:cNvSpPr>
            <a:spLocks noGrp="1"/>
          </p:cNvSpPr>
          <p:nvPr>
            <p:ph type="title" hasCustomPrompt="1"/>
          </p:nvPr>
        </p:nvSpPr>
        <p:spPr>
          <a:xfrm>
            <a:off x="688833" y="1044349"/>
            <a:ext cx="3904939" cy="2852737"/>
          </a:xfrm>
          <a:prstGeom prst="rect">
            <a:avLst/>
          </a:prstGeom>
        </p:spPr>
        <p:txBody>
          <a:bodyPr anchor="t">
            <a:normAutofit/>
          </a:bodyPr>
          <a:lstStyle>
            <a:lvl1pPr>
              <a:lnSpc>
                <a:spcPct val="100000"/>
              </a:lnSpc>
              <a:defRPr sz="4000" b="0" i="0">
                <a:solidFill>
                  <a:schemeClr val="bg1"/>
                </a:solidFill>
                <a:latin typeface="Santander Headline" panose="020B0504020201020104" pitchFamily="34" charset="0"/>
                <a:cs typeface="Santander Headline" panose="020B0504020201020104" pitchFamily="34" charset="0"/>
              </a:defRPr>
            </a:lvl1pPr>
          </a:lstStyle>
          <a:p>
            <a:r>
              <a:rPr lang="en-US"/>
              <a:t>Click to edit Master title style</a:t>
            </a:r>
            <a:endParaRPr lang="es-ES"/>
          </a:p>
        </p:txBody>
      </p:sp>
      <p:sp>
        <p:nvSpPr>
          <p:cNvPr id="5" name="Marcador de posición de imagen 4">
            <a:extLst>
              <a:ext uri="{FF2B5EF4-FFF2-40B4-BE49-F238E27FC236}">
                <a16:creationId xmlns:a16="http://schemas.microsoft.com/office/drawing/2014/main" id="{337A5DC7-B0E6-0BE5-C9ED-70A9D3EFE8DA}"/>
              </a:ext>
            </a:extLst>
          </p:cNvPr>
          <p:cNvSpPr>
            <a:spLocks noGrp="1"/>
          </p:cNvSpPr>
          <p:nvPr>
            <p:ph type="pic" sz="quarter" idx="15" hasCustomPrompt="1"/>
          </p:nvPr>
        </p:nvSpPr>
        <p:spPr>
          <a:xfrm>
            <a:off x="0" y="0"/>
            <a:ext cx="12192000" cy="6858000"/>
          </a:xfrm>
          <a:prstGeom prst="rect">
            <a:avLst/>
          </a:prstGeom>
        </p:spPr>
        <p:txBody>
          <a:bodyPr/>
          <a:lstStyle>
            <a:lvl1pPr marL="0" indent="0" algn="ctr">
              <a:buNone/>
              <a:defRPr sz="1400">
                <a:solidFill>
                  <a:schemeClr val="tx2"/>
                </a:solidFill>
                <a:latin typeface="Santander Headline" panose="020B0504020201020104" pitchFamily="34" charset="0"/>
              </a:defRPr>
            </a:lvl1pPr>
          </a:lstStyle>
          <a:p>
            <a:r>
              <a:rPr lang="en-US"/>
              <a:t>Insert the image and send to the background with right click</a:t>
            </a:r>
            <a:endParaRPr lang="es-ES"/>
          </a:p>
        </p:txBody>
      </p:sp>
      <p:sp>
        <p:nvSpPr>
          <p:cNvPr id="6" name="Marcador de texto 12">
            <a:extLst>
              <a:ext uri="{FF2B5EF4-FFF2-40B4-BE49-F238E27FC236}">
                <a16:creationId xmlns:a16="http://schemas.microsoft.com/office/drawing/2014/main" id="{FAEC1423-548E-12BF-6AAB-E01C296320BA}"/>
              </a:ext>
            </a:extLst>
          </p:cNvPr>
          <p:cNvSpPr>
            <a:spLocks noGrp="1" noChangeAspect="1"/>
          </p:cNvSpPr>
          <p:nvPr>
            <p:ph type="body" sz="quarter" idx="19"/>
          </p:nvPr>
        </p:nvSpPr>
        <p:spPr>
          <a:xfrm>
            <a:off x="745994" y="5863748"/>
            <a:ext cx="2212052" cy="403940"/>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a:lstStyle>
            <a:lvl1pPr>
              <a:defRPr sz="100">
                <a:blipFill dpi="0" rotWithShape="1">
                  <a:blip r:embed="rId4">
                    <a:extLst>
                      <a:ext uri="{96DAC541-7B7A-43D3-8B79-37D633B846F1}">
                        <asvg:svgBlip xmlns:asvg="http://schemas.microsoft.com/office/drawing/2016/SVG/main" r:embed="rId5"/>
                      </a:ext>
                    </a:extLst>
                  </a:blip>
                  <a:srcRect/>
                  <a:stretch>
                    <a:fillRect/>
                  </a:stretch>
                </a:blipFill>
                <a:latin typeface="Santander Headline" panose="020B0504020201020104" pitchFamily="34" charset="0"/>
              </a:defRPr>
            </a:lvl1pPr>
            <a:lvl2pPr>
              <a:defRPr sz="100">
                <a:blipFill dpi="0" rotWithShape="1">
                  <a:blip r:embed="rId4">
                    <a:extLst>
                      <a:ext uri="{96DAC541-7B7A-43D3-8B79-37D633B846F1}">
                        <asvg:svgBlip xmlns:asvg="http://schemas.microsoft.com/office/drawing/2016/SVG/main" r:embed="rId5"/>
                      </a:ext>
                    </a:extLst>
                  </a:blip>
                  <a:srcRect/>
                  <a:stretch>
                    <a:fillRect/>
                  </a:stretch>
                </a:blipFill>
                <a:latin typeface="Santander Headline" panose="020B0504020201020104" pitchFamily="34" charset="0"/>
              </a:defRPr>
            </a:lvl2pPr>
            <a:lvl3pPr>
              <a:defRPr sz="100">
                <a:blipFill dpi="0" rotWithShape="1">
                  <a:blip r:embed="rId4">
                    <a:extLst>
                      <a:ext uri="{96DAC541-7B7A-43D3-8B79-37D633B846F1}">
                        <asvg:svgBlip xmlns:asvg="http://schemas.microsoft.com/office/drawing/2016/SVG/main" r:embed="rId5"/>
                      </a:ext>
                    </a:extLst>
                  </a:blip>
                  <a:srcRect/>
                  <a:stretch>
                    <a:fillRect/>
                  </a:stretch>
                </a:blipFill>
                <a:latin typeface="Santander Headline" panose="020B0504020201020104" pitchFamily="34" charset="0"/>
              </a:defRPr>
            </a:lvl3pPr>
            <a:lvl4pPr>
              <a:defRPr sz="100">
                <a:blipFill dpi="0" rotWithShape="1">
                  <a:blip r:embed="rId4">
                    <a:extLst>
                      <a:ext uri="{96DAC541-7B7A-43D3-8B79-37D633B846F1}">
                        <asvg:svgBlip xmlns:asvg="http://schemas.microsoft.com/office/drawing/2016/SVG/main" r:embed="rId5"/>
                      </a:ext>
                    </a:extLst>
                  </a:blip>
                  <a:srcRect/>
                  <a:stretch>
                    <a:fillRect/>
                  </a:stretch>
                </a:blipFill>
                <a:latin typeface="Santander Headline" panose="020B0504020201020104" pitchFamily="34" charset="0"/>
              </a:defRPr>
            </a:lvl4pPr>
            <a:lvl5pPr>
              <a:defRPr sz="100">
                <a:blipFill dpi="0" rotWithShape="1">
                  <a:blip r:embed="rId4">
                    <a:extLst>
                      <a:ext uri="{96DAC541-7B7A-43D3-8B79-37D633B846F1}">
                        <asvg:svgBlip xmlns:asvg="http://schemas.microsoft.com/office/drawing/2016/SVG/main" r:embed="rId5"/>
                      </a:ext>
                    </a:extLst>
                  </a:blip>
                  <a:srcRect/>
                  <a:stretch>
                    <a:fillRect/>
                  </a:stretch>
                </a:blipFill>
                <a:latin typeface="Santander Headline" panose="020B05040202010201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3" name="Text Placeholder 3">
            <a:extLst>
              <a:ext uri="{FF2B5EF4-FFF2-40B4-BE49-F238E27FC236}">
                <a16:creationId xmlns:a16="http://schemas.microsoft.com/office/drawing/2014/main" id="{EA7F86AB-E37E-DE89-15C9-8F1F77DB3F37}"/>
              </a:ext>
            </a:extLst>
          </p:cNvPr>
          <p:cNvSpPr>
            <a:spLocks noGrp="1"/>
          </p:cNvSpPr>
          <p:nvPr>
            <p:ph type="body" sz="quarter" idx="16"/>
          </p:nvPr>
        </p:nvSpPr>
        <p:spPr>
          <a:xfrm>
            <a:off x="10815678" y="89692"/>
            <a:ext cx="1285311" cy="281220"/>
          </a:xfrm>
          <a:prstGeom prst="rect">
            <a:avLst/>
          </a:prstGeom>
          <a:blipFill>
            <a:blip r:embed="rId6">
              <a:lum bright="100000"/>
              <a:extLst>
                <a:ext uri="{96DAC541-7B7A-43D3-8B79-37D633B846F1}">
                  <asvg:svgBlip xmlns:asvg="http://schemas.microsoft.com/office/drawing/2016/SVG/main" r:embed="rId7"/>
                </a:ext>
              </a:extLst>
            </a:blip>
            <a:stretch>
              <a:fillRect/>
            </a:stretch>
          </a:blipFill>
        </p:spPr>
        <p:txBody>
          <a:bodyPr/>
          <a:lstStyle>
            <a:lvl1pPr marL="0" indent="0">
              <a:buNone/>
              <a:defRPr sz="100">
                <a:solidFill>
                  <a:schemeClr val="bg1">
                    <a:alpha val="0"/>
                  </a:schemeClr>
                </a:solidFill>
              </a:defRPr>
            </a:lvl1pPr>
          </a:lstStyle>
          <a:p>
            <a:pPr lvl="0"/>
            <a:endParaRPr lang="en-GB"/>
          </a:p>
        </p:txBody>
      </p:sp>
    </p:spTree>
    <p:extLst>
      <p:ext uri="{BB962C8B-B14F-4D97-AF65-F5344CB8AC3E}">
        <p14:creationId xmlns:p14="http://schemas.microsoft.com/office/powerpoint/2010/main" val="40958902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B2B76634-1EA4-4580-AFB0-9D30C3DC69C4}"/>
              </a:ext>
            </a:extLst>
          </p:cNvPr>
          <p:cNvSpPr txBox="1"/>
          <p:nvPr userDrawn="1"/>
        </p:nvSpPr>
        <p:spPr>
          <a:xfrm>
            <a:off x="383117" y="6512993"/>
            <a:ext cx="432000" cy="129600"/>
          </a:xfrm>
          <a:prstGeom prst="rect">
            <a:avLst/>
          </a:prstGeom>
          <a:noFill/>
        </p:spPr>
        <p:txBody>
          <a:bodyPr vert="horz" wrap="none" lIns="0" tIns="0" rIns="0" bIns="0" rtlCol="0" anchor="ctr"/>
          <a:lstStyle>
            <a:defPPr>
              <a:defRPr lang="es-ES"/>
            </a:defPPr>
            <a:lvl1pPr>
              <a:defRPr sz="800" b="1">
                <a:solidFill>
                  <a:srgbClr val="000000"/>
                </a:solidFill>
              </a:defRPr>
            </a:lvl1pPr>
          </a:lstStyle>
          <a:p>
            <a:pPr lvl="0"/>
            <a:fld id="{5C400F64-36F9-4816-BB20-163C389136A8}" type="slidenum">
              <a:rPr lang="es-ES" smtClean="0">
                <a:solidFill>
                  <a:schemeClr val="tx1"/>
                </a:solidFill>
              </a:rPr>
              <a:pPr lvl="0"/>
              <a:t>‹#›</a:t>
            </a:fld>
            <a:endParaRPr lang="es-ES">
              <a:solidFill>
                <a:schemeClr val="tx1"/>
              </a:solidFill>
            </a:endParaRPr>
          </a:p>
        </p:txBody>
      </p:sp>
    </p:spTree>
    <p:extLst>
      <p:ext uri="{BB962C8B-B14F-4D97-AF65-F5344CB8AC3E}">
        <p14:creationId xmlns:p14="http://schemas.microsoft.com/office/powerpoint/2010/main" val="21325763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Title Page Sand background">
    <p:bg>
      <p:bgPr>
        <a:solidFill>
          <a:srgbClr val="E6DCD2"/>
        </a:solidFill>
        <a:effectLst/>
      </p:bgPr>
    </p:bg>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6E7FCD49-6A40-5509-A060-DDA7D90C6784}"/>
              </a:ext>
            </a:extLst>
          </p:cNvPr>
          <p:cNvSpPr/>
          <p:nvPr userDrawn="1"/>
        </p:nvSpPr>
        <p:spPr>
          <a:xfrm>
            <a:off x="-68752" y="1192762"/>
            <a:ext cx="6164752" cy="5774776"/>
          </a:xfrm>
          <a:prstGeom prst="rect">
            <a:avLst/>
          </a:prstGeom>
          <a:gradFill>
            <a:gsLst>
              <a:gs pos="100000">
                <a:schemeClr val="bg1"/>
              </a:gs>
              <a:gs pos="63000">
                <a:schemeClr val="bg1">
                  <a:alpha val="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antander Headline" panose="020B0504020201020104" pitchFamily="34" charset="0"/>
            </a:endParaRPr>
          </a:p>
        </p:txBody>
      </p:sp>
      <p:sp>
        <p:nvSpPr>
          <p:cNvPr id="14" name="Título 1">
            <a:extLst>
              <a:ext uri="{FF2B5EF4-FFF2-40B4-BE49-F238E27FC236}">
                <a16:creationId xmlns:a16="http://schemas.microsoft.com/office/drawing/2014/main" id="{E6A2EDE0-A1AB-DE03-E808-263885D8BDED}"/>
              </a:ext>
            </a:extLst>
          </p:cNvPr>
          <p:cNvSpPr>
            <a:spLocks noGrp="1"/>
          </p:cNvSpPr>
          <p:nvPr>
            <p:ph type="ctrTitle"/>
          </p:nvPr>
        </p:nvSpPr>
        <p:spPr>
          <a:xfrm>
            <a:off x="660329" y="1543186"/>
            <a:ext cx="4937184" cy="1407004"/>
          </a:xfrm>
          <a:prstGeom prst="rect">
            <a:avLst/>
          </a:prstGeom>
        </p:spPr>
        <p:txBody>
          <a:bodyPr anchor="t">
            <a:normAutofit/>
          </a:bodyPr>
          <a:lstStyle>
            <a:lvl1pPr algn="l">
              <a:lnSpc>
                <a:spcPct val="90000"/>
              </a:lnSpc>
              <a:defRPr sz="4000" b="0" i="0">
                <a:solidFill>
                  <a:srgbClr val="EC0000"/>
                </a:solidFill>
                <a:latin typeface="Santander Headline" panose="020B0504020201020104" pitchFamily="34" charset="0"/>
                <a:cs typeface="Santander Headline" panose="020B0504020201020104" pitchFamily="34" charset="0"/>
              </a:defRPr>
            </a:lvl1pPr>
          </a:lstStyle>
          <a:p>
            <a:r>
              <a:rPr lang="en-US" dirty="0"/>
              <a:t>Click to edit Master title style</a:t>
            </a:r>
            <a:endParaRPr lang="es-ES" dirty="0"/>
          </a:p>
        </p:txBody>
      </p:sp>
      <p:sp>
        <p:nvSpPr>
          <p:cNvPr id="15" name="Subtítulo 2">
            <a:extLst>
              <a:ext uri="{FF2B5EF4-FFF2-40B4-BE49-F238E27FC236}">
                <a16:creationId xmlns:a16="http://schemas.microsoft.com/office/drawing/2014/main" id="{256405C8-42DD-6385-46DE-833F6A93175E}"/>
              </a:ext>
            </a:extLst>
          </p:cNvPr>
          <p:cNvSpPr>
            <a:spLocks noGrp="1"/>
          </p:cNvSpPr>
          <p:nvPr>
            <p:ph type="subTitle" idx="1"/>
          </p:nvPr>
        </p:nvSpPr>
        <p:spPr>
          <a:xfrm>
            <a:off x="663204" y="2959841"/>
            <a:ext cx="4934309" cy="2436454"/>
          </a:xfrm>
          <a:prstGeom prst="rect">
            <a:avLst/>
          </a:prstGeom>
        </p:spPr>
        <p:txBody>
          <a:bodyPr>
            <a:noAutofit/>
          </a:bodyPr>
          <a:lstStyle>
            <a:lvl1pPr marL="0" indent="0" algn="l">
              <a:lnSpc>
                <a:spcPct val="100000"/>
              </a:lnSpc>
              <a:spcBef>
                <a:spcPts val="0"/>
              </a:spcBef>
              <a:spcAft>
                <a:spcPts val="1200"/>
              </a:spcAft>
              <a:buNone/>
              <a:defRPr sz="2000">
                <a:solidFill>
                  <a:schemeClr val="tx2"/>
                </a:solidFill>
                <a:latin typeface="Santander Headline" panose="020B050402020102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Marcador de posición de imagen 5">
            <a:extLst>
              <a:ext uri="{FF2B5EF4-FFF2-40B4-BE49-F238E27FC236}">
                <a16:creationId xmlns:a16="http://schemas.microsoft.com/office/drawing/2014/main" id="{97AEF06D-5C00-FEF4-98F1-1784152DA56A}"/>
              </a:ext>
            </a:extLst>
          </p:cNvPr>
          <p:cNvSpPr>
            <a:spLocks noGrp="1"/>
          </p:cNvSpPr>
          <p:nvPr>
            <p:ph type="pic" sz="quarter" idx="10"/>
          </p:nvPr>
        </p:nvSpPr>
        <p:spPr>
          <a:xfrm>
            <a:off x="7561263" y="0"/>
            <a:ext cx="4630737" cy="6858000"/>
          </a:xfrm>
          <a:prstGeom prst="rect">
            <a:avLst/>
          </a:prstGeom>
          <a:solidFill>
            <a:schemeClr val="bg1"/>
          </a:solidFill>
        </p:spPr>
        <p:txBody>
          <a:bodyPr/>
          <a:lstStyle>
            <a:lvl1pPr marL="0" indent="0" algn="ctr">
              <a:buNone/>
              <a:defRPr sz="1800">
                <a:latin typeface="Santander Headline" panose="020B0504020201020104" pitchFamily="34" charset="0"/>
              </a:defRPr>
            </a:lvl1pPr>
          </a:lstStyle>
          <a:p>
            <a:endParaRPr lang="es-ES" dirty="0"/>
          </a:p>
        </p:txBody>
      </p:sp>
      <p:sp>
        <p:nvSpPr>
          <p:cNvPr id="10" name="Marcador de texto 16">
            <a:extLst>
              <a:ext uri="{FF2B5EF4-FFF2-40B4-BE49-F238E27FC236}">
                <a16:creationId xmlns:a16="http://schemas.microsoft.com/office/drawing/2014/main" id="{EEFA36CD-F2CA-E34B-F969-3BA11DCB3880}"/>
              </a:ext>
            </a:extLst>
          </p:cNvPr>
          <p:cNvSpPr>
            <a:spLocks noGrp="1"/>
          </p:cNvSpPr>
          <p:nvPr>
            <p:ph type="body" sz="quarter" idx="14" hasCustomPrompt="1"/>
          </p:nvPr>
        </p:nvSpPr>
        <p:spPr>
          <a:xfrm>
            <a:off x="668706" y="333651"/>
            <a:ext cx="1914177" cy="419100"/>
          </a:xfrm>
          <a:prstGeom prst="rect">
            <a:avLst/>
          </a:prstGeom>
        </p:spPr>
        <p:txBody>
          <a:bodyPr>
            <a:noAutofit/>
          </a:bodyPr>
          <a:lstStyle>
            <a:lvl1pPr marL="0" indent="0">
              <a:buNone/>
              <a:defRPr sz="900" b="0" i="0">
                <a:solidFill>
                  <a:schemeClr val="tx2"/>
                </a:solidFill>
                <a:latin typeface="Santander Headline" panose="020B0504020201020104" pitchFamily="34" charset="0"/>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dirty="0"/>
              <a:t>Date</a:t>
            </a:r>
          </a:p>
        </p:txBody>
      </p:sp>
      <p:sp>
        <p:nvSpPr>
          <p:cNvPr id="11" name="Marcador de texto 16">
            <a:extLst>
              <a:ext uri="{FF2B5EF4-FFF2-40B4-BE49-F238E27FC236}">
                <a16:creationId xmlns:a16="http://schemas.microsoft.com/office/drawing/2014/main" id="{BCB53EDF-CF5B-F317-ACA8-39B0B96DAE73}"/>
              </a:ext>
            </a:extLst>
          </p:cNvPr>
          <p:cNvSpPr>
            <a:spLocks noGrp="1"/>
          </p:cNvSpPr>
          <p:nvPr>
            <p:ph type="body" sz="quarter" idx="15" hasCustomPrompt="1"/>
          </p:nvPr>
        </p:nvSpPr>
        <p:spPr>
          <a:xfrm>
            <a:off x="2717200" y="333651"/>
            <a:ext cx="1914177" cy="419100"/>
          </a:xfrm>
          <a:prstGeom prst="rect">
            <a:avLst/>
          </a:prstGeom>
        </p:spPr>
        <p:txBody>
          <a:bodyPr>
            <a:noAutofit/>
          </a:bodyPr>
          <a:lstStyle>
            <a:lvl1pPr marL="0" indent="0">
              <a:buNone/>
              <a:defRPr sz="900" b="0" i="0">
                <a:solidFill>
                  <a:schemeClr val="tx2"/>
                </a:solidFill>
                <a:latin typeface="Santander Headline" panose="020B0504020201020104" pitchFamily="34" charset="0"/>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dirty="0"/>
              <a:t>Department</a:t>
            </a:r>
          </a:p>
        </p:txBody>
      </p:sp>
      <p:pic>
        <p:nvPicPr>
          <p:cNvPr id="7" name="Gráfico 6">
            <a:extLst>
              <a:ext uri="{FF2B5EF4-FFF2-40B4-BE49-F238E27FC236}">
                <a16:creationId xmlns:a16="http://schemas.microsoft.com/office/drawing/2014/main" id="{CAB2997E-98EB-C6F9-5680-8F114F37C1B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1850" y="5860646"/>
            <a:ext cx="2201021" cy="413314"/>
          </a:xfrm>
          <a:prstGeom prst="rect">
            <a:avLst/>
          </a:prstGeom>
        </p:spPr>
      </p:pic>
      <p:sp>
        <p:nvSpPr>
          <p:cNvPr id="3" name="Text Placeholder 3">
            <a:extLst>
              <a:ext uri="{FF2B5EF4-FFF2-40B4-BE49-F238E27FC236}">
                <a16:creationId xmlns:a16="http://schemas.microsoft.com/office/drawing/2014/main" id="{3EA13F4F-9E0E-2AD2-536B-A53528F43C42}"/>
              </a:ext>
            </a:extLst>
          </p:cNvPr>
          <p:cNvSpPr>
            <a:spLocks noGrp="1"/>
          </p:cNvSpPr>
          <p:nvPr>
            <p:ph type="body" sz="quarter" idx="16"/>
          </p:nvPr>
        </p:nvSpPr>
        <p:spPr>
          <a:xfrm>
            <a:off x="10815678" y="89692"/>
            <a:ext cx="1285311" cy="281220"/>
          </a:xfrm>
          <a:prstGeom prst="rect">
            <a:avLst/>
          </a:prstGeom>
          <a:blipFill>
            <a:blip r:embed="rId4">
              <a:lum bright="100000"/>
              <a:extLst>
                <a:ext uri="{96DAC541-7B7A-43D3-8B79-37D633B846F1}">
                  <asvg:svgBlip xmlns:asvg="http://schemas.microsoft.com/office/drawing/2016/SVG/main" r:embed="rId5"/>
                </a:ext>
              </a:extLst>
            </a:blip>
            <a:stretch>
              <a:fillRect/>
            </a:stretch>
          </a:blipFill>
        </p:spPr>
        <p:txBody>
          <a:bodyPr/>
          <a:lstStyle>
            <a:lvl1pPr marL="0" indent="0">
              <a:buNone/>
              <a:defRPr sz="100">
                <a:solidFill>
                  <a:schemeClr val="bg1">
                    <a:alpha val="0"/>
                  </a:schemeClr>
                </a:solidFill>
              </a:defRPr>
            </a:lvl1pPr>
          </a:lstStyle>
          <a:p>
            <a:pPr lvl="0"/>
            <a:endParaRPr lang="en-GB" dirty="0"/>
          </a:p>
        </p:txBody>
      </p:sp>
    </p:spTree>
    <p:extLst>
      <p:ext uri="{BB962C8B-B14F-4D97-AF65-F5344CB8AC3E}">
        <p14:creationId xmlns:p14="http://schemas.microsoft.com/office/powerpoint/2010/main" val="29730587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ack cover slide 1">
    <p:spTree>
      <p:nvGrpSpPr>
        <p:cNvPr id="1" name=""/>
        <p:cNvGrpSpPr/>
        <p:nvPr/>
      </p:nvGrpSpPr>
      <p:grpSpPr>
        <a:xfrm>
          <a:off x="0" y="0"/>
          <a:ext cx="0" cy="0"/>
          <a:chOff x="0" y="0"/>
          <a:chExt cx="0" cy="0"/>
        </a:xfrm>
      </p:grpSpPr>
      <p:pic>
        <p:nvPicPr>
          <p:cNvPr id="11" name="Picture 10" descr="A road with cars on it&#10;&#10;Description automatically generated">
            <a:extLst>
              <a:ext uri="{FF2B5EF4-FFF2-40B4-BE49-F238E27FC236}">
                <a16:creationId xmlns:a16="http://schemas.microsoft.com/office/drawing/2014/main" id="{0AA77C48-716B-4771-7CB4-C775C9555D0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1"/>
            <a:ext cx="12192000" cy="6967145"/>
          </a:xfrm>
          <a:prstGeom prst="rect">
            <a:avLst/>
          </a:prstGeom>
        </p:spPr>
      </p:pic>
      <p:sp>
        <p:nvSpPr>
          <p:cNvPr id="4" name="TextBox 20">
            <a:extLst>
              <a:ext uri="{FF2B5EF4-FFF2-40B4-BE49-F238E27FC236}">
                <a16:creationId xmlns:a16="http://schemas.microsoft.com/office/drawing/2014/main" id="{2BC5A094-F52B-D930-5333-EFE00CBFC2D9}"/>
              </a:ext>
            </a:extLst>
          </p:cNvPr>
          <p:cNvSpPr txBox="1"/>
          <p:nvPr userDrawn="1">
            <p:custDataLst>
              <p:tags r:id="rId1"/>
            </p:custDataLst>
          </p:nvPr>
        </p:nvSpPr>
        <p:spPr>
          <a:xfrm>
            <a:off x="10824088" y="130264"/>
            <a:ext cx="1189498" cy="161583"/>
          </a:xfrm>
          <a:prstGeom prst="rect">
            <a:avLst/>
          </a:prstGeom>
        </p:spPr>
        <p:txBody>
          <a:bodyPr wrap="square" lIns="0" tIns="0" rIns="0" bIns="0">
            <a:spAutoFit/>
          </a:bodyPr>
          <a:lstStyle/>
          <a:p>
            <a:pPr algn="r"/>
            <a:r>
              <a:rPr lang="en-GB" sz="1050" kern="1200" dirty="0">
                <a:solidFill>
                  <a:schemeClr val="bg1"/>
                </a:solidFill>
                <a:latin typeface="Santander Headline" panose="020B0504020201020104" pitchFamily="34" charset="0"/>
                <a:ea typeface="+mn-ea"/>
                <a:cs typeface="+mn-cs"/>
              </a:rPr>
              <a:t>Confidential</a:t>
            </a:r>
          </a:p>
        </p:txBody>
      </p:sp>
      <p:sp>
        <p:nvSpPr>
          <p:cNvPr id="3" name="Rectangle 2">
            <a:extLst>
              <a:ext uri="{FF2B5EF4-FFF2-40B4-BE49-F238E27FC236}">
                <a16:creationId xmlns:a16="http://schemas.microsoft.com/office/drawing/2014/main" id="{87CB03CC-02AD-14EA-9A73-9346C5E34970}"/>
              </a:ext>
            </a:extLst>
          </p:cNvPr>
          <p:cNvSpPr>
            <a:spLocks noChangeArrowheads="1"/>
          </p:cNvSpPr>
          <p:nvPr userDrawn="1"/>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15" name="Rectángulo 4">
            <a:extLst>
              <a:ext uri="{FF2B5EF4-FFF2-40B4-BE49-F238E27FC236}">
                <a16:creationId xmlns:a16="http://schemas.microsoft.com/office/drawing/2014/main" id="{56E299E8-9677-A29B-4B9E-F32246CC2495}"/>
              </a:ext>
            </a:extLst>
          </p:cNvPr>
          <p:cNvSpPr/>
          <p:nvPr userDrawn="1"/>
        </p:nvSpPr>
        <p:spPr>
          <a:xfrm>
            <a:off x="0" y="1192368"/>
            <a:ext cx="6164752" cy="5774776"/>
          </a:xfrm>
          <a:prstGeom prst="rect">
            <a:avLst/>
          </a:prstGeom>
          <a:gradFill>
            <a:gsLst>
              <a:gs pos="100000">
                <a:srgbClr val="8C0014"/>
              </a:gs>
              <a:gs pos="51000">
                <a:srgbClr val="64001E">
                  <a:alpha val="0"/>
                </a:srgb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antander Headline" panose="020B0504020201020104" pitchFamily="34" charset="0"/>
            </a:endParaRPr>
          </a:p>
        </p:txBody>
      </p:sp>
      <p:pic>
        <p:nvPicPr>
          <p:cNvPr id="16" name="Gráfico 5">
            <a:extLst>
              <a:ext uri="{FF2B5EF4-FFF2-40B4-BE49-F238E27FC236}">
                <a16:creationId xmlns:a16="http://schemas.microsoft.com/office/drawing/2014/main" id="{84834D0D-2591-98F2-08D6-157BF3001C19}"/>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51850" y="5860646"/>
            <a:ext cx="2201021" cy="413314"/>
          </a:xfrm>
          <a:prstGeom prst="rect">
            <a:avLst/>
          </a:prstGeom>
        </p:spPr>
      </p:pic>
      <p:sp>
        <p:nvSpPr>
          <p:cNvPr id="21" name="Text Placeholder 18">
            <a:extLst>
              <a:ext uri="{FF2B5EF4-FFF2-40B4-BE49-F238E27FC236}">
                <a16:creationId xmlns:a16="http://schemas.microsoft.com/office/drawing/2014/main" id="{B2EBC0E1-E075-533D-E635-A58CE14561F3}"/>
              </a:ext>
            </a:extLst>
          </p:cNvPr>
          <p:cNvSpPr>
            <a:spLocks noGrp="1"/>
          </p:cNvSpPr>
          <p:nvPr>
            <p:ph type="body" sz="quarter" idx="10"/>
          </p:nvPr>
        </p:nvSpPr>
        <p:spPr>
          <a:xfrm>
            <a:off x="688285" y="1571102"/>
            <a:ext cx="4970237" cy="4257675"/>
          </a:xfrm>
          <a:prstGeom prst="rect">
            <a:avLst/>
          </a:prstGeom>
        </p:spPr>
        <p:txBody>
          <a:bodyPr/>
          <a:lstStyle>
            <a:lvl1pPr marL="0" indent="0">
              <a:spcBef>
                <a:spcPts val="0"/>
              </a:spcBef>
              <a:spcAft>
                <a:spcPts val="1200"/>
              </a:spcAft>
              <a:buNone/>
              <a:defRPr sz="4000">
                <a:solidFill>
                  <a:schemeClr val="bg1"/>
                </a:solidFill>
                <a:latin typeface="Santander Headline" panose="020B0504020201020104" pitchFamily="34" charset="0"/>
              </a:defRPr>
            </a:lvl1pPr>
            <a:lvl2pPr marL="0" indent="0">
              <a:lnSpc>
                <a:spcPct val="100000"/>
              </a:lnSpc>
              <a:spcBef>
                <a:spcPts val="1200"/>
              </a:spcBef>
              <a:spcAft>
                <a:spcPts val="0"/>
              </a:spcAft>
              <a:buNone/>
              <a:defRPr sz="1200">
                <a:solidFill>
                  <a:schemeClr val="bg1"/>
                </a:solidFill>
              </a:defRPr>
            </a:lvl2pPr>
            <a:lvl3pPr marL="0" indent="0">
              <a:lnSpc>
                <a:spcPct val="100000"/>
              </a:lnSpc>
              <a:spcBef>
                <a:spcPts val="3000"/>
              </a:spcBef>
              <a:buNone/>
              <a:defRPr>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892949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1BA60C6-CF31-D225-4703-73B2F842E57D}"/>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a:extLst>
              <a:ext uri="{FF2B5EF4-FFF2-40B4-BE49-F238E27FC236}">
                <a16:creationId xmlns:a16="http://schemas.microsoft.com/office/drawing/2014/main" id="{F99BE306-2D98-0125-74FA-40C4C56B324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7F4291CF-2C9D-7B4C-4484-C26AE6AB8011}"/>
              </a:ext>
            </a:extLst>
          </p:cNvPr>
          <p:cNvSpPr>
            <a:spLocks noGrp="1"/>
          </p:cNvSpPr>
          <p:nvPr>
            <p:ph type="dt" sz="half" idx="10"/>
          </p:nvPr>
        </p:nvSpPr>
        <p:spPr/>
        <p:txBody>
          <a:bodyPr/>
          <a:lstStyle/>
          <a:p>
            <a:fld id="{B74D274C-A9CE-4BE7-9899-F2ABD49B5BEB}" type="datetimeFigureOut">
              <a:rPr lang="es-ES" smtClean="0"/>
              <a:t>03/12/2025</a:t>
            </a:fld>
            <a:endParaRPr lang="es-ES"/>
          </a:p>
        </p:txBody>
      </p:sp>
      <p:sp>
        <p:nvSpPr>
          <p:cNvPr id="5" name="Marcador de pie de página 4">
            <a:extLst>
              <a:ext uri="{FF2B5EF4-FFF2-40B4-BE49-F238E27FC236}">
                <a16:creationId xmlns:a16="http://schemas.microsoft.com/office/drawing/2014/main" id="{40D4CDF6-BCA7-712C-C3AC-82C2E09E399C}"/>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35F9C227-BCAF-4A6C-FFBD-4803EED931BC}"/>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7574144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80916C9-049A-98D2-CD8E-D3A4F78972D2}"/>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273B14E3-ED6F-1E12-F716-5C430FB6DF92}"/>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5E68A48D-DE46-F750-B651-764E56679E81}"/>
              </a:ext>
            </a:extLst>
          </p:cNvPr>
          <p:cNvSpPr>
            <a:spLocks noGrp="1"/>
          </p:cNvSpPr>
          <p:nvPr>
            <p:ph type="dt" sz="half" idx="10"/>
          </p:nvPr>
        </p:nvSpPr>
        <p:spPr/>
        <p:txBody>
          <a:bodyPr/>
          <a:lstStyle/>
          <a:p>
            <a:fld id="{B74D274C-A9CE-4BE7-9899-F2ABD49B5BEB}" type="datetimeFigureOut">
              <a:rPr lang="es-ES" smtClean="0"/>
              <a:t>03/12/2025</a:t>
            </a:fld>
            <a:endParaRPr lang="es-ES"/>
          </a:p>
        </p:txBody>
      </p:sp>
      <p:sp>
        <p:nvSpPr>
          <p:cNvPr id="5" name="Marcador de pie de página 4">
            <a:extLst>
              <a:ext uri="{FF2B5EF4-FFF2-40B4-BE49-F238E27FC236}">
                <a16:creationId xmlns:a16="http://schemas.microsoft.com/office/drawing/2014/main" id="{9810CA7A-13FF-FF68-E67B-60B21A3B9E39}"/>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91CCBB9D-4C45-DE02-D4DE-732A6EE0B569}"/>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11545822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3D632E-53C2-0ED2-E083-75CAA3419D89}"/>
              </a:ext>
            </a:extLst>
          </p:cNvPr>
          <p:cNvSpPr>
            <a:spLocks noGrp="1"/>
          </p:cNvSpPr>
          <p:nvPr>
            <p:ph type="title"/>
          </p:nvPr>
        </p:nvSpPr>
        <p:spPr/>
        <p:txBody>
          <a:bodyPr/>
          <a:lstStyle/>
          <a:p>
            <a:r>
              <a:rPr lang="en-US"/>
              <a:t>Click to edit Master title style</a:t>
            </a:r>
            <a:endParaRPr lang="es-ES"/>
          </a:p>
        </p:txBody>
      </p:sp>
      <p:sp>
        <p:nvSpPr>
          <p:cNvPr id="3" name="Content Placeholder 2">
            <a:extLst>
              <a:ext uri="{FF2B5EF4-FFF2-40B4-BE49-F238E27FC236}">
                <a16:creationId xmlns:a16="http://schemas.microsoft.com/office/drawing/2014/main" id="{A505B22C-E0E4-83A4-C760-F4555EE1F54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B77A1072-04FD-34BD-EAE8-0F5A1D05CFE9}"/>
              </a:ext>
            </a:extLst>
          </p:cNvPr>
          <p:cNvSpPr>
            <a:spLocks noGrp="1"/>
          </p:cNvSpPr>
          <p:nvPr>
            <p:ph type="dt" sz="half" idx="10"/>
          </p:nvPr>
        </p:nvSpPr>
        <p:spPr/>
        <p:txBody>
          <a:bodyPr/>
          <a:lstStyle/>
          <a:p>
            <a:fld id="{2936A72B-74AE-4828-B363-D54F043C4597}" type="datetimeFigureOut">
              <a:rPr lang="es-ES" smtClean="0"/>
              <a:t>03/12/2025</a:t>
            </a:fld>
            <a:endParaRPr lang="es-ES"/>
          </a:p>
        </p:txBody>
      </p:sp>
      <p:sp>
        <p:nvSpPr>
          <p:cNvPr id="5" name="Footer Placeholder 4">
            <a:extLst>
              <a:ext uri="{FF2B5EF4-FFF2-40B4-BE49-F238E27FC236}">
                <a16:creationId xmlns:a16="http://schemas.microsoft.com/office/drawing/2014/main" id="{4E79562F-5B98-0DEA-289F-402031332D92}"/>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7AF3AE67-5E54-F09C-57BE-A5A2849A48AB}"/>
              </a:ext>
            </a:extLst>
          </p:cNvPr>
          <p:cNvSpPr>
            <a:spLocks noGrp="1"/>
          </p:cNvSpPr>
          <p:nvPr>
            <p:ph type="sldNum" sz="quarter" idx="12"/>
          </p:nvPr>
        </p:nvSpPr>
        <p:spPr/>
        <p:txBody>
          <a:bodyPr/>
          <a:lstStyle/>
          <a:p>
            <a:fld id="{9CC58EAA-8CE3-4B47-B600-46B910A49F95}" type="slidenum">
              <a:rPr lang="es-ES" smtClean="0"/>
              <a:t>‹#›</a:t>
            </a:fld>
            <a:endParaRPr lang="es-ES"/>
          </a:p>
        </p:txBody>
      </p:sp>
    </p:spTree>
    <p:extLst>
      <p:ext uri="{BB962C8B-B14F-4D97-AF65-F5344CB8AC3E}">
        <p14:creationId xmlns:p14="http://schemas.microsoft.com/office/powerpoint/2010/main" val="6018719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55AA69F-C076-DAA0-5781-C27DC4817638}"/>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p>
        </p:txBody>
      </p:sp>
      <p:sp>
        <p:nvSpPr>
          <p:cNvPr id="3" name="Marcador de texto 2">
            <a:extLst>
              <a:ext uri="{FF2B5EF4-FFF2-40B4-BE49-F238E27FC236}">
                <a16:creationId xmlns:a16="http://schemas.microsoft.com/office/drawing/2014/main" id="{00F042F5-2467-52CB-4F29-171F319250D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D5E3F3F6-77FC-F133-3F8A-5731DB0411C2}"/>
              </a:ext>
            </a:extLst>
          </p:cNvPr>
          <p:cNvSpPr>
            <a:spLocks noGrp="1"/>
          </p:cNvSpPr>
          <p:nvPr>
            <p:ph type="dt" sz="half" idx="10"/>
          </p:nvPr>
        </p:nvSpPr>
        <p:spPr/>
        <p:txBody>
          <a:bodyPr/>
          <a:lstStyle/>
          <a:p>
            <a:fld id="{B74D274C-A9CE-4BE7-9899-F2ABD49B5BEB}" type="datetimeFigureOut">
              <a:rPr lang="es-ES" smtClean="0"/>
              <a:t>03/12/2025</a:t>
            </a:fld>
            <a:endParaRPr lang="es-ES"/>
          </a:p>
        </p:txBody>
      </p:sp>
      <p:sp>
        <p:nvSpPr>
          <p:cNvPr id="5" name="Marcador de pie de página 4">
            <a:extLst>
              <a:ext uri="{FF2B5EF4-FFF2-40B4-BE49-F238E27FC236}">
                <a16:creationId xmlns:a16="http://schemas.microsoft.com/office/drawing/2014/main" id="{0356CD0C-B5B0-7574-0624-070FD2F2F73D}"/>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1FE9801C-36B9-2F2E-701F-072D8743363E}"/>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20073515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2F669E1-4BCD-559F-93CA-E099751B62F9}"/>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CB535B63-2817-BFC5-F742-5808B80034C7}"/>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a:extLst>
              <a:ext uri="{FF2B5EF4-FFF2-40B4-BE49-F238E27FC236}">
                <a16:creationId xmlns:a16="http://schemas.microsoft.com/office/drawing/2014/main" id="{2B5DBC9F-0DA7-BD81-58B0-92117051BA2D}"/>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a:extLst>
              <a:ext uri="{FF2B5EF4-FFF2-40B4-BE49-F238E27FC236}">
                <a16:creationId xmlns:a16="http://schemas.microsoft.com/office/drawing/2014/main" id="{29B5EB7B-BE0C-0706-F1AB-F17BF68616FD}"/>
              </a:ext>
            </a:extLst>
          </p:cNvPr>
          <p:cNvSpPr>
            <a:spLocks noGrp="1"/>
          </p:cNvSpPr>
          <p:nvPr>
            <p:ph type="dt" sz="half" idx="10"/>
          </p:nvPr>
        </p:nvSpPr>
        <p:spPr/>
        <p:txBody>
          <a:bodyPr/>
          <a:lstStyle/>
          <a:p>
            <a:fld id="{B74D274C-A9CE-4BE7-9899-F2ABD49B5BEB}" type="datetimeFigureOut">
              <a:rPr lang="es-ES" smtClean="0"/>
              <a:t>03/12/2025</a:t>
            </a:fld>
            <a:endParaRPr lang="es-ES"/>
          </a:p>
        </p:txBody>
      </p:sp>
      <p:sp>
        <p:nvSpPr>
          <p:cNvPr id="6" name="Marcador de pie de página 5">
            <a:extLst>
              <a:ext uri="{FF2B5EF4-FFF2-40B4-BE49-F238E27FC236}">
                <a16:creationId xmlns:a16="http://schemas.microsoft.com/office/drawing/2014/main" id="{A31E99FB-B141-40D3-B105-EEF01A138A79}"/>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7E3953C4-1075-1016-3F97-7E5C7E273982}"/>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13234671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DCDB421-798F-F05E-EAD4-2371E12F3087}"/>
              </a:ext>
            </a:extLst>
          </p:cNvPr>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27BB5441-5A7A-25DB-CC8F-4F6E5340072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92DD900E-BF1E-8BD8-EDD4-7013DFAFD962}"/>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a:extLst>
              <a:ext uri="{FF2B5EF4-FFF2-40B4-BE49-F238E27FC236}">
                <a16:creationId xmlns:a16="http://schemas.microsoft.com/office/drawing/2014/main" id="{55560814-7770-9A4F-D31E-00539DED5BE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93A6BA9E-7494-ED51-3FB2-737A838F8E08}"/>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a:extLst>
              <a:ext uri="{FF2B5EF4-FFF2-40B4-BE49-F238E27FC236}">
                <a16:creationId xmlns:a16="http://schemas.microsoft.com/office/drawing/2014/main" id="{0734DAAF-EB80-0ADC-A4AB-2769FFDB3ABB}"/>
              </a:ext>
            </a:extLst>
          </p:cNvPr>
          <p:cNvSpPr>
            <a:spLocks noGrp="1"/>
          </p:cNvSpPr>
          <p:nvPr>
            <p:ph type="dt" sz="half" idx="10"/>
          </p:nvPr>
        </p:nvSpPr>
        <p:spPr/>
        <p:txBody>
          <a:bodyPr/>
          <a:lstStyle/>
          <a:p>
            <a:fld id="{B74D274C-A9CE-4BE7-9899-F2ABD49B5BEB}" type="datetimeFigureOut">
              <a:rPr lang="es-ES" smtClean="0"/>
              <a:t>03/12/2025</a:t>
            </a:fld>
            <a:endParaRPr lang="es-ES"/>
          </a:p>
        </p:txBody>
      </p:sp>
      <p:sp>
        <p:nvSpPr>
          <p:cNvPr id="8" name="Marcador de pie de página 7">
            <a:extLst>
              <a:ext uri="{FF2B5EF4-FFF2-40B4-BE49-F238E27FC236}">
                <a16:creationId xmlns:a16="http://schemas.microsoft.com/office/drawing/2014/main" id="{E3F6A1EC-8C30-041C-C754-B47795BB3226}"/>
              </a:ext>
            </a:extLst>
          </p:cNvPr>
          <p:cNvSpPr>
            <a:spLocks noGrp="1"/>
          </p:cNvSpPr>
          <p:nvPr>
            <p:ph type="ftr" sz="quarter" idx="11"/>
          </p:nvPr>
        </p:nvSpPr>
        <p:spPr/>
        <p:txBody>
          <a:bodyPr/>
          <a:lstStyle/>
          <a:p>
            <a:endParaRPr lang="es-ES"/>
          </a:p>
        </p:txBody>
      </p:sp>
      <p:sp>
        <p:nvSpPr>
          <p:cNvPr id="9" name="Marcador de número de diapositiva 8">
            <a:extLst>
              <a:ext uri="{FF2B5EF4-FFF2-40B4-BE49-F238E27FC236}">
                <a16:creationId xmlns:a16="http://schemas.microsoft.com/office/drawing/2014/main" id="{57A3DA01-F9F9-D774-5A51-7BC024CCF71D}"/>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22943079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1CBF9AA-CFE6-01FD-42D1-781AB45611E1}"/>
              </a:ext>
            </a:extLst>
          </p:cNvPr>
          <p:cNvSpPr>
            <a:spLocks noGrp="1"/>
          </p:cNvSpPr>
          <p:nvPr>
            <p:ph type="title"/>
          </p:nvPr>
        </p:nvSpPr>
        <p:spPr/>
        <p:txBody>
          <a:bodyPr/>
          <a:lstStyle/>
          <a:p>
            <a:r>
              <a:rPr lang="es-ES"/>
              <a:t>Haga clic para modificar el estilo de título del patrón</a:t>
            </a:r>
          </a:p>
        </p:txBody>
      </p:sp>
      <p:sp>
        <p:nvSpPr>
          <p:cNvPr id="3" name="Marcador de fecha 2">
            <a:extLst>
              <a:ext uri="{FF2B5EF4-FFF2-40B4-BE49-F238E27FC236}">
                <a16:creationId xmlns:a16="http://schemas.microsoft.com/office/drawing/2014/main" id="{066D6150-4E82-4B02-7D51-53745893129F}"/>
              </a:ext>
            </a:extLst>
          </p:cNvPr>
          <p:cNvSpPr>
            <a:spLocks noGrp="1"/>
          </p:cNvSpPr>
          <p:nvPr>
            <p:ph type="dt" sz="half" idx="10"/>
          </p:nvPr>
        </p:nvSpPr>
        <p:spPr/>
        <p:txBody>
          <a:bodyPr/>
          <a:lstStyle/>
          <a:p>
            <a:fld id="{B74D274C-A9CE-4BE7-9899-F2ABD49B5BEB}" type="datetimeFigureOut">
              <a:rPr lang="es-ES" smtClean="0"/>
              <a:t>03/12/2025</a:t>
            </a:fld>
            <a:endParaRPr lang="es-ES"/>
          </a:p>
        </p:txBody>
      </p:sp>
      <p:sp>
        <p:nvSpPr>
          <p:cNvPr id="4" name="Marcador de pie de página 3">
            <a:extLst>
              <a:ext uri="{FF2B5EF4-FFF2-40B4-BE49-F238E27FC236}">
                <a16:creationId xmlns:a16="http://schemas.microsoft.com/office/drawing/2014/main" id="{FD24C04F-F8DE-AA25-F8E7-4519DBCD642E}"/>
              </a:ext>
            </a:extLst>
          </p:cNvPr>
          <p:cNvSpPr>
            <a:spLocks noGrp="1"/>
          </p:cNvSpPr>
          <p:nvPr>
            <p:ph type="ftr" sz="quarter" idx="11"/>
          </p:nvPr>
        </p:nvSpPr>
        <p:spPr/>
        <p:txBody>
          <a:bodyPr/>
          <a:lstStyle/>
          <a:p>
            <a:endParaRPr lang="es-ES"/>
          </a:p>
        </p:txBody>
      </p:sp>
      <p:sp>
        <p:nvSpPr>
          <p:cNvPr id="5" name="Marcador de número de diapositiva 4">
            <a:extLst>
              <a:ext uri="{FF2B5EF4-FFF2-40B4-BE49-F238E27FC236}">
                <a16:creationId xmlns:a16="http://schemas.microsoft.com/office/drawing/2014/main" id="{8279A9C5-3974-7D0D-5633-851FAAB44CDE}"/>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8840317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3C18C0F1-E78A-57B1-749E-E9A3A0EE637E}"/>
              </a:ext>
            </a:extLst>
          </p:cNvPr>
          <p:cNvSpPr>
            <a:spLocks noGrp="1"/>
          </p:cNvSpPr>
          <p:nvPr>
            <p:ph type="dt" sz="half" idx="10"/>
          </p:nvPr>
        </p:nvSpPr>
        <p:spPr/>
        <p:txBody>
          <a:bodyPr/>
          <a:lstStyle/>
          <a:p>
            <a:fld id="{B74D274C-A9CE-4BE7-9899-F2ABD49B5BEB}" type="datetimeFigureOut">
              <a:rPr lang="es-ES" smtClean="0"/>
              <a:t>03/12/2025</a:t>
            </a:fld>
            <a:endParaRPr lang="es-ES"/>
          </a:p>
        </p:txBody>
      </p:sp>
      <p:sp>
        <p:nvSpPr>
          <p:cNvPr id="3" name="Marcador de pie de página 2">
            <a:extLst>
              <a:ext uri="{FF2B5EF4-FFF2-40B4-BE49-F238E27FC236}">
                <a16:creationId xmlns:a16="http://schemas.microsoft.com/office/drawing/2014/main" id="{82F74075-2544-3408-BCF7-8FF0187A0102}"/>
              </a:ext>
            </a:extLst>
          </p:cNvPr>
          <p:cNvSpPr>
            <a:spLocks noGrp="1"/>
          </p:cNvSpPr>
          <p:nvPr>
            <p:ph type="ftr" sz="quarter" idx="11"/>
          </p:nvPr>
        </p:nvSpPr>
        <p:spPr/>
        <p:txBody>
          <a:bodyPr/>
          <a:lstStyle/>
          <a:p>
            <a:endParaRPr lang="es-ES"/>
          </a:p>
        </p:txBody>
      </p:sp>
      <p:sp>
        <p:nvSpPr>
          <p:cNvPr id="4" name="Marcador de número de diapositiva 3">
            <a:extLst>
              <a:ext uri="{FF2B5EF4-FFF2-40B4-BE49-F238E27FC236}">
                <a16:creationId xmlns:a16="http://schemas.microsoft.com/office/drawing/2014/main" id="{F4D87731-B497-7C3F-9F43-0FBCDD0CB342}"/>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39670505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0FE4AFF-CA41-65F9-311A-2152292B5710}"/>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3CCBCA7B-3CF6-DDAA-AFA4-BB2E6BAF738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a:extLst>
              <a:ext uri="{FF2B5EF4-FFF2-40B4-BE49-F238E27FC236}">
                <a16:creationId xmlns:a16="http://schemas.microsoft.com/office/drawing/2014/main" id="{C2FF6701-967F-3635-5C8E-63641C1DED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43C1B2EC-4C3C-66DE-8C4D-927569BF0393}"/>
              </a:ext>
            </a:extLst>
          </p:cNvPr>
          <p:cNvSpPr>
            <a:spLocks noGrp="1"/>
          </p:cNvSpPr>
          <p:nvPr>
            <p:ph type="dt" sz="half" idx="10"/>
          </p:nvPr>
        </p:nvSpPr>
        <p:spPr/>
        <p:txBody>
          <a:bodyPr/>
          <a:lstStyle/>
          <a:p>
            <a:fld id="{B74D274C-A9CE-4BE7-9899-F2ABD49B5BEB}" type="datetimeFigureOut">
              <a:rPr lang="es-ES" smtClean="0"/>
              <a:t>03/12/2025</a:t>
            </a:fld>
            <a:endParaRPr lang="es-ES"/>
          </a:p>
        </p:txBody>
      </p:sp>
      <p:sp>
        <p:nvSpPr>
          <p:cNvPr id="6" name="Marcador de pie de página 5">
            <a:extLst>
              <a:ext uri="{FF2B5EF4-FFF2-40B4-BE49-F238E27FC236}">
                <a16:creationId xmlns:a16="http://schemas.microsoft.com/office/drawing/2014/main" id="{ECC39BF2-5D86-54CB-794C-CF665AE20A51}"/>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8F324FDD-937A-07E4-A38D-7FBA73C79D90}"/>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31677887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BE45066-E5C2-E531-C97B-37039B57CE61}"/>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a:extLst>
              <a:ext uri="{FF2B5EF4-FFF2-40B4-BE49-F238E27FC236}">
                <a16:creationId xmlns:a16="http://schemas.microsoft.com/office/drawing/2014/main" id="{4AE4C0EE-BD75-F327-E73E-31F1CFAFDF9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a:extLst>
              <a:ext uri="{FF2B5EF4-FFF2-40B4-BE49-F238E27FC236}">
                <a16:creationId xmlns:a16="http://schemas.microsoft.com/office/drawing/2014/main" id="{388ABD3F-314E-BE76-BE36-0E04852233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CCD59F2A-A144-6028-2B93-0464F67B2513}"/>
              </a:ext>
            </a:extLst>
          </p:cNvPr>
          <p:cNvSpPr>
            <a:spLocks noGrp="1"/>
          </p:cNvSpPr>
          <p:nvPr>
            <p:ph type="dt" sz="half" idx="10"/>
          </p:nvPr>
        </p:nvSpPr>
        <p:spPr/>
        <p:txBody>
          <a:bodyPr/>
          <a:lstStyle/>
          <a:p>
            <a:fld id="{B74D274C-A9CE-4BE7-9899-F2ABD49B5BEB}" type="datetimeFigureOut">
              <a:rPr lang="es-ES" smtClean="0"/>
              <a:t>03/12/2025</a:t>
            </a:fld>
            <a:endParaRPr lang="es-ES"/>
          </a:p>
        </p:txBody>
      </p:sp>
      <p:sp>
        <p:nvSpPr>
          <p:cNvPr id="6" name="Marcador de pie de página 5">
            <a:extLst>
              <a:ext uri="{FF2B5EF4-FFF2-40B4-BE49-F238E27FC236}">
                <a16:creationId xmlns:a16="http://schemas.microsoft.com/office/drawing/2014/main" id="{9E0E28FE-818B-F064-19FF-40B134208D2D}"/>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1BB5B1CD-43E2-1DF1-9D1A-7D2C9F19B051}"/>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271480194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DA51059-6FCD-9572-347B-DD15D6B42487}"/>
              </a:ext>
            </a:extLst>
          </p:cNvPr>
          <p:cNvSpPr>
            <a:spLocks noGrp="1"/>
          </p:cNvSpPr>
          <p:nvPr>
            <p:ph type="title"/>
          </p:nvPr>
        </p:nvSpPr>
        <p:spPr/>
        <p:txBody>
          <a:bodyPr/>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EBAB5091-1EA0-F2F3-0BFC-4808A746C7A8}"/>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E7E4CD48-6683-36A8-E094-E4DEA676D357}"/>
              </a:ext>
            </a:extLst>
          </p:cNvPr>
          <p:cNvSpPr>
            <a:spLocks noGrp="1"/>
          </p:cNvSpPr>
          <p:nvPr>
            <p:ph type="dt" sz="half" idx="10"/>
          </p:nvPr>
        </p:nvSpPr>
        <p:spPr/>
        <p:txBody>
          <a:bodyPr/>
          <a:lstStyle/>
          <a:p>
            <a:fld id="{B74D274C-A9CE-4BE7-9899-F2ABD49B5BEB}" type="datetimeFigureOut">
              <a:rPr lang="es-ES" smtClean="0"/>
              <a:t>03/12/2025</a:t>
            </a:fld>
            <a:endParaRPr lang="es-ES"/>
          </a:p>
        </p:txBody>
      </p:sp>
      <p:sp>
        <p:nvSpPr>
          <p:cNvPr id="5" name="Marcador de pie de página 4">
            <a:extLst>
              <a:ext uri="{FF2B5EF4-FFF2-40B4-BE49-F238E27FC236}">
                <a16:creationId xmlns:a16="http://schemas.microsoft.com/office/drawing/2014/main" id="{94E98B56-DFEE-6D3B-03F7-902D9504C3A5}"/>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E2E2147A-7BDB-6D9B-9A0D-CA395F8C75C9}"/>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9886820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2436F16A-D926-0ED1-2694-54D3C18BF9BE}"/>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4E4FE403-253A-246C-DCFD-0D34BA6BAF89}"/>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B063014E-323A-F704-0928-60F056CEC022}"/>
              </a:ext>
            </a:extLst>
          </p:cNvPr>
          <p:cNvSpPr>
            <a:spLocks noGrp="1"/>
          </p:cNvSpPr>
          <p:nvPr>
            <p:ph type="dt" sz="half" idx="10"/>
          </p:nvPr>
        </p:nvSpPr>
        <p:spPr/>
        <p:txBody>
          <a:bodyPr/>
          <a:lstStyle/>
          <a:p>
            <a:fld id="{B74D274C-A9CE-4BE7-9899-F2ABD49B5BEB}" type="datetimeFigureOut">
              <a:rPr lang="es-ES" smtClean="0"/>
              <a:t>03/12/2025</a:t>
            </a:fld>
            <a:endParaRPr lang="es-ES"/>
          </a:p>
        </p:txBody>
      </p:sp>
      <p:sp>
        <p:nvSpPr>
          <p:cNvPr id="5" name="Marcador de pie de página 4">
            <a:extLst>
              <a:ext uri="{FF2B5EF4-FFF2-40B4-BE49-F238E27FC236}">
                <a16:creationId xmlns:a16="http://schemas.microsoft.com/office/drawing/2014/main" id="{C69BC333-A06C-20CF-728E-9035C2013CF1}"/>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DC11CE1F-467C-7D72-8B74-361466F0CBAA}"/>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17166364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Subtitle, 1 Column Body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838200"/>
            <a:ext cx="11430000" cy="685800"/>
          </a:xfrm>
        </p:spPr>
        <p:txBody>
          <a:bodyPr>
            <a:noAutofit/>
          </a:bodyPr>
          <a:lstStyle>
            <a:lvl1pPr marL="0" indent="0">
              <a:buNone/>
              <a:defRPr lang="en-US" sz="2000" kern="1200" dirty="0" smtClean="0">
                <a:solidFill>
                  <a:schemeClr val="bg2"/>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US"/>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3B3B26C9-4CC7-EA8C-EBD1-615FCBB4A9FA}"/>
              </a:ext>
            </a:extLst>
          </p:cNvPr>
          <p:cNvSpPr>
            <a:spLocks noGrp="1"/>
          </p:cNvSpPr>
          <p:nvPr>
            <p:ph type="dt" sz="half" idx="10"/>
          </p:nvPr>
        </p:nvSpPr>
        <p:spPr/>
        <p:txBody>
          <a:bodyPr/>
          <a:lstStyle/>
          <a:p>
            <a:r>
              <a:rPr lang="es-ES"/>
              <a:t>November 2023</a:t>
            </a:r>
            <a:endParaRPr lang="en-US"/>
          </a:p>
        </p:txBody>
      </p:sp>
      <p:sp>
        <p:nvSpPr>
          <p:cNvPr id="4" name="Footer Placeholder 3">
            <a:extLst>
              <a:ext uri="{FF2B5EF4-FFF2-40B4-BE49-F238E27FC236}">
                <a16:creationId xmlns:a16="http://schemas.microsoft.com/office/drawing/2014/main" id="{53161E99-54BE-C3A5-B54E-49B9C7224B09}"/>
              </a:ext>
            </a:extLst>
          </p:cNvPr>
          <p:cNvSpPr>
            <a:spLocks noGrp="1"/>
          </p:cNvSpPr>
          <p:nvPr>
            <p:ph type="ftr" sz="quarter" idx="11"/>
          </p:nvPr>
        </p:nvSpPr>
        <p:spPr>
          <a:xfrm>
            <a:off x="6619448" y="6400800"/>
            <a:ext cx="4114800" cy="304800"/>
          </a:xfrm>
        </p:spPr>
        <p:txBody>
          <a:bodyPr/>
          <a:lstStyle>
            <a:lvl1pPr algn="r">
              <a:defRPr/>
            </a:lvl1pPr>
          </a:lstStyle>
          <a:p>
            <a:r>
              <a:rPr lang="es-ES"/>
              <a:t>NTT DATA, Inc.</a:t>
            </a:r>
          </a:p>
        </p:txBody>
      </p:sp>
      <p:sp>
        <p:nvSpPr>
          <p:cNvPr id="5" name="Slide Number Placeholder 4">
            <a:extLst>
              <a:ext uri="{FF2B5EF4-FFF2-40B4-BE49-F238E27FC236}">
                <a16:creationId xmlns:a16="http://schemas.microsoft.com/office/drawing/2014/main" id="{C716319C-85FE-4494-FC99-C4DE72E7B990}"/>
              </a:ext>
            </a:extLst>
          </p:cNvPr>
          <p:cNvSpPr>
            <a:spLocks noGrp="1"/>
          </p:cNvSpPr>
          <p:nvPr>
            <p:ph type="sldNum" sz="quarter" idx="12"/>
          </p:nvPr>
        </p:nvSpPr>
        <p:spPr>
          <a:xfrm>
            <a:off x="10744200" y="6400800"/>
            <a:ext cx="1066800" cy="304800"/>
          </a:xfrm>
        </p:spPr>
        <p:txBody>
          <a:bodyPr/>
          <a:lstStyle>
            <a:lvl1pPr algn="r">
              <a:defRPr/>
            </a:lvl1pPr>
          </a:lstStyle>
          <a:p>
            <a:fld id="{60D39823-8059-4D49-BD26-6D32C31B8621}" type="slidenum">
              <a:rPr lang="es-ES" smtClean="0"/>
              <a:pPr/>
              <a:t>‹#›</a:t>
            </a:fld>
            <a:endParaRPr lang="es-ES"/>
          </a:p>
        </p:txBody>
      </p:sp>
      <p:sp>
        <p:nvSpPr>
          <p:cNvPr id="8" name="Content Placeholder 7">
            <a:extLst>
              <a:ext uri="{FF2B5EF4-FFF2-40B4-BE49-F238E27FC236}">
                <a16:creationId xmlns:a16="http://schemas.microsoft.com/office/drawing/2014/main" id="{5568FE96-3E29-F907-5227-E6C308DA1835}"/>
              </a:ext>
            </a:extLst>
          </p:cNvPr>
          <p:cNvSpPr>
            <a:spLocks noGrp="1"/>
          </p:cNvSpPr>
          <p:nvPr>
            <p:ph sz="quarter" idx="14"/>
          </p:nvPr>
        </p:nvSpPr>
        <p:spPr>
          <a:xfrm>
            <a:off x="381000" y="1676400"/>
            <a:ext cx="114300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03978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3914A-6253-DD00-C6C5-FF39CCE5DE5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s-ES"/>
          </a:p>
        </p:txBody>
      </p:sp>
      <p:sp>
        <p:nvSpPr>
          <p:cNvPr id="3" name="Text Placeholder 2">
            <a:extLst>
              <a:ext uri="{FF2B5EF4-FFF2-40B4-BE49-F238E27FC236}">
                <a16:creationId xmlns:a16="http://schemas.microsoft.com/office/drawing/2014/main" id="{C1AC6925-54D9-B822-4FD8-95502277E5E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99B737A-03B7-F18E-1957-B5C31F3AAB81}"/>
              </a:ext>
            </a:extLst>
          </p:cNvPr>
          <p:cNvSpPr>
            <a:spLocks noGrp="1"/>
          </p:cNvSpPr>
          <p:nvPr>
            <p:ph type="dt" sz="half" idx="10"/>
          </p:nvPr>
        </p:nvSpPr>
        <p:spPr/>
        <p:txBody>
          <a:bodyPr/>
          <a:lstStyle/>
          <a:p>
            <a:fld id="{2936A72B-74AE-4828-B363-D54F043C4597}" type="datetimeFigureOut">
              <a:rPr lang="es-ES" smtClean="0"/>
              <a:t>03/12/2025</a:t>
            </a:fld>
            <a:endParaRPr lang="es-ES"/>
          </a:p>
        </p:txBody>
      </p:sp>
      <p:sp>
        <p:nvSpPr>
          <p:cNvPr id="5" name="Footer Placeholder 4">
            <a:extLst>
              <a:ext uri="{FF2B5EF4-FFF2-40B4-BE49-F238E27FC236}">
                <a16:creationId xmlns:a16="http://schemas.microsoft.com/office/drawing/2014/main" id="{F85A669A-856A-B2A6-1415-970405E6CAB9}"/>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A065FA5A-FE6F-F609-664D-F372DF455997}"/>
              </a:ext>
            </a:extLst>
          </p:cNvPr>
          <p:cNvSpPr>
            <a:spLocks noGrp="1"/>
          </p:cNvSpPr>
          <p:nvPr>
            <p:ph type="sldNum" sz="quarter" idx="12"/>
          </p:nvPr>
        </p:nvSpPr>
        <p:spPr/>
        <p:txBody>
          <a:bodyPr/>
          <a:lstStyle/>
          <a:p>
            <a:fld id="{9CC58EAA-8CE3-4B47-B600-46B910A49F95}" type="slidenum">
              <a:rPr lang="es-ES" smtClean="0"/>
              <a:t>‹#›</a:t>
            </a:fld>
            <a:endParaRPr lang="es-ES"/>
          </a:p>
        </p:txBody>
      </p:sp>
    </p:spTree>
    <p:extLst>
      <p:ext uri="{BB962C8B-B14F-4D97-AF65-F5344CB8AC3E}">
        <p14:creationId xmlns:p14="http://schemas.microsoft.com/office/powerpoint/2010/main" val="5019080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B_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0C3BB7C-B4A7-41A4-8C5A-903570B6070B}"/>
              </a:ext>
            </a:extLst>
          </p:cNvPr>
          <p:cNvSpPr>
            <a:spLocks noGrp="1"/>
          </p:cNvSpPr>
          <p:nvPr>
            <p:ph type="title" hasCustomPrompt="1"/>
          </p:nvPr>
        </p:nvSpPr>
        <p:spPr bwMode="gray"/>
        <p:txBody>
          <a:bodyPr vert="horz"/>
          <a:lstStyle/>
          <a:p>
            <a:r>
              <a:rPr lang="en-US"/>
              <a:t>Click to edit Master title style</a:t>
            </a:r>
          </a:p>
        </p:txBody>
      </p:sp>
      <p:sp>
        <p:nvSpPr>
          <p:cNvPr id="10" name="Footer Placeholder 4">
            <a:extLst>
              <a:ext uri="{FF2B5EF4-FFF2-40B4-BE49-F238E27FC236}">
                <a16:creationId xmlns:a16="http://schemas.microsoft.com/office/drawing/2014/main" id="{A9C53063-1F58-BE27-2E94-7E00DE772613}"/>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3 NTT DATA Corporation</a:t>
            </a:r>
          </a:p>
        </p:txBody>
      </p:sp>
      <p:sp>
        <p:nvSpPr>
          <p:cNvPr id="11" name="Slide Number Placeholder 5">
            <a:extLst>
              <a:ext uri="{FF2B5EF4-FFF2-40B4-BE49-F238E27FC236}">
                <a16:creationId xmlns:a16="http://schemas.microsoft.com/office/drawing/2014/main" id="{AF1EE05E-1EF3-FA88-09CC-87DB6B58184B}"/>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9486054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 &amp; Chart 2">
    <p:spTree>
      <p:nvGrpSpPr>
        <p:cNvPr id="1" name=""/>
        <p:cNvGrpSpPr/>
        <p:nvPr/>
      </p:nvGrpSpPr>
      <p:grpSpPr>
        <a:xfrm>
          <a:off x="0" y="0"/>
          <a:ext cx="0" cy="0"/>
          <a:chOff x="0" y="0"/>
          <a:chExt cx="0" cy="0"/>
        </a:xfrm>
      </p:grpSpPr>
      <p:sp>
        <p:nvSpPr>
          <p:cNvPr id="12" name="Marcador de tabla 4">
            <a:extLst>
              <a:ext uri="{FF2B5EF4-FFF2-40B4-BE49-F238E27FC236}">
                <a16:creationId xmlns:a16="http://schemas.microsoft.com/office/drawing/2014/main" id="{DF826A4E-1A0C-46D7-8327-402D7A34DE68}"/>
              </a:ext>
            </a:extLst>
          </p:cNvPr>
          <p:cNvSpPr>
            <a:spLocks noGrp="1"/>
          </p:cNvSpPr>
          <p:nvPr>
            <p:ph type="tbl" sz="quarter" idx="18" hasCustomPrompt="1"/>
          </p:nvPr>
        </p:nvSpPr>
        <p:spPr>
          <a:xfrm>
            <a:off x="4867835" y="1707776"/>
            <a:ext cx="6612965" cy="4502524"/>
          </a:xfrm>
          <a:prstGeom prst="rect">
            <a:avLst/>
          </a:prstGeom>
        </p:spPr>
        <p:txBody>
          <a:bodyPr lIns="0" tIns="0" rIns="0" bIns="0">
            <a:normAutofit/>
          </a:bodyPr>
          <a:lstStyle>
            <a:lvl1pPr marL="0" indent="0" algn="ctr">
              <a:buFontTx/>
              <a:buNone/>
              <a:defRPr lang="es-ES" sz="1200" kern="1200" smtClean="0">
                <a:solidFill>
                  <a:schemeClr val="tx2"/>
                </a:solidFill>
                <a:latin typeface="Santander Headline" panose="020B0504020201020104" pitchFamily="34" charset="0"/>
                <a:ea typeface="+mn-ea"/>
                <a:cs typeface="+mn-cs"/>
              </a:defRPr>
            </a:lvl1pPr>
          </a:lstStyle>
          <a:p>
            <a:r>
              <a:rPr lang="en-US" noProof="0"/>
              <a:t>Insert table here</a:t>
            </a:r>
          </a:p>
        </p:txBody>
      </p:sp>
      <p:sp>
        <p:nvSpPr>
          <p:cNvPr id="14" name="Marcador de texto 16">
            <a:extLst>
              <a:ext uri="{FF2B5EF4-FFF2-40B4-BE49-F238E27FC236}">
                <a16:creationId xmlns:a16="http://schemas.microsoft.com/office/drawing/2014/main" id="{C96F8991-1F66-478E-8C12-FB0275A2F299}"/>
              </a:ext>
            </a:extLst>
          </p:cNvPr>
          <p:cNvSpPr>
            <a:spLocks noGrp="1"/>
          </p:cNvSpPr>
          <p:nvPr>
            <p:ph type="body" sz="quarter" idx="19" hasCustomPrompt="1"/>
          </p:nvPr>
        </p:nvSpPr>
        <p:spPr>
          <a:xfrm>
            <a:off x="4867835" y="1191802"/>
            <a:ext cx="6587576" cy="246221"/>
          </a:xfrm>
          <a:prstGeom prst="rect">
            <a:avLst/>
          </a:prstGeom>
        </p:spPr>
        <p:txBody>
          <a:bodyPr lIns="0" tIns="0" rIns="0" bIns="0">
            <a:spAutoFit/>
          </a:bodyPr>
          <a:lstStyle>
            <a:lvl1pPr marL="0" indent="0">
              <a:lnSpc>
                <a:spcPct val="100000"/>
              </a:lnSpc>
              <a:spcBef>
                <a:spcPts val="0"/>
              </a:spcBef>
              <a:spcAft>
                <a:spcPts val="1200"/>
              </a:spcAft>
              <a:buFontTx/>
              <a:buNone/>
              <a:defRPr lang="es-ES" sz="1600" kern="1200" smtClean="0">
                <a:solidFill>
                  <a:schemeClr val="tx2"/>
                </a:solidFill>
                <a:latin typeface="Santander Headline" panose="020B05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16" name="Rectangle 15">
            <a:extLst>
              <a:ext uri="{FF2B5EF4-FFF2-40B4-BE49-F238E27FC236}">
                <a16:creationId xmlns:a16="http://schemas.microsoft.com/office/drawing/2014/main" id="{5AC94E59-541C-4F3D-AB5B-AEBCE88A7088}"/>
              </a:ext>
            </a:extLst>
          </p:cNvPr>
          <p:cNvSpPr/>
          <p:nvPr userDrawn="1"/>
        </p:nvSpPr>
        <p:spPr>
          <a:xfrm>
            <a:off x="409575" y="342899"/>
            <a:ext cx="117093" cy="39766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17" name="Text Placeholder 11">
            <a:extLst>
              <a:ext uri="{FF2B5EF4-FFF2-40B4-BE49-F238E27FC236}">
                <a16:creationId xmlns:a16="http://schemas.microsoft.com/office/drawing/2014/main" id="{023A5448-3390-475F-99C2-6B2EB3756F30}"/>
              </a:ext>
            </a:extLst>
          </p:cNvPr>
          <p:cNvSpPr>
            <a:spLocks noGrp="1"/>
          </p:cNvSpPr>
          <p:nvPr>
            <p:ph type="body" sz="quarter" idx="14" hasCustomPrompt="1"/>
          </p:nvPr>
        </p:nvSpPr>
        <p:spPr>
          <a:xfrm>
            <a:off x="615600" y="497715"/>
            <a:ext cx="3042500" cy="307777"/>
          </a:xfrm>
          <a:prstGeom prst="rect">
            <a:avLst/>
          </a:prstGeom>
        </p:spPr>
        <p:txBody>
          <a:bodyPr wrap="none" lIns="0" tIns="0" rIns="0" bIns="0" anchor="ctr">
            <a:spAutoFit/>
          </a:bodyPr>
          <a:lstStyle>
            <a:lvl1pPr marL="0" indent="0">
              <a:lnSpc>
                <a:spcPct val="100000"/>
              </a:lnSpc>
              <a:buNone/>
              <a:defRPr sz="2000" b="1">
                <a:solidFill>
                  <a:schemeClr val="accent1"/>
                </a:solidFill>
                <a:latin typeface="Santander Headline" panose="020B0504020201020104" pitchFamily="34" charset="0"/>
              </a:defRPr>
            </a:lvl1pPr>
          </a:lstStyle>
          <a:p>
            <a:r>
              <a:rPr lang="en-US"/>
              <a:t>Click to edit Master title style</a:t>
            </a:r>
          </a:p>
        </p:txBody>
      </p:sp>
      <p:sp>
        <p:nvSpPr>
          <p:cNvPr id="18" name="Text Placeholder 15">
            <a:extLst>
              <a:ext uri="{FF2B5EF4-FFF2-40B4-BE49-F238E27FC236}">
                <a16:creationId xmlns:a16="http://schemas.microsoft.com/office/drawing/2014/main" id="{2B8FD11C-0264-4F9A-AC10-690595FF3460}"/>
              </a:ext>
            </a:extLst>
          </p:cNvPr>
          <p:cNvSpPr>
            <a:spLocks noGrp="1"/>
          </p:cNvSpPr>
          <p:nvPr>
            <p:ph type="body" sz="quarter" idx="20" hasCustomPrompt="1"/>
          </p:nvPr>
        </p:nvSpPr>
        <p:spPr>
          <a:xfrm>
            <a:off x="615600" y="316851"/>
            <a:ext cx="1835439" cy="169277"/>
          </a:xfrm>
          <a:prstGeom prst="rect">
            <a:avLst/>
          </a:prstGeom>
        </p:spPr>
        <p:txBody>
          <a:bodyPr wrap="none" lIns="0" tIns="0" rIns="0" bIns="0" anchor="ctr">
            <a:spAutoFit/>
          </a:bodyPr>
          <a:lstStyle>
            <a:lvl1pPr marL="0" indent="0">
              <a:lnSpc>
                <a:spcPct val="100000"/>
              </a:lnSpc>
              <a:buNone/>
              <a:defRPr sz="1100">
                <a:solidFill>
                  <a:schemeClr val="bg1">
                    <a:lumMod val="50000"/>
                  </a:schemeClr>
                </a:solidFill>
                <a:latin typeface="Santander Headline" panose="020B0504020201020104" pitchFamily="34" charset="0"/>
              </a:defRPr>
            </a:lvl1pPr>
          </a:lstStyle>
          <a:p>
            <a:r>
              <a:rPr lang="en-US" sz="1100"/>
              <a:t>Click to edit Master subtitle style</a:t>
            </a:r>
          </a:p>
        </p:txBody>
      </p:sp>
      <p:sp>
        <p:nvSpPr>
          <p:cNvPr id="19" name="Título 1">
            <a:extLst>
              <a:ext uri="{FF2B5EF4-FFF2-40B4-BE49-F238E27FC236}">
                <a16:creationId xmlns:a16="http://schemas.microsoft.com/office/drawing/2014/main" id="{BCD091BE-A392-4D7E-8D3C-0EE738659426}"/>
              </a:ext>
            </a:extLst>
          </p:cNvPr>
          <p:cNvSpPr>
            <a:spLocks noGrp="1"/>
          </p:cNvSpPr>
          <p:nvPr>
            <p:ph type="title"/>
          </p:nvPr>
        </p:nvSpPr>
        <p:spPr>
          <a:xfrm>
            <a:off x="731970" y="1191802"/>
            <a:ext cx="3801119" cy="384721"/>
          </a:xfrm>
          <a:prstGeom prst="rect">
            <a:avLst/>
          </a:prstGeom>
        </p:spPr>
        <p:txBody>
          <a:bodyPr lIns="0" tIns="0" rIns="0" bIns="0" anchor="t">
            <a:spAutoFit/>
          </a:bodyPr>
          <a:lstStyle>
            <a:lvl1pPr>
              <a:lnSpc>
                <a:spcPct val="100000"/>
              </a:lnSpc>
              <a:defRPr sz="2500" b="1">
                <a:solidFill>
                  <a:schemeClr val="accent3"/>
                </a:solidFill>
                <a:latin typeface="Santander Headline" panose="020B0504020201020104" pitchFamily="34" charset="0"/>
              </a:defRPr>
            </a:lvl1pPr>
          </a:lstStyle>
          <a:p>
            <a:r>
              <a:rPr lang="en-US"/>
              <a:t>Click to edit Master title style</a:t>
            </a:r>
            <a:endParaRPr lang="es-ES"/>
          </a:p>
        </p:txBody>
      </p:sp>
      <p:sp>
        <p:nvSpPr>
          <p:cNvPr id="8" name="Marcador de número de diapositiva 5">
            <a:extLst>
              <a:ext uri="{FF2B5EF4-FFF2-40B4-BE49-F238E27FC236}">
                <a16:creationId xmlns:a16="http://schemas.microsoft.com/office/drawing/2014/main" id="{671BB2E4-4F40-4E2C-87A1-F4EA290E8152}"/>
              </a:ext>
            </a:extLst>
          </p:cNvPr>
          <p:cNvSpPr>
            <a:spLocks noGrp="1"/>
          </p:cNvSpPr>
          <p:nvPr>
            <p:ph type="sldNum" sz="quarter" idx="12"/>
          </p:nvPr>
        </p:nvSpPr>
        <p:spPr>
          <a:xfrm>
            <a:off x="11617037" y="6575409"/>
            <a:ext cx="193963" cy="200055"/>
          </a:xfrm>
        </p:spPr>
        <p:txBody>
          <a:bodyPr wrap="none" lIns="0" tIns="0" rIns="0" bIns="0">
            <a:spAutoFit/>
          </a:bodyPr>
          <a:lstStyle>
            <a:lvl1pPr>
              <a:defRPr sz="1300">
                <a:solidFill>
                  <a:schemeClr val="accent1"/>
                </a:solidFill>
              </a:defRPr>
            </a:lvl1pPr>
          </a:lstStyle>
          <a:p>
            <a:fld id="{BC0D97B6-E32F-4D7D-B839-7C3B51F2640F}" type="slidenum">
              <a:rPr lang="es-ES" smtClean="0"/>
              <a:pPr/>
              <a:t>‹#›</a:t>
            </a:fld>
            <a:endParaRPr lang="es-ES"/>
          </a:p>
        </p:txBody>
      </p:sp>
    </p:spTree>
    <p:extLst>
      <p:ext uri="{BB962C8B-B14F-4D97-AF65-F5344CB8AC3E}">
        <p14:creationId xmlns:p14="http://schemas.microsoft.com/office/powerpoint/2010/main" val="2536232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Page Dark Photo">
    <p:spTree>
      <p:nvGrpSpPr>
        <p:cNvPr id="1" name=""/>
        <p:cNvGrpSpPr/>
        <p:nvPr/>
      </p:nvGrpSpPr>
      <p:grpSpPr>
        <a:xfrm>
          <a:off x="0" y="0"/>
          <a:ext cx="0" cy="0"/>
          <a:chOff x="0" y="0"/>
          <a:chExt cx="0" cy="0"/>
        </a:xfrm>
      </p:grpSpPr>
      <p:pic>
        <p:nvPicPr>
          <p:cNvPr id="9" name="Marcador de posición de imagen 6" descr="Ciudad con edificios altos&#10;&#10;Descripción generada automáticamente">
            <a:extLst>
              <a:ext uri="{FF2B5EF4-FFF2-40B4-BE49-F238E27FC236}">
                <a16:creationId xmlns:a16="http://schemas.microsoft.com/office/drawing/2014/main" id="{046E0A77-0A3D-36AC-CD7E-9836788C4816}"/>
              </a:ext>
            </a:extLst>
          </p:cNvPr>
          <p:cNvPicPr>
            <a:picLocks noChangeAspect="1"/>
          </p:cNvPicPr>
          <p:nvPr userDrawn="1"/>
        </p:nvPicPr>
        <p:blipFill rotWithShape="1">
          <a:blip r:embed="rId3">
            <a:alphaModFix/>
            <a:extLst>
              <a:ext uri="{28A0092B-C50C-407E-A947-70E740481C1C}">
                <a14:useLocalDpi xmlns:a14="http://schemas.microsoft.com/office/drawing/2010/main" val="0"/>
              </a:ext>
            </a:extLst>
          </a:blip>
          <a:srcRect t="57309" r="6751" b="220"/>
          <a:stretch/>
        </p:blipFill>
        <p:spPr>
          <a:xfrm>
            <a:off x="-119857" y="-109538"/>
            <a:ext cx="12431713" cy="7077076"/>
          </a:xfrm>
          <a:prstGeom prst="rect">
            <a:avLst/>
          </a:prstGeom>
        </p:spPr>
      </p:pic>
      <p:sp>
        <p:nvSpPr>
          <p:cNvPr id="5" name="Rectángulo 4">
            <a:extLst>
              <a:ext uri="{FF2B5EF4-FFF2-40B4-BE49-F238E27FC236}">
                <a16:creationId xmlns:a16="http://schemas.microsoft.com/office/drawing/2014/main" id="{6E7FCD49-6A40-5509-A060-DDA7D90C6784}"/>
              </a:ext>
            </a:extLst>
          </p:cNvPr>
          <p:cNvSpPr/>
          <p:nvPr userDrawn="1"/>
        </p:nvSpPr>
        <p:spPr>
          <a:xfrm>
            <a:off x="-68752" y="1192762"/>
            <a:ext cx="6164752" cy="5774776"/>
          </a:xfrm>
          <a:prstGeom prst="rect">
            <a:avLst/>
          </a:prstGeom>
          <a:gradFill>
            <a:gsLst>
              <a:gs pos="100000">
                <a:srgbClr val="8C0014"/>
              </a:gs>
              <a:gs pos="63000">
                <a:srgbClr val="64001E">
                  <a:alpha val="0"/>
                </a:srgb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7" name="Marcador de texto 3">
            <a:extLst>
              <a:ext uri="{FF2B5EF4-FFF2-40B4-BE49-F238E27FC236}">
                <a16:creationId xmlns:a16="http://schemas.microsoft.com/office/drawing/2014/main" id="{B3B5D16D-FBE8-399C-195D-4FA57BA2D6DB}"/>
              </a:ext>
            </a:extLst>
          </p:cNvPr>
          <p:cNvSpPr txBox="1">
            <a:spLocks/>
          </p:cNvSpPr>
          <p:nvPr userDrawn="1"/>
        </p:nvSpPr>
        <p:spPr>
          <a:xfrm>
            <a:off x="668706" y="333651"/>
            <a:ext cx="1914177" cy="4191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900" b="0" i="0" kern="1200">
                <a:solidFill>
                  <a:schemeClr val="bg2"/>
                </a:solidFill>
                <a:latin typeface="Santander Text" panose="020B0504020201020104" pitchFamily="34"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FFFFFF"/>
                </a:solidFill>
                <a:effectLst/>
                <a:uLnTx/>
                <a:uFillTx/>
                <a:latin typeface="Santander Headline" panose="020B0504020201020104" pitchFamily="34" charset="0"/>
                <a:ea typeface="+mn-ea"/>
                <a:cs typeface="+mn-cs"/>
              </a:rPr>
              <a:t>Date</a:t>
            </a:r>
          </a:p>
        </p:txBody>
      </p:sp>
      <p:sp>
        <p:nvSpPr>
          <p:cNvPr id="14" name="Título 1">
            <a:extLst>
              <a:ext uri="{FF2B5EF4-FFF2-40B4-BE49-F238E27FC236}">
                <a16:creationId xmlns:a16="http://schemas.microsoft.com/office/drawing/2014/main" id="{E6A2EDE0-A1AB-DE03-E808-263885D8BDED}"/>
              </a:ext>
            </a:extLst>
          </p:cNvPr>
          <p:cNvSpPr>
            <a:spLocks noGrp="1"/>
          </p:cNvSpPr>
          <p:nvPr>
            <p:ph type="ctrTitle"/>
          </p:nvPr>
        </p:nvSpPr>
        <p:spPr>
          <a:xfrm>
            <a:off x="660329" y="1799664"/>
            <a:ext cx="4937184" cy="1407004"/>
          </a:xfrm>
          <a:prstGeom prst="rect">
            <a:avLst/>
          </a:prstGeom>
        </p:spPr>
        <p:txBody>
          <a:bodyPr anchor="t">
            <a:normAutofit/>
          </a:bodyPr>
          <a:lstStyle>
            <a:lvl1pPr algn="l">
              <a:lnSpc>
                <a:spcPct val="90000"/>
              </a:lnSpc>
              <a:defRPr sz="4000" b="0" i="0">
                <a:solidFill>
                  <a:schemeClr val="bg1"/>
                </a:solidFill>
                <a:latin typeface="Santander Headline" panose="020B0504020201020104" pitchFamily="34" charset="0"/>
                <a:cs typeface="Santander Headline" panose="020B0504020201020104" pitchFamily="34" charset="0"/>
              </a:defRPr>
            </a:lvl1pPr>
          </a:lstStyle>
          <a:p>
            <a:endParaRPr lang="es-ES"/>
          </a:p>
        </p:txBody>
      </p:sp>
      <p:sp>
        <p:nvSpPr>
          <p:cNvPr id="15" name="Subtítulo 2">
            <a:extLst>
              <a:ext uri="{FF2B5EF4-FFF2-40B4-BE49-F238E27FC236}">
                <a16:creationId xmlns:a16="http://schemas.microsoft.com/office/drawing/2014/main" id="{256405C8-42DD-6385-46DE-833F6A93175E}"/>
              </a:ext>
            </a:extLst>
          </p:cNvPr>
          <p:cNvSpPr>
            <a:spLocks noGrp="1"/>
          </p:cNvSpPr>
          <p:nvPr>
            <p:ph type="subTitle" idx="1"/>
          </p:nvPr>
        </p:nvSpPr>
        <p:spPr>
          <a:xfrm>
            <a:off x="663204" y="3216319"/>
            <a:ext cx="4934309" cy="2436454"/>
          </a:xfrm>
          <a:prstGeom prst="rect">
            <a:avLst/>
          </a:prstGeom>
        </p:spPr>
        <p:txBody>
          <a:bodyPr>
            <a:noAutofit/>
          </a:bodyPr>
          <a:lstStyle>
            <a:lvl1pPr marL="0" indent="0" algn="l">
              <a:lnSpc>
                <a:spcPct val="100000"/>
              </a:lnSpc>
              <a:spcBef>
                <a:spcPts val="0"/>
              </a:spcBef>
              <a:spcAft>
                <a:spcPts val="1200"/>
              </a:spcAft>
              <a:buNone/>
              <a:defRPr sz="2000">
                <a:solidFill>
                  <a:schemeClr val="bg1"/>
                </a:solidFill>
                <a:latin typeface="Santander Headline" panose="020B050402020102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
        <p:nvSpPr>
          <p:cNvPr id="3" name="CuadroTexto 2">
            <a:extLst>
              <a:ext uri="{FF2B5EF4-FFF2-40B4-BE49-F238E27FC236}">
                <a16:creationId xmlns:a16="http://schemas.microsoft.com/office/drawing/2014/main" id="{BD7BBDB1-A153-A5ED-9156-EAEE4C4CCE9D}"/>
              </a:ext>
            </a:extLst>
          </p:cNvPr>
          <p:cNvSpPr txBox="1"/>
          <p:nvPr userDrawn="1"/>
        </p:nvSpPr>
        <p:spPr>
          <a:xfrm>
            <a:off x="677437" y="1393231"/>
            <a:ext cx="7287322" cy="261610"/>
          </a:xfrm>
          <a:prstGeom prst="rect">
            <a:avLst/>
          </a:prstGeom>
          <a:noFill/>
        </p:spPr>
        <p:txBody>
          <a:bodyPr wrap="square">
            <a:spAutoFit/>
          </a:bodyPr>
          <a:lstStyle/>
          <a:p>
            <a:r>
              <a:rPr lang="es-ES" sz="1100" err="1">
                <a:solidFill>
                  <a:schemeClr val="bg1"/>
                </a:solidFill>
                <a:effectLst/>
                <a:latin typeface="Santander Headline" panose="020B0504020201020104" pitchFamily="34" charset="0"/>
                <a:ea typeface="Times New Roman" panose="02020603050405020304" pitchFamily="18" charset="0"/>
              </a:rPr>
              <a:t>Strictly</a:t>
            </a:r>
            <a:r>
              <a:rPr lang="es-ES" sz="1100">
                <a:solidFill>
                  <a:schemeClr val="bg1"/>
                </a:solidFill>
                <a:effectLst/>
                <a:latin typeface="Santander Headline" panose="020B0504020201020104" pitchFamily="34" charset="0"/>
                <a:ea typeface="Times New Roman" panose="02020603050405020304" pitchFamily="18" charset="0"/>
              </a:rPr>
              <a:t> </a:t>
            </a:r>
            <a:r>
              <a:rPr lang="es-ES" sz="1100" err="1">
                <a:solidFill>
                  <a:schemeClr val="bg1"/>
                </a:solidFill>
                <a:effectLst/>
                <a:latin typeface="Santander Headline" panose="020B0504020201020104" pitchFamily="34" charset="0"/>
                <a:ea typeface="Times New Roman" panose="02020603050405020304" pitchFamily="18" charset="0"/>
              </a:rPr>
              <a:t>Private</a:t>
            </a:r>
            <a:r>
              <a:rPr lang="es-ES" sz="1100">
                <a:solidFill>
                  <a:schemeClr val="bg1"/>
                </a:solidFill>
                <a:effectLst/>
                <a:latin typeface="Santander Headline" panose="020B0504020201020104" pitchFamily="34" charset="0"/>
                <a:ea typeface="Times New Roman" panose="02020603050405020304" pitchFamily="18" charset="0"/>
              </a:rPr>
              <a:t> and </a:t>
            </a:r>
            <a:r>
              <a:rPr lang="es-ES" sz="1100" err="1">
                <a:solidFill>
                  <a:schemeClr val="bg1"/>
                </a:solidFill>
                <a:effectLst/>
                <a:latin typeface="Santander Headline" panose="020B0504020201020104" pitchFamily="34" charset="0"/>
                <a:ea typeface="Times New Roman" panose="02020603050405020304" pitchFamily="18" charset="0"/>
              </a:rPr>
              <a:t>Confidential</a:t>
            </a:r>
            <a:endParaRPr lang="en-GB" sz="1100">
              <a:solidFill>
                <a:schemeClr val="bg1"/>
              </a:solidFill>
              <a:latin typeface="Santander Headline" panose="020B0504020201020104" pitchFamily="34" charset="0"/>
            </a:endParaRPr>
          </a:p>
        </p:txBody>
      </p:sp>
      <p:pic>
        <p:nvPicPr>
          <p:cNvPr id="6" name="Gráfico 5">
            <a:extLst>
              <a:ext uri="{FF2B5EF4-FFF2-40B4-BE49-F238E27FC236}">
                <a16:creationId xmlns:a16="http://schemas.microsoft.com/office/drawing/2014/main" id="{08E20AD3-3DA3-B651-D6FE-433DAE85AD3A}"/>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51850" y="5860646"/>
            <a:ext cx="2201021" cy="413314"/>
          </a:xfrm>
          <a:prstGeom prst="rect">
            <a:avLst/>
          </a:prstGeom>
        </p:spPr>
      </p:pic>
      <p:sp>
        <p:nvSpPr>
          <p:cNvPr id="2" name="TextBox 20">
            <a:extLst>
              <a:ext uri="{FF2B5EF4-FFF2-40B4-BE49-F238E27FC236}">
                <a16:creationId xmlns:a16="http://schemas.microsoft.com/office/drawing/2014/main" id="{476BE67B-11C1-FBFF-A7B6-DF0DC3B95163}"/>
              </a:ext>
            </a:extLst>
          </p:cNvPr>
          <p:cNvSpPr txBox="1"/>
          <p:nvPr userDrawn="1">
            <p:custDataLst>
              <p:tags r:id="rId1"/>
            </p:custDataLst>
          </p:nvPr>
        </p:nvSpPr>
        <p:spPr>
          <a:xfrm>
            <a:off x="10824088" y="130264"/>
            <a:ext cx="1189498" cy="161583"/>
          </a:xfrm>
          <a:prstGeom prst="rect">
            <a:avLst/>
          </a:prstGeom>
        </p:spPr>
        <p:txBody>
          <a:bodyPr wrap="square" lIns="0" tIns="0" rIns="0" bIns="0">
            <a:spAutoFit/>
          </a:bodyPr>
          <a:lstStyle/>
          <a:p>
            <a:pPr algn="r"/>
            <a:r>
              <a:rPr lang="en-GB" sz="1050" kern="1200">
                <a:solidFill>
                  <a:schemeClr val="bg1"/>
                </a:solidFill>
                <a:latin typeface="Santander Headline" panose="020B0504020201020104" pitchFamily="34" charset="0"/>
                <a:ea typeface="+mn-ea"/>
                <a:cs typeface="+mn-cs"/>
              </a:rPr>
              <a:t>Confidential</a:t>
            </a:r>
          </a:p>
        </p:txBody>
      </p:sp>
    </p:spTree>
    <p:extLst>
      <p:ext uri="{BB962C8B-B14F-4D97-AF65-F5344CB8AC3E}">
        <p14:creationId xmlns:p14="http://schemas.microsoft.com/office/powerpoint/2010/main" val="15420828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Index">
    <p:bg>
      <p:bgPr>
        <a:solidFill>
          <a:srgbClr val="D9D3CE"/>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BA7AB22C-7676-1241-4073-818B903E591E}"/>
              </a:ext>
            </a:extLst>
          </p:cNvPr>
          <p:cNvSpPr/>
          <p:nvPr userDrawn="1"/>
        </p:nvSpPr>
        <p:spPr>
          <a:xfrm flipH="1">
            <a:off x="766762" y="729870"/>
            <a:ext cx="6479111" cy="6414999"/>
          </a:xfrm>
          <a:prstGeom prst="rect">
            <a:avLst/>
          </a:prstGeom>
          <a:gradFill>
            <a:gsLst>
              <a:gs pos="100000">
                <a:schemeClr val="bg1"/>
              </a:gs>
              <a:gs pos="63000">
                <a:schemeClr val="bg1">
                  <a:alpha val="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14" name="Marcador de texto 11">
            <a:extLst>
              <a:ext uri="{FF2B5EF4-FFF2-40B4-BE49-F238E27FC236}">
                <a16:creationId xmlns:a16="http://schemas.microsoft.com/office/drawing/2014/main" id="{0CC57AA0-6C3B-4C80-BF6B-C321A960A96C}"/>
              </a:ext>
            </a:extLst>
          </p:cNvPr>
          <p:cNvSpPr>
            <a:spLocks noGrp="1"/>
          </p:cNvSpPr>
          <p:nvPr>
            <p:ph type="body" sz="quarter" idx="13"/>
          </p:nvPr>
        </p:nvSpPr>
        <p:spPr>
          <a:xfrm>
            <a:off x="1126202" y="1931948"/>
            <a:ext cx="6119672" cy="3644931"/>
          </a:xfrm>
          <a:prstGeom prst="rect">
            <a:avLst/>
          </a:prstGeom>
        </p:spPr>
        <p:txBody>
          <a:bodyPr>
            <a:normAutofit/>
          </a:bodyPr>
          <a:lstStyle>
            <a:lvl1pPr marL="400050" indent="-365125">
              <a:spcBef>
                <a:spcPts val="0"/>
              </a:spcBef>
              <a:spcAft>
                <a:spcPts val="1200"/>
              </a:spcAft>
              <a:buClr>
                <a:srgbClr val="EC0000"/>
              </a:buClr>
              <a:buSzPct val="100000"/>
              <a:buFont typeface="+mj-lt"/>
              <a:buAutoNum type="arabicPeriod"/>
              <a:tabLst/>
              <a:defRPr lang="es-ES" sz="2200" b="0" i="0" kern="1200" dirty="0" smtClean="0">
                <a:solidFill>
                  <a:srgbClr val="3C3C3B"/>
                </a:solidFill>
                <a:latin typeface="Santander Headline" panose="020B0504020201020104" pitchFamily="34" charset="0"/>
                <a:ea typeface="+mn-ea"/>
                <a:cs typeface="Santander Headline" panose="020B0504020201020104" pitchFamily="34" charset="0"/>
              </a:defRPr>
            </a:lvl1pPr>
            <a:lvl2pPr marL="457200" indent="0">
              <a:buNone/>
              <a:defRPr/>
            </a:lvl2pPr>
          </a:lstStyle>
          <a:p>
            <a:pPr lvl="0"/>
            <a:r>
              <a:rPr lang="en-US"/>
              <a:t>Edit Master text styles</a:t>
            </a:r>
          </a:p>
        </p:txBody>
      </p:sp>
      <p:sp>
        <p:nvSpPr>
          <p:cNvPr id="9" name="Marcador de texto 7">
            <a:extLst>
              <a:ext uri="{FF2B5EF4-FFF2-40B4-BE49-F238E27FC236}">
                <a16:creationId xmlns:a16="http://schemas.microsoft.com/office/drawing/2014/main" id="{36368BB1-91D3-7F76-86E7-01818D83DE92}"/>
              </a:ext>
            </a:extLst>
          </p:cNvPr>
          <p:cNvSpPr>
            <a:spLocks noGrp="1"/>
          </p:cNvSpPr>
          <p:nvPr>
            <p:ph type="body" sz="quarter" idx="15" hasCustomPrompt="1"/>
          </p:nvPr>
        </p:nvSpPr>
        <p:spPr>
          <a:xfrm>
            <a:off x="1126201" y="934043"/>
            <a:ext cx="6119672" cy="763588"/>
          </a:xfrm>
          <a:prstGeom prst="rect">
            <a:avLst/>
          </a:prstGeom>
        </p:spPr>
        <p:txBody>
          <a:bodyPr/>
          <a:lstStyle>
            <a:lvl1pPr marL="0" indent="0">
              <a:buNone/>
              <a:defRPr lang="es-ES" sz="4400" b="0" i="0" kern="1200" smtClean="0">
                <a:solidFill>
                  <a:srgbClr val="FF0000"/>
                </a:solidFill>
                <a:latin typeface="Santander Headline" panose="020B0504020201020104" pitchFamily="34" charset="0"/>
                <a:ea typeface="+mj-ea"/>
                <a:cs typeface="Santander Headline" panose="020B0504020201020104" pitchFamily="34" charset="0"/>
              </a:defRPr>
            </a:lvl1pPr>
            <a:lvl2pPr marL="457200" indent="0">
              <a:buNone/>
              <a:defRPr/>
            </a:lvl2pPr>
          </a:lstStyle>
          <a:p>
            <a:pPr lvl="0"/>
            <a:r>
              <a:rPr lang="es-ES"/>
              <a:t>Text</a:t>
            </a:r>
          </a:p>
        </p:txBody>
      </p:sp>
      <p:sp>
        <p:nvSpPr>
          <p:cNvPr id="12" name="Marcador de posición de imagen 5">
            <a:extLst>
              <a:ext uri="{FF2B5EF4-FFF2-40B4-BE49-F238E27FC236}">
                <a16:creationId xmlns:a16="http://schemas.microsoft.com/office/drawing/2014/main" id="{CA9BF8C5-84B7-F1B9-F586-B1E0956B532D}"/>
              </a:ext>
            </a:extLst>
          </p:cNvPr>
          <p:cNvSpPr>
            <a:spLocks noGrp="1"/>
          </p:cNvSpPr>
          <p:nvPr>
            <p:ph type="pic" sz="quarter" idx="10"/>
          </p:nvPr>
        </p:nvSpPr>
        <p:spPr>
          <a:xfrm>
            <a:off x="7561263" y="0"/>
            <a:ext cx="4630737" cy="6858000"/>
          </a:xfrm>
          <a:prstGeom prst="rect">
            <a:avLst/>
          </a:prstGeom>
          <a:solidFill>
            <a:srgbClr val="D9D3CE"/>
          </a:solidFill>
        </p:spPr>
        <p:txBody>
          <a:bodyPr/>
          <a:lstStyle>
            <a:lvl1pPr marL="0" indent="0" algn="ctr">
              <a:buNone/>
              <a:defRPr sz="1800">
                <a:latin typeface="Santander Headline" panose="020B0504020201020104" pitchFamily="34" charset="0"/>
              </a:defRPr>
            </a:lvl1pPr>
          </a:lstStyle>
          <a:p>
            <a:endParaRPr lang="es-ES"/>
          </a:p>
        </p:txBody>
      </p:sp>
      <p:sp>
        <p:nvSpPr>
          <p:cNvPr id="5" name="Text Placeholder 3">
            <a:extLst>
              <a:ext uri="{FF2B5EF4-FFF2-40B4-BE49-F238E27FC236}">
                <a16:creationId xmlns:a16="http://schemas.microsoft.com/office/drawing/2014/main" id="{E4B484C8-E579-F3EC-0267-2CD7AD66E970}"/>
              </a:ext>
            </a:extLst>
          </p:cNvPr>
          <p:cNvSpPr>
            <a:spLocks noGrp="1"/>
          </p:cNvSpPr>
          <p:nvPr>
            <p:ph type="body" sz="quarter" idx="16"/>
          </p:nvPr>
        </p:nvSpPr>
        <p:spPr>
          <a:xfrm>
            <a:off x="10815678" y="89692"/>
            <a:ext cx="1285311" cy="281220"/>
          </a:xfrm>
          <a:prstGeom prst="rect">
            <a:avLst/>
          </a:prstGeo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solidFill>
                  <a:schemeClr val="bg1">
                    <a:alpha val="0"/>
                  </a:schemeClr>
                </a:solidFill>
              </a:defRPr>
            </a:lvl1pPr>
          </a:lstStyle>
          <a:p>
            <a:pPr lvl="0"/>
            <a:endParaRPr lang="en-GB"/>
          </a:p>
        </p:txBody>
      </p:sp>
      <p:sp>
        <p:nvSpPr>
          <p:cNvPr id="2" name="Marcador de texto 12">
            <a:extLst>
              <a:ext uri="{FF2B5EF4-FFF2-40B4-BE49-F238E27FC236}">
                <a16:creationId xmlns:a16="http://schemas.microsoft.com/office/drawing/2014/main" id="{A90062B9-9CEF-7BB4-965B-D4A03343BC4B}"/>
              </a:ext>
            </a:extLst>
          </p:cNvPr>
          <p:cNvSpPr>
            <a:spLocks noGrp="1" noChangeAspect="1"/>
          </p:cNvSpPr>
          <p:nvPr>
            <p:ph type="body" sz="quarter" idx="19"/>
          </p:nvPr>
        </p:nvSpPr>
        <p:spPr>
          <a:xfrm>
            <a:off x="745994" y="5863748"/>
            <a:ext cx="2212052" cy="403940"/>
          </a:xfrm>
          <a:prstGeom prst="rect">
            <a:avLst/>
          </a:prstGeom>
          <a:blipFill dpi="0" rotWithShape="1">
            <a:blip r:embed="rId4">
              <a:extLst>
                <a:ext uri="{96DAC541-7B7A-43D3-8B79-37D633B846F1}">
                  <asvg:svgBlip xmlns:asvg="http://schemas.microsoft.com/office/drawing/2016/SVG/main" r:embed="rId5"/>
                </a:ext>
              </a:extLst>
            </a:blip>
            <a:srcRect/>
            <a:stretch>
              <a:fillRect/>
            </a:stretch>
          </a:blipFill>
        </p:spPr>
        <p:txBody>
          <a:bodyPr/>
          <a:lstStyle>
            <a:lvl1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1pPr>
            <a:lvl2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2pPr>
            <a:lvl3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3pPr>
            <a:lvl4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4pPr>
            <a:lvl5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pic>
        <p:nvPicPr>
          <p:cNvPr id="3" name="NTT DATA Global Logo">
            <a:extLst>
              <a:ext uri="{FF2B5EF4-FFF2-40B4-BE49-F238E27FC236}">
                <a16:creationId xmlns:a16="http://schemas.microsoft.com/office/drawing/2014/main" id="{06C890C0-1C51-6938-4438-47CBFF504E7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bwMode="gray">
          <a:xfrm>
            <a:off x="10774351" y="291847"/>
            <a:ext cx="1288971" cy="262800"/>
          </a:xfrm>
          <a:prstGeom prst="rect">
            <a:avLst/>
          </a:prstGeom>
        </p:spPr>
      </p:pic>
    </p:spTree>
    <p:extLst>
      <p:ext uri="{BB962C8B-B14F-4D97-AF65-F5344CB8AC3E}">
        <p14:creationId xmlns:p14="http://schemas.microsoft.com/office/powerpoint/2010/main" val="29183996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guide id="4" orient="horz" pos="4065">
          <p15:clr>
            <a:srgbClr val="FBAE40"/>
          </p15:clr>
        </p15:guide>
        <p15:guide id="5" orient="horz" pos="383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Section Divider Burgundy">
    <p:spTree>
      <p:nvGrpSpPr>
        <p:cNvPr id="1" name=""/>
        <p:cNvGrpSpPr/>
        <p:nvPr/>
      </p:nvGrpSpPr>
      <p:grpSpPr>
        <a:xfrm>
          <a:off x="0" y="0"/>
          <a:ext cx="0" cy="0"/>
          <a:chOff x="0" y="0"/>
          <a:chExt cx="0" cy="0"/>
        </a:xfrm>
      </p:grpSpPr>
      <p:sp>
        <p:nvSpPr>
          <p:cNvPr id="14" name="Marcador de texto 13">
            <a:extLst>
              <a:ext uri="{FF2B5EF4-FFF2-40B4-BE49-F238E27FC236}">
                <a16:creationId xmlns:a16="http://schemas.microsoft.com/office/drawing/2014/main" id="{6E38BAEA-EEE9-4346-9DB7-91D26BC942D7}"/>
              </a:ext>
            </a:extLst>
          </p:cNvPr>
          <p:cNvSpPr>
            <a:spLocks noGrp="1"/>
          </p:cNvSpPr>
          <p:nvPr>
            <p:ph type="body" sz="quarter" idx="14" hasCustomPrompt="1"/>
          </p:nvPr>
        </p:nvSpPr>
        <p:spPr>
          <a:xfrm>
            <a:off x="8879903" y="4438926"/>
            <a:ext cx="2958754" cy="2364961"/>
          </a:xfrm>
          <a:prstGeom prst="rect">
            <a:avLst/>
          </a:prstGeom>
        </p:spPr>
        <p:txBody>
          <a:bodyPr>
            <a:noAutofit/>
          </a:bodyPr>
          <a:lstStyle>
            <a:lvl1pPr marL="0" indent="0" algn="r">
              <a:buFontTx/>
              <a:buNone/>
              <a:defRPr sz="16600" b="0" i="0">
                <a:solidFill>
                  <a:srgbClr val="EC0000"/>
                </a:solidFill>
                <a:latin typeface="Santander Headline" panose="020B0504020201020104" pitchFamily="34" charset="0"/>
                <a:cs typeface="Santander Headline" panose="020B0504020201020104" pitchFamily="34" charset="0"/>
              </a:defRPr>
            </a:lvl1pPr>
            <a:lvl2pPr>
              <a:defRPr sz="13800">
                <a:solidFill>
                  <a:schemeClr val="tx1"/>
                </a:solidFill>
              </a:defRPr>
            </a:lvl2pPr>
            <a:lvl3pPr>
              <a:defRPr sz="11500">
                <a:solidFill>
                  <a:schemeClr val="tx1"/>
                </a:solidFill>
              </a:defRPr>
            </a:lvl3pPr>
            <a:lvl4pPr>
              <a:defRPr sz="9600">
                <a:solidFill>
                  <a:schemeClr val="tx1"/>
                </a:solidFill>
              </a:defRPr>
            </a:lvl4pPr>
            <a:lvl5pPr>
              <a:defRPr sz="9600">
                <a:solidFill>
                  <a:schemeClr val="tx1"/>
                </a:solidFill>
              </a:defRPr>
            </a:lvl5pPr>
          </a:lstStyle>
          <a:p>
            <a:pPr lvl="0"/>
            <a:r>
              <a:rPr lang="es-ES"/>
              <a:t>00</a:t>
            </a:r>
          </a:p>
        </p:txBody>
      </p:sp>
      <p:sp>
        <p:nvSpPr>
          <p:cNvPr id="11" name="Marcador de texto 9">
            <a:extLst>
              <a:ext uri="{FF2B5EF4-FFF2-40B4-BE49-F238E27FC236}">
                <a16:creationId xmlns:a16="http://schemas.microsoft.com/office/drawing/2014/main" id="{5F41502A-FBBB-CA84-2151-6ABBCEC5F2C3}"/>
              </a:ext>
            </a:extLst>
          </p:cNvPr>
          <p:cNvSpPr>
            <a:spLocks noGrp="1"/>
          </p:cNvSpPr>
          <p:nvPr>
            <p:ph type="body" sz="quarter" idx="17"/>
          </p:nvPr>
        </p:nvSpPr>
        <p:spPr>
          <a:xfrm>
            <a:off x="0" y="752475"/>
            <a:ext cx="8547614" cy="6105525"/>
          </a:xfrm>
          <a:prstGeom prst="rect">
            <a:avLst/>
          </a:prstGeom>
          <a:gradFill>
            <a:gsLst>
              <a:gs pos="100000">
                <a:srgbClr val="8C0014"/>
              </a:gs>
              <a:gs pos="30000">
                <a:srgbClr val="64001E">
                  <a:alpha val="0"/>
                </a:srgb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a:defRPr lang="es-ES" sz="100" smtClean="0">
                <a:noFill/>
                <a:latin typeface="Santander Headline" panose="020B0504020201020104" pitchFamily="34" charset="0"/>
              </a:defRPr>
            </a:lvl1pPr>
            <a:lvl2pPr>
              <a:defRPr lang="es-ES" sz="100" smtClean="0">
                <a:noFill/>
                <a:latin typeface="Santander Headline" panose="020B0504020201020104" pitchFamily="34" charset="0"/>
              </a:defRPr>
            </a:lvl2pPr>
            <a:lvl3pPr>
              <a:defRPr lang="es-ES" sz="100" smtClean="0">
                <a:noFill/>
                <a:latin typeface="Santander Headline" panose="020B0504020201020104" pitchFamily="34" charset="0"/>
              </a:defRPr>
            </a:lvl3pPr>
            <a:lvl4pPr>
              <a:defRPr lang="es-ES" sz="100" smtClean="0">
                <a:noFill/>
                <a:latin typeface="Santander Headline" panose="020B0504020201020104" pitchFamily="34" charset="0"/>
              </a:defRPr>
            </a:lvl4pPr>
            <a:lvl5pPr>
              <a:defRPr lang="es-ES" sz="100">
                <a:noFill/>
                <a:latin typeface="Santander Headline" panose="020B0504020201020104" pitchFamily="34" charset="0"/>
              </a:defRPr>
            </a:lvl5pPr>
          </a:lstStyle>
          <a:p>
            <a:pPr marL="0" lvl="0" algn="ctr" defTabSz="457200"/>
            <a:r>
              <a:rPr lang="es-ES"/>
              <a:t>Haga clic para modificar los estilos de texto del patrón</a:t>
            </a:r>
          </a:p>
          <a:p>
            <a:pPr marL="457200" lvl="1" defTabSz="457200"/>
            <a:r>
              <a:rPr lang="es-ES"/>
              <a:t>Segundo nivel</a:t>
            </a:r>
          </a:p>
          <a:p>
            <a:pPr marL="914400" lvl="2" defTabSz="457200"/>
            <a:r>
              <a:rPr lang="es-ES"/>
              <a:t>Tercer nivel</a:t>
            </a:r>
          </a:p>
          <a:p>
            <a:pPr marL="1371600" lvl="3" defTabSz="457200"/>
            <a:r>
              <a:rPr lang="es-ES"/>
              <a:t>Cuarto nivel</a:t>
            </a:r>
          </a:p>
          <a:p>
            <a:pPr marL="1828800" lvl="4" defTabSz="457200"/>
            <a:r>
              <a:rPr lang="es-ES"/>
              <a:t>Quinto nivel</a:t>
            </a:r>
          </a:p>
        </p:txBody>
      </p:sp>
      <p:sp>
        <p:nvSpPr>
          <p:cNvPr id="2" name="Título 1">
            <a:extLst>
              <a:ext uri="{FF2B5EF4-FFF2-40B4-BE49-F238E27FC236}">
                <a16:creationId xmlns:a16="http://schemas.microsoft.com/office/drawing/2014/main" id="{B045CB15-1F44-40E1-909E-6233010BC133}"/>
              </a:ext>
            </a:extLst>
          </p:cNvPr>
          <p:cNvSpPr>
            <a:spLocks noGrp="1"/>
          </p:cNvSpPr>
          <p:nvPr>
            <p:ph type="title" hasCustomPrompt="1"/>
          </p:nvPr>
        </p:nvSpPr>
        <p:spPr>
          <a:xfrm>
            <a:off x="688833" y="1044349"/>
            <a:ext cx="3904939" cy="2852737"/>
          </a:xfrm>
          <a:prstGeom prst="rect">
            <a:avLst/>
          </a:prstGeom>
        </p:spPr>
        <p:txBody>
          <a:bodyPr anchor="t">
            <a:normAutofit/>
          </a:bodyPr>
          <a:lstStyle>
            <a:lvl1pPr>
              <a:lnSpc>
                <a:spcPct val="100000"/>
              </a:lnSpc>
              <a:defRPr sz="4000" b="0" i="0">
                <a:solidFill>
                  <a:schemeClr val="bg1"/>
                </a:solidFill>
                <a:latin typeface="Santander Headline" panose="020B0504020201020104" pitchFamily="34" charset="0"/>
                <a:cs typeface="Santander Headline" panose="020B0504020201020104" pitchFamily="34" charset="0"/>
              </a:defRPr>
            </a:lvl1pPr>
          </a:lstStyle>
          <a:p>
            <a:r>
              <a:rPr lang="en-US"/>
              <a:t>Click to edit Master title style</a:t>
            </a:r>
            <a:endParaRPr lang="es-ES"/>
          </a:p>
        </p:txBody>
      </p:sp>
      <p:sp>
        <p:nvSpPr>
          <p:cNvPr id="5" name="Marcador de posición de imagen 4">
            <a:extLst>
              <a:ext uri="{FF2B5EF4-FFF2-40B4-BE49-F238E27FC236}">
                <a16:creationId xmlns:a16="http://schemas.microsoft.com/office/drawing/2014/main" id="{337A5DC7-B0E6-0BE5-C9ED-70A9D3EFE8DA}"/>
              </a:ext>
            </a:extLst>
          </p:cNvPr>
          <p:cNvSpPr>
            <a:spLocks noGrp="1"/>
          </p:cNvSpPr>
          <p:nvPr>
            <p:ph type="pic" sz="quarter" idx="15" hasCustomPrompt="1"/>
          </p:nvPr>
        </p:nvSpPr>
        <p:spPr>
          <a:xfrm>
            <a:off x="0" y="0"/>
            <a:ext cx="12192000" cy="6858000"/>
          </a:xfrm>
          <a:prstGeom prst="rect">
            <a:avLst/>
          </a:prstGeom>
        </p:spPr>
        <p:txBody>
          <a:bodyPr/>
          <a:lstStyle>
            <a:lvl1pPr marL="0" indent="0" algn="ctr">
              <a:buNone/>
              <a:defRPr sz="1400">
                <a:solidFill>
                  <a:schemeClr val="tx2"/>
                </a:solidFill>
                <a:latin typeface="Santander Headline" panose="020B0504020201020104" pitchFamily="34" charset="0"/>
              </a:defRPr>
            </a:lvl1pPr>
          </a:lstStyle>
          <a:p>
            <a:r>
              <a:rPr lang="en-US"/>
              <a:t>Insert the image and send to the background with right click</a:t>
            </a:r>
            <a:endParaRPr lang="es-ES"/>
          </a:p>
        </p:txBody>
      </p:sp>
      <p:sp>
        <p:nvSpPr>
          <p:cNvPr id="6" name="Marcador de texto 12">
            <a:extLst>
              <a:ext uri="{FF2B5EF4-FFF2-40B4-BE49-F238E27FC236}">
                <a16:creationId xmlns:a16="http://schemas.microsoft.com/office/drawing/2014/main" id="{FAEC1423-548E-12BF-6AAB-E01C296320BA}"/>
              </a:ext>
            </a:extLst>
          </p:cNvPr>
          <p:cNvSpPr>
            <a:spLocks noGrp="1" noChangeAspect="1"/>
          </p:cNvSpPr>
          <p:nvPr>
            <p:ph type="body" sz="quarter" idx="19"/>
          </p:nvPr>
        </p:nvSpPr>
        <p:spPr>
          <a:xfrm>
            <a:off x="745994" y="5863748"/>
            <a:ext cx="2212052" cy="403940"/>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a:lstStyle>
            <a:lvl1pPr>
              <a:defRPr sz="100">
                <a:blipFill dpi="0" rotWithShape="1">
                  <a:blip r:embed="rId4">
                    <a:extLst>
                      <a:ext uri="{96DAC541-7B7A-43D3-8B79-37D633B846F1}">
                        <asvg:svgBlip xmlns:asvg="http://schemas.microsoft.com/office/drawing/2016/SVG/main" r:embed="rId5"/>
                      </a:ext>
                    </a:extLst>
                  </a:blip>
                  <a:srcRect/>
                  <a:stretch>
                    <a:fillRect/>
                  </a:stretch>
                </a:blipFill>
                <a:latin typeface="Santander Headline" panose="020B0504020201020104" pitchFamily="34" charset="0"/>
              </a:defRPr>
            </a:lvl1pPr>
            <a:lvl2pPr>
              <a:defRPr sz="100">
                <a:blipFill dpi="0" rotWithShape="1">
                  <a:blip r:embed="rId4">
                    <a:extLst>
                      <a:ext uri="{96DAC541-7B7A-43D3-8B79-37D633B846F1}">
                        <asvg:svgBlip xmlns:asvg="http://schemas.microsoft.com/office/drawing/2016/SVG/main" r:embed="rId5"/>
                      </a:ext>
                    </a:extLst>
                  </a:blip>
                  <a:srcRect/>
                  <a:stretch>
                    <a:fillRect/>
                  </a:stretch>
                </a:blipFill>
                <a:latin typeface="Santander Headline" panose="020B0504020201020104" pitchFamily="34" charset="0"/>
              </a:defRPr>
            </a:lvl2pPr>
            <a:lvl3pPr>
              <a:defRPr sz="100">
                <a:blipFill dpi="0" rotWithShape="1">
                  <a:blip r:embed="rId4">
                    <a:extLst>
                      <a:ext uri="{96DAC541-7B7A-43D3-8B79-37D633B846F1}">
                        <asvg:svgBlip xmlns:asvg="http://schemas.microsoft.com/office/drawing/2016/SVG/main" r:embed="rId5"/>
                      </a:ext>
                    </a:extLst>
                  </a:blip>
                  <a:srcRect/>
                  <a:stretch>
                    <a:fillRect/>
                  </a:stretch>
                </a:blipFill>
                <a:latin typeface="Santander Headline" panose="020B0504020201020104" pitchFamily="34" charset="0"/>
              </a:defRPr>
            </a:lvl3pPr>
            <a:lvl4pPr>
              <a:defRPr sz="100">
                <a:blipFill dpi="0" rotWithShape="1">
                  <a:blip r:embed="rId4">
                    <a:extLst>
                      <a:ext uri="{96DAC541-7B7A-43D3-8B79-37D633B846F1}">
                        <asvg:svgBlip xmlns:asvg="http://schemas.microsoft.com/office/drawing/2016/SVG/main" r:embed="rId5"/>
                      </a:ext>
                    </a:extLst>
                  </a:blip>
                  <a:srcRect/>
                  <a:stretch>
                    <a:fillRect/>
                  </a:stretch>
                </a:blipFill>
                <a:latin typeface="Santander Headline" panose="020B0504020201020104" pitchFamily="34" charset="0"/>
              </a:defRPr>
            </a:lvl4pPr>
            <a:lvl5pPr>
              <a:defRPr sz="100">
                <a:blipFill dpi="0" rotWithShape="1">
                  <a:blip r:embed="rId4">
                    <a:extLst>
                      <a:ext uri="{96DAC541-7B7A-43D3-8B79-37D633B846F1}">
                        <asvg:svgBlip xmlns:asvg="http://schemas.microsoft.com/office/drawing/2016/SVG/main" r:embed="rId5"/>
                      </a:ext>
                    </a:extLst>
                  </a:blip>
                  <a:srcRect/>
                  <a:stretch>
                    <a:fillRect/>
                  </a:stretch>
                </a:blipFill>
                <a:latin typeface="Santander Headline" panose="020B05040202010201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3" name="Text Placeholder 3">
            <a:extLst>
              <a:ext uri="{FF2B5EF4-FFF2-40B4-BE49-F238E27FC236}">
                <a16:creationId xmlns:a16="http://schemas.microsoft.com/office/drawing/2014/main" id="{EA7F86AB-E37E-DE89-15C9-8F1F77DB3F37}"/>
              </a:ext>
            </a:extLst>
          </p:cNvPr>
          <p:cNvSpPr>
            <a:spLocks noGrp="1"/>
          </p:cNvSpPr>
          <p:nvPr>
            <p:ph type="body" sz="quarter" idx="16"/>
          </p:nvPr>
        </p:nvSpPr>
        <p:spPr>
          <a:xfrm>
            <a:off x="10815678" y="89692"/>
            <a:ext cx="1285311" cy="281220"/>
          </a:xfrm>
          <a:prstGeom prst="rect">
            <a:avLst/>
          </a:prstGeom>
          <a:blipFill>
            <a:blip r:embed="rId6">
              <a:lum bright="100000"/>
              <a:extLst>
                <a:ext uri="{96DAC541-7B7A-43D3-8B79-37D633B846F1}">
                  <asvg:svgBlip xmlns:asvg="http://schemas.microsoft.com/office/drawing/2016/SVG/main" r:embed="rId7"/>
                </a:ext>
              </a:extLst>
            </a:blip>
            <a:stretch>
              <a:fillRect/>
            </a:stretch>
          </a:blipFill>
        </p:spPr>
        <p:txBody>
          <a:bodyPr/>
          <a:lstStyle>
            <a:lvl1pPr marL="0" indent="0">
              <a:buNone/>
              <a:defRPr sz="100">
                <a:solidFill>
                  <a:schemeClr val="bg1">
                    <a:alpha val="0"/>
                  </a:schemeClr>
                </a:solidFill>
              </a:defRPr>
            </a:lvl1pPr>
          </a:lstStyle>
          <a:p>
            <a:pPr lvl="0"/>
            <a:endParaRPr lang="en-GB"/>
          </a:p>
        </p:txBody>
      </p:sp>
    </p:spTree>
    <p:extLst>
      <p:ext uri="{BB962C8B-B14F-4D97-AF65-F5344CB8AC3E}">
        <p14:creationId xmlns:p14="http://schemas.microsoft.com/office/powerpoint/2010/main" val="85166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ack cover slide 1">
    <p:spTree>
      <p:nvGrpSpPr>
        <p:cNvPr id="1" name=""/>
        <p:cNvGrpSpPr/>
        <p:nvPr/>
      </p:nvGrpSpPr>
      <p:grpSpPr>
        <a:xfrm>
          <a:off x="0" y="0"/>
          <a:ext cx="0" cy="0"/>
          <a:chOff x="0" y="0"/>
          <a:chExt cx="0" cy="0"/>
        </a:xfrm>
      </p:grpSpPr>
      <p:pic>
        <p:nvPicPr>
          <p:cNvPr id="11" name="Picture 10" descr="A road with cars on it&#10;&#10;Description automatically generated">
            <a:extLst>
              <a:ext uri="{FF2B5EF4-FFF2-40B4-BE49-F238E27FC236}">
                <a16:creationId xmlns:a16="http://schemas.microsoft.com/office/drawing/2014/main" id="{0AA77C48-716B-4771-7CB4-C775C9555D0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1"/>
            <a:ext cx="12192000" cy="6967145"/>
          </a:xfrm>
          <a:prstGeom prst="rect">
            <a:avLst/>
          </a:prstGeom>
        </p:spPr>
      </p:pic>
      <p:sp>
        <p:nvSpPr>
          <p:cNvPr id="4" name="TextBox 20">
            <a:extLst>
              <a:ext uri="{FF2B5EF4-FFF2-40B4-BE49-F238E27FC236}">
                <a16:creationId xmlns:a16="http://schemas.microsoft.com/office/drawing/2014/main" id="{2BC5A094-F52B-D930-5333-EFE00CBFC2D9}"/>
              </a:ext>
            </a:extLst>
          </p:cNvPr>
          <p:cNvSpPr txBox="1"/>
          <p:nvPr userDrawn="1">
            <p:custDataLst>
              <p:tags r:id="rId1"/>
            </p:custDataLst>
          </p:nvPr>
        </p:nvSpPr>
        <p:spPr>
          <a:xfrm>
            <a:off x="10824088" y="130264"/>
            <a:ext cx="1189498" cy="161583"/>
          </a:xfrm>
          <a:prstGeom prst="rect">
            <a:avLst/>
          </a:prstGeom>
        </p:spPr>
        <p:txBody>
          <a:bodyPr wrap="square" lIns="0" tIns="0" rIns="0" bIns="0">
            <a:spAutoFit/>
          </a:bodyPr>
          <a:lstStyle/>
          <a:p>
            <a:pPr algn="r"/>
            <a:r>
              <a:rPr lang="en-GB" sz="1050" kern="1200">
                <a:solidFill>
                  <a:schemeClr val="bg1"/>
                </a:solidFill>
                <a:latin typeface="Santander Headline" panose="020B0504020201020104" pitchFamily="34" charset="0"/>
                <a:ea typeface="+mn-ea"/>
                <a:cs typeface="+mn-cs"/>
              </a:rPr>
              <a:t>Confidential</a:t>
            </a:r>
          </a:p>
        </p:txBody>
      </p:sp>
      <p:sp>
        <p:nvSpPr>
          <p:cNvPr id="3" name="Rectangle 2">
            <a:extLst>
              <a:ext uri="{FF2B5EF4-FFF2-40B4-BE49-F238E27FC236}">
                <a16:creationId xmlns:a16="http://schemas.microsoft.com/office/drawing/2014/main" id="{87CB03CC-02AD-14EA-9A73-9346C5E34970}"/>
              </a:ext>
            </a:extLst>
          </p:cNvPr>
          <p:cNvSpPr>
            <a:spLocks noChangeArrowheads="1"/>
          </p:cNvSpPr>
          <p:nvPr userDrawn="1"/>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15" name="Rectángulo 4">
            <a:extLst>
              <a:ext uri="{FF2B5EF4-FFF2-40B4-BE49-F238E27FC236}">
                <a16:creationId xmlns:a16="http://schemas.microsoft.com/office/drawing/2014/main" id="{56E299E8-9677-A29B-4B9E-F32246CC2495}"/>
              </a:ext>
            </a:extLst>
          </p:cNvPr>
          <p:cNvSpPr/>
          <p:nvPr userDrawn="1"/>
        </p:nvSpPr>
        <p:spPr>
          <a:xfrm>
            <a:off x="0" y="1192368"/>
            <a:ext cx="6164752" cy="5774776"/>
          </a:xfrm>
          <a:prstGeom prst="rect">
            <a:avLst/>
          </a:prstGeom>
          <a:gradFill>
            <a:gsLst>
              <a:gs pos="100000">
                <a:srgbClr val="8C0014"/>
              </a:gs>
              <a:gs pos="51000">
                <a:srgbClr val="64001E">
                  <a:alpha val="0"/>
                </a:srgb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pic>
        <p:nvPicPr>
          <p:cNvPr id="16" name="Gráfico 5">
            <a:extLst>
              <a:ext uri="{FF2B5EF4-FFF2-40B4-BE49-F238E27FC236}">
                <a16:creationId xmlns:a16="http://schemas.microsoft.com/office/drawing/2014/main" id="{84834D0D-2591-98F2-08D6-157BF3001C19}"/>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51850" y="5860646"/>
            <a:ext cx="2201021" cy="413314"/>
          </a:xfrm>
          <a:prstGeom prst="rect">
            <a:avLst/>
          </a:prstGeom>
        </p:spPr>
      </p:pic>
      <p:sp>
        <p:nvSpPr>
          <p:cNvPr id="21" name="Text Placeholder 18">
            <a:extLst>
              <a:ext uri="{FF2B5EF4-FFF2-40B4-BE49-F238E27FC236}">
                <a16:creationId xmlns:a16="http://schemas.microsoft.com/office/drawing/2014/main" id="{B2EBC0E1-E075-533D-E635-A58CE14561F3}"/>
              </a:ext>
            </a:extLst>
          </p:cNvPr>
          <p:cNvSpPr>
            <a:spLocks noGrp="1"/>
          </p:cNvSpPr>
          <p:nvPr>
            <p:ph type="body" sz="quarter" idx="10"/>
          </p:nvPr>
        </p:nvSpPr>
        <p:spPr>
          <a:xfrm>
            <a:off x="688285" y="1571102"/>
            <a:ext cx="4970237" cy="4257675"/>
          </a:xfrm>
          <a:prstGeom prst="rect">
            <a:avLst/>
          </a:prstGeom>
        </p:spPr>
        <p:txBody>
          <a:bodyPr/>
          <a:lstStyle>
            <a:lvl1pPr marL="0" indent="0">
              <a:spcBef>
                <a:spcPts val="0"/>
              </a:spcBef>
              <a:spcAft>
                <a:spcPts val="1200"/>
              </a:spcAft>
              <a:buNone/>
              <a:defRPr sz="4000">
                <a:solidFill>
                  <a:schemeClr val="bg1"/>
                </a:solidFill>
                <a:latin typeface="Santander Headline" panose="020B0504020201020104" pitchFamily="34" charset="0"/>
              </a:defRPr>
            </a:lvl1pPr>
            <a:lvl2pPr marL="0" indent="0">
              <a:lnSpc>
                <a:spcPct val="100000"/>
              </a:lnSpc>
              <a:spcBef>
                <a:spcPts val="1200"/>
              </a:spcBef>
              <a:spcAft>
                <a:spcPts val="0"/>
              </a:spcAft>
              <a:buNone/>
              <a:defRPr sz="1200">
                <a:solidFill>
                  <a:schemeClr val="bg1"/>
                </a:solidFill>
              </a:defRPr>
            </a:lvl2pPr>
            <a:lvl3pPr marL="0" indent="0">
              <a:lnSpc>
                <a:spcPct val="100000"/>
              </a:lnSpc>
              <a:spcBef>
                <a:spcPts val="3000"/>
              </a:spcBef>
              <a:buNone/>
              <a:defRPr>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3479567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B2B76634-1EA4-4580-AFB0-9D30C3DC69C4}"/>
              </a:ext>
            </a:extLst>
          </p:cNvPr>
          <p:cNvSpPr txBox="1"/>
          <p:nvPr userDrawn="1"/>
        </p:nvSpPr>
        <p:spPr>
          <a:xfrm>
            <a:off x="383117" y="6512993"/>
            <a:ext cx="432000" cy="129600"/>
          </a:xfrm>
          <a:prstGeom prst="rect">
            <a:avLst/>
          </a:prstGeom>
          <a:noFill/>
        </p:spPr>
        <p:txBody>
          <a:bodyPr vert="horz" wrap="none" lIns="0" tIns="0" rIns="0" bIns="0" rtlCol="0" anchor="ctr"/>
          <a:lstStyle>
            <a:defPPr>
              <a:defRPr lang="es-ES"/>
            </a:defPPr>
            <a:lvl1pPr>
              <a:defRPr sz="800" b="1">
                <a:solidFill>
                  <a:srgbClr val="000000"/>
                </a:solidFill>
              </a:defRPr>
            </a:lvl1pPr>
          </a:lstStyle>
          <a:p>
            <a:pPr lvl="0"/>
            <a:fld id="{5C400F64-36F9-4816-BB20-163C389136A8}" type="slidenum">
              <a:rPr lang="es-ES" smtClean="0">
                <a:solidFill>
                  <a:schemeClr val="tx1"/>
                </a:solidFill>
              </a:rPr>
              <a:pPr lvl="0"/>
              <a:t>‹#›</a:t>
            </a:fld>
            <a:endParaRPr lang="es-ES">
              <a:solidFill>
                <a:schemeClr val="tx1"/>
              </a:solidFill>
            </a:endParaRPr>
          </a:p>
        </p:txBody>
      </p:sp>
    </p:spTree>
    <p:extLst>
      <p:ext uri="{BB962C8B-B14F-4D97-AF65-F5344CB8AC3E}">
        <p14:creationId xmlns:p14="http://schemas.microsoft.com/office/powerpoint/2010/main" val="34150266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26_Diseño personalizado">
  <p:cSld name="26_Diseño personalizado">
    <p:spTree>
      <p:nvGrpSpPr>
        <p:cNvPr id="1" name="Shape 19"/>
        <p:cNvGrpSpPr/>
        <p:nvPr/>
      </p:nvGrpSpPr>
      <p:grpSpPr>
        <a:xfrm>
          <a:off x="0" y="0"/>
          <a:ext cx="0" cy="0"/>
          <a:chOff x="0" y="0"/>
          <a:chExt cx="0" cy="0"/>
        </a:xfrm>
      </p:grpSpPr>
      <p:sp>
        <p:nvSpPr>
          <p:cNvPr id="20" name="Google Shape;20;p3"/>
          <p:cNvSpPr txBox="1">
            <a:spLocks noGrp="1"/>
          </p:cNvSpPr>
          <p:nvPr>
            <p:ph type="ctrTitle"/>
          </p:nvPr>
        </p:nvSpPr>
        <p:spPr>
          <a:xfrm>
            <a:off x="2476751" y="543292"/>
            <a:ext cx="7590000" cy="1022800"/>
          </a:xfrm>
          <a:prstGeom prst="rect">
            <a:avLst/>
          </a:prstGeom>
          <a:noFill/>
          <a:ln>
            <a:noFill/>
          </a:ln>
        </p:spPr>
        <p:txBody>
          <a:bodyPr spcFirstLastPara="1" wrap="square" lIns="68575" tIns="34275" rIns="68575" bIns="34275" anchor="t" anchorCtr="0">
            <a:noAutofit/>
          </a:bodyPr>
          <a:lstStyle>
            <a:lvl1pPr marR="0" lvl="0" algn="l" rtl="0">
              <a:lnSpc>
                <a:spcPct val="90000"/>
              </a:lnSpc>
              <a:spcBef>
                <a:spcPts val="0"/>
              </a:spcBef>
              <a:spcAft>
                <a:spcPts val="0"/>
              </a:spcAft>
              <a:buClr>
                <a:srgbClr val="434343"/>
              </a:buClr>
              <a:buSzPts val="2100"/>
              <a:buFont typeface="Ubuntu"/>
              <a:buNone/>
              <a:defRPr sz="2800" b="1" i="0" u="none" strike="noStrike" cap="none">
                <a:solidFill>
                  <a:srgbClr val="434343"/>
                </a:solidFill>
                <a:latin typeface="Ubuntu"/>
                <a:ea typeface="Ubuntu"/>
                <a:cs typeface="Ubuntu"/>
                <a:sym typeface="Ubuntu"/>
              </a:defRPr>
            </a:lvl1pPr>
            <a:lvl2pPr marR="0" lvl="1"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9pPr>
          </a:lstStyle>
          <a:p>
            <a:endParaRPr/>
          </a:p>
        </p:txBody>
      </p:sp>
      <p:sp>
        <p:nvSpPr>
          <p:cNvPr id="21" name="Google Shape;21;p3"/>
          <p:cNvSpPr txBox="1">
            <a:spLocks noGrp="1"/>
          </p:cNvSpPr>
          <p:nvPr>
            <p:ph type="subTitle" idx="1"/>
          </p:nvPr>
        </p:nvSpPr>
        <p:spPr>
          <a:xfrm>
            <a:off x="727651" y="1942451"/>
            <a:ext cx="10795600" cy="4218400"/>
          </a:xfrm>
          <a:prstGeom prst="rect">
            <a:avLst/>
          </a:prstGeom>
          <a:noFill/>
          <a:ln>
            <a:noFill/>
          </a:ln>
        </p:spPr>
        <p:txBody>
          <a:bodyPr spcFirstLastPara="1" wrap="square" lIns="68575" tIns="68575" rIns="68575" bIns="68575" anchor="t" anchorCtr="0">
            <a:noAutofit/>
          </a:bodyPr>
          <a:lstStyle>
            <a:lvl1pPr marR="0" lvl="0" algn="l" rtl="0">
              <a:lnSpc>
                <a:spcPct val="100000"/>
              </a:lnSpc>
              <a:spcBef>
                <a:spcPts val="0"/>
              </a:spcBef>
              <a:spcAft>
                <a:spcPts val="0"/>
              </a:spcAft>
              <a:buClr>
                <a:srgbClr val="000000"/>
              </a:buClr>
              <a:buSzPts val="1400"/>
              <a:buFont typeface="Arial"/>
              <a:buNone/>
              <a:defRPr sz="1867" b="0" i="0" u="none" strike="noStrike" cap="none">
                <a:solidFill>
                  <a:srgbClr val="434343"/>
                </a:solidFill>
                <a:latin typeface="Ubuntu"/>
                <a:ea typeface="Ubuntu"/>
                <a:cs typeface="Ubuntu"/>
                <a:sym typeface="Ubuntu"/>
              </a:defRPr>
            </a:lvl1pPr>
            <a:lvl2pPr marR="0" lvl="1"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9pPr>
          </a:lstStyle>
          <a:p>
            <a:endParaRPr/>
          </a:p>
        </p:txBody>
      </p:sp>
      <p:sp>
        <p:nvSpPr>
          <p:cNvPr id="4" name="Holder 6">
            <a:extLst>
              <a:ext uri="{FF2B5EF4-FFF2-40B4-BE49-F238E27FC236}">
                <a16:creationId xmlns:a16="http://schemas.microsoft.com/office/drawing/2014/main" id="{D6F16813-322D-7E47-8D85-026FBB44A591}"/>
              </a:ext>
            </a:extLst>
          </p:cNvPr>
          <p:cNvSpPr txBox="1">
            <a:spLocks/>
          </p:cNvSpPr>
          <p:nvPr userDrawn="1"/>
        </p:nvSpPr>
        <p:spPr>
          <a:xfrm>
            <a:off x="11430000" y="6590809"/>
            <a:ext cx="611681" cy="146194"/>
          </a:xfrm>
          <a:prstGeom prst="rect">
            <a:avLst/>
          </a:prstGeom>
        </p:spPr>
        <p:txBody>
          <a:bodyPr lIns="0" tIns="0" rIns="0" bIns="0"/>
          <a:lstStyle>
            <a:defPPr>
              <a:defRPr lang="es-ES"/>
            </a:defPPr>
            <a:lvl1pPr marL="0" algn="ctr" defTabSz="914400" rtl="0" eaLnBrk="1" latinLnBrk="0" hangingPunct="1">
              <a:defRPr sz="950" b="1" i="0" kern="1200">
                <a:solidFill>
                  <a:schemeClr val="tx1">
                    <a:tint val="75000"/>
                  </a:schemeClr>
                </a:solidFill>
                <a:latin typeface="Century Gothic" panose="020B0502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FA92D62-9D92-0542-98DD-3DAA296D71C9}" type="slidenum">
              <a:rPr lang="es-ES" smtClean="0"/>
              <a:pPr/>
              <a:t>‹#›</a:t>
            </a:fld>
            <a:endParaRPr lang="es-ES"/>
          </a:p>
        </p:txBody>
      </p:sp>
    </p:spTree>
    <p:extLst>
      <p:ext uri="{BB962C8B-B14F-4D97-AF65-F5344CB8AC3E}">
        <p14:creationId xmlns:p14="http://schemas.microsoft.com/office/powerpoint/2010/main" val="22036289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Page Dark Photo">
    <p:spTree>
      <p:nvGrpSpPr>
        <p:cNvPr id="1" name=""/>
        <p:cNvGrpSpPr/>
        <p:nvPr/>
      </p:nvGrpSpPr>
      <p:grpSpPr>
        <a:xfrm>
          <a:off x="0" y="0"/>
          <a:ext cx="0" cy="0"/>
          <a:chOff x="0" y="0"/>
          <a:chExt cx="0" cy="0"/>
        </a:xfrm>
      </p:grpSpPr>
      <p:pic>
        <p:nvPicPr>
          <p:cNvPr id="9" name="Marcador de posición de imagen 6" descr="Ciudad con edificios altos&#10;&#10;Descripción generada automáticamente">
            <a:extLst>
              <a:ext uri="{FF2B5EF4-FFF2-40B4-BE49-F238E27FC236}">
                <a16:creationId xmlns:a16="http://schemas.microsoft.com/office/drawing/2014/main" id="{046E0A77-0A3D-36AC-CD7E-9836788C4816}"/>
              </a:ext>
            </a:extLst>
          </p:cNvPr>
          <p:cNvPicPr>
            <a:picLocks noChangeAspect="1"/>
          </p:cNvPicPr>
          <p:nvPr userDrawn="1"/>
        </p:nvPicPr>
        <p:blipFill rotWithShape="1">
          <a:blip r:embed="rId3">
            <a:alphaModFix/>
            <a:extLst>
              <a:ext uri="{28A0092B-C50C-407E-A947-70E740481C1C}">
                <a14:useLocalDpi xmlns:a14="http://schemas.microsoft.com/office/drawing/2010/main" val="0"/>
              </a:ext>
            </a:extLst>
          </a:blip>
          <a:srcRect t="57309" r="6751" b="220"/>
          <a:stretch/>
        </p:blipFill>
        <p:spPr>
          <a:xfrm>
            <a:off x="-119857" y="-109538"/>
            <a:ext cx="12431713" cy="7077076"/>
          </a:xfrm>
          <a:prstGeom prst="rect">
            <a:avLst/>
          </a:prstGeom>
        </p:spPr>
      </p:pic>
      <p:sp>
        <p:nvSpPr>
          <p:cNvPr id="5" name="Rectángulo 4">
            <a:extLst>
              <a:ext uri="{FF2B5EF4-FFF2-40B4-BE49-F238E27FC236}">
                <a16:creationId xmlns:a16="http://schemas.microsoft.com/office/drawing/2014/main" id="{6E7FCD49-6A40-5509-A060-DDA7D90C6784}"/>
              </a:ext>
            </a:extLst>
          </p:cNvPr>
          <p:cNvSpPr/>
          <p:nvPr userDrawn="1"/>
        </p:nvSpPr>
        <p:spPr>
          <a:xfrm>
            <a:off x="-68752" y="1192762"/>
            <a:ext cx="6164752" cy="5774776"/>
          </a:xfrm>
          <a:prstGeom prst="rect">
            <a:avLst/>
          </a:prstGeom>
          <a:gradFill>
            <a:gsLst>
              <a:gs pos="100000">
                <a:srgbClr val="8C0014"/>
              </a:gs>
              <a:gs pos="63000">
                <a:srgbClr val="64001E">
                  <a:alpha val="0"/>
                </a:srgb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7" name="Marcador de texto 3">
            <a:extLst>
              <a:ext uri="{FF2B5EF4-FFF2-40B4-BE49-F238E27FC236}">
                <a16:creationId xmlns:a16="http://schemas.microsoft.com/office/drawing/2014/main" id="{B3B5D16D-FBE8-399C-195D-4FA57BA2D6DB}"/>
              </a:ext>
            </a:extLst>
          </p:cNvPr>
          <p:cNvSpPr txBox="1">
            <a:spLocks/>
          </p:cNvSpPr>
          <p:nvPr userDrawn="1"/>
        </p:nvSpPr>
        <p:spPr>
          <a:xfrm>
            <a:off x="668706" y="333651"/>
            <a:ext cx="1914177" cy="4191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900" b="0" i="0" kern="1200">
                <a:solidFill>
                  <a:schemeClr val="bg2"/>
                </a:solidFill>
                <a:latin typeface="Santander Text" panose="020B0504020201020104" pitchFamily="34"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FFFFFF"/>
                </a:solidFill>
                <a:effectLst/>
                <a:uLnTx/>
                <a:uFillTx/>
                <a:latin typeface="Santander Headline" panose="020B0504020201020104" pitchFamily="34" charset="0"/>
                <a:ea typeface="+mn-ea"/>
                <a:cs typeface="+mn-cs"/>
              </a:rPr>
              <a:t>Date</a:t>
            </a:r>
          </a:p>
        </p:txBody>
      </p:sp>
      <p:sp>
        <p:nvSpPr>
          <p:cNvPr id="8" name="Marcador de texto 4">
            <a:extLst>
              <a:ext uri="{FF2B5EF4-FFF2-40B4-BE49-F238E27FC236}">
                <a16:creationId xmlns:a16="http://schemas.microsoft.com/office/drawing/2014/main" id="{BADE087C-5D56-2EC3-C784-1C1D16E85893}"/>
              </a:ext>
            </a:extLst>
          </p:cNvPr>
          <p:cNvSpPr txBox="1">
            <a:spLocks/>
          </p:cNvSpPr>
          <p:nvPr userDrawn="1"/>
        </p:nvSpPr>
        <p:spPr>
          <a:xfrm>
            <a:off x="2717200" y="333651"/>
            <a:ext cx="1914177" cy="4191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900" b="0" i="0" kern="1200">
                <a:solidFill>
                  <a:schemeClr val="bg2"/>
                </a:solidFill>
                <a:latin typeface="Santander Text" panose="020B0504020201020104" pitchFamily="34"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FFFFFF"/>
                </a:solidFill>
                <a:effectLst/>
                <a:uLnTx/>
                <a:uFillTx/>
                <a:latin typeface="Santander Headline" panose="020B0504020201020104" pitchFamily="34" charset="0"/>
                <a:ea typeface="+mn-ea"/>
                <a:cs typeface="+mn-cs"/>
              </a:rPr>
              <a:t>Department</a:t>
            </a:r>
          </a:p>
        </p:txBody>
      </p:sp>
      <p:sp>
        <p:nvSpPr>
          <p:cNvPr id="14" name="Título 1">
            <a:extLst>
              <a:ext uri="{FF2B5EF4-FFF2-40B4-BE49-F238E27FC236}">
                <a16:creationId xmlns:a16="http://schemas.microsoft.com/office/drawing/2014/main" id="{E6A2EDE0-A1AB-DE03-E808-263885D8BDED}"/>
              </a:ext>
            </a:extLst>
          </p:cNvPr>
          <p:cNvSpPr>
            <a:spLocks noGrp="1"/>
          </p:cNvSpPr>
          <p:nvPr>
            <p:ph type="ctrTitle"/>
          </p:nvPr>
        </p:nvSpPr>
        <p:spPr>
          <a:xfrm>
            <a:off x="660329" y="1799664"/>
            <a:ext cx="4937184" cy="1407004"/>
          </a:xfrm>
          <a:prstGeom prst="rect">
            <a:avLst/>
          </a:prstGeom>
        </p:spPr>
        <p:txBody>
          <a:bodyPr anchor="t">
            <a:normAutofit/>
          </a:bodyPr>
          <a:lstStyle>
            <a:lvl1pPr algn="l">
              <a:lnSpc>
                <a:spcPct val="90000"/>
              </a:lnSpc>
              <a:defRPr sz="4000" b="0" i="0">
                <a:solidFill>
                  <a:schemeClr val="bg1"/>
                </a:solidFill>
                <a:latin typeface="Santander Headline" panose="020B0504020201020104" pitchFamily="34" charset="0"/>
                <a:cs typeface="Santander Headline" panose="020B0504020201020104" pitchFamily="34" charset="0"/>
              </a:defRPr>
            </a:lvl1pPr>
          </a:lstStyle>
          <a:p>
            <a:endParaRPr lang="es-ES"/>
          </a:p>
        </p:txBody>
      </p:sp>
      <p:sp>
        <p:nvSpPr>
          <p:cNvPr id="15" name="Subtítulo 2">
            <a:extLst>
              <a:ext uri="{FF2B5EF4-FFF2-40B4-BE49-F238E27FC236}">
                <a16:creationId xmlns:a16="http://schemas.microsoft.com/office/drawing/2014/main" id="{256405C8-42DD-6385-46DE-833F6A93175E}"/>
              </a:ext>
            </a:extLst>
          </p:cNvPr>
          <p:cNvSpPr>
            <a:spLocks noGrp="1"/>
          </p:cNvSpPr>
          <p:nvPr>
            <p:ph type="subTitle" idx="1"/>
          </p:nvPr>
        </p:nvSpPr>
        <p:spPr>
          <a:xfrm>
            <a:off x="663204" y="3216319"/>
            <a:ext cx="4934309" cy="2436454"/>
          </a:xfrm>
          <a:prstGeom prst="rect">
            <a:avLst/>
          </a:prstGeom>
        </p:spPr>
        <p:txBody>
          <a:bodyPr>
            <a:noAutofit/>
          </a:bodyPr>
          <a:lstStyle>
            <a:lvl1pPr marL="0" indent="0" algn="l">
              <a:lnSpc>
                <a:spcPct val="100000"/>
              </a:lnSpc>
              <a:spcBef>
                <a:spcPts val="0"/>
              </a:spcBef>
              <a:spcAft>
                <a:spcPts val="1200"/>
              </a:spcAft>
              <a:buNone/>
              <a:defRPr sz="2000">
                <a:solidFill>
                  <a:schemeClr val="bg1"/>
                </a:solidFill>
                <a:latin typeface="Santander Headline" panose="020B050402020102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
        <p:nvSpPr>
          <p:cNvPr id="3" name="CuadroTexto 2">
            <a:extLst>
              <a:ext uri="{FF2B5EF4-FFF2-40B4-BE49-F238E27FC236}">
                <a16:creationId xmlns:a16="http://schemas.microsoft.com/office/drawing/2014/main" id="{BD7BBDB1-A153-A5ED-9156-EAEE4C4CCE9D}"/>
              </a:ext>
            </a:extLst>
          </p:cNvPr>
          <p:cNvSpPr txBox="1"/>
          <p:nvPr userDrawn="1"/>
        </p:nvSpPr>
        <p:spPr>
          <a:xfrm>
            <a:off x="677437" y="1393231"/>
            <a:ext cx="7287322" cy="261610"/>
          </a:xfrm>
          <a:prstGeom prst="rect">
            <a:avLst/>
          </a:prstGeom>
          <a:noFill/>
        </p:spPr>
        <p:txBody>
          <a:bodyPr wrap="square">
            <a:spAutoFit/>
          </a:bodyPr>
          <a:lstStyle/>
          <a:p>
            <a:r>
              <a:rPr lang="es-ES" sz="1100" err="1">
                <a:solidFill>
                  <a:schemeClr val="bg1"/>
                </a:solidFill>
                <a:effectLst/>
                <a:latin typeface="Santander Headline" panose="020B0504020201020104" pitchFamily="34" charset="0"/>
                <a:ea typeface="Times New Roman" panose="02020603050405020304" pitchFamily="18" charset="0"/>
              </a:rPr>
              <a:t>Strictly</a:t>
            </a:r>
            <a:r>
              <a:rPr lang="es-ES" sz="1100">
                <a:solidFill>
                  <a:schemeClr val="bg1"/>
                </a:solidFill>
                <a:effectLst/>
                <a:latin typeface="Santander Headline" panose="020B0504020201020104" pitchFamily="34" charset="0"/>
                <a:ea typeface="Times New Roman" panose="02020603050405020304" pitchFamily="18" charset="0"/>
              </a:rPr>
              <a:t> </a:t>
            </a:r>
            <a:r>
              <a:rPr lang="es-ES" sz="1100" err="1">
                <a:solidFill>
                  <a:schemeClr val="bg1"/>
                </a:solidFill>
                <a:effectLst/>
                <a:latin typeface="Santander Headline" panose="020B0504020201020104" pitchFamily="34" charset="0"/>
                <a:ea typeface="Times New Roman" panose="02020603050405020304" pitchFamily="18" charset="0"/>
              </a:rPr>
              <a:t>Private</a:t>
            </a:r>
            <a:r>
              <a:rPr lang="es-ES" sz="1100">
                <a:solidFill>
                  <a:schemeClr val="bg1"/>
                </a:solidFill>
                <a:effectLst/>
                <a:latin typeface="Santander Headline" panose="020B0504020201020104" pitchFamily="34" charset="0"/>
                <a:ea typeface="Times New Roman" panose="02020603050405020304" pitchFamily="18" charset="0"/>
              </a:rPr>
              <a:t> and </a:t>
            </a:r>
            <a:r>
              <a:rPr lang="es-ES" sz="1100" err="1">
                <a:solidFill>
                  <a:schemeClr val="bg1"/>
                </a:solidFill>
                <a:effectLst/>
                <a:latin typeface="Santander Headline" panose="020B0504020201020104" pitchFamily="34" charset="0"/>
                <a:ea typeface="Times New Roman" panose="02020603050405020304" pitchFamily="18" charset="0"/>
              </a:rPr>
              <a:t>Confidential</a:t>
            </a:r>
            <a:endParaRPr lang="en-GB" sz="1100">
              <a:solidFill>
                <a:schemeClr val="bg1"/>
              </a:solidFill>
              <a:latin typeface="Santander Headline" panose="020B0504020201020104" pitchFamily="34" charset="0"/>
            </a:endParaRPr>
          </a:p>
        </p:txBody>
      </p:sp>
      <p:pic>
        <p:nvPicPr>
          <p:cNvPr id="6" name="Gráfico 5">
            <a:extLst>
              <a:ext uri="{FF2B5EF4-FFF2-40B4-BE49-F238E27FC236}">
                <a16:creationId xmlns:a16="http://schemas.microsoft.com/office/drawing/2014/main" id="{08E20AD3-3DA3-B651-D6FE-433DAE85AD3A}"/>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51850" y="5860646"/>
            <a:ext cx="2201021" cy="413314"/>
          </a:xfrm>
          <a:prstGeom prst="rect">
            <a:avLst/>
          </a:prstGeom>
        </p:spPr>
      </p:pic>
      <p:sp>
        <p:nvSpPr>
          <p:cNvPr id="2" name="TextBox 20">
            <a:extLst>
              <a:ext uri="{FF2B5EF4-FFF2-40B4-BE49-F238E27FC236}">
                <a16:creationId xmlns:a16="http://schemas.microsoft.com/office/drawing/2014/main" id="{476BE67B-11C1-FBFF-A7B6-DF0DC3B95163}"/>
              </a:ext>
            </a:extLst>
          </p:cNvPr>
          <p:cNvSpPr txBox="1"/>
          <p:nvPr userDrawn="1">
            <p:custDataLst>
              <p:tags r:id="rId1"/>
            </p:custDataLst>
          </p:nvPr>
        </p:nvSpPr>
        <p:spPr>
          <a:xfrm>
            <a:off x="10824088" y="130264"/>
            <a:ext cx="1189498" cy="161583"/>
          </a:xfrm>
          <a:prstGeom prst="rect">
            <a:avLst/>
          </a:prstGeom>
        </p:spPr>
        <p:txBody>
          <a:bodyPr wrap="square" lIns="0" tIns="0" rIns="0" bIns="0">
            <a:spAutoFit/>
          </a:bodyPr>
          <a:lstStyle/>
          <a:p>
            <a:pPr algn="r"/>
            <a:r>
              <a:rPr lang="en-GB" sz="1050" kern="1200">
                <a:solidFill>
                  <a:schemeClr val="bg1"/>
                </a:solidFill>
                <a:latin typeface="Santander Headline" panose="020B0504020201020104" pitchFamily="34" charset="0"/>
                <a:ea typeface="+mn-ea"/>
                <a:cs typeface="+mn-cs"/>
              </a:rPr>
              <a:t>Confidential</a:t>
            </a:r>
          </a:p>
        </p:txBody>
      </p:sp>
    </p:spTree>
    <p:extLst>
      <p:ext uri="{BB962C8B-B14F-4D97-AF65-F5344CB8AC3E}">
        <p14:creationId xmlns:p14="http://schemas.microsoft.com/office/powerpoint/2010/main" val="28106776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Title Page Bright Photo">
    <p:spTree>
      <p:nvGrpSpPr>
        <p:cNvPr id="1" name=""/>
        <p:cNvGrpSpPr/>
        <p:nvPr/>
      </p:nvGrpSpPr>
      <p:grpSpPr>
        <a:xfrm>
          <a:off x="0" y="0"/>
          <a:ext cx="0" cy="0"/>
          <a:chOff x="0" y="0"/>
          <a:chExt cx="0" cy="0"/>
        </a:xfrm>
      </p:grpSpPr>
      <p:pic>
        <p:nvPicPr>
          <p:cNvPr id="22" name="Imagen 21" descr="Un edificio de fondo&#10;&#10;Descripción generada automáticamente con confianza media">
            <a:extLst>
              <a:ext uri="{FF2B5EF4-FFF2-40B4-BE49-F238E27FC236}">
                <a16:creationId xmlns:a16="http://schemas.microsoft.com/office/drawing/2014/main" id="{E83F5A0F-1F32-C237-7579-A96CC0BB0DC7}"/>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10000"/>
                    </a14:imgEffect>
                  </a14:imgLayer>
                </a14:imgProps>
              </a:ext>
              <a:ext uri="{28A0092B-C50C-407E-A947-70E740481C1C}">
                <a14:useLocalDpi xmlns:a14="http://schemas.microsoft.com/office/drawing/2010/main" val="0"/>
              </a:ext>
            </a:extLst>
          </a:blip>
          <a:srcRect t="6037" b="9599"/>
          <a:stretch/>
        </p:blipFill>
        <p:spPr>
          <a:xfrm flipH="1">
            <a:off x="0" y="0"/>
            <a:ext cx="12192000" cy="6858000"/>
          </a:xfrm>
          <a:prstGeom prst="rect">
            <a:avLst/>
          </a:prstGeom>
        </p:spPr>
      </p:pic>
      <p:sp>
        <p:nvSpPr>
          <p:cNvPr id="20" name="Rectángulo 19">
            <a:extLst>
              <a:ext uri="{FF2B5EF4-FFF2-40B4-BE49-F238E27FC236}">
                <a16:creationId xmlns:a16="http://schemas.microsoft.com/office/drawing/2014/main" id="{89778658-1B38-1477-A298-ED02D9B309D9}"/>
              </a:ext>
            </a:extLst>
          </p:cNvPr>
          <p:cNvSpPr/>
          <p:nvPr userDrawn="1"/>
        </p:nvSpPr>
        <p:spPr>
          <a:xfrm>
            <a:off x="0" y="1192761"/>
            <a:ext cx="6096000" cy="4580285"/>
          </a:xfrm>
          <a:prstGeom prst="rect">
            <a:avLst/>
          </a:prstGeom>
          <a:gradFill>
            <a:gsLst>
              <a:gs pos="99000">
                <a:schemeClr val="bg1"/>
              </a:gs>
              <a:gs pos="62000">
                <a:schemeClr val="bg1">
                  <a:alpha val="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17" name="Marcador de texto 16">
            <a:extLst>
              <a:ext uri="{FF2B5EF4-FFF2-40B4-BE49-F238E27FC236}">
                <a16:creationId xmlns:a16="http://schemas.microsoft.com/office/drawing/2014/main" id="{F5E5F18D-70E6-495C-A384-2EDAE0030937}"/>
              </a:ext>
            </a:extLst>
          </p:cNvPr>
          <p:cNvSpPr>
            <a:spLocks noGrp="1"/>
          </p:cNvSpPr>
          <p:nvPr>
            <p:ph type="body" sz="quarter" idx="14" hasCustomPrompt="1"/>
          </p:nvPr>
        </p:nvSpPr>
        <p:spPr>
          <a:xfrm>
            <a:off x="668706" y="333651"/>
            <a:ext cx="1914177" cy="419100"/>
          </a:xfrm>
          <a:prstGeom prst="rect">
            <a:avLst/>
          </a:prstGeom>
        </p:spPr>
        <p:txBody>
          <a:bodyPr>
            <a:noAutofit/>
          </a:bodyPr>
          <a:lstStyle>
            <a:lvl1pPr marL="0" indent="0">
              <a:buNone/>
              <a:defRPr sz="900" b="0" i="0">
                <a:solidFill>
                  <a:schemeClr val="tx2"/>
                </a:solidFill>
                <a:latin typeface="Santander Headline" panose="020B0504020201020104" pitchFamily="34" charset="0"/>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Date</a:t>
            </a:r>
          </a:p>
        </p:txBody>
      </p:sp>
      <p:sp>
        <p:nvSpPr>
          <p:cNvPr id="13" name="Marcador de texto 16">
            <a:extLst>
              <a:ext uri="{FF2B5EF4-FFF2-40B4-BE49-F238E27FC236}">
                <a16:creationId xmlns:a16="http://schemas.microsoft.com/office/drawing/2014/main" id="{E164313B-9A74-26A2-012F-57905EEEDFF5}"/>
              </a:ext>
            </a:extLst>
          </p:cNvPr>
          <p:cNvSpPr>
            <a:spLocks noGrp="1"/>
          </p:cNvSpPr>
          <p:nvPr>
            <p:ph type="body" sz="quarter" idx="15" hasCustomPrompt="1"/>
          </p:nvPr>
        </p:nvSpPr>
        <p:spPr>
          <a:xfrm>
            <a:off x="2717200" y="333651"/>
            <a:ext cx="1914177" cy="419100"/>
          </a:xfrm>
          <a:prstGeom prst="rect">
            <a:avLst/>
          </a:prstGeom>
        </p:spPr>
        <p:txBody>
          <a:bodyPr>
            <a:noAutofit/>
          </a:bodyPr>
          <a:lstStyle>
            <a:lvl1pPr marL="0" indent="0">
              <a:buNone/>
              <a:defRPr sz="900" b="0" i="0">
                <a:solidFill>
                  <a:schemeClr val="tx2"/>
                </a:solidFill>
                <a:latin typeface="Santander Headline" panose="020B0504020201020104" pitchFamily="34" charset="0"/>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Department</a:t>
            </a:r>
          </a:p>
        </p:txBody>
      </p:sp>
      <p:sp>
        <p:nvSpPr>
          <p:cNvPr id="3" name="Título 1">
            <a:extLst>
              <a:ext uri="{FF2B5EF4-FFF2-40B4-BE49-F238E27FC236}">
                <a16:creationId xmlns:a16="http://schemas.microsoft.com/office/drawing/2014/main" id="{F1AFB3E3-122F-7B2C-84A6-34479343AF49}"/>
              </a:ext>
            </a:extLst>
          </p:cNvPr>
          <p:cNvSpPr>
            <a:spLocks noGrp="1"/>
          </p:cNvSpPr>
          <p:nvPr>
            <p:ph type="ctrTitle"/>
          </p:nvPr>
        </p:nvSpPr>
        <p:spPr>
          <a:xfrm>
            <a:off x="660329" y="1543186"/>
            <a:ext cx="4937184" cy="1407004"/>
          </a:xfrm>
          <a:prstGeom prst="rect">
            <a:avLst/>
          </a:prstGeom>
        </p:spPr>
        <p:txBody>
          <a:bodyPr anchor="t">
            <a:normAutofit/>
          </a:bodyPr>
          <a:lstStyle>
            <a:lvl1pPr algn="l">
              <a:lnSpc>
                <a:spcPct val="90000"/>
              </a:lnSpc>
              <a:defRPr sz="4000" b="0" i="0">
                <a:solidFill>
                  <a:srgbClr val="EC0000"/>
                </a:solidFill>
                <a:latin typeface="Santander Headline" panose="020B0504020201020104" pitchFamily="34" charset="0"/>
                <a:cs typeface="Santander Headline" panose="020B0504020201020104" pitchFamily="34" charset="0"/>
              </a:defRPr>
            </a:lvl1pPr>
          </a:lstStyle>
          <a:p>
            <a:r>
              <a:rPr lang="en-US"/>
              <a:t>Click to edit Master title style</a:t>
            </a:r>
            <a:endParaRPr lang="es-ES"/>
          </a:p>
        </p:txBody>
      </p:sp>
      <p:sp>
        <p:nvSpPr>
          <p:cNvPr id="5" name="Subtítulo 2">
            <a:extLst>
              <a:ext uri="{FF2B5EF4-FFF2-40B4-BE49-F238E27FC236}">
                <a16:creationId xmlns:a16="http://schemas.microsoft.com/office/drawing/2014/main" id="{491C0D14-5274-5B13-2A0D-E058A717D25F}"/>
              </a:ext>
            </a:extLst>
          </p:cNvPr>
          <p:cNvSpPr>
            <a:spLocks noGrp="1"/>
          </p:cNvSpPr>
          <p:nvPr>
            <p:ph type="subTitle" idx="1"/>
          </p:nvPr>
        </p:nvSpPr>
        <p:spPr>
          <a:xfrm>
            <a:off x="663204" y="2959841"/>
            <a:ext cx="4934309" cy="2436454"/>
          </a:xfrm>
          <a:prstGeom prst="rect">
            <a:avLst/>
          </a:prstGeom>
        </p:spPr>
        <p:txBody>
          <a:bodyPr>
            <a:noAutofit/>
          </a:bodyPr>
          <a:lstStyle>
            <a:lvl1pPr marL="0" indent="0" algn="l">
              <a:lnSpc>
                <a:spcPct val="100000"/>
              </a:lnSpc>
              <a:spcBef>
                <a:spcPts val="0"/>
              </a:spcBef>
              <a:spcAft>
                <a:spcPts val="1200"/>
              </a:spcAft>
              <a:buNone/>
              <a:defRPr sz="2000">
                <a:solidFill>
                  <a:schemeClr val="tx2"/>
                </a:solidFill>
                <a:latin typeface="Santander Headline" panose="020B050402020102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 name="Gráfico 1">
            <a:extLst>
              <a:ext uri="{FF2B5EF4-FFF2-40B4-BE49-F238E27FC236}">
                <a16:creationId xmlns:a16="http://schemas.microsoft.com/office/drawing/2014/main" id="{AF6C5CD0-F7DF-3BCF-8A92-9127D4A33192}"/>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751850" y="5860646"/>
            <a:ext cx="2201021" cy="413314"/>
          </a:xfrm>
          <a:prstGeom prst="rect">
            <a:avLst/>
          </a:prstGeom>
        </p:spPr>
      </p:pic>
      <p:sp>
        <p:nvSpPr>
          <p:cNvPr id="4" name="TextBox 20">
            <a:extLst>
              <a:ext uri="{FF2B5EF4-FFF2-40B4-BE49-F238E27FC236}">
                <a16:creationId xmlns:a16="http://schemas.microsoft.com/office/drawing/2014/main" id="{2BC5A094-F52B-D930-5333-EFE00CBFC2D9}"/>
              </a:ext>
            </a:extLst>
          </p:cNvPr>
          <p:cNvSpPr txBox="1"/>
          <p:nvPr userDrawn="1">
            <p:custDataLst>
              <p:tags r:id="rId1"/>
            </p:custDataLst>
          </p:nvPr>
        </p:nvSpPr>
        <p:spPr>
          <a:xfrm>
            <a:off x="10824088" y="130264"/>
            <a:ext cx="1189498" cy="161583"/>
          </a:xfrm>
          <a:prstGeom prst="rect">
            <a:avLst/>
          </a:prstGeom>
        </p:spPr>
        <p:txBody>
          <a:bodyPr wrap="square" lIns="0" tIns="0" rIns="0" bIns="0">
            <a:spAutoFit/>
          </a:bodyPr>
          <a:lstStyle/>
          <a:p>
            <a:pPr algn="r"/>
            <a:r>
              <a:rPr lang="en-GB" sz="1050" kern="1200">
                <a:solidFill>
                  <a:schemeClr val="tx2"/>
                </a:solidFill>
                <a:latin typeface="Santander Headline" panose="020B0504020201020104" pitchFamily="34" charset="0"/>
                <a:ea typeface="+mn-ea"/>
                <a:cs typeface="+mn-cs"/>
              </a:rPr>
              <a:t>Confidential</a:t>
            </a:r>
          </a:p>
        </p:txBody>
      </p:sp>
    </p:spTree>
    <p:extLst>
      <p:ext uri="{BB962C8B-B14F-4D97-AF65-F5344CB8AC3E}">
        <p14:creationId xmlns:p14="http://schemas.microsoft.com/office/powerpoint/2010/main" val="29134653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9E3A2-F69A-D56A-3D90-7DB9E6F44B9D}"/>
              </a:ext>
            </a:extLst>
          </p:cNvPr>
          <p:cNvSpPr>
            <a:spLocks noGrp="1"/>
          </p:cNvSpPr>
          <p:nvPr>
            <p:ph type="title"/>
          </p:nvPr>
        </p:nvSpPr>
        <p:spPr/>
        <p:txBody>
          <a:bodyPr/>
          <a:lstStyle/>
          <a:p>
            <a:r>
              <a:rPr lang="en-US"/>
              <a:t>Click to edit Master title style</a:t>
            </a:r>
            <a:endParaRPr lang="es-ES"/>
          </a:p>
        </p:txBody>
      </p:sp>
      <p:sp>
        <p:nvSpPr>
          <p:cNvPr id="3" name="Content Placeholder 2">
            <a:extLst>
              <a:ext uri="{FF2B5EF4-FFF2-40B4-BE49-F238E27FC236}">
                <a16:creationId xmlns:a16="http://schemas.microsoft.com/office/drawing/2014/main" id="{6EFEF3C4-FF9F-CA83-B19E-8DE34A433C3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Content Placeholder 3">
            <a:extLst>
              <a:ext uri="{FF2B5EF4-FFF2-40B4-BE49-F238E27FC236}">
                <a16:creationId xmlns:a16="http://schemas.microsoft.com/office/drawing/2014/main" id="{39D60765-3751-B812-92B9-9294D24DE73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5" name="Date Placeholder 4">
            <a:extLst>
              <a:ext uri="{FF2B5EF4-FFF2-40B4-BE49-F238E27FC236}">
                <a16:creationId xmlns:a16="http://schemas.microsoft.com/office/drawing/2014/main" id="{5F867D29-5347-1BD9-9F45-1BC87F68D266}"/>
              </a:ext>
            </a:extLst>
          </p:cNvPr>
          <p:cNvSpPr>
            <a:spLocks noGrp="1"/>
          </p:cNvSpPr>
          <p:nvPr>
            <p:ph type="dt" sz="half" idx="10"/>
          </p:nvPr>
        </p:nvSpPr>
        <p:spPr/>
        <p:txBody>
          <a:bodyPr/>
          <a:lstStyle/>
          <a:p>
            <a:fld id="{2936A72B-74AE-4828-B363-D54F043C4597}" type="datetimeFigureOut">
              <a:rPr lang="es-ES" smtClean="0"/>
              <a:t>03/12/2025</a:t>
            </a:fld>
            <a:endParaRPr lang="es-ES"/>
          </a:p>
        </p:txBody>
      </p:sp>
      <p:sp>
        <p:nvSpPr>
          <p:cNvPr id="6" name="Footer Placeholder 5">
            <a:extLst>
              <a:ext uri="{FF2B5EF4-FFF2-40B4-BE49-F238E27FC236}">
                <a16:creationId xmlns:a16="http://schemas.microsoft.com/office/drawing/2014/main" id="{45699C08-C85F-9766-D263-B2E52C4A4447}"/>
              </a:ext>
            </a:extLst>
          </p:cNvPr>
          <p:cNvSpPr>
            <a:spLocks noGrp="1"/>
          </p:cNvSpPr>
          <p:nvPr>
            <p:ph type="ftr" sz="quarter" idx="11"/>
          </p:nvPr>
        </p:nvSpPr>
        <p:spPr/>
        <p:txBody>
          <a:bodyPr/>
          <a:lstStyle/>
          <a:p>
            <a:endParaRPr lang="es-ES"/>
          </a:p>
        </p:txBody>
      </p:sp>
      <p:sp>
        <p:nvSpPr>
          <p:cNvPr id="7" name="Slide Number Placeholder 6">
            <a:extLst>
              <a:ext uri="{FF2B5EF4-FFF2-40B4-BE49-F238E27FC236}">
                <a16:creationId xmlns:a16="http://schemas.microsoft.com/office/drawing/2014/main" id="{F2E4FE1C-5BCD-E224-BD1B-A894F864AF53}"/>
              </a:ext>
            </a:extLst>
          </p:cNvPr>
          <p:cNvSpPr>
            <a:spLocks noGrp="1"/>
          </p:cNvSpPr>
          <p:nvPr>
            <p:ph type="sldNum" sz="quarter" idx="12"/>
          </p:nvPr>
        </p:nvSpPr>
        <p:spPr/>
        <p:txBody>
          <a:bodyPr/>
          <a:lstStyle/>
          <a:p>
            <a:fld id="{9CC58EAA-8CE3-4B47-B600-46B910A49F95}" type="slidenum">
              <a:rPr lang="es-ES" smtClean="0"/>
              <a:t>‹#›</a:t>
            </a:fld>
            <a:endParaRPr lang="es-ES"/>
          </a:p>
        </p:txBody>
      </p:sp>
    </p:spTree>
    <p:extLst>
      <p:ext uri="{BB962C8B-B14F-4D97-AF65-F5344CB8AC3E}">
        <p14:creationId xmlns:p14="http://schemas.microsoft.com/office/powerpoint/2010/main" val="34045361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 Page Sand">
    <p:bg>
      <p:bgPr>
        <a:solidFill>
          <a:srgbClr val="E6DCD2"/>
        </a:solidFill>
        <a:effectLst/>
      </p:bgPr>
    </p:bg>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6E7FCD49-6A40-5509-A060-DDA7D90C6784}"/>
              </a:ext>
            </a:extLst>
          </p:cNvPr>
          <p:cNvSpPr/>
          <p:nvPr userDrawn="1"/>
        </p:nvSpPr>
        <p:spPr>
          <a:xfrm>
            <a:off x="-68752" y="1192762"/>
            <a:ext cx="6164752" cy="5774776"/>
          </a:xfrm>
          <a:prstGeom prst="rect">
            <a:avLst/>
          </a:prstGeom>
          <a:gradFill>
            <a:gsLst>
              <a:gs pos="100000">
                <a:schemeClr val="bg1"/>
              </a:gs>
              <a:gs pos="63000">
                <a:schemeClr val="bg1">
                  <a:alpha val="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14" name="Título 1">
            <a:extLst>
              <a:ext uri="{FF2B5EF4-FFF2-40B4-BE49-F238E27FC236}">
                <a16:creationId xmlns:a16="http://schemas.microsoft.com/office/drawing/2014/main" id="{E6A2EDE0-A1AB-DE03-E808-263885D8BDED}"/>
              </a:ext>
            </a:extLst>
          </p:cNvPr>
          <p:cNvSpPr>
            <a:spLocks noGrp="1"/>
          </p:cNvSpPr>
          <p:nvPr>
            <p:ph type="ctrTitle"/>
          </p:nvPr>
        </p:nvSpPr>
        <p:spPr>
          <a:xfrm>
            <a:off x="660329" y="1543186"/>
            <a:ext cx="4937184" cy="1407004"/>
          </a:xfrm>
          <a:prstGeom prst="rect">
            <a:avLst/>
          </a:prstGeom>
        </p:spPr>
        <p:txBody>
          <a:bodyPr anchor="t">
            <a:normAutofit/>
          </a:bodyPr>
          <a:lstStyle>
            <a:lvl1pPr algn="l">
              <a:lnSpc>
                <a:spcPct val="90000"/>
              </a:lnSpc>
              <a:defRPr sz="4000" b="0" i="0">
                <a:solidFill>
                  <a:srgbClr val="EC0000"/>
                </a:solidFill>
                <a:latin typeface="Santander Headline" panose="020B0504020201020104" pitchFamily="34" charset="0"/>
                <a:cs typeface="Santander Headline" panose="020B0504020201020104" pitchFamily="34" charset="0"/>
              </a:defRPr>
            </a:lvl1pPr>
          </a:lstStyle>
          <a:p>
            <a:r>
              <a:rPr lang="en-US"/>
              <a:t>Click to edit Master title style</a:t>
            </a:r>
            <a:endParaRPr lang="es-ES"/>
          </a:p>
        </p:txBody>
      </p:sp>
      <p:sp>
        <p:nvSpPr>
          <p:cNvPr id="15" name="Subtítulo 2">
            <a:extLst>
              <a:ext uri="{FF2B5EF4-FFF2-40B4-BE49-F238E27FC236}">
                <a16:creationId xmlns:a16="http://schemas.microsoft.com/office/drawing/2014/main" id="{256405C8-42DD-6385-46DE-833F6A93175E}"/>
              </a:ext>
            </a:extLst>
          </p:cNvPr>
          <p:cNvSpPr>
            <a:spLocks noGrp="1"/>
          </p:cNvSpPr>
          <p:nvPr>
            <p:ph type="subTitle" idx="1"/>
          </p:nvPr>
        </p:nvSpPr>
        <p:spPr>
          <a:xfrm>
            <a:off x="663204" y="2959841"/>
            <a:ext cx="4934309" cy="2436454"/>
          </a:xfrm>
          <a:prstGeom prst="rect">
            <a:avLst/>
          </a:prstGeom>
        </p:spPr>
        <p:txBody>
          <a:bodyPr>
            <a:noAutofit/>
          </a:bodyPr>
          <a:lstStyle>
            <a:lvl1pPr marL="0" indent="0" algn="l">
              <a:lnSpc>
                <a:spcPct val="100000"/>
              </a:lnSpc>
              <a:spcBef>
                <a:spcPts val="0"/>
              </a:spcBef>
              <a:spcAft>
                <a:spcPts val="1200"/>
              </a:spcAft>
              <a:buNone/>
              <a:defRPr sz="2000">
                <a:solidFill>
                  <a:schemeClr val="tx2"/>
                </a:solidFill>
                <a:latin typeface="Santander Headline" panose="020B050402020102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Marcador de texto 16">
            <a:extLst>
              <a:ext uri="{FF2B5EF4-FFF2-40B4-BE49-F238E27FC236}">
                <a16:creationId xmlns:a16="http://schemas.microsoft.com/office/drawing/2014/main" id="{EEFA36CD-F2CA-E34B-F969-3BA11DCB3880}"/>
              </a:ext>
            </a:extLst>
          </p:cNvPr>
          <p:cNvSpPr>
            <a:spLocks noGrp="1"/>
          </p:cNvSpPr>
          <p:nvPr>
            <p:ph type="body" sz="quarter" idx="14" hasCustomPrompt="1"/>
          </p:nvPr>
        </p:nvSpPr>
        <p:spPr>
          <a:xfrm>
            <a:off x="668706" y="333651"/>
            <a:ext cx="1914177" cy="419100"/>
          </a:xfrm>
          <a:prstGeom prst="rect">
            <a:avLst/>
          </a:prstGeom>
        </p:spPr>
        <p:txBody>
          <a:bodyPr>
            <a:noAutofit/>
          </a:bodyPr>
          <a:lstStyle>
            <a:lvl1pPr marL="0" indent="0">
              <a:buNone/>
              <a:defRPr sz="900" b="0" i="0">
                <a:solidFill>
                  <a:schemeClr val="tx2"/>
                </a:solidFill>
                <a:latin typeface="Santander Headline" panose="020B0504020201020104" pitchFamily="34" charset="0"/>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Date</a:t>
            </a:r>
          </a:p>
        </p:txBody>
      </p:sp>
      <p:sp>
        <p:nvSpPr>
          <p:cNvPr id="11" name="Marcador de texto 16">
            <a:extLst>
              <a:ext uri="{FF2B5EF4-FFF2-40B4-BE49-F238E27FC236}">
                <a16:creationId xmlns:a16="http://schemas.microsoft.com/office/drawing/2014/main" id="{BCB53EDF-CF5B-F317-ACA8-39B0B96DAE73}"/>
              </a:ext>
            </a:extLst>
          </p:cNvPr>
          <p:cNvSpPr>
            <a:spLocks noGrp="1"/>
          </p:cNvSpPr>
          <p:nvPr>
            <p:ph type="body" sz="quarter" idx="15" hasCustomPrompt="1"/>
          </p:nvPr>
        </p:nvSpPr>
        <p:spPr>
          <a:xfrm>
            <a:off x="2717200" y="333651"/>
            <a:ext cx="1914177" cy="419100"/>
          </a:xfrm>
          <a:prstGeom prst="rect">
            <a:avLst/>
          </a:prstGeom>
        </p:spPr>
        <p:txBody>
          <a:bodyPr>
            <a:noAutofit/>
          </a:bodyPr>
          <a:lstStyle>
            <a:lvl1pPr marL="0" indent="0">
              <a:buNone/>
              <a:defRPr sz="900" b="0" i="0">
                <a:solidFill>
                  <a:schemeClr val="tx2"/>
                </a:solidFill>
                <a:latin typeface="Santander Headline" panose="020B0504020201020104" pitchFamily="34" charset="0"/>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Department</a:t>
            </a:r>
          </a:p>
        </p:txBody>
      </p:sp>
      <p:pic>
        <p:nvPicPr>
          <p:cNvPr id="7" name="Gráfico 6">
            <a:extLst>
              <a:ext uri="{FF2B5EF4-FFF2-40B4-BE49-F238E27FC236}">
                <a16:creationId xmlns:a16="http://schemas.microsoft.com/office/drawing/2014/main" id="{CAB2997E-98EB-C6F9-5680-8F114F37C1B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1850" y="5860646"/>
            <a:ext cx="2201021" cy="413314"/>
          </a:xfrm>
          <a:prstGeom prst="rect">
            <a:avLst/>
          </a:prstGeom>
        </p:spPr>
      </p:pic>
    </p:spTree>
    <p:extLst>
      <p:ext uri="{BB962C8B-B14F-4D97-AF65-F5344CB8AC3E}">
        <p14:creationId xmlns:p14="http://schemas.microsoft.com/office/powerpoint/2010/main" val="42283206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Page Sand background">
    <p:bg>
      <p:bgPr>
        <a:solidFill>
          <a:srgbClr val="E6DCD2"/>
        </a:solidFill>
        <a:effectLst/>
      </p:bgPr>
    </p:bg>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6E7FCD49-6A40-5509-A060-DDA7D90C6784}"/>
              </a:ext>
            </a:extLst>
          </p:cNvPr>
          <p:cNvSpPr/>
          <p:nvPr userDrawn="1"/>
        </p:nvSpPr>
        <p:spPr>
          <a:xfrm>
            <a:off x="-68752" y="1192762"/>
            <a:ext cx="6164752" cy="5774776"/>
          </a:xfrm>
          <a:prstGeom prst="rect">
            <a:avLst/>
          </a:prstGeom>
          <a:gradFill>
            <a:gsLst>
              <a:gs pos="100000">
                <a:schemeClr val="bg1"/>
              </a:gs>
              <a:gs pos="63000">
                <a:schemeClr val="bg1">
                  <a:alpha val="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14" name="Título 1">
            <a:extLst>
              <a:ext uri="{FF2B5EF4-FFF2-40B4-BE49-F238E27FC236}">
                <a16:creationId xmlns:a16="http://schemas.microsoft.com/office/drawing/2014/main" id="{E6A2EDE0-A1AB-DE03-E808-263885D8BDED}"/>
              </a:ext>
            </a:extLst>
          </p:cNvPr>
          <p:cNvSpPr>
            <a:spLocks noGrp="1"/>
          </p:cNvSpPr>
          <p:nvPr>
            <p:ph type="ctrTitle"/>
          </p:nvPr>
        </p:nvSpPr>
        <p:spPr>
          <a:xfrm>
            <a:off x="660329" y="1543186"/>
            <a:ext cx="4937184" cy="1407004"/>
          </a:xfrm>
          <a:prstGeom prst="rect">
            <a:avLst/>
          </a:prstGeom>
        </p:spPr>
        <p:txBody>
          <a:bodyPr anchor="t">
            <a:normAutofit/>
          </a:bodyPr>
          <a:lstStyle>
            <a:lvl1pPr algn="l">
              <a:lnSpc>
                <a:spcPct val="90000"/>
              </a:lnSpc>
              <a:defRPr sz="4000" b="0" i="0">
                <a:solidFill>
                  <a:srgbClr val="EC0000"/>
                </a:solidFill>
                <a:latin typeface="Santander Headline" panose="020B0504020201020104" pitchFamily="34" charset="0"/>
                <a:cs typeface="Santander Headline" panose="020B0504020201020104" pitchFamily="34" charset="0"/>
              </a:defRPr>
            </a:lvl1pPr>
          </a:lstStyle>
          <a:p>
            <a:r>
              <a:rPr lang="en-US"/>
              <a:t>Click to edit Master title style</a:t>
            </a:r>
            <a:endParaRPr lang="es-ES"/>
          </a:p>
        </p:txBody>
      </p:sp>
      <p:sp>
        <p:nvSpPr>
          <p:cNvPr id="15" name="Subtítulo 2">
            <a:extLst>
              <a:ext uri="{FF2B5EF4-FFF2-40B4-BE49-F238E27FC236}">
                <a16:creationId xmlns:a16="http://schemas.microsoft.com/office/drawing/2014/main" id="{256405C8-42DD-6385-46DE-833F6A93175E}"/>
              </a:ext>
            </a:extLst>
          </p:cNvPr>
          <p:cNvSpPr>
            <a:spLocks noGrp="1"/>
          </p:cNvSpPr>
          <p:nvPr>
            <p:ph type="subTitle" idx="1"/>
          </p:nvPr>
        </p:nvSpPr>
        <p:spPr>
          <a:xfrm>
            <a:off x="663204" y="2959841"/>
            <a:ext cx="4934309" cy="2436454"/>
          </a:xfrm>
          <a:prstGeom prst="rect">
            <a:avLst/>
          </a:prstGeom>
        </p:spPr>
        <p:txBody>
          <a:bodyPr>
            <a:noAutofit/>
          </a:bodyPr>
          <a:lstStyle>
            <a:lvl1pPr marL="0" indent="0" algn="l">
              <a:lnSpc>
                <a:spcPct val="100000"/>
              </a:lnSpc>
              <a:spcBef>
                <a:spcPts val="0"/>
              </a:spcBef>
              <a:spcAft>
                <a:spcPts val="1200"/>
              </a:spcAft>
              <a:buNone/>
              <a:defRPr sz="2000">
                <a:solidFill>
                  <a:schemeClr val="tx2"/>
                </a:solidFill>
                <a:latin typeface="Santander Headline" panose="020B050402020102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Marcador de posición de imagen 5">
            <a:extLst>
              <a:ext uri="{FF2B5EF4-FFF2-40B4-BE49-F238E27FC236}">
                <a16:creationId xmlns:a16="http://schemas.microsoft.com/office/drawing/2014/main" id="{97AEF06D-5C00-FEF4-98F1-1784152DA56A}"/>
              </a:ext>
            </a:extLst>
          </p:cNvPr>
          <p:cNvSpPr>
            <a:spLocks noGrp="1"/>
          </p:cNvSpPr>
          <p:nvPr>
            <p:ph type="pic" sz="quarter" idx="10"/>
          </p:nvPr>
        </p:nvSpPr>
        <p:spPr>
          <a:xfrm>
            <a:off x="7561263" y="0"/>
            <a:ext cx="4630737" cy="6858000"/>
          </a:xfrm>
          <a:prstGeom prst="rect">
            <a:avLst/>
          </a:prstGeom>
          <a:solidFill>
            <a:schemeClr val="bg1"/>
          </a:solidFill>
        </p:spPr>
        <p:txBody>
          <a:bodyPr/>
          <a:lstStyle>
            <a:lvl1pPr marL="0" indent="0" algn="ctr">
              <a:buNone/>
              <a:defRPr sz="1800">
                <a:latin typeface="Santander Headline" panose="020B0504020201020104" pitchFamily="34" charset="0"/>
              </a:defRPr>
            </a:lvl1pPr>
          </a:lstStyle>
          <a:p>
            <a:endParaRPr lang="es-ES"/>
          </a:p>
        </p:txBody>
      </p:sp>
      <p:sp>
        <p:nvSpPr>
          <p:cNvPr id="10" name="Marcador de texto 16">
            <a:extLst>
              <a:ext uri="{FF2B5EF4-FFF2-40B4-BE49-F238E27FC236}">
                <a16:creationId xmlns:a16="http://schemas.microsoft.com/office/drawing/2014/main" id="{EEFA36CD-F2CA-E34B-F969-3BA11DCB3880}"/>
              </a:ext>
            </a:extLst>
          </p:cNvPr>
          <p:cNvSpPr>
            <a:spLocks noGrp="1"/>
          </p:cNvSpPr>
          <p:nvPr>
            <p:ph type="body" sz="quarter" idx="14" hasCustomPrompt="1"/>
          </p:nvPr>
        </p:nvSpPr>
        <p:spPr>
          <a:xfrm>
            <a:off x="668706" y="333651"/>
            <a:ext cx="1914177" cy="419100"/>
          </a:xfrm>
          <a:prstGeom prst="rect">
            <a:avLst/>
          </a:prstGeom>
        </p:spPr>
        <p:txBody>
          <a:bodyPr>
            <a:noAutofit/>
          </a:bodyPr>
          <a:lstStyle>
            <a:lvl1pPr marL="0" indent="0">
              <a:buNone/>
              <a:defRPr sz="900" b="0" i="0">
                <a:solidFill>
                  <a:schemeClr val="tx2"/>
                </a:solidFill>
                <a:latin typeface="Santander Headline" panose="020B0504020201020104" pitchFamily="34" charset="0"/>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Date</a:t>
            </a:r>
          </a:p>
        </p:txBody>
      </p:sp>
      <p:sp>
        <p:nvSpPr>
          <p:cNvPr id="11" name="Marcador de texto 16">
            <a:extLst>
              <a:ext uri="{FF2B5EF4-FFF2-40B4-BE49-F238E27FC236}">
                <a16:creationId xmlns:a16="http://schemas.microsoft.com/office/drawing/2014/main" id="{BCB53EDF-CF5B-F317-ACA8-39B0B96DAE73}"/>
              </a:ext>
            </a:extLst>
          </p:cNvPr>
          <p:cNvSpPr>
            <a:spLocks noGrp="1"/>
          </p:cNvSpPr>
          <p:nvPr>
            <p:ph type="body" sz="quarter" idx="15" hasCustomPrompt="1"/>
          </p:nvPr>
        </p:nvSpPr>
        <p:spPr>
          <a:xfrm>
            <a:off x="2717200" y="333651"/>
            <a:ext cx="1914177" cy="419100"/>
          </a:xfrm>
          <a:prstGeom prst="rect">
            <a:avLst/>
          </a:prstGeom>
        </p:spPr>
        <p:txBody>
          <a:bodyPr>
            <a:noAutofit/>
          </a:bodyPr>
          <a:lstStyle>
            <a:lvl1pPr marL="0" indent="0">
              <a:buNone/>
              <a:defRPr sz="900" b="0" i="0">
                <a:solidFill>
                  <a:schemeClr val="tx2"/>
                </a:solidFill>
                <a:latin typeface="Santander Headline" panose="020B0504020201020104" pitchFamily="34" charset="0"/>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Department</a:t>
            </a:r>
          </a:p>
        </p:txBody>
      </p:sp>
      <p:pic>
        <p:nvPicPr>
          <p:cNvPr id="7" name="Gráfico 6">
            <a:extLst>
              <a:ext uri="{FF2B5EF4-FFF2-40B4-BE49-F238E27FC236}">
                <a16:creationId xmlns:a16="http://schemas.microsoft.com/office/drawing/2014/main" id="{CAB2997E-98EB-C6F9-5680-8F114F37C1B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1850" y="5860646"/>
            <a:ext cx="2201021" cy="413314"/>
          </a:xfrm>
          <a:prstGeom prst="rect">
            <a:avLst/>
          </a:prstGeom>
        </p:spPr>
      </p:pic>
      <p:sp>
        <p:nvSpPr>
          <p:cNvPr id="3" name="Text Placeholder 3">
            <a:extLst>
              <a:ext uri="{FF2B5EF4-FFF2-40B4-BE49-F238E27FC236}">
                <a16:creationId xmlns:a16="http://schemas.microsoft.com/office/drawing/2014/main" id="{30B244C7-709E-D37B-0CB2-84FA6A79D3AA}"/>
              </a:ext>
            </a:extLst>
          </p:cNvPr>
          <p:cNvSpPr>
            <a:spLocks noGrp="1"/>
          </p:cNvSpPr>
          <p:nvPr>
            <p:ph type="body" sz="quarter" idx="16"/>
          </p:nvPr>
        </p:nvSpPr>
        <p:spPr>
          <a:xfrm>
            <a:off x="10815678" y="89692"/>
            <a:ext cx="1285311" cy="281220"/>
          </a:xfrm>
          <a:prstGeom prst="rect">
            <a:avLst/>
          </a:prstGeo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sz="100">
                <a:solidFill>
                  <a:schemeClr val="bg1">
                    <a:alpha val="0"/>
                  </a:schemeClr>
                </a:solidFill>
              </a:defRPr>
            </a:lvl1pPr>
          </a:lstStyle>
          <a:p>
            <a:pPr lvl="0"/>
            <a:endParaRPr lang="en-GB"/>
          </a:p>
        </p:txBody>
      </p:sp>
    </p:spTree>
    <p:extLst>
      <p:ext uri="{BB962C8B-B14F-4D97-AF65-F5344CB8AC3E}">
        <p14:creationId xmlns:p14="http://schemas.microsoft.com/office/powerpoint/2010/main" val="25249448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Title Page Sand background">
    <p:bg>
      <p:bgPr>
        <a:solidFill>
          <a:srgbClr val="E6DCD2"/>
        </a:solidFill>
        <a:effectLst/>
      </p:bgPr>
    </p:bg>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6E7FCD49-6A40-5509-A060-DDA7D90C6784}"/>
              </a:ext>
            </a:extLst>
          </p:cNvPr>
          <p:cNvSpPr/>
          <p:nvPr userDrawn="1"/>
        </p:nvSpPr>
        <p:spPr>
          <a:xfrm>
            <a:off x="-68752" y="1192762"/>
            <a:ext cx="6164752" cy="5774776"/>
          </a:xfrm>
          <a:prstGeom prst="rect">
            <a:avLst/>
          </a:prstGeom>
          <a:gradFill>
            <a:gsLst>
              <a:gs pos="100000">
                <a:schemeClr val="bg1"/>
              </a:gs>
              <a:gs pos="63000">
                <a:schemeClr val="bg1">
                  <a:alpha val="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14" name="Título 1">
            <a:extLst>
              <a:ext uri="{FF2B5EF4-FFF2-40B4-BE49-F238E27FC236}">
                <a16:creationId xmlns:a16="http://schemas.microsoft.com/office/drawing/2014/main" id="{E6A2EDE0-A1AB-DE03-E808-263885D8BDED}"/>
              </a:ext>
            </a:extLst>
          </p:cNvPr>
          <p:cNvSpPr>
            <a:spLocks noGrp="1"/>
          </p:cNvSpPr>
          <p:nvPr>
            <p:ph type="ctrTitle"/>
          </p:nvPr>
        </p:nvSpPr>
        <p:spPr>
          <a:xfrm>
            <a:off x="660329" y="1543186"/>
            <a:ext cx="4937184" cy="1407004"/>
          </a:xfrm>
          <a:prstGeom prst="rect">
            <a:avLst/>
          </a:prstGeom>
        </p:spPr>
        <p:txBody>
          <a:bodyPr anchor="t">
            <a:normAutofit/>
          </a:bodyPr>
          <a:lstStyle>
            <a:lvl1pPr algn="l">
              <a:lnSpc>
                <a:spcPct val="90000"/>
              </a:lnSpc>
              <a:defRPr sz="4000" b="0" i="0">
                <a:solidFill>
                  <a:srgbClr val="EC0000"/>
                </a:solidFill>
                <a:latin typeface="Santander Headline" panose="020B0504020201020104" pitchFamily="34" charset="0"/>
                <a:cs typeface="Santander Headline" panose="020B0504020201020104" pitchFamily="34" charset="0"/>
              </a:defRPr>
            </a:lvl1pPr>
          </a:lstStyle>
          <a:p>
            <a:r>
              <a:rPr lang="en-US"/>
              <a:t>Click to edit Master title style</a:t>
            </a:r>
            <a:endParaRPr lang="es-ES"/>
          </a:p>
        </p:txBody>
      </p:sp>
      <p:sp>
        <p:nvSpPr>
          <p:cNvPr id="15" name="Subtítulo 2">
            <a:extLst>
              <a:ext uri="{FF2B5EF4-FFF2-40B4-BE49-F238E27FC236}">
                <a16:creationId xmlns:a16="http://schemas.microsoft.com/office/drawing/2014/main" id="{256405C8-42DD-6385-46DE-833F6A93175E}"/>
              </a:ext>
            </a:extLst>
          </p:cNvPr>
          <p:cNvSpPr>
            <a:spLocks noGrp="1"/>
          </p:cNvSpPr>
          <p:nvPr>
            <p:ph type="subTitle" idx="1"/>
          </p:nvPr>
        </p:nvSpPr>
        <p:spPr>
          <a:xfrm>
            <a:off x="663204" y="2959841"/>
            <a:ext cx="4934309" cy="2436454"/>
          </a:xfrm>
          <a:prstGeom prst="rect">
            <a:avLst/>
          </a:prstGeom>
        </p:spPr>
        <p:txBody>
          <a:bodyPr>
            <a:noAutofit/>
          </a:bodyPr>
          <a:lstStyle>
            <a:lvl1pPr marL="0" indent="0" algn="l">
              <a:lnSpc>
                <a:spcPct val="100000"/>
              </a:lnSpc>
              <a:spcBef>
                <a:spcPts val="0"/>
              </a:spcBef>
              <a:spcAft>
                <a:spcPts val="1200"/>
              </a:spcAft>
              <a:buNone/>
              <a:defRPr sz="2000">
                <a:solidFill>
                  <a:schemeClr val="tx2"/>
                </a:solidFill>
                <a:latin typeface="Santander Headline" panose="020B050402020102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Marcador de posición de imagen 5">
            <a:extLst>
              <a:ext uri="{FF2B5EF4-FFF2-40B4-BE49-F238E27FC236}">
                <a16:creationId xmlns:a16="http://schemas.microsoft.com/office/drawing/2014/main" id="{97AEF06D-5C00-FEF4-98F1-1784152DA56A}"/>
              </a:ext>
            </a:extLst>
          </p:cNvPr>
          <p:cNvSpPr>
            <a:spLocks noGrp="1"/>
          </p:cNvSpPr>
          <p:nvPr>
            <p:ph type="pic" sz="quarter" idx="10"/>
          </p:nvPr>
        </p:nvSpPr>
        <p:spPr>
          <a:xfrm>
            <a:off x="7561263" y="0"/>
            <a:ext cx="4630737" cy="6858000"/>
          </a:xfrm>
          <a:prstGeom prst="rect">
            <a:avLst/>
          </a:prstGeom>
          <a:solidFill>
            <a:schemeClr val="bg1"/>
          </a:solidFill>
        </p:spPr>
        <p:txBody>
          <a:bodyPr/>
          <a:lstStyle>
            <a:lvl1pPr marL="0" indent="0" algn="ctr">
              <a:buNone/>
              <a:defRPr sz="1800">
                <a:latin typeface="Santander Headline" panose="020B0504020201020104" pitchFamily="34" charset="0"/>
              </a:defRPr>
            </a:lvl1pPr>
          </a:lstStyle>
          <a:p>
            <a:endParaRPr lang="es-ES"/>
          </a:p>
        </p:txBody>
      </p:sp>
      <p:sp>
        <p:nvSpPr>
          <p:cNvPr id="10" name="Marcador de texto 16">
            <a:extLst>
              <a:ext uri="{FF2B5EF4-FFF2-40B4-BE49-F238E27FC236}">
                <a16:creationId xmlns:a16="http://schemas.microsoft.com/office/drawing/2014/main" id="{EEFA36CD-F2CA-E34B-F969-3BA11DCB3880}"/>
              </a:ext>
            </a:extLst>
          </p:cNvPr>
          <p:cNvSpPr>
            <a:spLocks noGrp="1"/>
          </p:cNvSpPr>
          <p:nvPr>
            <p:ph type="body" sz="quarter" idx="14" hasCustomPrompt="1"/>
          </p:nvPr>
        </p:nvSpPr>
        <p:spPr>
          <a:xfrm>
            <a:off x="668706" y="333651"/>
            <a:ext cx="1914177" cy="419100"/>
          </a:xfrm>
          <a:prstGeom prst="rect">
            <a:avLst/>
          </a:prstGeom>
        </p:spPr>
        <p:txBody>
          <a:bodyPr>
            <a:noAutofit/>
          </a:bodyPr>
          <a:lstStyle>
            <a:lvl1pPr marL="0" indent="0">
              <a:buNone/>
              <a:defRPr sz="900" b="0" i="0">
                <a:solidFill>
                  <a:schemeClr val="tx2"/>
                </a:solidFill>
                <a:latin typeface="Santander Headline" panose="020B0504020201020104" pitchFamily="34" charset="0"/>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Date</a:t>
            </a:r>
          </a:p>
        </p:txBody>
      </p:sp>
      <p:sp>
        <p:nvSpPr>
          <p:cNvPr id="11" name="Marcador de texto 16">
            <a:extLst>
              <a:ext uri="{FF2B5EF4-FFF2-40B4-BE49-F238E27FC236}">
                <a16:creationId xmlns:a16="http://schemas.microsoft.com/office/drawing/2014/main" id="{BCB53EDF-CF5B-F317-ACA8-39B0B96DAE73}"/>
              </a:ext>
            </a:extLst>
          </p:cNvPr>
          <p:cNvSpPr>
            <a:spLocks noGrp="1"/>
          </p:cNvSpPr>
          <p:nvPr>
            <p:ph type="body" sz="quarter" idx="15" hasCustomPrompt="1"/>
          </p:nvPr>
        </p:nvSpPr>
        <p:spPr>
          <a:xfrm>
            <a:off x="2717200" y="333651"/>
            <a:ext cx="1914177" cy="419100"/>
          </a:xfrm>
          <a:prstGeom prst="rect">
            <a:avLst/>
          </a:prstGeom>
        </p:spPr>
        <p:txBody>
          <a:bodyPr>
            <a:noAutofit/>
          </a:bodyPr>
          <a:lstStyle>
            <a:lvl1pPr marL="0" indent="0">
              <a:buNone/>
              <a:defRPr sz="900" b="0" i="0">
                <a:solidFill>
                  <a:schemeClr val="tx2"/>
                </a:solidFill>
                <a:latin typeface="Santander Headline" panose="020B0504020201020104" pitchFamily="34" charset="0"/>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Department</a:t>
            </a:r>
          </a:p>
        </p:txBody>
      </p:sp>
      <p:pic>
        <p:nvPicPr>
          <p:cNvPr id="7" name="Gráfico 6">
            <a:extLst>
              <a:ext uri="{FF2B5EF4-FFF2-40B4-BE49-F238E27FC236}">
                <a16:creationId xmlns:a16="http://schemas.microsoft.com/office/drawing/2014/main" id="{CAB2997E-98EB-C6F9-5680-8F114F37C1B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1850" y="5860646"/>
            <a:ext cx="2201021" cy="413314"/>
          </a:xfrm>
          <a:prstGeom prst="rect">
            <a:avLst/>
          </a:prstGeom>
        </p:spPr>
      </p:pic>
      <p:sp>
        <p:nvSpPr>
          <p:cNvPr id="3" name="Text Placeholder 3">
            <a:extLst>
              <a:ext uri="{FF2B5EF4-FFF2-40B4-BE49-F238E27FC236}">
                <a16:creationId xmlns:a16="http://schemas.microsoft.com/office/drawing/2014/main" id="{3EA13F4F-9E0E-2AD2-536B-A53528F43C42}"/>
              </a:ext>
            </a:extLst>
          </p:cNvPr>
          <p:cNvSpPr>
            <a:spLocks noGrp="1"/>
          </p:cNvSpPr>
          <p:nvPr>
            <p:ph type="body" sz="quarter" idx="16"/>
          </p:nvPr>
        </p:nvSpPr>
        <p:spPr>
          <a:xfrm>
            <a:off x="10815678" y="89692"/>
            <a:ext cx="1285311" cy="281220"/>
          </a:xfrm>
          <a:prstGeom prst="rect">
            <a:avLst/>
          </a:prstGeom>
          <a:blipFill>
            <a:blip r:embed="rId4">
              <a:lum bright="100000"/>
              <a:extLst>
                <a:ext uri="{96DAC541-7B7A-43D3-8B79-37D633B846F1}">
                  <asvg:svgBlip xmlns:asvg="http://schemas.microsoft.com/office/drawing/2016/SVG/main" r:embed="rId5"/>
                </a:ext>
              </a:extLst>
            </a:blip>
            <a:stretch>
              <a:fillRect/>
            </a:stretch>
          </a:blipFill>
        </p:spPr>
        <p:txBody>
          <a:bodyPr/>
          <a:lstStyle>
            <a:lvl1pPr marL="0" indent="0">
              <a:buNone/>
              <a:defRPr sz="100">
                <a:solidFill>
                  <a:schemeClr val="bg1">
                    <a:alpha val="0"/>
                  </a:schemeClr>
                </a:solidFill>
              </a:defRPr>
            </a:lvl1pPr>
          </a:lstStyle>
          <a:p>
            <a:pPr lvl="0"/>
            <a:endParaRPr lang="en-GB"/>
          </a:p>
        </p:txBody>
      </p:sp>
    </p:spTree>
    <p:extLst>
      <p:ext uri="{BB962C8B-B14F-4D97-AF65-F5344CB8AC3E}">
        <p14:creationId xmlns:p14="http://schemas.microsoft.com/office/powerpoint/2010/main" val="4503158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Page Dark Burgundy">
    <p:bg>
      <p:bgPr>
        <a:solidFill>
          <a:srgbClr val="60001D"/>
        </a:solidFill>
        <a:effectLst/>
      </p:bgPr>
    </p:bg>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id="{31048942-BD81-DA25-C082-92FB5C98BD79}"/>
              </a:ext>
            </a:extLst>
          </p:cNvPr>
          <p:cNvSpPr/>
          <p:nvPr userDrawn="1"/>
        </p:nvSpPr>
        <p:spPr>
          <a:xfrm>
            <a:off x="-68752" y="1192762"/>
            <a:ext cx="6164752" cy="5774776"/>
          </a:xfrm>
          <a:prstGeom prst="rect">
            <a:avLst/>
          </a:prstGeom>
          <a:gradFill>
            <a:gsLst>
              <a:gs pos="100000">
                <a:srgbClr val="8C0014"/>
              </a:gs>
              <a:gs pos="63000">
                <a:srgbClr val="64001E">
                  <a:alpha val="0"/>
                </a:srgb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16" name="Título 1">
            <a:extLst>
              <a:ext uri="{FF2B5EF4-FFF2-40B4-BE49-F238E27FC236}">
                <a16:creationId xmlns:a16="http://schemas.microsoft.com/office/drawing/2014/main" id="{70FFC4F7-2BA8-8DD5-B689-3D8CE1E08E2E}"/>
              </a:ext>
            </a:extLst>
          </p:cNvPr>
          <p:cNvSpPr>
            <a:spLocks noGrp="1"/>
          </p:cNvSpPr>
          <p:nvPr>
            <p:ph type="ctrTitle"/>
          </p:nvPr>
        </p:nvSpPr>
        <p:spPr>
          <a:xfrm>
            <a:off x="660329" y="1543186"/>
            <a:ext cx="4937184" cy="1407004"/>
          </a:xfrm>
          <a:prstGeom prst="rect">
            <a:avLst/>
          </a:prstGeom>
        </p:spPr>
        <p:txBody>
          <a:bodyPr anchor="t">
            <a:normAutofit/>
          </a:bodyPr>
          <a:lstStyle>
            <a:lvl1pPr algn="l">
              <a:lnSpc>
                <a:spcPct val="90000"/>
              </a:lnSpc>
              <a:defRPr sz="4000" b="0" i="0">
                <a:solidFill>
                  <a:srgbClr val="CCB8A3"/>
                </a:solidFill>
                <a:latin typeface="Santander Headline" panose="020B0504020201020104" pitchFamily="34" charset="0"/>
                <a:cs typeface="Santander Headline" panose="020B0504020201020104" pitchFamily="34" charset="0"/>
              </a:defRPr>
            </a:lvl1pPr>
          </a:lstStyle>
          <a:p>
            <a:r>
              <a:rPr lang="en-US"/>
              <a:t>Click to edit Master title style</a:t>
            </a:r>
            <a:endParaRPr lang="es-ES"/>
          </a:p>
        </p:txBody>
      </p:sp>
      <p:sp>
        <p:nvSpPr>
          <p:cNvPr id="17" name="Subtítulo 2">
            <a:extLst>
              <a:ext uri="{FF2B5EF4-FFF2-40B4-BE49-F238E27FC236}">
                <a16:creationId xmlns:a16="http://schemas.microsoft.com/office/drawing/2014/main" id="{30B08BD3-848E-257A-2CE4-D93D0DE2607D}"/>
              </a:ext>
            </a:extLst>
          </p:cNvPr>
          <p:cNvSpPr>
            <a:spLocks noGrp="1"/>
          </p:cNvSpPr>
          <p:nvPr>
            <p:ph type="subTitle" idx="1"/>
          </p:nvPr>
        </p:nvSpPr>
        <p:spPr>
          <a:xfrm>
            <a:off x="663204" y="2959841"/>
            <a:ext cx="4934309" cy="2436454"/>
          </a:xfrm>
          <a:prstGeom prst="rect">
            <a:avLst/>
          </a:prstGeom>
        </p:spPr>
        <p:txBody>
          <a:bodyPr>
            <a:noAutofit/>
          </a:bodyPr>
          <a:lstStyle>
            <a:lvl1pPr marL="0" indent="0" algn="l">
              <a:lnSpc>
                <a:spcPct val="100000"/>
              </a:lnSpc>
              <a:spcBef>
                <a:spcPts val="0"/>
              </a:spcBef>
              <a:spcAft>
                <a:spcPts val="1200"/>
              </a:spcAft>
              <a:buNone/>
              <a:defRPr sz="2000">
                <a:solidFill>
                  <a:schemeClr val="bg1"/>
                </a:solidFill>
                <a:latin typeface="Santander Headline" panose="020B050402020102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Marcador de texto 16">
            <a:extLst>
              <a:ext uri="{FF2B5EF4-FFF2-40B4-BE49-F238E27FC236}">
                <a16:creationId xmlns:a16="http://schemas.microsoft.com/office/drawing/2014/main" id="{DE132505-5DC8-194E-9294-BAB9BF8A6E17}"/>
              </a:ext>
            </a:extLst>
          </p:cNvPr>
          <p:cNvSpPr>
            <a:spLocks noGrp="1"/>
          </p:cNvSpPr>
          <p:nvPr>
            <p:ph type="body" sz="quarter" idx="14" hasCustomPrompt="1"/>
          </p:nvPr>
        </p:nvSpPr>
        <p:spPr>
          <a:xfrm>
            <a:off x="668706" y="333651"/>
            <a:ext cx="1914177" cy="419100"/>
          </a:xfrm>
          <a:prstGeom prst="rect">
            <a:avLst/>
          </a:prstGeom>
        </p:spPr>
        <p:txBody>
          <a:bodyPr>
            <a:noAutofit/>
          </a:bodyPr>
          <a:lstStyle>
            <a:lvl1pPr marL="0" indent="0">
              <a:buNone/>
              <a:defRPr sz="900" b="0" i="0">
                <a:solidFill>
                  <a:schemeClr val="bg1"/>
                </a:solidFill>
                <a:latin typeface="Santander Headline" panose="020B0504020201020104" pitchFamily="34" charset="0"/>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Date</a:t>
            </a:r>
          </a:p>
        </p:txBody>
      </p:sp>
      <p:sp>
        <p:nvSpPr>
          <p:cNvPr id="5" name="Marcador de texto 16">
            <a:extLst>
              <a:ext uri="{FF2B5EF4-FFF2-40B4-BE49-F238E27FC236}">
                <a16:creationId xmlns:a16="http://schemas.microsoft.com/office/drawing/2014/main" id="{B5CE2F5B-D3C9-C9EC-C698-223D34FCC839}"/>
              </a:ext>
            </a:extLst>
          </p:cNvPr>
          <p:cNvSpPr>
            <a:spLocks noGrp="1"/>
          </p:cNvSpPr>
          <p:nvPr>
            <p:ph type="body" sz="quarter" idx="15" hasCustomPrompt="1"/>
          </p:nvPr>
        </p:nvSpPr>
        <p:spPr>
          <a:xfrm>
            <a:off x="2717200" y="333651"/>
            <a:ext cx="1914177" cy="419100"/>
          </a:xfrm>
          <a:prstGeom prst="rect">
            <a:avLst/>
          </a:prstGeom>
        </p:spPr>
        <p:txBody>
          <a:bodyPr>
            <a:noAutofit/>
          </a:bodyPr>
          <a:lstStyle>
            <a:lvl1pPr marL="0" indent="0">
              <a:buNone/>
              <a:defRPr sz="900" b="0" i="0">
                <a:solidFill>
                  <a:schemeClr val="bg1"/>
                </a:solidFill>
                <a:latin typeface="Santander Headline" panose="020B0504020201020104" pitchFamily="34" charset="0"/>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Department</a:t>
            </a:r>
          </a:p>
        </p:txBody>
      </p:sp>
      <p:pic>
        <p:nvPicPr>
          <p:cNvPr id="3" name="Gráfico 2">
            <a:extLst>
              <a:ext uri="{FF2B5EF4-FFF2-40B4-BE49-F238E27FC236}">
                <a16:creationId xmlns:a16="http://schemas.microsoft.com/office/drawing/2014/main" id="{D875A168-D039-23B1-3775-22D837881352}"/>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751850" y="5860646"/>
            <a:ext cx="2201021" cy="413314"/>
          </a:xfrm>
          <a:prstGeom prst="rect">
            <a:avLst/>
          </a:prstGeom>
        </p:spPr>
      </p:pic>
      <p:sp>
        <p:nvSpPr>
          <p:cNvPr id="9" name="TextBox 20">
            <a:extLst>
              <a:ext uri="{FF2B5EF4-FFF2-40B4-BE49-F238E27FC236}">
                <a16:creationId xmlns:a16="http://schemas.microsoft.com/office/drawing/2014/main" id="{586881A4-06CA-087A-9F8F-7842EB502338}"/>
              </a:ext>
            </a:extLst>
          </p:cNvPr>
          <p:cNvSpPr txBox="1"/>
          <p:nvPr userDrawn="1">
            <p:custDataLst>
              <p:tags r:id="rId1"/>
            </p:custDataLst>
          </p:nvPr>
        </p:nvSpPr>
        <p:spPr>
          <a:xfrm>
            <a:off x="10824088" y="130264"/>
            <a:ext cx="1189498" cy="161583"/>
          </a:xfrm>
          <a:prstGeom prst="rect">
            <a:avLst/>
          </a:prstGeom>
          <a:solidFill>
            <a:srgbClr val="60001D"/>
          </a:solidFill>
        </p:spPr>
        <p:txBody>
          <a:bodyPr wrap="square" lIns="0" tIns="0" rIns="0" bIns="0">
            <a:spAutoFit/>
          </a:bodyPr>
          <a:lstStyle/>
          <a:p>
            <a:pPr algn="r"/>
            <a:r>
              <a:rPr lang="en-GB" sz="1050" kern="1200">
                <a:solidFill>
                  <a:schemeClr val="bg1"/>
                </a:solidFill>
                <a:latin typeface="Santander Headline" panose="020B0504020201020104" pitchFamily="34" charset="0"/>
                <a:ea typeface="+mn-ea"/>
                <a:cs typeface="+mn-cs"/>
              </a:rPr>
              <a:t>Confidential</a:t>
            </a:r>
          </a:p>
        </p:txBody>
      </p:sp>
    </p:spTree>
    <p:extLst>
      <p:ext uri="{BB962C8B-B14F-4D97-AF65-F5344CB8AC3E}">
        <p14:creationId xmlns:p14="http://schemas.microsoft.com/office/powerpoint/2010/main" val="32171210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6_Title Page Dark Burgundy background">
    <p:bg>
      <p:bgPr>
        <a:solidFill>
          <a:srgbClr val="60001D"/>
        </a:solidFill>
        <a:effectLst/>
      </p:bgPr>
    </p:bg>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id="{31048942-BD81-DA25-C082-92FB5C98BD79}"/>
              </a:ext>
            </a:extLst>
          </p:cNvPr>
          <p:cNvSpPr/>
          <p:nvPr userDrawn="1"/>
        </p:nvSpPr>
        <p:spPr>
          <a:xfrm>
            <a:off x="-68752" y="1192762"/>
            <a:ext cx="6164752" cy="5774776"/>
          </a:xfrm>
          <a:prstGeom prst="rect">
            <a:avLst/>
          </a:prstGeom>
          <a:gradFill>
            <a:gsLst>
              <a:gs pos="100000">
                <a:srgbClr val="8C0014"/>
              </a:gs>
              <a:gs pos="63000">
                <a:srgbClr val="64001E">
                  <a:alpha val="0"/>
                </a:srgb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16" name="Título 1">
            <a:extLst>
              <a:ext uri="{FF2B5EF4-FFF2-40B4-BE49-F238E27FC236}">
                <a16:creationId xmlns:a16="http://schemas.microsoft.com/office/drawing/2014/main" id="{70FFC4F7-2BA8-8DD5-B689-3D8CE1E08E2E}"/>
              </a:ext>
            </a:extLst>
          </p:cNvPr>
          <p:cNvSpPr>
            <a:spLocks noGrp="1"/>
          </p:cNvSpPr>
          <p:nvPr>
            <p:ph type="ctrTitle"/>
          </p:nvPr>
        </p:nvSpPr>
        <p:spPr>
          <a:xfrm>
            <a:off x="660329" y="1543186"/>
            <a:ext cx="4937184" cy="1407004"/>
          </a:xfrm>
          <a:prstGeom prst="rect">
            <a:avLst/>
          </a:prstGeom>
        </p:spPr>
        <p:txBody>
          <a:bodyPr anchor="t">
            <a:normAutofit/>
          </a:bodyPr>
          <a:lstStyle>
            <a:lvl1pPr algn="l">
              <a:lnSpc>
                <a:spcPct val="90000"/>
              </a:lnSpc>
              <a:defRPr sz="4000" b="0" i="0">
                <a:solidFill>
                  <a:srgbClr val="CCB8A3"/>
                </a:solidFill>
                <a:latin typeface="Santander Headline" panose="020B0504020201020104" pitchFamily="34" charset="0"/>
                <a:cs typeface="Santander Headline" panose="020B0504020201020104" pitchFamily="34" charset="0"/>
              </a:defRPr>
            </a:lvl1pPr>
          </a:lstStyle>
          <a:p>
            <a:r>
              <a:rPr lang="en-US"/>
              <a:t>Click to edit Master title style</a:t>
            </a:r>
            <a:endParaRPr lang="es-ES"/>
          </a:p>
        </p:txBody>
      </p:sp>
      <p:sp>
        <p:nvSpPr>
          <p:cNvPr id="17" name="Subtítulo 2">
            <a:extLst>
              <a:ext uri="{FF2B5EF4-FFF2-40B4-BE49-F238E27FC236}">
                <a16:creationId xmlns:a16="http://schemas.microsoft.com/office/drawing/2014/main" id="{30B08BD3-848E-257A-2CE4-D93D0DE2607D}"/>
              </a:ext>
            </a:extLst>
          </p:cNvPr>
          <p:cNvSpPr>
            <a:spLocks noGrp="1"/>
          </p:cNvSpPr>
          <p:nvPr>
            <p:ph type="subTitle" idx="1"/>
          </p:nvPr>
        </p:nvSpPr>
        <p:spPr>
          <a:xfrm>
            <a:off x="663204" y="2959841"/>
            <a:ext cx="4934309" cy="2436454"/>
          </a:xfrm>
          <a:prstGeom prst="rect">
            <a:avLst/>
          </a:prstGeom>
        </p:spPr>
        <p:txBody>
          <a:bodyPr>
            <a:noAutofit/>
          </a:bodyPr>
          <a:lstStyle>
            <a:lvl1pPr marL="0" indent="0" algn="l">
              <a:lnSpc>
                <a:spcPct val="100000"/>
              </a:lnSpc>
              <a:spcBef>
                <a:spcPts val="0"/>
              </a:spcBef>
              <a:spcAft>
                <a:spcPts val="1200"/>
              </a:spcAft>
              <a:buNone/>
              <a:defRPr sz="2000">
                <a:solidFill>
                  <a:schemeClr val="bg1"/>
                </a:solidFill>
                <a:latin typeface="Santander Headline" panose="020B050402020102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Marcador de posición de imagen 5">
            <a:extLst>
              <a:ext uri="{FF2B5EF4-FFF2-40B4-BE49-F238E27FC236}">
                <a16:creationId xmlns:a16="http://schemas.microsoft.com/office/drawing/2014/main" id="{D55F607D-40B4-2784-A9E3-90967AFA5672}"/>
              </a:ext>
            </a:extLst>
          </p:cNvPr>
          <p:cNvSpPr>
            <a:spLocks noGrp="1"/>
          </p:cNvSpPr>
          <p:nvPr>
            <p:ph type="pic" sz="quarter" idx="10"/>
          </p:nvPr>
        </p:nvSpPr>
        <p:spPr>
          <a:xfrm>
            <a:off x="7561263" y="0"/>
            <a:ext cx="4630737" cy="6858000"/>
          </a:xfrm>
          <a:prstGeom prst="rect">
            <a:avLst/>
          </a:prstGeom>
          <a:solidFill>
            <a:schemeClr val="bg1"/>
          </a:solidFill>
        </p:spPr>
        <p:txBody>
          <a:bodyPr/>
          <a:lstStyle>
            <a:lvl1pPr marL="0" indent="0" algn="ctr">
              <a:buNone/>
              <a:defRPr sz="1800">
                <a:latin typeface="Santander Headline" panose="020B0504020201020104" pitchFamily="34" charset="0"/>
              </a:defRPr>
            </a:lvl1pPr>
          </a:lstStyle>
          <a:p>
            <a:endParaRPr lang="es-ES"/>
          </a:p>
        </p:txBody>
      </p:sp>
      <p:sp>
        <p:nvSpPr>
          <p:cNvPr id="4" name="Marcador de texto 16">
            <a:extLst>
              <a:ext uri="{FF2B5EF4-FFF2-40B4-BE49-F238E27FC236}">
                <a16:creationId xmlns:a16="http://schemas.microsoft.com/office/drawing/2014/main" id="{DE132505-5DC8-194E-9294-BAB9BF8A6E17}"/>
              </a:ext>
            </a:extLst>
          </p:cNvPr>
          <p:cNvSpPr>
            <a:spLocks noGrp="1"/>
          </p:cNvSpPr>
          <p:nvPr>
            <p:ph type="body" sz="quarter" idx="14" hasCustomPrompt="1"/>
          </p:nvPr>
        </p:nvSpPr>
        <p:spPr>
          <a:xfrm>
            <a:off x="668706" y="333651"/>
            <a:ext cx="1914177" cy="419100"/>
          </a:xfrm>
          <a:prstGeom prst="rect">
            <a:avLst/>
          </a:prstGeom>
        </p:spPr>
        <p:txBody>
          <a:bodyPr>
            <a:noAutofit/>
          </a:bodyPr>
          <a:lstStyle>
            <a:lvl1pPr marL="0" indent="0">
              <a:buNone/>
              <a:defRPr sz="900" b="0" i="0">
                <a:solidFill>
                  <a:schemeClr val="bg1"/>
                </a:solidFill>
                <a:latin typeface="Santander Headline" panose="020B0504020201020104" pitchFamily="34" charset="0"/>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Date</a:t>
            </a:r>
          </a:p>
        </p:txBody>
      </p:sp>
      <p:sp>
        <p:nvSpPr>
          <p:cNvPr id="5" name="Marcador de texto 16">
            <a:extLst>
              <a:ext uri="{FF2B5EF4-FFF2-40B4-BE49-F238E27FC236}">
                <a16:creationId xmlns:a16="http://schemas.microsoft.com/office/drawing/2014/main" id="{B5CE2F5B-D3C9-C9EC-C698-223D34FCC839}"/>
              </a:ext>
            </a:extLst>
          </p:cNvPr>
          <p:cNvSpPr>
            <a:spLocks noGrp="1"/>
          </p:cNvSpPr>
          <p:nvPr>
            <p:ph type="body" sz="quarter" idx="15" hasCustomPrompt="1"/>
          </p:nvPr>
        </p:nvSpPr>
        <p:spPr>
          <a:xfrm>
            <a:off x="2717200" y="333651"/>
            <a:ext cx="1914177" cy="419100"/>
          </a:xfrm>
          <a:prstGeom prst="rect">
            <a:avLst/>
          </a:prstGeom>
        </p:spPr>
        <p:txBody>
          <a:bodyPr>
            <a:noAutofit/>
          </a:bodyPr>
          <a:lstStyle>
            <a:lvl1pPr marL="0" indent="0">
              <a:buNone/>
              <a:defRPr sz="900" b="0" i="0">
                <a:solidFill>
                  <a:schemeClr val="bg1"/>
                </a:solidFill>
                <a:latin typeface="Santander Headline" panose="020B0504020201020104" pitchFamily="34" charset="0"/>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Department</a:t>
            </a:r>
          </a:p>
        </p:txBody>
      </p:sp>
      <p:pic>
        <p:nvPicPr>
          <p:cNvPr id="3" name="Gráfico 2">
            <a:extLst>
              <a:ext uri="{FF2B5EF4-FFF2-40B4-BE49-F238E27FC236}">
                <a16:creationId xmlns:a16="http://schemas.microsoft.com/office/drawing/2014/main" id="{D875A168-D039-23B1-3775-22D83788135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1850" y="5860646"/>
            <a:ext cx="2201021" cy="413314"/>
          </a:xfrm>
          <a:prstGeom prst="rect">
            <a:avLst/>
          </a:prstGeom>
        </p:spPr>
      </p:pic>
      <p:sp>
        <p:nvSpPr>
          <p:cNvPr id="7" name="Text Placeholder 3">
            <a:extLst>
              <a:ext uri="{FF2B5EF4-FFF2-40B4-BE49-F238E27FC236}">
                <a16:creationId xmlns:a16="http://schemas.microsoft.com/office/drawing/2014/main" id="{8D260D3B-7D06-86D3-E868-FCB10EC76693}"/>
              </a:ext>
            </a:extLst>
          </p:cNvPr>
          <p:cNvSpPr>
            <a:spLocks noGrp="1"/>
          </p:cNvSpPr>
          <p:nvPr>
            <p:ph type="body" sz="quarter" idx="16"/>
          </p:nvPr>
        </p:nvSpPr>
        <p:spPr>
          <a:xfrm>
            <a:off x="10815678" y="89692"/>
            <a:ext cx="1285311" cy="281220"/>
          </a:xfrm>
          <a:prstGeom prst="rect">
            <a:avLst/>
          </a:prstGeo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sz="100">
                <a:solidFill>
                  <a:schemeClr val="bg1">
                    <a:alpha val="0"/>
                  </a:schemeClr>
                </a:solidFill>
              </a:defRPr>
            </a:lvl1pPr>
          </a:lstStyle>
          <a:p>
            <a:pPr lvl="0"/>
            <a:endParaRPr lang="en-GB"/>
          </a:p>
        </p:txBody>
      </p:sp>
    </p:spTree>
    <p:extLst>
      <p:ext uri="{BB962C8B-B14F-4D97-AF65-F5344CB8AC3E}">
        <p14:creationId xmlns:p14="http://schemas.microsoft.com/office/powerpoint/2010/main" val="4083669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Title Page Dark Burgundy background">
    <p:bg>
      <p:bgPr>
        <a:solidFill>
          <a:srgbClr val="60001D"/>
        </a:solidFill>
        <a:effectLst/>
      </p:bgPr>
    </p:bg>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id="{31048942-BD81-DA25-C082-92FB5C98BD79}"/>
              </a:ext>
            </a:extLst>
          </p:cNvPr>
          <p:cNvSpPr/>
          <p:nvPr userDrawn="1"/>
        </p:nvSpPr>
        <p:spPr>
          <a:xfrm>
            <a:off x="-68752" y="1192762"/>
            <a:ext cx="6164752" cy="5774776"/>
          </a:xfrm>
          <a:prstGeom prst="rect">
            <a:avLst/>
          </a:prstGeom>
          <a:gradFill>
            <a:gsLst>
              <a:gs pos="100000">
                <a:srgbClr val="8C0014"/>
              </a:gs>
              <a:gs pos="63000">
                <a:srgbClr val="64001E">
                  <a:alpha val="0"/>
                </a:srgb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16" name="Título 1">
            <a:extLst>
              <a:ext uri="{FF2B5EF4-FFF2-40B4-BE49-F238E27FC236}">
                <a16:creationId xmlns:a16="http://schemas.microsoft.com/office/drawing/2014/main" id="{70FFC4F7-2BA8-8DD5-B689-3D8CE1E08E2E}"/>
              </a:ext>
            </a:extLst>
          </p:cNvPr>
          <p:cNvSpPr>
            <a:spLocks noGrp="1"/>
          </p:cNvSpPr>
          <p:nvPr>
            <p:ph type="ctrTitle"/>
          </p:nvPr>
        </p:nvSpPr>
        <p:spPr>
          <a:xfrm>
            <a:off x="660329" y="1543186"/>
            <a:ext cx="4937184" cy="1407004"/>
          </a:xfrm>
          <a:prstGeom prst="rect">
            <a:avLst/>
          </a:prstGeom>
        </p:spPr>
        <p:txBody>
          <a:bodyPr anchor="t">
            <a:normAutofit/>
          </a:bodyPr>
          <a:lstStyle>
            <a:lvl1pPr algn="l">
              <a:lnSpc>
                <a:spcPct val="90000"/>
              </a:lnSpc>
              <a:defRPr sz="4000" b="0" i="0">
                <a:solidFill>
                  <a:srgbClr val="CCB8A3"/>
                </a:solidFill>
                <a:latin typeface="Santander Headline" panose="020B0504020201020104" pitchFamily="34" charset="0"/>
                <a:cs typeface="Santander Headline" panose="020B0504020201020104" pitchFamily="34" charset="0"/>
              </a:defRPr>
            </a:lvl1pPr>
          </a:lstStyle>
          <a:p>
            <a:r>
              <a:rPr lang="en-US"/>
              <a:t>Click to edit Master title style</a:t>
            </a:r>
            <a:endParaRPr lang="es-ES"/>
          </a:p>
        </p:txBody>
      </p:sp>
      <p:sp>
        <p:nvSpPr>
          <p:cNvPr id="17" name="Subtítulo 2">
            <a:extLst>
              <a:ext uri="{FF2B5EF4-FFF2-40B4-BE49-F238E27FC236}">
                <a16:creationId xmlns:a16="http://schemas.microsoft.com/office/drawing/2014/main" id="{30B08BD3-848E-257A-2CE4-D93D0DE2607D}"/>
              </a:ext>
            </a:extLst>
          </p:cNvPr>
          <p:cNvSpPr>
            <a:spLocks noGrp="1"/>
          </p:cNvSpPr>
          <p:nvPr>
            <p:ph type="subTitle" idx="1"/>
          </p:nvPr>
        </p:nvSpPr>
        <p:spPr>
          <a:xfrm>
            <a:off x="663204" y="2959841"/>
            <a:ext cx="4934309" cy="2436454"/>
          </a:xfrm>
          <a:prstGeom prst="rect">
            <a:avLst/>
          </a:prstGeom>
        </p:spPr>
        <p:txBody>
          <a:bodyPr>
            <a:noAutofit/>
          </a:bodyPr>
          <a:lstStyle>
            <a:lvl1pPr marL="0" indent="0" algn="l">
              <a:lnSpc>
                <a:spcPct val="100000"/>
              </a:lnSpc>
              <a:spcBef>
                <a:spcPts val="0"/>
              </a:spcBef>
              <a:spcAft>
                <a:spcPts val="1200"/>
              </a:spcAft>
              <a:buNone/>
              <a:defRPr sz="2000">
                <a:solidFill>
                  <a:schemeClr val="bg1"/>
                </a:solidFill>
                <a:latin typeface="Santander Headline" panose="020B050402020102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Marcador de posición de imagen 5">
            <a:extLst>
              <a:ext uri="{FF2B5EF4-FFF2-40B4-BE49-F238E27FC236}">
                <a16:creationId xmlns:a16="http://schemas.microsoft.com/office/drawing/2014/main" id="{D55F607D-40B4-2784-A9E3-90967AFA5672}"/>
              </a:ext>
            </a:extLst>
          </p:cNvPr>
          <p:cNvSpPr>
            <a:spLocks noGrp="1"/>
          </p:cNvSpPr>
          <p:nvPr>
            <p:ph type="pic" sz="quarter" idx="10"/>
          </p:nvPr>
        </p:nvSpPr>
        <p:spPr>
          <a:xfrm>
            <a:off x="7561263" y="0"/>
            <a:ext cx="4630737" cy="6858000"/>
          </a:xfrm>
          <a:prstGeom prst="rect">
            <a:avLst/>
          </a:prstGeom>
          <a:solidFill>
            <a:schemeClr val="bg1"/>
          </a:solidFill>
        </p:spPr>
        <p:txBody>
          <a:bodyPr/>
          <a:lstStyle>
            <a:lvl1pPr marL="0" indent="0" algn="ctr">
              <a:buNone/>
              <a:defRPr sz="1800">
                <a:latin typeface="Santander Headline" panose="020B0504020201020104" pitchFamily="34" charset="0"/>
              </a:defRPr>
            </a:lvl1pPr>
          </a:lstStyle>
          <a:p>
            <a:endParaRPr lang="es-ES"/>
          </a:p>
        </p:txBody>
      </p:sp>
      <p:sp>
        <p:nvSpPr>
          <p:cNvPr id="4" name="Marcador de texto 16">
            <a:extLst>
              <a:ext uri="{FF2B5EF4-FFF2-40B4-BE49-F238E27FC236}">
                <a16:creationId xmlns:a16="http://schemas.microsoft.com/office/drawing/2014/main" id="{DE132505-5DC8-194E-9294-BAB9BF8A6E17}"/>
              </a:ext>
            </a:extLst>
          </p:cNvPr>
          <p:cNvSpPr>
            <a:spLocks noGrp="1"/>
          </p:cNvSpPr>
          <p:nvPr>
            <p:ph type="body" sz="quarter" idx="14" hasCustomPrompt="1"/>
          </p:nvPr>
        </p:nvSpPr>
        <p:spPr>
          <a:xfrm>
            <a:off x="668706" y="333651"/>
            <a:ext cx="1914177" cy="419100"/>
          </a:xfrm>
          <a:prstGeom prst="rect">
            <a:avLst/>
          </a:prstGeom>
        </p:spPr>
        <p:txBody>
          <a:bodyPr>
            <a:noAutofit/>
          </a:bodyPr>
          <a:lstStyle>
            <a:lvl1pPr marL="0" indent="0">
              <a:buNone/>
              <a:defRPr sz="900" b="0" i="0">
                <a:solidFill>
                  <a:schemeClr val="bg1"/>
                </a:solidFill>
                <a:latin typeface="Santander Headline" panose="020B0504020201020104" pitchFamily="34" charset="0"/>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Date</a:t>
            </a:r>
          </a:p>
        </p:txBody>
      </p:sp>
      <p:sp>
        <p:nvSpPr>
          <p:cNvPr id="5" name="Marcador de texto 16">
            <a:extLst>
              <a:ext uri="{FF2B5EF4-FFF2-40B4-BE49-F238E27FC236}">
                <a16:creationId xmlns:a16="http://schemas.microsoft.com/office/drawing/2014/main" id="{B5CE2F5B-D3C9-C9EC-C698-223D34FCC839}"/>
              </a:ext>
            </a:extLst>
          </p:cNvPr>
          <p:cNvSpPr>
            <a:spLocks noGrp="1"/>
          </p:cNvSpPr>
          <p:nvPr>
            <p:ph type="body" sz="quarter" idx="15" hasCustomPrompt="1"/>
          </p:nvPr>
        </p:nvSpPr>
        <p:spPr>
          <a:xfrm>
            <a:off x="2717200" y="333651"/>
            <a:ext cx="1914177" cy="419100"/>
          </a:xfrm>
          <a:prstGeom prst="rect">
            <a:avLst/>
          </a:prstGeom>
        </p:spPr>
        <p:txBody>
          <a:bodyPr>
            <a:noAutofit/>
          </a:bodyPr>
          <a:lstStyle>
            <a:lvl1pPr marL="0" indent="0">
              <a:buNone/>
              <a:defRPr sz="900" b="0" i="0">
                <a:solidFill>
                  <a:schemeClr val="bg1"/>
                </a:solidFill>
                <a:latin typeface="Santander Headline" panose="020B0504020201020104" pitchFamily="34" charset="0"/>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Department</a:t>
            </a:r>
          </a:p>
        </p:txBody>
      </p:sp>
      <p:pic>
        <p:nvPicPr>
          <p:cNvPr id="3" name="Gráfico 2">
            <a:extLst>
              <a:ext uri="{FF2B5EF4-FFF2-40B4-BE49-F238E27FC236}">
                <a16:creationId xmlns:a16="http://schemas.microsoft.com/office/drawing/2014/main" id="{D875A168-D039-23B1-3775-22D83788135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1850" y="5860646"/>
            <a:ext cx="2201021" cy="413314"/>
          </a:xfrm>
          <a:prstGeom prst="rect">
            <a:avLst/>
          </a:prstGeom>
        </p:spPr>
      </p:pic>
      <p:sp>
        <p:nvSpPr>
          <p:cNvPr id="8" name="Text Placeholder 3">
            <a:extLst>
              <a:ext uri="{FF2B5EF4-FFF2-40B4-BE49-F238E27FC236}">
                <a16:creationId xmlns:a16="http://schemas.microsoft.com/office/drawing/2014/main" id="{8ED1C44F-81DE-5E84-1506-39EADF69E392}"/>
              </a:ext>
            </a:extLst>
          </p:cNvPr>
          <p:cNvSpPr>
            <a:spLocks noGrp="1"/>
          </p:cNvSpPr>
          <p:nvPr>
            <p:ph type="body" sz="quarter" idx="16"/>
          </p:nvPr>
        </p:nvSpPr>
        <p:spPr>
          <a:xfrm>
            <a:off x="10815678" y="89692"/>
            <a:ext cx="1285311" cy="281220"/>
          </a:xfrm>
          <a:prstGeom prst="rect">
            <a:avLst/>
          </a:prstGeom>
          <a:blipFill>
            <a:blip r:embed="rId4">
              <a:lum bright="100000"/>
              <a:extLst>
                <a:ext uri="{96DAC541-7B7A-43D3-8B79-37D633B846F1}">
                  <asvg:svgBlip xmlns:asvg="http://schemas.microsoft.com/office/drawing/2016/SVG/main" r:embed="rId5"/>
                </a:ext>
              </a:extLst>
            </a:blip>
            <a:stretch>
              <a:fillRect/>
            </a:stretch>
          </a:blipFill>
        </p:spPr>
        <p:txBody>
          <a:bodyPr/>
          <a:lstStyle>
            <a:lvl1pPr marL="0" indent="0">
              <a:buNone/>
              <a:defRPr sz="100">
                <a:solidFill>
                  <a:schemeClr val="bg1">
                    <a:alpha val="0"/>
                  </a:schemeClr>
                </a:solidFill>
              </a:defRPr>
            </a:lvl1pPr>
          </a:lstStyle>
          <a:p>
            <a:pPr lvl="0"/>
            <a:endParaRPr lang="en-GB"/>
          </a:p>
        </p:txBody>
      </p:sp>
    </p:spTree>
    <p:extLst>
      <p:ext uri="{BB962C8B-B14F-4D97-AF65-F5344CB8AC3E}">
        <p14:creationId xmlns:p14="http://schemas.microsoft.com/office/powerpoint/2010/main" val="16595849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Index">
    <p:bg>
      <p:bgPr>
        <a:solidFill>
          <a:srgbClr val="D9D3CE"/>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BA7AB22C-7676-1241-4073-818B903E591E}"/>
              </a:ext>
            </a:extLst>
          </p:cNvPr>
          <p:cNvSpPr/>
          <p:nvPr userDrawn="1"/>
        </p:nvSpPr>
        <p:spPr>
          <a:xfrm flipH="1">
            <a:off x="766762" y="729870"/>
            <a:ext cx="6479111" cy="6414999"/>
          </a:xfrm>
          <a:prstGeom prst="rect">
            <a:avLst/>
          </a:prstGeom>
          <a:gradFill>
            <a:gsLst>
              <a:gs pos="100000">
                <a:schemeClr val="bg1"/>
              </a:gs>
              <a:gs pos="63000">
                <a:schemeClr val="bg1">
                  <a:alpha val="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14" name="Marcador de texto 11">
            <a:extLst>
              <a:ext uri="{FF2B5EF4-FFF2-40B4-BE49-F238E27FC236}">
                <a16:creationId xmlns:a16="http://schemas.microsoft.com/office/drawing/2014/main" id="{0CC57AA0-6C3B-4C80-BF6B-C321A960A96C}"/>
              </a:ext>
            </a:extLst>
          </p:cNvPr>
          <p:cNvSpPr>
            <a:spLocks noGrp="1"/>
          </p:cNvSpPr>
          <p:nvPr>
            <p:ph type="body" sz="quarter" idx="13"/>
          </p:nvPr>
        </p:nvSpPr>
        <p:spPr>
          <a:xfrm>
            <a:off x="1126202" y="1931948"/>
            <a:ext cx="6119672" cy="3644931"/>
          </a:xfrm>
          <a:prstGeom prst="rect">
            <a:avLst/>
          </a:prstGeom>
        </p:spPr>
        <p:txBody>
          <a:bodyPr>
            <a:normAutofit/>
          </a:bodyPr>
          <a:lstStyle>
            <a:lvl1pPr marL="400050" indent="-365125">
              <a:spcBef>
                <a:spcPts val="0"/>
              </a:spcBef>
              <a:spcAft>
                <a:spcPts val="1200"/>
              </a:spcAft>
              <a:buClr>
                <a:srgbClr val="EC0000"/>
              </a:buClr>
              <a:buSzPct val="100000"/>
              <a:buFont typeface="+mj-lt"/>
              <a:buAutoNum type="arabicPeriod"/>
              <a:tabLst/>
              <a:defRPr lang="es-ES" sz="2200" b="0" i="0" kern="1200" dirty="0" smtClean="0">
                <a:solidFill>
                  <a:srgbClr val="3C3C3B"/>
                </a:solidFill>
                <a:latin typeface="Santander Headline" panose="020B0504020201020104" pitchFamily="34" charset="0"/>
                <a:ea typeface="+mn-ea"/>
                <a:cs typeface="Santander Headline" panose="020B0504020201020104" pitchFamily="34" charset="0"/>
              </a:defRPr>
            </a:lvl1pPr>
            <a:lvl2pPr marL="457200" indent="0">
              <a:buNone/>
              <a:defRPr/>
            </a:lvl2pPr>
          </a:lstStyle>
          <a:p>
            <a:pPr lvl="0"/>
            <a:r>
              <a:rPr lang="en-US"/>
              <a:t>Edit Master text styles</a:t>
            </a:r>
          </a:p>
        </p:txBody>
      </p:sp>
      <p:sp>
        <p:nvSpPr>
          <p:cNvPr id="9" name="Marcador de texto 7">
            <a:extLst>
              <a:ext uri="{FF2B5EF4-FFF2-40B4-BE49-F238E27FC236}">
                <a16:creationId xmlns:a16="http://schemas.microsoft.com/office/drawing/2014/main" id="{36368BB1-91D3-7F76-86E7-01818D83DE92}"/>
              </a:ext>
            </a:extLst>
          </p:cNvPr>
          <p:cNvSpPr>
            <a:spLocks noGrp="1"/>
          </p:cNvSpPr>
          <p:nvPr>
            <p:ph type="body" sz="quarter" idx="15" hasCustomPrompt="1"/>
          </p:nvPr>
        </p:nvSpPr>
        <p:spPr>
          <a:xfrm>
            <a:off x="1126201" y="934043"/>
            <a:ext cx="6119672" cy="763588"/>
          </a:xfrm>
          <a:prstGeom prst="rect">
            <a:avLst/>
          </a:prstGeom>
        </p:spPr>
        <p:txBody>
          <a:bodyPr/>
          <a:lstStyle>
            <a:lvl1pPr marL="0" indent="0">
              <a:buNone/>
              <a:defRPr lang="es-ES" sz="4400" b="0" i="0" kern="1200" smtClean="0">
                <a:solidFill>
                  <a:srgbClr val="FF0000"/>
                </a:solidFill>
                <a:latin typeface="Santander Headline" panose="020B0504020201020104" pitchFamily="34" charset="0"/>
                <a:ea typeface="+mj-ea"/>
                <a:cs typeface="Santander Headline" panose="020B0504020201020104" pitchFamily="34" charset="0"/>
              </a:defRPr>
            </a:lvl1pPr>
            <a:lvl2pPr marL="457200" indent="0">
              <a:buNone/>
              <a:defRPr/>
            </a:lvl2pPr>
          </a:lstStyle>
          <a:p>
            <a:pPr lvl="0"/>
            <a:r>
              <a:rPr lang="es-ES"/>
              <a:t>Text</a:t>
            </a:r>
          </a:p>
        </p:txBody>
      </p:sp>
      <p:sp>
        <p:nvSpPr>
          <p:cNvPr id="12" name="Marcador de posición de imagen 5">
            <a:extLst>
              <a:ext uri="{FF2B5EF4-FFF2-40B4-BE49-F238E27FC236}">
                <a16:creationId xmlns:a16="http://schemas.microsoft.com/office/drawing/2014/main" id="{CA9BF8C5-84B7-F1B9-F586-B1E0956B532D}"/>
              </a:ext>
            </a:extLst>
          </p:cNvPr>
          <p:cNvSpPr>
            <a:spLocks noGrp="1"/>
          </p:cNvSpPr>
          <p:nvPr>
            <p:ph type="pic" sz="quarter" idx="10"/>
          </p:nvPr>
        </p:nvSpPr>
        <p:spPr>
          <a:xfrm>
            <a:off x="7561263" y="0"/>
            <a:ext cx="4630737" cy="6858000"/>
          </a:xfrm>
          <a:prstGeom prst="rect">
            <a:avLst/>
          </a:prstGeom>
          <a:solidFill>
            <a:srgbClr val="D9D3CE"/>
          </a:solidFill>
        </p:spPr>
        <p:txBody>
          <a:bodyPr/>
          <a:lstStyle>
            <a:lvl1pPr marL="0" indent="0" algn="ctr">
              <a:buNone/>
              <a:defRPr sz="1800">
                <a:latin typeface="Santander Headline" panose="020B0504020201020104" pitchFamily="34" charset="0"/>
              </a:defRPr>
            </a:lvl1pPr>
          </a:lstStyle>
          <a:p>
            <a:endParaRPr lang="es-ES"/>
          </a:p>
        </p:txBody>
      </p:sp>
      <p:sp>
        <p:nvSpPr>
          <p:cNvPr id="5" name="Text Placeholder 3">
            <a:extLst>
              <a:ext uri="{FF2B5EF4-FFF2-40B4-BE49-F238E27FC236}">
                <a16:creationId xmlns:a16="http://schemas.microsoft.com/office/drawing/2014/main" id="{E4B484C8-E579-F3EC-0267-2CD7AD66E970}"/>
              </a:ext>
            </a:extLst>
          </p:cNvPr>
          <p:cNvSpPr>
            <a:spLocks noGrp="1"/>
          </p:cNvSpPr>
          <p:nvPr>
            <p:ph type="body" sz="quarter" idx="16"/>
          </p:nvPr>
        </p:nvSpPr>
        <p:spPr>
          <a:xfrm>
            <a:off x="10815678" y="89692"/>
            <a:ext cx="1285311" cy="281220"/>
          </a:xfrm>
          <a:prstGeom prst="rect">
            <a:avLst/>
          </a:prstGeo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solidFill>
                  <a:schemeClr val="bg1">
                    <a:alpha val="0"/>
                  </a:schemeClr>
                </a:solidFill>
              </a:defRPr>
            </a:lvl1pPr>
          </a:lstStyle>
          <a:p>
            <a:pPr lvl="0"/>
            <a:endParaRPr lang="en-GB"/>
          </a:p>
        </p:txBody>
      </p:sp>
      <p:sp>
        <p:nvSpPr>
          <p:cNvPr id="2" name="Marcador de texto 12">
            <a:extLst>
              <a:ext uri="{FF2B5EF4-FFF2-40B4-BE49-F238E27FC236}">
                <a16:creationId xmlns:a16="http://schemas.microsoft.com/office/drawing/2014/main" id="{A90062B9-9CEF-7BB4-965B-D4A03343BC4B}"/>
              </a:ext>
            </a:extLst>
          </p:cNvPr>
          <p:cNvSpPr>
            <a:spLocks noGrp="1" noChangeAspect="1"/>
          </p:cNvSpPr>
          <p:nvPr>
            <p:ph type="body" sz="quarter" idx="19"/>
          </p:nvPr>
        </p:nvSpPr>
        <p:spPr>
          <a:xfrm>
            <a:off x="745994" y="5863748"/>
            <a:ext cx="2212052" cy="403940"/>
          </a:xfrm>
          <a:prstGeom prst="rect">
            <a:avLst/>
          </a:prstGeom>
          <a:blipFill dpi="0" rotWithShape="1">
            <a:blip r:embed="rId4">
              <a:extLst>
                <a:ext uri="{96DAC541-7B7A-43D3-8B79-37D633B846F1}">
                  <asvg:svgBlip xmlns:asvg="http://schemas.microsoft.com/office/drawing/2016/SVG/main" r:embed="rId5"/>
                </a:ext>
              </a:extLst>
            </a:blip>
            <a:srcRect/>
            <a:stretch>
              <a:fillRect/>
            </a:stretch>
          </a:blipFill>
        </p:spPr>
        <p:txBody>
          <a:bodyPr/>
          <a:lstStyle>
            <a:lvl1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1pPr>
            <a:lvl2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2pPr>
            <a:lvl3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3pPr>
            <a:lvl4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4pPr>
            <a:lvl5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31040642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guide id="4" orient="horz" pos="4065">
          <p15:clr>
            <a:srgbClr val="FBAE40"/>
          </p15:clr>
        </p15:guide>
        <p15:guide id="5" orient="horz" pos="383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Index">
    <p:bg>
      <p:bgPr>
        <a:solidFill>
          <a:srgbClr val="DBD5D0"/>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BA7AB22C-7676-1241-4073-818B903E591E}"/>
              </a:ext>
            </a:extLst>
          </p:cNvPr>
          <p:cNvSpPr/>
          <p:nvPr userDrawn="1"/>
        </p:nvSpPr>
        <p:spPr>
          <a:xfrm flipH="1">
            <a:off x="766762" y="729870"/>
            <a:ext cx="6479111" cy="6414999"/>
          </a:xfrm>
          <a:prstGeom prst="rect">
            <a:avLst/>
          </a:prstGeom>
          <a:gradFill>
            <a:gsLst>
              <a:gs pos="100000">
                <a:schemeClr val="bg1"/>
              </a:gs>
              <a:gs pos="63000">
                <a:schemeClr val="bg1">
                  <a:alpha val="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14" name="Marcador de texto 11">
            <a:extLst>
              <a:ext uri="{FF2B5EF4-FFF2-40B4-BE49-F238E27FC236}">
                <a16:creationId xmlns:a16="http://schemas.microsoft.com/office/drawing/2014/main" id="{0CC57AA0-6C3B-4C80-BF6B-C321A960A96C}"/>
              </a:ext>
            </a:extLst>
          </p:cNvPr>
          <p:cNvSpPr>
            <a:spLocks noGrp="1"/>
          </p:cNvSpPr>
          <p:nvPr>
            <p:ph type="body" sz="quarter" idx="13"/>
          </p:nvPr>
        </p:nvSpPr>
        <p:spPr>
          <a:xfrm>
            <a:off x="1126202" y="1931948"/>
            <a:ext cx="6119672" cy="3644931"/>
          </a:xfrm>
          <a:prstGeom prst="rect">
            <a:avLst/>
          </a:prstGeom>
        </p:spPr>
        <p:txBody>
          <a:bodyPr>
            <a:normAutofit/>
          </a:bodyPr>
          <a:lstStyle>
            <a:lvl1pPr marL="400050" indent="-365125">
              <a:spcBef>
                <a:spcPts val="0"/>
              </a:spcBef>
              <a:spcAft>
                <a:spcPts val="1200"/>
              </a:spcAft>
              <a:buClr>
                <a:srgbClr val="EC0000"/>
              </a:buClr>
              <a:buSzPct val="100000"/>
              <a:buFont typeface="+mj-lt"/>
              <a:buAutoNum type="arabicPeriod"/>
              <a:tabLst/>
              <a:defRPr lang="es-ES" sz="2200" b="0" i="0" kern="1200" dirty="0" smtClean="0">
                <a:solidFill>
                  <a:srgbClr val="3C3C3B"/>
                </a:solidFill>
                <a:latin typeface="Santander Headline" panose="020B0504020201020104" pitchFamily="34" charset="0"/>
                <a:ea typeface="+mn-ea"/>
                <a:cs typeface="Santander Headline" panose="020B0504020201020104" pitchFamily="34" charset="0"/>
              </a:defRPr>
            </a:lvl1pPr>
            <a:lvl2pPr marL="457200" indent="0">
              <a:buNone/>
              <a:defRPr/>
            </a:lvl2pPr>
          </a:lstStyle>
          <a:p>
            <a:pPr lvl="0"/>
            <a:r>
              <a:rPr lang="en-US"/>
              <a:t>Edit Master text styles</a:t>
            </a:r>
          </a:p>
        </p:txBody>
      </p:sp>
      <p:sp>
        <p:nvSpPr>
          <p:cNvPr id="9" name="Marcador de texto 7">
            <a:extLst>
              <a:ext uri="{FF2B5EF4-FFF2-40B4-BE49-F238E27FC236}">
                <a16:creationId xmlns:a16="http://schemas.microsoft.com/office/drawing/2014/main" id="{36368BB1-91D3-7F76-86E7-01818D83DE92}"/>
              </a:ext>
            </a:extLst>
          </p:cNvPr>
          <p:cNvSpPr>
            <a:spLocks noGrp="1"/>
          </p:cNvSpPr>
          <p:nvPr>
            <p:ph type="body" sz="quarter" idx="15" hasCustomPrompt="1"/>
          </p:nvPr>
        </p:nvSpPr>
        <p:spPr>
          <a:xfrm>
            <a:off x="1126201" y="934043"/>
            <a:ext cx="6119672" cy="763588"/>
          </a:xfrm>
          <a:prstGeom prst="rect">
            <a:avLst/>
          </a:prstGeom>
        </p:spPr>
        <p:txBody>
          <a:bodyPr/>
          <a:lstStyle>
            <a:lvl1pPr marL="0" indent="0">
              <a:buNone/>
              <a:defRPr lang="es-ES" sz="4400" b="0" i="0" kern="1200" smtClean="0">
                <a:solidFill>
                  <a:srgbClr val="FF0000"/>
                </a:solidFill>
                <a:latin typeface="Santander Headline" panose="020B0504020201020104" pitchFamily="34" charset="0"/>
                <a:ea typeface="+mj-ea"/>
                <a:cs typeface="Santander Headline" panose="020B0504020201020104" pitchFamily="34" charset="0"/>
              </a:defRPr>
            </a:lvl1pPr>
            <a:lvl2pPr marL="457200" indent="0">
              <a:buNone/>
              <a:defRPr/>
            </a:lvl2pPr>
          </a:lstStyle>
          <a:p>
            <a:pPr lvl="0"/>
            <a:r>
              <a:rPr lang="es-ES"/>
              <a:t>Text</a:t>
            </a:r>
          </a:p>
        </p:txBody>
      </p:sp>
      <p:sp>
        <p:nvSpPr>
          <p:cNvPr id="12" name="Marcador de posición de imagen 5">
            <a:extLst>
              <a:ext uri="{FF2B5EF4-FFF2-40B4-BE49-F238E27FC236}">
                <a16:creationId xmlns:a16="http://schemas.microsoft.com/office/drawing/2014/main" id="{CA9BF8C5-84B7-F1B9-F586-B1E0956B532D}"/>
              </a:ext>
            </a:extLst>
          </p:cNvPr>
          <p:cNvSpPr>
            <a:spLocks noGrp="1"/>
          </p:cNvSpPr>
          <p:nvPr>
            <p:ph type="pic" sz="quarter" idx="10"/>
          </p:nvPr>
        </p:nvSpPr>
        <p:spPr>
          <a:xfrm>
            <a:off x="7561263" y="0"/>
            <a:ext cx="4630737" cy="6858000"/>
          </a:xfrm>
          <a:prstGeom prst="rect">
            <a:avLst/>
          </a:prstGeom>
          <a:solidFill>
            <a:srgbClr val="D9D3CE"/>
          </a:solidFill>
        </p:spPr>
        <p:txBody>
          <a:bodyPr/>
          <a:lstStyle>
            <a:lvl1pPr marL="0" indent="0" algn="ctr">
              <a:buNone/>
              <a:defRPr sz="1800">
                <a:latin typeface="Santander Headline" panose="020B0504020201020104" pitchFamily="34" charset="0"/>
              </a:defRPr>
            </a:lvl1pPr>
          </a:lstStyle>
          <a:p>
            <a:endParaRPr lang="es-ES"/>
          </a:p>
        </p:txBody>
      </p:sp>
      <p:sp>
        <p:nvSpPr>
          <p:cNvPr id="5" name="Text Placeholder 3">
            <a:extLst>
              <a:ext uri="{FF2B5EF4-FFF2-40B4-BE49-F238E27FC236}">
                <a16:creationId xmlns:a16="http://schemas.microsoft.com/office/drawing/2014/main" id="{E4B484C8-E579-F3EC-0267-2CD7AD66E970}"/>
              </a:ext>
            </a:extLst>
          </p:cNvPr>
          <p:cNvSpPr>
            <a:spLocks noGrp="1"/>
          </p:cNvSpPr>
          <p:nvPr>
            <p:ph type="body" sz="quarter" idx="16"/>
          </p:nvPr>
        </p:nvSpPr>
        <p:spPr>
          <a:xfrm>
            <a:off x="10815678" y="89692"/>
            <a:ext cx="1285311" cy="281220"/>
          </a:xfrm>
          <a:prstGeom prst="rect">
            <a:avLst/>
          </a:prstGeom>
          <a:blipFill>
            <a:blip r:embed="rId2">
              <a:lum bright="100000"/>
              <a:extLst>
                <a:ext uri="{96DAC541-7B7A-43D3-8B79-37D633B846F1}">
                  <asvg:svgBlip xmlns:asvg="http://schemas.microsoft.com/office/drawing/2016/SVG/main" r:embed="rId3"/>
                </a:ext>
              </a:extLst>
            </a:blip>
            <a:stretch>
              <a:fillRect/>
            </a:stretch>
          </a:blipFill>
        </p:spPr>
        <p:txBody>
          <a:bodyPr/>
          <a:lstStyle>
            <a:lvl1pPr marL="0" indent="0">
              <a:buNone/>
              <a:defRPr sz="100">
                <a:solidFill>
                  <a:schemeClr val="bg1">
                    <a:alpha val="0"/>
                  </a:schemeClr>
                </a:solidFill>
              </a:defRPr>
            </a:lvl1pPr>
          </a:lstStyle>
          <a:p>
            <a:pPr lvl="0"/>
            <a:endParaRPr lang="en-GB"/>
          </a:p>
        </p:txBody>
      </p:sp>
      <p:sp>
        <p:nvSpPr>
          <p:cNvPr id="2" name="Marcador de texto 12">
            <a:extLst>
              <a:ext uri="{FF2B5EF4-FFF2-40B4-BE49-F238E27FC236}">
                <a16:creationId xmlns:a16="http://schemas.microsoft.com/office/drawing/2014/main" id="{F3AC2824-1D58-05C5-2374-8FA616FC726B}"/>
              </a:ext>
            </a:extLst>
          </p:cNvPr>
          <p:cNvSpPr>
            <a:spLocks noGrp="1" noChangeAspect="1"/>
          </p:cNvSpPr>
          <p:nvPr>
            <p:ph type="body" sz="quarter" idx="19"/>
          </p:nvPr>
        </p:nvSpPr>
        <p:spPr>
          <a:xfrm>
            <a:off x="745994" y="5863748"/>
            <a:ext cx="2212052" cy="403940"/>
          </a:xfrm>
          <a:prstGeom prst="rect">
            <a:avLst/>
          </a:prstGeom>
          <a:blipFill dpi="0" rotWithShape="1">
            <a:blip r:embed="rId4">
              <a:extLst>
                <a:ext uri="{96DAC541-7B7A-43D3-8B79-37D633B846F1}">
                  <asvg:svgBlip xmlns:asvg="http://schemas.microsoft.com/office/drawing/2016/SVG/main" r:embed="rId5"/>
                </a:ext>
              </a:extLst>
            </a:blip>
            <a:srcRect/>
            <a:stretch>
              <a:fillRect/>
            </a:stretch>
          </a:blipFill>
        </p:spPr>
        <p:txBody>
          <a:bodyPr/>
          <a:lstStyle>
            <a:lvl1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1pPr>
            <a:lvl2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2pPr>
            <a:lvl3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3pPr>
            <a:lvl4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4pPr>
            <a:lvl5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5385962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guide id="4" orient="horz" pos="4065">
          <p15:clr>
            <a:srgbClr val="FBAE40"/>
          </p15:clr>
        </p15:guide>
        <p15:guide id="5" orient="horz" pos="383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numbers_Index">
    <p:bg>
      <p:bgPr>
        <a:solidFill>
          <a:srgbClr val="D9D3CE"/>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BA7AB22C-7676-1241-4073-818B903E591E}"/>
              </a:ext>
            </a:extLst>
          </p:cNvPr>
          <p:cNvSpPr/>
          <p:nvPr userDrawn="1"/>
        </p:nvSpPr>
        <p:spPr>
          <a:xfrm flipH="1">
            <a:off x="766762" y="729870"/>
            <a:ext cx="6479111" cy="6414999"/>
          </a:xfrm>
          <a:prstGeom prst="rect">
            <a:avLst/>
          </a:prstGeom>
          <a:gradFill>
            <a:gsLst>
              <a:gs pos="100000">
                <a:schemeClr val="bg1"/>
              </a:gs>
              <a:gs pos="63000">
                <a:schemeClr val="bg1">
                  <a:alpha val="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9" name="Marcador de texto 7">
            <a:extLst>
              <a:ext uri="{FF2B5EF4-FFF2-40B4-BE49-F238E27FC236}">
                <a16:creationId xmlns:a16="http://schemas.microsoft.com/office/drawing/2014/main" id="{36368BB1-91D3-7F76-86E7-01818D83DE92}"/>
              </a:ext>
            </a:extLst>
          </p:cNvPr>
          <p:cNvSpPr>
            <a:spLocks noGrp="1"/>
          </p:cNvSpPr>
          <p:nvPr>
            <p:ph type="body" sz="quarter" idx="15" hasCustomPrompt="1"/>
          </p:nvPr>
        </p:nvSpPr>
        <p:spPr>
          <a:xfrm>
            <a:off x="1126201" y="934043"/>
            <a:ext cx="6119672" cy="763588"/>
          </a:xfrm>
          <a:prstGeom prst="rect">
            <a:avLst/>
          </a:prstGeom>
        </p:spPr>
        <p:txBody>
          <a:bodyPr/>
          <a:lstStyle>
            <a:lvl1pPr marL="0" indent="0">
              <a:buNone/>
              <a:defRPr lang="es-ES" sz="4400" b="0" i="0" kern="1200" smtClean="0">
                <a:solidFill>
                  <a:srgbClr val="FF0000"/>
                </a:solidFill>
                <a:latin typeface="Santander Headline" panose="020B0504020201020104" pitchFamily="34" charset="0"/>
                <a:ea typeface="+mj-ea"/>
                <a:cs typeface="Santander Headline" panose="020B0504020201020104" pitchFamily="34" charset="0"/>
              </a:defRPr>
            </a:lvl1pPr>
            <a:lvl2pPr marL="457200" indent="0">
              <a:buNone/>
              <a:defRPr/>
            </a:lvl2pPr>
          </a:lstStyle>
          <a:p>
            <a:pPr lvl="0"/>
            <a:r>
              <a:rPr lang="es-ES"/>
              <a:t>Text</a:t>
            </a:r>
          </a:p>
        </p:txBody>
      </p:sp>
      <p:sp>
        <p:nvSpPr>
          <p:cNvPr id="12" name="Marcador de posición de imagen 5">
            <a:extLst>
              <a:ext uri="{FF2B5EF4-FFF2-40B4-BE49-F238E27FC236}">
                <a16:creationId xmlns:a16="http://schemas.microsoft.com/office/drawing/2014/main" id="{CA9BF8C5-84B7-F1B9-F586-B1E0956B532D}"/>
              </a:ext>
            </a:extLst>
          </p:cNvPr>
          <p:cNvSpPr>
            <a:spLocks noGrp="1"/>
          </p:cNvSpPr>
          <p:nvPr>
            <p:ph type="pic" sz="quarter" idx="10"/>
          </p:nvPr>
        </p:nvSpPr>
        <p:spPr>
          <a:xfrm>
            <a:off x="7561263" y="0"/>
            <a:ext cx="4630737" cy="6858000"/>
          </a:xfrm>
          <a:prstGeom prst="rect">
            <a:avLst/>
          </a:prstGeom>
          <a:solidFill>
            <a:srgbClr val="D9D3CE"/>
          </a:solidFill>
        </p:spPr>
        <p:txBody>
          <a:bodyPr/>
          <a:lstStyle>
            <a:lvl1pPr marL="0" indent="0" algn="ctr">
              <a:buNone/>
              <a:defRPr sz="1800">
                <a:latin typeface="Santander Headline" panose="020B0504020201020104" pitchFamily="34" charset="0"/>
              </a:defRPr>
            </a:lvl1pPr>
          </a:lstStyle>
          <a:p>
            <a:endParaRPr lang="es-ES"/>
          </a:p>
        </p:txBody>
      </p:sp>
      <p:sp>
        <p:nvSpPr>
          <p:cNvPr id="5" name="Text Placeholder 3">
            <a:extLst>
              <a:ext uri="{FF2B5EF4-FFF2-40B4-BE49-F238E27FC236}">
                <a16:creationId xmlns:a16="http://schemas.microsoft.com/office/drawing/2014/main" id="{E4B484C8-E579-F3EC-0267-2CD7AD66E970}"/>
              </a:ext>
            </a:extLst>
          </p:cNvPr>
          <p:cNvSpPr>
            <a:spLocks noGrp="1"/>
          </p:cNvSpPr>
          <p:nvPr>
            <p:ph type="body" sz="quarter" idx="16"/>
          </p:nvPr>
        </p:nvSpPr>
        <p:spPr>
          <a:xfrm>
            <a:off x="10815678" y="89692"/>
            <a:ext cx="1285311" cy="281220"/>
          </a:xfrm>
          <a:prstGeom prst="rect">
            <a:avLst/>
          </a:prstGeo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solidFill>
                  <a:schemeClr val="bg1">
                    <a:alpha val="0"/>
                  </a:schemeClr>
                </a:solidFill>
              </a:defRPr>
            </a:lvl1pPr>
          </a:lstStyle>
          <a:p>
            <a:pPr lvl="0"/>
            <a:endParaRPr lang="en-GB"/>
          </a:p>
        </p:txBody>
      </p:sp>
      <p:sp>
        <p:nvSpPr>
          <p:cNvPr id="2" name="Marcador de texto 12">
            <a:extLst>
              <a:ext uri="{FF2B5EF4-FFF2-40B4-BE49-F238E27FC236}">
                <a16:creationId xmlns:a16="http://schemas.microsoft.com/office/drawing/2014/main" id="{A90062B9-9CEF-7BB4-965B-D4A03343BC4B}"/>
              </a:ext>
            </a:extLst>
          </p:cNvPr>
          <p:cNvSpPr>
            <a:spLocks noGrp="1" noChangeAspect="1"/>
          </p:cNvSpPr>
          <p:nvPr>
            <p:ph type="body" sz="quarter" idx="19"/>
          </p:nvPr>
        </p:nvSpPr>
        <p:spPr>
          <a:xfrm>
            <a:off x="745994" y="5863748"/>
            <a:ext cx="2212052" cy="403940"/>
          </a:xfrm>
          <a:prstGeom prst="rect">
            <a:avLst/>
          </a:prstGeom>
          <a:blipFill dpi="0" rotWithShape="1">
            <a:blip r:embed="rId4">
              <a:extLst>
                <a:ext uri="{96DAC541-7B7A-43D3-8B79-37D633B846F1}">
                  <asvg:svgBlip xmlns:asvg="http://schemas.microsoft.com/office/drawing/2016/SVG/main" r:embed="rId5"/>
                </a:ext>
              </a:extLst>
            </a:blip>
            <a:srcRect/>
            <a:stretch>
              <a:fillRect/>
            </a:stretch>
          </a:blipFill>
        </p:spPr>
        <p:txBody>
          <a:bodyPr/>
          <a:lstStyle>
            <a:lvl1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1pPr>
            <a:lvl2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2pPr>
            <a:lvl3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3pPr>
            <a:lvl4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4pPr>
            <a:lvl5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13" name="Marcador de texto 11">
            <a:extLst>
              <a:ext uri="{FF2B5EF4-FFF2-40B4-BE49-F238E27FC236}">
                <a16:creationId xmlns:a16="http://schemas.microsoft.com/office/drawing/2014/main" id="{069B8AF0-7B24-5800-670B-BA1295CC6A69}"/>
              </a:ext>
            </a:extLst>
          </p:cNvPr>
          <p:cNvSpPr>
            <a:spLocks noGrp="1"/>
          </p:cNvSpPr>
          <p:nvPr>
            <p:ph type="body" sz="quarter" idx="13"/>
          </p:nvPr>
        </p:nvSpPr>
        <p:spPr>
          <a:xfrm>
            <a:off x="1491962" y="1931948"/>
            <a:ext cx="5753911" cy="3644931"/>
          </a:xfrm>
          <a:prstGeom prst="rect">
            <a:avLst/>
          </a:prstGeom>
        </p:spPr>
        <p:txBody>
          <a:bodyPr>
            <a:normAutofit/>
          </a:bodyPr>
          <a:lstStyle>
            <a:lvl1pPr marL="34925" indent="0">
              <a:spcBef>
                <a:spcPts val="0"/>
              </a:spcBef>
              <a:spcAft>
                <a:spcPts val="1200"/>
              </a:spcAft>
              <a:buClr>
                <a:srgbClr val="EC0000"/>
              </a:buClr>
              <a:buSzPct val="100000"/>
              <a:buFont typeface="+mj-lt"/>
              <a:buNone/>
              <a:tabLst/>
              <a:defRPr lang="es-ES" sz="2200" b="0" i="0" kern="1200" dirty="0" smtClean="0">
                <a:solidFill>
                  <a:srgbClr val="3C3C3B"/>
                </a:solidFill>
                <a:latin typeface="Santander Headline" panose="020B0504020201020104" pitchFamily="34" charset="0"/>
                <a:ea typeface="+mn-ea"/>
                <a:cs typeface="Santander Headline" panose="020B0504020201020104" pitchFamily="34" charset="0"/>
              </a:defRPr>
            </a:lvl1pPr>
            <a:lvl2pPr marL="457200" indent="0">
              <a:buNone/>
              <a:defRPr/>
            </a:lvl2pPr>
          </a:lstStyle>
          <a:p>
            <a:pPr lvl="0"/>
            <a:r>
              <a:rPr lang="en-US"/>
              <a:t>Edit Master text styles</a:t>
            </a:r>
          </a:p>
        </p:txBody>
      </p:sp>
      <p:sp>
        <p:nvSpPr>
          <p:cNvPr id="15" name="Text Placeholder 16">
            <a:extLst>
              <a:ext uri="{FF2B5EF4-FFF2-40B4-BE49-F238E27FC236}">
                <a16:creationId xmlns:a16="http://schemas.microsoft.com/office/drawing/2014/main" id="{22C0D06D-B867-1179-7F7D-B617C43A137E}"/>
              </a:ext>
            </a:extLst>
          </p:cNvPr>
          <p:cNvSpPr>
            <a:spLocks noGrp="1"/>
          </p:cNvSpPr>
          <p:nvPr>
            <p:ph type="body" sz="quarter" idx="20" hasCustomPrompt="1"/>
          </p:nvPr>
        </p:nvSpPr>
        <p:spPr>
          <a:xfrm>
            <a:off x="1200900" y="1960123"/>
            <a:ext cx="252000" cy="324000"/>
          </a:xfrm>
          <a:prstGeom prst="rect">
            <a:avLst/>
          </a:prstGeom>
          <a:solidFill>
            <a:srgbClr val="60001D"/>
          </a:solidFill>
        </p:spPr>
        <p:txBody>
          <a:bodyPr lIns="36000" tIns="72000" rIns="36000" bIns="36000" anchor="ctr"/>
          <a:lstStyle>
            <a:lvl1pPr marL="0" indent="0" algn="ctr">
              <a:buNone/>
              <a:defRPr kumimoji="0" lang="en-GB" sz="2000" b="0" i="0" u="none" strike="noStrike" kern="1200" cap="none" spc="0" normalizeH="0" baseline="0" dirty="0">
                <a:ln>
                  <a:noFill/>
                </a:ln>
                <a:solidFill>
                  <a:srgbClr val="FFFFFF"/>
                </a:solidFill>
                <a:effectLst/>
                <a:uLnTx/>
                <a:uFillTx/>
                <a:latin typeface="Santander Headline" panose="020B0504020201020104"/>
                <a:ea typeface="+mn-ea"/>
                <a:cs typeface="+mn-cs"/>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a:t>#</a:t>
            </a:r>
          </a:p>
        </p:txBody>
      </p:sp>
      <p:sp>
        <p:nvSpPr>
          <p:cNvPr id="16" name="Text Placeholder 16">
            <a:extLst>
              <a:ext uri="{FF2B5EF4-FFF2-40B4-BE49-F238E27FC236}">
                <a16:creationId xmlns:a16="http://schemas.microsoft.com/office/drawing/2014/main" id="{18E37733-C754-F288-C246-B383DDE24EDD}"/>
              </a:ext>
            </a:extLst>
          </p:cNvPr>
          <p:cNvSpPr>
            <a:spLocks noGrp="1"/>
          </p:cNvSpPr>
          <p:nvPr>
            <p:ph type="body" sz="quarter" idx="21" hasCustomPrompt="1"/>
          </p:nvPr>
        </p:nvSpPr>
        <p:spPr>
          <a:xfrm>
            <a:off x="1200900" y="2415084"/>
            <a:ext cx="252000" cy="324000"/>
          </a:xfrm>
          <a:prstGeom prst="rect">
            <a:avLst/>
          </a:prstGeom>
          <a:solidFill>
            <a:srgbClr val="8C0014"/>
          </a:solidFill>
        </p:spPr>
        <p:txBody>
          <a:bodyPr lIns="36000" tIns="72000" rIns="36000" bIns="36000" anchor="ctr"/>
          <a:lstStyle>
            <a:lvl1pPr marL="0" indent="0" algn="ctr">
              <a:buNone/>
              <a:defRPr kumimoji="0" lang="en-GB" sz="2000" b="0" i="0" u="none" strike="noStrike" kern="1200" cap="none" spc="0" normalizeH="0" baseline="0" dirty="0">
                <a:ln>
                  <a:noFill/>
                </a:ln>
                <a:solidFill>
                  <a:srgbClr val="FFFFFF"/>
                </a:solidFill>
                <a:effectLst/>
                <a:uLnTx/>
                <a:uFillTx/>
                <a:latin typeface="Santander Headline" panose="020B0504020201020104"/>
                <a:ea typeface="+mn-ea"/>
                <a:cs typeface="+mn-cs"/>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a:t>#</a:t>
            </a:r>
          </a:p>
        </p:txBody>
      </p:sp>
      <p:sp>
        <p:nvSpPr>
          <p:cNvPr id="17" name="Text Placeholder 16">
            <a:extLst>
              <a:ext uri="{FF2B5EF4-FFF2-40B4-BE49-F238E27FC236}">
                <a16:creationId xmlns:a16="http://schemas.microsoft.com/office/drawing/2014/main" id="{05B08738-15E3-7EB6-85D0-ABC3B6C1DB96}"/>
              </a:ext>
            </a:extLst>
          </p:cNvPr>
          <p:cNvSpPr>
            <a:spLocks noGrp="1"/>
          </p:cNvSpPr>
          <p:nvPr>
            <p:ph type="body" sz="quarter" idx="22" hasCustomPrompt="1"/>
          </p:nvPr>
        </p:nvSpPr>
        <p:spPr>
          <a:xfrm>
            <a:off x="1200900" y="2870045"/>
            <a:ext cx="252000" cy="324000"/>
          </a:xfrm>
          <a:prstGeom prst="rect">
            <a:avLst/>
          </a:prstGeom>
          <a:solidFill>
            <a:srgbClr val="BA010A"/>
          </a:solidFill>
        </p:spPr>
        <p:txBody>
          <a:bodyPr lIns="36000" tIns="72000" rIns="36000" bIns="36000" anchor="ctr"/>
          <a:lstStyle>
            <a:lvl1pPr marL="0" indent="0" algn="ctr">
              <a:buNone/>
              <a:defRPr kumimoji="0" lang="en-GB" sz="2000" b="0" i="0" u="none" strike="noStrike" kern="1200" cap="none" spc="0" normalizeH="0" baseline="0" dirty="0">
                <a:ln>
                  <a:noFill/>
                </a:ln>
                <a:solidFill>
                  <a:srgbClr val="FFFFFF"/>
                </a:solidFill>
                <a:effectLst/>
                <a:uLnTx/>
                <a:uFillTx/>
                <a:latin typeface="Santander Headline" panose="020B0504020201020104"/>
                <a:ea typeface="+mn-ea"/>
                <a:cs typeface="+mn-cs"/>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a:t>#</a:t>
            </a:r>
          </a:p>
        </p:txBody>
      </p:sp>
      <p:sp>
        <p:nvSpPr>
          <p:cNvPr id="18" name="Text Placeholder 16">
            <a:extLst>
              <a:ext uri="{FF2B5EF4-FFF2-40B4-BE49-F238E27FC236}">
                <a16:creationId xmlns:a16="http://schemas.microsoft.com/office/drawing/2014/main" id="{FABC33E8-AA69-A506-45D6-E92E14EE50EA}"/>
              </a:ext>
            </a:extLst>
          </p:cNvPr>
          <p:cNvSpPr>
            <a:spLocks noGrp="1"/>
          </p:cNvSpPr>
          <p:nvPr>
            <p:ph type="body" sz="quarter" idx="23" hasCustomPrompt="1"/>
          </p:nvPr>
        </p:nvSpPr>
        <p:spPr>
          <a:xfrm>
            <a:off x="1200900" y="3325006"/>
            <a:ext cx="252000" cy="324000"/>
          </a:xfrm>
          <a:prstGeom prst="rect">
            <a:avLst/>
          </a:prstGeom>
          <a:solidFill>
            <a:srgbClr val="EC0000"/>
          </a:solidFill>
        </p:spPr>
        <p:txBody>
          <a:bodyPr lIns="36000" tIns="72000" rIns="36000" bIns="36000" anchor="ctr"/>
          <a:lstStyle>
            <a:lvl1pPr marL="0" indent="0" algn="ctr">
              <a:buNone/>
              <a:defRPr kumimoji="0" lang="en-GB" sz="2000" b="0" i="0" u="none" strike="noStrike" kern="1200" cap="none" spc="0" normalizeH="0" baseline="0" dirty="0">
                <a:ln>
                  <a:noFill/>
                </a:ln>
                <a:solidFill>
                  <a:srgbClr val="FFFFFF"/>
                </a:solidFill>
                <a:effectLst/>
                <a:uLnTx/>
                <a:uFillTx/>
                <a:latin typeface="Santander Headline" panose="020B0504020201020104"/>
                <a:ea typeface="+mn-ea"/>
                <a:cs typeface="+mn-cs"/>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a:t>#</a:t>
            </a:r>
          </a:p>
        </p:txBody>
      </p:sp>
      <p:sp>
        <p:nvSpPr>
          <p:cNvPr id="19" name="Text Placeholder 16">
            <a:extLst>
              <a:ext uri="{FF2B5EF4-FFF2-40B4-BE49-F238E27FC236}">
                <a16:creationId xmlns:a16="http://schemas.microsoft.com/office/drawing/2014/main" id="{F5169B12-9C84-4E09-48C1-75480643661C}"/>
              </a:ext>
            </a:extLst>
          </p:cNvPr>
          <p:cNvSpPr>
            <a:spLocks noGrp="1"/>
          </p:cNvSpPr>
          <p:nvPr>
            <p:ph type="body" sz="quarter" idx="24" hasCustomPrompt="1"/>
          </p:nvPr>
        </p:nvSpPr>
        <p:spPr>
          <a:xfrm>
            <a:off x="1200900" y="3779967"/>
            <a:ext cx="252000" cy="324000"/>
          </a:xfrm>
          <a:prstGeom prst="rect">
            <a:avLst/>
          </a:prstGeom>
          <a:solidFill>
            <a:srgbClr val="184E62"/>
          </a:solidFill>
        </p:spPr>
        <p:txBody>
          <a:bodyPr lIns="36000" tIns="72000" rIns="36000" bIns="36000" anchor="ctr"/>
          <a:lstStyle>
            <a:lvl1pPr marL="0" indent="0" algn="ctr">
              <a:buNone/>
              <a:defRPr kumimoji="0" lang="en-GB" sz="2000" b="0" i="0" u="none" strike="noStrike" kern="1200" cap="none" spc="0" normalizeH="0" baseline="0" dirty="0">
                <a:ln>
                  <a:noFill/>
                </a:ln>
                <a:solidFill>
                  <a:srgbClr val="FFFFFF"/>
                </a:solidFill>
                <a:effectLst/>
                <a:uLnTx/>
                <a:uFillTx/>
                <a:latin typeface="Santander Headline" panose="020B0504020201020104"/>
                <a:ea typeface="+mn-ea"/>
                <a:cs typeface="+mn-cs"/>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a:t>#</a:t>
            </a:r>
          </a:p>
        </p:txBody>
      </p:sp>
      <p:sp>
        <p:nvSpPr>
          <p:cNvPr id="20" name="Text Placeholder 16">
            <a:extLst>
              <a:ext uri="{FF2B5EF4-FFF2-40B4-BE49-F238E27FC236}">
                <a16:creationId xmlns:a16="http://schemas.microsoft.com/office/drawing/2014/main" id="{BBF6A3AA-D67B-859E-8D41-A21112109774}"/>
              </a:ext>
            </a:extLst>
          </p:cNvPr>
          <p:cNvSpPr>
            <a:spLocks noGrp="1"/>
          </p:cNvSpPr>
          <p:nvPr>
            <p:ph type="body" sz="quarter" idx="25" hasCustomPrompt="1"/>
          </p:nvPr>
        </p:nvSpPr>
        <p:spPr>
          <a:xfrm>
            <a:off x="1200900" y="4234927"/>
            <a:ext cx="252000" cy="324000"/>
          </a:xfrm>
          <a:prstGeom prst="rect">
            <a:avLst/>
          </a:prstGeom>
          <a:solidFill>
            <a:srgbClr val="23779A"/>
          </a:solidFill>
        </p:spPr>
        <p:txBody>
          <a:bodyPr lIns="36000" tIns="72000" rIns="36000" bIns="36000" anchor="ctr"/>
          <a:lstStyle>
            <a:lvl1pPr marL="0" indent="0" algn="ctr">
              <a:buNone/>
              <a:defRPr kumimoji="0" lang="en-GB" sz="2000" b="0" i="0" u="none" strike="noStrike" kern="1200" cap="none" spc="0" normalizeH="0" baseline="0" dirty="0">
                <a:ln>
                  <a:noFill/>
                </a:ln>
                <a:solidFill>
                  <a:srgbClr val="FFFFFF"/>
                </a:solidFill>
                <a:effectLst/>
                <a:uLnTx/>
                <a:uFillTx/>
                <a:latin typeface="Santander Headline" panose="020B0504020201020104"/>
                <a:ea typeface="+mn-ea"/>
                <a:cs typeface="+mn-cs"/>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a:t>#</a:t>
            </a:r>
          </a:p>
        </p:txBody>
      </p:sp>
    </p:spTree>
    <p:extLst>
      <p:ext uri="{BB962C8B-B14F-4D97-AF65-F5344CB8AC3E}">
        <p14:creationId xmlns:p14="http://schemas.microsoft.com/office/powerpoint/2010/main" val="2986455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guide id="4" orient="horz" pos="4065">
          <p15:clr>
            <a:srgbClr val="FBAE40"/>
          </p15:clr>
        </p15:guide>
        <p15:guide id="5" orient="horz" pos="383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numbers_Index">
    <p:bg>
      <p:bgPr>
        <a:solidFill>
          <a:srgbClr val="DBD5D0"/>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BA7AB22C-7676-1241-4073-818B903E591E}"/>
              </a:ext>
            </a:extLst>
          </p:cNvPr>
          <p:cNvSpPr/>
          <p:nvPr userDrawn="1"/>
        </p:nvSpPr>
        <p:spPr>
          <a:xfrm flipH="1">
            <a:off x="766762" y="729870"/>
            <a:ext cx="6479111" cy="6414999"/>
          </a:xfrm>
          <a:prstGeom prst="rect">
            <a:avLst/>
          </a:prstGeom>
          <a:gradFill>
            <a:gsLst>
              <a:gs pos="100000">
                <a:schemeClr val="bg1"/>
              </a:gs>
              <a:gs pos="63000">
                <a:schemeClr val="bg1">
                  <a:alpha val="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14" name="Marcador de texto 11">
            <a:extLst>
              <a:ext uri="{FF2B5EF4-FFF2-40B4-BE49-F238E27FC236}">
                <a16:creationId xmlns:a16="http://schemas.microsoft.com/office/drawing/2014/main" id="{0CC57AA0-6C3B-4C80-BF6B-C321A960A96C}"/>
              </a:ext>
            </a:extLst>
          </p:cNvPr>
          <p:cNvSpPr>
            <a:spLocks noGrp="1"/>
          </p:cNvSpPr>
          <p:nvPr>
            <p:ph type="body" sz="quarter" idx="13"/>
          </p:nvPr>
        </p:nvSpPr>
        <p:spPr>
          <a:xfrm>
            <a:off x="1491962" y="1931948"/>
            <a:ext cx="5753911" cy="3644931"/>
          </a:xfrm>
          <a:prstGeom prst="rect">
            <a:avLst/>
          </a:prstGeom>
        </p:spPr>
        <p:txBody>
          <a:bodyPr>
            <a:normAutofit/>
          </a:bodyPr>
          <a:lstStyle>
            <a:lvl1pPr marL="34925" indent="0">
              <a:spcBef>
                <a:spcPts val="0"/>
              </a:spcBef>
              <a:spcAft>
                <a:spcPts val="1200"/>
              </a:spcAft>
              <a:buClr>
                <a:srgbClr val="EC0000"/>
              </a:buClr>
              <a:buSzPct val="100000"/>
              <a:buFont typeface="+mj-lt"/>
              <a:buNone/>
              <a:tabLst/>
              <a:defRPr lang="es-ES" sz="2200" b="0" i="0" kern="1200" dirty="0" smtClean="0">
                <a:solidFill>
                  <a:srgbClr val="3C3C3B"/>
                </a:solidFill>
                <a:latin typeface="Santander Headline" panose="020B0504020201020104" pitchFamily="34" charset="0"/>
                <a:ea typeface="+mn-ea"/>
                <a:cs typeface="Santander Headline" panose="020B0504020201020104" pitchFamily="34" charset="0"/>
              </a:defRPr>
            </a:lvl1pPr>
            <a:lvl2pPr marL="457200" indent="0">
              <a:buNone/>
              <a:defRPr/>
            </a:lvl2pPr>
          </a:lstStyle>
          <a:p>
            <a:pPr lvl="0"/>
            <a:r>
              <a:rPr lang="en-US"/>
              <a:t>Edit Master text styles</a:t>
            </a:r>
          </a:p>
        </p:txBody>
      </p:sp>
      <p:sp>
        <p:nvSpPr>
          <p:cNvPr id="9" name="Marcador de texto 7">
            <a:extLst>
              <a:ext uri="{FF2B5EF4-FFF2-40B4-BE49-F238E27FC236}">
                <a16:creationId xmlns:a16="http://schemas.microsoft.com/office/drawing/2014/main" id="{36368BB1-91D3-7F76-86E7-01818D83DE92}"/>
              </a:ext>
            </a:extLst>
          </p:cNvPr>
          <p:cNvSpPr>
            <a:spLocks noGrp="1"/>
          </p:cNvSpPr>
          <p:nvPr>
            <p:ph type="body" sz="quarter" idx="15" hasCustomPrompt="1"/>
          </p:nvPr>
        </p:nvSpPr>
        <p:spPr>
          <a:xfrm>
            <a:off x="1126201" y="934043"/>
            <a:ext cx="6119672" cy="763588"/>
          </a:xfrm>
          <a:prstGeom prst="rect">
            <a:avLst/>
          </a:prstGeom>
        </p:spPr>
        <p:txBody>
          <a:bodyPr/>
          <a:lstStyle>
            <a:lvl1pPr marL="0" indent="0">
              <a:buNone/>
              <a:defRPr lang="es-ES" sz="4400" b="0" i="0" kern="1200" smtClean="0">
                <a:solidFill>
                  <a:srgbClr val="FF0000"/>
                </a:solidFill>
                <a:latin typeface="Santander Headline" panose="020B0504020201020104" pitchFamily="34" charset="0"/>
                <a:ea typeface="+mj-ea"/>
                <a:cs typeface="Santander Headline" panose="020B0504020201020104" pitchFamily="34" charset="0"/>
              </a:defRPr>
            </a:lvl1pPr>
            <a:lvl2pPr marL="457200" indent="0">
              <a:buNone/>
              <a:defRPr/>
            </a:lvl2pPr>
          </a:lstStyle>
          <a:p>
            <a:pPr lvl="0"/>
            <a:r>
              <a:rPr lang="es-ES"/>
              <a:t>Text</a:t>
            </a:r>
          </a:p>
        </p:txBody>
      </p:sp>
      <p:sp>
        <p:nvSpPr>
          <p:cNvPr id="12" name="Marcador de posición de imagen 5">
            <a:extLst>
              <a:ext uri="{FF2B5EF4-FFF2-40B4-BE49-F238E27FC236}">
                <a16:creationId xmlns:a16="http://schemas.microsoft.com/office/drawing/2014/main" id="{CA9BF8C5-84B7-F1B9-F586-B1E0956B532D}"/>
              </a:ext>
            </a:extLst>
          </p:cNvPr>
          <p:cNvSpPr>
            <a:spLocks noGrp="1"/>
          </p:cNvSpPr>
          <p:nvPr>
            <p:ph type="pic" sz="quarter" idx="10"/>
          </p:nvPr>
        </p:nvSpPr>
        <p:spPr>
          <a:xfrm>
            <a:off x="7561263" y="0"/>
            <a:ext cx="4630737" cy="6858000"/>
          </a:xfrm>
          <a:prstGeom prst="rect">
            <a:avLst/>
          </a:prstGeom>
          <a:solidFill>
            <a:srgbClr val="D9D3CE"/>
          </a:solidFill>
        </p:spPr>
        <p:txBody>
          <a:bodyPr/>
          <a:lstStyle>
            <a:lvl1pPr marL="0" indent="0" algn="ctr">
              <a:buNone/>
              <a:defRPr sz="1800">
                <a:latin typeface="Santander Headline" panose="020B0504020201020104" pitchFamily="34" charset="0"/>
              </a:defRPr>
            </a:lvl1pPr>
          </a:lstStyle>
          <a:p>
            <a:endParaRPr lang="es-ES"/>
          </a:p>
        </p:txBody>
      </p:sp>
      <p:sp>
        <p:nvSpPr>
          <p:cNvPr id="5" name="Text Placeholder 3">
            <a:extLst>
              <a:ext uri="{FF2B5EF4-FFF2-40B4-BE49-F238E27FC236}">
                <a16:creationId xmlns:a16="http://schemas.microsoft.com/office/drawing/2014/main" id="{E4B484C8-E579-F3EC-0267-2CD7AD66E970}"/>
              </a:ext>
            </a:extLst>
          </p:cNvPr>
          <p:cNvSpPr>
            <a:spLocks noGrp="1"/>
          </p:cNvSpPr>
          <p:nvPr>
            <p:ph type="body" sz="quarter" idx="16"/>
          </p:nvPr>
        </p:nvSpPr>
        <p:spPr>
          <a:xfrm>
            <a:off x="10815678" y="89692"/>
            <a:ext cx="1285311" cy="281220"/>
          </a:xfrm>
          <a:prstGeom prst="rect">
            <a:avLst/>
          </a:prstGeom>
          <a:blipFill>
            <a:blip r:embed="rId2">
              <a:lum bright="100000"/>
              <a:extLst>
                <a:ext uri="{96DAC541-7B7A-43D3-8B79-37D633B846F1}">
                  <asvg:svgBlip xmlns:asvg="http://schemas.microsoft.com/office/drawing/2016/SVG/main" r:embed="rId3"/>
                </a:ext>
              </a:extLst>
            </a:blip>
            <a:stretch>
              <a:fillRect/>
            </a:stretch>
          </a:blipFill>
        </p:spPr>
        <p:txBody>
          <a:bodyPr/>
          <a:lstStyle>
            <a:lvl1pPr marL="0" indent="0">
              <a:buNone/>
              <a:defRPr sz="100">
                <a:solidFill>
                  <a:schemeClr val="bg1">
                    <a:alpha val="0"/>
                  </a:schemeClr>
                </a:solidFill>
              </a:defRPr>
            </a:lvl1pPr>
          </a:lstStyle>
          <a:p>
            <a:pPr lvl="0"/>
            <a:endParaRPr lang="en-GB"/>
          </a:p>
        </p:txBody>
      </p:sp>
      <p:sp>
        <p:nvSpPr>
          <p:cNvPr id="2" name="Marcador de texto 12">
            <a:extLst>
              <a:ext uri="{FF2B5EF4-FFF2-40B4-BE49-F238E27FC236}">
                <a16:creationId xmlns:a16="http://schemas.microsoft.com/office/drawing/2014/main" id="{F3AC2824-1D58-05C5-2374-8FA616FC726B}"/>
              </a:ext>
            </a:extLst>
          </p:cNvPr>
          <p:cNvSpPr>
            <a:spLocks noGrp="1" noChangeAspect="1"/>
          </p:cNvSpPr>
          <p:nvPr>
            <p:ph type="body" sz="quarter" idx="19"/>
          </p:nvPr>
        </p:nvSpPr>
        <p:spPr>
          <a:xfrm>
            <a:off x="745994" y="5863748"/>
            <a:ext cx="2212052" cy="403940"/>
          </a:xfrm>
          <a:prstGeom prst="rect">
            <a:avLst/>
          </a:prstGeom>
          <a:blipFill dpi="0" rotWithShape="1">
            <a:blip r:embed="rId4">
              <a:extLst>
                <a:ext uri="{96DAC541-7B7A-43D3-8B79-37D633B846F1}">
                  <asvg:svgBlip xmlns:asvg="http://schemas.microsoft.com/office/drawing/2016/SVG/main" r:embed="rId5"/>
                </a:ext>
              </a:extLst>
            </a:blip>
            <a:srcRect/>
            <a:stretch>
              <a:fillRect/>
            </a:stretch>
          </a:blipFill>
        </p:spPr>
        <p:txBody>
          <a:bodyPr/>
          <a:lstStyle>
            <a:lvl1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1pPr>
            <a:lvl2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2pPr>
            <a:lvl3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3pPr>
            <a:lvl4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4pPr>
            <a:lvl5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1" name="Text Placeholder 16">
            <a:extLst>
              <a:ext uri="{FF2B5EF4-FFF2-40B4-BE49-F238E27FC236}">
                <a16:creationId xmlns:a16="http://schemas.microsoft.com/office/drawing/2014/main" id="{1F58D5B0-6C13-5112-F87A-70F4D40BF147}"/>
              </a:ext>
            </a:extLst>
          </p:cNvPr>
          <p:cNvSpPr>
            <a:spLocks noGrp="1"/>
          </p:cNvSpPr>
          <p:nvPr>
            <p:ph type="body" sz="quarter" idx="20" hasCustomPrompt="1"/>
          </p:nvPr>
        </p:nvSpPr>
        <p:spPr>
          <a:xfrm>
            <a:off x="1200900" y="1960123"/>
            <a:ext cx="252000" cy="324000"/>
          </a:xfrm>
          <a:prstGeom prst="rect">
            <a:avLst/>
          </a:prstGeom>
          <a:solidFill>
            <a:srgbClr val="60001D"/>
          </a:solidFill>
        </p:spPr>
        <p:txBody>
          <a:bodyPr lIns="36000" tIns="72000" rIns="36000" bIns="36000" anchor="ctr"/>
          <a:lstStyle>
            <a:lvl1pPr marL="0" indent="0" algn="ctr">
              <a:buNone/>
              <a:defRPr kumimoji="0" lang="en-GB" sz="2000" b="0" i="0" u="none" strike="noStrike" kern="1200" cap="none" spc="0" normalizeH="0" baseline="0" dirty="0">
                <a:ln>
                  <a:noFill/>
                </a:ln>
                <a:solidFill>
                  <a:srgbClr val="FFFFFF"/>
                </a:solidFill>
                <a:effectLst/>
                <a:uLnTx/>
                <a:uFillTx/>
                <a:latin typeface="Santander Headline" panose="020B0504020201020104"/>
                <a:ea typeface="+mn-ea"/>
                <a:cs typeface="+mn-cs"/>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a:t>#</a:t>
            </a:r>
          </a:p>
        </p:txBody>
      </p:sp>
      <p:sp>
        <p:nvSpPr>
          <p:cNvPr id="42" name="Text Placeholder 16">
            <a:extLst>
              <a:ext uri="{FF2B5EF4-FFF2-40B4-BE49-F238E27FC236}">
                <a16:creationId xmlns:a16="http://schemas.microsoft.com/office/drawing/2014/main" id="{389E300F-9380-EAF5-8C77-38F42454F7B5}"/>
              </a:ext>
            </a:extLst>
          </p:cNvPr>
          <p:cNvSpPr>
            <a:spLocks noGrp="1"/>
          </p:cNvSpPr>
          <p:nvPr>
            <p:ph type="body" sz="quarter" idx="21" hasCustomPrompt="1"/>
          </p:nvPr>
        </p:nvSpPr>
        <p:spPr>
          <a:xfrm>
            <a:off x="1200900" y="2415084"/>
            <a:ext cx="252000" cy="324000"/>
          </a:xfrm>
          <a:prstGeom prst="rect">
            <a:avLst/>
          </a:prstGeom>
          <a:solidFill>
            <a:srgbClr val="8C0014"/>
          </a:solidFill>
        </p:spPr>
        <p:txBody>
          <a:bodyPr lIns="36000" tIns="72000" rIns="36000" bIns="36000" anchor="ctr"/>
          <a:lstStyle>
            <a:lvl1pPr marL="0" indent="0" algn="ctr">
              <a:buNone/>
              <a:defRPr kumimoji="0" lang="en-GB" sz="2000" b="0" i="0" u="none" strike="noStrike" kern="1200" cap="none" spc="0" normalizeH="0" baseline="0" dirty="0">
                <a:ln>
                  <a:noFill/>
                </a:ln>
                <a:solidFill>
                  <a:srgbClr val="FFFFFF"/>
                </a:solidFill>
                <a:effectLst/>
                <a:uLnTx/>
                <a:uFillTx/>
                <a:latin typeface="Santander Headline" panose="020B0504020201020104"/>
                <a:ea typeface="+mn-ea"/>
                <a:cs typeface="+mn-cs"/>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a:t>#</a:t>
            </a:r>
          </a:p>
        </p:txBody>
      </p:sp>
      <p:sp>
        <p:nvSpPr>
          <p:cNvPr id="43" name="Text Placeholder 16">
            <a:extLst>
              <a:ext uri="{FF2B5EF4-FFF2-40B4-BE49-F238E27FC236}">
                <a16:creationId xmlns:a16="http://schemas.microsoft.com/office/drawing/2014/main" id="{40BE9830-6D99-B55D-305A-7E1B0851B974}"/>
              </a:ext>
            </a:extLst>
          </p:cNvPr>
          <p:cNvSpPr>
            <a:spLocks noGrp="1"/>
          </p:cNvSpPr>
          <p:nvPr>
            <p:ph type="body" sz="quarter" idx="22" hasCustomPrompt="1"/>
          </p:nvPr>
        </p:nvSpPr>
        <p:spPr>
          <a:xfrm>
            <a:off x="1200900" y="2870045"/>
            <a:ext cx="252000" cy="324000"/>
          </a:xfrm>
          <a:prstGeom prst="rect">
            <a:avLst/>
          </a:prstGeom>
          <a:solidFill>
            <a:srgbClr val="BA010A"/>
          </a:solidFill>
        </p:spPr>
        <p:txBody>
          <a:bodyPr lIns="36000" tIns="72000" rIns="36000" bIns="36000" anchor="ctr"/>
          <a:lstStyle>
            <a:lvl1pPr marL="0" indent="0" algn="ctr">
              <a:buNone/>
              <a:defRPr kumimoji="0" lang="en-GB" sz="2000" b="0" i="0" u="none" strike="noStrike" kern="1200" cap="none" spc="0" normalizeH="0" baseline="0" dirty="0">
                <a:ln>
                  <a:noFill/>
                </a:ln>
                <a:solidFill>
                  <a:srgbClr val="FFFFFF"/>
                </a:solidFill>
                <a:effectLst/>
                <a:uLnTx/>
                <a:uFillTx/>
                <a:latin typeface="Santander Headline" panose="020B0504020201020104"/>
                <a:ea typeface="+mn-ea"/>
                <a:cs typeface="+mn-cs"/>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a:t>#</a:t>
            </a:r>
          </a:p>
        </p:txBody>
      </p:sp>
      <p:sp>
        <p:nvSpPr>
          <p:cNvPr id="44" name="Text Placeholder 16">
            <a:extLst>
              <a:ext uri="{FF2B5EF4-FFF2-40B4-BE49-F238E27FC236}">
                <a16:creationId xmlns:a16="http://schemas.microsoft.com/office/drawing/2014/main" id="{2B3DC02A-4D33-FB22-A151-6A814513360F}"/>
              </a:ext>
            </a:extLst>
          </p:cNvPr>
          <p:cNvSpPr>
            <a:spLocks noGrp="1"/>
          </p:cNvSpPr>
          <p:nvPr>
            <p:ph type="body" sz="quarter" idx="23" hasCustomPrompt="1"/>
          </p:nvPr>
        </p:nvSpPr>
        <p:spPr>
          <a:xfrm>
            <a:off x="1200900" y="3325006"/>
            <a:ext cx="252000" cy="324000"/>
          </a:xfrm>
          <a:prstGeom prst="rect">
            <a:avLst/>
          </a:prstGeom>
          <a:solidFill>
            <a:srgbClr val="EC0000"/>
          </a:solidFill>
        </p:spPr>
        <p:txBody>
          <a:bodyPr lIns="36000" tIns="72000" rIns="36000" bIns="36000" anchor="ctr"/>
          <a:lstStyle>
            <a:lvl1pPr marL="0" indent="0" algn="ctr">
              <a:buNone/>
              <a:defRPr kumimoji="0" lang="en-GB" sz="2000" b="0" i="0" u="none" strike="noStrike" kern="1200" cap="none" spc="0" normalizeH="0" baseline="0" dirty="0">
                <a:ln>
                  <a:noFill/>
                </a:ln>
                <a:solidFill>
                  <a:srgbClr val="FFFFFF"/>
                </a:solidFill>
                <a:effectLst/>
                <a:uLnTx/>
                <a:uFillTx/>
                <a:latin typeface="Santander Headline" panose="020B0504020201020104"/>
                <a:ea typeface="+mn-ea"/>
                <a:cs typeface="+mn-cs"/>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a:t>#</a:t>
            </a:r>
          </a:p>
        </p:txBody>
      </p:sp>
      <p:sp>
        <p:nvSpPr>
          <p:cNvPr id="45" name="Text Placeholder 16">
            <a:extLst>
              <a:ext uri="{FF2B5EF4-FFF2-40B4-BE49-F238E27FC236}">
                <a16:creationId xmlns:a16="http://schemas.microsoft.com/office/drawing/2014/main" id="{B46B46C2-9F7F-BAD1-3BBF-3A1F259D72C1}"/>
              </a:ext>
            </a:extLst>
          </p:cNvPr>
          <p:cNvSpPr>
            <a:spLocks noGrp="1"/>
          </p:cNvSpPr>
          <p:nvPr>
            <p:ph type="body" sz="quarter" idx="24" hasCustomPrompt="1"/>
          </p:nvPr>
        </p:nvSpPr>
        <p:spPr>
          <a:xfrm>
            <a:off x="1200900" y="3779967"/>
            <a:ext cx="252000" cy="324000"/>
          </a:xfrm>
          <a:prstGeom prst="rect">
            <a:avLst/>
          </a:prstGeom>
          <a:solidFill>
            <a:srgbClr val="184E62"/>
          </a:solidFill>
        </p:spPr>
        <p:txBody>
          <a:bodyPr lIns="36000" tIns="72000" rIns="36000" bIns="36000" anchor="ctr"/>
          <a:lstStyle>
            <a:lvl1pPr marL="0" indent="0" algn="ctr">
              <a:buNone/>
              <a:defRPr kumimoji="0" lang="en-GB" sz="2000" b="0" i="0" u="none" strike="noStrike" kern="1200" cap="none" spc="0" normalizeH="0" baseline="0" dirty="0">
                <a:ln>
                  <a:noFill/>
                </a:ln>
                <a:solidFill>
                  <a:srgbClr val="FFFFFF"/>
                </a:solidFill>
                <a:effectLst/>
                <a:uLnTx/>
                <a:uFillTx/>
                <a:latin typeface="Santander Headline" panose="020B0504020201020104"/>
                <a:ea typeface="+mn-ea"/>
                <a:cs typeface="+mn-cs"/>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a:t>#</a:t>
            </a:r>
          </a:p>
        </p:txBody>
      </p:sp>
      <p:sp>
        <p:nvSpPr>
          <p:cNvPr id="46" name="Text Placeholder 16">
            <a:extLst>
              <a:ext uri="{FF2B5EF4-FFF2-40B4-BE49-F238E27FC236}">
                <a16:creationId xmlns:a16="http://schemas.microsoft.com/office/drawing/2014/main" id="{7D43F254-A9F1-52D1-6F77-2F68D4A55BD7}"/>
              </a:ext>
            </a:extLst>
          </p:cNvPr>
          <p:cNvSpPr>
            <a:spLocks noGrp="1"/>
          </p:cNvSpPr>
          <p:nvPr>
            <p:ph type="body" sz="quarter" idx="25" hasCustomPrompt="1"/>
          </p:nvPr>
        </p:nvSpPr>
        <p:spPr>
          <a:xfrm>
            <a:off x="1200900" y="4234927"/>
            <a:ext cx="252000" cy="324000"/>
          </a:xfrm>
          <a:prstGeom prst="rect">
            <a:avLst/>
          </a:prstGeom>
          <a:solidFill>
            <a:srgbClr val="23779A"/>
          </a:solidFill>
        </p:spPr>
        <p:txBody>
          <a:bodyPr lIns="36000" tIns="72000" rIns="36000" bIns="36000" anchor="ctr"/>
          <a:lstStyle>
            <a:lvl1pPr marL="0" indent="0" algn="ctr">
              <a:buNone/>
              <a:defRPr kumimoji="0" lang="en-GB" sz="2000" b="0" i="0" u="none" strike="noStrike" kern="1200" cap="none" spc="0" normalizeH="0" baseline="0" dirty="0">
                <a:ln>
                  <a:noFill/>
                </a:ln>
                <a:solidFill>
                  <a:srgbClr val="FFFFFF"/>
                </a:solidFill>
                <a:effectLst/>
                <a:uLnTx/>
                <a:uFillTx/>
                <a:latin typeface="Santander Headline" panose="020B0504020201020104"/>
                <a:ea typeface="+mn-ea"/>
                <a:cs typeface="+mn-cs"/>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a:t>#</a:t>
            </a:r>
          </a:p>
        </p:txBody>
      </p:sp>
    </p:spTree>
    <p:extLst>
      <p:ext uri="{BB962C8B-B14F-4D97-AF65-F5344CB8AC3E}">
        <p14:creationId xmlns:p14="http://schemas.microsoft.com/office/powerpoint/2010/main" val="25013160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guide id="4" orient="horz" pos="4065">
          <p15:clr>
            <a:srgbClr val="FBAE40"/>
          </p15:clr>
        </p15:guide>
        <p15:guide id="5" orient="horz" pos="383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FFEF6-A65C-46EE-72F4-7D433B26C1F3}"/>
              </a:ext>
            </a:extLst>
          </p:cNvPr>
          <p:cNvSpPr>
            <a:spLocks noGrp="1"/>
          </p:cNvSpPr>
          <p:nvPr>
            <p:ph type="title"/>
          </p:nvPr>
        </p:nvSpPr>
        <p:spPr>
          <a:xfrm>
            <a:off x="839788" y="365125"/>
            <a:ext cx="10515600" cy="1325563"/>
          </a:xfrm>
        </p:spPr>
        <p:txBody>
          <a:bodyPr/>
          <a:lstStyle/>
          <a:p>
            <a:r>
              <a:rPr lang="en-US"/>
              <a:t>Click to edit Master title style</a:t>
            </a:r>
            <a:endParaRPr lang="es-ES"/>
          </a:p>
        </p:txBody>
      </p:sp>
      <p:sp>
        <p:nvSpPr>
          <p:cNvPr id="3" name="Text Placeholder 2">
            <a:extLst>
              <a:ext uri="{FF2B5EF4-FFF2-40B4-BE49-F238E27FC236}">
                <a16:creationId xmlns:a16="http://schemas.microsoft.com/office/drawing/2014/main" id="{FD3FBE0B-E841-C01B-7568-320C2DC1E1A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D7F8F4A-E178-1A0C-41E2-72970F37F49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5" name="Text Placeholder 4">
            <a:extLst>
              <a:ext uri="{FF2B5EF4-FFF2-40B4-BE49-F238E27FC236}">
                <a16:creationId xmlns:a16="http://schemas.microsoft.com/office/drawing/2014/main" id="{1E3C225B-4CDC-D9DD-BF95-64028BD1C94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05F238-C580-0A50-1B3E-D558CAA03CC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7" name="Date Placeholder 6">
            <a:extLst>
              <a:ext uri="{FF2B5EF4-FFF2-40B4-BE49-F238E27FC236}">
                <a16:creationId xmlns:a16="http://schemas.microsoft.com/office/drawing/2014/main" id="{BF45B31E-D1CC-AF47-AD24-1DD6441B9D25}"/>
              </a:ext>
            </a:extLst>
          </p:cNvPr>
          <p:cNvSpPr>
            <a:spLocks noGrp="1"/>
          </p:cNvSpPr>
          <p:nvPr>
            <p:ph type="dt" sz="half" idx="10"/>
          </p:nvPr>
        </p:nvSpPr>
        <p:spPr/>
        <p:txBody>
          <a:bodyPr/>
          <a:lstStyle/>
          <a:p>
            <a:fld id="{2936A72B-74AE-4828-B363-D54F043C4597}" type="datetimeFigureOut">
              <a:rPr lang="es-ES" smtClean="0"/>
              <a:t>03/12/2025</a:t>
            </a:fld>
            <a:endParaRPr lang="es-ES"/>
          </a:p>
        </p:txBody>
      </p:sp>
      <p:sp>
        <p:nvSpPr>
          <p:cNvPr id="8" name="Footer Placeholder 7">
            <a:extLst>
              <a:ext uri="{FF2B5EF4-FFF2-40B4-BE49-F238E27FC236}">
                <a16:creationId xmlns:a16="http://schemas.microsoft.com/office/drawing/2014/main" id="{4CCDEE58-D7C8-3CAD-3EEE-998F916B41D3}"/>
              </a:ext>
            </a:extLst>
          </p:cNvPr>
          <p:cNvSpPr>
            <a:spLocks noGrp="1"/>
          </p:cNvSpPr>
          <p:nvPr>
            <p:ph type="ftr" sz="quarter" idx="11"/>
          </p:nvPr>
        </p:nvSpPr>
        <p:spPr/>
        <p:txBody>
          <a:bodyPr/>
          <a:lstStyle/>
          <a:p>
            <a:endParaRPr lang="es-ES"/>
          </a:p>
        </p:txBody>
      </p:sp>
      <p:sp>
        <p:nvSpPr>
          <p:cNvPr id="9" name="Slide Number Placeholder 8">
            <a:extLst>
              <a:ext uri="{FF2B5EF4-FFF2-40B4-BE49-F238E27FC236}">
                <a16:creationId xmlns:a16="http://schemas.microsoft.com/office/drawing/2014/main" id="{9A8BA89E-E56E-21E2-3456-90A5B12B891B}"/>
              </a:ext>
            </a:extLst>
          </p:cNvPr>
          <p:cNvSpPr>
            <a:spLocks noGrp="1"/>
          </p:cNvSpPr>
          <p:nvPr>
            <p:ph type="sldNum" sz="quarter" idx="12"/>
          </p:nvPr>
        </p:nvSpPr>
        <p:spPr/>
        <p:txBody>
          <a:bodyPr/>
          <a:lstStyle/>
          <a:p>
            <a:fld id="{9CC58EAA-8CE3-4B47-B600-46B910A49F95}" type="slidenum">
              <a:rPr lang="es-ES" smtClean="0"/>
              <a:t>‹#›</a:t>
            </a:fld>
            <a:endParaRPr lang="es-ES"/>
          </a:p>
        </p:txBody>
      </p:sp>
    </p:spTree>
    <p:extLst>
      <p:ext uri="{BB962C8B-B14F-4D97-AF65-F5344CB8AC3E}">
        <p14:creationId xmlns:p14="http://schemas.microsoft.com/office/powerpoint/2010/main" val="802505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Section Divider sand">
    <p:bg>
      <p:bgPr>
        <a:solidFill>
          <a:srgbClr val="DBD5D0"/>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422F74A0-4327-534D-44A6-380DB136C5C9}"/>
              </a:ext>
            </a:extLst>
          </p:cNvPr>
          <p:cNvSpPr/>
          <p:nvPr userDrawn="1"/>
        </p:nvSpPr>
        <p:spPr>
          <a:xfrm>
            <a:off x="0" y="752749"/>
            <a:ext cx="8541658" cy="6111827"/>
          </a:xfrm>
          <a:prstGeom prst="rect">
            <a:avLst/>
          </a:prstGeom>
          <a:gradFill>
            <a:gsLst>
              <a:gs pos="100000">
                <a:schemeClr val="bg1"/>
              </a:gs>
              <a:gs pos="63000">
                <a:schemeClr val="bg1">
                  <a:alpha val="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2" name="Título 1">
            <a:extLst>
              <a:ext uri="{FF2B5EF4-FFF2-40B4-BE49-F238E27FC236}">
                <a16:creationId xmlns:a16="http://schemas.microsoft.com/office/drawing/2014/main" id="{B045CB15-1F44-40E1-909E-6233010BC133}"/>
              </a:ext>
            </a:extLst>
          </p:cNvPr>
          <p:cNvSpPr>
            <a:spLocks noGrp="1"/>
          </p:cNvSpPr>
          <p:nvPr>
            <p:ph type="title" hasCustomPrompt="1"/>
          </p:nvPr>
        </p:nvSpPr>
        <p:spPr>
          <a:xfrm>
            <a:off x="688833" y="1044349"/>
            <a:ext cx="3904939" cy="2852737"/>
          </a:xfrm>
          <a:prstGeom prst="rect">
            <a:avLst/>
          </a:prstGeom>
        </p:spPr>
        <p:txBody>
          <a:bodyPr anchor="t">
            <a:normAutofit/>
          </a:bodyPr>
          <a:lstStyle>
            <a:lvl1pPr>
              <a:lnSpc>
                <a:spcPct val="100000"/>
              </a:lnSpc>
              <a:defRPr sz="4000" b="0" i="0">
                <a:solidFill>
                  <a:schemeClr val="tx2"/>
                </a:solidFill>
                <a:latin typeface="Santander Headline" panose="020B0504020201020104" pitchFamily="34" charset="0"/>
                <a:cs typeface="Santander Headline" panose="020B0504020201020104" pitchFamily="34" charset="0"/>
              </a:defRPr>
            </a:lvl1pPr>
          </a:lstStyle>
          <a:p>
            <a:r>
              <a:rPr lang="en-US"/>
              <a:t>Click to edit Master title style</a:t>
            </a:r>
            <a:endParaRPr lang="es-ES"/>
          </a:p>
        </p:txBody>
      </p:sp>
      <p:sp>
        <p:nvSpPr>
          <p:cNvPr id="14" name="Marcador de texto 13">
            <a:extLst>
              <a:ext uri="{FF2B5EF4-FFF2-40B4-BE49-F238E27FC236}">
                <a16:creationId xmlns:a16="http://schemas.microsoft.com/office/drawing/2014/main" id="{6E38BAEA-EEE9-4346-9DB7-91D26BC942D7}"/>
              </a:ext>
            </a:extLst>
          </p:cNvPr>
          <p:cNvSpPr>
            <a:spLocks noGrp="1"/>
          </p:cNvSpPr>
          <p:nvPr>
            <p:ph type="body" sz="quarter" idx="14" hasCustomPrompt="1"/>
          </p:nvPr>
        </p:nvSpPr>
        <p:spPr>
          <a:xfrm>
            <a:off x="8879903" y="4438926"/>
            <a:ext cx="2958754" cy="2364961"/>
          </a:xfrm>
          <a:prstGeom prst="rect">
            <a:avLst/>
          </a:prstGeom>
        </p:spPr>
        <p:txBody>
          <a:bodyPr>
            <a:noAutofit/>
          </a:bodyPr>
          <a:lstStyle>
            <a:lvl1pPr marL="0" indent="0" algn="r">
              <a:buFontTx/>
              <a:buNone/>
              <a:defRPr sz="16600" b="0" i="0">
                <a:solidFill>
                  <a:srgbClr val="EC0000"/>
                </a:solidFill>
                <a:latin typeface="Santander Headline" panose="020B0504020201020104" pitchFamily="34" charset="0"/>
                <a:cs typeface="Santander Headline" panose="020B0504020201020104" pitchFamily="34" charset="0"/>
              </a:defRPr>
            </a:lvl1pPr>
            <a:lvl2pPr>
              <a:defRPr sz="13800">
                <a:solidFill>
                  <a:schemeClr val="tx1"/>
                </a:solidFill>
              </a:defRPr>
            </a:lvl2pPr>
            <a:lvl3pPr>
              <a:defRPr sz="11500">
                <a:solidFill>
                  <a:schemeClr val="tx1"/>
                </a:solidFill>
              </a:defRPr>
            </a:lvl3pPr>
            <a:lvl4pPr>
              <a:defRPr sz="9600">
                <a:solidFill>
                  <a:schemeClr val="tx1"/>
                </a:solidFill>
              </a:defRPr>
            </a:lvl4pPr>
            <a:lvl5pPr>
              <a:defRPr sz="9600">
                <a:solidFill>
                  <a:schemeClr val="tx1"/>
                </a:solidFill>
              </a:defRPr>
            </a:lvl5pPr>
          </a:lstStyle>
          <a:p>
            <a:pPr lvl="0"/>
            <a:r>
              <a:rPr lang="es-ES"/>
              <a:t>00</a:t>
            </a:r>
          </a:p>
        </p:txBody>
      </p:sp>
      <p:pic>
        <p:nvPicPr>
          <p:cNvPr id="5" name="Gráfico 4">
            <a:extLst>
              <a:ext uri="{FF2B5EF4-FFF2-40B4-BE49-F238E27FC236}">
                <a16:creationId xmlns:a16="http://schemas.microsoft.com/office/drawing/2014/main" id="{2B82C46A-8AD2-533C-BC43-C2FB61F0E86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1850" y="5860646"/>
            <a:ext cx="2201021" cy="413314"/>
          </a:xfrm>
          <a:prstGeom prst="rect">
            <a:avLst/>
          </a:prstGeom>
        </p:spPr>
      </p:pic>
    </p:spTree>
    <p:extLst>
      <p:ext uri="{BB962C8B-B14F-4D97-AF65-F5344CB8AC3E}">
        <p14:creationId xmlns:p14="http://schemas.microsoft.com/office/powerpoint/2010/main" val="12584794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ection Divider Burgundy">
    <p:bg>
      <p:bgPr>
        <a:solidFill>
          <a:srgbClr val="60001D"/>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F94E1F82-09BE-AB42-AA79-2BAB74E552E7}"/>
              </a:ext>
            </a:extLst>
          </p:cNvPr>
          <p:cNvSpPr/>
          <p:nvPr userDrawn="1"/>
        </p:nvSpPr>
        <p:spPr>
          <a:xfrm>
            <a:off x="0" y="752750"/>
            <a:ext cx="8541658" cy="6111827"/>
          </a:xfrm>
          <a:prstGeom prst="rect">
            <a:avLst/>
          </a:prstGeom>
          <a:gradFill>
            <a:gsLst>
              <a:gs pos="100000">
                <a:srgbClr val="8C0014"/>
              </a:gs>
              <a:gs pos="63000">
                <a:srgbClr val="64001E"/>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2" name="Título 1">
            <a:extLst>
              <a:ext uri="{FF2B5EF4-FFF2-40B4-BE49-F238E27FC236}">
                <a16:creationId xmlns:a16="http://schemas.microsoft.com/office/drawing/2014/main" id="{B045CB15-1F44-40E1-909E-6233010BC133}"/>
              </a:ext>
            </a:extLst>
          </p:cNvPr>
          <p:cNvSpPr>
            <a:spLocks noGrp="1"/>
          </p:cNvSpPr>
          <p:nvPr>
            <p:ph type="title" hasCustomPrompt="1"/>
          </p:nvPr>
        </p:nvSpPr>
        <p:spPr>
          <a:xfrm>
            <a:off x="688833" y="1044349"/>
            <a:ext cx="3904939" cy="2852737"/>
          </a:xfrm>
          <a:prstGeom prst="rect">
            <a:avLst/>
          </a:prstGeom>
        </p:spPr>
        <p:txBody>
          <a:bodyPr anchor="t">
            <a:normAutofit/>
          </a:bodyPr>
          <a:lstStyle>
            <a:lvl1pPr>
              <a:lnSpc>
                <a:spcPct val="100000"/>
              </a:lnSpc>
              <a:defRPr sz="4000" b="0" i="0">
                <a:solidFill>
                  <a:schemeClr val="bg1"/>
                </a:solidFill>
                <a:latin typeface="Santander Headline" panose="020B0504020201020104" pitchFamily="34" charset="0"/>
                <a:cs typeface="Santander Headline" panose="020B0504020201020104" pitchFamily="34" charset="0"/>
              </a:defRPr>
            </a:lvl1pPr>
          </a:lstStyle>
          <a:p>
            <a:r>
              <a:rPr lang="en-US"/>
              <a:t>Click to edit Master title style</a:t>
            </a:r>
            <a:endParaRPr lang="es-ES"/>
          </a:p>
        </p:txBody>
      </p:sp>
      <p:sp>
        <p:nvSpPr>
          <p:cNvPr id="14" name="Marcador de texto 13">
            <a:extLst>
              <a:ext uri="{FF2B5EF4-FFF2-40B4-BE49-F238E27FC236}">
                <a16:creationId xmlns:a16="http://schemas.microsoft.com/office/drawing/2014/main" id="{6E38BAEA-EEE9-4346-9DB7-91D26BC942D7}"/>
              </a:ext>
            </a:extLst>
          </p:cNvPr>
          <p:cNvSpPr>
            <a:spLocks noGrp="1"/>
          </p:cNvSpPr>
          <p:nvPr>
            <p:ph type="body" sz="quarter" idx="14" hasCustomPrompt="1"/>
          </p:nvPr>
        </p:nvSpPr>
        <p:spPr>
          <a:xfrm>
            <a:off x="8879903" y="4438926"/>
            <a:ext cx="2958754" cy="2364961"/>
          </a:xfrm>
          <a:prstGeom prst="rect">
            <a:avLst/>
          </a:prstGeom>
        </p:spPr>
        <p:txBody>
          <a:bodyPr>
            <a:noAutofit/>
          </a:bodyPr>
          <a:lstStyle>
            <a:lvl1pPr marL="0" indent="0" algn="r">
              <a:buFontTx/>
              <a:buNone/>
              <a:defRPr sz="16600" b="0" i="0">
                <a:solidFill>
                  <a:srgbClr val="EC0000"/>
                </a:solidFill>
                <a:latin typeface="Santander Headline" panose="020B0504020201020104" pitchFamily="34" charset="0"/>
                <a:cs typeface="Santander Headline" panose="020B0504020201020104" pitchFamily="34" charset="0"/>
              </a:defRPr>
            </a:lvl1pPr>
            <a:lvl2pPr>
              <a:defRPr sz="13800">
                <a:solidFill>
                  <a:schemeClr val="tx1"/>
                </a:solidFill>
              </a:defRPr>
            </a:lvl2pPr>
            <a:lvl3pPr>
              <a:defRPr sz="11500">
                <a:solidFill>
                  <a:schemeClr val="tx1"/>
                </a:solidFill>
              </a:defRPr>
            </a:lvl3pPr>
            <a:lvl4pPr>
              <a:defRPr sz="9600">
                <a:solidFill>
                  <a:schemeClr val="tx1"/>
                </a:solidFill>
              </a:defRPr>
            </a:lvl4pPr>
            <a:lvl5pPr>
              <a:defRPr sz="9600">
                <a:solidFill>
                  <a:schemeClr val="tx1"/>
                </a:solidFill>
              </a:defRPr>
            </a:lvl5pPr>
          </a:lstStyle>
          <a:p>
            <a:pPr lvl="0"/>
            <a:r>
              <a:rPr lang="es-ES"/>
              <a:t>00</a:t>
            </a:r>
          </a:p>
        </p:txBody>
      </p:sp>
      <p:pic>
        <p:nvPicPr>
          <p:cNvPr id="5" name="Gráfico 4">
            <a:extLst>
              <a:ext uri="{FF2B5EF4-FFF2-40B4-BE49-F238E27FC236}">
                <a16:creationId xmlns:a16="http://schemas.microsoft.com/office/drawing/2014/main" id="{2B82C46A-8AD2-533C-BC43-C2FB61F0E86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1850" y="5860646"/>
            <a:ext cx="2201021" cy="413314"/>
          </a:xfrm>
          <a:prstGeom prst="rect">
            <a:avLst/>
          </a:prstGeom>
        </p:spPr>
      </p:pic>
      <p:sp>
        <p:nvSpPr>
          <p:cNvPr id="3" name="Text Placeholder 3">
            <a:extLst>
              <a:ext uri="{FF2B5EF4-FFF2-40B4-BE49-F238E27FC236}">
                <a16:creationId xmlns:a16="http://schemas.microsoft.com/office/drawing/2014/main" id="{2CA41D73-D108-9CDE-EDD8-D17429DDC128}"/>
              </a:ext>
            </a:extLst>
          </p:cNvPr>
          <p:cNvSpPr>
            <a:spLocks noGrp="1"/>
          </p:cNvSpPr>
          <p:nvPr>
            <p:ph type="body" sz="quarter" idx="16"/>
          </p:nvPr>
        </p:nvSpPr>
        <p:spPr>
          <a:xfrm>
            <a:off x="10815678" y="89692"/>
            <a:ext cx="1285311" cy="281220"/>
          </a:xfrm>
          <a:prstGeom prst="rect">
            <a:avLst/>
          </a:prstGeom>
          <a:blipFill>
            <a:blip r:embed="rId4">
              <a:lum bright="100000"/>
              <a:extLst>
                <a:ext uri="{96DAC541-7B7A-43D3-8B79-37D633B846F1}">
                  <asvg:svgBlip xmlns:asvg="http://schemas.microsoft.com/office/drawing/2016/SVG/main" r:embed="rId5"/>
                </a:ext>
              </a:extLst>
            </a:blip>
            <a:stretch>
              <a:fillRect/>
            </a:stretch>
          </a:blipFill>
        </p:spPr>
        <p:txBody>
          <a:bodyPr/>
          <a:lstStyle>
            <a:lvl1pPr marL="0" indent="0">
              <a:buNone/>
              <a:defRPr sz="100">
                <a:solidFill>
                  <a:schemeClr val="bg1">
                    <a:alpha val="0"/>
                  </a:schemeClr>
                </a:solidFill>
              </a:defRPr>
            </a:lvl1pPr>
          </a:lstStyle>
          <a:p>
            <a:pPr lvl="0"/>
            <a:endParaRPr lang="en-GB"/>
          </a:p>
        </p:txBody>
      </p:sp>
    </p:spTree>
    <p:extLst>
      <p:ext uri="{BB962C8B-B14F-4D97-AF65-F5344CB8AC3E}">
        <p14:creationId xmlns:p14="http://schemas.microsoft.com/office/powerpoint/2010/main" val="11394749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Section Divider Burgundy">
    <p:spTree>
      <p:nvGrpSpPr>
        <p:cNvPr id="1" name=""/>
        <p:cNvGrpSpPr/>
        <p:nvPr/>
      </p:nvGrpSpPr>
      <p:grpSpPr>
        <a:xfrm>
          <a:off x="0" y="0"/>
          <a:ext cx="0" cy="0"/>
          <a:chOff x="0" y="0"/>
          <a:chExt cx="0" cy="0"/>
        </a:xfrm>
      </p:grpSpPr>
      <p:sp>
        <p:nvSpPr>
          <p:cNvPr id="14" name="Marcador de texto 13">
            <a:extLst>
              <a:ext uri="{FF2B5EF4-FFF2-40B4-BE49-F238E27FC236}">
                <a16:creationId xmlns:a16="http://schemas.microsoft.com/office/drawing/2014/main" id="{6E38BAEA-EEE9-4346-9DB7-91D26BC942D7}"/>
              </a:ext>
            </a:extLst>
          </p:cNvPr>
          <p:cNvSpPr>
            <a:spLocks noGrp="1"/>
          </p:cNvSpPr>
          <p:nvPr>
            <p:ph type="body" sz="quarter" idx="14" hasCustomPrompt="1"/>
          </p:nvPr>
        </p:nvSpPr>
        <p:spPr>
          <a:xfrm>
            <a:off x="8879903" y="4438926"/>
            <a:ext cx="2958754" cy="2364961"/>
          </a:xfrm>
          <a:prstGeom prst="rect">
            <a:avLst/>
          </a:prstGeom>
        </p:spPr>
        <p:txBody>
          <a:bodyPr>
            <a:noAutofit/>
          </a:bodyPr>
          <a:lstStyle>
            <a:lvl1pPr marL="0" indent="0" algn="r">
              <a:buFontTx/>
              <a:buNone/>
              <a:defRPr sz="16600" b="0" i="0">
                <a:solidFill>
                  <a:srgbClr val="EC0000"/>
                </a:solidFill>
                <a:latin typeface="Santander Headline" panose="020B0504020201020104" pitchFamily="34" charset="0"/>
                <a:cs typeface="Santander Headline" panose="020B0504020201020104" pitchFamily="34" charset="0"/>
              </a:defRPr>
            </a:lvl1pPr>
            <a:lvl2pPr>
              <a:defRPr sz="13800">
                <a:solidFill>
                  <a:schemeClr val="tx1"/>
                </a:solidFill>
              </a:defRPr>
            </a:lvl2pPr>
            <a:lvl3pPr>
              <a:defRPr sz="11500">
                <a:solidFill>
                  <a:schemeClr val="tx1"/>
                </a:solidFill>
              </a:defRPr>
            </a:lvl3pPr>
            <a:lvl4pPr>
              <a:defRPr sz="9600">
                <a:solidFill>
                  <a:schemeClr val="tx1"/>
                </a:solidFill>
              </a:defRPr>
            </a:lvl4pPr>
            <a:lvl5pPr>
              <a:defRPr sz="9600">
                <a:solidFill>
                  <a:schemeClr val="tx1"/>
                </a:solidFill>
              </a:defRPr>
            </a:lvl5pPr>
          </a:lstStyle>
          <a:p>
            <a:pPr lvl="0"/>
            <a:r>
              <a:rPr lang="es-ES"/>
              <a:t>00</a:t>
            </a:r>
          </a:p>
        </p:txBody>
      </p:sp>
      <p:sp>
        <p:nvSpPr>
          <p:cNvPr id="11" name="Marcador de texto 9">
            <a:extLst>
              <a:ext uri="{FF2B5EF4-FFF2-40B4-BE49-F238E27FC236}">
                <a16:creationId xmlns:a16="http://schemas.microsoft.com/office/drawing/2014/main" id="{5F41502A-FBBB-CA84-2151-6ABBCEC5F2C3}"/>
              </a:ext>
            </a:extLst>
          </p:cNvPr>
          <p:cNvSpPr>
            <a:spLocks noGrp="1"/>
          </p:cNvSpPr>
          <p:nvPr>
            <p:ph type="body" sz="quarter" idx="17"/>
          </p:nvPr>
        </p:nvSpPr>
        <p:spPr>
          <a:xfrm>
            <a:off x="0" y="752475"/>
            <a:ext cx="8547614" cy="6105525"/>
          </a:xfrm>
          <a:prstGeom prst="rect">
            <a:avLst/>
          </a:prstGeom>
          <a:gradFill>
            <a:gsLst>
              <a:gs pos="100000">
                <a:srgbClr val="8C0014"/>
              </a:gs>
              <a:gs pos="30000">
                <a:srgbClr val="64001E">
                  <a:alpha val="0"/>
                </a:srgb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a:defRPr lang="es-ES" sz="100" smtClean="0">
                <a:noFill/>
                <a:latin typeface="Santander Headline" panose="020B0504020201020104" pitchFamily="34" charset="0"/>
              </a:defRPr>
            </a:lvl1pPr>
            <a:lvl2pPr>
              <a:defRPr lang="es-ES" sz="100" smtClean="0">
                <a:noFill/>
                <a:latin typeface="Santander Headline" panose="020B0504020201020104" pitchFamily="34" charset="0"/>
              </a:defRPr>
            </a:lvl2pPr>
            <a:lvl3pPr>
              <a:defRPr lang="es-ES" sz="100" smtClean="0">
                <a:noFill/>
                <a:latin typeface="Santander Headline" panose="020B0504020201020104" pitchFamily="34" charset="0"/>
              </a:defRPr>
            </a:lvl3pPr>
            <a:lvl4pPr>
              <a:defRPr lang="es-ES" sz="100" smtClean="0">
                <a:noFill/>
                <a:latin typeface="Santander Headline" panose="020B0504020201020104" pitchFamily="34" charset="0"/>
              </a:defRPr>
            </a:lvl4pPr>
            <a:lvl5pPr>
              <a:defRPr lang="es-ES" sz="100">
                <a:noFill/>
                <a:latin typeface="Santander Headline" panose="020B0504020201020104" pitchFamily="34" charset="0"/>
              </a:defRPr>
            </a:lvl5pPr>
          </a:lstStyle>
          <a:p>
            <a:pPr marL="0" lvl="0" algn="ctr" defTabSz="457200"/>
            <a:r>
              <a:rPr lang="es-ES"/>
              <a:t>Haga clic para modificar los estilos de texto del patrón</a:t>
            </a:r>
          </a:p>
          <a:p>
            <a:pPr marL="457200" lvl="1" defTabSz="457200"/>
            <a:r>
              <a:rPr lang="es-ES"/>
              <a:t>Segundo nivel</a:t>
            </a:r>
          </a:p>
          <a:p>
            <a:pPr marL="914400" lvl="2" defTabSz="457200"/>
            <a:r>
              <a:rPr lang="es-ES"/>
              <a:t>Tercer nivel</a:t>
            </a:r>
          </a:p>
          <a:p>
            <a:pPr marL="1371600" lvl="3" defTabSz="457200"/>
            <a:r>
              <a:rPr lang="es-ES"/>
              <a:t>Cuarto nivel</a:t>
            </a:r>
          </a:p>
          <a:p>
            <a:pPr marL="1828800" lvl="4" defTabSz="457200"/>
            <a:r>
              <a:rPr lang="es-ES"/>
              <a:t>Quinto nivel</a:t>
            </a:r>
          </a:p>
        </p:txBody>
      </p:sp>
      <p:sp>
        <p:nvSpPr>
          <p:cNvPr id="2" name="Título 1">
            <a:extLst>
              <a:ext uri="{FF2B5EF4-FFF2-40B4-BE49-F238E27FC236}">
                <a16:creationId xmlns:a16="http://schemas.microsoft.com/office/drawing/2014/main" id="{B045CB15-1F44-40E1-909E-6233010BC133}"/>
              </a:ext>
            </a:extLst>
          </p:cNvPr>
          <p:cNvSpPr>
            <a:spLocks noGrp="1"/>
          </p:cNvSpPr>
          <p:nvPr>
            <p:ph type="title" hasCustomPrompt="1"/>
          </p:nvPr>
        </p:nvSpPr>
        <p:spPr>
          <a:xfrm>
            <a:off x="688833" y="1044349"/>
            <a:ext cx="3904939" cy="2852737"/>
          </a:xfrm>
          <a:prstGeom prst="rect">
            <a:avLst/>
          </a:prstGeom>
        </p:spPr>
        <p:txBody>
          <a:bodyPr anchor="t">
            <a:normAutofit/>
          </a:bodyPr>
          <a:lstStyle>
            <a:lvl1pPr>
              <a:lnSpc>
                <a:spcPct val="100000"/>
              </a:lnSpc>
              <a:defRPr sz="4000" b="0" i="0">
                <a:solidFill>
                  <a:schemeClr val="bg1"/>
                </a:solidFill>
                <a:latin typeface="Santander Headline" panose="020B0504020201020104" pitchFamily="34" charset="0"/>
                <a:cs typeface="Santander Headline" panose="020B0504020201020104" pitchFamily="34" charset="0"/>
              </a:defRPr>
            </a:lvl1pPr>
          </a:lstStyle>
          <a:p>
            <a:r>
              <a:rPr lang="en-US"/>
              <a:t>Click to edit Master title style</a:t>
            </a:r>
            <a:endParaRPr lang="es-ES"/>
          </a:p>
        </p:txBody>
      </p:sp>
      <p:sp>
        <p:nvSpPr>
          <p:cNvPr id="4" name="Text Placeholder 3">
            <a:extLst>
              <a:ext uri="{FF2B5EF4-FFF2-40B4-BE49-F238E27FC236}">
                <a16:creationId xmlns:a16="http://schemas.microsoft.com/office/drawing/2014/main" id="{0DC7ABD0-A43F-48BD-BDFC-297FD4811A67}"/>
              </a:ext>
            </a:extLst>
          </p:cNvPr>
          <p:cNvSpPr>
            <a:spLocks noGrp="1"/>
          </p:cNvSpPr>
          <p:nvPr>
            <p:ph type="body" sz="quarter" idx="16"/>
          </p:nvPr>
        </p:nvSpPr>
        <p:spPr>
          <a:xfrm>
            <a:off x="10815678" y="89692"/>
            <a:ext cx="1285311" cy="281220"/>
          </a:xfrm>
          <a:prstGeom prst="rect">
            <a:avLst/>
          </a:prstGeo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solidFill>
                  <a:schemeClr val="bg1">
                    <a:alpha val="0"/>
                  </a:schemeClr>
                </a:solidFill>
              </a:defRPr>
            </a:lvl1pPr>
          </a:lstStyle>
          <a:p>
            <a:pPr lvl="0"/>
            <a:endParaRPr lang="en-GB"/>
          </a:p>
        </p:txBody>
      </p:sp>
      <p:sp>
        <p:nvSpPr>
          <p:cNvPr id="5" name="Marcador de posición de imagen 4">
            <a:extLst>
              <a:ext uri="{FF2B5EF4-FFF2-40B4-BE49-F238E27FC236}">
                <a16:creationId xmlns:a16="http://schemas.microsoft.com/office/drawing/2014/main" id="{337A5DC7-B0E6-0BE5-C9ED-70A9D3EFE8DA}"/>
              </a:ext>
            </a:extLst>
          </p:cNvPr>
          <p:cNvSpPr>
            <a:spLocks noGrp="1"/>
          </p:cNvSpPr>
          <p:nvPr>
            <p:ph type="pic" sz="quarter" idx="15" hasCustomPrompt="1"/>
          </p:nvPr>
        </p:nvSpPr>
        <p:spPr>
          <a:xfrm>
            <a:off x="0" y="0"/>
            <a:ext cx="12192000" cy="6858000"/>
          </a:xfrm>
          <a:prstGeom prst="rect">
            <a:avLst/>
          </a:prstGeom>
        </p:spPr>
        <p:txBody>
          <a:bodyPr/>
          <a:lstStyle>
            <a:lvl1pPr marL="0" indent="0" algn="ctr">
              <a:buNone/>
              <a:defRPr sz="1400">
                <a:solidFill>
                  <a:schemeClr val="tx2"/>
                </a:solidFill>
                <a:latin typeface="Santander Headline" panose="020B0504020201020104" pitchFamily="34" charset="0"/>
              </a:defRPr>
            </a:lvl1pPr>
          </a:lstStyle>
          <a:p>
            <a:r>
              <a:rPr lang="en-US"/>
              <a:t>Insert the image and send to the background with right click</a:t>
            </a:r>
            <a:endParaRPr lang="es-ES"/>
          </a:p>
        </p:txBody>
      </p:sp>
      <p:sp>
        <p:nvSpPr>
          <p:cNvPr id="6" name="Marcador de texto 12">
            <a:extLst>
              <a:ext uri="{FF2B5EF4-FFF2-40B4-BE49-F238E27FC236}">
                <a16:creationId xmlns:a16="http://schemas.microsoft.com/office/drawing/2014/main" id="{FAEC1423-548E-12BF-6AAB-E01C296320BA}"/>
              </a:ext>
            </a:extLst>
          </p:cNvPr>
          <p:cNvSpPr>
            <a:spLocks noGrp="1" noChangeAspect="1"/>
          </p:cNvSpPr>
          <p:nvPr>
            <p:ph type="body" sz="quarter" idx="19"/>
          </p:nvPr>
        </p:nvSpPr>
        <p:spPr>
          <a:xfrm>
            <a:off x="745994" y="5863748"/>
            <a:ext cx="2212052" cy="403940"/>
          </a:xfrm>
          <a:prstGeom prst="rect">
            <a:avLst/>
          </a:prstGeom>
          <a:blipFill dpi="0" rotWithShape="1">
            <a:blip r:embed="rId4">
              <a:extLst>
                <a:ext uri="{96DAC541-7B7A-43D3-8B79-37D633B846F1}">
                  <asvg:svgBlip xmlns:asvg="http://schemas.microsoft.com/office/drawing/2016/SVG/main" r:embed="rId5"/>
                </a:ext>
              </a:extLst>
            </a:blip>
            <a:srcRect/>
            <a:stretch>
              <a:fillRect/>
            </a:stretch>
          </a:blipFill>
        </p:spPr>
        <p:txBody>
          <a:bodyPr/>
          <a:lstStyle>
            <a:lvl1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1pPr>
            <a:lvl2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2pPr>
            <a:lvl3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3pPr>
            <a:lvl4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4pPr>
            <a:lvl5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35146272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Section Divider Burgundy">
    <p:spTree>
      <p:nvGrpSpPr>
        <p:cNvPr id="1" name=""/>
        <p:cNvGrpSpPr/>
        <p:nvPr/>
      </p:nvGrpSpPr>
      <p:grpSpPr>
        <a:xfrm>
          <a:off x="0" y="0"/>
          <a:ext cx="0" cy="0"/>
          <a:chOff x="0" y="0"/>
          <a:chExt cx="0" cy="0"/>
        </a:xfrm>
      </p:grpSpPr>
      <p:sp>
        <p:nvSpPr>
          <p:cNvPr id="14" name="Marcador de texto 13">
            <a:extLst>
              <a:ext uri="{FF2B5EF4-FFF2-40B4-BE49-F238E27FC236}">
                <a16:creationId xmlns:a16="http://schemas.microsoft.com/office/drawing/2014/main" id="{6E38BAEA-EEE9-4346-9DB7-91D26BC942D7}"/>
              </a:ext>
            </a:extLst>
          </p:cNvPr>
          <p:cNvSpPr>
            <a:spLocks noGrp="1"/>
          </p:cNvSpPr>
          <p:nvPr>
            <p:ph type="body" sz="quarter" idx="14" hasCustomPrompt="1"/>
          </p:nvPr>
        </p:nvSpPr>
        <p:spPr>
          <a:xfrm>
            <a:off x="8879903" y="4438926"/>
            <a:ext cx="2958754" cy="2364961"/>
          </a:xfrm>
          <a:prstGeom prst="rect">
            <a:avLst/>
          </a:prstGeom>
        </p:spPr>
        <p:txBody>
          <a:bodyPr>
            <a:noAutofit/>
          </a:bodyPr>
          <a:lstStyle>
            <a:lvl1pPr marL="0" indent="0" algn="r">
              <a:buFontTx/>
              <a:buNone/>
              <a:defRPr sz="16600" b="0" i="0">
                <a:solidFill>
                  <a:srgbClr val="EC0000"/>
                </a:solidFill>
                <a:latin typeface="Santander Headline" panose="020B0504020201020104" pitchFamily="34" charset="0"/>
                <a:cs typeface="Santander Headline" panose="020B0504020201020104" pitchFamily="34" charset="0"/>
              </a:defRPr>
            </a:lvl1pPr>
            <a:lvl2pPr>
              <a:defRPr sz="13800">
                <a:solidFill>
                  <a:schemeClr val="tx1"/>
                </a:solidFill>
              </a:defRPr>
            </a:lvl2pPr>
            <a:lvl3pPr>
              <a:defRPr sz="11500">
                <a:solidFill>
                  <a:schemeClr val="tx1"/>
                </a:solidFill>
              </a:defRPr>
            </a:lvl3pPr>
            <a:lvl4pPr>
              <a:defRPr sz="9600">
                <a:solidFill>
                  <a:schemeClr val="tx1"/>
                </a:solidFill>
              </a:defRPr>
            </a:lvl4pPr>
            <a:lvl5pPr>
              <a:defRPr sz="9600">
                <a:solidFill>
                  <a:schemeClr val="tx1"/>
                </a:solidFill>
              </a:defRPr>
            </a:lvl5pPr>
          </a:lstStyle>
          <a:p>
            <a:pPr lvl="0"/>
            <a:r>
              <a:rPr lang="es-ES"/>
              <a:t>00</a:t>
            </a:r>
          </a:p>
        </p:txBody>
      </p:sp>
      <p:sp>
        <p:nvSpPr>
          <p:cNvPr id="11" name="Marcador de texto 9">
            <a:extLst>
              <a:ext uri="{FF2B5EF4-FFF2-40B4-BE49-F238E27FC236}">
                <a16:creationId xmlns:a16="http://schemas.microsoft.com/office/drawing/2014/main" id="{5F41502A-FBBB-CA84-2151-6ABBCEC5F2C3}"/>
              </a:ext>
            </a:extLst>
          </p:cNvPr>
          <p:cNvSpPr>
            <a:spLocks noGrp="1"/>
          </p:cNvSpPr>
          <p:nvPr>
            <p:ph type="body" sz="quarter" idx="17"/>
          </p:nvPr>
        </p:nvSpPr>
        <p:spPr>
          <a:xfrm>
            <a:off x="0" y="752475"/>
            <a:ext cx="8547614" cy="6105525"/>
          </a:xfrm>
          <a:prstGeom prst="rect">
            <a:avLst/>
          </a:prstGeom>
          <a:gradFill>
            <a:gsLst>
              <a:gs pos="100000">
                <a:srgbClr val="8C0014"/>
              </a:gs>
              <a:gs pos="30000">
                <a:srgbClr val="64001E">
                  <a:alpha val="0"/>
                </a:srgb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a:defRPr lang="es-ES" sz="100" smtClean="0">
                <a:noFill/>
                <a:latin typeface="Santander Headline" panose="020B0504020201020104" pitchFamily="34" charset="0"/>
              </a:defRPr>
            </a:lvl1pPr>
            <a:lvl2pPr>
              <a:defRPr lang="es-ES" sz="100" smtClean="0">
                <a:noFill/>
                <a:latin typeface="Santander Headline" panose="020B0504020201020104" pitchFamily="34" charset="0"/>
              </a:defRPr>
            </a:lvl2pPr>
            <a:lvl3pPr>
              <a:defRPr lang="es-ES" sz="100" smtClean="0">
                <a:noFill/>
                <a:latin typeface="Santander Headline" panose="020B0504020201020104" pitchFamily="34" charset="0"/>
              </a:defRPr>
            </a:lvl3pPr>
            <a:lvl4pPr>
              <a:defRPr lang="es-ES" sz="100" smtClean="0">
                <a:noFill/>
                <a:latin typeface="Santander Headline" panose="020B0504020201020104" pitchFamily="34" charset="0"/>
              </a:defRPr>
            </a:lvl4pPr>
            <a:lvl5pPr>
              <a:defRPr lang="es-ES" sz="100">
                <a:noFill/>
                <a:latin typeface="Santander Headline" panose="020B0504020201020104" pitchFamily="34" charset="0"/>
              </a:defRPr>
            </a:lvl5pPr>
          </a:lstStyle>
          <a:p>
            <a:pPr marL="0" lvl="0" algn="ctr" defTabSz="457200"/>
            <a:r>
              <a:rPr lang="es-ES"/>
              <a:t>Haga clic para modificar los estilos de texto del patrón</a:t>
            </a:r>
          </a:p>
          <a:p>
            <a:pPr marL="457200" lvl="1" defTabSz="457200"/>
            <a:r>
              <a:rPr lang="es-ES"/>
              <a:t>Segundo nivel</a:t>
            </a:r>
          </a:p>
          <a:p>
            <a:pPr marL="914400" lvl="2" defTabSz="457200"/>
            <a:r>
              <a:rPr lang="es-ES"/>
              <a:t>Tercer nivel</a:t>
            </a:r>
          </a:p>
          <a:p>
            <a:pPr marL="1371600" lvl="3" defTabSz="457200"/>
            <a:r>
              <a:rPr lang="es-ES"/>
              <a:t>Cuarto nivel</a:t>
            </a:r>
          </a:p>
          <a:p>
            <a:pPr marL="1828800" lvl="4" defTabSz="457200"/>
            <a:r>
              <a:rPr lang="es-ES"/>
              <a:t>Quinto nivel</a:t>
            </a:r>
          </a:p>
        </p:txBody>
      </p:sp>
      <p:sp>
        <p:nvSpPr>
          <p:cNvPr id="2" name="Título 1">
            <a:extLst>
              <a:ext uri="{FF2B5EF4-FFF2-40B4-BE49-F238E27FC236}">
                <a16:creationId xmlns:a16="http://schemas.microsoft.com/office/drawing/2014/main" id="{B045CB15-1F44-40E1-909E-6233010BC133}"/>
              </a:ext>
            </a:extLst>
          </p:cNvPr>
          <p:cNvSpPr>
            <a:spLocks noGrp="1"/>
          </p:cNvSpPr>
          <p:nvPr>
            <p:ph type="title" hasCustomPrompt="1"/>
          </p:nvPr>
        </p:nvSpPr>
        <p:spPr>
          <a:xfrm>
            <a:off x="688833" y="1044349"/>
            <a:ext cx="3904939" cy="2852737"/>
          </a:xfrm>
          <a:prstGeom prst="rect">
            <a:avLst/>
          </a:prstGeom>
        </p:spPr>
        <p:txBody>
          <a:bodyPr anchor="t">
            <a:normAutofit/>
          </a:bodyPr>
          <a:lstStyle>
            <a:lvl1pPr>
              <a:lnSpc>
                <a:spcPct val="100000"/>
              </a:lnSpc>
              <a:defRPr sz="4000" b="0" i="0">
                <a:solidFill>
                  <a:schemeClr val="bg1"/>
                </a:solidFill>
                <a:latin typeface="Santander Headline" panose="020B0504020201020104" pitchFamily="34" charset="0"/>
                <a:cs typeface="Santander Headline" panose="020B0504020201020104" pitchFamily="34" charset="0"/>
              </a:defRPr>
            </a:lvl1pPr>
          </a:lstStyle>
          <a:p>
            <a:r>
              <a:rPr lang="en-US"/>
              <a:t>Click to edit Master title style</a:t>
            </a:r>
            <a:endParaRPr lang="es-ES"/>
          </a:p>
        </p:txBody>
      </p:sp>
      <p:sp>
        <p:nvSpPr>
          <p:cNvPr id="5" name="Marcador de posición de imagen 4">
            <a:extLst>
              <a:ext uri="{FF2B5EF4-FFF2-40B4-BE49-F238E27FC236}">
                <a16:creationId xmlns:a16="http://schemas.microsoft.com/office/drawing/2014/main" id="{337A5DC7-B0E6-0BE5-C9ED-70A9D3EFE8DA}"/>
              </a:ext>
            </a:extLst>
          </p:cNvPr>
          <p:cNvSpPr>
            <a:spLocks noGrp="1"/>
          </p:cNvSpPr>
          <p:nvPr>
            <p:ph type="pic" sz="quarter" idx="15" hasCustomPrompt="1"/>
          </p:nvPr>
        </p:nvSpPr>
        <p:spPr>
          <a:xfrm>
            <a:off x="0" y="0"/>
            <a:ext cx="12192000" cy="6858000"/>
          </a:xfrm>
          <a:prstGeom prst="rect">
            <a:avLst/>
          </a:prstGeom>
        </p:spPr>
        <p:txBody>
          <a:bodyPr/>
          <a:lstStyle>
            <a:lvl1pPr marL="0" indent="0" algn="ctr">
              <a:buNone/>
              <a:defRPr sz="1400">
                <a:solidFill>
                  <a:schemeClr val="tx2"/>
                </a:solidFill>
                <a:latin typeface="Santander Headline" panose="020B0504020201020104" pitchFamily="34" charset="0"/>
              </a:defRPr>
            </a:lvl1pPr>
          </a:lstStyle>
          <a:p>
            <a:r>
              <a:rPr lang="en-US"/>
              <a:t>Insert the image and send to the background with right click</a:t>
            </a:r>
            <a:endParaRPr lang="es-ES"/>
          </a:p>
        </p:txBody>
      </p:sp>
      <p:sp>
        <p:nvSpPr>
          <p:cNvPr id="6" name="Marcador de texto 12">
            <a:extLst>
              <a:ext uri="{FF2B5EF4-FFF2-40B4-BE49-F238E27FC236}">
                <a16:creationId xmlns:a16="http://schemas.microsoft.com/office/drawing/2014/main" id="{FAEC1423-548E-12BF-6AAB-E01C296320BA}"/>
              </a:ext>
            </a:extLst>
          </p:cNvPr>
          <p:cNvSpPr>
            <a:spLocks noGrp="1" noChangeAspect="1"/>
          </p:cNvSpPr>
          <p:nvPr>
            <p:ph type="body" sz="quarter" idx="19"/>
          </p:nvPr>
        </p:nvSpPr>
        <p:spPr>
          <a:xfrm>
            <a:off x="745994" y="5863748"/>
            <a:ext cx="2212052" cy="403940"/>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a:lstStyle>
            <a:lvl1pPr>
              <a:defRPr sz="100">
                <a:blipFill dpi="0" rotWithShape="1">
                  <a:blip r:embed="rId4">
                    <a:extLst>
                      <a:ext uri="{96DAC541-7B7A-43D3-8B79-37D633B846F1}">
                        <asvg:svgBlip xmlns:asvg="http://schemas.microsoft.com/office/drawing/2016/SVG/main" r:embed="rId5"/>
                      </a:ext>
                    </a:extLst>
                  </a:blip>
                  <a:srcRect/>
                  <a:stretch>
                    <a:fillRect/>
                  </a:stretch>
                </a:blipFill>
                <a:latin typeface="Santander Headline" panose="020B0504020201020104" pitchFamily="34" charset="0"/>
              </a:defRPr>
            </a:lvl1pPr>
            <a:lvl2pPr>
              <a:defRPr sz="100">
                <a:blipFill dpi="0" rotWithShape="1">
                  <a:blip r:embed="rId4">
                    <a:extLst>
                      <a:ext uri="{96DAC541-7B7A-43D3-8B79-37D633B846F1}">
                        <asvg:svgBlip xmlns:asvg="http://schemas.microsoft.com/office/drawing/2016/SVG/main" r:embed="rId5"/>
                      </a:ext>
                    </a:extLst>
                  </a:blip>
                  <a:srcRect/>
                  <a:stretch>
                    <a:fillRect/>
                  </a:stretch>
                </a:blipFill>
                <a:latin typeface="Santander Headline" panose="020B0504020201020104" pitchFamily="34" charset="0"/>
              </a:defRPr>
            </a:lvl2pPr>
            <a:lvl3pPr>
              <a:defRPr sz="100">
                <a:blipFill dpi="0" rotWithShape="1">
                  <a:blip r:embed="rId4">
                    <a:extLst>
                      <a:ext uri="{96DAC541-7B7A-43D3-8B79-37D633B846F1}">
                        <asvg:svgBlip xmlns:asvg="http://schemas.microsoft.com/office/drawing/2016/SVG/main" r:embed="rId5"/>
                      </a:ext>
                    </a:extLst>
                  </a:blip>
                  <a:srcRect/>
                  <a:stretch>
                    <a:fillRect/>
                  </a:stretch>
                </a:blipFill>
                <a:latin typeface="Santander Headline" panose="020B0504020201020104" pitchFamily="34" charset="0"/>
              </a:defRPr>
            </a:lvl3pPr>
            <a:lvl4pPr>
              <a:defRPr sz="100">
                <a:blipFill dpi="0" rotWithShape="1">
                  <a:blip r:embed="rId4">
                    <a:extLst>
                      <a:ext uri="{96DAC541-7B7A-43D3-8B79-37D633B846F1}">
                        <asvg:svgBlip xmlns:asvg="http://schemas.microsoft.com/office/drawing/2016/SVG/main" r:embed="rId5"/>
                      </a:ext>
                    </a:extLst>
                  </a:blip>
                  <a:srcRect/>
                  <a:stretch>
                    <a:fillRect/>
                  </a:stretch>
                </a:blipFill>
                <a:latin typeface="Santander Headline" panose="020B0504020201020104" pitchFamily="34" charset="0"/>
              </a:defRPr>
            </a:lvl4pPr>
            <a:lvl5pPr>
              <a:defRPr sz="100">
                <a:blipFill dpi="0" rotWithShape="1">
                  <a:blip r:embed="rId4">
                    <a:extLst>
                      <a:ext uri="{96DAC541-7B7A-43D3-8B79-37D633B846F1}">
                        <asvg:svgBlip xmlns:asvg="http://schemas.microsoft.com/office/drawing/2016/SVG/main" r:embed="rId5"/>
                      </a:ext>
                    </a:extLst>
                  </a:blip>
                  <a:srcRect/>
                  <a:stretch>
                    <a:fillRect/>
                  </a:stretch>
                </a:blipFill>
                <a:latin typeface="Santander Headline" panose="020B05040202010201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3" name="Text Placeholder 3">
            <a:extLst>
              <a:ext uri="{FF2B5EF4-FFF2-40B4-BE49-F238E27FC236}">
                <a16:creationId xmlns:a16="http://schemas.microsoft.com/office/drawing/2014/main" id="{EA7F86AB-E37E-DE89-15C9-8F1F77DB3F37}"/>
              </a:ext>
            </a:extLst>
          </p:cNvPr>
          <p:cNvSpPr>
            <a:spLocks noGrp="1"/>
          </p:cNvSpPr>
          <p:nvPr>
            <p:ph type="body" sz="quarter" idx="16"/>
          </p:nvPr>
        </p:nvSpPr>
        <p:spPr>
          <a:xfrm>
            <a:off x="10815678" y="89692"/>
            <a:ext cx="1285311" cy="281220"/>
          </a:xfrm>
          <a:prstGeom prst="rect">
            <a:avLst/>
          </a:prstGeom>
          <a:blipFill>
            <a:blip r:embed="rId6">
              <a:lum bright="100000"/>
              <a:extLst>
                <a:ext uri="{96DAC541-7B7A-43D3-8B79-37D633B846F1}">
                  <asvg:svgBlip xmlns:asvg="http://schemas.microsoft.com/office/drawing/2016/SVG/main" r:embed="rId7"/>
                </a:ext>
              </a:extLst>
            </a:blip>
            <a:stretch>
              <a:fillRect/>
            </a:stretch>
          </a:blipFill>
        </p:spPr>
        <p:txBody>
          <a:bodyPr/>
          <a:lstStyle>
            <a:lvl1pPr marL="0" indent="0">
              <a:buNone/>
              <a:defRPr sz="100">
                <a:solidFill>
                  <a:schemeClr val="bg1">
                    <a:alpha val="0"/>
                  </a:schemeClr>
                </a:solidFill>
              </a:defRPr>
            </a:lvl1pPr>
          </a:lstStyle>
          <a:p>
            <a:pPr lvl="0"/>
            <a:endParaRPr lang="en-GB"/>
          </a:p>
        </p:txBody>
      </p:sp>
    </p:spTree>
    <p:extLst>
      <p:ext uri="{BB962C8B-B14F-4D97-AF65-F5344CB8AC3E}">
        <p14:creationId xmlns:p14="http://schemas.microsoft.com/office/powerpoint/2010/main" val="1312102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Header &amp; Content ">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6B5AEF2-F43E-4C92-A186-61C1E43CE82B}"/>
              </a:ext>
            </a:extLst>
          </p:cNvPr>
          <p:cNvSpPr>
            <a:spLocks noGrp="1"/>
          </p:cNvSpPr>
          <p:nvPr>
            <p:ph type="title"/>
          </p:nvPr>
        </p:nvSpPr>
        <p:spPr>
          <a:xfrm>
            <a:off x="722243" y="1087457"/>
            <a:ext cx="5297557" cy="1606047"/>
          </a:xfrm>
          <a:prstGeom prst="rect">
            <a:avLst/>
          </a:prstGeom>
        </p:spPr>
        <p:txBody>
          <a:bodyPr anchor="t">
            <a:normAutofit/>
          </a:bodyPr>
          <a:lstStyle>
            <a:lvl1pPr>
              <a:defRPr sz="2800" b="0" i="0">
                <a:solidFill>
                  <a:srgbClr val="EC0000"/>
                </a:solidFill>
                <a:latin typeface="Santander Headline" panose="020B0504020201020104" pitchFamily="34" charset="0"/>
                <a:cs typeface="Santander Headline" panose="020B0504020201020104" pitchFamily="34" charset="0"/>
              </a:defRPr>
            </a:lvl1pPr>
          </a:lstStyle>
          <a:p>
            <a:r>
              <a:rPr lang="en-US"/>
              <a:t>Click to edit Master title style</a:t>
            </a:r>
            <a:endParaRPr lang="es-ES"/>
          </a:p>
        </p:txBody>
      </p:sp>
      <p:sp>
        <p:nvSpPr>
          <p:cNvPr id="18" name="Marcador de texto 16">
            <a:extLst>
              <a:ext uri="{FF2B5EF4-FFF2-40B4-BE49-F238E27FC236}">
                <a16:creationId xmlns:a16="http://schemas.microsoft.com/office/drawing/2014/main" id="{07C8BA77-3119-41AC-B33B-745A751CC066}"/>
              </a:ext>
            </a:extLst>
          </p:cNvPr>
          <p:cNvSpPr>
            <a:spLocks noGrp="1"/>
          </p:cNvSpPr>
          <p:nvPr>
            <p:ph type="body" sz="quarter" idx="15"/>
          </p:nvPr>
        </p:nvSpPr>
        <p:spPr>
          <a:xfrm>
            <a:off x="711025" y="3093563"/>
            <a:ext cx="5308776" cy="2999262"/>
          </a:xfrm>
          <a:prstGeom prst="rect">
            <a:avLst/>
          </a:prstGeom>
        </p:spPr>
        <p:txBody>
          <a:bodyPr>
            <a:noAutofit/>
          </a:bodyPr>
          <a:lstStyle>
            <a:lvl1pPr marL="0" indent="0">
              <a:lnSpc>
                <a:spcPct val="120000"/>
              </a:lnSpc>
              <a:spcBef>
                <a:spcPts val="0"/>
              </a:spcBef>
              <a:spcAft>
                <a:spcPts val="0"/>
              </a:spcAft>
              <a:buFontTx/>
              <a:buNone/>
              <a:defRPr lang="es-ES" sz="1000" kern="1200" smtClean="0">
                <a:solidFill>
                  <a:schemeClr val="tx1"/>
                </a:solidFill>
                <a:latin typeface="+mj-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20" name="Marcador de texto 16">
            <a:extLst>
              <a:ext uri="{FF2B5EF4-FFF2-40B4-BE49-F238E27FC236}">
                <a16:creationId xmlns:a16="http://schemas.microsoft.com/office/drawing/2014/main" id="{81AA2FC0-CE4E-483D-AF92-BEA6CD796B9C}"/>
              </a:ext>
            </a:extLst>
          </p:cNvPr>
          <p:cNvSpPr>
            <a:spLocks noGrp="1"/>
          </p:cNvSpPr>
          <p:nvPr>
            <p:ph type="body" sz="quarter" idx="16"/>
          </p:nvPr>
        </p:nvSpPr>
        <p:spPr>
          <a:xfrm>
            <a:off x="6399971" y="1087457"/>
            <a:ext cx="5290886" cy="5005368"/>
          </a:xfrm>
          <a:prstGeom prst="rect">
            <a:avLst/>
          </a:prstGeom>
        </p:spPr>
        <p:txBody>
          <a:bodyPr>
            <a:noAutofit/>
          </a:bodyPr>
          <a:lstStyle>
            <a:lvl1pPr marL="0" indent="0">
              <a:lnSpc>
                <a:spcPct val="120000"/>
              </a:lnSpc>
              <a:spcBef>
                <a:spcPts val="0"/>
              </a:spcBef>
              <a:spcAft>
                <a:spcPts val="0"/>
              </a:spcAft>
              <a:buFontTx/>
              <a:buNone/>
              <a:defRPr lang="es-ES" sz="1000" kern="1200" smtClean="0">
                <a:solidFill>
                  <a:schemeClr val="tx1"/>
                </a:solidFill>
                <a:latin typeface="+mj-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4" name="Marcador de texto 14">
            <a:extLst>
              <a:ext uri="{FF2B5EF4-FFF2-40B4-BE49-F238E27FC236}">
                <a16:creationId xmlns:a16="http://schemas.microsoft.com/office/drawing/2014/main" id="{7B5D3278-E832-05F9-0C4A-546E452C1380}"/>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9" name="Marcador de número de diapositiva 5">
            <a:extLst>
              <a:ext uri="{FF2B5EF4-FFF2-40B4-BE49-F238E27FC236}">
                <a16:creationId xmlns:a16="http://schemas.microsoft.com/office/drawing/2014/main" id="{4F47A38A-011D-E9BC-B676-17F9802E99CA}"/>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10" name="Footnotes">
            <a:extLst>
              <a:ext uri="{FF2B5EF4-FFF2-40B4-BE49-F238E27FC236}">
                <a16:creationId xmlns:a16="http://schemas.microsoft.com/office/drawing/2014/main" id="{EF14A246-1E01-E358-918A-51CD45C9E727}"/>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5" name="Gráfico 4">
            <a:extLst>
              <a:ext uri="{FF2B5EF4-FFF2-40B4-BE49-F238E27FC236}">
                <a16:creationId xmlns:a16="http://schemas.microsoft.com/office/drawing/2014/main" id="{03B207F1-CCB6-DDD4-AA00-F4C779B49DF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Tree>
    <p:extLst>
      <p:ext uri="{BB962C8B-B14F-4D97-AF65-F5344CB8AC3E}">
        <p14:creationId xmlns:p14="http://schemas.microsoft.com/office/powerpoint/2010/main" val="1422490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Header &amp; Content ">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57C975CA-2936-B73A-FA0F-292063FD755B}"/>
              </a:ext>
            </a:extLst>
          </p:cNvPr>
          <p:cNvSpPr/>
          <p:nvPr userDrawn="1"/>
        </p:nvSpPr>
        <p:spPr>
          <a:xfrm>
            <a:off x="6111912" y="755573"/>
            <a:ext cx="5624976" cy="6102427"/>
          </a:xfrm>
          <a:prstGeom prst="rect">
            <a:avLst/>
          </a:prstGeom>
          <a:gradFill>
            <a:gsLst>
              <a:gs pos="100000">
                <a:srgbClr val="EC0000">
                  <a:alpha val="50000"/>
                </a:srgbClr>
              </a:gs>
              <a:gs pos="59000">
                <a:srgbClr val="EC0000">
                  <a:alpha val="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18" name="Marcador de texto 16">
            <a:extLst>
              <a:ext uri="{FF2B5EF4-FFF2-40B4-BE49-F238E27FC236}">
                <a16:creationId xmlns:a16="http://schemas.microsoft.com/office/drawing/2014/main" id="{07C8BA77-3119-41AC-B33B-745A751CC066}"/>
              </a:ext>
            </a:extLst>
          </p:cNvPr>
          <p:cNvSpPr>
            <a:spLocks noGrp="1"/>
          </p:cNvSpPr>
          <p:nvPr>
            <p:ph type="body" sz="quarter" idx="15"/>
          </p:nvPr>
        </p:nvSpPr>
        <p:spPr>
          <a:xfrm>
            <a:off x="711025" y="3093563"/>
            <a:ext cx="5308776" cy="2999262"/>
          </a:xfrm>
          <a:prstGeom prst="rect">
            <a:avLst/>
          </a:prstGeom>
        </p:spPr>
        <p:txBody>
          <a:bodyPr>
            <a:noAutofit/>
          </a:bodyPr>
          <a:lstStyle>
            <a:lvl1pPr marL="0" indent="0">
              <a:lnSpc>
                <a:spcPct val="120000"/>
              </a:lnSpc>
              <a:spcBef>
                <a:spcPts val="0"/>
              </a:spcBef>
              <a:spcAft>
                <a:spcPts val="0"/>
              </a:spcAft>
              <a:buFontTx/>
              <a:buNone/>
              <a:defRPr lang="es-ES" sz="1000" kern="1200" smtClean="0">
                <a:solidFill>
                  <a:schemeClr val="tx1"/>
                </a:solidFill>
                <a:latin typeface="+mj-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2" name="Título 1">
            <a:extLst>
              <a:ext uri="{FF2B5EF4-FFF2-40B4-BE49-F238E27FC236}">
                <a16:creationId xmlns:a16="http://schemas.microsoft.com/office/drawing/2014/main" id="{66B5AEF2-F43E-4C92-A186-61C1E43CE82B}"/>
              </a:ext>
            </a:extLst>
          </p:cNvPr>
          <p:cNvSpPr>
            <a:spLocks noGrp="1"/>
          </p:cNvSpPr>
          <p:nvPr>
            <p:ph type="title"/>
          </p:nvPr>
        </p:nvSpPr>
        <p:spPr>
          <a:xfrm>
            <a:off x="722243" y="1087457"/>
            <a:ext cx="5297557" cy="1606047"/>
          </a:xfrm>
          <a:prstGeom prst="rect">
            <a:avLst/>
          </a:prstGeom>
        </p:spPr>
        <p:txBody>
          <a:bodyPr anchor="t">
            <a:normAutofit/>
          </a:bodyPr>
          <a:lstStyle>
            <a:lvl1pPr>
              <a:defRPr sz="2800" b="0" i="0">
                <a:solidFill>
                  <a:srgbClr val="EC0000"/>
                </a:solidFill>
                <a:latin typeface="Santander Headline" panose="020B0504020201020104" pitchFamily="34" charset="0"/>
                <a:cs typeface="Santander Headline" panose="020B0504020201020104" pitchFamily="34" charset="0"/>
              </a:defRPr>
            </a:lvl1pPr>
          </a:lstStyle>
          <a:p>
            <a:r>
              <a:rPr lang="en-US"/>
              <a:t>Click to edit Master title style</a:t>
            </a:r>
            <a:endParaRPr lang="es-ES"/>
          </a:p>
        </p:txBody>
      </p:sp>
      <p:sp>
        <p:nvSpPr>
          <p:cNvPr id="20" name="Marcador de texto 16">
            <a:extLst>
              <a:ext uri="{FF2B5EF4-FFF2-40B4-BE49-F238E27FC236}">
                <a16:creationId xmlns:a16="http://schemas.microsoft.com/office/drawing/2014/main" id="{81AA2FC0-CE4E-483D-AF92-BEA6CD796B9C}"/>
              </a:ext>
            </a:extLst>
          </p:cNvPr>
          <p:cNvSpPr>
            <a:spLocks noGrp="1"/>
          </p:cNvSpPr>
          <p:nvPr>
            <p:ph type="body" sz="quarter" idx="16"/>
          </p:nvPr>
        </p:nvSpPr>
        <p:spPr>
          <a:xfrm>
            <a:off x="6399971" y="1087457"/>
            <a:ext cx="5081004" cy="5005368"/>
          </a:xfrm>
          <a:prstGeom prst="rect">
            <a:avLst/>
          </a:prstGeom>
        </p:spPr>
        <p:txBody>
          <a:bodyPr>
            <a:noAutofit/>
          </a:bodyPr>
          <a:lstStyle>
            <a:lvl1pPr marL="0" indent="0">
              <a:lnSpc>
                <a:spcPct val="120000"/>
              </a:lnSpc>
              <a:spcBef>
                <a:spcPts val="0"/>
              </a:spcBef>
              <a:spcAft>
                <a:spcPts val="0"/>
              </a:spcAft>
              <a:buFontTx/>
              <a:buNone/>
              <a:defRPr lang="es-ES" sz="1000" kern="1200" smtClean="0">
                <a:solidFill>
                  <a:schemeClr val="tx1"/>
                </a:solidFill>
                <a:latin typeface="+mj-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7" name="Marcador de número de diapositiva 5">
            <a:extLst>
              <a:ext uri="{FF2B5EF4-FFF2-40B4-BE49-F238E27FC236}">
                <a16:creationId xmlns:a16="http://schemas.microsoft.com/office/drawing/2014/main" id="{1E7A05EF-9F19-2259-56A6-5C5AE5DD061F}"/>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5" name="Footnotes">
            <a:extLst>
              <a:ext uri="{FF2B5EF4-FFF2-40B4-BE49-F238E27FC236}">
                <a16:creationId xmlns:a16="http://schemas.microsoft.com/office/drawing/2014/main" id="{BFBC3621-1314-D08F-C6D8-0F1AB8DD7E97}"/>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9" name="Gráfico 8">
            <a:extLst>
              <a:ext uri="{FF2B5EF4-FFF2-40B4-BE49-F238E27FC236}">
                <a16:creationId xmlns:a16="http://schemas.microsoft.com/office/drawing/2014/main" id="{7712EC68-74BC-E47C-31DF-5CEC078E748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3" name="Marcador de texto 14">
            <a:extLst>
              <a:ext uri="{FF2B5EF4-FFF2-40B4-BE49-F238E27FC236}">
                <a16:creationId xmlns:a16="http://schemas.microsoft.com/office/drawing/2014/main" id="{27786F3F-408B-749F-638D-E17A7F6E1EAA}"/>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31876833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_Header &amp; Content ">
    <p:spTree>
      <p:nvGrpSpPr>
        <p:cNvPr id="1" name=""/>
        <p:cNvGrpSpPr/>
        <p:nvPr/>
      </p:nvGrpSpPr>
      <p:grpSpPr>
        <a:xfrm>
          <a:off x="0" y="0"/>
          <a:ext cx="0" cy="0"/>
          <a:chOff x="0" y="0"/>
          <a:chExt cx="0" cy="0"/>
        </a:xfrm>
      </p:grpSpPr>
      <p:sp>
        <p:nvSpPr>
          <p:cNvPr id="13" name="Marcador de posición de imagen 45">
            <a:extLst>
              <a:ext uri="{FF2B5EF4-FFF2-40B4-BE49-F238E27FC236}">
                <a16:creationId xmlns:a16="http://schemas.microsoft.com/office/drawing/2014/main" id="{6048132D-52A6-C0C0-DB20-39257C2B97A5}"/>
              </a:ext>
            </a:extLst>
          </p:cNvPr>
          <p:cNvSpPr>
            <a:spLocks noGrp="1"/>
          </p:cNvSpPr>
          <p:nvPr>
            <p:ph type="pic" sz="quarter" idx="48" hasCustomPrompt="1"/>
          </p:nvPr>
        </p:nvSpPr>
        <p:spPr>
          <a:xfrm>
            <a:off x="0" y="-1"/>
            <a:ext cx="12192000" cy="6858001"/>
          </a:xfrm>
          <a:prstGeom prst="rect">
            <a:avLst/>
          </a:prstGeom>
          <a:noFill/>
        </p:spPr>
        <p:txBody>
          <a:bodyPr/>
          <a:lstStyle>
            <a:lvl1pPr marL="0" indent="0" algn="ctr">
              <a:buNone/>
              <a:defRPr sz="1400">
                <a:solidFill>
                  <a:schemeClr val="tx2"/>
                </a:solidFill>
                <a:latin typeface="Santander Headline" panose="020B0504020201020104" pitchFamily="34" charset="0"/>
              </a:defRPr>
            </a:lvl1pPr>
          </a:lstStyle>
          <a:p>
            <a:r>
              <a:rPr lang="es-ES" err="1"/>
              <a:t>Insert</a:t>
            </a:r>
            <a:r>
              <a:rPr lang="es-ES"/>
              <a:t> </a:t>
            </a:r>
            <a:r>
              <a:rPr lang="es-ES" err="1"/>
              <a:t>image</a:t>
            </a:r>
            <a:r>
              <a:rPr lang="es-ES"/>
              <a:t> and </a:t>
            </a:r>
            <a:r>
              <a:rPr lang="es-ES" err="1"/>
              <a:t>sent</a:t>
            </a:r>
            <a:r>
              <a:rPr lang="es-ES"/>
              <a:t> </a:t>
            </a:r>
            <a:r>
              <a:rPr lang="es-ES" err="1"/>
              <a:t>to</a:t>
            </a:r>
            <a:r>
              <a:rPr lang="es-ES"/>
              <a:t> bottom </a:t>
            </a:r>
            <a:r>
              <a:rPr lang="es-ES" err="1"/>
              <a:t>of</a:t>
            </a:r>
            <a:r>
              <a:rPr lang="es-ES"/>
              <a:t> </a:t>
            </a:r>
            <a:r>
              <a:rPr lang="es-ES" err="1"/>
              <a:t>the</a:t>
            </a:r>
            <a:r>
              <a:rPr lang="es-ES"/>
              <a:t> page</a:t>
            </a:r>
          </a:p>
        </p:txBody>
      </p:sp>
      <p:sp>
        <p:nvSpPr>
          <p:cNvPr id="7" name="Marcador de número de diapositiva 5">
            <a:extLst>
              <a:ext uri="{FF2B5EF4-FFF2-40B4-BE49-F238E27FC236}">
                <a16:creationId xmlns:a16="http://schemas.microsoft.com/office/drawing/2014/main" id="{1E7A05EF-9F19-2259-56A6-5C5AE5DD061F}"/>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12" name="Text Placeholder 11">
            <a:extLst>
              <a:ext uri="{FF2B5EF4-FFF2-40B4-BE49-F238E27FC236}">
                <a16:creationId xmlns:a16="http://schemas.microsoft.com/office/drawing/2014/main" id="{0E0A51F3-DCB4-B41F-5C8A-C75C2ADC8B6A}"/>
              </a:ext>
            </a:extLst>
          </p:cNvPr>
          <p:cNvSpPr>
            <a:spLocks noGrp="1"/>
          </p:cNvSpPr>
          <p:nvPr>
            <p:ph type="body" sz="quarter" idx="47"/>
          </p:nvPr>
        </p:nvSpPr>
        <p:spPr>
          <a:xfrm>
            <a:off x="769575" y="767691"/>
            <a:ext cx="4997482" cy="2337648"/>
          </a:xfrm>
          <a:prstGeom prst="rect">
            <a:avLst/>
          </a:prstGeom>
        </p:spPr>
        <p:txBody>
          <a:bodyPr/>
          <a:lstStyle>
            <a:lvl1pPr marL="0" indent="0">
              <a:buNone/>
              <a:defRPr sz="1400">
                <a:solidFill>
                  <a:schemeClr val="tx2"/>
                </a:solidFill>
                <a:latin typeface="+mj-lt"/>
              </a:defRPr>
            </a:lvl1pPr>
            <a:lvl2pPr>
              <a:defRPr sz="1400"/>
            </a:lvl2pPr>
            <a:lvl3pPr>
              <a:defRPr sz="1400"/>
            </a:lvl3pPr>
            <a:lvl4pPr>
              <a:defRPr sz="1400"/>
            </a:lvl4pPr>
            <a:lvl5pPr>
              <a:defRPr sz="1400"/>
            </a:lvl5pPr>
          </a:lstStyle>
          <a:p>
            <a:pPr lvl="0"/>
            <a:endParaRPr lang="en-GB"/>
          </a:p>
        </p:txBody>
      </p:sp>
      <p:sp>
        <p:nvSpPr>
          <p:cNvPr id="4" name="Text Placeholder 3">
            <a:extLst>
              <a:ext uri="{FF2B5EF4-FFF2-40B4-BE49-F238E27FC236}">
                <a16:creationId xmlns:a16="http://schemas.microsoft.com/office/drawing/2014/main" id="{1C428B0B-3516-19A5-4AD4-F9119FD4D836}"/>
              </a:ext>
            </a:extLst>
          </p:cNvPr>
          <p:cNvSpPr>
            <a:spLocks noGrp="1"/>
          </p:cNvSpPr>
          <p:nvPr>
            <p:ph type="body" sz="quarter" idx="16"/>
          </p:nvPr>
        </p:nvSpPr>
        <p:spPr>
          <a:xfrm>
            <a:off x="10815678" y="89692"/>
            <a:ext cx="1285311" cy="281220"/>
          </a:xfrm>
          <a:prstGeom prst="rect">
            <a:avLst/>
          </a:prstGeo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solidFill>
                  <a:schemeClr val="bg1">
                    <a:alpha val="0"/>
                  </a:schemeClr>
                </a:solidFill>
              </a:defRPr>
            </a:lvl1pPr>
          </a:lstStyle>
          <a:p>
            <a:pPr lvl="0"/>
            <a:endParaRPr lang="en-GB"/>
          </a:p>
        </p:txBody>
      </p:sp>
      <p:sp>
        <p:nvSpPr>
          <p:cNvPr id="6" name="Marcador de texto 12">
            <a:extLst>
              <a:ext uri="{FF2B5EF4-FFF2-40B4-BE49-F238E27FC236}">
                <a16:creationId xmlns:a16="http://schemas.microsoft.com/office/drawing/2014/main" id="{0EA8D0B5-7EA4-4006-4F12-E0C7D40ACB0D}"/>
              </a:ext>
            </a:extLst>
          </p:cNvPr>
          <p:cNvSpPr>
            <a:spLocks noGrp="1" noChangeAspect="1"/>
          </p:cNvSpPr>
          <p:nvPr>
            <p:ph type="body" sz="quarter" idx="19"/>
          </p:nvPr>
        </p:nvSpPr>
        <p:spPr>
          <a:xfrm>
            <a:off x="745994" y="5863748"/>
            <a:ext cx="2212052" cy="403940"/>
          </a:xfrm>
          <a:prstGeom prst="rect">
            <a:avLst/>
          </a:prstGeom>
          <a:blipFill dpi="0" rotWithShape="1">
            <a:blip r:embed="rId4">
              <a:extLst>
                <a:ext uri="{96DAC541-7B7A-43D3-8B79-37D633B846F1}">
                  <asvg:svgBlip xmlns:asvg="http://schemas.microsoft.com/office/drawing/2016/SVG/main" r:embed="rId5"/>
                </a:ext>
              </a:extLst>
            </a:blip>
            <a:srcRect/>
            <a:stretch>
              <a:fillRect/>
            </a:stretch>
          </a:blipFill>
        </p:spPr>
        <p:txBody>
          <a:bodyPr/>
          <a:lstStyle>
            <a:lvl1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1pPr>
            <a:lvl2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2pPr>
            <a:lvl3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3pPr>
            <a:lvl4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4pPr>
            <a:lvl5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42253996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Header &amp; Content ">
    <p:spTree>
      <p:nvGrpSpPr>
        <p:cNvPr id="1" name=""/>
        <p:cNvGrpSpPr/>
        <p:nvPr/>
      </p:nvGrpSpPr>
      <p:grpSpPr>
        <a:xfrm>
          <a:off x="0" y="0"/>
          <a:ext cx="0" cy="0"/>
          <a:chOff x="0" y="0"/>
          <a:chExt cx="0" cy="0"/>
        </a:xfrm>
      </p:grpSpPr>
      <p:sp>
        <p:nvSpPr>
          <p:cNvPr id="13" name="Marcador de posición de imagen 45">
            <a:extLst>
              <a:ext uri="{FF2B5EF4-FFF2-40B4-BE49-F238E27FC236}">
                <a16:creationId xmlns:a16="http://schemas.microsoft.com/office/drawing/2014/main" id="{6048132D-52A6-C0C0-DB20-39257C2B97A5}"/>
              </a:ext>
            </a:extLst>
          </p:cNvPr>
          <p:cNvSpPr>
            <a:spLocks noGrp="1"/>
          </p:cNvSpPr>
          <p:nvPr>
            <p:ph type="pic" sz="quarter" idx="48" hasCustomPrompt="1"/>
          </p:nvPr>
        </p:nvSpPr>
        <p:spPr>
          <a:xfrm>
            <a:off x="0" y="-1"/>
            <a:ext cx="12192000" cy="6858001"/>
          </a:xfrm>
          <a:prstGeom prst="rect">
            <a:avLst/>
          </a:prstGeom>
          <a:noFill/>
        </p:spPr>
        <p:txBody>
          <a:bodyPr/>
          <a:lstStyle>
            <a:lvl1pPr marL="0" indent="0" algn="ctr">
              <a:buNone/>
              <a:defRPr sz="1400">
                <a:solidFill>
                  <a:schemeClr val="tx2"/>
                </a:solidFill>
                <a:latin typeface="Santander Headline" panose="020B0504020201020104" pitchFamily="34" charset="0"/>
              </a:defRPr>
            </a:lvl1pPr>
          </a:lstStyle>
          <a:p>
            <a:r>
              <a:rPr lang="es-ES" err="1"/>
              <a:t>Insert</a:t>
            </a:r>
            <a:r>
              <a:rPr lang="es-ES"/>
              <a:t> </a:t>
            </a:r>
            <a:r>
              <a:rPr lang="es-ES" err="1"/>
              <a:t>image</a:t>
            </a:r>
            <a:r>
              <a:rPr lang="es-ES"/>
              <a:t> and </a:t>
            </a:r>
            <a:r>
              <a:rPr lang="es-ES" err="1"/>
              <a:t>sent</a:t>
            </a:r>
            <a:r>
              <a:rPr lang="es-ES"/>
              <a:t> </a:t>
            </a:r>
            <a:r>
              <a:rPr lang="es-ES" err="1"/>
              <a:t>to</a:t>
            </a:r>
            <a:r>
              <a:rPr lang="es-ES"/>
              <a:t> bottom </a:t>
            </a:r>
            <a:r>
              <a:rPr lang="es-ES" err="1"/>
              <a:t>of</a:t>
            </a:r>
            <a:r>
              <a:rPr lang="es-ES"/>
              <a:t> </a:t>
            </a:r>
            <a:r>
              <a:rPr lang="es-ES" err="1"/>
              <a:t>the</a:t>
            </a:r>
            <a:r>
              <a:rPr lang="es-ES"/>
              <a:t> page</a:t>
            </a:r>
          </a:p>
        </p:txBody>
      </p:sp>
      <p:sp>
        <p:nvSpPr>
          <p:cNvPr id="7" name="Marcador de número de diapositiva 5">
            <a:extLst>
              <a:ext uri="{FF2B5EF4-FFF2-40B4-BE49-F238E27FC236}">
                <a16:creationId xmlns:a16="http://schemas.microsoft.com/office/drawing/2014/main" id="{1E7A05EF-9F19-2259-56A6-5C5AE5DD061F}"/>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12" name="Text Placeholder 11">
            <a:extLst>
              <a:ext uri="{FF2B5EF4-FFF2-40B4-BE49-F238E27FC236}">
                <a16:creationId xmlns:a16="http://schemas.microsoft.com/office/drawing/2014/main" id="{0E0A51F3-DCB4-B41F-5C8A-C75C2ADC8B6A}"/>
              </a:ext>
            </a:extLst>
          </p:cNvPr>
          <p:cNvSpPr>
            <a:spLocks noGrp="1"/>
          </p:cNvSpPr>
          <p:nvPr>
            <p:ph type="body" sz="quarter" idx="47"/>
          </p:nvPr>
        </p:nvSpPr>
        <p:spPr>
          <a:xfrm>
            <a:off x="769575" y="767691"/>
            <a:ext cx="4997482" cy="2337648"/>
          </a:xfrm>
          <a:prstGeom prst="rect">
            <a:avLst/>
          </a:prstGeom>
        </p:spPr>
        <p:txBody>
          <a:bodyPr/>
          <a:lstStyle>
            <a:lvl1pPr marL="0" indent="0">
              <a:buNone/>
              <a:defRPr sz="1400">
                <a:solidFill>
                  <a:schemeClr val="bg1"/>
                </a:solidFill>
                <a:latin typeface="+mj-lt"/>
              </a:defRPr>
            </a:lvl1pPr>
            <a:lvl2pPr>
              <a:defRPr sz="1400"/>
            </a:lvl2pPr>
            <a:lvl3pPr>
              <a:defRPr sz="1400"/>
            </a:lvl3pPr>
            <a:lvl4pPr>
              <a:defRPr sz="1400"/>
            </a:lvl4pPr>
            <a:lvl5pPr>
              <a:defRPr sz="1400"/>
            </a:lvl5pPr>
          </a:lstStyle>
          <a:p>
            <a:pPr lvl="0"/>
            <a:endParaRPr lang="en-GB"/>
          </a:p>
        </p:txBody>
      </p:sp>
      <p:sp>
        <p:nvSpPr>
          <p:cNvPr id="5" name="Text Placeholder 3">
            <a:extLst>
              <a:ext uri="{FF2B5EF4-FFF2-40B4-BE49-F238E27FC236}">
                <a16:creationId xmlns:a16="http://schemas.microsoft.com/office/drawing/2014/main" id="{69C0F3D9-EAEF-FCAC-AE74-63F329C5025B}"/>
              </a:ext>
            </a:extLst>
          </p:cNvPr>
          <p:cNvSpPr>
            <a:spLocks noGrp="1"/>
          </p:cNvSpPr>
          <p:nvPr>
            <p:ph type="body" sz="quarter" idx="16"/>
          </p:nvPr>
        </p:nvSpPr>
        <p:spPr>
          <a:xfrm>
            <a:off x="10815678" y="89692"/>
            <a:ext cx="1285311" cy="281220"/>
          </a:xfrm>
          <a:prstGeom prst="rect">
            <a:avLst/>
          </a:prstGeom>
          <a:blipFill>
            <a:blip r:embed="rId2">
              <a:lum bright="100000"/>
              <a:extLst>
                <a:ext uri="{96DAC541-7B7A-43D3-8B79-37D633B846F1}">
                  <asvg:svgBlip xmlns:asvg="http://schemas.microsoft.com/office/drawing/2016/SVG/main" r:embed="rId3"/>
                </a:ext>
              </a:extLst>
            </a:blip>
            <a:stretch>
              <a:fillRect/>
            </a:stretch>
          </a:blipFill>
        </p:spPr>
        <p:txBody>
          <a:bodyPr/>
          <a:lstStyle>
            <a:lvl1pPr marL="0" indent="0">
              <a:buNone/>
              <a:defRPr sz="100">
                <a:solidFill>
                  <a:schemeClr val="bg1">
                    <a:alpha val="0"/>
                  </a:schemeClr>
                </a:solidFill>
              </a:defRPr>
            </a:lvl1pPr>
          </a:lstStyle>
          <a:p>
            <a:pPr lvl="0"/>
            <a:endParaRPr lang="en-GB"/>
          </a:p>
        </p:txBody>
      </p:sp>
      <p:sp>
        <p:nvSpPr>
          <p:cNvPr id="6" name="Marcador de texto 12">
            <a:extLst>
              <a:ext uri="{FF2B5EF4-FFF2-40B4-BE49-F238E27FC236}">
                <a16:creationId xmlns:a16="http://schemas.microsoft.com/office/drawing/2014/main" id="{56D5596B-A95A-092F-E51A-9B63FD484728}"/>
              </a:ext>
            </a:extLst>
          </p:cNvPr>
          <p:cNvSpPr>
            <a:spLocks noGrp="1" noChangeAspect="1"/>
          </p:cNvSpPr>
          <p:nvPr>
            <p:ph type="body" sz="quarter" idx="19"/>
          </p:nvPr>
        </p:nvSpPr>
        <p:spPr>
          <a:xfrm>
            <a:off x="745994" y="5863748"/>
            <a:ext cx="2212052" cy="403940"/>
          </a:xfrm>
          <a:prstGeom prst="rect">
            <a:avLst/>
          </a:prstGeom>
          <a:blipFill dpi="0" rotWithShape="1">
            <a:blip r:embed="rId4">
              <a:extLst>
                <a:ext uri="{96DAC541-7B7A-43D3-8B79-37D633B846F1}">
                  <asvg:svgBlip xmlns:asvg="http://schemas.microsoft.com/office/drawing/2016/SVG/main" r:embed="rId5"/>
                </a:ext>
              </a:extLst>
            </a:blip>
            <a:srcRect/>
            <a:stretch>
              <a:fillRect/>
            </a:stretch>
          </a:blipFill>
        </p:spPr>
        <p:txBody>
          <a:bodyPr/>
          <a:lstStyle>
            <a:lvl1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1pPr>
            <a:lvl2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2pPr>
            <a:lvl3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3pPr>
            <a:lvl4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4pPr>
            <a:lvl5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4750676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Header &amp; Content ">
    <p:spTree>
      <p:nvGrpSpPr>
        <p:cNvPr id="1" name=""/>
        <p:cNvGrpSpPr/>
        <p:nvPr/>
      </p:nvGrpSpPr>
      <p:grpSpPr>
        <a:xfrm>
          <a:off x="0" y="0"/>
          <a:ext cx="0" cy="0"/>
          <a:chOff x="0" y="0"/>
          <a:chExt cx="0" cy="0"/>
        </a:xfrm>
      </p:grpSpPr>
      <p:sp>
        <p:nvSpPr>
          <p:cNvPr id="8" name="Marcador de texto 16">
            <a:extLst>
              <a:ext uri="{FF2B5EF4-FFF2-40B4-BE49-F238E27FC236}">
                <a16:creationId xmlns:a16="http://schemas.microsoft.com/office/drawing/2014/main" id="{86EB7DA2-0B7D-FCAD-AD99-A854B234EF36}"/>
              </a:ext>
            </a:extLst>
          </p:cNvPr>
          <p:cNvSpPr>
            <a:spLocks noGrp="1"/>
          </p:cNvSpPr>
          <p:nvPr>
            <p:ph type="body" sz="quarter" idx="15" hasCustomPrompt="1"/>
          </p:nvPr>
        </p:nvSpPr>
        <p:spPr>
          <a:xfrm>
            <a:off x="693939" y="1264038"/>
            <a:ext cx="10984992" cy="251795"/>
          </a:xfrm>
          <a:prstGeom prst="rect">
            <a:avLst/>
          </a:prstGeom>
        </p:spPr>
        <p:txBody>
          <a:bodyPr lIns="90000" tIns="36000" rIns="0" bIns="45720">
            <a:spAutoFit/>
          </a:bodyPr>
          <a:lstStyle>
            <a:lvl1pPr marL="0" indent="0">
              <a:lnSpc>
                <a:spcPct val="100000"/>
              </a:lnSpc>
              <a:spcBef>
                <a:spcPts val="0"/>
              </a:spcBef>
              <a:spcAft>
                <a:spcPts val="1787"/>
              </a:spcAft>
              <a:buFontTx/>
              <a:buNone/>
              <a:defRPr lang="es-ES" sz="1100" b="1" kern="1200" baseline="0" smtClean="0">
                <a:solidFill>
                  <a:schemeClr val="tx2"/>
                </a:solidFill>
                <a:latin typeface="Santander Headline" panose="020B0504020201020104" pitchFamily="34" charset="0"/>
                <a:ea typeface="+mn-ea"/>
                <a:cs typeface="Arial" panose="020B0604020202020204" pitchFamily="34" charset="0"/>
              </a:defRPr>
            </a:lvl1pPr>
            <a:lvl2pPr marL="371464" indent="0">
              <a:buFontTx/>
              <a:buNone/>
              <a:defRPr lang="es-ES" sz="975" kern="1200" smtClean="0">
                <a:solidFill>
                  <a:schemeClr val="tx2"/>
                </a:solidFill>
                <a:latin typeface="+mn-lt"/>
                <a:ea typeface="+mn-ea"/>
                <a:cs typeface="+mn-cs"/>
              </a:defRPr>
            </a:lvl2pPr>
            <a:lvl3pPr marL="742927" indent="0">
              <a:buFontTx/>
              <a:buNone/>
              <a:defRPr lang="es-ES" sz="975" kern="1200" smtClean="0">
                <a:solidFill>
                  <a:schemeClr val="tx2"/>
                </a:solidFill>
                <a:latin typeface="+mn-lt"/>
                <a:ea typeface="+mn-ea"/>
                <a:cs typeface="+mn-cs"/>
              </a:defRPr>
            </a:lvl3pPr>
            <a:lvl4pPr marL="1114391" indent="0">
              <a:buFontTx/>
              <a:buNone/>
              <a:defRPr lang="es-ES" sz="975" kern="1200" smtClean="0">
                <a:solidFill>
                  <a:schemeClr val="tx2"/>
                </a:solidFill>
                <a:latin typeface="+mn-lt"/>
                <a:ea typeface="+mn-ea"/>
                <a:cs typeface="+mn-cs"/>
              </a:defRPr>
            </a:lvl4pPr>
            <a:lvl5pPr marL="1485854" indent="0">
              <a:buFontTx/>
              <a:buNone/>
              <a:defRPr lang="es-ES" sz="975" kern="1200">
                <a:solidFill>
                  <a:schemeClr val="tx2"/>
                </a:solidFill>
                <a:latin typeface="+mn-lt"/>
                <a:ea typeface="+mn-ea"/>
                <a:cs typeface="+mn-cs"/>
              </a:defRPr>
            </a:lvl5pPr>
          </a:lstStyle>
          <a:p>
            <a:pPr lvl="0"/>
            <a:r>
              <a:rPr lang="en-US" noProof="0"/>
              <a:t>Layout heading &gt; (Santander headline 11, bold)</a:t>
            </a:r>
          </a:p>
        </p:txBody>
      </p:sp>
      <p:cxnSp>
        <p:nvCxnSpPr>
          <p:cNvPr id="9" name="Straight Connector 3">
            <a:extLst>
              <a:ext uri="{FF2B5EF4-FFF2-40B4-BE49-F238E27FC236}">
                <a16:creationId xmlns:a16="http://schemas.microsoft.com/office/drawing/2014/main" id="{53AA6287-C0EB-7CB2-7901-60B8F01D85AF}"/>
              </a:ext>
            </a:extLst>
          </p:cNvPr>
          <p:cNvCxnSpPr>
            <a:cxnSpLocks/>
          </p:cNvCxnSpPr>
          <p:nvPr userDrawn="1"/>
        </p:nvCxnSpPr>
        <p:spPr>
          <a:xfrm>
            <a:off x="794423" y="1527837"/>
            <a:ext cx="1089181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Content Placeholder 4">
            <a:extLst>
              <a:ext uri="{FF2B5EF4-FFF2-40B4-BE49-F238E27FC236}">
                <a16:creationId xmlns:a16="http://schemas.microsoft.com/office/drawing/2014/main" id="{BDD21897-55C5-CFFF-C35C-97CEF55DBB75}"/>
              </a:ext>
            </a:extLst>
          </p:cNvPr>
          <p:cNvSpPr>
            <a:spLocks noGrp="1"/>
          </p:cNvSpPr>
          <p:nvPr>
            <p:ph sz="quarter" idx="44" hasCustomPrompt="1"/>
          </p:nvPr>
        </p:nvSpPr>
        <p:spPr>
          <a:xfrm>
            <a:off x="693939" y="1625601"/>
            <a:ext cx="10984992" cy="4464736"/>
          </a:xfrm>
          <a:prstGeom prst="rect">
            <a:avLst/>
          </a:prstGeom>
        </p:spPr>
        <p:txBody>
          <a:bodyPr lIns="90000" rIns="0" bIns="0"/>
          <a:lstStyle>
            <a:lvl1pPr marL="228600" indent="-228600">
              <a:lnSpc>
                <a:spcPct val="100000"/>
              </a:lnSpc>
              <a:spcBef>
                <a:spcPts val="200"/>
              </a:spcBef>
              <a:spcAft>
                <a:spcPts val="200"/>
              </a:spcAft>
              <a:buClr>
                <a:schemeClr val="tx2"/>
              </a:buClr>
              <a:buFont typeface="Wingdings" panose="05000000000000000000" pitchFamily="2" charset="2"/>
              <a:buChar char="§"/>
              <a:defRPr sz="1000">
                <a:latin typeface="+mj-lt"/>
              </a:defRPr>
            </a:lvl1pPr>
            <a:lvl2pPr marL="444500" indent="-228600">
              <a:lnSpc>
                <a:spcPct val="100000"/>
              </a:lnSpc>
              <a:spcBef>
                <a:spcPts val="200"/>
              </a:spcBef>
              <a:spcAft>
                <a:spcPts val="200"/>
              </a:spcAft>
              <a:buClrTx/>
              <a:buFont typeface="Arial" panose="020B0604020202020204" pitchFamily="34" charset="0"/>
              <a:buChar char="–"/>
              <a:tabLst/>
              <a:defRPr sz="900">
                <a:latin typeface="+mj-lt"/>
              </a:defRPr>
            </a:lvl2pPr>
            <a:lvl3pPr marL="719138" indent="-228600">
              <a:lnSpc>
                <a:spcPct val="100000"/>
              </a:lnSpc>
              <a:spcBef>
                <a:spcPts val="200"/>
              </a:spcBef>
              <a:spcAft>
                <a:spcPts val="200"/>
              </a:spcAft>
              <a:buClrTx/>
              <a:buFont typeface="Arial" panose="020B0604020202020204" pitchFamily="34" charset="0"/>
              <a:buChar char="•"/>
              <a:defRPr sz="800">
                <a:latin typeface="+mj-lt"/>
              </a:defRPr>
            </a:lvl3pPr>
            <a:lvl4pPr marL="896938" indent="-228600">
              <a:lnSpc>
                <a:spcPct val="100000"/>
              </a:lnSpc>
              <a:spcBef>
                <a:spcPts val="200"/>
              </a:spcBef>
              <a:spcAft>
                <a:spcPts val="200"/>
              </a:spcAft>
              <a:buClrTx/>
              <a:buFont typeface="Arial" panose="020B0604020202020204" pitchFamily="34" charset="0"/>
              <a:buChar char="−"/>
              <a:defRPr sz="800">
                <a:latin typeface="+mj-lt"/>
              </a:defRPr>
            </a:lvl4pPr>
            <a:lvl5pPr marL="2057400" indent="-228600">
              <a:lnSpc>
                <a:spcPct val="100000"/>
              </a:lnSpc>
              <a:spcBef>
                <a:spcPts val="200"/>
              </a:spcBef>
              <a:spcAft>
                <a:spcPts val="200"/>
              </a:spcAft>
              <a:buClr>
                <a:schemeClr val="accent2">
                  <a:lumMod val="50000"/>
                </a:schemeClr>
              </a:buClr>
              <a:buFont typeface="Wingdings" panose="05000000000000000000" pitchFamily="2" charset="2"/>
              <a:buChar char="§"/>
              <a:defRPr sz="900">
                <a:latin typeface="+mn-lt"/>
              </a:defRPr>
            </a:lvl5pPr>
          </a:lstStyle>
          <a:p>
            <a:pPr lvl="0"/>
            <a:r>
              <a:rPr lang="en-US" noProof="0"/>
              <a:t>Edit master text styles (Santander headline 10)</a:t>
            </a:r>
          </a:p>
          <a:p>
            <a:pPr lvl="1"/>
            <a:r>
              <a:rPr lang="en-US" noProof="0"/>
              <a:t>Second level (Santander headline 9)</a:t>
            </a:r>
          </a:p>
          <a:p>
            <a:pPr lvl="2"/>
            <a:r>
              <a:rPr lang="en-US" noProof="0"/>
              <a:t>Third level (Santander headline 8)</a:t>
            </a:r>
          </a:p>
          <a:p>
            <a:pPr lvl="3"/>
            <a:r>
              <a:rPr lang="en-US" noProof="0"/>
              <a:t>Fourth level (Santander headline 8)</a:t>
            </a:r>
          </a:p>
        </p:txBody>
      </p:sp>
      <p:sp>
        <p:nvSpPr>
          <p:cNvPr id="12" name="Título 1">
            <a:extLst>
              <a:ext uri="{FF2B5EF4-FFF2-40B4-BE49-F238E27FC236}">
                <a16:creationId xmlns:a16="http://schemas.microsoft.com/office/drawing/2014/main" id="{D37833AA-015D-53D8-2319-248B397B12D7}"/>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13" name="Marcador de texto 14">
            <a:extLst>
              <a:ext uri="{FF2B5EF4-FFF2-40B4-BE49-F238E27FC236}">
                <a16:creationId xmlns:a16="http://schemas.microsoft.com/office/drawing/2014/main" id="{1DDF8130-4F62-1391-2E98-168864940019}"/>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7" name="Marcador de número de diapositiva 5">
            <a:extLst>
              <a:ext uri="{FF2B5EF4-FFF2-40B4-BE49-F238E27FC236}">
                <a16:creationId xmlns:a16="http://schemas.microsoft.com/office/drawing/2014/main" id="{BDCDAC02-2C19-C138-7EA6-4AD2429815AD}"/>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10" name="Footnotes">
            <a:extLst>
              <a:ext uri="{FF2B5EF4-FFF2-40B4-BE49-F238E27FC236}">
                <a16:creationId xmlns:a16="http://schemas.microsoft.com/office/drawing/2014/main" id="{A3D12584-8A9A-2685-F419-6F86672E5906}"/>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sp>
        <p:nvSpPr>
          <p:cNvPr id="2" name="Marcador de texto 14">
            <a:extLst>
              <a:ext uri="{FF2B5EF4-FFF2-40B4-BE49-F238E27FC236}">
                <a16:creationId xmlns:a16="http://schemas.microsoft.com/office/drawing/2014/main" id="{71654D97-C941-FE1F-C9E6-C30D1CFE150A}"/>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pic>
        <p:nvPicPr>
          <p:cNvPr id="6" name="Gráfico 2">
            <a:extLst>
              <a:ext uri="{FF2B5EF4-FFF2-40B4-BE49-F238E27FC236}">
                <a16:creationId xmlns:a16="http://schemas.microsoft.com/office/drawing/2014/main" id="{4BC205E0-5354-3EFB-1E0A-B30B2BDB03B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Tree>
    <p:extLst>
      <p:ext uri="{BB962C8B-B14F-4D97-AF65-F5344CB8AC3E}">
        <p14:creationId xmlns:p14="http://schemas.microsoft.com/office/powerpoint/2010/main" val="30967870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antander's Relationship Team">
    <p:spTree>
      <p:nvGrpSpPr>
        <p:cNvPr id="1" name=""/>
        <p:cNvGrpSpPr/>
        <p:nvPr/>
      </p:nvGrpSpPr>
      <p:grpSpPr>
        <a:xfrm>
          <a:off x="0" y="0"/>
          <a:ext cx="0" cy="0"/>
          <a:chOff x="0" y="0"/>
          <a:chExt cx="0" cy="0"/>
        </a:xfrm>
      </p:grpSpPr>
      <p:cxnSp>
        <p:nvCxnSpPr>
          <p:cNvPr id="34" name="Conector recto 33">
            <a:extLst>
              <a:ext uri="{FF2B5EF4-FFF2-40B4-BE49-F238E27FC236}">
                <a16:creationId xmlns:a16="http://schemas.microsoft.com/office/drawing/2014/main" id="{D8BF45D1-8DA5-B754-D44F-3D02420F23B2}"/>
              </a:ext>
            </a:extLst>
          </p:cNvPr>
          <p:cNvCxnSpPr>
            <a:cxnSpLocks/>
          </p:cNvCxnSpPr>
          <p:nvPr userDrawn="1"/>
        </p:nvCxnSpPr>
        <p:spPr>
          <a:xfrm>
            <a:off x="4569634" y="1508178"/>
            <a:ext cx="0" cy="438427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8" name="Marcador de texto 36">
            <a:extLst>
              <a:ext uri="{FF2B5EF4-FFF2-40B4-BE49-F238E27FC236}">
                <a16:creationId xmlns:a16="http://schemas.microsoft.com/office/drawing/2014/main" id="{5813897C-45CE-9D5D-5358-3D335D371B07}"/>
              </a:ext>
            </a:extLst>
          </p:cNvPr>
          <p:cNvSpPr>
            <a:spLocks noGrp="1"/>
          </p:cNvSpPr>
          <p:nvPr>
            <p:ph type="body" sz="quarter" idx="46" hasCustomPrompt="1"/>
          </p:nvPr>
        </p:nvSpPr>
        <p:spPr>
          <a:xfrm>
            <a:off x="1018511" y="1481922"/>
            <a:ext cx="3129742" cy="1086352"/>
          </a:xfrm>
          <a:prstGeom prst="rect">
            <a:avLst/>
          </a:prstGeom>
        </p:spPr>
        <p:txBody>
          <a:bodyPr/>
          <a:lstStyle>
            <a:lvl1pPr marL="0" indent="0">
              <a:spcBef>
                <a:spcPts val="0"/>
              </a:spcBef>
              <a:spcAft>
                <a:spcPts val="1800"/>
              </a:spcAft>
              <a:buNone/>
              <a:defRPr lang="es-ES" sz="1200" b="1" kern="1200" smtClean="0">
                <a:solidFill>
                  <a:srgbClr val="EC0000"/>
                </a:solidFill>
                <a:latin typeface="Santander Headline" panose="020B0504020201020104" pitchFamily="34" charset="0"/>
                <a:ea typeface="+mn-ea"/>
                <a:cs typeface="+mn-cs"/>
              </a:defRPr>
            </a:lvl1pPr>
            <a:lvl2pPr marL="0" indent="0">
              <a:spcBef>
                <a:spcPts val="0"/>
              </a:spcBef>
              <a:buNone/>
              <a:defRPr lang="es-ES" sz="1000" kern="1200" dirty="0" smtClean="0">
                <a:solidFill>
                  <a:srgbClr val="6F7779"/>
                </a:solidFill>
                <a:latin typeface="Santander Headline" panose="020B0504020201020104" pitchFamily="34" charset="0"/>
                <a:ea typeface="+mn-ea"/>
                <a:cs typeface="+mn-cs"/>
              </a:defRPr>
            </a:lvl2pPr>
            <a:lvl3pPr marL="914400" indent="0">
              <a:buNone/>
              <a:defRPr/>
            </a:lvl3pPr>
            <a:lvl4pPr marL="1371600" indent="0">
              <a:buNone/>
              <a:defRPr/>
            </a:lvl4pPr>
            <a:lvl5pPr marL="1828800" indent="0">
              <a:buNone/>
              <a:defRPr/>
            </a:lvl5pPr>
          </a:lstStyle>
          <a:p>
            <a:pPr lvl="0"/>
            <a:r>
              <a:rPr lang="es-ES"/>
              <a:t>Text Santander headline </a:t>
            </a:r>
            <a:r>
              <a:rPr lang="es-ES" err="1"/>
              <a:t>bold</a:t>
            </a:r>
            <a:r>
              <a:rPr lang="es-ES"/>
              <a:t> (12) </a:t>
            </a:r>
          </a:p>
          <a:p>
            <a:pPr marL="0" marR="0" lvl="1"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err="1"/>
              <a:t>Second</a:t>
            </a:r>
            <a:r>
              <a:rPr lang="es-ES"/>
              <a:t> </a:t>
            </a:r>
            <a:r>
              <a:rPr lang="es-ES" err="1"/>
              <a:t>level</a:t>
            </a:r>
            <a:r>
              <a:rPr lang="es-ES"/>
              <a:t> </a:t>
            </a:r>
            <a:r>
              <a:rPr lang="en-US" noProof="0"/>
              <a:t>(Santander headline 10)</a:t>
            </a:r>
          </a:p>
        </p:txBody>
      </p:sp>
      <p:sp>
        <p:nvSpPr>
          <p:cNvPr id="43" name="Marcador de posición de imagen 39">
            <a:extLst>
              <a:ext uri="{FF2B5EF4-FFF2-40B4-BE49-F238E27FC236}">
                <a16:creationId xmlns:a16="http://schemas.microsoft.com/office/drawing/2014/main" id="{F9A91CD8-5395-8168-25CD-ABDA477EFB14}"/>
              </a:ext>
            </a:extLst>
          </p:cNvPr>
          <p:cNvSpPr>
            <a:spLocks noGrp="1"/>
          </p:cNvSpPr>
          <p:nvPr>
            <p:ph type="pic" sz="quarter" idx="47" hasCustomPrompt="1"/>
          </p:nvPr>
        </p:nvSpPr>
        <p:spPr>
          <a:xfrm>
            <a:off x="1106541" y="2765986"/>
            <a:ext cx="600075" cy="593003"/>
          </a:xfrm>
          <a:prstGeom prst="rect">
            <a:avLst/>
          </a:prstGeom>
        </p:spPr>
        <p:txBody>
          <a:bodyPr/>
          <a:lstStyle>
            <a:lvl1pPr marL="0" indent="0" algn="ctr">
              <a:buNone/>
              <a:defRPr sz="1000">
                <a:latin typeface="+mj-lt"/>
              </a:defRPr>
            </a:lvl1pPr>
          </a:lstStyle>
          <a:p>
            <a:r>
              <a:rPr lang="es-ES"/>
              <a:t>PHOTO</a:t>
            </a:r>
          </a:p>
        </p:txBody>
      </p:sp>
      <p:sp>
        <p:nvSpPr>
          <p:cNvPr id="44" name="Marcador de texto 41">
            <a:extLst>
              <a:ext uri="{FF2B5EF4-FFF2-40B4-BE49-F238E27FC236}">
                <a16:creationId xmlns:a16="http://schemas.microsoft.com/office/drawing/2014/main" id="{A4DCA9AC-5583-7209-D43D-F96F5549DE26}"/>
              </a:ext>
            </a:extLst>
          </p:cNvPr>
          <p:cNvSpPr>
            <a:spLocks noGrp="1"/>
          </p:cNvSpPr>
          <p:nvPr>
            <p:ph type="body" sz="quarter" idx="48" hasCustomPrompt="1"/>
          </p:nvPr>
        </p:nvSpPr>
        <p:spPr>
          <a:xfrm>
            <a:off x="1706718" y="2761581"/>
            <a:ext cx="2441535" cy="601942"/>
          </a:xfrm>
          <a:prstGeom prst="rect">
            <a:avLst/>
          </a:prstGeom>
        </p:spPr>
        <p:txBody>
          <a:bodyPr/>
          <a:lstStyle>
            <a:lvl1pPr marL="0" indent="0">
              <a:buNone/>
              <a:defRPr sz="900" b="1">
                <a:solidFill>
                  <a:srgbClr val="EC0000"/>
                </a:solidFill>
                <a:latin typeface="+mj-lt"/>
              </a:defRPr>
            </a:lvl1pPr>
            <a:lvl2pPr marL="0" indent="0">
              <a:spcBef>
                <a:spcPts val="0"/>
              </a:spcBef>
              <a:buNone/>
              <a:defRPr sz="800">
                <a:latin typeface="+mj-lt"/>
              </a:defRPr>
            </a:lvl2pPr>
            <a:lvl3pPr marL="0" indent="0">
              <a:spcBef>
                <a:spcPts val="500"/>
              </a:spcBef>
              <a:buNone/>
              <a:defRPr sz="800">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rid</a:t>
            </a:r>
            <a:r>
              <a:rPr lang="es-ES"/>
              <a:t> </a:t>
            </a:r>
            <a:r>
              <a:rPr lang="es-ES" err="1"/>
              <a:t>level</a:t>
            </a:r>
            <a:endParaRPr lang="es-ES"/>
          </a:p>
        </p:txBody>
      </p:sp>
      <p:sp>
        <p:nvSpPr>
          <p:cNvPr id="51" name="Marcador de posición de imagen 39">
            <a:extLst>
              <a:ext uri="{FF2B5EF4-FFF2-40B4-BE49-F238E27FC236}">
                <a16:creationId xmlns:a16="http://schemas.microsoft.com/office/drawing/2014/main" id="{816424A5-34BF-69B4-DB05-ED215798E980}"/>
              </a:ext>
            </a:extLst>
          </p:cNvPr>
          <p:cNvSpPr>
            <a:spLocks noGrp="1"/>
          </p:cNvSpPr>
          <p:nvPr>
            <p:ph type="pic" sz="quarter" idx="49" hasCustomPrompt="1"/>
          </p:nvPr>
        </p:nvSpPr>
        <p:spPr>
          <a:xfrm>
            <a:off x="1106541" y="3614483"/>
            <a:ext cx="600075" cy="593003"/>
          </a:xfrm>
          <a:prstGeom prst="rect">
            <a:avLst/>
          </a:prstGeom>
        </p:spPr>
        <p:txBody>
          <a:bodyPr/>
          <a:lstStyle>
            <a:lvl1pPr marL="0" indent="0" algn="ctr">
              <a:buNone/>
              <a:defRPr sz="1000">
                <a:latin typeface="+mj-lt"/>
              </a:defRPr>
            </a:lvl1pPr>
          </a:lstStyle>
          <a:p>
            <a:r>
              <a:rPr lang="es-ES"/>
              <a:t>PHOTO</a:t>
            </a:r>
          </a:p>
        </p:txBody>
      </p:sp>
      <p:sp>
        <p:nvSpPr>
          <p:cNvPr id="52" name="Marcador de texto 41">
            <a:extLst>
              <a:ext uri="{FF2B5EF4-FFF2-40B4-BE49-F238E27FC236}">
                <a16:creationId xmlns:a16="http://schemas.microsoft.com/office/drawing/2014/main" id="{75C96219-0C7F-9D72-3445-69364DEFDA14}"/>
              </a:ext>
            </a:extLst>
          </p:cNvPr>
          <p:cNvSpPr>
            <a:spLocks noGrp="1"/>
          </p:cNvSpPr>
          <p:nvPr>
            <p:ph type="body" sz="quarter" idx="50" hasCustomPrompt="1"/>
          </p:nvPr>
        </p:nvSpPr>
        <p:spPr>
          <a:xfrm>
            <a:off x="1706718" y="3610078"/>
            <a:ext cx="2441535" cy="601942"/>
          </a:xfrm>
          <a:prstGeom prst="rect">
            <a:avLst/>
          </a:prstGeom>
        </p:spPr>
        <p:txBody>
          <a:bodyPr/>
          <a:lstStyle>
            <a:lvl1pPr marL="0" indent="0">
              <a:buNone/>
              <a:defRPr sz="900" b="1">
                <a:solidFill>
                  <a:srgbClr val="EC0000"/>
                </a:solidFill>
                <a:latin typeface="+mj-lt"/>
              </a:defRPr>
            </a:lvl1pPr>
            <a:lvl2pPr marL="0" indent="0">
              <a:spcBef>
                <a:spcPts val="0"/>
              </a:spcBef>
              <a:buNone/>
              <a:defRPr sz="800">
                <a:latin typeface="+mj-lt"/>
              </a:defRPr>
            </a:lvl2pPr>
            <a:lvl3pPr marL="0" indent="0">
              <a:spcBef>
                <a:spcPts val="500"/>
              </a:spcBef>
              <a:buNone/>
              <a:defRPr sz="800">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rid</a:t>
            </a:r>
            <a:r>
              <a:rPr lang="es-ES"/>
              <a:t> </a:t>
            </a:r>
            <a:r>
              <a:rPr lang="es-ES" err="1"/>
              <a:t>level</a:t>
            </a:r>
            <a:endParaRPr lang="es-ES"/>
          </a:p>
        </p:txBody>
      </p:sp>
      <p:sp>
        <p:nvSpPr>
          <p:cNvPr id="53" name="Marcador de posición de imagen 39">
            <a:extLst>
              <a:ext uri="{FF2B5EF4-FFF2-40B4-BE49-F238E27FC236}">
                <a16:creationId xmlns:a16="http://schemas.microsoft.com/office/drawing/2014/main" id="{CED853E0-27D6-1F5C-3F0E-DD0F351CD935}"/>
              </a:ext>
            </a:extLst>
          </p:cNvPr>
          <p:cNvSpPr>
            <a:spLocks noGrp="1"/>
          </p:cNvSpPr>
          <p:nvPr>
            <p:ph type="pic" sz="quarter" idx="51" hasCustomPrompt="1"/>
          </p:nvPr>
        </p:nvSpPr>
        <p:spPr>
          <a:xfrm>
            <a:off x="1106541" y="4421782"/>
            <a:ext cx="600075" cy="593003"/>
          </a:xfrm>
          <a:prstGeom prst="rect">
            <a:avLst/>
          </a:prstGeom>
        </p:spPr>
        <p:txBody>
          <a:bodyPr/>
          <a:lstStyle>
            <a:lvl1pPr marL="0" indent="0" algn="ctr">
              <a:buNone/>
              <a:defRPr sz="1000">
                <a:latin typeface="+mj-lt"/>
              </a:defRPr>
            </a:lvl1pPr>
          </a:lstStyle>
          <a:p>
            <a:r>
              <a:rPr lang="es-ES"/>
              <a:t>PHOTO</a:t>
            </a:r>
          </a:p>
        </p:txBody>
      </p:sp>
      <p:sp>
        <p:nvSpPr>
          <p:cNvPr id="54" name="Marcador de texto 41">
            <a:extLst>
              <a:ext uri="{FF2B5EF4-FFF2-40B4-BE49-F238E27FC236}">
                <a16:creationId xmlns:a16="http://schemas.microsoft.com/office/drawing/2014/main" id="{C4A09E1D-F290-1449-8068-37725673AA31}"/>
              </a:ext>
            </a:extLst>
          </p:cNvPr>
          <p:cNvSpPr>
            <a:spLocks noGrp="1"/>
          </p:cNvSpPr>
          <p:nvPr>
            <p:ph type="body" sz="quarter" idx="52" hasCustomPrompt="1"/>
          </p:nvPr>
        </p:nvSpPr>
        <p:spPr>
          <a:xfrm>
            <a:off x="1706718" y="4417377"/>
            <a:ext cx="2441535" cy="601942"/>
          </a:xfrm>
          <a:prstGeom prst="rect">
            <a:avLst/>
          </a:prstGeom>
        </p:spPr>
        <p:txBody>
          <a:bodyPr/>
          <a:lstStyle>
            <a:lvl1pPr marL="0" indent="0">
              <a:buNone/>
              <a:defRPr sz="900" b="1">
                <a:solidFill>
                  <a:srgbClr val="EC0000"/>
                </a:solidFill>
                <a:latin typeface="+mj-lt"/>
              </a:defRPr>
            </a:lvl1pPr>
            <a:lvl2pPr marL="0" indent="0">
              <a:spcBef>
                <a:spcPts val="0"/>
              </a:spcBef>
              <a:buNone/>
              <a:defRPr sz="800">
                <a:latin typeface="+mj-lt"/>
              </a:defRPr>
            </a:lvl2pPr>
            <a:lvl3pPr marL="0" indent="0">
              <a:spcBef>
                <a:spcPts val="500"/>
              </a:spcBef>
              <a:buNone/>
              <a:defRPr sz="800">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rid</a:t>
            </a:r>
            <a:r>
              <a:rPr lang="es-ES"/>
              <a:t> </a:t>
            </a:r>
            <a:r>
              <a:rPr lang="es-ES" err="1"/>
              <a:t>level</a:t>
            </a:r>
            <a:endParaRPr lang="es-ES"/>
          </a:p>
        </p:txBody>
      </p:sp>
      <p:sp>
        <p:nvSpPr>
          <p:cNvPr id="55" name="Marcador de posición de imagen 39">
            <a:extLst>
              <a:ext uri="{FF2B5EF4-FFF2-40B4-BE49-F238E27FC236}">
                <a16:creationId xmlns:a16="http://schemas.microsoft.com/office/drawing/2014/main" id="{C80A8852-033B-1EC7-C125-D8DE39003778}"/>
              </a:ext>
            </a:extLst>
          </p:cNvPr>
          <p:cNvSpPr>
            <a:spLocks noGrp="1"/>
          </p:cNvSpPr>
          <p:nvPr>
            <p:ph type="pic" sz="quarter" idx="53" hasCustomPrompt="1"/>
          </p:nvPr>
        </p:nvSpPr>
        <p:spPr>
          <a:xfrm>
            <a:off x="1106541" y="5249685"/>
            <a:ext cx="600075" cy="593003"/>
          </a:xfrm>
          <a:prstGeom prst="rect">
            <a:avLst/>
          </a:prstGeom>
        </p:spPr>
        <p:txBody>
          <a:bodyPr/>
          <a:lstStyle>
            <a:lvl1pPr marL="0" indent="0" algn="ctr">
              <a:buNone/>
              <a:defRPr sz="1000">
                <a:latin typeface="+mj-lt"/>
              </a:defRPr>
            </a:lvl1pPr>
          </a:lstStyle>
          <a:p>
            <a:r>
              <a:rPr lang="es-ES"/>
              <a:t>PHOTO</a:t>
            </a:r>
          </a:p>
        </p:txBody>
      </p:sp>
      <p:sp>
        <p:nvSpPr>
          <p:cNvPr id="56" name="Marcador de texto 41">
            <a:extLst>
              <a:ext uri="{FF2B5EF4-FFF2-40B4-BE49-F238E27FC236}">
                <a16:creationId xmlns:a16="http://schemas.microsoft.com/office/drawing/2014/main" id="{7D2D5651-4EAD-0042-F4BF-6ED55673AB04}"/>
              </a:ext>
            </a:extLst>
          </p:cNvPr>
          <p:cNvSpPr>
            <a:spLocks noGrp="1"/>
          </p:cNvSpPr>
          <p:nvPr>
            <p:ph type="body" sz="quarter" idx="54" hasCustomPrompt="1"/>
          </p:nvPr>
        </p:nvSpPr>
        <p:spPr>
          <a:xfrm>
            <a:off x="1706718" y="5245280"/>
            <a:ext cx="2441535" cy="601942"/>
          </a:xfrm>
          <a:prstGeom prst="rect">
            <a:avLst/>
          </a:prstGeom>
        </p:spPr>
        <p:txBody>
          <a:bodyPr/>
          <a:lstStyle>
            <a:lvl1pPr marL="0" indent="0">
              <a:buNone/>
              <a:defRPr sz="900" b="1">
                <a:solidFill>
                  <a:srgbClr val="EC0000"/>
                </a:solidFill>
                <a:latin typeface="+mj-lt"/>
              </a:defRPr>
            </a:lvl1pPr>
            <a:lvl2pPr marL="0" indent="0">
              <a:spcBef>
                <a:spcPts val="0"/>
              </a:spcBef>
              <a:buNone/>
              <a:defRPr sz="800">
                <a:latin typeface="+mj-lt"/>
              </a:defRPr>
            </a:lvl2pPr>
            <a:lvl3pPr marL="0" indent="0">
              <a:spcBef>
                <a:spcPts val="500"/>
              </a:spcBef>
              <a:buNone/>
              <a:defRPr sz="800">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rid</a:t>
            </a:r>
            <a:r>
              <a:rPr lang="es-ES"/>
              <a:t> </a:t>
            </a:r>
            <a:r>
              <a:rPr lang="es-ES" err="1"/>
              <a:t>level</a:t>
            </a:r>
            <a:endParaRPr lang="es-ES"/>
          </a:p>
        </p:txBody>
      </p:sp>
      <p:cxnSp>
        <p:nvCxnSpPr>
          <p:cNvPr id="78" name="Conector recto 77">
            <a:extLst>
              <a:ext uri="{FF2B5EF4-FFF2-40B4-BE49-F238E27FC236}">
                <a16:creationId xmlns:a16="http://schemas.microsoft.com/office/drawing/2014/main" id="{7EAA076F-A04B-2899-234D-2F7DDC600513}"/>
              </a:ext>
            </a:extLst>
          </p:cNvPr>
          <p:cNvCxnSpPr>
            <a:cxnSpLocks/>
          </p:cNvCxnSpPr>
          <p:nvPr userDrawn="1"/>
        </p:nvCxnSpPr>
        <p:spPr>
          <a:xfrm>
            <a:off x="8134307" y="1508178"/>
            <a:ext cx="0" cy="438427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Marcador de texto 36">
            <a:extLst>
              <a:ext uri="{FF2B5EF4-FFF2-40B4-BE49-F238E27FC236}">
                <a16:creationId xmlns:a16="http://schemas.microsoft.com/office/drawing/2014/main" id="{EAB152B7-113E-CEC0-C714-126340474C73}"/>
              </a:ext>
            </a:extLst>
          </p:cNvPr>
          <p:cNvSpPr>
            <a:spLocks noGrp="1"/>
          </p:cNvSpPr>
          <p:nvPr>
            <p:ph type="body" sz="quarter" idx="55" hasCustomPrompt="1"/>
          </p:nvPr>
        </p:nvSpPr>
        <p:spPr>
          <a:xfrm>
            <a:off x="4743018" y="1481922"/>
            <a:ext cx="3129742" cy="1086352"/>
          </a:xfrm>
          <a:prstGeom prst="rect">
            <a:avLst/>
          </a:prstGeom>
        </p:spPr>
        <p:txBody>
          <a:bodyPr/>
          <a:lstStyle>
            <a:lvl1pPr marL="0" indent="0">
              <a:spcBef>
                <a:spcPts val="0"/>
              </a:spcBef>
              <a:spcAft>
                <a:spcPts val="1800"/>
              </a:spcAft>
              <a:buNone/>
              <a:defRPr lang="es-ES" sz="1200" b="1" kern="1200" smtClean="0">
                <a:solidFill>
                  <a:srgbClr val="EC0000"/>
                </a:solidFill>
                <a:latin typeface="Santander Headline" panose="020B0504020201020104" pitchFamily="34" charset="0"/>
                <a:ea typeface="+mn-ea"/>
                <a:cs typeface="+mn-cs"/>
              </a:defRPr>
            </a:lvl1pPr>
            <a:lvl2pPr marL="0" indent="0">
              <a:spcBef>
                <a:spcPts val="0"/>
              </a:spcBef>
              <a:buNone/>
              <a:defRPr lang="es-ES" sz="1000" kern="1200" dirty="0" smtClean="0">
                <a:solidFill>
                  <a:srgbClr val="6F7779"/>
                </a:solidFill>
                <a:latin typeface="Santander Headline" panose="020B0504020201020104" pitchFamily="34" charset="0"/>
                <a:ea typeface="+mn-ea"/>
                <a:cs typeface="+mn-cs"/>
              </a:defRPr>
            </a:lvl2pPr>
            <a:lvl3pPr marL="914400" indent="0">
              <a:buNone/>
              <a:defRPr/>
            </a:lvl3pPr>
            <a:lvl4pPr marL="1371600" indent="0">
              <a:buNone/>
              <a:defRPr/>
            </a:lvl4pPr>
            <a:lvl5pPr marL="1828800" indent="0">
              <a:buNone/>
              <a:defRPr/>
            </a:lvl5pPr>
          </a:lstStyle>
          <a:p>
            <a:pPr lvl="0"/>
            <a:r>
              <a:rPr lang="es-ES"/>
              <a:t>Text Santander </a:t>
            </a:r>
            <a:r>
              <a:rPr lang="en-US" noProof="0"/>
              <a:t>headline</a:t>
            </a:r>
            <a:r>
              <a:rPr lang="es-ES"/>
              <a:t> </a:t>
            </a:r>
            <a:r>
              <a:rPr lang="es-ES" err="1"/>
              <a:t>bold</a:t>
            </a:r>
            <a:r>
              <a:rPr lang="es-ES"/>
              <a:t> (12) </a:t>
            </a:r>
          </a:p>
          <a:p>
            <a:pPr marL="0" marR="0" lvl="1"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err="1"/>
              <a:t>Second</a:t>
            </a:r>
            <a:r>
              <a:rPr lang="es-ES"/>
              <a:t> </a:t>
            </a:r>
            <a:r>
              <a:rPr lang="es-ES" err="1"/>
              <a:t>level</a:t>
            </a:r>
            <a:r>
              <a:rPr lang="es-ES"/>
              <a:t> </a:t>
            </a:r>
            <a:r>
              <a:rPr lang="en-US" noProof="0"/>
              <a:t>(Santander headline 10)</a:t>
            </a:r>
          </a:p>
          <a:p>
            <a:pPr lvl="1"/>
            <a:endParaRPr lang="es-ES"/>
          </a:p>
        </p:txBody>
      </p:sp>
      <p:sp>
        <p:nvSpPr>
          <p:cNvPr id="81" name="Marcador de posición de imagen 39">
            <a:extLst>
              <a:ext uri="{FF2B5EF4-FFF2-40B4-BE49-F238E27FC236}">
                <a16:creationId xmlns:a16="http://schemas.microsoft.com/office/drawing/2014/main" id="{B3242BD8-5010-42DD-9633-A40F2C3836E4}"/>
              </a:ext>
            </a:extLst>
          </p:cNvPr>
          <p:cNvSpPr>
            <a:spLocks noGrp="1"/>
          </p:cNvSpPr>
          <p:nvPr>
            <p:ph type="pic" sz="quarter" idx="56" hasCustomPrompt="1"/>
          </p:nvPr>
        </p:nvSpPr>
        <p:spPr>
          <a:xfrm>
            <a:off x="4831048" y="2765986"/>
            <a:ext cx="600075" cy="593003"/>
          </a:xfrm>
          <a:prstGeom prst="rect">
            <a:avLst/>
          </a:prstGeom>
        </p:spPr>
        <p:txBody>
          <a:bodyPr/>
          <a:lstStyle>
            <a:lvl1pPr marL="0" indent="0" algn="ctr">
              <a:buNone/>
              <a:defRPr sz="1000">
                <a:latin typeface="+mj-lt"/>
              </a:defRPr>
            </a:lvl1pPr>
          </a:lstStyle>
          <a:p>
            <a:r>
              <a:rPr lang="es-ES"/>
              <a:t>PHOTO</a:t>
            </a:r>
          </a:p>
        </p:txBody>
      </p:sp>
      <p:sp>
        <p:nvSpPr>
          <p:cNvPr id="82" name="Marcador de texto 41">
            <a:extLst>
              <a:ext uri="{FF2B5EF4-FFF2-40B4-BE49-F238E27FC236}">
                <a16:creationId xmlns:a16="http://schemas.microsoft.com/office/drawing/2014/main" id="{FD0EA1D8-0880-E999-BDC8-13DB00C99E69}"/>
              </a:ext>
            </a:extLst>
          </p:cNvPr>
          <p:cNvSpPr>
            <a:spLocks noGrp="1"/>
          </p:cNvSpPr>
          <p:nvPr>
            <p:ph type="body" sz="quarter" idx="57" hasCustomPrompt="1"/>
          </p:nvPr>
        </p:nvSpPr>
        <p:spPr>
          <a:xfrm>
            <a:off x="5431225" y="2761581"/>
            <a:ext cx="2441535" cy="601942"/>
          </a:xfrm>
          <a:prstGeom prst="rect">
            <a:avLst/>
          </a:prstGeom>
        </p:spPr>
        <p:txBody>
          <a:bodyPr/>
          <a:lstStyle>
            <a:lvl1pPr marL="0" indent="0">
              <a:buNone/>
              <a:defRPr sz="900" b="1">
                <a:solidFill>
                  <a:srgbClr val="EC0000"/>
                </a:solidFill>
                <a:latin typeface="+mj-lt"/>
              </a:defRPr>
            </a:lvl1pPr>
            <a:lvl2pPr marL="0" indent="0">
              <a:spcBef>
                <a:spcPts val="0"/>
              </a:spcBef>
              <a:buNone/>
              <a:defRPr sz="800">
                <a:latin typeface="+mj-lt"/>
              </a:defRPr>
            </a:lvl2pPr>
            <a:lvl3pPr marL="0" indent="0">
              <a:spcBef>
                <a:spcPts val="500"/>
              </a:spcBef>
              <a:buNone/>
              <a:defRPr sz="800">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rid</a:t>
            </a:r>
            <a:r>
              <a:rPr lang="es-ES"/>
              <a:t> </a:t>
            </a:r>
            <a:r>
              <a:rPr lang="es-ES" err="1"/>
              <a:t>level</a:t>
            </a:r>
            <a:endParaRPr lang="es-ES"/>
          </a:p>
        </p:txBody>
      </p:sp>
      <p:sp>
        <p:nvSpPr>
          <p:cNvPr id="83" name="Marcador de posición de imagen 39">
            <a:extLst>
              <a:ext uri="{FF2B5EF4-FFF2-40B4-BE49-F238E27FC236}">
                <a16:creationId xmlns:a16="http://schemas.microsoft.com/office/drawing/2014/main" id="{00D53A9B-4CB1-88B7-ADD5-A0A04E9036DE}"/>
              </a:ext>
            </a:extLst>
          </p:cNvPr>
          <p:cNvSpPr>
            <a:spLocks noGrp="1"/>
          </p:cNvSpPr>
          <p:nvPr>
            <p:ph type="pic" sz="quarter" idx="58" hasCustomPrompt="1"/>
          </p:nvPr>
        </p:nvSpPr>
        <p:spPr>
          <a:xfrm>
            <a:off x="4831048" y="3614483"/>
            <a:ext cx="600075" cy="593003"/>
          </a:xfrm>
          <a:prstGeom prst="rect">
            <a:avLst/>
          </a:prstGeom>
        </p:spPr>
        <p:txBody>
          <a:bodyPr/>
          <a:lstStyle>
            <a:lvl1pPr marL="0" indent="0" algn="ctr">
              <a:buNone/>
              <a:defRPr sz="1000">
                <a:latin typeface="+mj-lt"/>
              </a:defRPr>
            </a:lvl1pPr>
          </a:lstStyle>
          <a:p>
            <a:r>
              <a:rPr lang="es-ES"/>
              <a:t>PHOTO</a:t>
            </a:r>
          </a:p>
        </p:txBody>
      </p:sp>
      <p:sp>
        <p:nvSpPr>
          <p:cNvPr id="84" name="Marcador de texto 41">
            <a:extLst>
              <a:ext uri="{FF2B5EF4-FFF2-40B4-BE49-F238E27FC236}">
                <a16:creationId xmlns:a16="http://schemas.microsoft.com/office/drawing/2014/main" id="{9D4A54AB-BE3A-C120-0596-55F9BD89BFEF}"/>
              </a:ext>
            </a:extLst>
          </p:cNvPr>
          <p:cNvSpPr>
            <a:spLocks noGrp="1"/>
          </p:cNvSpPr>
          <p:nvPr>
            <p:ph type="body" sz="quarter" idx="59" hasCustomPrompt="1"/>
          </p:nvPr>
        </p:nvSpPr>
        <p:spPr>
          <a:xfrm>
            <a:off x="5431225" y="3610078"/>
            <a:ext cx="2441535" cy="601942"/>
          </a:xfrm>
          <a:prstGeom prst="rect">
            <a:avLst/>
          </a:prstGeom>
        </p:spPr>
        <p:txBody>
          <a:bodyPr/>
          <a:lstStyle>
            <a:lvl1pPr marL="0" indent="0">
              <a:buNone/>
              <a:defRPr sz="900" b="1">
                <a:solidFill>
                  <a:srgbClr val="EC0000"/>
                </a:solidFill>
                <a:latin typeface="+mj-lt"/>
              </a:defRPr>
            </a:lvl1pPr>
            <a:lvl2pPr marL="0" indent="0">
              <a:spcBef>
                <a:spcPts val="0"/>
              </a:spcBef>
              <a:buNone/>
              <a:defRPr sz="800">
                <a:latin typeface="+mj-lt"/>
              </a:defRPr>
            </a:lvl2pPr>
            <a:lvl3pPr marL="0" indent="0">
              <a:spcBef>
                <a:spcPts val="500"/>
              </a:spcBef>
              <a:buNone/>
              <a:defRPr sz="800">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rid</a:t>
            </a:r>
            <a:r>
              <a:rPr lang="es-ES"/>
              <a:t> </a:t>
            </a:r>
            <a:r>
              <a:rPr lang="es-ES" err="1"/>
              <a:t>level</a:t>
            </a:r>
            <a:endParaRPr lang="es-ES"/>
          </a:p>
        </p:txBody>
      </p:sp>
      <p:sp>
        <p:nvSpPr>
          <p:cNvPr id="85" name="Marcador de posición de imagen 39">
            <a:extLst>
              <a:ext uri="{FF2B5EF4-FFF2-40B4-BE49-F238E27FC236}">
                <a16:creationId xmlns:a16="http://schemas.microsoft.com/office/drawing/2014/main" id="{9784B568-079F-659E-8C15-B97BF2FE7B31}"/>
              </a:ext>
            </a:extLst>
          </p:cNvPr>
          <p:cNvSpPr>
            <a:spLocks noGrp="1"/>
          </p:cNvSpPr>
          <p:nvPr>
            <p:ph type="pic" sz="quarter" idx="60" hasCustomPrompt="1"/>
          </p:nvPr>
        </p:nvSpPr>
        <p:spPr>
          <a:xfrm>
            <a:off x="4831048" y="4421782"/>
            <a:ext cx="600075" cy="593003"/>
          </a:xfrm>
          <a:prstGeom prst="rect">
            <a:avLst/>
          </a:prstGeom>
        </p:spPr>
        <p:txBody>
          <a:bodyPr/>
          <a:lstStyle>
            <a:lvl1pPr marL="0" indent="0" algn="ctr">
              <a:buNone/>
              <a:defRPr sz="1000">
                <a:latin typeface="+mj-lt"/>
              </a:defRPr>
            </a:lvl1pPr>
          </a:lstStyle>
          <a:p>
            <a:r>
              <a:rPr lang="es-ES"/>
              <a:t>PHOTO</a:t>
            </a:r>
          </a:p>
        </p:txBody>
      </p:sp>
      <p:sp>
        <p:nvSpPr>
          <p:cNvPr id="86" name="Marcador de texto 41">
            <a:extLst>
              <a:ext uri="{FF2B5EF4-FFF2-40B4-BE49-F238E27FC236}">
                <a16:creationId xmlns:a16="http://schemas.microsoft.com/office/drawing/2014/main" id="{8D7F0C0A-6AFD-124D-C8EE-E45F96A595CD}"/>
              </a:ext>
            </a:extLst>
          </p:cNvPr>
          <p:cNvSpPr>
            <a:spLocks noGrp="1"/>
          </p:cNvSpPr>
          <p:nvPr>
            <p:ph type="body" sz="quarter" idx="61" hasCustomPrompt="1"/>
          </p:nvPr>
        </p:nvSpPr>
        <p:spPr>
          <a:xfrm>
            <a:off x="5431225" y="4417377"/>
            <a:ext cx="2441535" cy="601942"/>
          </a:xfrm>
          <a:prstGeom prst="rect">
            <a:avLst/>
          </a:prstGeom>
        </p:spPr>
        <p:txBody>
          <a:bodyPr/>
          <a:lstStyle>
            <a:lvl1pPr marL="0" indent="0">
              <a:buNone/>
              <a:defRPr sz="900" b="1">
                <a:solidFill>
                  <a:srgbClr val="EC0000"/>
                </a:solidFill>
                <a:latin typeface="+mj-lt"/>
              </a:defRPr>
            </a:lvl1pPr>
            <a:lvl2pPr marL="0" indent="0">
              <a:spcBef>
                <a:spcPts val="0"/>
              </a:spcBef>
              <a:buNone/>
              <a:defRPr sz="800">
                <a:latin typeface="+mj-lt"/>
              </a:defRPr>
            </a:lvl2pPr>
            <a:lvl3pPr marL="0" indent="0">
              <a:spcBef>
                <a:spcPts val="500"/>
              </a:spcBef>
              <a:buNone/>
              <a:defRPr sz="800">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rid</a:t>
            </a:r>
            <a:r>
              <a:rPr lang="es-ES"/>
              <a:t> </a:t>
            </a:r>
            <a:r>
              <a:rPr lang="es-ES" err="1"/>
              <a:t>level</a:t>
            </a:r>
            <a:endParaRPr lang="es-ES"/>
          </a:p>
        </p:txBody>
      </p:sp>
      <p:sp>
        <p:nvSpPr>
          <p:cNvPr id="87" name="Marcador de posición de imagen 39">
            <a:extLst>
              <a:ext uri="{FF2B5EF4-FFF2-40B4-BE49-F238E27FC236}">
                <a16:creationId xmlns:a16="http://schemas.microsoft.com/office/drawing/2014/main" id="{25BC49E0-4CDA-B0ED-6E2C-07BD11CC717B}"/>
              </a:ext>
            </a:extLst>
          </p:cNvPr>
          <p:cNvSpPr>
            <a:spLocks noGrp="1"/>
          </p:cNvSpPr>
          <p:nvPr>
            <p:ph type="pic" sz="quarter" idx="62" hasCustomPrompt="1"/>
          </p:nvPr>
        </p:nvSpPr>
        <p:spPr>
          <a:xfrm>
            <a:off x="4831048" y="5249685"/>
            <a:ext cx="600075" cy="593003"/>
          </a:xfrm>
          <a:prstGeom prst="rect">
            <a:avLst/>
          </a:prstGeom>
        </p:spPr>
        <p:txBody>
          <a:bodyPr/>
          <a:lstStyle>
            <a:lvl1pPr marL="0" indent="0" algn="ctr">
              <a:buNone/>
              <a:defRPr sz="1000">
                <a:latin typeface="+mj-lt"/>
              </a:defRPr>
            </a:lvl1pPr>
          </a:lstStyle>
          <a:p>
            <a:r>
              <a:rPr lang="es-ES"/>
              <a:t>PHOTO</a:t>
            </a:r>
          </a:p>
        </p:txBody>
      </p:sp>
      <p:sp>
        <p:nvSpPr>
          <p:cNvPr id="88" name="Marcador de texto 41">
            <a:extLst>
              <a:ext uri="{FF2B5EF4-FFF2-40B4-BE49-F238E27FC236}">
                <a16:creationId xmlns:a16="http://schemas.microsoft.com/office/drawing/2014/main" id="{EB178CD9-9FAE-7408-08EE-5161FFC54472}"/>
              </a:ext>
            </a:extLst>
          </p:cNvPr>
          <p:cNvSpPr>
            <a:spLocks noGrp="1"/>
          </p:cNvSpPr>
          <p:nvPr>
            <p:ph type="body" sz="quarter" idx="63" hasCustomPrompt="1"/>
          </p:nvPr>
        </p:nvSpPr>
        <p:spPr>
          <a:xfrm>
            <a:off x="5431225" y="5245280"/>
            <a:ext cx="2441535" cy="601942"/>
          </a:xfrm>
          <a:prstGeom prst="rect">
            <a:avLst/>
          </a:prstGeom>
        </p:spPr>
        <p:txBody>
          <a:bodyPr/>
          <a:lstStyle>
            <a:lvl1pPr marL="0" indent="0">
              <a:buNone/>
              <a:defRPr sz="900" b="1">
                <a:solidFill>
                  <a:srgbClr val="EC0000"/>
                </a:solidFill>
                <a:latin typeface="+mj-lt"/>
              </a:defRPr>
            </a:lvl1pPr>
            <a:lvl2pPr marL="0" indent="0">
              <a:spcBef>
                <a:spcPts val="0"/>
              </a:spcBef>
              <a:buNone/>
              <a:defRPr sz="800">
                <a:latin typeface="+mj-lt"/>
              </a:defRPr>
            </a:lvl2pPr>
            <a:lvl3pPr marL="0" indent="0">
              <a:spcBef>
                <a:spcPts val="500"/>
              </a:spcBef>
              <a:buNone/>
              <a:defRPr sz="800">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rid</a:t>
            </a:r>
            <a:r>
              <a:rPr lang="es-ES"/>
              <a:t> </a:t>
            </a:r>
            <a:r>
              <a:rPr lang="es-ES" err="1"/>
              <a:t>level</a:t>
            </a:r>
            <a:endParaRPr lang="es-ES"/>
          </a:p>
        </p:txBody>
      </p:sp>
      <p:sp>
        <p:nvSpPr>
          <p:cNvPr id="89" name="Marcador de texto 36">
            <a:extLst>
              <a:ext uri="{FF2B5EF4-FFF2-40B4-BE49-F238E27FC236}">
                <a16:creationId xmlns:a16="http://schemas.microsoft.com/office/drawing/2014/main" id="{47A69A0F-EB9B-1D02-7BAF-D5FDF89912B3}"/>
              </a:ext>
            </a:extLst>
          </p:cNvPr>
          <p:cNvSpPr>
            <a:spLocks noGrp="1"/>
          </p:cNvSpPr>
          <p:nvPr>
            <p:ph type="body" sz="quarter" idx="64" hasCustomPrompt="1"/>
          </p:nvPr>
        </p:nvSpPr>
        <p:spPr>
          <a:xfrm>
            <a:off x="8300257" y="1481922"/>
            <a:ext cx="3129742" cy="1086352"/>
          </a:xfrm>
          <a:prstGeom prst="rect">
            <a:avLst/>
          </a:prstGeom>
        </p:spPr>
        <p:txBody>
          <a:bodyPr/>
          <a:lstStyle>
            <a:lvl1pPr marL="0" indent="0">
              <a:spcBef>
                <a:spcPts val="0"/>
              </a:spcBef>
              <a:spcAft>
                <a:spcPts val="1800"/>
              </a:spcAft>
              <a:buNone/>
              <a:defRPr lang="es-ES" sz="1200" b="1" kern="1200" smtClean="0">
                <a:solidFill>
                  <a:srgbClr val="EC0000"/>
                </a:solidFill>
                <a:latin typeface="Santander Headline" panose="020B0504020201020104" pitchFamily="34" charset="0"/>
                <a:ea typeface="+mn-ea"/>
                <a:cs typeface="+mn-cs"/>
              </a:defRPr>
            </a:lvl1pPr>
            <a:lvl2pPr marL="0" indent="0">
              <a:spcBef>
                <a:spcPts val="0"/>
              </a:spcBef>
              <a:buNone/>
              <a:defRPr lang="es-ES" sz="1000" kern="1200" dirty="0" smtClean="0">
                <a:solidFill>
                  <a:srgbClr val="6F7779"/>
                </a:solidFill>
                <a:latin typeface="Santander Headline" panose="020B0504020201020104" pitchFamily="34" charset="0"/>
                <a:ea typeface="+mn-ea"/>
                <a:cs typeface="+mn-cs"/>
              </a:defRPr>
            </a:lvl2pPr>
            <a:lvl3pPr marL="914400" indent="0">
              <a:buNone/>
              <a:defRPr/>
            </a:lvl3pPr>
            <a:lvl4pPr marL="1371600" indent="0">
              <a:buNone/>
              <a:defRPr/>
            </a:lvl4pPr>
            <a:lvl5pPr marL="1828800" indent="0">
              <a:buNone/>
              <a:defRPr/>
            </a:lvl5pPr>
          </a:lstStyle>
          <a:p>
            <a:pPr lvl="0"/>
            <a:r>
              <a:rPr lang="es-ES"/>
              <a:t>Text Santander </a:t>
            </a:r>
            <a:r>
              <a:rPr lang="es-ES" err="1"/>
              <a:t>text</a:t>
            </a:r>
            <a:r>
              <a:rPr lang="es-ES"/>
              <a:t> </a:t>
            </a:r>
            <a:r>
              <a:rPr lang="en-US" noProof="0"/>
              <a:t>headline</a:t>
            </a:r>
            <a:r>
              <a:rPr lang="es-ES"/>
              <a:t> (12) </a:t>
            </a:r>
          </a:p>
          <a:p>
            <a:pPr marL="0" marR="0" lvl="1"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err="1"/>
              <a:t>Second</a:t>
            </a:r>
            <a:r>
              <a:rPr lang="es-ES"/>
              <a:t> </a:t>
            </a:r>
            <a:r>
              <a:rPr lang="es-ES" err="1"/>
              <a:t>level</a:t>
            </a:r>
            <a:r>
              <a:rPr lang="es-ES"/>
              <a:t> </a:t>
            </a:r>
            <a:r>
              <a:rPr lang="en-US" noProof="0"/>
              <a:t>(Santander headline 10)</a:t>
            </a:r>
          </a:p>
          <a:p>
            <a:pPr lvl="1"/>
            <a:endParaRPr lang="es-ES"/>
          </a:p>
        </p:txBody>
      </p:sp>
      <p:sp>
        <p:nvSpPr>
          <p:cNvPr id="90" name="Marcador de posición de imagen 39">
            <a:extLst>
              <a:ext uri="{FF2B5EF4-FFF2-40B4-BE49-F238E27FC236}">
                <a16:creationId xmlns:a16="http://schemas.microsoft.com/office/drawing/2014/main" id="{B2BE3C32-FF77-3873-9A93-65DF59FD8895}"/>
              </a:ext>
            </a:extLst>
          </p:cNvPr>
          <p:cNvSpPr>
            <a:spLocks noGrp="1"/>
          </p:cNvSpPr>
          <p:nvPr>
            <p:ph type="pic" sz="quarter" idx="65" hasCustomPrompt="1"/>
          </p:nvPr>
        </p:nvSpPr>
        <p:spPr>
          <a:xfrm>
            <a:off x="8388287" y="2765986"/>
            <a:ext cx="600075" cy="593003"/>
          </a:xfrm>
          <a:prstGeom prst="rect">
            <a:avLst/>
          </a:prstGeom>
        </p:spPr>
        <p:txBody>
          <a:bodyPr/>
          <a:lstStyle>
            <a:lvl1pPr marL="0" indent="0" algn="ctr">
              <a:buNone/>
              <a:defRPr sz="1000">
                <a:latin typeface="+mj-lt"/>
              </a:defRPr>
            </a:lvl1pPr>
          </a:lstStyle>
          <a:p>
            <a:r>
              <a:rPr lang="es-ES"/>
              <a:t>PHOTO</a:t>
            </a:r>
          </a:p>
        </p:txBody>
      </p:sp>
      <p:sp>
        <p:nvSpPr>
          <p:cNvPr id="91" name="Marcador de texto 41">
            <a:extLst>
              <a:ext uri="{FF2B5EF4-FFF2-40B4-BE49-F238E27FC236}">
                <a16:creationId xmlns:a16="http://schemas.microsoft.com/office/drawing/2014/main" id="{53FB24EC-785E-EAFC-4388-644E29A33DD0}"/>
              </a:ext>
            </a:extLst>
          </p:cNvPr>
          <p:cNvSpPr>
            <a:spLocks noGrp="1"/>
          </p:cNvSpPr>
          <p:nvPr>
            <p:ph type="body" sz="quarter" idx="66" hasCustomPrompt="1"/>
          </p:nvPr>
        </p:nvSpPr>
        <p:spPr>
          <a:xfrm>
            <a:off x="8988464" y="2761581"/>
            <a:ext cx="2441535" cy="601942"/>
          </a:xfrm>
          <a:prstGeom prst="rect">
            <a:avLst/>
          </a:prstGeom>
        </p:spPr>
        <p:txBody>
          <a:bodyPr/>
          <a:lstStyle>
            <a:lvl1pPr marL="0" indent="0">
              <a:buNone/>
              <a:defRPr sz="900" b="1">
                <a:solidFill>
                  <a:srgbClr val="EC0000"/>
                </a:solidFill>
                <a:latin typeface="+mj-lt"/>
              </a:defRPr>
            </a:lvl1pPr>
            <a:lvl2pPr marL="0" indent="0">
              <a:spcBef>
                <a:spcPts val="0"/>
              </a:spcBef>
              <a:buNone/>
              <a:defRPr sz="800">
                <a:latin typeface="+mj-lt"/>
              </a:defRPr>
            </a:lvl2pPr>
            <a:lvl3pPr marL="0" indent="0">
              <a:spcBef>
                <a:spcPts val="500"/>
              </a:spcBef>
              <a:buNone/>
              <a:defRPr sz="800">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rid</a:t>
            </a:r>
            <a:r>
              <a:rPr lang="es-ES"/>
              <a:t> </a:t>
            </a:r>
            <a:r>
              <a:rPr lang="es-ES" err="1"/>
              <a:t>level</a:t>
            </a:r>
            <a:endParaRPr lang="es-ES"/>
          </a:p>
        </p:txBody>
      </p:sp>
      <p:sp>
        <p:nvSpPr>
          <p:cNvPr id="92" name="Marcador de posición de imagen 39">
            <a:extLst>
              <a:ext uri="{FF2B5EF4-FFF2-40B4-BE49-F238E27FC236}">
                <a16:creationId xmlns:a16="http://schemas.microsoft.com/office/drawing/2014/main" id="{335BBEBE-B7AD-71B8-929B-287105C086D8}"/>
              </a:ext>
            </a:extLst>
          </p:cNvPr>
          <p:cNvSpPr>
            <a:spLocks noGrp="1"/>
          </p:cNvSpPr>
          <p:nvPr>
            <p:ph type="pic" sz="quarter" idx="67" hasCustomPrompt="1"/>
          </p:nvPr>
        </p:nvSpPr>
        <p:spPr>
          <a:xfrm>
            <a:off x="8388287" y="3614483"/>
            <a:ext cx="600075" cy="593003"/>
          </a:xfrm>
          <a:prstGeom prst="rect">
            <a:avLst/>
          </a:prstGeom>
        </p:spPr>
        <p:txBody>
          <a:bodyPr/>
          <a:lstStyle>
            <a:lvl1pPr marL="0" indent="0" algn="ctr">
              <a:buNone/>
              <a:defRPr sz="1000">
                <a:latin typeface="+mj-lt"/>
              </a:defRPr>
            </a:lvl1pPr>
          </a:lstStyle>
          <a:p>
            <a:r>
              <a:rPr lang="es-ES"/>
              <a:t>PHOTO</a:t>
            </a:r>
          </a:p>
        </p:txBody>
      </p:sp>
      <p:sp>
        <p:nvSpPr>
          <p:cNvPr id="93" name="Marcador de texto 41">
            <a:extLst>
              <a:ext uri="{FF2B5EF4-FFF2-40B4-BE49-F238E27FC236}">
                <a16:creationId xmlns:a16="http://schemas.microsoft.com/office/drawing/2014/main" id="{E9BF3A20-1F21-5362-DA5E-F8D320D02442}"/>
              </a:ext>
            </a:extLst>
          </p:cNvPr>
          <p:cNvSpPr>
            <a:spLocks noGrp="1"/>
          </p:cNvSpPr>
          <p:nvPr>
            <p:ph type="body" sz="quarter" idx="68" hasCustomPrompt="1"/>
          </p:nvPr>
        </p:nvSpPr>
        <p:spPr>
          <a:xfrm>
            <a:off x="8988464" y="3610078"/>
            <a:ext cx="2441535" cy="601942"/>
          </a:xfrm>
          <a:prstGeom prst="rect">
            <a:avLst/>
          </a:prstGeom>
        </p:spPr>
        <p:txBody>
          <a:bodyPr/>
          <a:lstStyle>
            <a:lvl1pPr marL="0" indent="0">
              <a:buNone/>
              <a:defRPr sz="900" b="1">
                <a:solidFill>
                  <a:srgbClr val="EC0000"/>
                </a:solidFill>
                <a:latin typeface="+mj-lt"/>
              </a:defRPr>
            </a:lvl1pPr>
            <a:lvl2pPr marL="0" indent="0">
              <a:spcBef>
                <a:spcPts val="0"/>
              </a:spcBef>
              <a:buNone/>
              <a:defRPr sz="800">
                <a:latin typeface="+mj-lt"/>
              </a:defRPr>
            </a:lvl2pPr>
            <a:lvl3pPr marL="0" indent="0">
              <a:spcBef>
                <a:spcPts val="500"/>
              </a:spcBef>
              <a:buNone/>
              <a:defRPr sz="800">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rid</a:t>
            </a:r>
            <a:r>
              <a:rPr lang="es-ES"/>
              <a:t> </a:t>
            </a:r>
            <a:r>
              <a:rPr lang="es-ES" err="1"/>
              <a:t>level</a:t>
            </a:r>
            <a:endParaRPr lang="es-ES"/>
          </a:p>
        </p:txBody>
      </p:sp>
      <p:sp>
        <p:nvSpPr>
          <p:cNvPr id="94" name="Marcador de posición de imagen 39">
            <a:extLst>
              <a:ext uri="{FF2B5EF4-FFF2-40B4-BE49-F238E27FC236}">
                <a16:creationId xmlns:a16="http://schemas.microsoft.com/office/drawing/2014/main" id="{3CCAF7E0-D210-33CE-1429-69B50ADD4510}"/>
              </a:ext>
            </a:extLst>
          </p:cNvPr>
          <p:cNvSpPr>
            <a:spLocks noGrp="1"/>
          </p:cNvSpPr>
          <p:nvPr>
            <p:ph type="pic" sz="quarter" idx="69" hasCustomPrompt="1"/>
          </p:nvPr>
        </p:nvSpPr>
        <p:spPr>
          <a:xfrm>
            <a:off x="8388287" y="4421782"/>
            <a:ext cx="600075" cy="593003"/>
          </a:xfrm>
          <a:prstGeom prst="rect">
            <a:avLst/>
          </a:prstGeom>
        </p:spPr>
        <p:txBody>
          <a:bodyPr/>
          <a:lstStyle>
            <a:lvl1pPr marL="0" indent="0" algn="ctr">
              <a:buNone/>
              <a:defRPr sz="1000">
                <a:latin typeface="+mj-lt"/>
              </a:defRPr>
            </a:lvl1pPr>
          </a:lstStyle>
          <a:p>
            <a:r>
              <a:rPr lang="es-ES"/>
              <a:t>PHOTO</a:t>
            </a:r>
          </a:p>
        </p:txBody>
      </p:sp>
      <p:sp>
        <p:nvSpPr>
          <p:cNvPr id="95" name="Marcador de texto 41">
            <a:extLst>
              <a:ext uri="{FF2B5EF4-FFF2-40B4-BE49-F238E27FC236}">
                <a16:creationId xmlns:a16="http://schemas.microsoft.com/office/drawing/2014/main" id="{C9EE2DAF-5FE6-B72E-0975-F7F223D34E0A}"/>
              </a:ext>
            </a:extLst>
          </p:cNvPr>
          <p:cNvSpPr>
            <a:spLocks noGrp="1"/>
          </p:cNvSpPr>
          <p:nvPr>
            <p:ph type="body" sz="quarter" idx="70" hasCustomPrompt="1"/>
          </p:nvPr>
        </p:nvSpPr>
        <p:spPr>
          <a:xfrm>
            <a:off x="8988464" y="4417377"/>
            <a:ext cx="2441535" cy="601942"/>
          </a:xfrm>
          <a:prstGeom prst="rect">
            <a:avLst/>
          </a:prstGeom>
        </p:spPr>
        <p:txBody>
          <a:bodyPr/>
          <a:lstStyle>
            <a:lvl1pPr marL="0" indent="0">
              <a:buNone/>
              <a:defRPr sz="900" b="1">
                <a:solidFill>
                  <a:srgbClr val="EC0000"/>
                </a:solidFill>
                <a:latin typeface="+mj-lt"/>
              </a:defRPr>
            </a:lvl1pPr>
            <a:lvl2pPr marL="0" indent="0">
              <a:spcBef>
                <a:spcPts val="0"/>
              </a:spcBef>
              <a:buNone/>
              <a:defRPr sz="800">
                <a:latin typeface="+mj-lt"/>
              </a:defRPr>
            </a:lvl2pPr>
            <a:lvl3pPr marL="0" indent="0">
              <a:spcBef>
                <a:spcPts val="500"/>
              </a:spcBef>
              <a:buNone/>
              <a:defRPr sz="800">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rid</a:t>
            </a:r>
            <a:r>
              <a:rPr lang="es-ES"/>
              <a:t> </a:t>
            </a:r>
            <a:r>
              <a:rPr lang="es-ES" err="1"/>
              <a:t>level</a:t>
            </a:r>
            <a:endParaRPr lang="es-ES"/>
          </a:p>
        </p:txBody>
      </p:sp>
      <p:sp>
        <p:nvSpPr>
          <p:cNvPr id="96" name="Marcador de posición de imagen 39">
            <a:extLst>
              <a:ext uri="{FF2B5EF4-FFF2-40B4-BE49-F238E27FC236}">
                <a16:creationId xmlns:a16="http://schemas.microsoft.com/office/drawing/2014/main" id="{91A77493-42ED-2121-1C37-BDE7C2776878}"/>
              </a:ext>
            </a:extLst>
          </p:cNvPr>
          <p:cNvSpPr>
            <a:spLocks noGrp="1"/>
          </p:cNvSpPr>
          <p:nvPr>
            <p:ph type="pic" sz="quarter" idx="71" hasCustomPrompt="1"/>
          </p:nvPr>
        </p:nvSpPr>
        <p:spPr>
          <a:xfrm>
            <a:off x="8388287" y="5249685"/>
            <a:ext cx="600075" cy="593003"/>
          </a:xfrm>
          <a:prstGeom prst="rect">
            <a:avLst/>
          </a:prstGeom>
        </p:spPr>
        <p:txBody>
          <a:bodyPr/>
          <a:lstStyle>
            <a:lvl1pPr marL="0" indent="0" algn="ctr">
              <a:buNone/>
              <a:defRPr sz="1000">
                <a:latin typeface="+mj-lt"/>
              </a:defRPr>
            </a:lvl1pPr>
          </a:lstStyle>
          <a:p>
            <a:r>
              <a:rPr lang="es-ES"/>
              <a:t>PHOTO</a:t>
            </a:r>
          </a:p>
        </p:txBody>
      </p:sp>
      <p:sp>
        <p:nvSpPr>
          <p:cNvPr id="97" name="Marcador de texto 41">
            <a:extLst>
              <a:ext uri="{FF2B5EF4-FFF2-40B4-BE49-F238E27FC236}">
                <a16:creationId xmlns:a16="http://schemas.microsoft.com/office/drawing/2014/main" id="{8A67CA1B-3B38-C657-9802-F5B501A845A4}"/>
              </a:ext>
            </a:extLst>
          </p:cNvPr>
          <p:cNvSpPr>
            <a:spLocks noGrp="1"/>
          </p:cNvSpPr>
          <p:nvPr>
            <p:ph type="body" sz="quarter" idx="72" hasCustomPrompt="1"/>
          </p:nvPr>
        </p:nvSpPr>
        <p:spPr>
          <a:xfrm>
            <a:off x="8988464" y="5245280"/>
            <a:ext cx="2441535" cy="601942"/>
          </a:xfrm>
          <a:prstGeom prst="rect">
            <a:avLst/>
          </a:prstGeom>
        </p:spPr>
        <p:txBody>
          <a:bodyPr/>
          <a:lstStyle>
            <a:lvl1pPr marL="0" indent="0">
              <a:buNone/>
              <a:defRPr sz="900" b="1">
                <a:solidFill>
                  <a:srgbClr val="EC0000"/>
                </a:solidFill>
                <a:latin typeface="+mj-lt"/>
              </a:defRPr>
            </a:lvl1pPr>
            <a:lvl2pPr marL="0" indent="0">
              <a:spcBef>
                <a:spcPts val="0"/>
              </a:spcBef>
              <a:buNone/>
              <a:defRPr sz="800">
                <a:latin typeface="+mj-lt"/>
              </a:defRPr>
            </a:lvl2pPr>
            <a:lvl3pPr marL="0" indent="0">
              <a:spcBef>
                <a:spcPts val="500"/>
              </a:spcBef>
              <a:buNone/>
              <a:defRPr sz="800">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rid</a:t>
            </a:r>
            <a:r>
              <a:rPr lang="es-ES"/>
              <a:t> </a:t>
            </a:r>
            <a:r>
              <a:rPr lang="es-ES" err="1"/>
              <a:t>level</a:t>
            </a:r>
            <a:endParaRPr lang="es-ES"/>
          </a:p>
        </p:txBody>
      </p:sp>
      <p:sp>
        <p:nvSpPr>
          <p:cNvPr id="5" name="Marcador de número de diapositiva 5">
            <a:extLst>
              <a:ext uri="{FF2B5EF4-FFF2-40B4-BE49-F238E27FC236}">
                <a16:creationId xmlns:a16="http://schemas.microsoft.com/office/drawing/2014/main" id="{D17A0E62-F5B1-404C-4F75-B90E84F97A67}"/>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F711F4C4-6E0C-EC96-E660-4FF859A93A86}"/>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2D86EF31-9962-0D66-A494-032D4AB31DD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E586600F-A825-0F21-00AE-C26142D5D863}"/>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8C744436-A5C2-CC94-9EFB-9EC51544CA2A}"/>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887067AA-9F0C-00F3-DEA9-99362077C352}"/>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35921893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1CDC9C-D77B-2D1E-398C-9B47B42C5718}"/>
              </a:ext>
            </a:extLst>
          </p:cNvPr>
          <p:cNvSpPr>
            <a:spLocks noGrp="1"/>
          </p:cNvSpPr>
          <p:nvPr>
            <p:ph type="title"/>
          </p:nvPr>
        </p:nvSpPr>
        <p:spPr/>
        <p:txBody>
          <a:bodyPr/>
          <a:lstStyle/>
          <a:p>
            <a:r>
              <a:rPr lang="en-US"/>
              <a:t>Click to edit Master title style</a:t>
            </a:r>
            <a:endParaRPr lang="es-ES"/>
          </a:p>
        </p:txBody>
      </p:sp>
      <p:sp>
        <p:nvSpPr>
          <p:cNvPr id="3" name="Date Placeholder 2">
            <a:extLst>
              <a:ext uri="{FF2B5EF4-FFF2-40B4-BE49-F238E27FC236}">
                <a16:creationId xmlns:a16="http://schemas.microsoft.com/office/drawing/2014/main" id="{442BB83D-4206-399B-0E95-B0F14CEB10C6}"/>
              </a:ext>
            </a:extLst>
          </p:cNvPr>
          <p:cNvSpPr>
            <a:spLocks noGrp="1"/>
          </p:cNvSpPr>
          <p:nvPr>
            <p:ph type="dt" sz="half" idx="10"/>
          </p:nvPr>
        </p:nvSpPr>
        <p:spPr/>
        <p:txBody>
          <a:bodyPr/>
          <a:lstStyle/>
          <a:p>
            <a:fld id="{2936A72B-74AE-4828-B363-D54F043C4597}" type="datetimeFigureOut">
              <a:rPr lang="es-ES" smtClean="0"/>
              <a:t>03/12/2025</a:t>
            </a:fld>
            <a:endParaRPr lang="es-ES"/>
          </a:p>
        </p:txBody>
      </p:sp>
      <p:sp>
        <p:nvSpPr>
          <p:cNvPr id="4" name="Footer Placeholder 3">
            <a:extLst>
              <a:ext uri="{FF2B5EF4-FFF2-40B4-BE49-F238E27FC236}">
                <a16:creationId xmlns:a16="http://schemas.microsoft.com/office/drawing/2014/main" id="{05D939C0-D20C-1CAC-33B6-B25DBD0864BA}"/>
              </a:ext>
            </a:extLst>
          </p:cNvPr>
          <p:cNvSpPr>
            <a:spLocks noGrp="1"/>
          </p:cNvSpPr>
          <p:nvPr>
            <p:ph type="ftr" sz="quarter" idx="11"/>
          </p:nvPr>
        </p:nvSpPr>
        <p:spPr/>
        <p:txBody>
          <a:bodyPr/>
          <a:lstStyle/>
          <a:p>
            <a:endParaRPr lang="es-ES"/>
          </a:p>
        </p:txBody>
      </p:sp>
      <p:sp>
        <p:nvSpPr>
          <p:cNvPr id="5" name="Slide Number Placeholder 4">
            <a:extLst>
              <a:ext uri="{FF2B5EF4-FFF2-40B4-BE49-F238E27FC236}">
                <a16:creationId xmlns:a16="http://schemas.microsoft.com/office/drawing/2014/main" id="{C16808FC-3482-B977-2340-FB01413619DA}"/>
              </a:ext>
            </a:extLst>
          </p:cNvPr>
          <p:cNvSpPr>
            <a:spLocks noGrp="1"/>
          </p:cNvSpPr>
          <p:nvPr>
            <p:ph type="sldNum" sz="quarter" idx="12"/>
          </p:nvPr>
        </p:nvSpPr>
        <p:spPr/>
        <p:txBody>
          <a:bodyPr/>
          <a:lstStyle/>
          <a:p>
            <a:fld id="{9CC58EAA-8CE3-4B47-B600-46B910A49F95}" type="slidenum">
              <a:rPr lang="es-ES" smtClean="0"/>
              <a:t>‹#›</a:t>
            </a:fld>
            <a:endParaRPr lang="es-ES"/>
          </a:p>
        </p:txBody>
      </p:sp>
    </p:spTree>
    <p:extLst>
      <p:ext uri="{BB962C8B-B14F-4D97-AF65-F5344CB8AC3E}">
        <p14:creationId xmlns:p14="http://schemas.microsoft.com/office/powerpoint/2010/main" val="243384409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antander's Relationship Team2">
    <p:spTree>
      <p:nvGrpSpPr>
        <p:cNvPr id="1" name=""/>
        <p:cNvGrpSpPr/>
        <p:nvPr/>
      </p:nvGrpSpPr>
      <p:grpSpPr>
        <a:xfrm>
          <a:off x="0" y="0"/>
          <a:ext cx="0" cy="0"/>
          <a:chOff x="0" y="0"/>
          <a:chExt cx="0" cy="0"/>
        </a:xfrm>
      </p:grpSpPr>
      <p:sp>
        <p:nvSpPr>
          <p:cNvPr id="42" name="Forma libre: forma 41">
            <a:extLst>
              <a:ext uri="{FF2B5EF4-FFF2-40B4-BE49-F238E27FC236}">
                <a16:creationId xmlns:a16="http://schemas.microsoft.com/office/drawing/2014/main" id="{7767F20E-6A45-418D-25DF-BAAAFB981E4F}"/>
              </a:ext>
            </a:extLst>
          </p:cNvPr>
          <p:cNvSpPr/>
          <p:nvPr userDrawn="1"/>
        </p:nvSpPr>
        <p:spPr>
          <a:xfrm>
            <a:off x="708890" y="1658212"/>
            <a:ext cx="4882286" cy="4439384"/>
          </a:xfrm>
          <a:custGeom>
            <a:avLst/>
            <a:gdLst>
              <a:gd name="connsiteX0" fmla="*/ 2962275 w 3600449"/>
              <a:gd name="connsiteY0" fmla="*/ 0 h 4439383"/>
              <a:gd name="connsiteX1" fmla="*/ 3600449 w 3600449"/>
              <a:gd name="connsiteY1" fmla="*/ 0 h 4439383"/>
              <a:gd name="connsiteX2" fmla="*/ 3600449 w 3600449"/>
              <a:gd name="connsiteY2" fmla="*/ 4439383 h 4439383"/>
              <a:gd name="connsiteX3" fmla="*/ 0 w 3600449"/>
              <a:gd name="connsiteY3" fmla="*/ 4439383 h 4439383"/>
              <a:gd name="connsiteX4" fmla="*/ 0 w 3600449"/>
              <a:gd name="connsiteY4" fmla="*/ 484559 h 4439383"/>
              <a:gd name="connsiteX5" fmla="*/ 2962275 w 3600449"/>
              <a:gd name="connsiteY5" fmla="*/ 484559 h 4439383"/>
              <a:gd name="connsiteX0" fmla="*/ 4242435 w 4880609"/>
              <a:gd name="connsiteY0" fmla="*/ 0 h 4439383"/>
              <a:gd name="connsiteX1" fmla="*/ 4880609 w 4880609"/>
              <a:gd name="connsiteY1" fmla="*/ 0 h 4439383"/>
              <a:gd name="connsiteX2" fmla="*/ 4880609 w 4880609"/>
              <a:gd name="connsiteY2" fmla="*/ 4439383 h 4439383"/>
              <a:gd name="connsiteX3" fmla="*/ 1280160 w 4880609"/>
              <a:gd name="connsiteY3" fmla="*/ 4439383 h 4439383"/>
              <a:gd name="connsiteX4" fmla="*/ 0 w 4880609"/>
              <a:gd name="connsiteY4" fmla="*/ 484559 h 4439383"/>
              <a:gd name="connsiteX5" fmla="*/ 4242435 w 4880609"/>
              <a:gd name="connsiteY5" fmla="*/ 484559 h 4439383"/>
              <a:gd name="connsiteX6" fmla="*/ 4242435 w 4880609"/>
              <a:gd name="connsiteY6" fmla="*/ 0 h 4439383"/>
              <a:gd name="connsiteX0" fmla="*/ 4242435 w 4880609"/>
              <a:gd name="connsiteY0" fmla="*/ 0 h 4439383"/>
              <a:gd name="connsiteX1" fmla="*/ 4880609 w 4880609"/>
              <a:gd name="connsiteY1" fmla="*/ 0 h 4439383"/>
              <a:gd name="connsiteX2" fmla="*/ 4880609 w 4880609"/>
              <a:gd name="connsiteY2" fmla="*/ 4439383 h 4439383"/>
              <a:gd name="connsiteX3" fmla="*/ 17417 w 4880609"/>
              <a:gd name="connsiteY3" fmla="*/ 4430675 h 4439383"/>
              <a:gd name="connsiteX4" fmla="*/ 0 w 4880609"/>
              <a:gd name="connsiteY4" fmla="*/ 484559 h 4439383"/>
              <a:gd name="connsiteX5" fmla="*/ 4242435 w 4880609"/>
              <a:gd name="connsiteY5" fmla="*/ 484559 h 4439383"/>
              <a:gd name="connsiteX6" fmla="*/ 4242435 w 4880609"/>
              <a:gd name="connsiteY6" fmla="*/ 0 h 4439383"/>
              <a:gd name="connsiteX0" fmla="*/ 4242435 w 4880609"/>
              <a:gd name="connsiteY0" fmla="*/ 0 h 4439383"/>
              <a:gd name="connsiteX1" fmla="*/ 4880609 w 4880609"/>
              <a:gd name="connsiteY1" fmla="*/ 0 h 4439383"/>
              <a:gd name="connsiteX2" fmla="*/ 4880609 w 4880609"/>
              <a:gd name="connsiteY2" fmla="*/ 4439383 h 4439383"/>
              <a:gd name="connsiteX3" fmla="*/ 8708 w 4880609"/>
              <a:gd name="connsiteY3" fmla="*/ 4430675 h 4439383"/>
              <a:gd name="connsiteX4" fmla="*/ 0 w 4880609"/>
              <a:gd name="connsiteY4" fmla="*/ 484559 h 4439383"/>
              <a:gd name="connsiteX5" fmla="*/ 4242435 w 4880609"/>
              <a:gd name="connsiteY5" fmla="*/ 484559 h 4439383"/>
              <a:gd name="connsiteX6" fmla="*/ 4242435 w 4880609"/>
              <a:gd name="connsiteY6" fmla="*/ 0 h 4439383"/>
              <a:gd name="connsiteX0" fmla="*/ 4242435 w 4880609"/>
              <a:gd name="connsiteY0" fmla="*/ 0 h 4439383"/>
              <a:gd name="connsiteX1" fmla="*/ 4880609 w 4880609"/>
              <a:gd name="connsiteY1" fmla="*/ 0 h 4439383"/>
              <a:gd name="connsiteX2" fmla="*/ 4880609 w 4880609"/>
              <a:gd name="connsiteY2" fmla="*/ 4439383 h 4439383"/>
              <a:gd name="connsiteX3" fmla="*/ 8708 w 4880609"/>
              <a:gd name="connsiteY3" fmla="*/ 4430675 h 4439383"/>
              <a:gd name="connsiteX4" fmla="*/ 0 w 4880609"/>
              <a:gd name="connsiteY4" fmla="*/ 484559 h 4439383"/>
              <a:gd name="connsiteX5" fmla="*/ 4242435 w 4880609"/>
              <a:gd name="connsiteY5" fmla="*/ 484559 h 4439383"/>
              <a:gd name="connsiteX6" fmla="*/ 4242435 w 4880609"/>
              <a:gd name="connsiteY6" fmla="*/ 0 h 4439383"/>
              <a:gd name="connsiteX0" fmla="*/ 4242435 w 4880609"/>
              <a:gd name="connsiteY0" fmla="*/ 0 h 4439383"/>
              <a:gd name="connsiteX1" fmla="*/ 4880609 w 4880609"/>
              <a:gd name="connsiteY1" fmla="*/ 0 h 4439383"/>
              <a:gd name="connsiteX2" fmla="*/ 4880609 w 4880609"/>
              <a:gd name="connsiteY2" fmla="*/ 4439383 h 4439383"/>
              <a:gd name="connsiteX3" fmla="*/ 8708 w 4880609"/>
              <a:gd name="connsiteY3" fmla="*/ 4430675 h 4439383"/>
              <a:gd name="connsiteX4" fmla="*/ 0 w 4880609"/>
              <a:gd name="connsiteY4" fmla="*/ 484559 h 4439383"/>
              <a:gd name="connsiteX5" fmla="*/ 4242435 w 4880609"/>
              <a:gd name="connsiteY5" fmla="*/ 484559 h 4439383"/>
              <a:gd name="connsiteX6" fmla="*/ 4242435 w 4880609"/>
              <a:gd name="connsiteY6" fmla="*/ 0 h 4439383"/>
              <a:gd name="connsiteX0" fmla="*/ 4242435 w 4880609"/>
              <a:gd name="connsiteY0" fmla="*/ 0 h 4439383"/>
              <a:gd name="connsiteX1" fmla="*/ 4880609 w 4880609"/>
              <a:gd name="connsiteY1" fmla="*/ 0 h 4439383"/>
              <a:gd name="connsiteX2" fmla="*/ 4880609 w 4880609"/>
              <a:gd name="connsiteY2" fmla="*/ 4439383 h 4439383"/>
              <a:gd name="connsiteX3" fmla="*/ 8708 w 4880609"/>
              <a:gd name="connsiteY3" fmla="*/ 4421967 h 4439383"/>
              <a:gd name="connsiteX4" fmla="*/ 0 w 4880609"/>
              <a:gd name="connsiteY4" fmla="*/ 484559 h 4439383"/>
              <a:gd name="connsiteX5" fmla="*/ 4242435 w 4880609"/>
              <a:gd name="connsiteY5" fmla="*/ 484559 h 4439383"/>
              <a:gd name="connsiteX6" fmla="*/ 4242435 w 4880609"/>
              <a:gd name="connsiteY6" fmla="*/ 0 h 4439383"/>
              <a:gd name="connsiteX0" fmla="*/ 4244111 w 4882285"/>
              <a:gd name="connsiteY0" fmla="*/ 0 h 4439383"/>
              <a:gd name="connsiteX1" fmla="*/ 4882285 w 4882285"/>
              <a:gd name="connsiteY1" fmla="*/ 0 h 4439383"/>
              <a:gd name="connsiteX2" fmla="*/ 4882285 w 4882285"/>
              <a:gd name="connsiteY2" fmla="*/ 4439383 h 4439383"/>
              <a:gd name="connsiteX3" fmla="*/ 1676 w 4882285"/>
              <a:gd name="connsiteY3" fmla="*/ 4421967 h 4439383"/>
              <a:gd name="connsiteX4" fmla="*/ 1676 w 4882285"/>
              <a:gd name="connsiteY4" fmla="*/ 484559 h 4439383"/>
              <a:gd name="connsiteX5" fmla="*/ 4244111 w 4882285"/>
              <a:gd name="connsiteY5" fmla="*/ 484559 h 4439383"/>
              <a:gd name="connsiteX6" fmla="*/ 4244111 w 4882285"/>
              <a:gd name="connsiteY6" fmla="*/ 0 h 4439383"/>
              <a:gd name="connsiteX0" fmla="*/ 4252197 w 4890371"/>
              <a:gd name="connsiteY0" fmla="*/ 0 h 4439383"/>
              <a:gd name="connsiteX1" fmla="*/ 4890371 w 4890371"/>
              <a:gd name="connsiteY1" fmla="*/ 0 h 4439383"/>
              <a:gd name="connsiteX2" fmla="*/ 4890371 w 4890371"/>
              <a:gd name="connsiteY2" fmla="*/ 4439383 h 4439383"/>
              <a:gd name="connsiteX3" fmla="*/ 1054 w 4890371"/>
              <a:gd name="connsiteY3" fmla="*/ 4430676 h 4439383"/>
              <a:gd name="connsiteX4" fmla="*/ 9762 w 4890371"/>
              <a:gd name="connsiteY4" fmla="*/ 484559 h 4439383"/>
              <a:gd name="connsiteX5" fmla="*/ 4252197 w 4890371"/>
              <a:gd name="connsiteY5" fmla="*/ 484559 h 4439383"/>
              <a:gd name="connsiteX6" fmla="*/ 4252197 w 4890371"/>
              <a:gd name="connsiteY6" fmla="*/ 0 h 4439383"/>
              <a:gd name="connsiteX0" fmla="*/ 4244112 w 4882286"/>
              <a:gd name="connsiteY0" fmla="*/ 0 h 4439384"/>
              <a:gd name="connsiteX1" fmla="*/ 4882286 w 4882286"/>
              <a:gd name="connsiteY1" fmla="*/ 0 h 4439384"/>
              <a:gd name="connsiteX2" fmla="*/ 4882286 w 4882286"/>
              <a:gd name="connsiteY2" fmla="*/ 4439383 h 4439384"/>
              <a:gd name="connsiteX3" fmla="*/ 1677 w 4882286"/>
              <a:gd name="connsiteY3" fmla="*/ 4439384 h 4439384"/>
              <a:gd name="connsiteX4" fmla="*/ 1677 w 4882286"/>
              <a:gd name="connsiteY4" fmla="*/ 484559 h 4439384"/>
              <a:gd name="connsiteX5" fmla="*/ 4244112 w 4882286"/>
              <a:gd name="connsiteY5" fmla="*/ 484559 h 4439384"/>
              <a:gd name="connsiteX6" fmla="*/ 4244112 w 4882286"/>
              <a:gd name="connsiteY6" fmla="*/ 0 h 4439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82286" h="4439384">
                <a:moveTo>
                  <a:pt x="4244112" y="0"/>
                </a:moveTo>
                <a:lnTo>
                  <a:pt x="4882286" y="0"/>
                </a:lnTo>
                <a:lnTo>
                  <a:pt x="4882286" y="4439383"/>
                </a:lnTo>
                <a:lnTo>
                  <a:pt x="1677" y="4439384"/>
                </a:lnTo>
                <a:cubicBezTo>
                  <a:pt x="-4129" y="3124012"/>
                  <a:pt x="7483" y="1799931"/>
                  <a:pt x="1677" y="484559"/>
                </a:cubicBezTo>
                <a:lnTo>
                  <a:pt x="4244112" y="484559"/>
                </a:lnTo>
                <a:lnTo>
                  <a:pt x="4244112"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400"/>
            <a:endParaRPr lang="en-GB" sz="900">
              <a:solidFill>
                <a:srgbClr val="FFFFFF"/>
              </a:solidFill>
              <a:latin typeface="Santander Headline" panose="020B0504020201020104" pitchFamily="34" charset="0"/>
            </a:endParaRPr>
          </a:p>
        </p:txBody>
      </p:sp>
      <p:sp>
        <p:nvSpPr>
          <p:cNvPr id="47" name="Marcador de posición de imagen 45">
            <a:extLst>
              <a:ext uri="{FF2B5EF4-FFF2-40B4-BE49-F238E27FC236}">
                <a16:creationId xmlns:a16="http://schemas.microsoft.com/office/drawing/2014/main" id="{F97D9AF1-AFA0-FD2B-2E60-52D9CEDA1179}"/>
              </a:ext>
            </a:extLst>
          </p:cNvPr>
          <p:cNvSpPr>
            <a:spLocks noGrp="1"/>
          </p:cNvSpPr>
          <p:nvPr>
            <p:ph type="pic" sz="quarter" idx="46" hasCustomPrompt="1"/>
          </p:nvPr>
        </p:nvSpPr>
        <p:spPr>
          <a:xfrm>
            <a:off x="1010739" y="1528267"/>
            <a:ext cx="520398" cy="532772"/>
          </a:xfrm>
          <a:prstGeom prst="ellipse">
            <a:avLst/>
          </a:prstGeom>
          <a:noFill/>
        </p:spPr>
        <p:txBody>
          <a:bodyPr lIns="0" rIns="0"/>
          <a:lstStyle>
            <a:lvl1pPr marL="0" indent="0" algn="ctr">
              <a:buNone/>
              <a:defRPr sz="800">
                <a:latin typeface="Santander Headline" panose="020B0504020201020104" pitchFamily="34" charset="0"/>
              </a:defRPr>
            </a:lvl1pPr>
          </a:lstStyle>
          <a:p>
            <a:r>
              <a:rPr lang="es-ES" err="1"/>
              <a:t>Flag</a:t>
            </a:r>
            <a:endParaRPr lang="es-ES"/>
          </a:p>
        </p:txBody>
      </p:sp>
      <p:sp>
        <p:nvSpPr>
          <p:cNvPr id="50" name="Marcador de texto 48">
            <a:extLst>
              <a:ext uri="{FF2B5EF4-FFF2-40B4-BE49-F238E27FC236}">
                <a16:creationId xmlns:a16="http://schemas.microsoft.com/office/drawing/2014/main" id="{D2F4841E-D97F-FBFC-5908-B18424052541}"/>
              </a:ext>
            </a:extLst>
          </p:cNvPr>
          <p:cNvSpPr>
            <a:spLocks noGrp="1"/>
          </p:cNvSpPr>
          <p:nvPr>
            <p:ph type="body" sz="quarter" idx="47" hasCustomPrompt="1"/>
          </p:nvPr>
        </p:nvSpPr>
        <p:spPr>
          <a:xfrm>
            <a:off x="1591445" y="1663936"/>
            <a:ext cx="3050223" cy="261434"/>
          </a:xfrm>
          <a:prstGeom prst="rect">
            <a:avLst/>
          </a:prstGeom>
        </p:spPr>
        <p:txBody>
          <a:bodyPr/>
          <a:lstStyle>
            <a:lvl1pPr marL="0" indent="0">
              <a:buNone/>
              <a:defRPr lang="es-ES" sz="1400" b="1" kern="1200" dirty="0" smtClean="0">
                <a:solidFill>
                  <a:srgbClr val="EC0000"/>
                </a:solidFill>
                <a:latin typeface="Santander Headline" panose="020B0504020201020104" pitchFamily="34" charset="0"/>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lvl="0"/>
            <a:r>
              <a:rPr lang="es-ES"/>
              <a:t>Country</a:t>
            </a:r>
          </a:p>
        </p:txBody>
      </p:sp>
      <p:sp>
        <p:nvSpPr>
          <p:cNvPr id="65" name="Marcador de posición de imagen 45">
            <a:extLst>
              <a:ext uri="{FF2B5EF4-FFF2-40B4-BE49-F238E27FC236}">
                <a16:creationId xmlns:a16="http://schemas.microsoft.com/office/drawing/2014/main" id="{5A5D9A10-8027-3251-E4F9-5C5FE7E0D225}"/>
              </a:ext>
            </a:extLst>
          </p:cNvPr>
          <p:cNvSpPr>
            <a:spLocks noGrp="1"/>
          </p:cNvSpPr>
          <p:nvPr>
            <p:ph type="pic" sz="quarter" idx="48" hasCustomPrompt="1"/>
          </p:nvPr>
        </p:nvSpPr>
        <p:spPr>
          <a:xfrm>
            <a:off x="1034802" y="2414612"/>
            <a:ext cx="469452" cy="468000"/>
          </a:xfrm>
          <a:prstGeom prst="ellipse">
            <a:avLst/>
          </a:prstGeom>
          <a:noFill/>
        </p:spPr>
        <p:txBody>
          <a:bodyPr lIns="0" rIns="0"/>
          <a:lstStyle>
            <a:lvl1pPr marL="0" indent="0" algn="ctr">
              <a:buNone/>
              <a:defRPr sz="500">
                <a:latin typeface="+mj-lt"/>
              </a:defRPr>
            </a:lvl1pPr>
          </a:lstStyle>
          <a:p>
            <a:r>
              <a:rPr lang="es-ES"/>
              <a:t>PHOTO</a:t>
            </a:r>
          </a:p>
        </p:txBody>
      </p:sp>
      <p:sp>
        <p:nvSpPr>
          <p:cNvPr id="66" name="Marcador de texto 41">
            <a:extLst>
              <a:ext uri="{FF2B5EF4-FFF2-40B4-BE49-F238E27FC236}">
                <a16:creationId xmlns:a16="http://schemas.microsoft.com/office/drawing/2014/main" id="{7C6B7ED1-A8CA-6F1F-E8B1-F29AD5BA65E9}"/>
              </a:ext>
            </a:extLst>
          </p:cNvPr>
          <p:cNvSpPr>
            <a:spLocks noGrp="1"/>
          </p:cNvSpPr>
          <p:nvPr>
            <p:ph type="body" sz="quarter" idx="49" hasCustomPrompt="1"/>
          </p:nvPr>
        </p:nvSpPr>
        <p:spPr>
          <a:xfrm>
            <a:off x="1647247" y="2340753"/>
            <a:ext cx="3325347" cy="619292"/>
          </a:xfrm>
          <a:prstGeom prst="rect">
            <a:avLst/>
          </a:prstGeom>
        </p:spPr>
        <p:txBody>
          <a:bodyPr lIns="0"/>
          <a:lstStyle>
            <a:lvl1pPr marL="0" indent="0">
              <a:buNone/>
              <a:defRPr sz="1000" b="1">
                <a:solidFill>
                  <a:srgbClr val="6F7779"/>
                </a:solidFill>
                <a:latin typeface="+mj-lt"/>
              </a:defRPr>
            </a:lvl1pPr>
            <a:lvl2pPr marL="0" indent="0">
              <a:spcBef>
                <a:spcPts val="0"/>
              </a:spcBef>
              <a:buNone/>
              <a:defRPr sz="900">
                <a:latin typeface="+mj-lt"/>
              </a:defRPr>
            </a:lvl2pPr>
            <a:lvl3pPr marL="0" indent="0">
              <a:spcBef>
                <a:spcPts val="500"/>
              </a:spcBef>
              <a:buNone/>
              <a:defRPr sz="900">
                <a:latin typeface="+mj-lt"/>
              </a:defRPr>
            </a:lvl3pPr>
            <a:lvl4pPr marL="1371600" indent="0">
              <a:buNone/>
              <a:defRPr sz="1000"/>
            </a:lvl4pPr>
            <a:lvl5pPr marL="1828800" indent="0">
              <a:buNone/>
              <a:defRPr sz="1000"/>
            </a:lvl5pPr>
          </a:lstStyle>
          <a:p>
            <a:pPr lvl="0"/>
            <a:r>
              <a:rPr lang="es-ES" err="1"/>
              <a:t>Name</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67" name="Marcador de posición de imagen 45">
            <a:extLst>
              <a:ext uri="{FF2B5EF4-FFF2-40B4-BE49-F238E27FC236}">
                <a16:creationId xmlns:a16="http://schemas.microsoft.com/office/drawing/2014/main" id="{1C4B32F5-2B03-290D-9126-A98D4E662DD2}"/>
              </a:ext>
            </a:extLst>
          </p:cNvPr>
          <p:cNvSpPr>
            <a:spLocks noGrp="1"/>
          </p:cNvSpPr>
          <p:nvPr>
            <p:ph type="pic" sz="quarter" idx="50" hasCustomPrompt="1"/>
          </p:nvPr>
        </p:nvSpPr>
        <p:spPr>
          <a:xfrm>
            <a:off x="1034802" y="3371054"/>
            <a:ext cx="469452" cy="468000"/>
          </a:xfrm>
          <a:prstGeom prst="ellipse">
            <a:avLst/>
          </a:prstGeom>
          <a:noFill/>
        </p:spPr>
        <p:txBody>
          <a:bodyPr lIns="0" rIns="0"/>
          <a:lstStyle>
            <a:lvl1pPr marL="0" indent="0" algn="ctr">
              <a:buNone/>
              <a:defRPr sz="500">
                <a:latin typeface="+mj-lt"/>
              </a:defRPr>
            </a:lvl1pPr>
          </a:lstStyle>
          <a:p>
            <a:r>
              <a:rPr lang="es-ES"/>
              <a:t>PHOTO</a:t>
            </a:r>
          </a:p>
        </p:txBody>
      </p:sp>
      <p:sp>
        <p:nvSpPr>
          <p:cNvPr id="68" name="Marcador de texto 41">
            <a:extLst>
              <a:ext uri="{FF2B5EF4-FFF2-40B4-BE49-F238E27FC236}">
                <a16:creationId xmlns:a16="http://schemas.microsoft.com/office/drawing/2014/main" id="{FAE76B9F-C5DA-DD4C-CCCB-9FF8F7F75C6F}"/>
              </a:ext>
            </a:extLst>
          </p:cNvPr>
          <p:cNvSpPr>
            <a:spLocks noGrp="1"/>
          </p:cNvSpPr>
          <p:nvPr>
            <p:ph type="body" sz="quarter" idx="51" hasCustomPrompt="1"/>
          </p:nvPr>
        </p:nvSpPr>
        <p:spPr>
          <a:xfrm>
            <a:off x="1647247" y="3297195"/>
            <a:ext cx="3325347" cy="619292"/>
          </a:xfrm>
          <a:prstGeom prst="rect">
            <a:avLst/>
          </a:prstGeom>
        </p:spPr>
        <p:txBody>
          <a:bodyPr lIns="0"/>
          <a:lstStyle>
            <a:lvl1pPr marL="0" indent="0">
              <a:buNone/>
              <a:defRPr sz="1000" b="1">
                <a:solidFill>
                  <a:srgbClr val="6F7779"/>
                </a:solidFill>
                <a:latin typeface="+mj-lt"/>
              </a:defRPr>
            </a:lvl1pPr>
            <a:lvl2pPr marL="0" indent="0">
              <a:spcBef>
                <a:spcPts val="0"/>
              </a:spcBef>
              <a:buNone/>
              <a:defRPr sz="900">
                <a:latin typeface="+mj-lt"/>
              </a:defRPr>
            </a:lvl2pPr>
            <a:lvl3pPr marL="0" indent="0">
              <a:spcBef>
                <a:spcPts val="500"/>
              </a:spcBef>
              <a:buNone/>
              <a:defRPr sz="900">
                <a:latin typeface="+mj-lt"/>
              </a:defRPr>
            </a:lvl3pPr>
            <a:lvl4pPr marL="1371600" indent="0">
              <a:buNone/>
              <a:defRPr sz="1000"/>
            </a:lvl4pPr>
            <a:lvl5pPr marL="1828800" indent="0">
              <a:buNone/>
              <a:defRPr sz="1000"/>
            </a:lvl5pPr>
          </a:lstStyle>
          <a:p>
            <a:pPr lvl="0"/>
            <a:r>
              <a:rPr lang="es-ES" err="1"/>
              <a:t>Name</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69" name="Marcador de posición de imagen 45">
            <a:extLst>
              <a:ext uri="{FF2B5EF4-FFF2-40B4-BE49-F238E27FC236}">
                <a16:creationId xmlns:a16="http://schemas.microsoft.com/office/drawing/2014/main" id="{CA37723D-926C-CB4D-88F3-614546BB2B91}"/>
              </a:ext>
            </a:extLst>
          </p:cNvPr>
          <p:cNvSpPr>
            <a:spLocks noGrp="1"/>
          </p:cNvSpPr>
          <p:nvPr>
            <p:ph type="pic" sz="quarter" idx="52" hasCustomPrompt="1"/>
          </p:nvPr>
        </p:nvSpPr>
        <p:spPr>
          <a:xfrm>
            <a:off x="1034802" y="4327494"/>
            <a:ext cx="469452" cy="468000"/>
          </a:xfrm>
          <a:prstGeom prst="ellipse">
            <a:avLst/>
          </a:prstGeom>
          <a:noFill/>
        </p:spPr>
        <p:txBody>
          <a:bodyPr lIns="0" rIns="0"/>
          <a:lstStyle>
            <a:lvl1pPr marL="0" indent="0" algn="ctr">
              <a:buNone/>
              <a:defRPr sz="500">
                <a:latin typeface="+mj-lt"/>
              </a:defRPr>
            </a:lvl1pPr>
          </a:lstStyle>
          <a:p>
            <a:r>
              <a:rPr lang="es-ES"/>
              <a:t>PHOTO</a:t>
            </a:r>
          </a:p>
        </p:txBody>
      </p:sp>
      <p:sp>
        <p:nvSpPr>
          <p:cNvPr id="70" name="Marcador de texto 41">
            <a:extLst>
              <a:ext uri="{FF2B5EF4-FFF2-40B4-BE49-F238E27FC236}">
                <a16:creationId xmlns:a16="http://schemas.microsoft.com/office/drawing/2014/main" id="{1304D81F-BB09-EA97-1F9B-B9133972E769}"/>
              </a:ext>
            </a:extLst>
          </p:cNvPr>
          <p:cNvSpPr>
            <a:spLocks noGrp="1"/>
          </p:cNvSpPr>
          <p:nvPr>
            <p:ph type="body" sz="quarter" idx="53" hasCustomPrompt="1"/>
          </p:nvPr>
        </p:nvSpPr>
        <p:spPr>
          <a:xfrm>
            <a:off x="1647247" y="4253635"/>
            <a:ext cx="3325347" cy="619292"/>
          </a:xfrm>
          <a:prstGeom prst="rect">
            <a:avLst/>
          </a:prstGeom>
        </p:spPr>
        <p:txBody>
          <a:bodyPr lIns="0"/>
          <a:lstStyle>
            <a:lvl1pPr marL="0" indent="0">
              <a:buNone/>
              <a:defRPr sz="1000" b="1">
                <a:solidFill>
                  <a:srgbClr val="6F7779"/>
                </a:solidFill>
                <a:latin typeface="+mj-lt"/>
              </a:defRPr>
            </a:lvl1pPr>
            <a:lvl2pPr marL="0" indent="0">
              <a:spcBef>
                <a:spcPts val="0"/>
              </a:spcBef>
              <a:buNone/>
              <a:defRPr sz="900">
                <a:latin typeface="+mj-lt"/>
              </a:defRPr>
            </a:lvl2pPr>
            <a:lvl3pPr marL="0" indent="0">
              <a:spcBef>
                <a:spcPts val="500"/>
              </a:spcBef>
              <a:buNone/>
              <a:defRPr sz="900">
                <a:latin typeface="+mj-lt"/>
              </a:defRPr>
            </a:lvl3pPr>
            <a:lvl4pPr marL="1371600" indent="0">
              <a:buNone/>
              <a:defRPr sz="1000"/>
            </a:lvl4pPr>
            <a:lvl5pPr marL="1828800" indent="0">
              <a:buNone/>
              <a:defRPr sz="1000"/>
            </a:lvl5pPr>
          </a:lstStyle>
          <a:p>
            <a:pPr lvl="0"/>
            <a:r>
              <a:rPr lang="es-ES" err="1"/>
              <a:t>Name</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71" name="Marcador de posición de imagen 45">
            <a:extLst>
              <a:ext uri="{FF2B5EF4-FFF2-40B4-BE49-F238E27FC236}">
                <a16:creationId xmlns:a16="http://schemas.microsoft.com/office/drawing/2014/main" id="{64033EDE-3517-CB01-21DF-1498CF381B05}"/>
              </a:ext>
            </a:extLst>
          </p:cNvPr>
          <p:cNvSpPr>
            <a:spLocks noGrp="1"/>
          </p:cNvSpPr>
          <p:nvPr>
            <p:ph type="pic" sz="quarter" idx="54" hasCustomPrompt="1"/>
          </p:nvPr>
        </p:nvSpPr>
        <p:spPr>
          <a:xfrm>
            <a:off x="1034802" y="5283935"/>
            <a:ext cx="469452" cy="468000"/>
          </a:xfrm>
          <a:prstGeom prst="ellipse">
            <a:avLst/>
          </a:prstGeom>
          <a:noFill/>
        </p:spPr>
        <p:txBody>
          <a:bodyPr lIns="0" rIns="0"/>
          <a:lstStyle>
            <a:lvl1pPr marL="0" indent="0" algn="ctr">
              <a:buNone/>
              <a:defRPr sz="500">
                <a:latin typeface="+mj-lt"/>
              </a:defRPr>
            </a:lvl1pPr>
          </a:lstStyle>
          <a:p>
            <a:r>
              <a:rPr lang="es-ES"/>
              <a:t>PHOTO</a:t>
            </a:r>
          </a:p>
        </p:txBody>
      </p:sp>
      <p:sp>
        <p:nvSpPr>
          <p:cNvPr id="72" name="Marcador de texto 41">
            <a:extLst>
              <a:ext uri="{FF2B5EF4-FFF2-40B4-BE49-F238E27FC236}">
                <a16:creationId xmlns:a16="http://schemas.microsoft.com/office/drawing/2014/main" id="{8614BFA0-45F8-6722-F358-A0B43BC42542}"/>
              </a:ext>
            </a:extLst>
          </p:cNvPr>
          <p:cNvSpPr>
            <a:spLocks noGrp="1"/>
          </p:cNvSpPr>
          <p:nvPr>
            <p:ph type="body" sz="quarter" idx="55" hasCustomPrompt="1"/>
          </p:nvPr>
        </p:nvSpPr>
        <p:spPr>
          <a:xfrm>
            <a:off x="1647247" y="5210076"/>
            <a:ext cx="3325347" cy="619292"/>
          </a:xfrm>
          <a:prstGeom prst="rect">
            <a:avLst/>
          </a:prstGeom>
        </p:spPr>
        <p:txBody>
          <a:bodyPr lIns="0"/>
          <a:lstStyle>
            <a:lvl1pPr marL="0" indent="0">
              <a:buNone/>
              <a:defRPr sz="1000" b="1">
                <a:solidFill>
                  <a:srgbClr val="6F7779"/>
                </a:solidFill>
                <a:latin typeface="+mj-lt"/>
              </a:defRPr>
            </a:lvl1pPr>
            <a:lvl2pPr marL="0" indent="0">
              <a:spcBef>
                <a:spcPts val="0"/>
              </a:spcBef>
              <a:buNone/>
              <a:defRPr sz="900">
                <a:latin typeface="+mj-lt"/>
              </a:defRPr>
            </a:lvl2pPr>
            <a:lvl3pPr marL="0" indent="0">
              <a:spcBef>
                <a:spcPts val="500"/>
              </a:spcBef>
              <a:buNone/>
              <a:defRPr sz="900">
                <a:latin typeface="+mj-lt"/>
              </a:defRPr>
            </a:lvl3pPr>
            <a:lvl4pPr marL="1371600" indent="0">
              <a:buNone/>
              <a:defRPr sz="1000"/>
            </a:lvl4pPr>
            <a:lvl5pPr marL="1828800" indent="0">
              <a:buNone/>
              <a:defRPr sz="1000"/>
            </a:lvl5pPr>
          </a:lstStyle>
          <a:p>
            <a:pPr lvl="0"/>
            <a:r>
              <a:rPr lang="es-ES" err="1"/>
              <a:t>Name</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2" name="Forma libre: forma 1">
            <a:extLst>
              <a:ext uri="{FF2B5EF4-FFF2-40B4-BE49-F238E27FC236}">
                <a16:creationId xmlns:a16="http://schemas.microsoft.com/office/drawing/2014/main" id="{7E0C111D-3217-1616-6CB1-B167C77FFBDE}"/>
              </a:ext>
            </a:extLst>
          </p:cNvPr>
          <p:cNvSpPr/>
          <p:nvPr userDrawn="1"/>
        </p:nvSpPr>
        <p:spPr>
          <a:xfrm>
            <a:off x="6604593" y="1658212"/>
            <a:ext cx="4882286" cy="4439384"/>
          </a:xfrm>
          <a:custGeom>
            <a:avLst/>
            <a:gdLst>
              <a:gd name="connsiteX0" fmla="*/ 2962275 w 3600449"/>
              <a:gd name="connsiteY0" fmla="*/ 0 h 4439383"/>
              <a:gd name="connsiteX1" fmla="*/ 3600449 w 3600449"/>
              <a:gd name="connsiteY1" fmla="*/ 0 h 4439383"/>
              <a:gd name="connsiteX2" fmla="*/ 3600449 w 3600449"/>
              <a:gd name="connsiteY2" fmla="*/ 4439383 h 4439383"/>
              <a:gd name="connsiteX3" fmla="*/ 0 w 3600449"/>
              <a:gd name="connsiteY3" fmla="*/ 4439383 h 4439383"/>
              <a:gd name="connsiteX4" fmla="*/ 0 w 3600449"/>
              <a:gd name="connsiteY4" fmla="*/ 484559 h 4439383"/>
              <a:gd name="connsiteX5" fmla="*/ 2962275 w 3600449"/>
              <a:gd name="connsiteY5" fmla="*/ 484559 h 4439383"/>
              <a:gd name="connsiteX0" fmla="*/ 4242435 w 4880609"/>
              <a:gd name="connsiteY0" fmla="*/ 0 h 4439383"/>
              <a:gd name="connsiteX1" fmla="*/ 4880609 w 4880609"/>
              <a:gd name="connsiteY1" fmla="*/ 0 h 4439383"/>
              <a:gd name="connsiteX2" fmla="*/ 4880609 w 4880609"/>
              <a:gd name="connsiteY2" fmla="*/ 4439383 h 4439383"/>
              <a:gd name="connsiteX3" fmla="*/ 1280160 w 4880609"/>
              <a:gd name="connsiteY3" fmla="*/ 4439383 h 4439383"/>
              <a:gd name="connsiteX4" fmla="*/ 0 w 4880609"/>
              <a:gd name="connsiteY4" fmla="*/ 484559 h 4439383"/>
              <a:gd name="connsiteX5" fmla="*/ 4242435 w 4880609"/>
              <a:gd name="connsiteY5" fmla="*/ 484559 h 4439383"/>
              <a:gd name="connsiteX6" fmla="*/ 4242435 w 4880609"/>
              <a:gd name="connsiteY6" fmla="*/ 0 h 4439383"/>
              <a:gd name="connsiteX0" fmla="*/ 4242435 w 4880609"/>
              <a:gd name="connsiteY0" fmla="*/ 0 h 4439383"/>
              <a:gd name="connsiteX1" fmla="*/ 4880609 w 4880609"/>
              <a:gd name="connsiteY1" fmla="*/ 0 h 4439383"/>
              <a:gd name="connsiteX2" fmla="*/ 4880609 w 4880609"/>
              <a:gd name="connsiteY2" fmla="*/ 4439383 h 4439383"/>
              <a:gd name="connsiteX3" fmla="*/ 17417 w 4880609"/>
              <a:gd name="connsiteY3" fmla="*/ 4430675 h 4439383"/>
              <a:gd name="connsiteX4" fmla="*/ 0 w 4880609"/>
              <a:gd name="connsiteY4" fmla="*/ 484559 h 4439383"/>
              <a:gd name="connsiteX5" fmla="*/ 4242435 w 4880609"/>
              <a:gd name="connsiteY5" fmla="*/ 484559 h 4439383"/>
              <a:gd name="connsiteX6" fmla="*/ 4242435 w 4880609"/>
              <a:gd name="connsiteY6" fmla="*/ 0 h 4439383"/>
              <a:gd name="connsiteX0" fmla="*/ 4242435 w 4880609"/>
              <a:gd name="connsiteY0" fmla="*/ 0 h 4439383"/>
              <a:gd name="connsiteX1" fmla="*/ 4880609 w 4880609"/>
              <a:gd name="connsiteY1" fmla="*/ 0 h 4439383"/>
              <a:gd name="connsiteX2" fmla="*/ 4880609 w 4880609"/>
              <a:gd name="connsiteY2" fmla="*/ 4439383 h 4439383"/>
              <a:gd name="connsiteX3" fmla="*/ 8708 w 4880609"/>
              <a:gd name="connsiteY3" fmla="*/ 4430675 h 4439383"/>
              <a:gd name="connsiteX4" fmla="*/ 0 w 4880609"/>
              <a:gd name="connsiteY4" fmla="*/ 484559 h 4439383"/>
              <a:gd name="connsiteX5" fmla="*/ 4242435 w 4880609"/>
              <a:gd name="connsiteY5" fmla="*/ 484559 h 4439383"/>
              <a:gd name="connsiteX6" fmla="*/ 4242435 w 4880609"/>
              <a:gd name="connsiteY6" fmla="*/ 0 h 4439383"/>
              <a:gd name="connsiteX0" fmla="*/ 4242435 w 4880609"/>
              <a:gd name="connsiteY0" fmla="*/ 0 h 4439383"/>
              <a:gd name="connsiteX1" fmla="*/ 4880609 w 4880609"/>
              <a:gd name="connsiteY1" fmla="*/ 0 h 4439383"/>
              <a:gd name="connsiteX2" fmla="*/ 4880609 w 4880609"/>
              <a:gd name="connsiteY2" fmla="*/ 4439383 h 4439383"/>
              <a:gd name="connsiteX3" fmla="*/ 8708 w 4880609"/>
              <a:gd name="connsiteY3" fmla="*/ 4430675 h 4439383"/>
              <a:gd name="connsiteX4" fmla="*/ 0 w 4880609"/>
              <a:gd name="connsiteY4" fmla="*/ 484559 h 4439383"/>
              <a:gd name="connsiteX5" fmla="*/ 4242435 w 4880609"/>
              <a:gd name="connsiteY5" fmla="*/ 484559 h 4439383"/>
              <a:gd name="connsiteX6" fmla="*/ 4242435 w 4880609"/>
              <a:gd name="connsiteY6" fmla="*/ 0 h 4439383"/>
              <a:gd name="connsiteX0" fmla="*/ 4242435 w 4880609"/>
              <a:gd name="connsiteY0" fmla="*/ 0 h 4439383"/>
              <a:gd name="connsiteX1" fmla="*/ 4880609 w 4880609"/>
              <a:gd name="connsiteY1" fmla="*/ 0 h 4439383"/>
              <a:gd name="connsiteX2" fmla="*/ 4880609 w 4880609"/>
              <a:gd name="connsiteY2" fmla="*/ 4439383 h 4439383"/>
              <a:gd name="connsiteX3" fmla="*/ 8708 w 4880609"/>
              <a:gd name="connsiteY3" fmla="*/ 4430675 h 4439383"/>
              <a:gd name="connsiteX4" fmla="*/ 0 w 4880609"/>
              <a:gd name="connsiteY4" fmla="*/ 484559 h 4439383"/>
              <a:gd name="connsiteX5" fmla="*/ 4242435 w 4880609"/>
              <a:gd name="connsiteY5" fmla="*/ 484559 h 4439383"/>
              <a:gd name="connsiteX6" fmla="*/ 4242435 w 4880609"/>
              <a:gd name="connsiteY6" fmla="*/ 0 h 4439383"/>
              <a:gd name="connsiteX0" fmla="*/ 4242435 w 4880609"/>
              <a:gd name="connsiteY0" fmla="*/ 0 h 4439383"/>
              <a:gd name="connsiteX1" fmla="*/ 4880609 w 4880609"/>
              <a:gd name="connsiteY1" fmla="*/ 0 h 4439383"/>
              <a:gd name="connsiteX2" fmla="*/ 4880609 w 4880609"/>
              <a:gd name="connsiteY2" fmla="*/ 4439383 h 4439383"/>
              <a:gd name="connsiteX3" fmla="*/ 8708 w 4880609"/>
              <a:gd name="connsiteY3" fmla="*/ 4421967 h 4439383"/>
              <a:gd name="connsiteX4" fmla="*/ 0 w 4880609"/>
              <a:gd name="connsiteY4" fmla="*/ 484559 h 4439383"/>
              <a:gd name="connsiteX5" fmla="*/ 4242435 w 4880609"/>
              <a:gd name="connsiteY5" fmla="*/ 484559 h 4439383"/>
              <a:gd name="connsiteX6" fmla="*/ 4242435 w 4880609"/>
              <a:gd name="connsiteY6" fmla="*/ 0 h 4439383"/>
              <a:gd name="connsiteX0" fmla="*/ 4244111 w 4882285"/>
              <a:gd name="connsiteY0" fmla="*/ 0 h 4439383"/>
              <a:gd name="connsiteX1" fmla="*/ 4882285 w 4882285"/>
              <a:gd name="connsiteY1" fmla="*/ 0 h 4439383"/>
              <a:gd name="connsiteX2" fmla="*/ 4882285 w 4882285"/>
              <a:gd name="connsiteY2" fmla="*/ 4439383 h 4439383"/>
              <a:gd name="connsiteX3" fmla="*/ 1676 w 4882285"/>
              <a:gd name="connsiteY3" fmla="*/ 4421967 h 4439383"/>
              <a:gd name="connsiteX4" fmla="*/ 1676 w 4882285"/>
              <a:gd name="connsiteY4" fmla="*/ 484559 h 4439383"/>
              <a:gd name="connsiteX5" fmla="*/ 4244111 w 4882285"/>
              <a:gd name="connsiteY5" fmla="*/ 484559 h 4439383"/>
              <a:gd name="connsiteX6" fmla="*/ 4244111 w 4882285"/>
              <a:gd name="connsiteY6" fmla="*/ 0 h 4439383"/>
              <a:gd name="connsiteX0" fmla="*/ 4252197 w 4890371"/>
              <a:gd name="connsiteY0" fmla="*/ 0 h 4439383"/>
              <a:gd name="connsiteX1" fmla="*/ 4890371 w 4890371"/>
              <a:gd name="connsiteY1" fmla="*/ 0 h 4439383"/>
              <a:gd name="connsiteX2" fmla="*/ 4890371 w 4890371"/>
              <a:gd name="connsiteY2" fmla="*/ 4439383 h 4439383"/>
              <a:gd name="connsiteX3" fmla="*/ 1054 w 4890371"/>
              <a:gd name="connsiteY3" fmla="*/ 4430676 h 4439383"/>
              <a:gd name="connsiteX4" fmla="*/ 9762 w 4890371"/>
              <a:gd name="connsiteY4" fmla="*/ 484559 h 4439383"/>
              <a:gd name="connsiteX5" fmla="*/ 4252197 w 4890371"/>
              <a:gd name="connsiteY5" fmla="*/ 484559 h 4439383"/>
              <a:gd name="connsiteX6" fmla="*/ 4252197 w 4890371"/>
              <a:gd name="connsiteY6" fmla="*/ 0 h 4439383"/>
              <a:gd name="connsiteX0" fmla="*/ 4244112 w 4882286"/>
              <a:gd name="connsiteY0" fmla="*/ 0 h 4439384"/>
              <a:gd name="connsiteX1" fmla="*/ 4882286 w 4882286"/>
              <a:gd name="connsiteY1" fmla="*/ 0 h 4439384"/>
              <a:gd name="connsiteX2" fmla="*/ 4882286 w 4882286"/>
              <a:gd name="connsiteY2" fmla="*/ 4439383 h 4439384"/>
              <a:gd name="connsiteX3" fmla="*/ 1677 w 4882286"/>
              <a:gd name="connsiteY3" fmla="*/ 4439384 h 4439384"/>
              <a:gd name="connsiteX4" fmla="*/ 1677 w 4882286"/>
              <a:gd name="connsiteY4" fmla="*/ 484559 h 4439384"/>
              <a:gd name="connsiteX5" fmla="*/ 4244112 w 4882286"/>
              <a:gd name="connsiteY5" fmla="*/ 484559 h 4439384"/>
              <a:gd name="connsiteX6" fmla="*/ 4244112 w 4882286"/>
              <a:gd name="connsiteY6" fmla="*/ 0 h 4439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82286" h="4439384">
                <a:moveTo>
                  <a:pt x="4244112" y="0"/>
                </a:moveTo>
                <a:lnTo>
                  <a:pt x="4882286" y="0"/>
                </a:lnTo>
                <a:lnTo>
                  <a:pt x="4882286" y="4439383"/>
                </a:lnTo>
                <a:lnTo>
                  <a:pt x="1677" y="4439384"/>
                </a:lnTo>
                <a:cubicBezTo>
                  <a:pt x="-4129" y="3124012"/>
                  <a:pt x="7483" y="1799931"/>
                  <a:pt x="1677" y="484559"/>
                </a:cubicBezTo>
                <a:lnTo>
                  <a:pt x="4244112" y="484559"/>
                </a:lnTo>
                <a:lnTo>
                  <a:pt x="4244112"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400"/>
            <a:endParaRPr lang="en-GB" sz="900">
              <a:solidFill>
                <a:srgbClr val="FFFFFF"/>
              </a:solidFill>
              <a:latin typeface="Santander Headline" panose="020B0504020201020104" pitchFamily="34" charset="0"/>
            </a:endParaRPr>
          </a:p>
        </p:txBody>
      </p:sp>
      <p:sp>
        <p:nvSpPr>
          <p:cNvPr id="4" name="Marcador de posición de imagen 45">
            <a:extLst>
              <a:ext uri="{FF2B5EF4-FFF2-40B4-BE49-F238E27FC236}">
                <a16:creationId xmlns:a16="http://schemas.microsoft.com/office/drawing/2014/main" id="{ED76CB64-062F-3791-EDA2-11FCA247BDAD}"/>
              </a:ext>
            </a:extLst>
          </p:cNvPr>
          <p:cNvSpPr>
            <a:spLocks noGrp="1"/>
          </p:cNvSpPr>
          <p:nvPr>
            <p:ph type="pic" sz="quarter" idx="56" hasCustomPrompt="1"/>
          </p:nvPr>
        </p:nvSpPr>
        <p:spPr>
          <a:xfrm>
            <a:off x="6906442" y="1528267"/>
            <a:ext cx="520398" cy="532772"/>
          </a:xfrm>
          <a:prstGeom prst="ellipse">
            <a:avLst/>
          </a:prstGeom>
          <a:noFill/>
        </p:spPr>
        <p:txBody>
          <a:bodyPr lIns="0" rIns="0"/>
          <a:lstStyle>
            <a:lvl1pPr marL="0" indent="0" algn="ctr">
              <a:buNone/>
              <a:defRPr sz="800">
                <a:latin typeface="Santander Headline" panose="020B0504020201020104" pitchFamily="34" charset="0"/>
              </a:defRPr>
            </a:lvl1pPr>
          </a:lstStyle>
          <a:p>
            <a:r>
              <a:rPr lang="es-ES" err="1"/>
              <a:t>Flag</a:t>
            </a:r>
            <a:endParaRPr lang="es-ES"/>
          </a:p>
        </p:txBody>
      </p:sp>
      <p:sp>
        <p:nvSpPr>
          <p:cNvPr id="6" name="Marcador de texto 48">
            <a:extLst>
              <a:ext uri="{FF2B5EF4-FFF2-40B4-BE49-F238E27FC236}">
                <a16:creationId xmlns:a16="http://schemas.microsoft.com/office/drawing/2014/main" id="{EAB08A5C-D1F6-A5EC-4202-1C671198ED7F}"/>
              </a:ext>
            </a:extLst>
          </p:cNvPr>
          <p:cNvSpPr>
            <a:spLocks noGrp="1"/>
          </p:cNvSpPr>
          <p:nvPr>
            <p:ph type="body" sz="quarter" idx="57" hasCustomPrompt="1"/>
          </p:nvPr>
        </p:nvSpPr>
        <p:spPr>
          <a:xfrm>
            <a:off x="7487148" y="1663936"/>
            <a:ext cx="3050223" cy="261434"/>
          </a:xfrm>
          <a:prstGeom prst="rect">
            <a:avLst/>
          </a:prstGeom>
        </p:spPr>
        <p:txBody>
          <a:bodyPr/>
          <a:lstStyle>
            <a:lvl1pPr marL="0" indent="0">
              <a:buNone/>
              <a:defRPr lang="es-ES" sz="1400" b="1" kern="1200" dirty="0" smtClean="0">
                <a:solidFill>
                  <a:srgbClr val="EC0000"/>
                </a:solidFill>
                <a:latin typeface="Santander Headline" panose="020B0504020201020104" pitchFamily="34" charset="0"/>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lvl="0"/>
            <a:r>
              <a:rPr lang="es-ES"/>
              <a:t>Country</a:t>
            </a:r>
          </a:p>
        </p:txBody>
      </p:sp>
      <p:sp>
        <p:nvSpPr>
          <p:cNvPr id="7" name="Marcador de posición de imagen 45">
            <a:extLst>
              <a:ext uri="{FF2B5EF4-FFF2-40B4-BE49-F238E27FC236}">
                <a16:creationId xmlns:a16="http://schemas.microsoft.com/office/drawing/2014/main" id="{2E9B6922-1072-7CE6-569B-E7FBBDC190EA}"/>
              </a:ext>
            </a:extLst>
          </p:cNvPr>
          <p:cNvSpPr>
            <a:spLocks noGrp="1"/>
          </p:cNvSpPr>
          <p:nvPr>
            <p:ph type="pic" sz="quarter" idx="58" hasCustomPrompt="1"/>
          </p:nvPr>
        </p:nvSpPr>
        <p:spPr>
          <a:xfrm>
            <a:off x="6930505" y="2414612"/>
            <a:ext cx="469452" cy="468000"/>
          </a:xfrm>
          <a:prstGeom prst="ellipse">
            <a:avLst/>
          </a:prstGeom>
          <a:noFill/>
        </p:spPr>
        <p:txBody>
          <a:bodyPr lIns="0" rIns="0"/>
          <a:lstStyle>
            <a:lvl1pPr marL="0" indent="0" algn="ctr">
              <a:buNone/>
              <a:defRPr sz="500">
                <a:latin typeface="+mj-lt"/>
              </a:defRPr>
            </a:lvl1pPr>
          </a:lstStyle>
          <a:p>
            <a:r>
              <a:rPr lang="es-ES"/>
              <a:t>PHOTO</a:t>
            </a:r>
          </a:p>
        </p:txBody>
      </p:sp>
      <p:sp>
        <p:nvSpPr>
          <p:cNvPr id="8" name="Marcador de texto 41">
            <a:extLst>
              <a:ext uri="{FF2B5EF4-FFF2-40B4-BE49-F238E27FC236}">
                <a16:creationId xmlns:a16="http://schemas.microsoft.com/office/drawing/2014/main" id="{1423D448-5FC5-14F1-3BCD-F4364F390CD7}"/>
              </a:ext>
            </a:extLst>
          </p:cNvPr>
          <p:cNvSpPr>
            <a:spLocks noGrp="1"/>
          </p:cNvSpPr>
          <p:nvPr>
            <p:ph type="body" sz="quarter" idx="59" hasCustomPrompt="1"/>
          </p:nvPr>
        </p:nvSpPr>
        <p:spPr>
          <a:xfrm>
            <a:off x="7542950" y="2340753"/>
            <a:ext cx="3325347" cy="619292"/>
          </a:xfrm>
          <a:prstGeom prst="rect">
            <a:avLst/>
          </a:prstGeom>
        </p:spPr>
        <p:txBody>
          <a:bodyPr lIns="0"/>
          <a:lstStyle>
            <a:lvl1pPr marL="0" indent="0">
              <a:buNone/>
              <a:defRPr sz="1000" b="1">
                <a:solidFill>
                  <a:srgbClr val="6F7779"/>
                </a:solidFill>
                <a:latin typeface="+mj-lt"/>
              </a:defRPr>
            </a:lvl1pPr>
            <a:lvl2pPr marL="0" indent="0">
              <a:spcBef>
                <a:spcPts val="0"/>
              </a:spcBef>
              <a:buNone/>
              <a:defRPr sz="900">
                <a:latin typeface="+mj-lt"/>
              </a:defRPr>
            </a:lvl2pPr>
            <a:lvl3pPr marL="0" indent="0">
              <a:spcBef>
                <a:spcPts val="500"/>
              </a:spcBef>
              <a:buNone/>
              <a:defRPr sz="900">
                <a:latin typeface="+mj-lt"/>
              </a:defRPr>
            </a:lvl3pPr>
            <a:lvl4pPr marL="1371600" indent="0">
              <a:buNone/>
              <a:defRPr sz="1000"/>
            </a:lvl4pPr>
            <a:lvl5pPr marL="1828800" indent="0">
              <a:buNone/>
              <a:defRPr sz="1000"/>
            </a:lvl5pPr>
          </a:lstStyle>
          <a:p>
            <a:pPr lvl="0"/>
            <a:r>
              <a:rPr lang="es-ES" err="1"/>
              <a:t>Name</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9" name="Marcador de posición de imagen 45">
            <a:extLst>
              <a:ext uri="{FF2B5EF4-FFF2-40B4-BE49-F238E27FC236}">
                <a16:creationId xmlns:a16="http://schemas.microsoft.com/office/drawing/2014/main" id="{048A8E51-ED15-EC85-39F6-78B489A6BA5A}"/>
              </a:ext>
            </a:extLst>
          </p:cNvPr>
          <p:cNvSpPr>
            <a:spLocks noGrp="1"/>
          </p:cNvSpPr>
          <p:nvPr>
            <p:ph type="pic" sz="quarter" idx="60" hasCustomPrompt="1"/>
          </p:nvPr>
        </p:nvSpPr>
        <p:spPr>
          <a:xfrm>
            <a:off x="6930505" y="3371054"/>
            <a:ext cx="469452" cy="468000"/>
          </a:xfrm>
          <a:prstGeom prst="ellipse">
            <a:avLst/>
          </a:prstGeom>
          <a:noFill/>
        </p:spPr>
        <p:txBody>
          <a:bodyPr lIns="0" rIns="0"/>
          <a:lstStyle>
            <a:lvl1pPr marL="0" indent="0" algn="ctr">
              <a:buNone/>
              <a:defRPr sz="500">
                <a:latin typeface="+mj-lt"/>
              </a:defRPr>
            </a:lvl1pPr>
          </a:lstStyle>
          <a:p>
            <a:r>
              <a:rPr lang="es-ES"/>
              <a:t>PHOTO</a:t>
            </a:r>
          </a:p>
        </p:txBody>
      </p:sp>
      <p:sp>
        <p:nvSpPr>
          <p:cNvPr id="10" name="Marcador de texto 41">
            <a:extLst>
              <a:ext uri="{FF2B5EF4-FFF2-40B4-BE49-F238E27FC236}">
                <a16:creationId xmlns:a16="http://schemas.microsoft.com/office/drawing/2014/main" id="{DEF30517-3E24-8122-03AD-D3460DCF54D0}"/>
              </a:ext>
            </a:extLst>
          </p:cNvPr>
          <p:cNvSpPr>
            <a:spLocks noGrp="1"/>
          </p:cNvSpPr>
          <p:nvPr>
            <p:ph type="body" sz="quarter" idx="61" hasCustomPrompt="1"/>
          </p:nvPr>
        </p:nvSpPr>
        <p:spPr>
          <a:xfrm>
            <a:off x="7542950" y="3297195"/>
            <a:ext cx="3325347" cy="619292"/>
          </a:xfrm>
          <a:prstGeom prst="rect">
            <a:avLst/>
          </a:prstGeom>
        </p:spPr>
        <p:txBody>
          <a:bodyPr lIns="0"/>
          <a:lstStyle>
            <a:lvl1pPr marL="0" indent="0">
              <a:buNone/>
              <a:defRPr sz="1000" b="1">
                <a:solidFill>
                  <a:srgbClr val="6F7779"/>
                </a:solidFill>
                <a:latin typeface="+mj-lt"/>
              </a:defRPr>
            </a:lvl1pPr>
            <a:lvl2pPr marL="0" indent="0">
              <a:spcBef>
                <a:spcPts val="0"/>
              </a:spcBef>
              <a:buNone/>
              <a:defRPr sz="900">
                <a:latin typeface="+mj-lt"/>
              </a:defRPr>
            </a:lvl2pPr>
            <a:lvl3pPr marL="0" indent="0">
              <a:spcBef>
                <a:spcPts val="500"/>
              </a:spcBef>
              <a:buNone/>
              <a:defRPr sz="900">
                <a:latin typeface="+mj-lt"/>
              </a:defRPr>
            </a:lvl3pPr>
            <a:lvl4pPr marL="1371600" indent="0">
              <a:buNone/>
              <a:defRPr sz="1000"/>
            </a:lvl4pPr>
            <a:lvl5pPr marL="1828800" indent="0">
              <a:buNone/>
              <a:defRPr sz="1000"/>
            </a:lvl5pPr>
          </a:lstStyle>
          <a:p>
            <a:pPr lvl="0"/>
            <a:r>
              <a:rPr lang="es-ES" err="1"/>
              <a:t>Name</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11" name="Marcador de posición de imagen 45">
            <a:extLst>
              <a:ext uri="{FF2B5EF4-FFF2-40B4-BE49-F238E27FC236}">
                <a16:creationId xmlns:a16="http://schemas.microsoft.com/office/drawing/2014/main" id="{0394D169-E3DC-E975-1FB8-E6BB2AC09A10}"/>
              </a:ext>
            </a:extLst>
          </p:cNvPr>
          <p:cNvSpPr>
            <a:spLocks noGrp="1"/>
          </p:cNvSpPr>
          <p:nvPr>
            <p:ph type="pic" sz="quarter" idx="62" hasCustomPrompt="1"/>
          </p:nvPr>
        </p:nvSpPr>
        <p:spPr>
          <a:xfrm>
            <a:off x="6930505" y="4327494"/>
            <a:ext cx="469452" cy="468000"/>
          </a:xfrm>
          <a:prstGeom prst="ellipse">
            <a:avLst/>
          </a:prstGeom>
          <a:noFill/>
        </p:spPr>
        <p:txBody>
          <a:bodyPr lIns="0" rIns="0"/>
          <a:lstStyle>
            <a:lvl1pPr marL="0" indent="0" algn="ctr">
              <a:buNone/>
              <a:defRPr sz="500">
                <a:latin typeface="+mj-lt"/>
              </a:defRPr>
            </a:lvl1pPr>
          </a:lstStyle>
          <a:p>
            <a:r>
              <a:rPr lang="es-ES"/>
              <a:t>PHOTO</a:t>
            </a:r>
          </a:p>
        </p:txBody>
      </p:sp>
      <p:sp>
        <p:nvSpPr>
          <p:cNvPr id="14" name="Marcador de texto 41">
            <a:extLst>
              <a:ext uri="{FF2B5EF4-FFF2-40B4-BE49-F238E27FC236}">
                <a16:creationId xmlns:a16="http://schemas.microsoft.com/office/drawing/2014/main" id="{37AAF578-E7A3-859D-FD1E-6490E10E5B2C}"/>
              </a:ext>
            </a:extLst>
          </p:cNvPr>
          <p:cNvSpPr>
            <a:spLocks noGrp="1"/>
          </p:cNvSpPr>
          <p:nvPr>
            <p:ph type="body" sz="quarter" idx="63" hasCustomPrompt="1"/>
          </p:nvPr>
        </p:nvSpPr>
        <p:spPr>
          <a:xfrm>
            <a:off x="7542950" y="4253635"/>
            <a:ext cx="3325347" cy="619292"/>
          </a:xfrm>
          <a:prstGeom prst="rect">
            <a:avLst/>
          </a:prstGeom>
        </p:spPr>
        <p:txBody>
          <a:bodyPr lIns="0"/>
          <a:lstStyle>
            <a:lvl1pPr marL="0" indent="0">
              <a:buNone/>
              <a:defRPr sz="1000" b="1">
                <a:solidFill>
                  <a:srgbClr val="6F7779"/>
                </a:solidFill>
                <a:latin typeface="+mj-lt"/>
              </a:defRPr>
            </a:lvl1pPr>
            <a:lvl2pPr marL="0" indent="0">
              <a:spcBef>
                <a:spcPts val="0"/>
              </a:spcBef>
              <a:buNone/>
              <a:defRPr sz="900">
                <a:latin typeface="+mj-lt"/>
              </a:defRPr>
            </a:lvl2pPr>
            <a:lvl3pPr marL="0" indent="0">
              <a:spcBef>
                <a:spcPts val="500"/>
              </a:spcBef>
              <a:buNone/>
              <a:defRPr sz="900">
                <a:latin typeface="+mj-lt"/>
              </a:defRPr>
            </a:lvl3pPr>
            <a:lvl4pPr marL="1371600" indent="0">
              <a:buNone/>
              <a:defRPr sz="1000"/>
            </a:lvl4pPr>
            <a:lvl5pPr marL="1828800" indent="0">
              <a:buNone/>
              <a:defRPr sz="1000"/>
            </a:lvl5pPr>
          </a:lstStyle>
          <a:p>
            <a:pPr lvl="0"/>
            <a:r>
              <a:rPr lang="es-ES" err="1"/>
              <a:t>Name</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16" name="Marcador de posición de imagen 45">
            <a:extLst>
              <a:ext uri="{FF2B5EF4-FFF2-40B4-BE49-F238E27FC236}">
                <a16:creationId xmlns:a16="http://schemas.microsoft.com/office/drawing/2014/main" id="{502897B4-CD40-E4F0-0051-888E091F4FBE}"/>
              </a:ext>
            </a:extLst>
          </p:cNvPr>
          <p:cNvSpPr>
            <a:spLocks noGrp="1"/>
          </p:cNvSpPr>
          <p:nvPr>
            <p:ph type="pic" sz="quarter" idx="64" hasCustomPrompt="1"/>
          </p:nvPr>
        </p:nvSpPr>
        <p:spPr>
          <a:xfrm>
            <a:off x="6930505" y="5283935"/>
            <a:ext cx="469452" cy="468000"/>
          </a:xfrm>
          <a:prstGeom prst="ellipse">
            <a:avLst/>
          </a:prstGeom>
          <a:noFill/>
        </p:spPr>
        <p:txBody>
          <a:bodyPr lIns="0" rIns="0"/>
          <a:lstStyle>
            <a:lvl1pPr marL="0" indent="0" algn="ctr">
              <a:buNone/>
              <a:defRPr sz="500">
                <a:latin typeface="+mj-lt"/>
              </a:defRPr>
            </a:lvl1pPr>
          </a:lstStyle>
          <a:p>
            <a:r>
              <a:rPr lang="es-ES"/>
              <a:t>PHOTO</a:t>
            </a:r>
          </a:p>
        </p:txBody>
      </p:sp>
      <p:sp>
        <p:nvSpPr>
          <p:cNvPr id="17" name="Marcador de texto 41">
            <a:extLst>
              <a:ext uri="{FF2B5EF4-FFF2-40B4-BE49-F238E27FC236}">
                <a16:creationId xmlns:a16="http://schemas.microsoft.com/office/drawing/2014/main" id="{A676C429-6828-F714-9782-A4D4A3959B7B}"/>
              </a:ext>
            </a:extLst>
          </p:cNvPr>
          <p:cNvSpPr>
            <a:spLocks noGrp="1"/>
          </p:cNvSpPr>
          <p:nvPr>
            <p:ph type="body" sz="quarter" idx="65" hasCustomPrompt="1"/>
          </p:nvPr>
        </p:nvSpPr>
        <p:spPr>
          <a:xfrm>
            <a:off x="7542950" y="5210076"/>
            <a:ext cx="3325347" cy="619292"/>
          </a:xfrm>
          <a:prstGeom prst="rect">
            <a:avLst/>
          </a:prstGeom>
        </p:spPr>
        <p:txBody>
          <a:bodyPr lIns="0"/>
          <a:lstStyle>
            <a:lvl1pPr marL="0" indent="0">
              <a:buNone/>
              <a:defRPr sz="1000" b="1">
                <a:solidFill>
                  <a:srgbClr val="6F7779"/>
                </a:solidFill>
                <a:latin typeface="+mj-lt"/>
              </a:defRPr>
            </a:lvl1pPr>
            <a:lvl2pPr marL="0" indent="0">
              <a:spcBef>
                <a:spcPts val="0"/>
              </a:spcBef>
              <a:buNone/>
              <a:defRPr sz="900">
                <a:latin typeface="+mj-lt"/>
              </a:defRPr>
            </a:lvl2pPr>
            <a:lvl3pPr marL="0" indent="0">
              <a:spcBef>
                <a:spcPts val="500"/>
              </a:spcBef>
              <a:buNone/>
              <a:defRPr sz="900">
                <a:latin typeface="+mj-lt"/>
              </a:defRPr>
            </a:lvl3pPr>
            <a:lvl4pPr marL="1371600" indent="0">
              <a:buNone/>
              <a:defRPr sz="1000"/>
            </a:lvl4pPr>
            <a:lvl5pPr marL="1828800" indent="0">
              <a:buNone/>
              <a:defRPr sz="1000"/>
            </a:lvl5pPr>
          </a:lstStyle>
          <a:p>
            <a:pPr lvl="0"/>
            <a:r>
              <a:rPr lang="es-ES" err="1"/>
              <a:t>Name</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13" name="Marcador de número de diapositiva 5">
            <a:extLst>
              <a:ext uri="{FF2B5EF4-FFF2-40B4-BE49-F238E27FC236}">
                <a16:creationId xmlns:a16="http://schemas.microsoft.com/office/drawing/2014/main" id="{8AB6AD30-A8EF-67EC-064F-AF710F6CB945}"/>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15" name="Footnotes">
            <a:extLst>
              <a:ext uri="{FF2B5EF4-FFF2-40B4-BE49-F238E27FC236}">
                <a16:creationId xmlns:a16="http://schemas.microsoft.com/office/drawing/2014/main" id="{FAB423A9-30A6-7153-D142-62826245401D}"/>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B12588FB-D5F3-2596-7A3C-B8946F58D8A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18" name="Título 1">
            <a:extLst>
              <a:ext uri="{FF2B5EF4-FFF2-40B4-BE49-F238E27FC236}">
                <a16:creationId xmlns:a16="http://schemas.microsoft.com/office/drawing/2014/main" id="{19EE6233-E582-81C9-B6DA-499E416A0982}"/>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19" name="Marcador de texto 14">
            <a:extLst>
              <a:ext uri="{FF2B5EF4-FFF2-40B4-BE49-F238E27FC236}">
                <a16:creationId xmlns:a16="http://schemas.microsoft.com/office/drawing/2014/main" id="{D188B735-15C3-D0A0-7009-98F1A6CC2CAB}"/>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5" name="Marcador de texto 14">
            <a:extLst>
              <a:ext uri="{FF2B5EF4-FFF2-40B4-BE49-F238E27FC236}">
                <a16:creationId xmlns:a16="http://schemas.microsoft.com/office/drawing/2014/main" id="{06B1D653-1CBF-DA67-F255-75111270E247}"/>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5006253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Header &amp; Content ">
    <p:spTree>
      <p:nvGrpSpPr>
        <p:cNvPr id="1" name=""/>
        <p:cNvGrpSpPr/>
        <p:nvPr/>
      </p:nvGrpSpPr>
      <p:grpSpPr>
        <a:xfrm>
          <a:off x="0" y="0"/>
          <a:ext cx="0" cy="0"/>
          <a:chOff x="0" y="0"/>
          <a:chExt cx="0" cy="0"/>
        </a:xfrm>
      </p:grpSpPr>
      <p:sp>
        <p:nvSpPr>
          <p:cNvPr id="13" name="Marcador de texto 14">
            <a:extLst>
              <a:ext uri="{FF2B5EF4-FFF2-40B4-BE49-F238E27FC236}">
                <a16:creationId xmlns:a16="http://schemas.microsoft.com/office/drawing/2014/main" id="{1DDF8130-4F62-1391-2E98-168864940019}"/>
              </a:ext>
            </a:extLst>
          </p:cNvPr>
          <p:cNvSpPr>
            <a:spLocks noGrp="1"/>
          </p:cNvSpPr>
          <p:nvPr>
            <p:ph type="body" sz="quarter" idx="45" hasCustomPrompt="1"/>
          </p:nvPr>
        </p:nvSpPr>
        <p:spPr>
          <a:xfrm>
            <a:off x="693939" y="1105628"/>
            <a:ext cx="10984992" cy="1083390"/>
          </a:xfrm>
          <a:prstGeom prst="rect">
            <a:avLst/>
          </a:prstGeom>
        </p:spPr>
        <p:txBody>
          <a:bodyPr wrap="square" lIns="90000" tIns="0" rIns="0" bIns="0" anchor="t">
            <a:noAutofit/>
          </a:bodyPr>
          <a:lstStyle>
            <a:lvl1pPr marL="0" indent="0" rtl="0">
              <a:buFontTx/>
              <a:buNone/>
              <a:defRPr sz="35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a:t>
            </a:r>
            <a:br>
              <a:rPr lang="en-US" noProof="0"/>
            </a:br>
            <a:r>
              <a:rPr lang="en-US" noProof="0"/>
              <a:t>(Santander headline 35)</a:t>
            </a:r>
          </a:p>
        </p:txBody>
      </p:sp>
      <p:sp>
        <p:nvSpPr>
          <p:cNvPr id="8" name="Marcador de número de diapositiva 5">
            <a:extLst>
              <a:ext uri="{FF2B5EF4-FFF2-40B4-BE49-F238E27FC236}">
                <a16:creationId xmlns:a16="http://schemas.microsoft.com/office/drawing/2014/main" id="{183EC13F-BDAE-D107-1EC9-01DCCFFA0CEE}"/>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9" name="Footnotes">
            <a:extLst>
              <a:ext uri="{FF2B5EF4-FFF2-40B4-BE49-F238E27FC236}">
                <a16:creationId xmlns:a16="http://schemas.microsoft.com/office/drawing/2014/main" id="{A82587FF-E1CC-9686-B298-305219A0309D}"/>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BC4B48F5-F252-6DA6-0DA6-36476D7D462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4" name="Marcador de texto 14">
            <a:extLst>
              <a:ext uri="{FF2B5EF4-FFF2-40B4-BE49-F238E27FC236}">
                <a16:creationId xmlns:a16="http://schemas.microsoft.com/office/drawing/2014/main" id="{65775F8F-069D-EB08-BA69-E16F9ECFE8D7}"/>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2" name="Content Placeholder 4">
            <a:extLst>
              <a:ext uri="{FF2B5EF4-FFF2-40B4-BE49-F238E27FC236}">
                <a16:creationId xmlns:a16="http://schemas.microsoft.com/office/drawing/2014/main" id="{56C6A140-4505-0B42-72B9-5A6EBBF65E24}"/>
              </a:ext>
            </a:extLst>
          </p:cNvPr>
          <p:cNvSpPr>
            <a:spLocks noGrp="1"/>
          </p:cNvSpPr>
          <p:nvPr>
            <p:ph sz="quarter" idx="44" hasCustomPrompt="1"/>
          </p:nvPr>
        </p:nvSpPr>
        <p:spPr>
          <a:xfrm>
            <a:off x="693939" y="2541181"/>
            <a:ext cx="10984992" cy="3549156"/>
          </a:xfrm>
          <a:prstGeom prst="rect">
            <a:avLst/>
          </a:prstGeom>
        </p:spPr>
        <p:txBody>
          <a:bodyPr lIns="90000" rIns="0" bIns="0"/>
          <a:lstStyle>
            <a:lvl1pPr marL="228600" indent="-228600">
              <a:lnSpc>
                <a:spcPct val="100000"/>
              </a:lnSpc>
              <a:spcBef>
                <a:spcPts val="200"/>
              </a:spcBef>
              <a:spcAft>
                <a:spcPts val="200"/>
              </a:spcAft>
              <a:buClr>
                <a:schemeClr val="tx2"/>
              </a:buClr>
              <a:buFont typeface="Wingdings" panose="05000000000000000000" pitchFamily="2" charset="2"/>
              <a:buChar char="§"/>
              <a:defRPr sz="1000">
                <a:latin typeface="+mj-lt"/>
              </a:defRPr>
            </a:lvl1pPr>
            <a:lvl2pPr marL="444500" indent="-228600">
              <a:lnSpc>
                <a:spcPct val="100000"/>
              </a:lnSpc>
              <a:spcBef>
                <a:spcPts val="200"/>
              </a:spcBef>
              <a:spcAft>
                <a:spcPts val="200"/>
              </a:spcAft>
              <a:buClrTx/>
              <a:buFont typeface="Arial" panose="020B0604020202020204" pitchFamily="34" charset="0"/>
              <a:buChar char="–"/>
              <a:tabLst/>
              <a:defRPr sz="900">
                <a:latin typeface="+mj-lt"/>
              </a:defRPr>
            </a:lvl2pPr>
            <a:lvl3pPr marL="719138" indent="-228600">
              <a:lnSpc>
                <a:spcPct val="100000"/>
              </a:lnSpc>
              <a:spcBef>
                <a:spcPts val="200"/>
              </a:spcBef>
              <a:spcAft>
                <a:spcPts val="200"/>
              </a:spcAft>
              <a:buClrTx/>
              <a:buFont typeface="Arial" panose="020B0604020202020204" pitchFamily="34" charset="0"/>
              <a:buChar char="•"/>
              <a:defRPr sz="800">
                <a:latin typeface="+mj-lt"/>
              </a:defRPr>
            </a:lvl3pPr>
            <a:lvl4pPr marL="896938" indent="-228600">
              <a:lnSpc>
                <a:spcPct val="100000"/>
              </a:lnSpc>
              <a:spcBef>
                <a:spcPts val="200"/>
              </a:spcBef>
              <a:spcAft>
                <a:spcPts val="200"/>
              </a:spcAft>
              <a:buClrTx/>
              <a:buFont typeface="Arial" panose="020B0604020202020204" pitchFamily="34" charset="0"/>
              <a:buChar char="−"/>
              <a:defRPr sz="800">
                <a:latin typeface="+mj-lt"/>
              </a:defRPr>
            </a:lvl4pPr>
            <a:lvl5pPr marL="2057400" indent="-228600">
              <a:lnSpc>
                <a:spcPct val="100000"/>
              </a:lnSpc>
              <a:spcBef>
                <a:spcPts val="200"/>
              </a:spcBef>
              <a:spcAft>
                <a:spcPts val="200"/>
              </a:spcAft>
              <a:buClr>
                <a:schemeClr val="accent2">
                  <a:lumMod val="50000"/>
                </a:schemeClr>
              </a:buClr>
              <a:buFont typeface="Wingdings" panose="05000000000000000000" pitchFamily="2" charset="2"/>
              <a:buChar char="§"/>
              <a:defRPr sz="900">
                <a:latin typeface="+mn-lt"/>
              </a:defRPr>
            </a:lvl5pPr>
          </a:lstStyle>
          <a:p>
            <a:pPr lvl="0"/>
            <a:r>
              <a:rPr lang="en-US" noProof="0"/>
              <a:t>Edit master text styles (Santander headline 10)</a:t>
            </a:r>
          </a:p>
          <a:p>
            <a:pPr lvl="1"/>
            <a:r>
              <a:rPr lang="en-US" noProof="0"/>
              <a:t>Second level (Santander headline 9)</a:t>
            </a:r>
          </a:p>
          <a:p>
            <a:pPr lvl="2"/>
            <a:r>
              <a:rPr lang="en-US" noProof="0"/>
              <a:t>Third level (Santander headline 8)</a:t>
            </a:r>
          </a:p>
          <a:p>
            <a:pPr lvl="3"/>
            <a:r>
              <a:rPr lang="en-US" noProof="0"/>
              <a:t>Fourth level (Santander headline 8)</a:t>
            </a:r>
          </a:p>
        </p:txBody>
      </p:sp>
    </p:spTree>
    <p:extLst>
      <p:ext uri="{BB962C8B-B14F-4D97-AF65-F5344CB8AC3E}">
        <p14:creationId xmlns:p14="http://schemas.microsoft.com/office/powerpoint/2010/main" val="39906437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Header &amp; Content ">
    <p:spTree>
      <p:nvGrpSpPr>
        <p:cNvPr id="1" name=""/>
        <p:cNvGrpSpPr/>
        <p:nvPr/>
      </p:nvGrpSpPr>
      <p:grpSpPr>
        <a:xfrm>
          <a:off x="0" y="0"/>
          <a:ext cx="0" cy="0"/>
          <a:chOff x="0" y="0"/>
          <a:chExt cx="0" cy="0"/>
        </a:xfrm>
      </p:grpSpPr>
      <p:sp>
        <p:nvSpPr>
          <p:cNvPr id="13" name="Marcador de texto 14">
            <a:extLst>
              <a:ext uri="{FF2B5EF4-FFF2-40B4-BE49-F238E27FC236}">
                <a16:creationId xmlns:a16="http://schemas.microsoft.com/office/drawing/2014/main" id="{1DDF8130-4F62-1391-2E98-168864940019}"/>
              </a:ext>
            </a:extLst>
          </p:cNvPr>
          <p:cNvSpPr>
            <a:spLocks noGrp="1"/>
          </p:cNvSpPr>
          <p:nvPr>
            <p:ph type="body" sz="quarter" idx="45" hasCustomPrompt="1"/>
          </p:nvPr>
        </p:nvSpPr>
        <p:spPr>
          <a:xfrm>
            <a:off x="693939" y="1170281"/>
            <a:ext cx="3880237" cy="4922544"/>
          </a:xfrm>
          <a:prstGeom prst="rect">
            <a:avLst/>
          </a:prstGeom>
        </p:spPr>
        <p:txBody>
          <a:bodyPr wrap="square" lIns="90000" tIns="0" rIns="0" bIns="0" anchor="t">
            <a:noAutofit/>
          </a:bodyPr>
          <a:lstStyle>
            <a:lvl1pPr marL="0" indent="0" rtl="0">
              <a:buFontTx/>
              <a:buNone/>
              <a:defRPr sz="24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a:t>
            </a:r>
            <a:br>
              <a:rPr lang="en-US" noProof="0"/>
            </a:br>
            <a:r>
              <a:rPr lang="en-US" noProof="0"/>
              <a:t>(Santander headline 24)</a:t>
            </a:r>
          </a:p>
        </p:txBody>
      </p:sp>
      <p:sp>
        <p:nvSpPr>
          <p:cNvPr id="10" name="Marcador de texto 26">
            <a:extLst>
              <a:ext uri="{FF2B5EF4-FFF2-40B4-BE49-F238E27FC236}">
                <a16:creationId xmlns:a16="http://schemas.microsoft.com/office/drawing/2014/main" id="{9F9F7585-4C48-7D0A-32D0-503E9C597F2D}"/>
              </a:ext>
            </a:extLst>
          </p:cNvPr>
          <p:cNvSpPr>
            <a:spLocks noGrp="1"/>
          </p:cNvSpPr>
          <p:nvPr>
            <p:ph type="body" sz="quarter" idx="46" hasCustomPrompt="1"/>
          </p:nvPr>
        </p:nvSpPr>
        <p:spPr>
          <a:xfrm>
            <a:off x="4785360" y="1152000"/>
            <a:ext cx="6910654" cy="4940826"/>
          </a:xfrm>
          <a:prstGeom prst="rect">
            <a:avLst/>
          </a:prstGeom>
        </p:spPr>
        <p:txBody>
          <a:bodyPr/>
          <a:lstStyle>
            <a:lvl1pPr marL="228600" indent="-228600">
              <a:lnSpc>
                <a:spcPct val="100000"/>
              </a:lnSpc>
              <a:spcBef>
                <a:spcPts val="0"/>
              </a:spcBef>
              <a:spcAft>
                <a:spcPts val="1100"/>
              </a:spcAft>
              <a:buClr>
                <a:schemeClr val="tx2"/>
              </a:buClr>
              <a:buFont typeface="Wingdings" panose="05000000000000000000" pitchFamily="2" charset="2"/>
              <a:buChar char="§"/>
              <a:defRPr sz="1000">
                <a:latin typeface="+mj-lt"/>
              </a:defRPr>
            </a:lvl1pPr>
            <a:lvl2pPr marL="446400" indent="-228600">
              <a:lnSpc>
                <a:spcPct val="100000"/>
              </a:lnSpc>
              <a:spcBef>
                <a:spcPts val="0"/>
              </a:spcBef>
              <a:spcAft>
                <a:spcPts val="1000"/>
              </a:spcAft>
              <a:buFont typeface="Santander Text" panose="020B0504020201020104" pitchFamily="34" charset="0"/>
              <a:buChar char="–"/>
              <a:defRPr sz="900">
                <a:latin typeface="+mj-lt"/>
              </a:defRPr>
            </a:lvl2pPr>
            <a:lvl3pPr marL="720000">
              <a:lnSpc>
                <a:spcPct val="100000"/>
              </a:lnSpc>
              <a:spcBef>
                <a:spcPts val="0"/>
              </a:spcBef>
              <a:spcAft>
                <a:spcPts val="800"/>
              </a:spcAft>
              <a:defRPr sz="800">
                <a:latin typeface="+mj-lt"/>
              </a:defRPr>
            </a:lvl3pPr>
            <a:lvl4pPr marL="896400" indent="-228600">
              <a:lnSpc>
                <a:spcPct val="100000"/>
              </a:lnSpc>
              <a:spcBef>
                <a:spcPts val="0"/>
              </a:spcBef>
              <a:spcAft>
                <a:spcPts val="700"/>
              </a:spcAft>
              <a:buFont typeface="Santander Text" panose="020B0504020201020104" pitchFamily="34" charset="0"/>
              <a:buChar char="–"/>
              <a:defRPr sz="800">
                <a:latin typeface="+mj-lt"/>
              </a:defRPr>
            </a:lvl4pPr>
            <a:lvl5pPr>
              <a:defRPr sz="1100"/>
            </a:lvl5pPr>
          </a:lstStyle>
          <a:p>
            <a:pPr lvl="0"/>
            <a:r>
              <a:rPr lang="en-US" noProof="0"/>
              <a:t>Edit master text styles (Santander headline 10)</a:t>
            </a:r>
          </a:p>
          <a:p>
            <a:pPr lvl="1"/>
            <a:r>
              <a:rPr lang="en-US" noProof="0"/>
              <a:t>Second level (Santander headline 9)</a:t>
            </a:r>
          </a:p>
          <a:p>
            <a:pPr lvl="2"/>
            <a:r>
              <a:rPr lang="en-US" noProof="0"/>
              <a:t>Third level (Santander headline 8)</a:t>
            </a:r>
          </a:p>
          <a:p>
            <a:pPr lvl="3"/>
            <a:r>
              <a:rPr lang="en-US" noProof="0"/>
              <a:t>Fourth level (Santander headline 8)</a:t>
            </a:r>
          </a:p>
        </p:txBody>
      </p:sp>
      <p:sp>
        <p:nvSpPr>
          <p:cNvPr id="8" name="Marcador de número de diapositiva 5">
            <a:extLst>
              <a:ext uri="{FF2B5EF4-FFF2-40B4-BE49-F238E27FC236}">
                <a16:creationId xmlns:a16="http://schemas.microsoft.com/office/drawing/2014/main" id="{11A0700A-B6EC-F958-908E-4D2AE283AECA}"/>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9" name="Footnotes">
            <a:extLst>
              <a:ext uri="{FF2B5EF4-FFF2-40B4-BE49-F238E27FC236}">
                <a16:creationId xmlns:a16="http://schemas.microsoft.com/office/drawing/2014/main" id="{E4F8B927-B8D9-6993-3154-656F8EB709C6}"/>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0E1B2060-884F-AF68-974A-67AE260130B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4" name="Marcador de texto 14">
            <a:extLst>
              <a:ext uri="{FF2B5EF4-FFF2-40B4-BE49-F238E27FC236}">
                <a16:creationId xmlns:a16="http://schemas.microsoft.com/office/drawing/2014/main" id="{DD5EF8B4-6532-C5FA-002C-3A643FE7952B}"/>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22261816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Header &amp; Content Chart">
    <p:spTree>
      <p:nvGrpSpPr>
        <p:cNvPr id="1" name=""/>
        <p:cNvGrpSpPr/>
        <p:nvPr/>
      </p:nvGrpSpPr>
      <p:grpSpPr>
        <a:xfrm>
          <a:off x="0" y="0"/>
          <a:ext cx="0" cy="0"/>
          <a:chOff x="0" y="0"/>
          <a:chExt cx="0" cy="0"/>
        </a:xfrm>
      </p:grpSpPr>
      <p:sp>
        <p:nvSpPr>
          <p:cNvPr id="2" name="Marcador de gráfico 5">
            <a:extLst>
              <a:ext uri="{FF2B5EF4-FFF2-40B4-BE49-F238E27FC236}">
                <a16:creationId xmlns:a16="http://schemas.microsoft.com/office/drawing/2014/main" id="{529B46C8-DFA6-32ED-F996-821FA55E2991}"/>
              </a:ext>
            </a:extLst>
          </p:cNvPr>
          <p:cNvSpPr>
            <a:spLocks noGrp="1"/>
          </p:cNvSpPr>
          <p:nvPr>
            <p:ph type="chart" sz="quarter" idx="17" hasCustomPrompt="1"/>
          </p:nvPr>
        </p:nvSpPr>
        <p:spPr>
          <a:xfrm>
            <a:off x="4797424" y="1170281"/>
            <a:ext cx="6881505" cy="4922544"/>
          </a:xfrm>
          <a:prstGeom prst="rect">
            <a:avLst/>
          </a:prstGeom>
        </p:spPr>
        <p:txBody>
          <a:bodyPr>
            <a:normAutofit/>
          </a:bodyPr>
          <a:lstStyle>
            <a:lvl1pPr marL="0" indent="0" algn="ctr">
              <a:lnSpc>
                <a:spcPct val="120000"/>
              </a:lnSpc>
              <a:spcBef>
                <a:spcPts val="0"/>
              </a:spcBef>
              <a:buNone/>
              <a:defRPr sz="1100">
                <a:solidFill>
                  <a:schemeClr val="tx1"/>
                </a:solidFill>
                <a:latin typeface="+mj-lt"/>
              </a:defRPr>
            </a:lvl1pPr>
          </a:lstStyle>
          <a:p>
            <a:r>
              <a:rPr lang="es-ES" err="1"/>
              <a:t>Insert</a:t>
            </a:r>
            <a:r>
              <a:rPr lang="es-ES"/>
              <a:t> </a:t>
            </a:r>
            <a:r>
              <a:rPr lang="es-ES" err="1"/>
              <a:t>graphic</a:t>
            </a:r>
            <a:r>
              <a:rPr lang="es-ES"/>
              <a:t> </a:t>
            </a:r>
            <a:r>
              <a:rPr lang="es-ES" err="1"/>
              <a:t>here</a:t>
            </a:r>
            <a:endParaRPr lang="es-ES"/>
          </a:p>
        </p:txBody>
      </p:sp>
      <p:sp>
        <p:nvSpPr>
          <p:cNvPr id="7" name="Marcador de texto 26">
            <a:extLst>
              <a:ext uri="{FF2B5EF4-FFF2-40B4-BE49-F238E27FC236}">
                <a16:creationId xmlns:a16="http://schemas.microsoft.com/office/drawing/2014/main" id="{9F9F7585-4C48-7D0A-32D0-503E9C597F2D}"/>
              </a:ext>
            </a:extLst>
          </p:cNvPr>
          <p:cNvSpPr>
            <a:spLocks noGrp="1"/>
          </p:cNvSpPr>
          <p:nvPr>
            <p:ph type="body" sz="quarter" idx="46" hasCustomPrompt="1"/>
          </p:nvPr>
        </p:nvSpPr>
        <p:spPr>
          <a:xfrm>
            <a:off x="711023" y="3093563"/>
            <a:ext cx="3849757" cy="2999262"/>
          </a:xfrm>
          <a:prstGeom prst="rect">
            <a:avLst/>
          </a:prstGeom>
        </p:spPr>
        <p:txBody>
          <a:bodyPr/>
          <a:lstStyle>
            <a:lvl1pPr marL="228600" indent="-228600">
              <a:lnSpc>
                <a:spcPct val="100000"/>
              </a:lnSpc>
              <a:spcBef>
                <a:spcPts val="0"/>
              </a:spcBef>
              <a:spcAft>
                <a:spcPts val="1100"/>
              </a:spcAft>
              <a:buClr>
                <a:schemeClr val="tx2"/>
              </a:buClr>
              <a:buFont typeface="Wingdings" panose="05000000000000000000" pitchFamily="2" charset="2"/>
              <a:buChar char="§"/>
              <a:defRPr sz="1000">
                <a:latin typeface="+mj-lt"/>
              </a:defRPr>
            </a:lvl1pPr>
            <a:lvl2pPr marL="446400" indent="-228600">
              <a:lnSpc>
                <a:spcPct val="100000"/>
              </a:lnSpc>
              <a:spcBef>
                <a:spcPts val="0"/>
              </a:spcBef>
              <a:spcAft>
                <a:spcPts val="1000"/>
              </a:spcAft>
              <a:buFont typeface="Santander Text" panose="020B0504020201020104" pitchFamily="34" charset="0"/>
              <a:buChar char="–"/>
              <a:defRPr sz="900">
                <a:latin typeface="+mj-lt"/>
              </a:defRPr>
            </a:lvl2pPr>
            <a:lvl3pPr marL="720000">
              <a:lnSpc>
                <a:spcPct val="100000"/>
              </a:lnSpc>
              <a:spcBef>
                <a:spcPts val="0"/>
              </a:spcBef>
              <a:spcAft>
                <a:spcPts val="800"/>
              </a:spcAft>
              <a:defRPr sz="800">
                <a:latin typeface="+mj-lt"/>
              </a:defRPr>
            </a:lvl3pPr>
            <a:lvl4pPr marL="896400" indent="-228600">
              <a:lnSpc>
                <a:spcPct val="100000"/>
              </a:lnSpc>
              <a:spcBef>
                <a:spcPts val="0"/>
              </a:spcBef>
              <a:spcAft>
                <a:spcPts val="700"/>
              </a:spcAft>
              <a:buFont typeface="Santander Text" panose="020B0504020201020104" pitchFamily="34" charset="0"/>
              <a:buChar char="–"/>
              <a:defRPr sz="800">
                <a:latin typeface="+mj-lt"/>
              </a:defRPr>
            </a:lvl4pPr>
            <a:lvl5pPr>
              <a:defRPr sz="1100"/>
            </a:lvl5pPr>
          </a:lstStyle>
          <a:p>
            <a:pPr lvl="0"/>
            <a:r>
              <a:rPr lang="en-US" noProof="0"/>
              <a:t>Edit master text styles (Santander headline 10)</a:t>
            </a:r>
          </a:p>
          <a:p>
            <a:pPr lvl="1"/>
            <a:r>
              <a:rPr lang="en-US" noProof="0"/>
              <a:t>Second level (Santander headline 9)</a:t>
            </a:r>
          </a:p>
          <a:p>
            <a:pPr lvl="2"/>
            <a:r>
              <a:rPr lang="en-US" noProof="0"/>
              <a:t>Third level (Santander headline 8)</a:t>
            </a:r>
          </a:p>
          <a:p>
            <a:pPr lvl="3"/>
            <a:r>
              <a:rPr lang="en-US" noProof="0"/>
              <a:t>Fourth level (Santander headline 8)</a:t>
            </a:r>
          </a:p>
        </p:txBody>
      </p:sp>
      <p:sp>
        <p:nvSpPr>
          <p:cNvPr id="8" name="Marcador de texto 14">
            <a:extLst>
              <a:ext uri="{FF2B5EF4-FFF2-40B4-BE49-F238E27FC236}">
                <a16:creationId xmlns:a16="http://schemas.microsoft.com/office/drawing/2014/main" id="{1DDF8130-4F62-1391-2E98-168864940019}"/>
              </a:ext>
            </a:extLst>
          </p:cNvPr>
          <p:cNvSpPr>
            <a:spLocks noGrp="1"/>
          </p:cNvSpPr>
          <p:nvPr>
            <p:ph type="body" sz="quarter" idx="45" hasCustomPrompt="1"/>
          </p:nvPr>
        </p:nvSpPr>
        <p:spPr>
          <a:xfrm>
            <a:off x="693939" y="1170281"/>
            <a:ext cx="3880237" cy="1523223"/>
          </a:xfrm>
          <a:prstGeom prst="rect">
            <a:avLst/>
          </a:prstGeom>
        </p:spPr>
        <p:txBody>
          <a:bodyPr wrap="square" lIns="90000" tIns="0" rIns="0" bIns="0" anchor="t">
            <a:noAutofit/>
          </a:bodyPr>
          <a:lstStyle>
            <a:lvl1pPr marL="0" indent="0" rtl="0">
              <a:buFontTx/>
              <a:buNone/>
              <a:defRPr sz="24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a:t>
            </a:r>
            <a:br>
              <a:rPr lang="en-US" noProof="0"/>
            </a:br>
            <a:r>
              <a:rPr lang="en-US" noProof="0"/>
              <a:t>(Santander headline 24)</a:t>
            </a:r>
          </a:p>
        </p:txBody>
      </p:sp>
      <p:sp>
        <p:nvSpPr>
          <p:cNvPr id="11" name="Marcador de número de diapositiva 5">
            <a:extLst>
              <a:ext uri="{FF2B5EF4-FFF2-40B4-BE49-F238E27FC236}">
                <a16:creationId xmlns:a16="http://schemas.microsoft.com/office/drawing/2014/main" id="{433BEE30-D65F-E527-0951-054E195342AA}"/>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12" name="Footnotes">
            <a:extLst>
              <a:ext uri="{FF2B5EF4-FFF2-40B4-BE49-F238E27FC236}">
                <a16:creationId xmlns:a16="http://schemas.microsoft.com/office/drawing/2014/main" id="{ECEA3B29-FC40-F535-CC52-A64752A6E39A}"/>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2D42CA04-7CD5-C398-E706-B4D24FA968E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5" name="Marcador de texto 14">
            <a:extLst>
              <a:ext uri="{FF2B5EF4-FFF2-40B4-BE49-F238E27FC236}">
                <a16:creationId xmlns:a16="http://schemas.microsoft.com/office/drawing/2014/main" id="{A5A8378D-AB31-5377-EB7C-D453C9EE2958}"/>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30081151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7_Header &amp; Content tab2">
    <p:spTree>
      <p:nvGrpSpPr>
        <p:cNvPr id="1" name=""/>
        <p:cNvGrpSpPr/>
        <p:nvPr/>
      </p:nvGrpSpPr>
      <p:grpSpPr>
        <a:xfrm>
          <a:off x="0" y="0"/>
          <a:ext cx="0" cy="0"/>
          <a:chOff x="0" y="0"/>
          <a:chExt cx="0" cy="0"/>
        </a:xfrm>
      </p:grpSpPr>
      <p:sp>
        <p:nvSpPr>
          <p:cNvPr id="7" name="Marcador de texto 26">
            <a:extLst>
              <a:ext uri="{FF2B5EF4-FFF2-40B4-BE49-F238E27FC236}">
                <a16:creationId xmlns:a16="http://schemas.microsoft.com/office/drawing/2014/main" id="{9F9F7585-4C48-7D0A-32D0-503E9C597F2D}"/>
              </a:ext>
            </a:extLst>
          </p:cNvPr>
          <p:cNvSpPr>
            <a:spLocks noGrp="1"/>
          </p:cNvSpPr>
          <p:nvPr>
            <p:ph type="body" sz="quarter" idx="46" hasCustomPrompt="1"/>
          </p:nvPr>
        </p:nvSpPr>
        <p:spPr>
          <a:xfrm>
            <a:off x="711023" y="3093563"/>
            <a:ext cx="3849757" cy="2999262"/>
          </a:xfrm>
          <a:prstGeom prst="rect">
            <a:avLst/>
          </a:prstGeom>
        </p:spPr>
        <p:txBody>
          <a:bodyPr/>
          <a:lstStyle>
            <a:lvl1pPr marL="228600" indent="-228600">
              <a:lnSpc>
                <a:spcPct val="100000"/>
              </a:lnSpc>
              <a:spcBef>
                <a:spcPts val="0"/>
              </a:spcBef>
              <a:spcAft>
                <a:spcPts val="1100"/>
              </a:spcAft>
              <a:buClr>
                <a:schemeClr val="tx2"/>
              </a:buClr>
              <a:buFont typeface="Wingdings" panose="05000000000000000000" pitchFamily="2" charset="2"/>
              <a:buChar char="§"/>
              <a:defRPr sz="1000">
                <a:latin typeface="+mj-lt"/>
              </a:defRPr>
            </a:lvl1pPr>
            <a:lvl2pPr marL="446400" indent="-228600">
              <a:lnSpc>
                <a:spcPct val="100000"/>
              </a:lnSpc>
              <a:spcBef>
                <a:spcPts val="0"/>
              </a:spcBef>
              <a:spcAft>
                <a:spcPts val="1000"/>
              </a:spcAft>
              <a:buFont typeface="Santander Text" panose="020B0504020201020104" pitchFamily="34" charset="0"/>
              <a:buChar char="–"/>
              <a:defRPr sz="900">
                <a:latin typeface="+mj-lt"/>
              </a:defRPr>
            </a:lvl2pPr>
            <a:lvl3pPr marL="720000">
              <a:lnSpc>
                <a:spcPct val="100000"/>
              </a:lnSpc>
              <a:spcBef>
                <a:spcPts val="0"/>
              </a:spcBef>
              <a:spcAft>
                <a:spcPts val="800"/>
              </a:spcAft>
              <a:defRPr sz="800">
                <a:latin typeface="+mj-lt"/>
              </a:defRPr>
            </a:lvl3pPr>
            <a:lvl4pPr marL="896400" indent="-228600">
              <a:lnSpc>
                <a:spcPct val="100000"/>
              </a:lnSpc>
              <a:spcBef>
                <a:spcPts val="0"/>
              </a:spcBef>
              <a:spcAft>
                <a:spcPts val="700"/>
              </a:spcAft>
              <a:buFont typeface="Santander Text" panose="020B0504020201020104" pitchFamily="34" charset="0"/>
              <a:buChar char="–"/>
              <a:defRPr sz="800">
                <a:latin typeface="+mj-lt"/>
              </a:defRPr>
            </a:lvl4pPr>
            <a:lvl5pPr>
              <a:defRPr sz="1100"/>
            </a:lvl5pPr>
          </a:lstStyle>
          <a:p>
            <a:pPr lvl="0"/>
            <a:r>
              <a:rPr lang="en-US" noProof="0"/>
              <a:t>Edit master text styles (Santander headline 10)</a:t>
            </a:r>
          </a:p>
          <a:p>
            <a:pPr lvl="1"/>
            <a:r>
              <a:rPr lang="en-US" noProof="0"/>
              <a:t>Second level (Santander headline 9)</a:t>
            </a:r>
          </a:p>
          <a:p>
            <a:pPr lvl="2"/>
            <a:r>
              <a:rPr lang="en-US" noProof="0"/>
              <a:t>Third level (Santander headline 8)</a:t>
            </a:r>
          </a:p>
          <a:p>
            <a:pPr lvl="3"/>
            <a:r>
              <a:rPr lang="en-US" noProof="0"/>
              <a:t>Fourth level (Santander headline 8)</a:t>
            </a:r>
          </a:p>
          <a:p>
            <a:pPr lvl="3"/>
            <a:endParaRPr lang="es-ES"/>
          </a:p>
        </p:txBody>
      </p:sp>
      <p:sp>
        <p:nvSpPr>
          <p:cNvPr id="8" name="Marcador de texto 14">
            <a:extLst>
              <a:ext uri="{FF2B5EF4-FFF2-40B4-BE49-F238E27FC236}">
                <a16:creationId xmlns:a16="http://schemas.microsoft.com/office/drawing/2014/main" id="{1DDF8130-4F62-1391-2E98-168864940019}"/>
              </a:ext>
            </a:extLst>
          </p:cNvPr>
          <p:cNvSpPr>
            <a:spLocks noGrp="1"/>
          </p:cNvSpPr>
          <p:nvPr>
            <p:ph type="body" sz="quarter" idx="45" hasCustomPrompt="1"/>
          </p:nvPr>
        </p:nvSpPr>
        <p:spPr>
          <a:xfrm>
            <a:off x="693939" y="1170281"/>
            <a:ext cx="3880237" cy="1523223"/>
          </a:xfrm>
          <a:prstGeom prst="rect">
            <a:avLst/>
          </a:prstGeom>
        </p:spPr>
        <p:txBody>
          <a:bodyPr wrap="square" lIns="90000" tIns="0" rIns="0" bIns="0" anchor="t">
            <a:noAutofit/>
          </a:bodyPr>
          <a:lstStyle>
            <a:lvl1pPr marL="0" indent="0" rtl="0">
              <a:buFontTx/>
              <a:buNone/>
              <a:defRPr sz="24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a:t>
            </a:r>
            <a:br>
              <a:rPr lang="en-US" noProof="0"/>
            </a:br>
            <a:r>
              <a:rPr lang="en-US" noProof="0"/>
              <a:t>(Santander headline 24)</a:t>
            </a:r>
          </a:p>
        </p:txBody>
      </p:sp>
      <p:sp>
        <p:nvSpPr>
          <p:cNvPr id="10" name="Marcador de texto 26">
            <a:extLst>
              <a:ext uri="{FF2B5EF4-FFF2-40B4-BE49-F238E27FC236}">
                <a16:creationId xmlns:a16="http://schemas.microsoft.com/office/drawing/2014/main" id="{083714D1-8642-6CBE-153A-EB2CB7B2173C}"/>
              </a:ext>
            </a:extLst>
          </p:cNvPr>
          <p:cNvSpPr>
            <a:spLocks noGrp="1"/>
          </p:cNvSpPr>
          <p:nvPr>
            <p:ph type="body" sz="quarter" idx="47"/>
          </p:nvPr>
        </p:nvSpPr>
        <p:spPr>
          <a:xfrm>
            <a:off x="4804053" y="1168969"/>
            <a:ext cx="6881505" cy="337614"/>
          </a:xfrm>
          <a:prstGeom prst="rect">
            <a:avLst/>
          </a:prstGeom>
        </p:spPr>
        <p:txBody>
          <a:bodyPr/>
          <a:lstStyle>
            <a:lvl1pPr marL="0" indent="0">
              <a:lnSpc>
                <a:spcPct val="100000"/>
              </a:lnSpc>
              <a:spcBef>
                <a:spcPts val="0"/>
              </a:spcBef>
              <a:spcAft>
                <a:spcPts val="1100"/>
              </a:spcAft>
              <a:buClr>
                <a:schemeClr val="tx2"/>
              </a:buClr>
              <a:buFont typeface="Wingdings" panose="05000000000000000000" pitchFamily="2" charset="2"/>
              <a:buNone/>
              <a:defRPr sz="1200">
                <a:latin typeface="+mj-lt"/>
              </a:defRPr>
            </a:lvl1pPr>
            <a:lvl2pPr marL="217800" indent="0">
              <a:lnSpc>
                <a:spcPct val="100000"/>
              </a:lnSpc>
              <a:spcBef>
                <a:spcPts val="0"/>
              </a:spcBef>
              <a:spcAft>
                <a:spcPts val="1000"/>
              </a:spcAft>
              <a:buFont typeface="Santander Text" panose="020B0504020201020104" pitchFamily="34" charset="0"/>
              <a:buNone/>
              <a:defRPr sz="1050"/>
            </a:lvl2pPr>
            <a:lvl3pPr marL="720000">
              <a:lnSpc>
                <a:spcPct val="100000"/>
              </a:lnSpc>
              <a:spcBef>
                <a:spcPts val="0"/>
              </a:spcBef>
              <a:spcAft>
                <a:spcPts val="800"/>
              </a:spcAft>
              <a:defRPr sz="900"/>
            </a:lvl3pPr>
            <a:lvl4pPr marL="896400" indent="-228600">
              <a:lnSpc>
                <a:spcPct val="100000"/>
              </a:lnSpc>
              <a:spcBef>
                <a:spcPts val="0"/>
              </a:spcBef>
              <a:spcAft>
                <a:spcPts val="700"/>
              </a:spcAft>
              <a:buFont typeface="Santander Text" panose="020B0504020201020104" pitchFamily="34" charset="0"/>
              <a:buChar char="–"/>
              <a:defRPr sz="900"/>
            </a:lvl4pPr>
            <a:lvl5pPr>
              <a:defRPr sz="1100"/>
            </a:lvl5pPr>
          </a:lstStyle>
          <a:p>
            <a:pPr lvl="0"/>
            <a:endParaRPr lang="es-ES"/>
          </a:p>
        </p:txBody>
      </p:sp>
      <p:sp>
        <p:nvSpPr>
          <p:cNvPr id="13" name="Marcador de tabla 11">
            <a:extLst>
              <a:ext uri="{FF2B5EF4-FFF2-40B4-BE49-F238E27FC236}">
                <a16:creationId xmlns:a16="http://schemas.microsoft.com/office/drawing/2014/main" id="{CCF4157A-5B02-7C4C-AD47-677012FB2068}"/>
              </a:ext>
            </a:extLst>
          </p:cNvPr>
          <p:cNvSpPr>
            <a:spLocks noGrp="1"/>
          </p:cNvSpPr>
          <p:nvPr>
            <p:ph type="tbl" sz="quarter" idx="48" hasCustomPrompt="1"/>
          </p:nvPr>
        </p:nvSpPr>
        <p:spPr>
          <a:xfrm>
            <a:off x="4797425" y="1576251"/>
            <a:ext cx="6888164" cy="4516574"/>
          </a:xfrm>
          <a:prstGeom prst="rect">
            <a:avLst/>
          </a:prstGeom>
        </p:spPr>
        <p:txBody>
          <a:bodyPr/>
          <a:lstStyle>
            <a:lvl1pPr marL="0" indent="0" algn="ctr">
              <a:buNone/>
              <a:defRPr sz="1400">
                <a:latin typeface="+mj-lt"/>
              </a:defRPr>
            </a:lvl1pPr>
          </a:lstStyle>
          <a:p>
            <a:r>
              <a:rPr lang="es-ES" err="1"/>
              <a:t>Insert</a:t>
            </a:r>
            <a:r>
              <a:rPr lang="es-ES"/>
              <a:t> </a:t>
            </a:r>
            <a:r>
              <a:rPr lang="es-ES" err="1"/>
              <a:t>Tab</a:t>
            </a:r>
            <a:r>
              <a:rPr lang="es-ES"/>
              <a:t> Here</a:t>
            </a:r>
          </a:p>
        </p:txBody>
      </p:sp>
      <p:sp>
        <p:nvSpPr>
          <p:cNvPr id="11" name="Marcador de número de diapositiva 5">
            <a:extLst>
              <a:ext uri="{FF2B5EF4-FFF2-40B4-BE49-F238E27FC236}">
                <a16:creationId xmlns:a16="http://schemas.microsoft.com/office/drawing/2014/main" id="{C40C2F34-B11D-DB12-A470-F260351D7A64}"/>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12" name="Footnotes">
            <a:extLst>
              <a:ext uri="{FF2B5EF4-FFF2-40B4-BE49-F238E27FC236}">
                <a16:creationId xmlns:a16="http://schemas.microsoft.com/office/drawing/2014/main" id="{349FFB45-9908-01AE-B603-0F1B68C50F9C}"/>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07B24B0A-2C68-2798-D689-7D4B85A2AE1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4" name="Marcador de texto 14">
            <a:extLst>
              <a:ext uri="{FF2B5EF4-FFF2-40B4-BE49-F238E27FC236}">
                <a16:creationId xmlns:a16="http://schemas.microsoft.com/office/drawing/2014/main" id="{3EC61687-795E-9A09-D389-C243678DC868}"/>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4179325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8_Header &amp; Content Brand">
    <p:spTree>
      <p:nvGrpSpPr>
        <p:cNvPr id="1" name=""/>
        <p:cNvGrpSpPr/>
        <p:nvPr/>
      </p:nvGrpSpPr>
      <p:grpSpPr>
        <a:xfrm>
          <a:off x="0" y="0"/>
          <a:ext cx="0" cy="0"/>
          <a:chOff x="0" y="0"/>
          <a:chExt cx="0" cy="0"/>
        </a:xfrm>
      </p:grpSpPr>
      <p:sp>
        <p:nvSpPr>
          <p:cNvPr id="17" name="Marcador de texto 15">
            <a:extLst>
              <a:ext uri="{FF2B5EF4-FFF2-40B4-BE49-F238E27FC236}">
                <a16:creationId xmlns:a16="http://schemas.microsoft.com/office/drawing/2014/main" id="{033D4F49-9143-7DF6-6B8C-FABF60B152C6}"/>
              </a:ext>
            </a:extLst>
          </p:cNvPr>
          <p:cNvSpPr>
            <a:spLocks noGrp="1"/>
          </p:cNvSpPr>
          <p:nvPr>
            <p:ph type="body" sz="quarter" idx="50" hasCustomPrompt="1"/>
          </p:nvPr>
        </p:nvSpPr>
        <p:spPr>
          <a:xfrm>
            <a:off x="689294" y="1461052"/>
            <a:ext cx="4303491" cy="4522305"/>
          </a:xfrm>
          <a:prstGeom prst="rect">
            <a:avLst/>
          </a:prstGeom>
        </p:spPr>
        <p:txBody>
          <a:bodyPr/>
          <a:lstStyle>
            <a:lvl1pPr marL="0" indent="0">
              <a:spcBef>
                <a:spcPts val="0"/>
              </a:spcBef>
              <a:spcAft>
                <a:spcPts val="600"/>
              </a:spcAft>
              <a:buNone/>
              <a:defRPr sz="1400" b="1">
                <a:solidFill>
                  <a:srgbClr val="FF0000"/>
                </a:solidFill>
                <a:latin typeface="Santander Headline" panose="020B0504020201020104" pitchFamily="34" charset="0"/>
              </a:defRPr>
            </a:lvl1pPr>
            <a:lvl2pPr marL="0" indent="0">
              <a:spcBef>
                <a:spcPts val="0"/>
              </a:spcBef>
              <a:spcAft>
                <a:spcPts val="1200"/>
              </a:spcAft>
              <a:buNone/>
              <a:defRPr sz="3200">
                <a:solidFill>
                  <a:srgbClr val="FF0000"/>
                </a:solidFill>
                <a:latin typeface="Santander Headline" panose="020B0504020201020104" pitchFamily="34" charset="0"/>
              </a:defRPr>
            </a:lvl2pPr>
            <a:lvl3pPr marL="0" indent="0">
              <a:spcBef>
                <a:spcPts val="0"/>
              </a:spcBef>
              <a:spcAft>
                <a:spcPts val="1200"/>
              </a:spcAft>
              <a:buNone/>
              <a:defRPr sz="1000">
                <a:solidFill>
                  <a:schemeClr val="tx1"/>
                </a:solidFill>
                <a:latin typeface="+mj-lt"/>
              </a:defRPr>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grpSp>
        <p:nvGrpSpPr>
          <p:cNvPr id="41" name="Grupo 40">
            <a:extLst>
              <a:ext uri="{FF2B5EF4-FFF2-40B4-BE49-F238E27FC236}">
                <a16:creationId xmlns:a16="http://schemas.microsoft.com/office/drawing/2014/main" id="{2621983E-9F22-6410-7F4E-DC081DBE9122}"/>
              </a:ext>
            </a:extLst>
          </p:cNvPr>
          <p:cNvGrpSpPr/>
          <p:nvPr userDrawn="1"/>
        </p:nvGrpSpPr>
        <p:grpSpPr>
          <a:xfrm>
            <a:off x="6852616" y="2137456"/>
            <a:ext cx="2888653" cy="3947621"/>
            <a:chOff x="7135439" y="1913946"/>
            <a:chExt cx="2675828" cy="3656775"/>
          </a:xfrm>
        </p:grpSpPr>
        <p:sp>
          <p:nvSpPr>
            <p:cNvPr id="21" name="Forma libre: forma 20">
              <a:extLst>
                <a:ext uri="{FF2B5EF4-FFF2-40B4-BE49-F238E27FC236}">
                  <a16:creationId xmlns:a16="http://schemas.microsoft.com/office/drawing/2014/main" id="{B8985875-FBE0-CBF6-3330-66718687C112}"/>
                </a:ext>
              </a:extLst>
            </p:cNvPr>
            <p:cNvSpPr/>
            <p:nvPr userDrawn="1"/>
          </p:nvSpPr>
          <p:spPr>
            <a:xfrm rot="16200000">
              <a:off x="7174395" y="3254673"/>
              <a:ext cx="1290002" cy="1233191"/>
            </a:xfrm>
            <a:custGeom>
              <a:avLst/>
              <a:gdLst>
                <a:gd name="connsiteX0" fmla="*/ 0 w 1290002"/>
                <a:gd name="connsiteY0" fmla="*/ 0 h 1233191"/>
                <a:gd name="connsiteX1" fmla="*/ 270874 w 1290002"/>
                <a:gd name="connsiteY1" fmla="*/ 0 h 1233191"/>
                <a:gd name="connsiteX2" fmla="*/ 270874 w 1290002"/>
                <a:gd name="connsiteY2" fmla="*/ 1 h 1233191"/>
                <a:gd name="connsiteX3" fmla="*/ 1233191 w 1290002"/>
                <a:gd name="connsiteY3" fmla="*/ 1 h 1233191"/>
                <a:gd name="connsiteX4" fmla="*/ 1233191 w 1290002"/>
                <a:gd name="connsiteY4" fmla="*/ 1 h 1233191"/>
                <a:gd name="connsiteX5" fmla="*/ 1246452 w 1290002"/>
                <a:gd name="connsiteY5" fmla="*/ 1 h 1233191"/>
                <a:gd name="connsiteX6" fmla="*/ 1290002 w 1290002"/>
                <a:gd name="connsiteY6" fmla="*/ 135422 h 1233191"/>
                <a:gd name="connsiteX7" fmla="*/ 1246452 w 1290002"/>
                <a:gd name="connsiteY7" fmla="*/ 270843 h 1233191"/>
                <a:gd name="connsiteX8" fmla="*/ 1233191 w 1290002"/>
                <a:gd name="connsiteY8" fmla="*/ 270843 h 1233191"/>
                <a:gd name="connsiteX9" fmla="*/ 1233191 w 1290002"/>
                <a:gd name="connsiteY9" fmla="*/ 270875 h 1233191"/>
                <a:gd name="connsiteX10" fmla="*/ 270874 w 1290002"/>
                <a:gd name="connsiteY10" fmla="*/ 270875 h 1233191"/>
                <a:gd name="connsiteX11" fmla="*/ 270874 w 1290002"/>
                <a:gd name="connsiteY11" fmla="*/ 1233191 h 1233191"/>
                <a:gd name="connsiteX12" fmla="*/ 0 w 1290002"/>
                <a:gd name="connsiteY12" fmla="*/ 1233191 h 123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0002" h="1233191">
                  <a:moveTo>
                    <a:pt x="0" y="0"/>
                  </a:moveTo>
                  <a:lnTo>
                    <a:pt x="270874" y="0"/>
                  </a:lnTo>
                  <a:lnTo>
                    <a:pt x="270874" y="1"/>
                  </a:lnTo>
                  <a:lnTo>
                    <a:pt x="1233191" y="1"/>
                  </a:lnTo>
                  <a:lnTo>
                    <a:pt x="1233191" y="1"/>
                  </a:lnTo>
                  <a:lnTo>
                    <a:pt x="1246452" y="1"/>
                  </a:lnTo>
                  <a:lnTo>
                    <a:pt x="1290002" y="135422"/>
                  </a:lnTo>
                  <a:lnTo>
                    <a:pt x="1246452" y="270843"/>
                  </a:lnTo>
                  <a:lnTo>
                    <a:pt x="1233191" y="270843"/>
                  </a:lnTo>
                  <a:lnTo>
                    <a:pt x="1233191" y="270875"/>
                  </a:lnTo>
                  <a:lnTo>
                    <a:pt x="270874" y="270875"/>
                  </a:lnTo>
                  <a:lnTo>
                    <a:pt x="270874" y="1233191"/>
                  </a:lnTo>
                  <a:lnTo>
                    <a:pt x="0" y="1233191"/>
                  </a:lnTo>
                  <a:close/>
                </a:path>
              </a:pathLst>
            </a:custGeom>
            <a:solidFill>
              <a:srgbClr val="6000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400"/>
              <a:endParaRPr lang="es-ES" sz="900">
                <a:solidFill>
                  <a:srgbClr val="FFFFFF"/>
                </a:solidFill>
                <a:latin typeface="Santander Headline" panose="020B0504020201020104" pitchFamily="34" charset="0"/>
              </a:endParaRPr>
            </a:p>
          </p:txBody>
        </p:sp>
        <p:sp>
          <p:nvSpPr>
            <p:cNvPr id="22" name="Forma libre: forma 21">
              <a:extLst>
                <a:ext uri="{FF2B5EF4-FFF2-40B4-BE49-F238E27FC236}">
                  <a16:creationId xmlns:a16="http://schemas.microsoft.com/office/drawing/2014/main" id="{CF64F955-45FC-3EBD-B5F6-9247B520C2B1}"/>
                </a:ext>
              </a:extLst>
            </p:cNvPr>
            <p:cNvSpPr/>
            <p:nvPr userDrawn="1"/>
          </p:nvSpPr>
          <p:spPr>
            <a:xfrm>
              <a:off x="7202797" y="1969191"/>
              <a:ext cx="1290002" cy="1233191"/>
            </a:xfrm>
            <a:custGeom>
              <a:avLst/>
              <a:gdLst>
                <a:gd name="connsiteX0" fmla="*/ 0 w 1290002"/>
                <a:gd name="connsiteY0" fmla="*/ 0 h 1233191"/>
                <a:gd name="connsiteX1" fmla="*/ 270874 w 1290002"/>
                <a:gd name="connsiteY1" fmla="*/ 0 h 1233191"/>
                <a:gd name="connsiteX2" fmla="*/ 270874 w 1290002"/>
                <a:gd name="connsiteY2" fmla="*/ 1 h 1233191"/>
                <a:gd name="connsiteX3" fmla="*/ 1233191 w 1290002"/>
                <a:gd name="connsiteY3" fmla="*/ 1 h 1233191"/>
                <a:gd name="connsiteX4" fmla="*/ 1233191 w 1290002"/>
                <a:gd name="connsiteY4" fmla="*/ 1 h 1233191"/>
                <a:gd name="connsiteX5" fmla="*/ 1246452 w 1290002"/>
                <a:gd name="connsiteY5" fmla="*/ 1 h 1233191"/>
                <a:gd name="connsiteX6" fmla="*/ 1290002 w 1290002"/>
                <a:gd name="connsiteY6" fmla="*/ 135422 h 1233191"/>
                <a:gd name="connsiteX7" fmla="*/ 1246452 w 1290002"/>
                <a:gd name="connsiteY7" fmla="*/ 270843 h 1233191"/>
                <a:gd name="connsiteX8" fmla="*/ 1233191 w 1290002"/>
                <a:gd name="connsiteY8" fmla="*/ 270843 h 1233191"/>
                <a:gd name="connsiteX9" fmla="*/ 1233191 w 1290002"/>
                <a:gd name="connsiteY9" fmla="*/ 270875 h 1233191"/>
                <a:gd name="connsiteX10" fmla="*/ 270874 w 1290002"/>
                <a:gd name="connsiteY10" fmla="*/ 270875 h 1233191"/>
                <a:gd name="connsiteX11" fmla="*/ 270874 w 1290002"/>
                <a:gd name="connsiteY11" fmla="*/ 1233191 h 1233191"/>
                <a:gd name="connsiteX12" fmla="*/ 0 w 1290002"/>
                <a:gd name="connsiteY12" fmla="*/ 1233191 h 123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0002" h="1233191">
                  <a:moveTo>
                    <a:pt x="0" y="0"/>
                  </a:moveTo>
                  <a:lnTo>
                    <a:pt x="270874" y="0"/>
                  </a:lnTo>
                  <a:lnTo>
                    <a:pt x="270874" y="1"/>
                  </a:lnTo>
                  <a:lnTo>
                    <a:pt x="1233191" y="1"/>
                  </a:lnTo>
                  <a:lnTo>
                    <a:pt x="1233191" y="1"/>
                  </a:lnTo>
                  <a:lnTo>
                    <a:pt x="1246452" y="1"/>
                  </a:lnTo>
                  <a:lnTo>
                    <a:pt x="1290002" y="135422"/>
                  </a:lnTo>
                  <a:lnTo>
                    <a:pt x="1246452" y="270843"/>
                  </a:lnTo>
                  <a:lnTo>
                    <a:pt x="1233191" y="270843"/>
                  </a:lnTo>
                  <a:lnTo>
                    <a:pt x="1233191" y="270875"/>
                  </a:lnTo>
                  <a:lnTo>
                    <a:pt x="270874" y="270875"/>
                  </a:lnTo>
                  <a:lnTo>
                    <a:pt x="270874" y="1233191"/>
                  </a:lnTo>
                  <a:lnTo>
                    <a:pt x="0" y="1233191"/>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400"/>
              <a:endParaRPr lang="es-ES" sz="900">
                <a:solidFill>
                  <a:srgbClr val="FFFFFF"/>
                </a:solidFill>
                <a:latin typeface="Santander Headline" panose="020B0504020201020104" pitchFamily="34" charset="0"/>
              </a:endParaRPr>
            </a:p>
          </p:txBody>
        </p:sp>
        <p:sp>
          <p:nvSpPr>
            <p:cNvPr id="23" name="Forma libre: forma 22">
              <a:extLst>
                <a:ext uri="{FF2B5EF4-FFF2-40B4-BE49-F238E27FC236}">
                  <a16:creationId xmlns:a16="http://schemas.microsoft.com/office/drawing/2014/main" id="{BCD489CF-97F9-0096-A894-0C797C758655}"/>
                </a:ext>
              </a:extLst>
            </p:cNvPr>
            <p:cNvSpPr/>
            <p:nvPr userDrawn="1"/>
          </p:nvSpPr>
          <p:spPr>
            <a:xfrm rot="10800000">
              <a:off x="8453907" y="3283079"/>
              <a:ext cx="1290002" cy="1233191"/>
            </a:xfrm>
            <a:custGeom>
              <a:avLst/>
              <a:gdLst>
                <a:gd name="connsiteX0" fmla="*/ 0 w 1290002"/>
                <a:gd name="connsiteY0" fmla="*/ 0 h 1233191"/>
                <a:gd name="connsiteX1" fmla="*/ 270874 w 1290002"/>
                <a:gd name="connsiteY1" fmla="*/ 0 h 1233191"/>
                <a:gd name="connsiteX2" fmla="*/ 270874 w 1290002"/>
                <a:gd name="connsiteY2" fmla="*/ 1 h 1233191"/>
                <a:gd name="connsiteX3" fmla="*/ 1233191 w 1290002"/>
                <a:gd name="connsiteY3" fmla="*/ 1 h 1233191"/>
                <a:gd name="connsiteX4" fmla="*/ 1233191 w 1290002"/>
                <a:gd name="connsiteY4" fmla="*/ 1 h 1233191"/>
                <a:gd name="connsiteX5" fmla="*/ 1246452 w 1290002"/>
                <a:gd name="connsiteY5" fmla="*/ 1 h 1233191"/>
                <a:gd name="connsiteX6" fmla="*/ 1290002 w 1290002"/>
                <a:gd name="connsiteY6" fmla="*/ 135422 h 1233191"/>
                <a:gd name="connsiteX7" fmla="*/ 1246452 w 1290002"/>
                <a:gd name="connsiteY7" fmla="*/ 270843 h 1233191"/>
                <a:gd name="connsiteX8" fmla="*/ 1233191 w 1290002"/>
                <a:gd name="connsiteY8" fmla="*/ 270843 h 1233191"/>
                <a:gd name="connsiteX9" fmla="*/ 1233191 w 1290002"/>
                <a:gd name="connsiteY9" fmla="*/ 270875 h 1233191"/>
                <a:gd name="connsiteX10" fmla="*/ 270874 w 1290002"/>
                <a:gd name="connsiteY10" fmla="*/ 270875 h 1233191"/>
                <a:gd name="connsiteX11" fmla="*/ 270874 w 1290002"/>
                <a:gd name="connsiteY11" fmla="*/ 1233191 h 1233191"/>
                <a:gd name="connsiteX12" fmla="*/ 0 w 1290002"/>
                <a:gd name="connsiteY12" fmla="*/ 1233191 h 123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0002" h="1233191">
                  <a:moveTo>
                    <a:pt x="0" y="0"/>
                  </a:moveTo>
                  <a:lnTo>
                    <a:pt x="270874" y="0"/>
                  </a:lnTo>
                  <a:lnTo>
                    <a:pt x="270874" y="1"/>
                  </a:lnTo>
                  <a:lnTo>
                    <a:pt x="1233191" y="1"/>
                  </a:lnTo>
                  <a:lnTo>
                    <a:pt x="1233191" y="1"/>
                  </a:lnTo>
                  <a:lnTo>
                    <a:pt x="1246452" y="1"/>
                  </a:lnTo>
                  <a:lnTo>
                    <a:pt x="1290002" y="135422"/>
                  </a:lnTo>
                  <a:lnTo>
                    <a:pt x="1246452" y="270843"/>
                  </a:lnTo>
                  <a:lnTo>
                    <a:pt x="1233191" y="270843"/>
                  </a:lnTo>
                  <a:lnTo>
                    <a:pt x="1233191" y="270875"/>
                  </a:lnTo>
                  <a:lnTo>
                    <a:pt x="270874" y="270875"/>
                  </a:lnTo>
                  <a:lnTo>
                    <a:pt x="270874" y="1233191"/>
                  </a:lnTo>
                  <a:lnTo>
                    <a:pt x="0" y="123319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400"/>
              <a:endParaRPr lang="es-ES" sz="1400">
                <a:solidFill>
                  <a:srgbClr val="FFFFFF"/>
                </a:solidFill>
                <a:latin typeface="Santander Headline" panose="020B0504020201020104" pitchFamily="34" charset="0"/>
              </a:endParaRPr>
            </a:p>
          </p:txBody>
        </p:sp>
        <p:sp>
          <p:nvSpPr>
            <p:cNvPr id="24" name="Forma libre: forma 23">
              <a:extLst>
                <a:ext uri="{FF2B5EF4-FFF2-40B4-BE49-F238E27FC236}">
                  <a16:creationId xmlns:a16="http://schemas.microsoft.com/office/drawing/2014/main" id="{79FC79B8-EA68-7093-091F-3AAD683E85C6}"/>
                </a:ext>
              </a:extLst>
            </p:cNvPr>
            <p:cNvSpPr/>
            <p:nvPr userDrawn="1"/>
          </p:nvSpPr>
          <p:spPr>
            <a:xfrm rot="5400000">
              <a:off x="8482310" y="1997597"/>
              <a:ext cx="1290002" cy="1233191"/>
            </a:xfrm>
            <a:custGeom>
              <a:avLst/>
              <a:gdLst>
                <a:gd name="connsiteX0" fmla="*/ 0 w 1290002"/>
                <a:gd name="connsiteY0" fmla="*/ 0 h 1233191"/>
                <a:gd name="connsiteX1" fmla="*/ 270874 w 1290002"/>
                <a:gd name="connsiteY1" fmla="*/ 0 h 1233191"/>
                <a:gd name="connsiteX2" fmla="*/ 270874 w 1290002"/>
                <a:gd name="connsiteY2" fmla="*/ 1 h 1233191"/>
                <a:gd name="connsiteX3" fmla="*/ 1233191 w 1290002"/>
                <a:gd name="connsiteY3" fmla="*/ 1 h 1233191"/>
                <a:gd name="connsiteX4" fmla="*/ 1233191 w 1290002"/>
                <a:gd name="connsiteY4" fmla="*/ 1 h 1233191"/>
                <a:gd name="connsiteX5" fmla="*/ 1246452 w 1290002"/>
                <a:gd name="connsiteY5" fmla="*/ 1 h 1233191"/>
                <a:gd name="connsiteX6" fmla="*/ 1290002 w 1290002"/>
                <a:gd name="connsiteY6" fmla="*/ 135422 h 1233191"/>
                <a:gd name="connsiteX7" fmla="*/ 1246452 w 1290002"/>
                <a:gd name="connsiteY7" fmla="*/ 270843 h 1233191"/>
                <a:gd name="connsiteX8" fmla="*/ 1233191 w 1290002"/>
                <a:gd name="connsiteY8" fmla="*/ 270843 h 1233191"/>
                <a:gd name="connsiteX9" fmla="*/ 1233191 w 1290002"/>
                <a:gd name="connsiteY9" fmla="*/ 270875 h 1233191"/>
                <a:gd name="connsiteX10" fmla="*/ 270874 w 1290002"/>
                <a:gd name="connsiteY10" fmla="*/ 270875 h 1233191"/>
                <a:gd name="connsiteX11" fmla="*/ 270874 w 1290002"/>
                <a:gd name="connsiteY11" fmla="*/ 1233191 h 1233191"/>
                <a:gd name="connsiteX12" fmla="*/ 0 w 1290002"/>
                <a:gd name="connsiteY12" fmla="*/ 1233191 h 123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0002" h="1233191">
                  <a:moveTo>
                    <a:pt x="0" y="0"/>
                  </a:moveTo>
                  <a:lnTo>
                    <a:pt x="270874" y="0"/>
                  </a:lnTo>
                  <a:lnTo>
                    <a:pt x="270874" y="1"/>
                  </a:lnTo>
                  <a:lnTo>
                    <a:pt x="1233191" y="1"/>
                  </a:lnTo>
                  <a:lnTo>
                    <a:pt x="1233191" y="1"/>
                  </a:lnTo>
                  <a:lnTo>
                    <a:pt x="1246452" y="1"/>
                  </a:lnTo>
                  <a:lnTo>
                    <a:pt x="1290002" y="135422"/>
                  </a:lnTo>
                  <a:lnTo>
                    <a:pt x="1246452" y="270843"/>
                  </a:lnTo>
                  <a:lnTo>
                    <a:pt x="1233191" y="270843"/>
                  </a:lnTo>
                  <a:lnTo>
                    <a:pt x="1233191" y="270875"/>
                  </a:lnTo>
                  <a:lnTo>
                    <a:pt x="270874" y="270875"/>
                  </a:lnTo>
                  <a:lnTo>
                    <a:pt x="270874" y="1233191"/>
                  </a:lnTo>
                  <a:lnTo>
                    <a:pt x="0" y="1233191"/>
                  </a:lnTo>
                  <a:close/>
                </a:path>
              </a:pathLst>
            </a:custGeom>
            <a:solidFill>
              <a:srgbClr val="EC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400"/>
              <a:endParaRPr lang="es-ES" sz="1400">
                <a:solidFill>
                  <a:srgbClr val="FFFFFF"/>
                </a:solidFill>
                <a:latin typeface="Santander Headline" panose="020B0504020201020104" pitchFamily="34" charset="0"/>
              </a:endParaRPr>
            </a:p>
          </p:txBody>
        </p:sp>
        <p:pic>
          <p:nvPicPr>
            <p:cNvPr id="26" name="Imagen 25">
              <a:extLst>
                <a:ext uri="{FF2B5EF4-FFF2-40B4-BE49-F238E27FC236}">
                  <a16:creationId xmlns:a16="http://schemas.microsoft.com/office/drawing/2014/main" id="{97C5967D-C835-6F63-2E63-A601A0CCB7B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45141" y="2973675"/>
              <a:ext cx="456769" cy="438773"/>
            </a:xfrm>
            <a:prstGeom prst="rect">
              <a:avLst/>
            </a:prstGeom>
          </p:spPr>
        </p:pic>
        <p:cxnSp>
          <p:nvCxnSpPr>
            <p:cNvPr id="31" name="Conector recto 145">
              <a:extLst>
                <a:ext uri="{FF2B5EF4-FFF2-40B4-BE49-F238E27FC236}">
                  <a16:creationId xmlns:a16="http://schemas.microsoft.com/office/drawing/2014/main" id="{6D6AFE9D-D4A9-D06D-5805-814332B9961F}"/>
                </a:ext>
              </a:extLst>
            </p:cNvPr>
            <p:cNvCxnSpPr>
              <a:cxnSpLocks/>
            </p:cNvCxnSpPr>
            <p:nvPr userDrawn="1"/>
          </p:nvCxnSpPr>
          <p:spPr>
            <a:xfrm>
              <a:off x="8435990" y="4187863"/>
              <a:ext cx="0" cy="40488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Conector recto 5">
              <a:extLst>
                <a:ext uri="{FF2B5EF4-FFF2-40B4-BE49-F238E27FC236}">
                  <a16:creationId xmlns:a16="http://schemas.microsoft.com/office/drawing/2014/main" id="{0F2381C5-292E-C3F2-37C5-1B25BDE973CC}"/>
                </a:ext>
              </a:extLst>
            </p:cNvPr>
            <p:cNvCxnSpPr>
              <a:cxnSpLocks/>
            </p:cNvCxnSpPr>
            <p:nvPr userDrawn="1"/>
          </p:nvCxnSpPr>
          <p:spPr>
            <a:xfrm>
              <a:off x="8510717" y="1913946"/>
              <a:ext cx="0" cy="40488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Conector recto 47">
              <a:extLst>
                <a:ext uri="{FF2B5EF4-FFF2-40B4-BE49-F238E27FC236}">
                  <a16:creationId xmlns:a16="http://schemas.microsoft.com/office/drawing/2014/main" id="{022AD93F-15FD-4D23-E90E-8FED58D3D506}"/>
                </a:ext>
              </a:extLst>
            </p:cNvPr>
            <p:cNvCxnSpPr>
              <a:cxnSpLocks/>
            </p:cNvCxnSpPr>
            <p:nvPr userDrawn="1"/>
          </p:nvCxnSpPr>
          <p:spPr>
            <a:xfrm rot="5400000">
              <a:off x="9608825" y="3079747"/>
              <a:ext cx="0" cy="40488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Conector recto 52">
              <a:extLst>
                <a:ext uri="{FF2B5EF4-FFF2-40B4-BE49-F238E27FC236}">
                  <a16:creationId xmlns:a16="http://schemas.microsoft.com/office/drawing/2014/main" id="{CDEAAD7B-38CB-055C-C360-88D95AB05497}"/>
                </a:ext>
              </a:extLst>
            </p:cNvPr>
            <p:cNvCxnSpPr>
              <a:cxnSpLocks/>
            </p:cNvCxnSpPr>
            <p:nvPr userDrawn="1"/>
          </p:nvCxnSpPr>
          <p:spPr>
            <a:xfrm rot="16200000">
              <a:off x="7337882" y="2999939"/>
              <a:ext cx="0" cy="40488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8" name="CuadroTexto 37">
              <a:extLst>
                <a:ext uri="{FF2B5EF4-FFF2-40B4-BE49-F238E27FC236}">
                  <a16:creationId xmlns:a16="http://schemas.microsoft.com/office/drawing/2014/main" id="{036F9898-4E7E-F63A-6EB5-843DF1B763A6}"/>
                </a:ext>
              </a:extLst>
            </p:cNvPr>
            <p:cNvSpPr txBox="1"/>
            <p:nvPr userDrawn="1"/>
          </p:nvSpPr>
          <p:spPr>
            <a:xfrm>
              <a:off x="7276092" y="5314130"/>
              <a:ext cx="799409" cy="256591"/>
            </a:xfrm>
            <a:prstGeom prst="rect">
              <a:avLst/>
            </a:prstGeom>
            <a:noFill/>
          </p:spPr>
          <p:txBody>
            <a:bodyPr wrap="square" rtlCol="0">
              <a:spAutoFit/>
            </a:bodyPr>
            <a:lstStyle/>
            <a:p>
              <a:pPr algn="ctr" defTabSz="685800"/>
              <a:r>
                <a:rPr lang="es-ES" sz="1200" b="1">
                  <a:solidFill>
                    <a:srgbClr val="63BA68"/>
                  </a:solidFill>
                  <a:latin typeface="Santander Headline" panose="020B0504020201020104" pitchFamily="34" charset="0"/>
                </a:rPr>
                <a:t>Simple</a:t>
              </a:r>
              <a:endParaRPr lang="en-US" sz="800">
                <a:solidFill>
                  <a:srgbClr val="63BA68"/>
                </a:solidFill>
                <a:latin typeface="Santander Headline" panose="020B0504020201020104" pitchFamily="34" charset="0"/>
              </a:endParaRPr>
            </a:p>
          </p:txBody>
        </p:sp>
        <p:sp>
          <p:nvSpPr>
            <p:cNvPr id="39" name="CuadroTexto 38">
              <a:extLst>
                <a:ext uri="{FF2B5EF4-FFF2-40B4-BE49-F238E27FC236}">
                  <a16:creationId xmlns:a16="http://schemas.microsoft.com/office/drawing/2014/main" id="{6F6BAC9C-6D39-9D50-1E36-920064380D0B}"/>
                </a:ext>
              </a:extLst>
            </p:cNvPr>
            <p:cNvSpPr txBox="1"/>
            <p:nvPr userDrawn="1"/>
          </p:nvSpPr>
          <p:spPr>
            <a:xfrm>
              <a:off x="8072936" y="5314130"/>
              <a:ext cx="799409" cy="256591"/>
            </a:xfrm>
            <a:prstGeom prst="rect">
              <a:avLst/>
            </a:prstGeom>
            <a:noFill/>
          </p:spPr>
          <p:txBody>
            <a:bodyPr wrap="square" rtlCol="0">
              <a:spAutoFit/>
            </a:bodyPr>
            <a:lstStyle/>
            <a:p>
              <a:pPr algn="ctr" defTabSz="685800"/>
              <a:r>
                <a:rPr lang="es-ES" sz="1200" b="1">
                  <a:solidFill>
                    <a:srgbClr val="1BB3BC"/>
                  </a:solidFill>
                  <a:latin typeface="Santander Headline" panose="020B0504020201020104" pitchFamily="34" charset="0"/>
                </a:rPr>
                <a:t>Personal</a:t>
              </a:r>
              <a:endParaRPr lang="en-US" sz="800">
                <a:solidFill>
                  <a:srgbClr val="6F7779"/>
                </a:solidFill>
                <a:latin typeface="Santander Headline" panose="020B0504020201020104" pitchFamily="34" charset="0"/>
              </a:endParaRPr>
            </a:p>
          </p:txBody>
        </p:sp>
        <p:sp>
          <p:nvSpPr>
            <p:cNvPr id="40" name="CuadroTexto 39">
              <a:extLst>
                <a:ext uri="{FF2B5EF4-FFF2-40B4-BE49-F238E27FC236}">
                  <a16:creationId xmlns:a16="http://schemas.microsoft.com/office/drawing/2014/main" id="{7AC18371-B3D9-F707-2139-BE5A18AC92E9}"/>
                </a:ext>
              </a:extLst>
            </p:cNvPr>
            <p:cNvSpPr txBox="1"/>
            <p:nvPr userDrawn="1"/>
          </p:nvSpPr>
          <p:spPr>
            <a:xfrm>
              <a:off x="8824806" y="5314130"/>
              <a:ext cx="799409" cy="256591"/>
            </a:xfrm>
            <a:prstGeom prst="rect">
              <a:avLst/>
            </a:prstGeom>
            <a:noFill/>
          </p:spPr>
          <p:txBody>
            <a:bodyPr wrap="square" rtlCol="0">
              <a:spAutoFit/>
            </a:bodyPr>
            <a:lstStyle/>
            <a:p>
              <a:pPr algn="ctr" defTabSz="685800"/>
              <a:r>
                <a:rPr lang="es-ES" sz="1200" b="1" err="1">
                  <a:solidFill>
                    <a:srgbClr val="EC0000"/>
                  </a:solidFill>
                  <a:latin typeface="Santander Headline" panose="020B0504020201020104" pitchFamily="34" charset="0"/>
                </a:rPr>
                <a:t>Fair</a:t>
              </a:r>
              <a:endParaRPr lang="en-US" sz="800">
                <a:solidFill>
                  <a:srgbClr val="EC0000"/>
                </a:solidFill>
                <a:latin typeface="Santander Headline" panose="020B0504020201020104" pitchFamily="34" charset="0"/>
              </a:endParaRPr>
            </a:p>
          </p:txBody>
        </p:sp>
      </p:grpSp>
      <p:sp>
        <p:nvSpPr>
          <p:cNvPr id="47" name="Marcador de texto 42">
            <a:extLst>
              <a:ext uri="{FF2B5EF4-FFF2-40B4-BE49-F238E27FC236}">
                <a16:creationId xmlns:a16="http://schemas.microsoft.com/office/drawing/2014/main" id="{43A0BA66-4708-3A77-E191-A5751E34F059}"/>
              </a:ext>
            </a:extLst>
          </p:cNvPr>
          <p:cNvSpPr>
            <a:spLocks noGrp="1"/>
          </p:cNvSpPr>
          <p:nvPr>
            <p:ph type="body" sz="quarter" idx="53"/>
          </p:nvPr>
        </p:nvSpPr>
        <p:spPr>
          <a:xfrm>
            <a:off x="6925331" y="5059426"/>
            <a:ext cx="1350619" cy="671479"/>
          </a:xfrm>
          <a:prstGeom prst="rect">
            <a:avLst/>
          </a:prstGeom>
        </p:spPr>
        <p:txBody>
          <a:bodyPr lIns="0" tIns="0" rIns="72000" bIns="0" anchor="t"/>
          <a:lstStyle>
            <a:lvl1pPr marL="0" indent="0">
              <a:buNone/>
              <a:defRPr sz="800">
                <a:solidFill>
                  <a:schemeClr val="tx1"/>
                </a:solidFill>
                <a:latin typeface="+mj-lt"/>
              </a:defRPr>
            </a:lvl1pPr>
            <a:lvl2pPr marL="457200" indent="0">
              <a:buNone/>
              <a:defRPr sz="1100"/>
            </a:lvl2pPr>
            <a:lvl3pPr marL="914400" indent="0">
              <a:buNone/>
              <a:defRPr sz="1050"/>
            </a:lvl3pPr>
            <a:lvl4pPr marL="1371600" indent="0">
              <a:buNone/>
              <a:defRPr sz="1000"/>
            </a:lvl4pPr>
            <a:lvl5pPr marL="1828800" indent="0">
              <a:buNone/>
              <a:defRPr sz="1000"/>
            </a:lvl5pPr>
          </a:lstStyle>
          <a:p>
            <a:pPr lvl="0"/>
            <a:endParaRPr lang="es-ES"/>
          </a:p>
        </p:txBody>
      </p:sp>
      <p:sp>
        <p:nvSpPr>
          <p:cNvPr id="48" name="Marcador de texto 42">
            <a:extLst>
              <a:ext uri="{FF2B5EF4-FFF2-40B4-BE49-F238E27FC236}">
                <a16:creationId xmlns:a16="http://schemas.microsoft.com/office/drawing/2014/main" id="{C6F3C885-EC1F-B5B6-E0FA-83E9AABCE3B6}"/>
              </a:ext>
            </a:extLst>
          </p:cNvPr>
          <p:cNvSpPr>
            <a:spLocks noGrp="1"/>
          </p:cNvSpPr>
          <p:nvPr>
            <p:ph type="body" sz="quarter" idx="54"/>
          </p:nvPr>
        </p:nvSpPr>
        <p:spPr>
          <a:xfrm>
            <a:off x="8307494" y="5059426"/>
            <a:ext cx="1350619" cy="671479"/>
          </a:xfrm>
          <a:prstGeom prst="rect">
            <a:avLst/>
          </a:prstGeom>
        </p:spPr>
        <p:txBody>
          <a:bodyPr lIns="72000" tIns="0" rIns="0" bIns="0" anchor="t"/>
          <a:lstStyle>
            <a:lvl1pPr marL="0" indent="0" algn="r">
              <a:buNone/>
              <a:defRPr sz="800">
                <a:solidFill>
                  <a:schemeClr val="tx1"/>
                </a:solidFill>
                <a:latin typeface="+mj-lt"/>
              </a:defRPr>
            </a:lvl1pPr>
            <a:lvl2pPr marL="457200" indent="0">
              <a:buNone/>
              <a:defRPr sz="1100"/>
            </a:lvl2pPr>
            <a:lvl3pPr marL="914400" indent="0">
              <a:buNone/>
              <a:defRPr sz="1050"/>
            </a:lvl3pPr>
            <a:lvl4pPr marL="1371600" indent="0">
              <a:buNone/>
              <a:defRPr sz="1000"/>
            </a:lvl4pPr>
            <a:lvl5pPr marL="1828800" indent="0">
              <a:buNone/>
              <a:defRPr sz="1000"/>
            </a:lvl5pPr>
          </a:lstStyle>
          <a:p>
            <a:pPr lvl="0"/>
            <a:endParaRPr lang="es-ES"/>
          </a:p>
        </p:txBody>
      </p:sp>
      <p:sp>
        <p:nvSpPr>
          <p:cNvPr id="49" name="Marcador de texto 42">
            <a:extLst>
              <a:ext uri="{FF2B5EF4-FFF2-40B4-BE49-F238E27FC236}">
                <a16:creationId xmlns:a16="http://schemas.microsoft.com/office/drawing/2014/main" id="{497350BF-B702-6CB9-2CC7-84D0F19F49E8}"/>
              </a:ext>
            </a:extLst>
          </p:cNvPr>
          <p:cNvSpPr>
            <a:spLocks noGrp="1"/>
          </p:cNvSpPr>
          <p:nvPr>
            <p:ph type="body" sz="quarter" idx="51"/>
          </p:nvPr>
        </p:nvSpPr>
        <p:spPr>
          <a:xfrm>
            <a:off x="6925331" y="1452512"/>
            <a:ext cx="1350619" cy="646770"/>
          </a:xfrm>
          <a:prstGeom prst="rect">
            <a:avLst/>
          </a:prstGeom>
        </p:spPr>
        <p:txBody>
          <a:bodyPr lIns="0" tIns="0" rIns="72000" bIns="0" anchor="b"/>
          <a:lstStyle>
            <a:lvl1pPr marL="0" indent="0">
              <a:buNone/>
              <a:defRPr sz="800">
                <a:solidFill>
                  <a:schemeClr val="tx1"/>
                </a:solidFill>
                <a:latin typeface="+mj-lt"/>
              </a:defRPr>
            </a:lvl1pPr>
            <a:lvl2pPr marL="457200" indent="0">
              <a:buNone/>
              <a:defRPr sz="1100"/>
            </a:lvl2pPr>
            <a:lvl3pPr marL="914400" indent="0">
              <a:buNone/>
              <a:defRPr sz="1050"/>
            </a:lvl3pPr>
            <a:lvl4pPr marL="1371600" indent="0">
              <a:buNone/>
              <a:defRPr sz="1000"/>
            </a:lvl4pPr>
            <a:lvl5pPr marL="1828800" indent="0">
              <a:buNone/>
              <a:defRPr sz="1000"/>
            </a:lvl5pPr>
          </a:lstStyle>
          <a:p>
            <a:pPr lvl="0"/>
            <a:endParaRPr lang="es-ES"/>
          </a:p>
        </p:txBody>
      </p:sp>
      <p:sp>
        <p:nvSpPr>
          <p:cNvPr id="50" name="Marcador de texto 42">
            <a:extLst>
              <a:ext uri="{FF2B5EF4-FFF2-40B4-BE49-F238E27FC236}">
                <a16:creationId xmlns:a16="http://schemas.microsoft.com/office/drawing/2014/main" id="{47E4DA56-8A1C-BF08-93C7-554A0294CF73}"/>
              </a:ext>
            </a:extLst>
          </p:cNvPr>
          <p:cNvSpPr>
            <a:spLocks noGrp="1"/>
          </p:cNvSpPr>
          <p:nvPr>
            <p:ph type="body" sz="quarter" idx="52"/>
          </p:nvPr>
        </p:nvSpPr>
        <p:spPr>
          <a:xfrm>
            <a:off x="8307494" y="1452512"/>
            <a:ext cx="1350619" cy="646770"/>
          </a:xfrm>
          <a:prstGeom prst="rect">
            <a:avLst/>
          </a:prstGeom>
        </p:spPr>
        <p:txBody>
          <a:bodyPr lIns="72000" tIns="0" rIns="0" bIns="0" anchor="b"/>
          <a:lstStyle>
            <a:lvl1pPr marL="0" indent="0" algn="r">
              <a:buNone/>
              <a:defRPr sz="800">
                <a:solidFill>
                  <a:schemeClr val="tx1"/>
                </a:solidFill>
                <a:latin typeface="+mj-lt"/>
              </a:defRPr>
            </a:lvl1pPr>
            <a:lvl2pPr marL="457200" indent="0">
              <a:buNone/>
              <a:defRPr sz="1100"/>
            </a:lvl2pPr>
            <a:lvl3pPr marL="914400" indent="0">
              <a:buNone/>
              <a:defRPr sz="1050"/>
            </a:lvl3pPr>
            <a:lvl4pPr marL="1371600" indent="0">
              <a:buNone/>
              <a:defRPr sz="1000"/>
            </a:lvl4pPr>
            <a:lvl5pPr marL="1828800" indent="0">
              <a:buNone/>
              <a:defRPr sz="1000"/>
            </a:lvl5pPr>
          </a:lstStyle>
          <a:p>
            <a:pPr lvl="0"/>
            <a:endParaRPr lang="es-ES"/>
          </a:p>
        </p:txBody>
      </p:sp>
      <p:sp>
        <p:nvSpPr>
          <p:cNvPr id="54" name="Marcador de texto 51">
            <a:extLst>
              <a:ext uri="{FF2B5EF4-FFF2-40B4-BE49-F238E27FC236}">
                <a16:creationId xmlns:a16="http://schemas.microsoft.com/office/drawing/2014/main" id="{803A7738-3A8F-26D5-E25A-C210E167776A}"/>
              </a:ext>
            </a:extLst>
          </p:cNvPr>
          <p:cNvSpPr>
            <a:spLocks noGrp="1"/>
          </p:cNvSpPr>
          <p:nvPr>
            <p:ph type="body" sz="quarter" idx="55" hasCustomPrompt="1"/>
          </p:nvPr>
        </p:nvSpPr>
        <p:spPr>
          <a:xfrm>
            <a:off x="7288261" y="2756795"/>
            <a:ext cx="921826" cy="584792"/>
          </a:xfrm>
          <a:prstGeom prst="rect">
            <a:avLst/>
          </a:prstGeom>
        </p:spPr>
        <p:txBody>
          <a:bodyPr/>
          <a:lstStyle>
            <a:lvl1pPr marL="0" indent="0">
              <a:buNone/>
              <a:defRPr sz="1200" b="1">
                <a:solidFill>
                  <a:schemeClr val="accent6"/>
                </a:solidFill>
                <a:latin typeface="Santander Headline" panose="020B0504020201020104" pitchFamily="34" charset="0"/>
              </a:defRPr>
            </a:lvl1pPr>
            <a:lvl2pPr marL="0" indent="0">
              <a:spcBef>
                <a:spcPts val="0"/>
              </a:spcBef>
              <a:spcAft>
                <a:spcPts val="600"/>
              </a:spcAft>
              <a:buNone/>
              <a:defRPr sz="800">
                <a:latin typeface="+mj-lt"/>
              </a:defRPr>
            </a:lvl2pPr>
            <a:lvl3pPr>
              <a:defRPr sz="1200"/>
            </a:lvl3pPr>
            <a:lvl4pPr>
              <a:defRPr sz="1200"/>
            </a:lvl4pPr>
            <a:lvl5pPr>
              <a:defRPr sz="1200"/>
            </a:lvl5pPr>
          </a:lstStyle>
          <a:p>
            <a:pPr lvl="0"/>
            <a:r>
              <a:rPr lang="es-ES"/>
              <a:t>#######</a:t>
            </a:r>
          </a:p>
          <a:p>
            <a:pPr lvl="1"/>
            <a:r>
              <a:rPr lang="es-ES" err="1"/>
              <a:t>Second</a:t>
            </a:r>
            <a:r>
              <a:rPr lang="es-ES"/>
              <a:t> </a:t>
            </a:r>
            <a:r>
              <a:rPr lang="es-ES" err="1"/>
              <a:t>level</a:t>
            </a:r>
            <a:endParaRPr lang="es-ES"/>
          </a:p>
        </p:txBody>
      </p:sp>
      <p:sp>
        <p:nvSpPr>
          <p:cNvPr id="55" name="Marcador de texto 51">
            <a:extLst>
              <a:ext uri="{FF2B5EF4-FFF2-40B4-BE49-F238E27FC236}">
                <a16:creationId xmlns:a16="http://schemas.microsoft.com/office/drawing/2014/main" id="{A495457B-C372-9B3C-C9F2-1F951B276A27}"/>
              </a:ext>
            </a:extLst>
          </p:cNvPr>
          <p:cNvSpPr>
            <a:spLocks noGrp="1"/>
          </p:cNvSpPr>
          <p:nvPr>
            <p:ph type="body" sz="quarter" idx="56" hasCustomPrompt="1"/>
          </p:nvPr>
        </p:nvSpPr>
        <p:spPr>
          <a:xfrm>
            <a:off x="8364149" y="2756795"/>
            <a:ext cx="933048" cy="584792"/>
          </a:xfrm>
          <a:prstGeom prst="rect">
            <a:avLst/>
          </a:prstGeom>
        </p:spPr>
        <p:txBody>
          <a:bodyPr/>
          <a:lstStyle>
            <a:lvl1pPr marL="0" indent="0" algn="r">
              <a:buNone/>
              <a:defRPr sz="1200" b="1">
                <a:solidFill>
                  <a:srgbClr val="EC0000"/>
                </a:solidFill>
                <a:latin typeface="Santander Headline" panose="020B0504020201020104" pitchFamily="34" charset="0"/>
              </a:defRPr>
            </a:lvl1pPr>
            <a:lvl2pPr marL="0" indent="0" algn="r">
              <a:spcBef>
                <a:spcPts val="0"/>
              </a:spcBef>
              <a:spcAft>
                <a:spcPts val="600"/>
              </a:spcAft>
              <a:buNone/>
              <a:defRPr lang="es-ES" sz="800" kern="1200" dirty="0">
                <a:solidFill>
                  <a:schemeClr val="tx1"/>
                </a:solidFill>
                <a:latin typeface="+mj-lt"/>
                <a:ea typeface="+mn-ea"/>
                <a:cs typeface="+mn-cs"/>
              </a:defRPr>
            </a:lvl2pPr>
            <a:lvl3pPr>
              <a:defRPr sz="1200"/>
            </a:lvl3pPr>
            <a:lvl4pPr>
              <a:defRPr sz="1200"/>
            </a:lvl4pPr>
            <a:lvl5pPr>
              <a:defRPr sz="1200"/>
            </a:lvl5pPr>
          </a:lstStyle>
          <a:p>
            <a:pPr lvl="0"/>
            <a:r>
              <a:rPr lang="es-ES"/>
              <a:t>#######</a:t>
            </a:r>
          </a:p>
          <a:p>
            <a:pPr lvl="1"/>
            <a:r>
              <a:rPr lang="es-ES" err="1"/>
              <a:t>Second</a:t>
            </a:r>
            <a:r>
              <a:rPr lang="es-ES"/>
              <a:t> </a:t>
            </a:r>
            <a:r>
              <a:rPr lang="es-ES" err="1"/>
              <a:t>level</a:t>
            </a:r>
            <a:endParaRPr lang="es-ES"/>
          </a:p>
        </p:txBody>
      </p:sp>
      <p:sp>
        <p:nvSpPr>
          <p:cNvPr id="58" name="Marcador de texto 51">
            <a:extLst>
              <a:ext uri="{FF2B5EF4-FFF2-40B4-BE49-F238E27FC236}">
                <a16:creationId xmlns:a16="http://schemas.microsoft.com/office/drawing/2014/main" id="{15D4800F-C7C5-6AB7-070F-C98547382CC3}"/>
              </a:ext>
            </a:extLst>
          </p:cNvPr>
          <p:cNvSpPr>
            <a:spLocks noGrp="1"/>
          </p:cNvSpPr>
          <p:nvPr>
            <p:ph type="body" sz="quarter" idx="57" hasCustomPrompt="1"/>
          </p:nvPr>
        </p:nvSpPr>
        <p:spPr>
          <a:xfrm>
            <a:off x="7288261" y="3801081"/>
            <a:ext cx="921826" cy="584792"/>
          </a:xfrm>
          <a:prstGeom prst="rect">
            <a:avLst/>
          </a:prstGeom>
        </p:spPr>
        <p:txBody>
          <a:bodyPr anchor="b"/>
          <a:lstStyle>
            <a:lvl1pPr marL="0" indent="0">
              <a:buNone/>
              <a:defRPr sz="1200" b="1">
                <a:solidFill>
                  <a:srgbClr val="60001D"/>
                </a:solidFill>
                <a:latin typeface="Santander Headline" panose="020B0504020201020104" pitchFamily="34" charset="0"/>
              </a:defRPr>
            </a:lvl1pPr>
            <a:lvl2pPr marL="0" indent="0">
              <a:spcBef>
                <a:spcPts val="0"/>
              </a:spcBef>
              <a:spcAft>
                <a:spcPts val="600"/>
              </a:spcAft>
              <a:buNone/>
              <a:defRPr sz="800">
                <a:latin typeface="+mj-lt"/>
              </a:defRPr>
            </a:lvl2pPr>
            <a:lvl3pPr>
              <a:defRPr sz="1200"/>
            </a:lvl3pPr>
            <a:lvl4pPr>
              <a:defRPr sz="1200"/>
            </a:lvl4pPr>
            <a:lvl5pPr>
              <a:defRPr sz="1200"/>
            </a:lvl5pPr>
          </a:lstStyle>
          <a:p>
            <a:pPr lvl="0"/>
            <a:r>
              <a:rPr lang="es-ES"/>
              <a:t>#######</a:t>
            </a:r>
          </a:p>
          <a:p>
            <a:pPr lvl="1"/>
            <a:r>
              <a:rPr lang="es-ES" err="1"/>
              <a:t>Second</a:t>
            </a:r>
            <a:r>
              <a:rPr lang="es-ES"/>
              <a:t> </a:t>
            </a:r>
            <a:r>
              <a:rPr lang="es-ES" err="1"/>
              <a:t>level</a:t>
            </a:r>
            <a:endParaRPr lang="es-ES"/>
          </a:p>
        </p:txBody>
      </p:sp>
      <p:sp>
        <p:nvSpPr>
          <p:cNvPr id="59" name="Marcador de texto 51">
            <a:extLst>
              <a:ext uri="{FF2B5EF4-FFF2-40B4-BE49-F238E27FC236}">
                <a16:creationId xmlns:a16="http://schemas.microsoft.com/office/drawing/2014/main" id="{C2DD98D9-9249-BA41-9263-BD9B6BE03927}"/>
              </a:ext>
            </a:extLst>
          </p:cNvPr>
          <p:cNvSpPr>
            <a:spLocks noGrp="1"/>
          </p:cNvSpPr>
          <p:nvPr>
            <p:ph type="body" sz="quarter" idx="58" hasCustomPrompt="1"/>
          </p:nvPr>
        </p:nvSpPr>
        <p:spPr>
          <a:xfrm>
            <a:off x="8364149" y="3801081"/>
            <a:ext cx="933048" cy="584792"/>
          </a:xfrm>
          <a:prstGeom prst="rect">
            <a:avLst/>
          </a:prstGeom>
        </p:spPr>
        <p:txBody>
          <a:bodyPr anchor="b"/>
          <a:lstStyle>
            <a:lvl1pPr marL="0" indent="0" algn="r">
              <a:buNone/>
              <a:defRPr sz="1200" b="1">
                <a:solidFill>
                  <a:schemeClr val="accent2"/>
                </a:solidFill>
                <a:latin typeface="Santander Headline" panose="020B0504020201020104" pitchFamily="34" charset="0"/>
              </a:defRPr>
            </a:lvl1pPr>
            <a:lvl2pPr marL="0" indent="0" algn="r">
              <a:spcBef>
                <a:spcPts val="0"/>
              </a:spcBef>
              <a:spcAft>
                <a:spcPts val="600"/>
              </a:spcAft>
              <a:buNone/>
              <a:defRPr sz="800">
                <a:latin typeface="+mj-lt"/>
              </a:defRPr>
            </a:lvl2pPr>
            <a:lvl3pPr>
              <a:defRPr sz="1200"/>
            </a:lvl3pPr>
            <a:lvl4pPr>
              <a:defRPr sz="1200"/>
            </a:lvl4pPr>
            <a:lvl5pPr>
              <a:defRPr sz="1200"/>
            </a:lvl5pPr>
          </a:lstStyle>
          <a:p>
            <a:pPr lvl="0"/>
            <a:r>
              <a:rPr lang="es-ES"/>
              <a:t>#######</a:t>
            </a:r>
          </a:p>
          <a:p>
            <a:pPr lvl="1"/>
            <a:r>
              <a:rPr lang="es-ES" err="1"/>
              <a:t>Second</a:t>
            </a:r>
            <a:r>
              <a:rPr lang="es-ES"/>
              <a:t> </a:t>
            </a:r>
            <a:r>
              <a:rPr lang="es-ES" err="1"/>
              <a:t>level</a:t>
            </a:r>
            <a:endParaRPr lang="es-ES"/>
          </a:p>
        </p:txBody>
      </p:sp>
      <p:sp>
        <p:nvSpPr>
          <p:cNvPr id="5" name="Marcador de número de diapositiva 5">
            <a:extLst>
              <a:ext uri="{FF2B5EF4-FFF2-40B4-BE49-F238E27FC236}">
                <a16:creationId xmlns:a16="http://schemas.microsoft.com/office/drawing/2014/main" id="{C6E59276-D8F7-F21A-EC77-3E6EC052D40E}"/>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7" name="Footnotes">
            <a:extLst>
              <a:ext uri="{FF2B5EF4-FFF2-40B4-BE49-F238E27FC236}">
                <a16:creationId xmlns:a16="http://schemas.microsoft.com/office/drawing/2014/main" id="{20E0EB3B-B215-4AC9-B1DD-BDF13FEFA46D}"/>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0072EE0E-5CDB-3784-4F8E-B693F47A33DC}"/>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754606" y="6214291"/>
            <a:ext cx="1564445" cy="293776"/>
          </a:xfrm>
          <a:prstGeom prst="rect">
            <a:avLst/>
          </a:prstGeom>
        </p:spPr>
      </p:pic>
      <p:sp>
        <p:nvSpPr>
          <p:cNvPr id="4" name="Título 1">
            <a:extLst>
              <a:ext uri="{FF2B5EF4-FFF2-40B4-BE49-F238E27FC236}">
                <a16:creationId xmlns:a16="http://schemas.microsoft.com/office/drawing/2014/main" id="{2D276A97-1769-128A-D69B-16964234E34A}"/>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6" name="Marcador de texto 14">
            <a:extLst>
              <a:ext uri="{FF2B5EF4-FFF2-40B4-BE49-F238E27FC236}">
                <a16:creationId xmlns:a16="http://schemas.microsoft.com/office/drawing/2014/main" id="{1A3FA22D-78B6-DD7A-D26B-8B9B5A791D71}"/>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8" name="Marcador de texto 14">
            <a:extLst>
              <a:ext uri="{FF2B5EF4-FFF2-40B4-BE49-F238E27FC236}">
                <a16:creationId xmlns:a16="http://schemas.microsoft.com/office/drawing/2014/main" id="{59437B79-C692-DFB7-6A1D-FD433BF7D486}"/>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2" name="Text Placeholder 3">
            <a:extLst>
              <a:ext uri="{FF2B5EF4-FFF2-40B4-BE49-F238E27FC236}">
                <a16:creationId xmlns:a16="http://schemas.microsoft.com/office/drawing/2014/main" id="{470CB0FC-9E8B-9F4D-2FF3-B575314C6826}"/>
              </a:ext>
            </a:extLst>
          </p:cNvPr>
          <p:cNvSpPr>
            <a:spLocks noGrp="1"/>
          </p:cNvSpPr>
          <p:nvPr>
            <p:ph type="body" sz="quarter" idx="16"/>
          </p:nvPr>
        </p:nvSpPr>
        <p:spPr>
          <a:xfrm>
            <a:off x="10815678" y="89692"/>
            <a:ext cx="1285311" cy="281220"/>
          </a:xfrm>
          <a:prstGeom prst="rect">
            <a:avLst/>
          </a:prstGeo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solidFill>
                  <a:schemeClr val="bg1">
                    <a:alpha val="0"/>
                  </a:schemeClr>
                </a:solidFill>
              </a:defRPr>
            </a:lvl1pPr>
          </a:lstStyle>
          <a:p>
            <a:pPr lvl="0"/>
            <a:endParaRPr lang="en-GB"/>
          </a:p>
        </p:txBody>
      </p:sp>
    </p:spTree>
    <p:extLst>
      <p:ext uri="{BB962C8B-B14F-4D97-AF65-F5344CB8AC3E}">
        <p14:creationId xmlns:p14="http://schemas.microsoft.com/office/powerpoint/2010/main" val="26953207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9_Header &amp; Content chart">
    <p:spTree>
      <p:nvGrpSpPr>
        <p:cNvPr id="1" name=""/>
        <p:cNvGrpSpPr/>
        <p:nvPr/>
      </p:nvGrpSpPr>
      <p:grpSpPr>
        <a:xfrm>
          <a:off x="0" y="0"/>
          <a:ext cx="0" cy="0"/>
          <a:chOff x="0" y="0"/>
          <a:chExt cx="0" cy="0"/>
        </a:xfrm>
      </p:grpSpPr>
      <p:sp>
        <p:nvSpPr>
          <p:cNvPr id="11" name="Marcador de gráfico 4">
            <a:extLst>
              <a:ext uri="{FF2B5EF4-FFF2-40B4-BE49-F238E27FC236}">
                <a16:creationId xmlns:a16="http://schemas.microsoft.com/office/drawing/2014/main" id="{DDB47ECD-D289-B332-AFCF-657A090A543D}"/>
              </a:ext>
            </a:extLst>
          </p:cNvPr>
          <p:cNvSpPr>
            <a:spLocks noGrp="1"/>
          </p:cNvSpPr>
          <p:nvPr>
            <p:ph type="chart" sz="quarter" idx="20" hasCustomPrompt="1"/>
          </p:nvPr>
        </p:nvSpPr>
        <p:spPr>
          <a:xfrm>
            <a:off x="711200" y="2082800"/>
            <a:ext cx="3857735" cy="4010024"/>
          </a:xfrm>
          <a:prstGeom prst="rect">
            <a:avLst/>
          </a:prstGeom>
        </p:spPr>
        <p:txBody>
          <a:bodyPr>
            <a:normAutofit/>
          </a:bodyPr>
          <a:lstStyle>
            <a:lvl1pPr marL="0" indent="0" algn="ctr">
              <a:lnSpc>
                <a:spcPct val="120000"/>
              </a:lnSpc>
              <a:spcBef>
                <a:spcPts val="0"/>
              </a:spcBef>
              <a:buFontTx/>
              <a:buNone/>
              <a:defRPr sz="1100">
                <a:solidFill>
                  <a:schemeClr val="tx1"/>
                </a:solidFill>
                <a:latin typeface="+mj-lt"/>
              </a:defRPr>
            </a:lvl1pPr>
          </a:lstStyle>
          <a:p>
            <a:r>
              <a:rPr lang="es-ES" err="1"/>
              <a:t>Insert</a:t>
            </a:r>
            <a:r>
              <a:rPr lang="es-ES"/>
              <a:t> </a:t>
            </a:r>
            <a:r>
              <a:rPr lang="es-ES" err="1"/>
              <a:t>graphic</a:t>
            </a:r>
            <a:r>
              <a:rPr lang="es-ES"/>
              <a:t> </a:t>
            </a:r>
            <a:r>
              <a:rPr lang="es-ES" err="1"/>
              <a:t>here</a:t>
            </a:r>
            <a:endParaRPr lang="es-ES"/>
          </a:p>
        </p:txBody>
      </p:sp>
      <p:sp>
        <p:nvSpPr>
          <p:cNvPr id="12" name="Marcador de gráfico 4">
            <a:extLst>
              <a:ext uri="{FF2B5EF4-FFF2-40B4-BE49-F238E27FC236}">
                <a16:creationId xmlns:a16="http://schemas.microsoft.com/office/drawing/2014/main" id="{39A07F38-0B48-C399-7364-C53F795C3376}"/>
              </a:ext>
            </a:extLst>
          </p:cNvPr>
          <p:cNvSpPr>
            <a:spLocks noGrp="1"/>
          </p:cNvSpPr>
          <p:nvPr>
            <p:ph type="chart" sz="quarter" idx="21" hasCustomPrompt="1"/>
          </p:nvPr>
        </p:nvSpPr>
        <p:spPr>
          <a:xfrm>
            <a:off x="4867835" y="2082800"/>
            <a:ext cx="6628946" cy="4010023"/>
          </a:xfrm>
          <a:prstGeom prst="rect">
            <a:avLst/>
          </a:prstGeom>
        </p:spPr>
        <p:txBody>
          <a:bodyPr>
            <a:normAutofit/>
          </a:bodyPr>
          <a:lstStyle>
            <a:lvl1pPr marL="0" indent="0" algn="ctr">
              <a:lnSpc>
                <a:spcPct val="120000"/>
              </a:lnSpc>
              <a:spcBef>
                <a:spcPts val="0"/>
              </a:spcBef>
              <a:buFontTx/>
              <a:buNone/>
              <a:defRPr sz="1100">
                <a:solidFill>
                  <a:schemeClr val="tx1"/>
                </a:solidFill>
                <a:latin typeface="+mj-lt"/>
              </a:defRPr>
            </a:lvl1pPr>
          </a:lstStyle>
          <a:p>
            <a:r>
              <a:rPr lang="es-ES" err="1"/>
              <a:t>Insert</a:t>
            </a:r>
            <a:r>
              <a:rPr lang="es-ES"/>
              <a:t> </a:t>
            </a:r>
            <a:r>
              <a:rPr lang="es-ES" err="1"/>
              <a:t>graphic</a:t>
            </a:r>
            <a:r>
              <a:rPr lang="es-ES"/>
              <a:t> </a:t>
            </a:r>
            <a:r>
              <a:rPr lang="es-ES" err="1"/>
              <a:t>here</a:t>
            </a:r>
            <a:endParaRPr lang="es-ES"/>
          </a:p>
        </p:txBody>
      </p:sp>
      <p:sp>
        <p:nvSpPr>
          <p:cNvPr id="14" name="Marcador de texto 16">
            <a:extLst>
              <a:ext uri="{FF2B5EF4-FFF2-40B4-BE49-F238E27FC236}">
                <a16:creationId xmlns:a16="http://schemas.microsoft.com/office/drawing/2014/main" id="{0855F0C8-2993-38E5-7895-60C4BBDB3C4C}"/>
              </a:ext>
            </a:extLst>
          </p:cNvPr>
          <p:cNvSpPr>
            <a:spLocks noGrp="1"/>
          </p:cNvSpPr>
          <p:nvPr>
            <p:ph type="body" sz="quarter" idx="19" hasCustomPrompt="1"/>
          </p:nvPr>
        </p:nvSpPr>
        <p:spPr>
          <a:xfrm>
            <a:off x="4867835" y="1293402"/>
            <a:ext cx="6587576" cy="606518"/>
          </a:xfrm>
          <a:prstGeom prst="rect">
            <a:avLst/>
          </a:prstGeom>
        </p:spPr>
        <p:txBody>
          <a:bodyPr>
            <a:noAutofit/>
          </a:bodyPr>
          <a:lstStyle>
            <a:lvl1pPr marL="0" indent="0">
              <a:spcBef>
                <a:spcPts val="0"/>
              </a:spcBef>
              <a:spcAft>
                <a:spcPts val="2200"/>
              </a:spcAft>
              <a:buFontTx/>
              <a:buNone/>
              <a:defRPr lang="en-US" sz="1100" kern="1200" dirty="0">
                <a:solidFill>
                  <a:schemeClr val="tx1"/>
                </a:solidFill>
                <a:latin typeface="+mj-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marL="0" lvl="0" indent="0" algn="l" defTabSz="914400" rtl="0" eaLnBrk="1" latinLnBrk="0" hangingPunct="1">
              <a:lnSpc>
                <a:spcPct val="100000"/>
              </a:lnSpc>
              <a:spcBef>
                <a:spcPts val="0"/>
              </a:spcBef>
              <a:spcAft>
                <a:spcPts val="1100"/>
              </a:spcAft>
              <a:buClr>
                <a:schemeClr val="tx2"/>
              </a:buClr>
              <a:buFont typeface="Wingdings" panose="05000000000000000000" pitchFamily="2" charset="2"/>
              <a:buNone/>
            </a:pPr>
            <a:r>
              <a:rPr lang="en-US"/>
              <a:t>Edit Master text styles</a:t>
            </a:r>
          </a:p>
        </p:txBody>
      </p:sp>
      <p:sp>
        <p:nvSpPr>
          <p:cNvPr id="16" name="Marcador de texto 16">
            <a:extLst>
              <a:ext uri="{FF2B5EF4-FFF2-40B4-BE49-F238E27FC236}">
                <a16:creationId xmlns:a16="http://schemas.microsoft.com/office/drawing/2014/main" id="{D0ACE7E0-C08F-E3B7-299F-072D581748E6}"/>
              </a:ext>
            </a:extLst>
          </p:cNvPr>
          <p:cNvSpPr>
            <a:spLocks noGrp="1"/>
          </p:cNvSpPr>
          <p:nvPr>
            <p:ph type="body" sz="quarter" idx="15"/>
          </p:nvPr>
        </p:nvSpPr>
        <p:spPr>
          <a:xfrm>
            <a:off x="711025" y="1293403"/>
            <a:ext cx="3857910" cy="606518"/>
          </a:xfrm>
          <a:prstGeom prst="rect">
            <a:avLst/>
          </a:prstGeom>
        </p:spPr>
        <p:txBody>
          <a:bodyPr>
            <a:noAutofit/>
          </a:bodyPr>
          <a:lstStyle>
            <a:lvl1pPr marL="0" indent="0">
              <a:lnSpc>
                <a:spcPct val="120000"/>
              </a:lnSpc>
              <a:spcBef>
                <a:spcPts val="0"/>
              </a:spcBef>
              <a:spcAft>
                <a:spcPts val="0"/>
              </a:spcAft>
              <a:buFontTx/>
              <a:buNone/>
              <a:defRPr lang="en-US" sz="1100" kern="1200" dirty="0">
                <a:solidFill>
                  <a:schemeClr val="tx1"/>
                </a:solidFill>
                <a:latin typeface="+mj-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marL="0" lvl="0" indent="0" algn="l" defTabSz="914400" rtl="0" eaLnBrk="1" latinLnBrk="0" hangingPunct="1">
              <a:lnSpc>
                <a:spcPct val="100000"/>
              </a:lnSpc>
              <a:spcBef>
                <a:spcPts val="0"/>
              </a:spcBef>
              <a:spcAft>
                <a:spcPts val="1100"/>
              </a:spcAft>
              <a:buClr>
                <a:schemeClr val="tx2"/>
              </a:buClr>
              <a:buFont typeface="Wingdings" panose="05000000000000000000" pitchFamily="2" charset="2"/>
              <a:buNone/>
            </a:pPr>
            <a:r>
              <a:rPr lang="en-US"/>
              <a:t>Edit Master text styles</a:t>
            </a:r>
          </a:p>
        </p:txBody>
      </p:sp>
      <p:sp>
        <p:nvSpPr>
          <p:cNvPr id="4" name="Marcador de número de diapositiva 5">
            <a:extLst>
              <a:ext uri="{FF2B5EF4-FFF2-40B4-BE49-F238E27FC236}">
                <a16:creationId xmlns:a16="http://schemas.microsoft.com/office/drawing/2014/main" id="{DF04C082-EDE7-214C-28AD-A3F4327F56CD}"/>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pic>
        <p:nvPicPr>
          <p:cNvPr id="8" name="Gráfico 7">
            <a:extLst>
              <a:ext uri="{FF2B5EF4-FFF2-40B4-BE49-F238E27FC236}">
                <a16:creationId xmlns:a16="http://schemas.microsoft.com/office/drawing/2014/main" id="{74C87C73-C11D-362D-BE0B-4FC5E5F4F89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6" name="Título 1">
            <a:extLst>
              <a:ext uri="{FF2B5EF4-FFF2-40B4-BE49-F238E27FC236}">
                <a16:creationId xmlns:a16="http://schemas.microsoft.com/office/drawing/2014/main" id="{1D4FF09C-0511-9DF0-80DD-DDC94CC97BF5}"/>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10" name="Marcador de texto 14">
            <a:extLst>
              <a:ext uri="{FF2B5EF4-FFF2-40B4-BE49-F238E27FC236}">
                <a16:creationId xmlns:a16="http://schemas.microsoft.com/office/drawing/2014/main" id="{EBB8D20D-C485-582F-D3EC-FE7E42A754EB}"/>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853C1566-5C59-7834-9327-02E5BE2ABBD5}"/>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5" name="Footnotes">
            <a:extLst>
              <a:ext uri="{FF2B5EF4-FFF2-40B4-BE49-F238E27FC236}">
                <a16:creationId xmlns:a16="http://schemas.microsoft.com/office/drawing/2014/main" id="{B4E015C8-AE3F-AEE7-FA66-E1A30759E674}"/>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spTree>
    <p:extLst>
      <p:ext uri="{BB962C8B-B14F-4D97-AF65-F5344CB8AC3E}">
        <p14:creationId xmlns:p14="http://schemas.microsoft.com/office/powerpoint/2010/main" val="34424898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Header &amp; Content Tab">
    <p:spTree>
      <p:nvGrpSpPr>
        <p:cNvPr id="1" name=""/>
        <p:cNvGrpSpPr/>
        <p:nvPr/>
      </p:nvGrpSpPr>
      <p:grpSpPr>
        <a:xfrm>
          <a:off x="0" y="0"/>
          <a:ext cx="0" cy="0"/>
          <a:chOff x="0" y="0"/>
          <a:chExt cx="0" cy="0"/>
        </a:xfrm>
      </p:grpSpPr>
      <p:sp>
        <p:nvSpPr>
          <p:cNvPr id="6" name="Marcador de tabla 11">
            <a:extLst>
              <a:ext uri="{FF2B5EF4-FFF2-40B4-BE49-F238E27FC236}">
                <a16:creationId xmlns:a16="http://schemas.microsoft.com/office/drawing/2014/main" id="{E4247FA5-46C6-7CAB-9B87-932CDB09C15D}"/>
              </a:ext>
            </a:extLst>
          </p:cNvPr>
          <p:cNvSpPr>
            <a:spLocks noGrp="1"/>
          </p:cNvSpPr>
          <p:nvPr>
            <p:ph type="tbl" sz="quarter" idx="48" hasCustomPrompt="1"/>
          </p:nvPr>
        </p:nvSpPr>
        <p:spPr>
          <a:xfrm>
            <a:off x="693939" y="1435100"/>
            <a:ext cx="10991650" cy="4657725"/>
          </a:xfrm>
          <a:prstGeom prst="rect">
            <a:avLst/>
          </a:prstGeom>
        </p:spPr>
        <p:txBody>
          <a:bodyPr/>
          <a:lstStyle>
            <a:lvl1pPr marL="0" indent="0" algn="ctr">
              <a:buNone/>
              <a:defRPr sz="1400">
                <a:latin typeface="Santander Headline" panose="020B0504020201020104" pitchFamily="34" charset="0"/>
              </a:defRPr>
            </a:lvl1pPr>
          </a:lstStyle>
          <a:p>
            <a:r>
              <a:rPr lang="es-ES" err="1"/>
              <a:t>Insert</a:t>
            </a:r>
            <a:r>
              <a:rPr lang="es-ES"/>
              <a:t> </a:t>
            </a:r>
            <a:r>
              <a:rPr lang="es-ES" err="1"/>
              <a:t>Tab</a:t>
            </a:r>
            <a:r>
              <a:rPr lang="es-ES"/>
              <a:t> Here</a:t>
            </a:r>
          </a:p>
        </p:txBody>
      </p:sp>
      <p:sp>
        <p:nvSpPr>
          <p:cNvPr id="5" name="Marcador de número de diapositiva 5">
            <a:extLst>
              <a:ext uri="{FF2B5EF4-FFF2-40B4-BE49-F238E27FC236}">
                <a16:creationId xmlns:a16="http://schemas.microsoft.com/office/drawing/2014/main" id="{90C6F55F-2006-1E81-3593-400BB70391AC}"/>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11" name="Footnotes">
            <a:extLst>
              <a:ext uri="{FF2B5EF4-FFF2-40B4-BE49-F238E27FC236}">
                <a16:creationId xmlns:a16="http://schemas.microsoft.com/office/drawing/2014/main" id="{B0D97C01-751D-DEF1-3012-7E9346462C0C}"/>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018C8F64-6E23-B7FF-F90F-B0F2D77AD23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8" name="Título 1">
            <a:extLst>
              <a:ext uri="{FF2B5EF4-FFF2-40B4-BE49-F238E27FC236}">
                <a16:creationId xmlns:a16="http://schemas.microsoft.com/office/drawing/2014/main" id="{6716295B-2880-4B20-68DC-FDD77CB6E34E}"/>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9" name="Marcador de texto 14">
            <a:extLst>
              <a:ext uri="{FF2B5EF4-FFF2-40B4-BE49-F238E27FC236}">
                <a16:creationId xmlns:a16="http://schemas.microsoft.com/office/drawing/2014/main" id="{1B1858B1-76DB-0E27-8BBA-81A1F3E21048}"/>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69640413-81DE-205C-A381-97D6E11CFF23}"/>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6560853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World Map">
    <p:spTree>
      <p:nvGrpSpPr>
        <p:cNvPr id="1" name=""/>
        <p:cNvGrpSpPr/>
        <p:nvPr/>
      </p:nvGrpSpPr>
      <p:grpSpPr>
        <a:xfrm>
          <a:off x="0" y="0"/>
          <a:ext cx="0" cy="0"/>
          <a:chOff x="0" y="0"/>
          <a:chExt cx="0" cy="0"/>
        </a:xfrm>
      </p:grpSpPr>
      <p:sp>
        <p:nvSpPr>
          <p:cNvPr id="273" name="Rectángulo 272">
            <a:extLst>
              <a:ext uri="{FF2B5EF4-FFF2-40B4-BE49-F238E27FC236}">
                <a16:creationId xmlns:a16="http://schemas.microsoft.com/office/drawing/2014/main" id="{4665A6E7-9034-7194-C54B-3244381E3D4B}"/>
              </a:ext>
            </a:extLst>
          </p:cNvPr>
          <p:cNvSpPr/>
          <p:nvPr userDrawn="1"/>
        </p:nvSpPr>
        <p:spPr>
          <a:xfrm>
            <a:off x="693738" y="1373982"/>
            <a:ext cx="10984992" cy="451643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latin typeface="Santander Headline" panose="020B0504020201020104" pitchFamily="34" charset="0"/>
            </a:endParaRPr>
          </a:p>
        </p:txBody>
      </p:sp>
      <p:grpSp>
        <p:nvGrpSpPr>
          <p:cNvPr id="4" name="Grupo 24">
            <a:extLst>
              <a:ext uri="{FF2B5EF4-FFF2-40B4-BE49-F238E27FC236}">
                <a16:creationId xmlns:a16="http://schemas.microsoft.com/office/drawing/2014/main" id="{00956E12-B5E5-5ED8-7DA8-B085ED347F3E}"/>
              </a:ext>
            </a:extLst>
          </p:cNvPr>
          <p:cNvGrpSpPr>
            <a:grpSpLocks noChangeAspect="1"/>
          </p:cNvGrpSpPr>
          <p:nvPr userDrawn="1"/>
        </p:nvGrpSpPr>
        <p:grpSpPr>
          <a:xfrm>
            <a:off x="1810215" y="1485620"/>
            <a:ext cx="8571571" cy="4427581"/>
            <a:chOff x="3495243" y="1444483"/>
            <a:chExt cx="8032448" cy="4149100"/>
          </a:xfrm>
          <a:solidFill>
            <a:schemeClr val="accent3"/>
          </a:solidFill>
        </p:grpSpPr>
        <p:grpSp>
          <p:nvGrpSpPr>
            <p:cNvPr id="5" name="Grupo 2">
              <a:extLst>
                <a:ext uri="{FF2B5EF4-FFF2-40B4-BE49-F238E27FC236}">
                  <a16:creationId xmlns:a16="http://schemas.microsoft.com/office/drawing/2014/main" id="{3D73F522-D441-E2AA-2052-E84E325F6B4F}"/>
                </a:ext>
              </a:extLst>
            </p:cNvPr>
            <p:cNvGrpSpPr/>
            <p:nvPr/>
          </p:nvGrpSpPr>
          <p:grpSpPr>
            <a:xfrm>
              <a:off x="3495243" y="1444483"/>
              <a:ext cx="3526560" cy="4149100"/>
              <a:chOff x="1331162" y="1114954"/>
              <a:chExt cx="4010242" cy="4718166"/>
            </a:xfrm>
            <a:grpFill/>
          </p:grpSpPr>
          <p:grpSp>
            <p:nvGrpSpPr>
              <p:cNvPr id="402" name="Group 236">
                <a:extLst>
                  <a:ext uri="{FF2B5EF4-FFF2-40B4-BE49-F238E27FC236}">
                    <a16:creationId xmlns:a16="http://schemas.microsoft.com/office/drawing/2014/main" id="{7B04133D-CE17-AEF0-A181-A5E7023B10F4}"/>
                  </a:ext>
                </a:extLst>
              </p:cNvPr>
              <p:cNvGrpSpPr>
                <a:grpSpLocks noChangeAspect="1"/>
              </p:cNvGrpSpPr>
              <p:nvPr/>
            </p:nvGrpSpPr>
            <p:grpSpPr bwMode="auto">
              <a:xfrm>
                <a:off x="3297669" y="3785641"/>
                <a:ext cx="1662855" cy="2047479"/>
                <a:chOff x="1936" y="2493"/>
                <a:chExt cx="1150" cy="1416"/>
              </a:xfrm>
              <a:grpFill/>
            </p:grpSpPr>
            <p:sp>
              <p:nvSpPr>
                <p:cNvPr id="444" name="Freeform 237">
                  <a:extLst>
                    <a:ext uri="{FF2B5EF4-FFF2-40B4-BE49-F238E27FC236}">
                      <a16:creationId xmlns:a16="http://schemas.microsoft.com/office/drawing/2014/main" id="{2B086A72-EA1D-939A-533B-A2DB93A3DB7B}"/>
                    </a:ext>
                  </a:extLst>
                </p:cNvPr>
                <p:cNvSpPr>
                  <a:spLocks/>
                </p:cNvSpPr>
                <p:nvPr/>
              </p:nvSpPr>
              <p:spPr bwMode="auto">
                <a:xfrm>
                  <a:off x="2323" y="2890"/>
                  <a:ext cx="213" cy="241"/>
                </a:xfrm>
                <a:custGeom>
                  <a:avLst/>
                  <a:gdLst>
                    <a:gd name="T0" fmla="*/ 15 w 213"/>
                    <a:gd name="T1" fmla="*/ 53 h 241"/>
                    <a:gd name="T2" fmla="*/ 10 w 213"/>
                    <a:gd name="T3" fmla="*/ 73 h 241"/>
                    <a:gd name="T4" fmla="*/ 12 w 213"/>
                    <a:gd name="T5" fmla="*/ 82 h 241"/>
                    <a:gd name="T6" fmla="*/ 6 w 213"/>
                    <a:gd name="T7" fmla="*/ 96 h 241"/>
                    <a:gd name="T8" fmla="*/ 5 w 213"/>
                    <a:gd name="T9" fmla="*/ 105 h 241"/>
                    <a:gd name="T10" fmla="*/ 6 w 213"/>
                    <a:gd name="T11" fmla="*/ 115 h 241"/>
                    <a:gd name="T12" fmla="*/ 13 w 213"/>
                    <a:gd name="T13" fmla="*/ 118 h 241"/>
                    <a:gd name="T14" fmla="*/ 10 w 213"/>
                    <a:gd name="T15" fmla="*/ 122 h 241"/>
                    <a:gd name="T16" fmla="*/ 8 w 213"/>
                    <a:gd name="T17" fmla="*/ 127 h 241"/>
                    <a:gd name="T18" fmla="*/ 0 w 213"/>
                    <a:gd name="T19" fmla="*/ 135 h 241"/>
                    <a:gd name="T20" fmla="*/ 2 w 213"/>
                    <a:gd name="T21" fmla="*/ 141 h 241"/>
                    <a:gd name="T22" fmla="*/ 6 w 213"/>
                    <a:gd name="T23" fmla="*/ 150 h 241"/>
                    <a:gd name="T24" fmla="*/ 13 w 213"/>
                    <a:gd name="T25" fmla="*/ 168 h 241"/>
                    <a:gd name="T26" fmla="*/ 20 w 213"/>
                    <a:gd name="T27" fmla="*/ 177 h 241"/>
                    <a:gd name="T28" fmla="*/ 18 w 213"/>
                    <a:gd name="T29" fmla="*/ 183 h 241"/>
                    <a:gd name="T30" fmla="*/ 18 w 213"/>
                    <a:gd name="T31" fmla="*/ 188 h 241"/>
                    <a:gd name="T32" fmla="*/ 16 w 213"/>
                    <a:gd name="T33" fmla="*/ 190 h 241"/>
                    <a:gd name="T34" fmla="*/ 15 w 213"/>
                    <a:gd name="T35" fmla="*/ 194 h 241"/>
                    <a:gd name="T36" fmla="*/ 19 w 213"/>
                    <a:gd name="T37" fmla="*/ 201 h 241"/>
                    <a:gd name="T38" fmla="*/ 23 w 213"/>
                    <a:gd name="T39" fmla="*/ 208 h 241"/>
                    <a:gd name="T40" fmla="*/ 29 w 213"/>
                    <a:gd name="T41" fmla="*/ 229 h 241"/>
                    <a:gd name="T42" fmla="*/ 36 w 213"/>
                    <a:gd name="T43" fmla="*/ 241 h 241"/>
                    <a:gd name="T44" fmla="*/ 53 w 213"/>
                    <a:gd name="T45" fmla="*/ 229 h 241"/>
                    <a:gd name="T46" fmla="*/ 59 w 213"/>
                    <a:gd name="T47" fmla="*/ 223 h 241"/>
                    <a:gd name="T48" fmla="*/ 68 w 213"/>
                    <a:gd name="T49" fmla="*/ 226 h 241"/>
                    <a:gd name="T50" fmla="*/ 89 w 213"/>
                    <a:gd name="T51" fmla="*/ 231 h 241"/>
                    <a:gd name="T52" fmla="*/ 99 w 213"/>
                    <a:gd name="T53" fmla="*/ 227 h 241"/>
                    <a:gd name="T54" fmla="*/ 118 w 213"/>
                    <a:gd name="T55" fmla="*/ 224 h 241"/>
                    <a:gd name="T56" fmla="*/ 127 w 213"/>
                    <a:gd name="T57" fmla="*/ 216 h 241"/>
                    <a:gd name="T58" fmla="*/ 140 w 213"/>
                    <a:gd name="T59" fmla="*/ 180 h 241"/>
                    <a:gd name="T60" fmla="*/ 187 w 213"/>
                    <a:gd name="T61" fmla="*/ 175 h 241"/>
                    <a:gd name="T62" fmla="*/ 201 w 213"/>
                    <a:gd name="T63" fmla="*/ 190 h 241"/>
                    <a:gd name="T64" fmla="*/ 204 w 213"/>
                    <a:gd name="T65" fmla="*/ 184 h 241"/>
                    <a:gd name="T66" fmla="*/ 207 w 213"/>
                    <a:gd name="T67" fmla="*/ 171 h 241"/>
                    <a:gd name="T68" fmla="*/ 210 w 213"/>
                    <a:gd name="T69" fmla="*/ 160 h 241"/>
                    <a:gd name="T70" fmla="*/ 210 w 213"/>
                    <a:gd name="T71" fmla="*/ 147 h 241"/>
                    <a:gd name="T72" fmla="*/ 207 w 213"/>
                    <a:gd name="T73" fmla="*/ 141 h 241"/>
                    <a:gd name="T74" fmla="*/ 200 w 213"/>
                    <a:gd name="T75" fmla="*/ 138 h 241"/>
                    <a:gd name="T76" fmla="*/ 197 w 213"/>
                    <a:gd name="T77" fmla="*/ 125 h 241"/>
                    <a:gd name="T78" fmla="*/ 171 w 213"/>
                    <a:gd name="T79" fmla="*/ 118 h 241"/>
                    <a:gd name="T80" fmla="*/ 166 w 213"/>
                    <a:gd name="T81" fmla="*/ 108 h 241"/>
                    <a:gd name="T82" fmla="*/ 164 w 213"/>
                    <a:gd name="T83" fmla="*/ 96 h 241"/>
                    <a:gd name="T84" fmla="*/ 161 w 213"/>
                    <a:gd name="T85" fmla="*/ 75 h 241"/>
                    <a:gd name="T86" fmla="*/ 150 w 213"/>
                    <a:gd name="T87" fmla="*/ 68 h 241"/>
                    <a:gd name="T88" fmla="*/ 135 w 213"/>
                    <a:gd name="T89" fmla="*/ 65 h 241"/>
                    <a:gd name="T90" fmla="*/ 124 w 213"/>
                    <a:gd name="T91" fmla="*/ 59 h 241"/>
                    <a:gd name="T92" fmla="*/ 115 w 213"/>
                    <a:gd name="T93" fmla="*/ 53 h 241"/>
                    <a:gd name="T94" fmla="*/ 112 w 213"/>
                    <a:gd name="T95" fmla="*/ 53 h 241"/>
                    <a:gd name="T96" fmla="*/ 95 w 213"/>
                    <a:gd name="T97" fmla="*/ 49 h 241"/>
                    <a:gd name="T98" fmla="*/ 82 w 213"/>
                    <a:gd name="T99" fmla="*/ 39 h 241"/>
                    <a:gd name="T100" fmla="*/ 75 w 213"/>
                    <a:gd name="T101" fmla="*/ 24 h 241"/>
                    <a:gd name="T102" fmla="*/ 74 w 213"/>
                    <a:gd name="T103" fmla="*/ 14 h 241"/>
                    <a:gd name="T104" fmla="*/ 76 w 213"/>
                    <a:gd name="T105" fmla="*/ 7 h 241"/>
                    <a:gd name="T106" fmla="*/ 72 w 213"/>
                    <a:gd name="T107" fmla="*/ 0 h 241"/>
                    <a:gd name="T108" fmla="*/ 69 w 213"/>
                    <a:gd name="T109" fmla="*/ 0 h 241"/>
                    <a:gd name="T110" fmla="*/ 39 w 213"/>
                    <a:gd name="T111" fmla="*/ 12 h 241"/>
                    <a:gd name="T112" fmla="*/ 31 w 213"/>
                    <a:gd name="T113" fmla="*/ 17 h 241"/>
                    <a:gd name="T114" fmla="*/ 20 w 213"/>
                    <a:gd name="T115" fmla="*/ 23 h 241"/>
                    <a:gd name="T116" fmla="*/ 10 w 213"/>
                    <a:gd name="T117" fmla="*/ 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3" h="241">
                      <a:moveTo>
                        <a:pt x="16" y="47"/>
                      </a:moveTo>
                      <a:lnTo>
                        <a:pt x="16" y="49"/>
                      </a:lnTo>
                      <a:lnTo>
                        <a:pt x="16" y="50"/>
                      </a:lnTo>
                      <a:lnTo>
                        <a:pt x="15" y="52"/>
                      </a:lnTo>
                      <a:lnTo>
                        <a:pt x="15" y="53"/>
                      </a:lnTo>
                      <a:lnTo>
                        <a:pt x="12" y="56"/>
                      </a:lnTo>
                      <a:lnTo>
                        <a:pt x="12" y="58"/>
                      </a:lnTo>
                      <a:lnTo>
                        <a:pt x="12" y="59"/>
                      </a:lnTo>
                      <a:lnTo>
                        <a:pt x="10" y="72"/>
                      </a:lnTo>
                      <a:lnTo>
                        <a:pt x="10" y="73"/>
                      </a:lnTo>
                      <a:lnTo>
                        <a:pt x="12" y="75"/>
                      </a:lnTo>
                      <a:lnTo>
                        <a:pt x="13" y="78"/>
                      </a:lnTo>
                      <a:lnTo>
                        <a:pt x="13" y="79"/>
                      </a:lnTo>
                      <a:lnTo>
                        <a:pt x="12" y="81"/>
                      </a:lnTo>
                      <a:lnTo>
                        <a:pt x="12" y="82"/>
                      </a:lnTo>
                      <a:lnTo>
                        <a:pt x="6" y="89"/>
                      </a:lnTo>
                      <a:lnTo>
                        <a:pt x="6" y="91"/>
                      </a:lnTo>
                      <a:lnTo>
                        <a:pt x="5" y="92"/>
                      </a:lnTo>
                      <a:lnTo>
                        <a:pt x="5" y="93"/>
                      </a:lnTo>
                      <a:lnTo>
                        <a:pt x="6" y="96"/>
                      </a:lnTo>
                      <a:lnTo>
                        <a:pt x="6" y="98"/>
                      </a:lnTo>
                      <a:lnTo>
                        <a:pt x="8" y="99"/>
                      </a:lnTo>
                      <a:lnTo>
                        <a:pt x="8" y="99"/>
                      </a:lnTo>
                      <a:lnTo>
                        <a:pt x="6" y="104"/>
                      </a:lnTo>
                      <a:lnTo>
                        <a:pt x="5" y="105"/>
                      </a:lnTo>
                      <a:lnTo>
                        <a:pt x="5" y="106"/>
                      </a:lnTo>
                      <a:lnTo>
                        <a:pt x="5" y="108"/>
                      </a:lnTo>
                      <a:lnTo>
                        <a:pt x="5" y="109"/>
                      </a:lnTo>
                      <a:lnTo>
                        <a:pt x="6" y="112"/>
                      </a:lnTo>
                      <a:lnTo>
                        <a:pt x="6" y="115"/>
                      </a:lnTo>
                      <a:lnTo>
                        <a:pt x="8" y="116"/>
                      </a:lnTo>
                      <a:lnTo>
                        <a:pt x="9" y="116"/>
                      </a:lnTo>
                      <a:lnTo>
                        <a:pt x="10" y="116"/>
                      </a:lnTo>
                      <a:lnTo>
                        <a:pt x="13" y="118"/>
                      </a:lnTo>
                      <a:lnTo>
                        <a:pt x="13" y="118"/>
                      </a:lnTo>
                      <a:lnTo>
                        <a:pt x="13" y="119"/>
                      </a:lnTo>
                      <a:lnTo>
                        <a:pt x="13" y="121"/>
                      </a:lnTo>
                      <a:lnTo>
                        <a:pt x="12" y="121"/>
                      </a:lnTo>
                      <a:lnTo>
                        <a:pt x="10" y="122"/>
                      </a:lnTo>
                      <a:lnTo>
                        <a:pt x="10" y="122"/>
                      </a:lnTo>
                      <a:lnTo>
                        <a:pt x="10" y="124"/>
                      </a:lnTo>
                      <a:lnTo>
                        <a:pt x="10" y="125"/>
                      </a:lnTo>
                      <a:lnTo>
                        <a:pt x="10" y="125"/>
                      </a:lnTo>
                      <a:lnTo>
                        <a:pt x="9" y="127"/>
                      </a:lnTo>
                      <a:lnTo>
                        <a:pt x="8" y="127"/>
                      </a:lnTo>
                      <a:lnTo>
                        <a:pt x="5" y="131"/>
                      </a:lnTo>
                      <a:lnTo>
                        <a:pt x="3" y="132"/>
                      </a:lnTo>
                      <a:lnTo>
                        <a:pt x="2" y="134"/>
                      </a:lnTo>
                      <a:lnTo>
                        <a:pt x="2" y="134"/>
                      </a:lnTo>
                      <a:lnTo>
                        <a:pt x="0" y="135"/>
                      </a:lnTo>
                      <a:lnTo>
                        <a:pt x="0" y="137"/>
                      </a:lnTo>
                      <a:lnTo>
                        <a:pt x="0" y="138"/>
                      </a:lnTo>
                      <a:lnTo>
                        <a:pt x="2" y="138"/>
                      </a:lnTo>
                      <a:lnTo>
                        <a:pt x="2" y="139"/>
                      </a:lnTo>
                      <a:lnTo>
                        <a:pt x="2" y="141"/>
                      </a:lnTo>
                      <a:lnTo>
                        <a:pt x="3" y="142"/>
                      </a:lnTo>
                      <a:lnTo>
                        <a:pt x="3" y="144"/>
                      </a:lnTo>
                      <a:lnTo>
                        <a:pt x="5" y="147"/>
                      </a:lnTo>
                      <a:lnTo>
                        <a:pt x="6" y="148"/>
                      </a:lnTo>
                      <a:lnTo>
                        <a:pt x="6" y="150"/>
                      </a:lnTo>
                      <a:lnTo>
                        <a:pt x="9" y="151"/>
                      </a:lnTo>
                      <a:lnTo>
                        <a:pt x="9" y="151"/>
                      </a:lnTo>
                      <a:lnTo>
                        <a:pt x="9" y="155"/>
                      </a:lnTo>
                      <a:lnTo>
                        <a:pt x="12" y="164"/>
                      </a:lnTo>
                      <a:lnTo>
                        <a:pt x="13" y="168"/>
                      </a:lnTo>
                      <a:lnTo>
                        <a:pt x="15" y="170"/>
                      </a:lnTo>
                      <a:lnTo>
                        <a:pt x="18" y="172"/>
                      </a:lnTo>
                      <a:lnTo>
                        <a:pt x="19" y="174"/>
                      </a:lnTo>
                      <a:lnTo>
                        <a:pt x="20" y="175"/>
                      </a:lnTo>
                      <a:lnTo>
                        <a:pt x="20" y="177"/>
                      </a:lnTo>
                      <a:lnTo>
                        <a:pt x="19" y="178"/>
                      </a:lnTo>
                      <a:lnTo>
                        <a:pt x="18" y="180"/>
                      </a:lnTo>
                      <a:lnTo>
                        <a:pt x="18" y="180"/>
                      </a:lnTo>
                      <a:lnTo>
                        <a:pt x="18" y="181"/>
                      </a:lnTo>
                      <a:lnTo>
                        <a:pt x="18" y="183"/>
                      </a:lnTo>
                      <a:lnTo>
                        <a:pt x="18" y="183"/>
                      </a:lnTo>
                      <a:lnTo>
                        <a:pt x="18" y="184"/>
                      </a:lnTo>
                      <a:lnTo>
                        <a:pt x="19" y="185"/>
                      </a:lnTo>
                      <a:lnTo>
                        <a:pt x="18" y="187"/>
                      </a:lnTo>
                      <a:lnTo>
                        <a:pt x="18" y="188"/>
                      </a:lnTo>
                      <a:lnTo>
                        <a:pt x="18" y="188"/>
                      </a:lnTo>
                      <a:lnTo>
                        <a:pt x="16" y="188"/>
                      </a:lnTo>
                      <a:lnTo>
                        <a:pt x="16" y="188"/>
                      </a:lnTo>
                      <a:lnTo>
                        <a:pt x="16" y="188"/>
                      </a:lnTo>
                      <a:lnTo>
                        <a:pt x="16" y="190"/>
                      </a:lnTo>
                      <a:lnTo>
                        <a:pt x="16" y="190"/>
                      </a:lnTo>
                      <a:lnTo>
                        <a:pt x="16" y="191"/>
                      </a:lnTo>
                      <a:lnTo>
                        <a:pt x="16" y="191"/>
                      </a:lnTo>
                      <a:lnTo>
                        <a:pt x="16" y="194"/>
                      </a:lnTo>
                      <a:lnTo>
                        <a:pt x="15" y="194"/>
                      </a:lnTo>
                      <a:lnTo>
                        <a:pt x="16" y="195"/>
                      </a:lnTo>
                      <a:lnTo>
                        <a:pt x="19" y="197"/>
                      </a:lnTo>
                      <a:lnTo>
                        <a:pt x="20" y="198"/>
                      </a:lnTo>
                      <a:lnTo>
                        <a:pt x="20" y="200"/>
                      </a:lnTo>
                      <a:lnTo>
                        <a:pt x="19" y="201"/>
                      </a:lnTo>
                      <a:lnTo>
                        <a:pt x="19" y="203"/>
                      </a:lnTo>
                      <a:lnTo>
                        <a:pt x="19" y="203"/>
                      </a:lnTo>
                      <a:lnTo>
                        <a:pt x="19" y="204"/>
                      </a:lnTo>
                      <a:lnTo>
                        <a:pt x="22" y="207"/>
                      </a:lnTo>
                      <a:lnTo>
                        <a:pt x="23" y="208"/>
                      </a:lnTo>
                      <a:lnTo>
                        <a:pt x="25" y="211"/>
                      </a:lnTo>
                      <a:lnTo>
                        <a:pt x="26" y="220"/>
                      </a:lnTo>
                      <a:lnTo>
                        <a:pt x="28" y="223"/>
                      </a:lnTo>
                      <a:lnTo>
                        <a:pt x="29" y="227"/>
                      </a:lnTo>
                      <a:lnTo>
                        <a:pt x="29" y="229"/>
                      </a:lnTo>
                      <a:lnTo>
                        <a:pt x="29" y="230"/>
                      </a:lnTo>
                      <a:lnTo>
                        <a:pt x="31" y="237"/>
                      </a:lnTo>
                      <a:lnTo>
                        <a:pt x="31" y="239"/>
                      </a:lnTo>
                      <a:lnTo>
                        <a:pt x="33" y="241"/>
                      </a:lnTo>
                      <a:lnTo>
                        <a:pt x="36" y="241"/>
                      </a:lnTo>
                      <a:lnTo>
                        <a:pt x="39" y="241"/>
                      </a:lnTo>
                      <a:lnTo>
                        <a:pt x="43" y="240"/>
                      </a:lnTo>
                      <a:lnTo>
                        <a:pt x="48" y="233"/>
                      </a:lnTo>
                      <a:lnTo>
                        <a:pt x="51" y="230"/>
                      </a:lnTo>
                      <a:lnTo>
                        <a:pt x="53" y="229"/>
                      </a:lnTo>
                      <a:lnTo>
                        <a:pt x="55" y="229"/>
                      </a:lnTo>
                      <a:lnTo>
                        <a:pt x="56" y="227"/>
                      </a:lnTo>
                      <a:lnTo>
                        <a:pt x="58" y="227"/>
                      </a:lnTo>
                      <a:lnTo>
                        <a:pt x="58" y="226"/>
                      </a:lnTo>
                      <a:lnTo>
                        <a:pt x="59" y="223"/>
                      </a:lnTo>
                      <a:lnTo>
                        <a:pt x="59" y="221"/>
                      </a:lnTo>
                      <a:lnTo>
                        <a:pt x="61" y="221"/>
                      </a:lnTo>
                      <a:lnTo>
                        <a:pt x="62" y="221"/>
                      </a:lnTo>
                      <a:lnTo>
                        <a:pt x="66" y="224"/>
                      </a:lnTo>
                      <a:lnTo>
                        <a:pt x="68" y="226"/>
                      </a:lnTo>
                      <a:lnTo>
                        <a:pt x="71" y="226"/>
                      </a:lnTo>
                      <a:lnTo>
                        <a:pt x="79" y="227"/>
                      </a:lnTo>
                      <a:lnTo>
                        <a:pt x="82" y="227"/>
                      </a:lnTo>
                      <a:lnTo>
                        <a:pt x="87" y="229"/>
                      </a:lnTo>
                      <a:lnTo>
                        <a:pt x="89" y="231"/>
                      </a:lnTo>
                      <a:lnTo>
                        <a:pt x="91" y="236"/>
                      </a:lnTo>
                      <a:lnTo>
                        <a:pt x="94" y="240"/>
                      </a:lnTo>
                      <a:lnTo>
                        <a:pt x="97" y="233"/>
                      </a:lnTo>
                      <a:lnTo>
                        <a:pt x="98" y="229"/>
                      </a:lnTo>
                      <a:lnTo>
                        <a:pt x="99" y="227"/>
                      </a:lnTo>
                      <a:lnTo>
                        <a:pt x="101" y="226"/>
                      </a:lnTo>
                      <a:lnTo>
                        <a:pt x="104" y="226"/>
                      </a:lnTo>
                      <a:lnTo>
                        <a:pt x="107" y="224"/>
                      </a:lnTo>
                      <a:lnTo>
                        <a:pt x="115" y="224"/>
                      </a:lnTo>
                      <a:lnTo>
                        <a:pt x="118" y="224"/>
                      </a:lnTo>
                      <a:lnTo>
                        <a:pt x="120" y="226"/>
                      </a:lnTo>
                      <a:lnTo>
                        <a:pt x="121" y="227"/>
                      </a:lnTo>
                      <a:lnTo>
                        <a:pt x="122" y="229"/>
                      </a:lnTo>
                      <a:lnTo>
                        <a:pt x="125" y="223"/>
                      </a:lnTo>
                      <a:lnTo>
                        <a:pt x="127" y="216"/>
                      </a:lnTo>
                      <a:lnTo>
                        <a:pt x="130" y="201"/>
                      </a:lnTo>
                      <a:lnTo>
                        <a:pt x="131" y="197"/>
                      </a:lnTo>
                      <a:lnTo>
                        <a:pt x="135" y="187"/>
                      </a:lnTo>
                      <a:lnTo>
                        <a:pt x="138" y="181"/>
                      </a:lnTo>
                      <a:lnTo>
                        <a:pt x="140" y="180"/>
                      </a:lnTo>
                      <a:lnTo>
                        <a:pt x="141" y="180"/>
                      </a:lnTo>
                      <a:lnTo>
                        <a:pt x="171" y="174"/>
                      </a:lnTo>
                      <a:lnTo>
                        <a:pt x="178" y="174"/>
                      </a:lnTo>
                      <a:lnTo>
                        <a:pt x="183" y="174"/>
                      </a:lnTo>
                      <a:lnTo>
                        <a:pt x="187" y="175"/>
                      </a:lnTo>
                      <a:lnTo>
                        <a:pt x="190" y="177"/>
                      </a:lnTo>
                      <a:lnTo>
                        <a:pt x="199" y="181"/>
                      </a:lnTo>
                      <a:lnTo>
                        <a:pt x="200" y="184"/>
                      </a:lnTo>
                      <a:lnTo>
                        <a:pt x="201" y="185"/>
                      </a:lnTo>
                      <a:lnTo>
                        <a:pt x="201" y="190"/>
                      </a:lnTo>
                      <a:lnTo>
                        <a:pt x="206" y="187"/>
                      </a:lnTo>
                      <a:lnTo>
                        <a:pt x="207" y="187"/>
                      </a:lnTo>
                      <a:lnTo>
                        <a:pt x="207" y="185"/>
                      </a:lnTo>
                      <a:lnTo>
                        <a:pt x="206" y="185"/>
                      </a:lnTo>
                      <a:lnTo>
                        <a:pt x="204" y="184"/>
                      </a:lnTo>
                      <a:lnTo>
                        <a:pt x="204" y="184"/>
                      </a:lnTo>
                      <a:lnTo>
                        <a:pt x="203" y="183"/>
                      </a:lnTo>
                      <a:lnTo>
                        <a:pt x="203" y="180"/>
                      </a:lnTo>
                      <a:lnTo>
                        <a:pt x="204" y="178"/>
                      </a:lnTo>
                      <a:lnTo>
                        <a:pt x="207" y="171"/>
                      </a:lnTo>
                      <a:lnTo>
                        <a:pt x="209" y="170"/>
                      </a:lnTo>
                      <a:lnTo>
                        <a:pt x="210" y="168"/>
                      </a:lnTo>
                      <a:lnTo>
                        <a:pt x="210" y="168"/>
                      </a:lnTo>
                      <a:lnTo>
                        <a:pt x="209" y="167"/>
                      </a:lnTo>
                      <a:lnTo>
                        <a:pt x="210" y="160"/>
                      </a:lnTo>
                      <a:lnTo>
                        <a:pt x="211" y="157"/>
                      </a:lnTo>
                      <a:lnTo>
                        <a:pt x="213" y="154"/>
                      </a:lnTo>
                      <a:lnTo>
                        <a:pt x="211" y="152"/>
                      </a:lnTo>
                      <a:lnTo>
                        <a:pt x="210" y="150"/>
                      </a:lnTo>
                      <a:lnTo>
                        <a:pt x="210" y="147"/>
                      </a:lnTo>
                      <a:lnTo>
                        <a:pt x="209" y="144"/>
                      </a:lnTo>
                      <a:lnTo>
                        <a:pt x="209" y="142"/>
                      </a:lnTo>
                      <a:lnTo>
                        <a:pt x="209" y="142"/>
                      </a:lnTo>
                      <a:lnTo>
                        <a:pt x="209" y="141"/>
                      </a:lnTo>
                      <a:lnTo>
                        <a:pt x="207" y="141"/>
                      </a:lnTo>
                      <a:lnTo>
                        <a:pt x="207" y="141"/>
                      </a:lnTo>
                      <a:lnTo>
                        <a:pt x="206" y="141"/>
                      </a:lnTo>
                      <a:lnTo>
                        <a:pt x="206" y="141"/>
                      </a:lnTo>
                      <a:lnTo>
                        <a:pt x="201" y="138"/>
                      </a:lnTo>
                      <a:lnTo>
                        <a:pt x="200" y="138"/>
                      </a:lnTo>
                      <a:lnTo>
                        <a:pt x="199" y="135"/>
                      </a:lnTo>
                      <a:lnTo>
                        <a:pt x="197" y="134"/>
                      </a:lnTo>
                      <a:lnTo>
                        <a:pt x="196" y="131"/>
                      </a:lnTo>
                      <a:lnTo>
                        <a:pt x="196" y="127"/>
                      </a:lnTo>
                      <a:lnTo>
                        <a:pt x="197" y="125"/>
                      </a:lnTo>
                      <a:lnTo>
                        <a:pt x="199" y="121"/>
                      </a:lnTo>
                      <a:lnTo>
                        <a:pt x="199" y="118"/>
                      </a:lnTo>
                      <a:lnTo>
                        <a:pt x="193" y="119"/>
                      </a:lnTo>
                      <a:lnTo>
                        <a:pt x="186" y="119"/>
                      </a:lnTo>
                      <a:lnTo>
                        <a:pt x="171" y="118"/>
                      </a:lnTo>
                      <a:lnTo>
                        <a:pt x="168" y="118"/>
                      </a:lnTo>
                      <a:lnTo>
                        <a:pt x="167" y="118"/>
                      </a:lnTo>
                      <a:lnTo>
                        <a:pt x="166" y="116"/>
                      </a:lnTo>
                      <a:lnTo>
                        <a:pt x="166" y="114"/>
                      </a:lnTo>
                      <a:lnTo>
                        <a:pt x="166" y="108"/>
                      </a:lnTo>
                      <a:lnTo>
                        <a:pt x="166" y="105"/>
                      </a:lnTo>
                      <a:lnTo>
                        <a:pt x="164" y="102"/>
                      </a:lnTo>
                      <a:lnTo>
                        <a:pt x="161" y="99"/>
                      </a:lnTo>
                      <a:lnTo>
                        <a:pt x="160" y="96"/>
                      </a:lnTo>
                      <a:lnTo>
                        <a:pt x="164" y="96"/>
                      </a:lnTo>
                      <a:lnTo>
                        <a:pt x="164" y="89"/>
                      </a:lnTo>
                      <a:lnTo>
                        <a:pt x="163" y="81"/>
                      </a:lnTo>
                      <a:lnTo>
                        <a:pt x="161" y="79"/>
                      </a:lnTo>
                      <a:lnTo>
                        <a:pt x="161" y="76"/>
                      </a:lnTo>
                      <a:lnTo>
                        <a:pt x="161" y="75"/>
                      </a:lnTo>
                      <a:lnTo>
                        <a:pt x="161" y="73"/>
                      </a:lnTo>
                      <a:lnTo>
                        <a:pt x="158" y="70"/>
                      </a:lnTo>
                      <a:lnTo>
                        <a:pt x="155" y="69"/>
                      </a:lnTo>
                      <a:lnTo>
                        <a:pt x="153" y="68"/>
                      </a:lnTo>
                      <a:lnTo>
                        <a:pt x="150" y="68"/>
                      </a:lnTo>
                      <a:lnTo>
                        <a:pt x="145" y="68"/>
                      </a:lnTo>
                      <a:lnTo>
                        <a:pt x="143" y="68"/>
                      </a:lnTo>
                      <a:lnTo>
                        <a:pt x="140" y="68"/>
                      </a:lnTo>
                      <a:lnTo>
                        <a:pt x="137" y="66"/>
                      </a:lnTo>
                      <a:lnTo>
                        <a:pt x="135" y="65"/>
                      </a:lnTo>
                      <a:lnTo>
                        <a:pt x="132" y="62"/>
                      </a:lnTo>
                      <a:lnTo>
                        <a:pt x="132" y="62"/>
                      </a:lnTo>
                      <a:lnTo>
                        <a:pt x="131" y="60"/>
                      </a:lnTo>
                      <a:lnTo>
                        <a:pt x="127" y="60"/>
                      </a:lnTo>
                      <a:lnTo>
                        <a:pt x="124" y="59"/>
                      </a:lnTo>
                      <a:lnTo>
                        <a:pt x="121" y="58"/>
                      </a:lnTo>
                      <a:lnTo>
                        <a:pt x="117" y="53"/>
                      </a:lnTo>
                      <a:lnTo>
                        <a:pt x="115" y="53"/>
                      </a:lnTo>
                      <a:lnTo>
                        <a:pt x="115" y="53"/>
                      </a:lnTo>
                      <a:lnTo>
                        <a:pt x="115" y="53"/>
                      </a:lnTo>
                      <a:lnTo>
                        <a:pt x="115" y="52"/>
                      </a:lnTo>
                      <a:lnTo>
                        <a:pt x="114" y="52"/>
                      </a:lnTo>
                      <a:lnTo>
                        <a:pt x="114" y="52"/>
                      </a:lnTo>
                      <a:lnTo>
                        <a:pt x="114" y="53"/>
                      </a:lnTo>
                      <a:lnTo>
                        <a:pt x="112" y="53"/>
                      </a:lnTo>
                      <a:lnTo>
                        <a:pt x="110" y="52"/>
                      </a:lnTo>
                      <a:lnTo>
                        <a:pt x="107" y="50"/>
                      </a:lnTo>
                      <a:lnTo>
                        <a:pt x="104" y="49"/>
                      </a:lnTo>
                      <a:lnTo>
                        <a:pt x="98" y="49"/>
                      </a:lnTo>
                      <a:lnTo>
                        <a:pt x="95" y="49"/>
                      </a:lnTo>
                      <a:lnTo>
                        <a:pt x="92" y="47"/>
                      </a:lnTo>
                      <a:lnTo>
                        <a:pt x="88" y="43"/>
                      </a:lnTo>
                      <a:lnTo>
                        <a:pt x="85" y="42"/>
                      </a:lnTo>
                      <a:lnTo>
                        <a:pt x="84" y="40"/>
                      </a:lnTo>
                      <a:lnTo>
                        <a:pt x="82" y="39"/>
                      </a:lnTo>
                      <a:lnTo>
                        <a:pt x="81" y="37"/>
                      </a:lnTo>
                      <a:lnTo>
                        <a:pt x="79" y="36"/>
                      </a:lnTo>
                      <a:lnTo>
                        <a:pt x="76" y="29"/>
                      </a:lnTo>
                      <a:lnTo>
                        <a:pt x="75" y="27"/>
                      </a:lnTo>
                      <a:lnTo>
                        <a:pt x="75" y="24"/>
                      </a:lnTo>
                      <a:lnTo>
                        <a:pt x="75" y="23"/>
                      </a:lnTo>
                      <a:lnTo>
                        <a:pt x="75" y="20"/>
                      </a:lnTo>
                      <a:lnTo>
                        <a:pt x="75" y="19"/>
                      </a:lnTo>
                      <a:lnTo>
                        <a:pt x="74" y="16"/>
                      </a:lnTo>
                      <a:lnTo>
                        <a:pt x="74" y="14"/>
                      </a:lnTo>
                      <a:lnTo>
                        <a:pt x="74" y="13"/>
                      </a:lnTo>
                      <a:lnTo>
                        <a:pt x="75" y="12"/>
                      </a:lnTo>
                      <a:lnTo>
                        <a:pt x="75" y="10"/>
                      </a:lnTo>
                      <a:lnTo>
                        <a:pt x="76" y="9"/>
                      </a:lnTo>
                      <a:lnTo>
                        <a:pt x="76" y="7"/>
                      </a:lnTo>
                      <a:lnTo>
                        <a:pt x="76" y="3"/>
                      </a:lnTo>
                      <a:lnTo>
                        <a:pt x="75" y="1"/>
                      </a:lnTo>
                      <a:lnTo>
                        <a:pt x="74" y="0"/>
                      </a:lnTo>
                      <a:lnTo>
                        <a:pt x="74" y="0"/>
                      </a:lnTo>
                      <a:lnTo>
                        <a:pt x="72" y="0"/>
                      </a:lnTo>
                      <a:lnTo>
                        <a:pt x="72" y="0"/>
                      </a:lnTo>
                      <a:lnTo>
                        <a:pt x="72" y="1"/>
                      </a:lnTo>
                      <a:lnTo>
                        <a:pt x="71" y="1"/>
                      </a:lnTo>
                      <a:lnTo>
                        <a:pt x="69" y="0"/>
                      </a:lnTo>
                      <a:lnTo>
                        <a:pt x="69" y="0"/>
                      </a:lnTo>
                      <a:lnTo>
                        <a:pt x="61" y="1"/>
                      </a:lnTo>
                      <a:lnTo>
                        <a:pt x="58" y="1"/>
                      </a:lnTo>
                      <a:lnTo>
                        <a:pt x="55" y="3"/>
                      </a:lnTo>
                      <a:lnTo>
                        <a:pt x="52" y="4"/>
                      </a:lnTo>
                      <a:lnTo>
                        <a:pt x="39" y="12"/>
                      </a:lnTo>
                      <a:lnTo>
                        <a:pt x="36" y="13"/>
                      </a:lnTo>
                      <a:lnTo>
                        <a:pt x="35" y="16"/>
                      </a:lnTo>
                      <a:lnTo>
                        <a:pt x="33" y="16"/>
                      </a:lnTo>
                      <a:lnTo>
                        <a:pt x="32" y="16"/>
                      </a:lnTo>
                      <a:lnTo>
                        <a:pt x="31" y="17"/>
                      </a:lnTo>
                      <a:lnTo>
                        <a:pt x="29" y="17"/>
                      </a:lnTo>
                      <a:lnTo>
                        <a:pt x="28" y="17"/>
                      </a:lnTo>
                      <a:lnTo>
                        <a:pt x="26" y="19"/>
                      </a:lnTo>
                      <a:lnTo>
                        <a:pt x="23" y="22"/>
                      </a:lnTo>
                      <a:lnTo>
                        <a:pt x="20" y="23"/>
                      </a:lnTo>
                      <a:lnTo>
                        <a:pt x="19" y="24"/>
                      </a:lnTo>
                      <a:lnTo>
                        <a:pt x="15" y="24"/>
                      </a:lnTo>
                      <a:lnTo>
                        <a:pt x="15" y="24"/>
                      </a:lnTo>
                      <a:lnTo>
                        <a:pt x="12" y="23"/>
                      </a:lnTo>
                      <a:lnTo>
                        <a:pt x="10" y="22"/>
                      </a:lnTo>
                      <a:lnTo>
                        <a:pt x="6" y="22"/>
                      </a:lnTo>
                      <a:lnTo>
                        <a:pt x="0" y="22"/>
                      </a:lnTo>
                      <a:lnTo>
                        <a:pt x="15" y="46"/>
                      </a:lnTo>
                      <a:lnTo>
                        <a:pt x="16" y="4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45" name="Freeform 238">
                  <a:extLst>
                    <a:ext uri="{FF2B5EF4-FFF2-40B4-BE49-F238E27FC236}">
                      <a16:creationId xmlns:a16="http://schemas.microsoft.com/office/drawing/2014/main" id="{A4955CBC-2EED-7014-9849-BC9A836545A6}"/>
                    </a:ext>
                  </a:extLst>
                </p:cNvPr>
                <p:cNvSpPr>
                  <a:spLocks/>
                </p:cNvSpPr>
                <p:nvPr/>
              </p:nvSpPr>
              <p:spPr bwMode="auto">
                <a:xfrm>
                  <a:off x="2445" y="3064"/>
                  <a:ext cx="148" cy="158"/>
                </a:xfrm>
                <a:custGeom>
                  <a:avLst/>
                  <a:gdLst>
                    <a:gd name="T0" fmla="*/ 77 w 148"/>
                    <a:gd name="T1" fmla="*/ 7 h 158"/>
                    <a:gd name="T2" fmla="*/ 65 w 148"/>
                    <a:gd name="T3" fmla="*/ 1 h 158"/>
                    <a:gd name="T4" fmla="*/ 56 w 148"/>
                    <a:gd name="T5" fmla="*/ 0 h 158"/>
                    <a:gd name="T6" fmla="*/ 19 w 148"/>
                    <a:gd name="T7" fmla="*/ 6 h 158"/>
                    <a:gd name="T8" fmla="*/ 16 w 148"/>
                    <a:gd name="T9" fmla="*/ 7 h 158"/>
                    <a:gd name="T10" fmla="*/ 9 w 148"/>
                    <a:gd name="T11" fmla="*/ 23 h 158"/>
                    <a:gd name="T12" fmla="*/ 5 w 148"/>
                    <a:gd name="T13" fmla="*/ 42 h 158"/>
                    <a:gd name="T14" fmla="*/ 0 w 148"/>
                    <a:gd name="T15" fmla="*/ 55 h 158"/>
                    <a:gd name="T16" fmla="*/ 8 w 148"/>
                    <a:gd name="T17" fmla="*/ 62 h 158"/>
                    <a:gd name="T18" fmla="*/ 12 w 148"/>
                    <a:gd name="T19" fmla="*/ 67 h 158"/>
                    <a:gd name="T20" fmla="*/ 16 w 148"/>
                    <a:gd name="T21" fmla="*/ 73 h 158"/>
                    <a:gd name="T22" fmla="*/ 32 w 148"/>
                    <a:gd name="T23" fmla="*/ 86 h 158"/>
                    <a:gd name="T24" fmla="*/ 44 w 148"/>
                    <a:gd name="T25" fmla="*/ 89 h 158"/>
                    <a:gd name="T26" fmla="*/ 64 w 148"/>
                    <a:gd name="T27" fmla="*/ 101 h 158"/>
                    <a:gd name="T28" fmla="*/ 75 w 148"/>
                    <a:gd name="T29" fmla="*/ 106 h 158"/>
                    <a:gd name="T30" fmla="*/ 84 w 148"/>
                    <a:gd name="T31" fmla="*/ 109 h 158"/>
                    <a:gd name="T32" fmla="*/ 89 w 148"/>
                    <a:gd name="T33" fmla="*/ 115 h 158"/>
                    <a:gd name="T34" fmla="*/ 89 w 148"/>
                    <a:gd name="T35" fmla="*/ 119 h 158"/>
                    <a:gd name="T36" fmla="*/ 81 w 148"/>
                    <a:gd name="T37" fmla="*/ 131 h 158"/>
                    <a:gd name="T38" fmla="*/ 79 w 148"/>
                    <a:gd name="T39" fmla="*/ 135 h 158"/>
                    <a:gd name="T40" fmla="*/ 78 w 148"/>
                    <a:gd name="T41" fmla="*/ 142 h 158"/>
                    <a:gd name="T42" fmla="*/ 75 w 148"/>
                    <a:gd name="T43" fmla="*/ 147 h 158"/>
                    <a:gd name="T44" fmla="*/ 72 w 148"/>
                    <a:gd name="T45" fmla="*/ 151 h 158"/>
                    <a:gd name="T46" fmla="*/ 74 w 148"/>
                    <a:gd name="T47" fmla="*/ 154 h 158"/>
                    <a:gd name="T48" fmla="*/ 79 w 148"/>
                    <a:gd name="T49" fmla="*/ 154 h 158"/>
                    <a:gd name="T50" fmla="*/ 84 w 148"/>
                    <a:gd name="T51" fmla="*/ 154 h 158"/>
                    <a:gd name="T52" fmla="*/ 108 w 148"/>
                    <a:gd name="T53" fmla="*/ 158 h 158"/>
                    <a:gd name="T54" fmla="*/ 111 w 148"/>
                    <a:gd name="T55" fmla="*/ 157 h 158"/>
                    <a:gd name="T56" fmla="*/ 112 w 148"/>
                    <a:gd name="T57" fmla="*/ 155 h 158"/>
                    <a:gd name="T58" fmla="*/ 117 w 148"/>
                    <a:gd name="T59" fmla="*/ 154 h 158"/>
                    <a:gd name="T60" fmla="*/ 120 w 148"/>
                    <a:gd name="T61" fmla="*/ 155 h 158"/>
                    <a:gd name="T62" fmla="*/ 123 w 148"/>
                    <a:gd name="T63" fmla="*/ 155 h 158"/>
                    <a:gd name="T64" fmla="*/ 124 w 148"/>
                    <a:gd name="T65" fmla="*/ 154 h 158"/>
                    <a:gd name="T66" fmla="*/ 127 w 148"/>
                    <a:gd name="T67" fmla="*/ 149 h 158"/>
                    <a:gd name="T68" fmla="*/ 133 w 148"/>
                    <a:gd name="T69" fmla="*/ 145 h 158"/>
                    <a:gd name="T70" fmla="*/ 141 w 148"/>
                    <a:gd name="T71" fmla="*/ 134 h 158"/>
                    <a:gd name="T72" fmla="*/ 143 w 148"/>
                    <a:gd name="T73" fmla="*/ 119 h 158"/>
                    <a:gd name="T74" fmla="*/ 143 w 148"/>
                    <a:gd name="T75" fmla="*/ 115 h 158"/>
                    <a:gd name="T76" fmla="*/ 145 w 148"/>
                    <a:gd name="T77" fmla="*/ 112 h 158"/>
                    <a:gd name="T78" fmla="*/ 147 w 148"/>
                    <a:gd name="T79" fmla="*/ 92 h 158"/>
                    <a:gd name="T80" fmla="*/ 147 w 148"/>
                    <a:gd name="T81" fmla="*/ 89 h 158"/>
                    <a:gd name="T82" fmla="*/ 144 w 148"/>
                    <a:gd name="T83" fmla="*/ 86 h 158"/>
                    <a:gd name="T84" fmla="*/ 140 w 148"/>
                    <a:gd name="T85" fmla="*/ 86 h 158"/>
                    <a:gd name="T86" fmla="*/ 135 w 148"/>
                    <a:gd name="T87" fmla="*/ 89 h 158"/>
                    <a:gd name="T88" fmla="*/ 128 w 148"/>
                    <a:gd name="T89" fmla="*/ 88 h 158"/>
                    <a:gd name="T90" fmla="*/ 125 w 148"/>
                    <a:gd name="T91" fmla="*/ 80 h 158"/>
                    <a:gd name="T92" fmla="*/ 123 w 148"/>
                    <a:gd name="T93" fmla="*/ 60 h 158"/>
                    <a:gd name="T94" fmla="*/ 115 w 148"/>
                    <a:gd name="T95" fmla="*/ 55 h 158"/>
                    <a:gd name="T96" fmla="*/ 111 w 148"/>
                    <a:gd name="T97" fmla="*/ 55 h 158"/>
                    <a:gd name="T98" fmla="*/ 111 w 148"/>
                    <a:gd name="T99" fmla="*/ 53 h 158"/>
                    <a:gd name="T100" fmla="*/ 110 w 148"/>
                    <a:gd name="T101" fmla="*/ 52 h 158"/>
                    <a:gd name="T102" fmla="*/ 108 w 148"/>
                    <a:gd name="T103" fmla="*/ 53 h 158"/>
                    <a:gd name="T104" fmla="*/ 107 w 148"/>
                    <a:gd name="T105" fmla="*/ 55 h 158"/>
                    <a:gd name="T106" fmla="*/ 100 w 148"/>
                    <a:gd name="T107" fmla="*/ 56 h 158"/>
                    <a:gd name="T108" fmla="*/ 91 w 148"/>
                    <a:gd name="T109" fmla="*/ 55 h 158"/>
                    <a:gd name="T110" fmla="*/ 88 w 148"/>
                    <a:gd name="T111" fmla="*/ 53 h 158"/>
                    <a:gd name="T112" fmla="*/ 85 w 148"/>
                    <a:gd name="T113" fmla="*/ 53 h 158"/>
                    <a:gd name="T114" fmla="*/ 84 w 148"/>
                    <a:gd name="T115" fmla="*/ 52 h 158"/>
                    <a:gd name="T116" fmla="*/ 85 w 148"/>
                    <a:gd name="T117" fmla="*/ 36 h 158"/>
                    <a:gd name="T118" fmla="*/ 85 w 148"/>
                    <a:gd name="T119" fmla="*/ 30 h 158"/>
                    <a:gd name="T120" fmla="*/ 81 w 148"/>
                    <a:gd name="T121" fmla="*/ 19 h 158"/>
                    <a:gd name="T122" fmla="*/ 79 w 148"/>
                    <a:gd name="T123" fmla="*/ 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 h="158">
                      <a:moveTo>
                        <a:pt x="78" y="10"/>
                      </a:moveTo>
                      <a:lnTo>
                        <a:pt x="77" y="7"/>
                      </a:lnTo>
                      <a:lnTo>
                        <a:pt x="68" y="3"/>
                      </a:lnTo>
                      <a:lnTo>
                        <a:pt x="65" y="1"/>
                      </a:lnTo>
                      <a:lnTo>
                        <a:pt x="61" y="0"/>
                      </a:lnTo>
                      <a:lnTo>
                        <a:pt x="56" y="0"/>
                      </a:lnTo>
                      <a:lnTo>
                        <a:pt x="49" y="0"/>
                      </a:lnTo>
                      <a:lnTo>
                        <a:pt x="19" y="6"/>
                      </a:lnTo>
                      <a:lnTo>
                        <a:pt x="18" y="6"/>
                      </a:lnTo>
                      <a:lnTo>
                        <a:pt x="16" y="7"/>
                      </a:lnTo>
                      <a:lnTo>
                        <a:pt x="13" y="13"/>
                      </a:lnTo>
                      <a:lnTo>
                        <a:pt x="9" y="23"/>
                      </a:lnTo>
                      <a:lnTo>
                        <a:pt x="8" y="27"/>
                      </a:lnTo>
                      <a:lnTo>
                        <a:pt x="5" y="42"/>
                      </a:lnTo>
                      <a:lnTo>
                        <a:pt x="3" y="49"/>
                      </a:lnTo>
                      <a:lnTo>
                        <a:pt x="0" y="55"/>
                      </a:lnTo>
                      <a:lnTo>
                        <a:pt x="3" y="57"/>
                      </a:lnTo>
                      <a:lnTo>
                        <a:pt x="8" y="62"/>
                      </a:lnTo>
                      <a:lnTo>
                        <a:pt x="9" y="65"/>
                      </a:lnTo>
                      <a:lnTo>
                        <a:pt x="12" y="67"/>
                      </a:lnTo>
                      <a:lnTo>
                        <a:pt x="13" y="70"/>
                      </a:lnTo>
                      <a:lnTo>
                        <a:pt x="16" y="73"/>
                      </a:lnTo>
                      <a:lnTo>
                        <a:pt x="29" y="85"/>
                      </a:lnTo>
                      <a:lnTo>
                        <a:pt x="32" y="86"/>
                      </a:lnTo>
                      <a:lnTo>
                        <a:pt x="36" y="88"/>
                      </a:lnTo>
                      <a:lnTo>
                        <a:pt x="44" y="89"/>
                      </a:lnTo>
                      <a:lnTo>
                        <a:pt x="51" y="92"/>
                      </a:lnTo>
                      <a:lnTo>
                        <a:pt x="64" y="101"/>
                      </a:lnTo>
                      <a:lnTo>
                        <a:pt x="69" y="103"/>
                      </a:lnTo>
                      <a:lnTo>
                        <a:pt x="75" y="106"/>
                      </a:lnTo>
                      <a:lnTo>
                        <a:pt x="81" y="108"/>
                      </a:lnTo>
                      <a:lnTo>
                        <a:pt x="84" y="109"/>
                      </a:lnTo>
                      <a:lnTo>
                        <a:pt x="87" y="112"/>
                      </a:lnTo>
                      <a:lnTo>
                        <a:pt x="89" y="115"/>
                      </a:lnTo>
                      <a:lnTo>
                        <a:pt x="91" y="118"/>
                      </a:lnTo>
                      <a:lnTo>
                        <a:pt x="89" y="119"/>
                      </a:lnTo>
                      <a:lnTo>
                        <a:pt x="84" y="128"/>
                      </a:lnTo>
                      <a:lnTo>
                        <a:pt x="81" y="131"/>
                      </a:lnTo>
                      <a:lnTo>
                        <a:pt x="81" y="132"/>
                      </a:lnTo>
                      <a:lnTo>
                        <a:pt x="79" y="135"/>
                      </a:lnTo>
                      <a:lnTo>
                        <a:pt x="78" y="141"/>
                      </a:lnTo>
                      <a:lnTo>
                        <a:pt x="78" y="142"/>
                      </a:lnTo>
                      <a:lnTo>
                        <a:pt x="77" y="144"/>
                      </a:lnTo>
                      <a:lnTo>
                        <a:pt x="75" y="147"/>
                      </a:lnTo>
                      <a:lnTo>
                        <a:pt x="74" y="148"/>
                      </a:lnTo>
                      <a:lnTo>
                        <a:pt x="72" y="151"/>
                      </a:lnTo>
                      <a:lnTo>
                        <a:pt x="72" y="152"/>
                      </a:lnTo>
                      <a:lnTo>
                        <a:pt x="74" y="154"/>
                      </a:lnTo>
                      <a:lnTo>
                        <a:pt x="75" y="154"/>
                      </a:lnTo>
                      <a:lnTo>
                        <a:pt x="79" y="154"/>
                      </a:lnTo>
                      <a:lnTo>
                        <a:pt x="81" y="154"/>
                      </a:lnTo>
                      <a:lnTo>
                        <a:pt x="84" y="154"/>
                      </a:lnTo>
                      <a:lnTo>
                        <a:pt x="94" y="155"/>
                      </a:lnTo>
                      <a:lnTo>
                        <a:pt x="108" y="158"/>
                      </a:lnTo>
                      <a:lnTo>
                        <a:pt x="110" y="158"/>
                      </a:lnTo>
                      <a:lnTo>
                        <a:pt x="111" y="157"/>
                      </a:lnTo>
                      <a:lnTo>
                        <a:pt x="112" y="157"/>
                      </a:lnTo>
                      <a:lnTo>
                        <a:pt x="112" y="155"/>
                      </a:lnTo>
                      <a:lnTo>
                        <a:pt x="114" y="154"/>
                      </a:lnTo>
                      <a:lnTo>
                        <a:pt x="117" y="154"/>
                      </a:lnTo>
                      <a:lnTo>
                        <a:pt x="118" y="154"/>
                      </a:lnTo>
                      <a:lnTo>
                        <a:pt x="120" y="155"/>
                      </a:lnTo>
                      <a:lnTo>
                        <a:pt x="121" y="155"/>
                      </a:lnTo>
                      <a:lnTo>
                        <a:pt x="123" y="155"/>
                      </a:lnTo>
                      <a:lnTo>
                        <a:pt x="124" y="154"/>
                      </a:lnTo>
                      <a:lnTo>
                        <a:pt x="124" y="154"/>
                      </a:lnTo>
                      <a:lnTo>
                        <a:pt x="125" y="151"/>
                      </a:lnTo>
                      <a:lnTo>
                        <a:pt x="127" y="149"/>
                      </a:lnTo>
                      <a:lnTo>
                        <a:pt x="128" y="148"/>
                      </a:lnTo>
                      <a:lnTo>
                        <a:pt x="133" y="145"/>
                      </a:lnTo>
                      <a:lnTo>
                        <a:pt x="138" y="139"/>
                      </a:lnTo>
                      <a:lnTo>
                        <a:pt x="141" y="134"/>
                      </a:lnTo>
                      <a:lnTo>
                        <a:pt x="141" y="126"/>
                      </a:lnTo>
                      <a:lnTo>
                        <a:pt x="143" y="119"/>
                      </a:lnTo>
                      <a:lnTo>
                        <a:pt x="143" y="118"/>
                      </a:lnTo>
                      <a:lnTo>
                        <a:pt x="143" y="115"/>
                      </a:lnTo>
                      <a:lnTo>
                        <a:pt x="144" y="113"/>
                      </a:lnTo>
                      <a:lnTo>
                        <a:pt x="145" y="112"/>
                      </a:lnTo>
                      <a:lnTo>
                        <a:pt x="145" y="111"/>
                      </a:lnTo>
                      <a:lnTo>
                        <a:pt x="147" y="92"/>
                      </a:lnTo>
                      <a:lnTo>
                        <a:pt x="148" y="90"/>
                      </a:lnTo>
                      <a:lnTo>
                        <a:pt x="147" y="89"/>
                      </a:lnTo>
                      <a:lnTo>
                        <a:pt x="145" y="88"/>
                      </a:lnTo>
                      <a:lnTo>
                        <a:pt x="144" y="86"/>
                      </a:lnTo>
                      <a:lnTo>
                        <a:pt x="141" y="85"/>
                      </a:lnTo>
                      <a:lnTo>
                        <a:pt x="140" y="86"/>
                      </a:lnTo>
                      <a:lnTo>
                        <a:pt x="137" y="88"/>
                      </a:lnTo>
                      <a:lnTo>
                        <a:pt x="135" y="89"/>
                      </a:lnTo>
                      <a:lnTo>
                        <a:pt x="131" y="89"/>
                      </a:lnTo>
                      <a:lnTo>
                        <a:pt x="128" y="88"/>
                      </a:lnTo>
                      <a:lnTo>
                        <a:pt x="127" y="83"/>
                      </a:lnTo>
                      <a:lnTo>
                        <a:pt x="125" y="80"/>
                      </a:lnTo>
                      <a:lnTo>
                        <a:pt x="124" y="66"/>
                      </a:lnTo>
                      <a:lnTo>
                        <a:pt x="123" y="60"/>
                      </a:lnTo>
                      <a:lnTo>
                        <a:pt x="118" y="56"/>
                      </a:lnTo>
                      <a:lnTo>
                        <a:pt x="115" y="55"/>
                      </a:lnTo>
                      <a:lnTo>
                        <a:pt x="114" y="55"/>
                      </a:lnTo>
                      <a:lnTo>
                        <a:pt x="111" y="55"/>
                      </a:lnTo>
                      <a:lnTo>
                        <a:pt x="111" y="53"/>
                      </a:lnTo>
                      <a:lnTo>
                        <a:pt x="111" y="53"/>
                      </a:lnTo>
                      <a:lnTo>
                        <a:pt x="111" y="53"/>
                      </a:lnTo>
                      <a:lnTo>
                        <a:pt x="110" y="52"/>
                      </a:lnTo>
                      <a:lnTo>
                        <a:pt x="108" y="53"/>
                      </a:lnTo>
                      <a:lnTo>
                        <a:pt x="108" y="53"/>
                      </a:lnTo>
                      <a:lnTo>
                        <a:pt x="108" y="55"/>
                      </a:lnTo>
                      <a:lnTo>
                        <a:pt x="107" y="55"/>
                      </a:lnTo>
                      <a:lnTo>
                        <a:pt x="104" y="56"/>
                      </a:lnTo>
                      <a:lnTo>
                        <a:pt x="100" y="56"/>
                      </a:lnTo>
                      <a:lnTo>
                        <a:pt x="92" y="55"/>
                      </a:lnTo>
                      <a:lnTo>
                        <a:pt x="91" y="55"/>
                      </a:lnTo>
                      <a:lnTo>
                        <a:pt x="89" y="53"/>
                      </a:lnTo>
                      <a:lnTo>
                        <a:pt x="88" y="53"/>
                      </a:lnTo>
                      <a:lnTo>
                        <a:pt x="88" y="53"/>
                      </a:lnTo>
                      <a:lnTo>
                        <a:pt x="85" y="53"/>
                      </a:lnTo>
                      <a:lnTo>
                        <a:pt x="84" y="53"/>
                      </a:lnTo>
                      <a:lnTo>
                        <a:pt x="84" y="52"/>
                      </a:lnTo>
                      <a:lnTo>
                        <a:pt x="84" y="44"/>
                      </a:lnTo>
                      <a:lnTo>
                        <a:pt x="85" y="36"/>
                      </a:lnTo>
                      <a:lnTo>
                        <a:pt x="85" y="33"/>
                      </a:lnTo>
                      <a:lnTo>
                        <a:pt x="85" y="30"/>
                      </a:lnTo>
                      <a:lnTo>
                        <a:pt x="84" y="27"/>
                      </a:lnTo>
                      <a:lnTo>
                        <a:pt x="81" y="19"/>
                      </a:lnTo>
                      <a:lnTo>
                        <a:pt x="79" y="16"/>
                      </a:lnTo>
                      <a:lnTo>
                        <a:pt x="79" y="11"/>
                      </a:lnTo>
                      <a:lnTo>
                        <a:pt x="78" y="1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46" name="Freeform 239">
                  <a:extLst>
                    <a:ext uri="{FF2B5EF4-FFF2-40B4-BE49-F238E27FC236}">
                      <a16:creationId xmlns:a16="http://schemas.microsoft.com/office/drawing/2014/main" id="{B5340C4F-860D-344C-28E0-63E8F86BC3F8}"/>
                    </a:ext>
                  </a:extLst>
                </p:cNvPr>
                <p:cNvSpPr>
                  <a:spLocks/>
                </p:cNvSpPr>
                <p:nvPr/>
              </p:nvSpPr>
              <p:spPr bwMode="auto">
                <a:xfrm>
                  <a:off x="2588" y="2616"/>
                  <a:ext cx="51" cy="64"/>
                </a:xfrm>
                <a:custGeom>
                  <a:avLst/>
                  <a:gdLst>
                    <a:gd name="T0" fmla="*/ 1 w 51"/>
                    <a:gd name="T1" fmla="*/ 21 h 64"/>
                    <a:gd name="T2" fmla="*/ 4 w 51"/>
                    <a:gd name="T3" fmla="*/ 28 h 64"/>
                    <a:gd name="T4" fmla="*/ 10 w 51"/>
                    <a:gd name="T5" fmla="*/ 38 h 64"/>
                    <a:gd name="T6" fmla="*/ 10 w 51"/>
                    <a:gd name="T7" fmla="*/ 41 h 64"/>
                    <a:gd name="T8" fmla="*/ 8 w 51"/>
                    <a:gd name="T9" fmla="*/ 44 h 64"/>
                    <a:gd name="T10" fmla="*/ 7 w 51"/>
                    <a:gd name="T11" fmla="*/ 47 h 64"/>
                    <a:gd name="T12" fmla="*/ 5 w 51"/>
                    <a:gd name="T13" fmla="*/ 51 h 64"/>
                    <a:gd name="T14" fmla="*/ 4 w 51"/>
                    <a:gd name="T15" fmla="*/ 56 h 64"/>
                    <a:gd name="T16" fmla="*/ 2 w 51"/>
                    <a:gd name="T17" fmla="*/ 58 h 64"/>
                    <a:gd name="T18" fmla="*/ 0 w 51"/>
                    <a:gd name="T19" fmla="*/ 61 h 64"/>
                    <a:gd name="T20" fmla="*/ 1 w 51"/>
                    <a:gd name="T21" fmla="*/ 61 h 64"/>
                    <a:gd name="T22" fmla="*/ 2 w 51"/>
                    <a:gd name="T23" fmla="*/ 63 h 64"/>
                    <a:gd name="T24" fmla="*/ 5 w 51"/>
                    <a:gd name="T25" fmla="*/ 64 h 64"/>
                    <a:gd name="T26" fmla="*/ 7 w 51"/>
                    <a:gd name="T27" fmla="*/ 64 h 64"/>
                    <a:gd name="T28" fmla="*/ 10 w 51"/>
                    <a:gd name="T29" fmla="*/ 63 h 64"/>
                    <a:gd name="T30" fmla="*/ 13 w 51"/>
                    <a:gd name="T31" fmla="*/ 61 h 64"/>
                    <a:gd name="T32" fmla="*/ 14 w 51"/>
                    <a:gd name="T33" fmla="*/ 60 h 64"/>
                    <a:gd name="T34" fmla="*/ 15 w 51"/>
                    <a:gd name="T35" fmla="*/ 61 h 64"/>
                    <a:gd name="T36" fmla="*/ 17 w 51"/>
                    <a:gd name="T37" fmla="*/ 61 h 64"/>
                    <a:gd name="T38" fmla="*/ 18 w 51"/>
                    <a:gd name="T39" fmla="*/ 61 h 64"/>
                    <a:gd name="T40" fmla="*/ 20 w 51"/>
                    <a:gd name="T41" fmla="*/ 61 h 64"/>
                    <a:gd name="T42" fmla="*/ 21 w 51"/>
                    <a:gd name="T43" fmla="*/ 61 h 64"/>
                    <a:gd name="T44" fmla="*/ 23 w 51"/>
                    <a:gd name="T45" fmla="*/ 61 h 64"/>
                    <a:gd name="T46" fmla="*/ 24 w 51"/>
                    <a:gd name="T47" fmla="*/ 63 h 64"/>
                    <a:gd name="T48" fmla="*/ 25 w 51"/>
                    <a:gd name="T49" fmla="*/ 63 h 64"/>
                    <a:gd name="T50" fmla="*/ 27 w 51"/>
                    <a:gd name="T51" fmla="*/ 63 h 64"/>
                    <a:gd name="T52" fmla="*/ 27 w 51"/>
                    <a:gd name="T53" fmla="*/ 63 h 64"/>
                    <a:gd name="T54" fmla="*/ 28 w 51"/>
                    <a:gd name="T55" fmla="*/ 63 h 64"/>
                    <a:gd name="T56" fmla="*/ 30 w 51"/>
                    <a:gd name="T57" fmla="*/ 63 h 64"/>
                    <a:gd name="T58" fmla="*/ 33 w 51"/>
                    <a:gd name="T59" fmla="*/ 60 h 64"/>
                    <a:gd name="T60" fmla="*/ 36 w 51"/>
                    <a:gd name="T61" fmla="*/ 56 h 64"/>
                    <a:gd name="T62" fmla="*/ 40 w 51"/>
                    <a:gd name="T63" fmla="*/ 46 h 64"/>
                    <a:gd name="T64" fmla="*/ 44 w 51"/>
                    <a:gd name="T65" fmla="*/ 37 h 64"/>
                    <a:gd name="T66" fmla="*/ 48 w 51"/>
                    <a:gd name="T67" fmla="*/ 33 h 64"/>
                    <a:gd name="T68" fmla="*/ 51 w 51"/>
                    <a:gd name="T69" fmla="*/ 30 h 64"/>
                    <a:gd name="T70" fmla="*/ 51 w 51"/>
                    <a:gd name="T71" fmla="*/ 28 h 64"/>
                    <a:gd name="T72" fmla="*/ 51 w 51"/>
                    <a:gd name="T73" fmla="*/ 25 h 64"/>
                    <a:gd name="T74" fmla="*/ 50 w 51"/>
                    <a:gd name="T75" fmla="*/ 23 h 64"/>
                    <a:gd name="T76" fmla="*/ 48 w 51"/>
                    <a:gd name="T77" fmla="*/ 21 h 64"/>
                    <a:gd name="T78" fmla="*/ 47 w 51"/>
                    <a:gd name="T79" fmla="*/ 20 h 64"/>
                    <a:gd name="T80" fmla="*/ 47 w 51"/>
                    <a:gd name="T81" fmla="*/ 21 h 64"/>
                    <a:gd name="T82" fmla="*/ 46 w 51"/>
                    <a:gd name="T83" fmla="*/ 23 h 64"/>
                    <a:gd name="T84" fmla="*/ 46 w 51"/>
                    <a:gd name="T85" fmla="*/ 25 h 64"/>
                    <a:gd name="T86" fmla="*/ 46 w 51"/>
                    <a:gd name="T87" fmla="*/ 21 h 64"/>
                    <a:gd name="T88" fmla="*/ 44 w 51"/>
                    <a:gd name="T89" fmla="*/ 18 h 64"/>
                    <a:gd name="T90" fmla="*/ 41 w 51"/>
                    <a:gd name="T91" fmla="*/ 17 h 64"/>
                    <a:gd name="T92" fmla="*/ 40 w 51"/>
                    <a:gd name="T93" fmla="*/ 18 h 64"/>
                    <a:gd name="T94" fmla="*/ 38 w 51"/>
                    <a:gd name="T95" fmla="*/ 14 h 64"/>
                    <a:gd name="T96" fmla="*/ 34 w 51"/>
                    <a:gd name="T97" fmla="*/ 10 h 64"/>
                    <a:gd name="T98" fmla="*/ 28 w 51"/>
                    <a:gd name="T99" fmla="*/ 7 h 64"/>
                    <a:gd name="T100" fmla="*/ 24 w 51"/>
                    <a:gd name="T101" fmla="*/ 4 h 64"/>
                    <a:gd name="T102" fmla="*/ 20 w 51"/>
                    <a:gd name="T103" fmla="*/ 4 h 64"/>
                    <a:gd name="T104" fmla="*/ 20 w 51"/>
                    <a:gd name="T105" fmla="*/ 4 h 64"/>
                    <a:gd name="T106" fmla="*/ 18 w 51"/>
                    <a:gd name="T107" fmla="*/ 2 h 64"/>
                    <a:gd name="T108" fmla="*/ 14 w 51"/>
                    <a:gd name="T109" fmla="*/ 1 h 64"/>
                    <a:gd name="T110" fmla="*/ 13 w 51"/>
                    <a:gd name="T111" fmla="*/ 0 h 64"/>
                    <a:gd name="T112" fmla="*/ 11 w 51"/>
                    <a:gd name="T113" fmla="*/ 1 h 64"/>
                    <a:gd name="T114" fmla="*/ 10 w 51"/>
                    <a:gd name="T115" fmla="*/ 2 h 64"/>
                    <a:gd name="T116" fmla="*/ 8 w 51"/>
                    <a:gd name="T117" fmla="*/ 5 h 64"/>
                    <a:gd name="T118" fmla="*/ 7 w 51"/>
                    <a:gd name="T119" fmla="*/ 7 h 64"/>
                    <a:gd name="T120" fmla="*/ 2 w 51"/>
                    <a:gd name="T121" fmla="*/ 14 h 64"/>
                    <a:gd name="T122" fmla="*/ 1 w 51"/>
                    <a:gd name="T123"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 h="64">
                      <a:moveTo>
                        <a:pt x="1" y="21"/>
                      </a:moveTo>
                      <a:lnTo>
                        <a:pt x="4" y="28"/>
                      </a:lnTo>
                      <a:lnTo>
                        <a:pt x="10" y="38"/>
                      </a:lnTo>
                      <a:lnTo>
                        <a:pt x="10" y="41"/>
                      </a:lnTo>
                      <a:lnTo>
                        <a:pt x="8" y="44"/>
                      </a:lnTo>
                      <a:lnTo>
                        <a:pt x="7" y="47"/>
                      </a:lnTo>
                      <a:lnTo>
                        <a:pt x="5" y="51"/>
                      </a:lnTo>
                      <a:lnTo>
                        <a:pt x="4" y="56"/>
                      </a:lnTo>
                      <a:lnTo>
                        <a:pt x="2" y="58"/>
                      </a:lnTo>
                      <a:lnTo>
                        <a:pt x="0" y="61"/>
                      </a:lnTo>
                      <a:lnTo>
                        <a:pt x="1" y="61"/>
                      </a:lnTo>
                      <a:lnTo>
                        <a:pt x="2" y="63"/>
                      </a:lnTo>
                      <a:lnTo>
                        <a:pt x="5" y="64"/>
                      </a:lnTo>
                      <a:lnTo>
                        <a:pt x="7" y="64"/>
                      </a:lnTo>
                      <a:lnTo>
                        <a:pt x="10" y="63"/>
                      </a:lnTo>
                      <a:lnTo>
                        <a:pt x="13" y="61"/>
                      </a:lnTo>
                      <a:lnTo>
                        <a:pt x="14" y="60"/>
                      </a:lnTo>
                      <a:lnTo>
                        <a:pt x="15" y="61"/>
                      </a:lnTo>
                      <a:lnTo>
                        <a:pt x="17" y="61"/>
                      </a:lnTo>
                      <a:lnTo>
                        <a:pt x="18" y="61"/>
                      </a:lnTo>
                      <a:lnTo>
                        <a:pt x="20" y="61"/>
                      </a:lnTo>
                      <a:lnTo>
                        <a:pt x="21" y="61"/>
                      </a:lnTo>
                      <a:lnTo>
                        <a:pt x="23" y="61"/>
                      </a:lnTo>
                      <a:lnTo>
                        <a:pt x="24" y="63"/>
                      </a:lnTo>
                      <a:lnTo>
                        <a:pt x="25" y="63"/>
                      </a:lnTo>
                      <a:lnTo>
                        <a:pt x="27" y="63"/>
                      </a:lnTo>
                      <a:lnTo>
                        <a:pt x="27" y="63"/>
                      </a:lnTo>
                      <a:lnTo>
                        <a:pt x="28" y="63"/>
                      </a:lnTo>
                      <a:lnTo>
                        <a:pt x="30" y="63"/>
                      </a:lnTo>
                      <a:lnTo>
                        <a:pt x="33" y="60"/>
                      </a:lnTo>
                      <a:lnTo>
                        <a:pt x="36" y="56"/>
                      </a:lnTo>
                      <a:lnTo>
                        <a:pt x="40" y="46"/>
                      </a:lnTo>
                      <a:lnTo>
                        <a:pt x="44" y="37"/>
                      </a:lnTo>
                      <a:lnTo>
                        <a:pt x="48" y="33"/>
                      </a:lnTo>
                      <a:lnTo>
                        <a:pt x="51" y="30"/>
                      </a:lnTo>
                      <a:lnTo>
                        <a:pt x="51" y="28"/>
                      </a:lnTo>
                      <a:lnTo>
                        <a:pt x="51" y="25"/>
                      </a:lnTo>
                      <a:lnTo>
                        <a:pt x="50" y="23"/>
                      </a:lnTo>
                      <a:lnTo>
                        <a:pt x="48" y="21"/>
                      </a:lnTo>
                      <a:lnTo>
                        <a:pt x="47" y="20"/>
                      </a:lnTo>
                      <a:lnTo>
                        <a:pt x="47" y="21"/>
                      </a:lnTo>
                      <a:lnTo>
                        <a:pt x="46" y="23"/>
                      </a:lnTo>
                      <a:lnTo>
                        <a:pt x="46" y="25"/>
                      </a:lnTo>
                      <a:lnTo>
                        <a:pt x="46" y="21"/>
                      </a:lnTo>
                      <a:lnTo>
                        <a:pt x="44" y="18"/>
                      </a:lnTo>
                      <a:lnTo>
                        <a:pt x="41" y="17"/>
                      </a:lnTo>
                      <a:lnTo>
                        <a:pt x="40" y="18"/>
                      </a:lnTo>
                      <a:lnTo>
                        <a:pt x="38" y="14"/>
                      </a:lnTo>
                      <a:lnTo>
                        <a:pt x="34" y="10"/>
                      </a:lnTo>
                      <a:lnTo>
                        <a:pt x="28" y="7"/>
                      </a:lnTo>
                      <a:lnTo>
                        <a:pt x="24" y="4"/>
                      </a:lnTo>
                      <a:lnTo>
                        <a:pt x="20" y="4"/>
                      </a:lnTo>
                      <a:lnTo>
                        <a:pt x="20" y="4"/>
                      </a:lnTo>
                      <a:lnTo>
                        <a:pt x="18" y="2"/>
                      </a:lnTo>
                      <a:lnTo>
                        <a:pt x="14" y="1"/>
                      </a:lnTo>
                      <a:lnTo>
                        <a:pt x="13" y="0"/>
                      </a:lnTo>
                      <a:lnTo>
                        <a:pt x="11" y="1"/>
                      </a:lnTo>
                      <a:lnTo>
                        <a:pt x="10" y="2"/>
                      </a:lnTo>
                      <a:lnTo>
                        <a:pt x="8" y="5"/>
                      </a:lnTo>
                      <a:lnTo>
                        <a:pt x="7" y="7"/>
                      </a:lnTo>
                      <a:lnTo>
                        <a:pt x="2" y="14"/>
                      </a:lnTo>
                      <a:lnTo>
                        <a:pt x="1" y="2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47" name="Freeform 240">
                  <a:extLst>
                    <a:ext uri="{FF2B5EF4-FFF2-40B4-BE49-F238E27FC236}">
                      <a16:creationId xmlns:a16="http://schemas.microsoft.com/office/drawing/2014/main" id="{C7332C40-04FE-DCCD-7329-DAB1EC3CA4A6}"/>
                    </a:ext>
                  </a:extLst>
                </p:cNvPr>
                <p:cNvSpPr>
                  <a:spLocks/>
                </p:cNvSpPr>
                <p:nvPr/>
              </p:nvSpPr>
              <p:spPr bwMode="auto">
                <a:xfrm>
                  <a:off x="2468" y="2567"/>
                  <a:ext cx="87" cy="129"/>
                </a:xfrm>
                <a:custGeom>
                  <a:avLst/>
                  <a:gdLst>
                    <a:gd name="T0" fmla="*/ 23 w 87"/>
                    <a:gd name="T1" fmla="*/ 8 h 129"/>
                    <a:gd name="T2" fmla="*/ 16 w 87"/>
                    <a:gd name="T3" fmla="*/ 14 h 129"/>
                    <a:gd name="T4" fmla="*/ 12 w 87"/>
                    <a:gd name="T5" fmla="*/ 18 h 129"/>
                    <a:gd name="T6" fmla="*/ 13 w 87"/>
                    <a:gd name="T7" fmla="*/ 23 h 129"/>
                    <a:gd name="T8" fmla="*/ 16 w 87"/>
                    <a:gd name="T9" fmla="*/ 24 h 129"/>
                    <a:gd name="T10" fmla="*/ 18 w 87"/>
                    <a:gd name="T11" fmla="*/ 28 h 129"/>
                    <a:gd name="T12" fmla="*/ 6 w 87"/>
                    <a:gd name="T13" fmla="*/ 33 h 129"/>
                    <a:gd name="T14" fmla="*/ 5 w 87"/>
                    <a:gd name="T15" fmla="*/ 40 h 129"/>
                    <a:gd name="T16" fmla="*/ 3 w 87"/>
                    <a:gd name="T17" fmla="*/ 43 h 129"/>
                    <a:gd name="T18" fmla="*/ 0 w 87"/>
                    <a:gd name="T19" fmla="*/ 46 h 129"/>
                    <a:gd name="T20" fmla="*/ 12 w 87"/>
                    <a:gd name="T21" fmla="*/ 59 h 129"/>
                    <a:gd name="T22" fmla="*/ 16 w 87"/>
                    <a:gd name="T23" fmla="*/ 59 h 129"/>
                    <a:gd name="T24" fmla="*/ 21 w 87"/>
                    <a:gd name="T25" fmla="*/ 59 h 129"/>
                    <a:gd name="T26" fmla="*/ 23 w 87"/>
                    <a:gd name="T27" fmla="*/ 61 h 129"/>
                    <a:gd name="T28" fmla="*/ 22 w 87"/>
                    <a:gd name="T29" fmla="*/ 69 h 129"/>
                    <a:gd name="T30" fmla="*/ 25 w 87"/>
                    <a:gd name="T31" fmla="*/ 72 h 129"/>
                    <a:gd name="T32" fmla="*/ 29 w 87"/>
                    <a:gd name="T33" fmla="*/ 73 h 129"/>
                    <a:gd name="T34" fmla="*/ 31 w 87"/>
                    <a:gd name="T35" fmla="*/ 77 h 129"/>
                    <a:gd name="T36" fmla="*/ 32 w 87"/>
                    <a:gd name="T37" fmla="*/ 82 h 129"/>
                    <a:gd name="T38" fmla="*/ 29 w 87"/>
                    <a:gd name="T39" fmla="*/ 86 h 129"/>
                    <a:gd name="T40" fmla="*/ 28 w 87"/>
                    <a:gd name="T41" fmla="*/ 87 h 129"/>
                    <a:gd name="T42" fmla="*/ 28 w 87"/>
                    <a:gd name="T43" fmla="*/ 90 h 129"/>
                    <a:gd name="T44" fmla="*/ 25 w 87"/>
                    <a:gd name="T45" fmla="*/ 103 h 129"/>
                    <a:gd name="T46" fmla="*/ 28 w 87"/>
                    <a:gd name="T47" fmla="*/ 110 h 129"/>
                    <a:gd name="T48" fmla="*/ 29 w 87"/>
                    <a:gd name="T49" fmla="*/ 113 h 129"/>
                    <a:gd name="T50" fmla="*/ 29 w 87"/>
                    <a:gd name="T51" fmla="*/ 117 h 129"/>
                    <a:gd name="T52" fmla="*/ 36 w 87"/>
                    <a:gd name="T53" fmla="*/ 125 h 129"/>
                    <a:gd name="T54" fmla="*/ 45 w 87"/>
                    <a:gd name="T55" fmla="*/ 129 h 129"/>
                    <a:gd name="T56" fmla="*/ 51 w 87"/>
                    <a:gd name="T57" fmla="*/ 126 h 129"/>
                    <a:gd name="T58" fmla="*/ 54 w 87"/>
                    <a:gd name="T59" fmla="*/ 123 h 129"/>
                    <a:gd name="T60" fmla="*/ 58 w 87"/>
                    <a:gd name="T61" fmla="*/ 123 h 129"/>
                    <a:gd name="T62" fmla="*/ 59 w 87"/>
                    <a:gd name="T63" fmla="*/ 122 h 129"/>
                    <a:gd name="T64" fmla="*/ 64 w 87"/>
                    <a:gd name="T65" fmla="*/ 120 h 129"/>
                    <a:gd name="T66" fmla="*/ 69 w 87"/>
                    <a:gd name="T67" fmla="*/ 117 h 129"/>
                    <a:gd name="T68" fmla="*/ 75 w 87"/>
                    <a:gd name="T69" fmla="*/ 116 h 129"/>
                    <a:gd name="T70" fmla="*/ 81 w 87"/>
                    <a:gd name="T71" fmla="*/ 117 h 129"/>
                    <a:gd name="T72" fmla="*/ 87 w 87"/>
                    <a:gd name="T73" fmla="*/ 116 h 129"/>
                    <a:gd name="T74" fmla="*/ 82 w 87"/>
                    <a:gd name="T75" fmla="*/ 115 h 129"/>
                    <a:gd name="T76" fmla="*/ 74 w 87"/>
                    <a:gd name="T77" fmla="*/ 99 h 129"/>
                    <a:gd name="T78" fmla="*/ 71 w 87"/>
                    <a:gd name="T79" fmla="*/ 92 h 129"/>
                    <a:gd name="T80" fmla="*/ 68 w 87"/>
                    <a:gd name="T81" fmla="*/ 92 h 129"/>
                    <a:gd name="T82" fmla="*/ 59 w 87"/>
                    <a:gd name="T83" fmla="*/ 79 h 129"/>
                    <a:gd name="T84" fmla="*/ 61 w 87"/>
                    <a:gd name="T85" fmla="*/ 70 h 129"/>
                    <a:gd name="T86" fmla="*/ 66 w 87"/>
                    <a:gd name="T87" fmla="*/ 63 h 129"/>
                    <a:gd name="T88" fmla="*/ 72 w 87"/>
                    <a:gd name="T89" fmla="*/ 60 h 129"/>
                    <a:gd name="T90" fmla="*/ 72 w 87"/>
                    <a:gd name="T91" fmla="*/ 59 h 129"/>
                    <a:gd name="T92" fmla="*/ 72 w 87"/>
                    <a:gd name="T93" fmla="*/ 56 h 129"/>
                    <a:gd name="T94" fmla="*/ 74 w 87"/>
                    <a:gd name="T95" fmla="*/ 47 h 129"/>
                    <a:gd name="T96" fmla="*/ 72 w 87"/>
                    <a:gd name="T97" fmla="*/ 40 h 129"/>
                    <a:gd name="T98" fmla="*/ 68 w 87"/>
                    <a:gd name="T99" fmla="*/ 38 h 129"/>
                    <a:gd name="T100" fmla="*/ 59 w 87"/>
                    <a:gd name="T101" fmla="*/ 31 h 129"/>
                    <a:gd name="T102" fmla="*/ 52 w 87"/>
                    <a:gd name="T103" fmla="*/ 31 h 129"/>
                    <a:gd name="T104" fmla="*/ 48 w 87"/>
                    <a:gd name="T105" fmla="*/ 38 h 129"/>
                    <a:gd name="T106" fmla="*/ 51 w 87"/>
                    <a:gd name="T107" fmla="*/ 21 h 129"/>
                    <a:gd name="T108" fmla="*/ 43 w 87"/>
                    <a:gd name="T109" fmla="*/ 13 h 129"/>
                    <a:gd name="T110" fmla="*/ 29 w 87"/>
                    <a:gd name="T111" fmla="*/ 3 h 129"/>
                    <a:gd name="T112" fmla="*/ 25 w 87"/>
                    <a:gd name="T113" fmla="*/ 1 h 129"/>
                    <a:gd name="T114" fmla="*/ 26 w 87"/>
                    <a:gd name="T115" fmla="*/ 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 h="129">
                      <a:moveTo>
                        <a:pt x="26" y="4"/>
                      </a:moveTo>
                      <a:lnTo>
                        <a:pt x="26" y="7"/>
                      </a:lnTo>
                      <a:lnTo>
                        <a:pt x="23" y="8"/>
                      </a:lnTo>
                      <a:lnTo>
                        <a:pt x="21" y="11"/>
                      </a:lnTo>
                      <a:lnTo>
                        <a:pt x="18" y="13"/>
                      </a:lnTo>
                      <a:lnTo>
                        <a:pt x="16" y="14"/>
                      </a:lnTo>
                      <a:lnTo>
                        <a:pt x="13" y="15"/>
                      </a:lnTo>
                      <a:lnTo>
                        <a:pt x="13" y="17"/>
                      </a:lnTo>
                      <a:lnTo>
                        <a:pt x="12" y="18"/>
                      </a:lnTo>
                      <a:lnTo>
                        <a:pt x="13" y="18"/>
                      </a:lnTo>
                      <a:lnTo>
                        <a:pt x="13" y="20"/>
                      </a:lnTo>
                      <a:lnTo>
                        <a:pt x="13" y="23"/>
                      </a:lnTo>
                      <a:lnTo>
                        <a:pt x="13" y="23"/>
                      </a:lnTo>
                      <a:lnTo>
                        <a:pt x="13" y="24"/>
                      </a:lnTo>
                      <a:lnTo>
                        <a:pt x="16" y="24"/>
                      </a:lnTo>
                      <a:lnTo>
                        <a:pt x="18" y="24"/>
                      </a:lnTo>
                      <a:lnTo>
                        <a:pt x="19" y="26"/>
                      </a:lnTo>
                      <a:lnTo>
                        <a:pt x="18" y="28"/>
                      </a:lnTo>
                      <a:lnTo>
                        <a:pt x="16" y="30"/>
                      </a:lnTo>
                      <a:lnTo>
                        <a:pt x="13" y="30"/>
                      </a:lnTo>
                      <a:lnTo>
                        <a:pt x="6" y="33"/>
                      </a:lnTo>
                      <a:lnTo>
                        <a:pt x="5" y="33"/>
                      </a:lnTo>
                      <a:lnTo>
                        <a:pt x="3" y="34"/>
                      </a:lnTo>
                      <a:lnTo>
                        <a:pt x="5" y="40"/>
                      </a:lnTo>
                      <a:lnTo>
                        <a:pt x="5" y="40"/>
                      </a:lnTo>
                      <a:lnTo>
                        <a:pt x="3" y="41"/>
                      </a:lnTo>
                      <a:lnTo>
                        <a:pt x="3" y="43"/>
                      </a:lnTo>
                      <a:lnTo>
                        <a:pt x="2" y="44"/>
                      </a:lnTo>
                      <a:lnTo>
                        <a:pt x="0" y="44"/>
                      </a:lnTo>
                      <a:lnTo>
                        <a:pt x="0" y="46"/>
                      </a:lnTo>
                      <a:lnTo>
                        <a:pt x="0" y="47"/>
                      </a:lnTo>
                      <a:lnTo>
                        <a:pt x="2" y="50"/>
                      </a:lnTo>
                      <a:lnTo>
                        <a:pt x="12" y="59"/>
                      </a:lnTo>
                      <a:lnTo>
                        <a:pt x="13" y="59"/>
                      </a:lnTo>
                      <a:lnTo>
                        <a:pt x="15" y="59"/>
                      </a:lnTo>
                      <a:lnTo>
                        <a:pt x="16" y="59"/>
                      </a:lnTo>
                      <a:lnTo>
                        <a:pt x="18" y="59"/>
                      </a:lnTo>
                      <a:lnTo>
                        <a:pt x="19" y="59"/>
                      </a:lnTo>
                      <a:lnTo>
                        <a:pt x="21" y="59"/>
                      </a:lnTo>
                      <a:lnTo>
                        <a:pt x="22" y="59"/>
                      </a:lnTo>
                      <a:lnTo>
                        <a:pt x="23" y="60"/>
                      </a:lnTo>
                      <a:lnTo>
                        <a:pt x="23" y="61"/>
                      </a:lnTo>
                      <a:lnTo>
                        <a:pt x="25" y="63"/>
                      </a:lnTo>
                      <a:lnTo>
                        <a:pt x="23" y="64"/>
                      </a:lnTo>
                      <a:lnTo>
                        <a:pt x="22" y="69"/>
                      </a:lnTo>
                      <a:lnTo>
                        <a:pt x="22" y="70"/>
                      </a:lnTo>
                      <a:lnTo>
                        <a:pt x="23" y="72"/>
                      </a:lnTo>
                      <a:lnTo>
                        <a:pt x="25" y="72"/>
                      </a:lnTo>
                      <a:lnTo>
                        <a:pt x="26" y="72"/>
                      </a:lnTo>
                      <a:lnTo>
                        <a:pt x="28" y="73"/>
                      </a:lnTo>
                      <a:lnTo>
                        <a:pt x="29" y="73"/>
                      </a:lnTo>
                      <a:lnTo>
                        <a:pt x="29" y="74"/>
                      </a:lnTo>
                      <a:lnTo>
                        <a:pt x="29" y="76"/>
                      </a:lnTo>
                      <a:lnTo>
                        <a:pt x="31" y="77"/>
                      </a:lnTo>
                      <a:lnTo>
                        <a:pt x="31" y="79"/>
                      </a:lnTo>
                      <a:lnTo>
                        <a:pt x="32" y="80"/>
                      </a:lnTo>
                      <a:lnTo>
                        <a:pt x="32" y="82"/>
                      </a:lnTo>
                      <a:lnTo>
                        <a:pt x="32" y="83"/>
                      </a:lnTo>
                      <a:lnTo>
                        <a:pt x="31" y="84"/>
                      </a:lnTo>
                      <a:lnTo>
                        <a:pt x="29" y="86"/>
                      </a:lnTo>
                      <a:lnTo>
                        <a:pt x="29" y="86"/>
                      </a:lnTo>
                      <a:lnTo>
                        <a:pt x="28" y="87"/>
                      </a:lnTo>
                      <a:lnTo>
                        <a:pt x="28" y="87"/>
                      </a:lnTo>
                      <a:lnTo>
                        <a:pt x="28" y="87"/>
                      </a:lnTo>
                      <a:lnTo>
                        <a:pt x="28" y="89"/>
                      </a:lnTo>
                      <a:lnTo>
                        <a:pt x="28" y="90"/>
                      </a:lnTo>
                      <a:lnTo>
                        <a:pt x="25" y="97"/>
                      </a:lnTo>
                      <a:lnTo>
                        <a:pt x="25" y="100"/>
                      </a:lnTo>
                      <a:lnTo>
                        <a:pt x="25" y="103"/>
                      </a:lnTo>
                      <a:lnTo>
                        <a:pt x="25" y="106"/>
                      </a:lnTo>
                      <a:lnTo>
                        <a:pt x="26" y="109"/>
                      </a:lnTo>
                      <a:lnTo>
                        <a:pt x="28" y="110"/>
                      </a:lnTo>
                      <a:lnTo>
                        <a:pt x="28" y="110"/>
                      </a:lnTo>
                      <a:lnTo>
                        <a:pt x="28" y="112"/>
                      </a:lnTo>
                      <a:lnTo>
                        <a:pt x="29" y="113"/>
                      </a:lnTo>
                      <a:lnTo>
                        <a:pt x="29" y="113"/>
                      </a:lnTo>
                      <a:lnTo>
                        <a:pt x="29" y="116"/>
                      </a:lnTo>
                      <a:lnTo>
                        <a:pt x="29" y="117"/>
                      </a:lnTo>
                      <a:lnTo>
                        <a:pt x="31" y="120"/>
                      </a:lnTo>
                      <a:lnTo>
                        <a:pt x="33" y="122"/>
                      </a:lnTo>
                      <a:lnTo>
                        <a:pt x="36" y="125"/>
                      </a:lnTo>
                      <a:lnTo>
                        <a:pt x="39" y="126"/>
                      </a:lnTo>
                      <a:lnTo>
                        <a:pt x="42" y="128"/>
                      </a:lnTo>
                      <a:lnTo>
                        <a:pt x="45" y="129"/>
                      </a:lnTo>
                      <a:lnTo>
                        <a:pt x="48" y="129"/>
                      </a:lnTo>
                      <a:lnTo>
                        <a:pt x="51" y="128"/>
                      </a:lnTo>
                      <a:lnTo>
                        <a:pt x="51" y="126"/>
                      </a:lnTo>
                      <a:lnTo>
                        <a:pt x="52" y="125"/>
                      </a:lnTo>
                      <a:lnTo>
                        <a:pt x="52" y="123"/>
                      </a:lnTo>
                      <a:lnTo>
                        <a:pt x="54" y="123"/>
                      </a:lnTo>
                      <a:lnTo>
                        <a:pt x="55" y="123"/>
                      </a:lnTo>
                      <a:lnTo>
                        <a:pt x="56" y="123"/>
                      </a:lnTo>
                      <a:lnTo>
                        <a:pt x="58" y="123"/>
                      </a:lnTo>
                      <a:lnTo>
                        <a:pt x="59" y="123"/>
                      </a:lnTo>
                      <a:lnTo>
                        <a:pt x="59" y="123"/>
                      </a:lnTo>
                      <a:lnTo>
                        <a:pt x="59" y="122"/>
                      </a:lnTo>
                      <a:lnTo>
                        <a:pt x="59" y="122"/>
                      </a:lnTo>
                      <a:lnTo>
                        <a:pt x="61" y="122"/>
                      </a:lnTo>
                      <a:lnTo>
                        <a:pt x="64" y="120"/>
                      </a:lnTo>
                      <a:lnTo>
                        <a:pt x="66" y="120"/>
                      </a:lnTo>
                      <a:lnTo>
                        <a:pt x="68" y="119"/>
                      </a:lnTo>
                      <a:lnTo>
                        <a:pt x="69" y="117"/>
                      </a:lnTo>
                      <a:lnTo>
                        <a:pt x="71" y="116"/>
                      </a:lnTo>
                      <a:lnTo>
                        <a:pt x="74" y="116"/>
                      </a:lnTo>
                      <a:lnTo>
                        <a:pt x="75" y="116"/>
                      </a:lnTo>
                      <a:lnTo>
                        <a:pt x="77" y="116"/>
                      </a:lnTo>
                      <a:lnTo>
                        <a:pt x="78" y="117"/>
                      </a:lnTo>
                      <a:lnTo>
                        <a:pt x="81" y="117"/>
                      </a:lnTo>
                      <a:lnTo>
                        <a:pt x="82" y="117"/>
                      </a:lnTo>
                      <a:lnTo>
                        <a:pt x="84" y="117"/>
                      </a:lnTo>
                      <a:lnTo>
                        <a:pt x="87" y="116"/>
                      </a:lnTo>
                      <a:lnTo>
                        <a:pt x="85" y="116"/>
                      </a:lnTo>
                      <a:lnTo>
                        <a:pt x="84" y="115"/>
                      </a:lnTo>
                      <a:lnTo>
                        <a:pt x="82" y="115"/>
                      </a:lnTo>
                      <a:lnTo>
                        <a:pt x="81" y="113"/>
                      </a:lnTo>
                      <a:lnTo>
                        <a:pt x="74" y="100"/>
                      </a:lnTo>
                      <a:lnTo>
                        <a:pt x="74" y="99"/>
                      </a:lnTo>
                      <a:lnTo>
                        <a:pt x="72" y="92"/>
                      </a:lnTo>
                      <a:lnTo>
                        <a:pt x="72" y="92"/>
                      </a:lnTo>
                      <a:lnTo>
                        <a:pt x="71" y="92"/>
                      </a:lnTo>
                      <a:lnTo>
                        <a:pt x="69" y="92"/>
                      </a:lnTo>
                      <a:lnTo>
                        <a:pt x="69" y="92"/>
                      </a:lnTo>
                      <a:lnTo>
                        <a:pt x="68" y="92"/>
                      </a:lnTo>
                      <a:lnTo>
                        <a:pt x="66" y="90"/>
                      </a:lnTo>
                      <a:lnTo>
                        <a:pt x="61" y="82"/>
                      </a:lnTo>
                      <a:lnTo>
                        <a:pt x="59" y="79"/>
                      </a:lnTo>
                      <a:lnTo>
                        <a:pt x="59" y="77"/>
                      </a:lnTo>
                      <a:lnTo>
                        <a:pt x="61" y="74"/>
                      </a:lnTo>
                      <a:lnTo>
                        <a:pt x="61" y="70"/>
                      </a:lnTo>
                      <a:lnTo>
                        <a:pt x="62" y="67"/>
                      </a:lnTo>
                      <a:lnTo>
                        <a:pt x="64" y="64"/>
                      </a:lnTo>
                      <a:lnTo>
                        <a:pt x="66" y="63"/>
                      </a:lnTo>
                      <a:lnTo>
                        <a:pt x="69" y="61"/>
                      </a:lnTo>
                      <a:lnTo>
                        <a:pt x="71" y="61"/>
                      </a:lnTo>
                      <a:lnTo>
                        <a:pt x="72" y="60"/>
                      </a:lnTo>
                      <a:lnTo>
                        <a:pt x="74" y="59"/>
                      </a:lnTo>
                      <a:lnTo>
                        <a:pt x="74" y="59"/>
                      </a:lnTo>
                      <a:lnTo>
                        <a:pt x="72" y="59"/>
                      </a:lnTo>
                      <a:lnTo>
                        <a:pt x="72" y="57"/>
                      </a:lnTo>
                      <a:lnTo>
                        <a:pt x="72" y="56"/>
                      </a:lnTo>
                      <a:lnTo>
                        <a:pt x="72" y="56"/>
                      </a:lnTo>
                      <a:lnTo>
                        <a:pt x="72" y="54"/>
                      </a:lnTo>
                      <a:lnTo>
                        <a:pt x="74" y="53"/>
                      </a:lnTo>
                      <a:lnTo>
                        <a:pt x="74" y="47"/>
                      </a:lnTo>
                      <a:lnTo>
                        <a:pt x="74" y="44"/>
                      </a:lnTo>
                      <a:lnTo>
                        <a:pt x="74" y="41"/>
                      </a:lnTo>
                      <a:lnTo>
                        <a:pt x="72" y="40"/>
                      </a:lnTo>
                      <a:lnTo>
                        <a:pt x="71" y="40"/>
                      </a:lnTo>
                      <a:lnTo>
                        <a:pt x="69" y="40"/>
                      </a:lnTo>
                      <a:lnTo>
                        <a:pt x="68" y="38"/>
                      </a:lnTo>
                      <a:lnTo>
                        <a:pt x="66" y="38"/>
                      </a:lnTo>
                      <a:lnTo>
                        <a:pt x="62" y="33"/>
                      </a:lnTo>
                      <a:lnTo>
                        <a:pt x="59" y="31"/>
                      </a:lnTo>
                      <a:lnTo>
                        <a:pt x="56" y="30"/>
                      </a:lnTo>
                      <a:lnTo>
                        <a:pt x="55" y="30"/>
                      </a:lnTo>
                      <a:lnTo>
                        <a:pt x="52" y="31"/>
                      </a:lnTo>
                      <a:lnTo>
                        <a:pt x="51" y="33"/>
                      </a:lnTo>
                      <a:lnTo>
                        <a:pt x="49" y="36"/>
                      </a:lnTo>
                      <a:lnTo>
                        <a:pt x="48" y="38"/>
                      </a:lnTo>
                      <a:lnTo>
                        <a:pt x="49" y="36"/>
                      </a:lnTo>
                      <a:lnTo>
                        <a:pt x="51" y="24"/>
                      </a:lnTo>
                      <a:lnTo>
                        <a:pt x="51" y="21"/>
                      </a:lnTo>
                      <a:lnTo>
                        <a:pt x="49" y="20"/>
                      </a:lnTo>
                      <a:lnTo>
                        <a:pt x="48" y="17"/>
                      </a:lnTo>
                      <a:lnTo>
                        <a:pt x="43" y="13"/>
                      </a:lnTo>
                      <a:lnTo>
                        <a:pt x="39" y="8"/>
                      </a:lnTo>
                      <a:lnTo>
                        <a:pt x="35" y="5"/>
                      </a:lnTo>
                      <a:lnTo>
                        <a:pt x="29" y="3"/>
                      </a:lnTo>
                      <a:lnTo>
                        <a:pt x="28" y="3"/>
                      </a:lnTo>
                      <a:lnTo>
                        <a:pt x="26" y="3"/>
                      </a:lnTo>
                      <a:lnTo>
                        <a:pt x="25" y="1"/>
                      </a:lnTo>
                      <a:lnTo>
                        <a:pt x="25" y="0"/>
                      </a:lnTo>
                      <a:lnTo>
                        <a:pt x="26" y="3"/>
                      </a:lnTo>
                      <a:lnTo>
                        <a:pt x="26" y="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48" name="Freeform 241">
                  <a:extLst>
                    <a:ext uri="{FF2B5EF4-FFF2-40B4-BE49-F238E27FC236}">
                      <a16:creationId xmlns:a16="http://schemas.microsoft.com/office/drawing/2014/main" id="{8945C762-A444-5ECD-B999-9F0FD6AC4394}"/>
                    </a:ext>
                  </a:extLst>
                </p:cNvPr>
                <p:cNvSpPr>
                  <a:spLocks/>
                </p:cNvSpPr>
                <p:nvPr/>
              </p:nvSpPr>
              <p:spPr bwMode="auto">
                <a:xfrm>
                  <a:off x="2527" y="2613"/>
                  <a:ext cx="71" cy="71"/>
                </a:xfrm>
                <a:custGeom>
                  <a:avLst/>
                  <a:gdLst>
                    <a:gd name="T0" fmla="*/ 13 w 71"/>
                    <a:gd name="T1" fmla="*/ 10 h 71"/>
                    <a:gd name="T2" fmla="*/ 13 w 71"/>
                    <a:gd name="T3" fmla="*/ 13 h 71"/>
                    <a:gd name="T4" fmla="*/ 15 w 71"/>
                    <a:gd name="T5" fmla="*/ 13 h 71"/>
                    <a:gd name="T6" fmla="*/ 12 w 71"/>
                    <a:gd name="T7" fmla="*/ 15 h 71"/>
                    <a:gd name="T8" fmla="*/ 7 w 71"/>
                    <a:gd name="T9" fmla="*/ 17 h 71"/>
                    <a:gd name="T10" fmla="*/ 3 w 71"/>
                    <a:gd name="T11" fmla="*/ 21 h 71"/>
                    <a:gd name="T12" fmla="*/ 2 w 71"/>
                    <a:gd name="T13" fmla="*/ 28 h 71"/>
                    <a:gd name="T14" fmla="*/ 0 w 71"/>
                    <a:gd name="T15" fmla="*/ 33 h 71"/>
                    <a:gd name="T16" fmla="*/ 7 w 71"/>
                    <a:gd name="T17" fmla="*/ 44 h 71"/>
                    <a:gd name="T18" fmla="*/ 10 w 71"/>
                    <a:gd name="T19" fmla="*/ 46 h 71"/>
                    <a:gd name="T20" fmla="*/ 12 w 71"/>
                    <a:gd name="T21" fmla="*/ 46 h 71"/>
                    <a:gd name="T22" fmla="*/ 13 w 71"/>
                    <a:gd name="T23" fmla="*/ 46 h 71"/>
                    <a:gd name="T24" fmla="*/ 15 w 71"/>
                    <a:gd name="T25" fmla="*/ 54 h 71"/>
                    <a:gd name="T26" fmla="*/ 23 w 71"/>
                    <a:gd name="T27" fmla="*/ 69 h 71"/>
                    <a:gd name="T28" fmla="*/ 26 w 71"/>
                    <a:gd name="T29" fmla="*/ 70 h 71"/>
                    <a:gd name="T30" fmla="*/ 33 w 71"/>
                    <a:gd name="T31" fmla="*/ 71 h 71"/>
                    <a:gd name="T32" fmla="*/ 38 w 71"/>
                    <a:gd name="T33" fmla="*/ 69 h 71"/>
                    <a:gd name="T34" fmla="*/ 35 w 71"/>
                    <a:gd name="T35" fmla="*/ 66 h 71"/>
                    <a:gd name="T36" fmla="*/ 35 w 71"/>
                    <a:gd name="T37" fmla="*/ 63 h 71"/>
                    <a:gd name="T38" fmla="*/ 36 w 71"/>
                    <a:gd name="T39" fmla="*/ 61 h 71"/>
                    <a:gd name="T40" fmla="*/ 42 w 71"/>
                    <a:gd name="T41" fmla="*/ 61 h 71"/>
                    <a:gd name="T42" fmla="*/ 45 w 71"/>
                    <a:gd name="T43" fmla="*/ 61 h 71"/>
                    <a:gd name="T44" fmla="*/ 53 w 71"/>
                    <a:gd name="T45" fmla="*/ 59 h 71"/>
                    <a:gd name="T46" fmla="*/ 56 w 71"/>
                    <a:gd name="T47" fmla="*/ 61 h 71"/>
                    <a:gd name="T48" fmla="*/ 63 w 71"/>
                    <a:gd name="T49" fmla="*/ 61 h 71"/>
                    <a:gd name="T50" fmla="*/ 66 w 71"/>
                    <a:gd name="T51" fmla="*/ 54 h 71"/>
                    <a:gd name="T52" fmla="*/ 69 w 71"/>
                    <a:gd name="T53" fmla="*/ 47 h 71"/>
                    <a:gd name="T54" fmla="*/ 71 w 71"/>
                    <a:gd name="T55" fmla="*/ 41 h 71"/>
                    <a:gd name="T56" fmla="*/ 62 w 71"/>
                    <a:gd name="T57" fmla="*/ 24 h 71"/>
                    <a:gd name="T58" fmla="*/ 68 w 71"/>
                    <a:gd name="T59" fmla="*/ 10 h 71"/>
                    <a:gd name="T60" fmla="*/ 71 w 71"/>
                    <a:gd name="T61" fmla="*/ 5 h 71"/>
                    <a:gd name="T62" fmla="*/ 68 w 71"/>
                    <a:gd name="T63" fmla="*/ 1 h 71"/>
                    <a:gd name="T64" fmla="*/ 62 w 71"/>
                    <a:gd name="T65" fmla="*/ 0 h 71"/>
                    <a:gd name="T66" fmla="*/ 39 w 71"/>
                    <a:gd name="T67" fmla="*/ 0 h 71"/>
                    <a:gd name="T68" fmla="*/ 38 w 71"/>
                    <a:gd name="T69" fmla="*/ 4 h 71"/>
                    <a:gd name="T70" fmla="*/ 32 w 71"/>
                    <a:gd name="T71" fmla="*/ 1 h 71"/>
                    <a:gd name="T72" fmla="*/ 19 w 71"/>
                    <a:gd name="T73" fmla="*/ 0 h 71"/>
                    <a:gd name="T74" fmla="*/ 16 w 71"/>
                    <a:gd name="T75" fmla="*/ 1 h 71"/>
                    <a:gd name="T76" fmla="*/ 16 w 71"/>
                    <a:gd name="T77" fmla="*/ 5 h 71"/>
                    <a:gd name="T78" fmla="*/ 13 w 71"/>
                    <a:gd name="T79" fmla="*/ 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 h="71">
                      <a:moveTo>
                        <a:pt x="13" y="10"/>
                      </a:moveTo>
                      <a:lnTo>
                        <a:pt x="13" y="10"/>
                      </a:lnTo>
                      <a:lnTo>
                        <a:pt x="13" y="11"/>
                      </a:lnTo>
                      <a:lnTo>
                        <a:pt x="13" y="13"/>
                      </a:lnTo>
                      <a:lnTo>
                        <a:pt x="15" y="13"/>
                      </a:lnTo>
                      <a:lnTo>
                        <a:pt x="15" y="13"/>
                      </a:lnTo>
                      <a:lnTo>
                        <a:pt x="13" y="14"/>
                      </a:lnTo>
                      <a:lnTo>
                        <a:pt x="12" y="15"/>
                      </a:lnTo>
                      <a:lnTo>
                        <a:pt x="10" y="15"/>
                      </a:lnTo>
                      <a:lnTo>
                        <a:pt x="7" y="17"/>
                      </a:lnTo>
                      <a:lnTo>
                        <a:pt x="5" y="18"/>
                      </a:lnTo>
                      <a:lnTo>
                        <a:pt x="3" y="21"/>
                      </a:lnTo>
                      <a:lnTo>
                        <a:pt x="2" y="24"/>
                      </a:lnTo>
                      <a:lnTo>
                        <a:pt x="2" y="28"/>
                      </a:lnTo>
                      <a:lnTo>
                        <a:pt x="0" y="31"/>
                      </a:lnTo>
                      <a:lnTo>
                        <a:pt x="0" y="33"/>
                      </a:lnTo>
                      <a:lnTo>
                        <a:pt x="2" y="36"/>
                      </a:lnTo>
                      <a:lnTo>
                        <a:pt x="7" y="44"/>
                      </a:lnTo>
                      <a:lnTo>
                        <a:pt x="9" y="46"/>
                      </a:lnTo>
                      <a:lnTo>
                        <a:pt x="10" y="46"/>
                      </a:lnTo>
                      <a:lnTo>
                        <a:pt x="10" y="46"/>
                      </a:lnTo>
                      <a:lnTo>
                        <a:pt x="12" y="46"/>
                      </a:lnTo>
                      <a:lnTo>
                        <a:pt x="13" y="46"/>
                      </a:lnTo>
                      <a:lnTo>
                        <a:pt x="13" y="46"/>
                      </a:lnTo>
                      <a:lnTo>
                        <a:pt x="15" y="53"/>
                      </a:lnTo>
                      <a:lnTo>
                        <a:pt x="15" y="54"/>
                      </a:lnTo>
                      <a:lnTo>
                        <a:pt x="22" y="67"/>
                      </a:lnTo>
                      <a:lnTo>
                        <a:pt x="23" y="69"/>
                      </a:lnTo>
                      <a:lnTo>
                        <a:pt x="25" y="69"/>
                      </a:lnTo>
                      <a:lnTo>
                        <a:pt x="26" y="70"/>
                      </a:lnTo>
                      <a:lnTo>
                        <a:pt x="28" y="70"/>
                      </a:lnTo>
                      <a:lnTo>
                        <a:pt x="33" y="71"/>
                      </a:lnTo>
                      <a:lnTo>
                        <a:pt x="36" y="71"/>
                      </a:lnTo>
                      <a:lnTo>
                        <a:pt x="38" y="69"/>
                      </a:lnTo>
                      <a:lnTo>
                        <a:pt x="36" y="67"/>
                      </a:lnTo>
                      <a:lnTo>
                        <a:pt x="35" y="66"/>
                      </a:lnTo>
                      <a:lnTo>
                        <a:pt x="35" y="64"/>
                      </a:lnTo>
                      <a:lnTo>
                        <a:pt x="35" y="63"/>
                      </a:lnTo>
                      <a:lnTo>
                        <a:pt x="36" y="61"/>
                      </a:lnTo>
                      <a:lnTo>
                        <a:pt x="36" y="61"/>
                      </a:lnTo>
                      <a:lnTo>
                        <a:pt x="41" y="61"/>
                      </a:lnTo>
                      <a:lnTo>
                        <a:pt x="42" y="61"/>
                      </a:lnTo>
                      <a:lnTo>
                        <a:pt x="43" y="61"/>
                      </a:lnTo>
                      <a:lnTo>
                        <a:pt x="45" y="61"/>
                      </a:lnTo>
                      <a:lnTo>
                        <a:pt x="52" y="60"/>
                      </a:lnTo>
                      <a:lnTo>
                        <a:pt x="53" y="59"/>
                      </a:lnTo>
                      <a:lnTo>
                        <a:pt x="55" y="60"/>
                      </a:lnTo>
                      <a:lnTo>
                        <a:pt x="56" y="61"/>
                      </a:lnTo>
                      <a:lnTo>
                        <a:pt x="61" y="64"/>
                      </a:lnTo>
                      <a:lnTo>
                        <a:pt x="63" y="61"/>
                      </a:lnTo>
                      <a:lnTo>
                        <a:pt x="65" y="59"/>
                      </a:lnTo>
                      <a:lnTo>
                        <a:pt x="66" y="54"/>
                      </a:lnTo>
                      <a:lnTo>
                        <a:pt x="68" y="50"/>
                      </a:lnTo>
                      <a:lnTo>
                        <a:pt x="69" y="47"/>
                      </a:lnTo>
                      <a:lnTo>
                        <a:pt x="71" y="44"/>
                      </a:lnTo>
                      <a:lnTo>
                        <a:pt x="71" y="41"/>
                      </a:lnTo>
                      <a:lnTo>
                        <a:pt x="65" y="31"/>
                      </a:lnTo>
                      <a:lnTo>
                        <a:pt x="62" y="24"/>
                      </a:lnTo>
                      <a:lnTo>
                        <a:pt x="63" y="17"/>
                      </a:lnTo>
                      <a:lnTo>
                        <a:pt x="68" y="10"/>
                      </a:lnTo>
                      <a:lnTo>
                        <a:pt x="69" y="8"/>
                      </a:lnTo>
                      <a:lnTo>
                        <a:pt x="71" y="5"/>
                      </a:lnTo>
                      <a:lnTo>
                        <a:pt x="69" y="3"/>
                      </a:lnTo>
                      <a:lnTo>
                        <a:pt x="68" y="1"/>
                      </a:lnTo>
                      <a:lnTo>
                        <a:pt x="65" y="0"/>
                      </a:lnTo>
                      <a:lnTo>
                        <a:pt x="62" y="0"/>
                      </a:lnTo>
                      <a:lnTo>
                        <a:pt x="53" y="0"/>
                      </a:lnTo>
                      <a:lnTo>
                        <a:pt x="39" y="0"/>
                      </a:lnTo>
                      <a:lnTo>
                        <a:pt x="38" y="1"/>
                      </a:lnTo>
                      <a:lnTo>
                        <a:pt x="38" y="4"/>
                      </a:lnTo>
                      <a:lnTo>
                        <a:pt x="35" y="1"/>
                      </a:lnTo>
                      <a:lnTo>
                        <a:pt x="32" y="1"/>
                      </a:lnTo>
                      <a:lnTo>
                        <a:pt x="22" y="0"/>
                      </a:lnTo>
                      <a:lnTo>
                        <a:pt x="19" y="0"/>
                      </a:lnTo>
                      <a:lnTo>
                        <a:pt x="18" y="0"/>
                      </a:lnTo>
                      <a:lnTo>
                        <a:pt x="16" y="1"/>
                      </a:lnTo>
                      <a:lnTo>
                        <a:pt x="16" y="3"/>
                      </a:lnTo>
                      <a:lnTo>
                        <a:pt x="16" y="5"/>
                      </a:lnTo>
                      <a:lnTo>
                        <a:pt x="15" y="7"/>
                      </a:lnTo>
                      <a:lnTo>
                        <a:pt x="13" y="8"/>
                      </a:lnTo>
                      <a:lnTo>
                        <a:pt x="13" y="1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49" name="Freeform 242">
                  <a:extLst>
                    <a:ext uri="{FF2B5EF4-FFF2-40B4-BE49-F238E27FC236}">
                      <a16:creationId xmlns:a16="http://schemas.microsoft.com/office/drawing/2014/main" id="{FB082CB9-5F6B-E2D8-73EF-24B39469942B}"/>
                    </a:ext>
                  </a:extLst>
                </p:cNvPr>
                <p:cNvSpPr>
                  <a:spLocks/>
                </p:cNvSpPr>
                <p:nvPr/>
              </p:nvSpPr>
              <p:spPr bwMode="auto">
                <a:xfrm>
                  <a:off x="2520" y="3272"/>
                  <a:ext cx="93" cy="94"/>
                </a:xfrm>
                <a:custGeom>
                  <a:avLst/>
                  <a:gdLst>
                    <a:gd name="T0" fmla="*/ 86 w 93"/>
                    <a:gd name="T1" fmla="*/ 61 h 94"/>
                    <a:gd name="T2" fmla="*/ 88 w 93"/>
                    <a:gd name="T3" fmla="*/ 56 h 94"/>
                    <a:gd name="T4" fmla="*/ 93 w 93"/>
                    <a:gd name="T5" fmla="*/ 49 h 94"/>
                    <a:gd name="T6" fmla="*/ 91 w 93"/>
                    <a:gd name="T7" fmla="*/ 46 h 94"/>
                    <a:gd name="T8" fmla="*/ 88 w 93"/>
                    <a:gd name="T9" fmla="*/ 45 h 94"/>
                    <a:gd name="T10" fmla="*/ 85 w 93"/>
                    <a:gd name="T11" fmla="*/ 42 h 94"/>
                    <a:gd name="T12" fmla="*/ 82 w 93"/>
                    <a:gd name="T13" fmla="*/ 36 h 94"/>
                    <a:gd name="T14" fmla="*/ 75 w 93"/>
                    <a:gd name="T15" fmla="*/ 33 h 94"/>
                    <a:gd name="T16" fmla="*/ 69 w 93"/>
                    <a:gd name="T17" fmla="*/ 28 h 94"/>
                    <a:gd name="T18" fmla="*/ 66 w 93"/>
                    <a:gd name="T19" fmla="*/ 26 h 94"/>
                    <a:gd name="T20" fmla="*/ 58 w 93"/>
                    <a:gd name="T21" fmla="*/ 22 h 94"/>
                    <a:gd name="T22" fmla="*/ 52 w 93"/>
                    <a:gd name="T23" fmla="*/ 16 h 94"/>
                    <a:gd name="T24" fmla="*/ 49 w 93"/>
                    <a:gd name="T25" fmla="*/ 15 h 94"/>
                    <a:gd name="T26" fmla="*/ 43 w 93"/>
                    <a:gd name="T27" fmla="*/ 18 h 94"/>
                    <a:gd name="T28" fmla="*/ 42 w 93"/>
                    <a:gd name="T29" fmla="*/ 13 h 94"/>
                    <a:gd name="T30" fmla="*/ 36 w 93"/>
                    <a:gd name="T31" fmla="*/ 6 h 94"/>
                    <a:gd name="T32" fmla="*/ 29 w 93"/>
                    <a:gd name="T33" fmla="*/ 0 h 94"/>
                    <a:gd name="T34" fmla="*/ 22 w 93"/>
                    <a:gd name="T35" fmla="*/ 3 h 94"/>
                    <a:gd name="T36" fmla="*/ 14 w 93"/>
                    <a:gd name="T37" fmla="*/ 2 h 94"/>
                    <a:gd name="T38" fmla="*/ 12 w 93"/>
                    <a:gd name="T39" fmla="*/ 6 h 94"/>
                    <a:gd name="T40" fmla="*/ 10 w 93"/>
                    <a:gd name="T41" fmla="*/ 9 h 94"/>
                    <a:gd name="T42" fmla="*/ 10 w 93"/>
                    <a:gd name="T43" fmla="*/ 12 h 94"/>
                    <a:gd name="T44" fmla="*/ 10 w 93"/>
                    <a:gd name="T45" fmla="*/ 16 h 94"/>
                    <a:gd name="T46" fmla="*/ 7 w 93"/>
                    <a:gd name="T47" fmla="*/ 25 h 94"/>
                    <a:gd name="T48" fmla="*/ 7 w 93"/>
                    <a:gd name="T49" fmla="*/ 28 h 94"/>
                    <a:gd name="T50" fmla="*/ 7 w 93"/>
                    <a:gd name="T51" fmla="*/ 31 h 94"/>
                    <a:gd name="T52" fmla="*/ 6 w 93"/>
                    <a:gd name="T53" fmla="*/ 32 h 94"/>
                    <a:gd name="T54" fmla="*/ 4 w 93"/>
                    <a:gd name="T55" fmla="*/ 36 h 94"/>
                    <a:gd name="T56" fmla="*/ 4 w 93"/>
                    <a:gd name="T57" fmla="*/ 42 h 94"/>
                    <a:gd name="T58" fmla="*/ 6 w 93"/>
                    <a:gd name="T59" fmla="*/ 48 h 94"/>
                    <a:gd name="T60" fmla="*/ 6 w 93"/>
                    <a:gd name="T61" fmla="*/ 55 h 94"/>
                    <a:gd name="T62" fmla="*/ 3 w 93"/>
                    <a:gd name="T63" fmla="*/ 58 h 94"/>
                    <a:gd name="T64" fmla="*/ 2 w 93"/>
                    <a:gd name="T65" fmla="*/ 59 h 94"/>
                    <a:gd name="T66" fmla="*/ 0 w 93"/>
                    <a:gd name="T67" fmla="*/ 62 h 94"/>
                    <a:gd name="T68" fmla="*/ 0 w 93"/>
                    <a:gd name="T69" fmla="*/ 66 h 94"/>
                    <a:gd name="T70" fmla="*/ 0 w 93"/>
                    <a:gd name="T71" fmla="*/ 72 h 94"/>
                    <a:gd name="T72" fmla="*/ 10 w 93"/>
                    <a:gd name="T73" fmla="*/ 82 h 94"/>
                    <a:gd name="T74" fmla="*/ 14 w 93"/>
                    <a:gd name="T75" fmla="*/ 84 h 94"/>
                    <a:gd name="T76" fmla="*/ 22 w 93"/>
                    <a:gd name="T77" fmla="*/ 84 h 94"/>
                    <a:gd name="T78" fmla="*/ 27 w 93"/>
                    <a:gd name="T79" fmla="*/ 88 h 94"/>
                    <a:gd name="T80" fmla="*/ 39 w 93"/>
                    <a:gd name="T81" fmla="*/ 92 h 94"/>
                    <a:gd name="T82" fmla="*/ 46 w 93"/>
                    <a:gd name="T83" fmla="*/ 91 h 94"/>
                    <a:gd name="T84" fmla="*/ 52 w 93"/>
                    <a:gd name="T85" fmla="*/ 92 h 94"/>
                    <a:gd name="T86" fmla="*/ 59 w 93"/>
                    <a:gd name="T87" fmla="*/ 94 h 94"/>
                    <a:gd name="T88" fmla="*/ 66 w 93"/>
                    <a:gd name="T89" fmla="*/ 92 h 94"/>
                    <a:gd name="T90" fmla="*/ 79 w 93"/>
                    <a:gd name="T91" fmla="*/ 85 h 94"/>
                    <a:gd name="T92" fmla="*/ 83 w 93"/>
                    <a:gd name="T93" fmla="*/ 79 h 94"/>
                    <a:gd name="T94" fmla="*/ 89 w 93"/>
                    <a:gd name="T95" fmla="*/ 69 h 94"/>
                    <a:gd name="T96" fmla="*/ 86 w 93"/>
                    <a:gd name="T97" fmla="*/ 6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3" h="94">
                      <a:moveTo>
                        <a:pt x="86" y="65"/>
                      </a:moveTo>
                      <a:lnTo>
                        <a:pt x="86" y="61"/>
                      </a:lnTo>
                      <a:lnTo>
                        <a:pt x="86" y="58"/>
                      </a:lnTo>
                      <a:lnTo>
                        <a:pt x="88" y="56"/>
                      </a:lnTo>
                      <a:lnTo>
                        <a:pt x="92" y="51"/>
                      </a:lnTo>
                      <a:lnTo>
                        <a:pt x="93" y="49"/>
                      </a:lnTo>
                      <a:lnTo>
                        <a:pt x="92" y="48"/>
                      </a:lnTo>
                      <a:lnTo>
                        <a:pt x="91" y="46"/>
                      </a:lnTo>
                      <a:lnTo>
                        <a:pt x="89" y="46"/>
                      </a:lnTo>
                      <a:lnTo>
                        <a:pt x="88" y="45"/>
                      </a:lnTo>
                      <a:lnTo>
                        <a:pt x="86" y="43"/>
                      </a:lnTo>
                      <a:lnTo>
                        <a:pt x="85" y="42"/>
                      </a:lnTo>
                      <a:lnTo>
                        <a:pt x="83" y="39"/>
                      </a:lnTo>
                      <a:lnTo>
                        <a:pt x="82" y="36"/>
                      </a:lnTo>
                      <a:lnTo>
                        <a:pt x="79" y="35"/>
                      </a:lnTo>
                      <a:lnTo>
                        <a:pt x="75" y="33"/>
                      </a:lnTo>
                      <a:lnTo>
                        <a:pt x="72" y="32"/>
                      </a:lnTo>
                      <a:lnTo>
                        <a:pt x="69" y="28"/>
                      </a:lnTo>
                      <a:lnTo>
                        <a:pt x="68" y="26"/>
                      </a:lnTo>
                      <a:lnTo>
                        <a:pt x="66" y="26"/>
                      </a:lnTo>
                      <a:lnTo>
                        <a:pt x="60" y="23"/>
                      </a:lnTo>
                      <a:lnTo>
                        <a:pt x="58" y="22"/>
                      </a:lnTo>
                      <a:lnTo>
                        <a:pt x="56" y="20"/>
                      </a:lnTo>
                      <a:lnTo>
                        <a:pt x="52" y="16"/>
                      </a:lnTo>
                      <a:lnTo>
                        <a:pt x="50" y="15"/>
                      </a:lnTo>
                      <a:lnTo>
                        <a:pt x="49" y="15"/>
                      </a:lnTo>
                      <a:lnTo>
                        <a:pt x="45" y="18"/>
                      </a:lnTo>
                      <a:lnTo>
                        <a:pt x="43" y="18"/>
                      </a:lnTo>
                      <a:lnTo>
                        <a:pt x="43" y="16"/>
                      </a:lnTo>
                      <a:lnTo>
                        <a:pt x="42" y="13"/>
                      </a:lnTo>
                      <a:lnTo>
                        <a:pt x="40" y="9"/>
                      </a:lnTo>
                      <a:lnTo>
                        <a:pt x="36" y="6"/>
                      </a:lnTo>
                      <a:lnTo>
                        <a:pt x="32" y="2"/>
                      </a:lnTo>
                      <a:lnTo>
                        <a:pt x="29" y="0"/>
                      </a:lnTo>
                      <a:lnTo>
                        <a:pt x="25" y="0"/>
                      </a:lnTo>
                      <a:lnTo>
                        <a:pt x="22" y="3"/>
                      </a:lnTo>
                      <a:lnTo>
                        <a:pt x="17" y="3"/>
                      </a:lnTo>
                      <a:lnTo>
                        <a:pt x="14" y="2"/>
                      </a:lnTo>
                      <a:lnTo>
                        <a:pt x="13" y="3"/>
                      </a:lnTo>
                      <a:lnTo>
                        <a:pt x="12" y="6"/>
                      </a:lnTo>
                      <a:lnTo>
                        <a:pt x="10" y="8"/>
                      </a:lnTo>
                      <a:lnTo>
                        <a:pt x="10" y="9"/>
                      </a:lnTo>
                      <a:lnTo>
                        <a:pt x="10" y="10"/>
                      </a:lnTo>
                      <a:lnTo>
                        <a:pt x="10" y="12"/>
                      </a:lnTo>
                      <a:lnTo>
                        <a:pt x="12" y="13"/>
                      </a:lnTo>
                      <a:lnTo>
                        <a:pt x="10" y="16"/>
                      </a:lnTo>
                      <a:lnTo>
                        <a:pt x="9" y="22"/>
                      </a:lnTo>
                      <a:lnTo>
                        <a:pt x="7" y="25"/>
                      </a:lnTo>
                      <a:lnTo>
                        <a:pt x="7" y="26"/>
                      </a:lnTo>
                      <a:lnTo>
                        <a:pt x="7" y="28"/>
                      </a:lnTo>
                      <a:lnTo>
                        <a:pt x="7" y="29"/>
                      </a:lnTo>
                      <a:lnTo>
                        <a:pt x="7" y="31"/>
                      </a:lnTo>
                      <a:lnTo>
                        <a:pt x="6" y="31"/>
                      </a:lnTo>
                      <a:lnTo>
                        <a:pt x="6" y="32"/>
                      </a:lnTo>
                      <a:lnTo>
                        <a:pt x="4" y="33"/>
                      </a:lnTo>
                      <a:lnTo>
                        <a:pt x="4" y="36"/>
                      </a:lnTo>
                      <a:lnTo>
                        <a:pt x="4" y="39"/>
                      </a:lnTo>
                      <a:lnTo>
                        <a:pt x="4" y="42"/>
                      </a:lnTo>
                      <a:lnTo>
                        <a:pt x="4" y="45"/>
                      </a:lnTo>
                      <a:lnTo>
                        <a:pt x="6" y="48"/>
                      </a:lnTo>
                      <a:lnTo>
                        <a:pt x="6" y="51"/>
                      </a:lnTo>
                      <a:lnTo>
                        <a:pt x="6" y="55"/>
                      </a:lnTo>
                      <a:lnTo>
                        <a:pt x="4" y="58"/>
                      </a:lnTo>
                      <a:lnTo>
                        <a:pt x="3" y="58"/>
                      </a:lnTo>
                      <a:lnTo>
                        <a:pt x="3" y="58"/>
                      </a:lnTo>
                      <a:lnTo>
                        <a:pt x="2" y="59"/>
                      </a:lnTo>
                      <a:lnTo>
                        <a:pt x="2" y="61"/>
                      </a:lnTo>
                      <a:lnTo>
                        <a:pt x="0" y="62"/>
                      </a:lnTo>
                      <a:lnTo>
                        <a:pt x="0" y="65"/>
                      </a:lnTo>
                      <a:lnTo>
                        <a:pt x="0" y="66"/>
                      </a:lnTo>
                      <a:lnTo>
                        <a:pt x="0" y="69"/>
                      </a:lnTo>
                      <a:lnTo>
                        <a:pt x="0" y="72"/>
                      </a:lnTo>
                      <a:lnTo>
                        <a:pt x="3" y="75"/>
                      </a:lnTo>
                      <a:lnTo>
                        <a:pt x="10" y="82"/>
                      </a:lnTo>
                      <a:lnTo>
                        <a:pt x="12" y="84"/>
                      </a:lnTo>
                      <a:lnTo>
                        <a:pt x="14" y="84"/>
                      </a:lnTo>
                      <a:lnTo>
                        <a:pt x="17" y="84"/>
                      </a:lnTo>
                      <a:lnTo>
                        <a:pt x="22" y="84"/>
                      </a:lnTo>
                      <a:lnTo>
                        <a:pt x="25" y="87"/>
                      </a:lnTo>
                      <a:lnTo>
                        <a:pt x="27" y="88"/>
                      </a:lnTo>
                      <a:lnTo>
                        <a:pt x="36" y="92"/>
                      </a:lnTo>
                      <a:lnTo>
                        <a:pt x="39" y="92"/>
                      </a:lnTo>
                      <a:lnTo>
                        <a:pt x="42" y="92"/>
                      </a:lnTo>
                      <a:lnTo>
                        <a:pt x="46" y="91"/>
                      </a:lnTo>
                      <a:lnTo>
                        <a:pt x="49" y="91"/>
                      </a:lnTo>
                      <a:lnTo>
                        <a:pt x="52" y="92"/>
                      </a:lnTo>
                      <a:lnTo>
                        <a:pt x="56" y="92"/>
                      </a:lnTo>
                      <a:lnTo>
                        <a:pt x="59" y="94"/>
                      </a:lnTo>
                      <a:lnTo>
                        <a:pt x="63" y="92"/>
                      </a:lnTo>
                      <a:lnTo>
                        <a:pt x="66" y="92"/>
                      </a:lnTo>
                      <a:lnTo>
                        <a:pt x="76" y="87"/>
                      </a:lnTo>
                      <a:lnTo>
                        <a:pt x="79" y="85"/>
                      </a:lnTo>
                      <a:lnTo>
                        <a:pt x="82" y="82"/>
                      </a:lnTo>
                      <a:lnTo>
                        <a:pt x="83" y="79"/>
                      </a:lnTo>
                      <a:lnTo>
                        <a:pt x="86" y="72"/>
                      </a:lnTo>
                      <a:lnTo>
                        <a:pt x="89" y="69"/>
                      </a:lnTo>
                      <a:lnTo>
                        <a:pt x="86" y="68"/>
                      </a:lnTo>
                      <a:lnTo>
                        <a:pt x="86" y="6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50" name="Freeform 243">
                  <a:extLst>
                    <a:ext uri="{FF2B5EF4-FFF2-40B4-BE49-F238E27FC236}">
                      <a16:creationId xmlns:a16="http://schemas.microsoft.com/office/drawing/2014/main" id="{B17040EB-BFEF-FD34-F6DD-60FB1A47510C}"/>
                    </a:ext>
                  </a:extLst>
                </p:cNvPr>
                <p:cNvSpPr>
                  <a:spLocks/>
                </p:cNvSpPr>
                <p:nvPr/>
              </p:nvSpPr>
              <p:spPr bwMode="auto">
                <a:xfrm>
                  <a:off x="2118" y="2719"/>
                  <a:ext cx="221" cy="328"/>
                </a:xfrm>
                <a:custGeom>
                  <a:avLst/>
                  <a:gdLst>
                    <a:gd name="T0" fmla="*/ 202 w 221"/>
                    <a:gd name="T1" fmla="*/ 315 h 328"/>
                    <a:gd name="T2" fmla="*/ 205 w 221"/>
                    <a:gd name="T3" fmla="*/ 308 h 328"/>
                    <a:gd name="T4" fmla="*/ 213 w 221"/>
                    <a:gd name="T5" fmla="*/ 298 h 328"/>
                    <a:gd name="T6" fmla="*/ 215 w 221"/>
                    <a:gd name="T7" fmla="*/ 293 h 328"/>
                    <a:gd name="T8" fmla="*/ 215 w 221"/>
                    <a:gd name="T9" fmla="*/ 287 h 328"/>
                    <a:gd name="T10" fmla="*/ 210 w 221"/>
                    <a:gd name="T11" fmla="*/ 279 h 328"/>
                    <a:gd name="T12" fmla="*/ 211 w 221"/>
                    <a:gd name="T13" fmla="*/ 269 h 328"/>
                    <a:gd name="T14" fmla="*/ 217 w 221"/>
                    <a:gd name="T15" fmla="*/ 253 h 328"/>
                    <a:gd name="T16" fmla="*/ 215 w 221"/>
                    <a:gd name="T17" fmla="*/ 243 h 328"/>
                    <a:gd name="T18" fmla="*/ 221 w 221"/>
                    <a:gd name="T19" fmla="*/ 221 h 328"/>
                    <a:gd name="T20" fmla="*/ 201 w 221"/>
                    <a:gd name="T21" fmla="*/ 193 h 328"/>
                    <a:gd name="T22" fmla="*/ 191 w 221"/>
                    <a:gd name="T23" fmla="*/ 193 h 328"/>
                    <a:gd name="T24" fmla="*/ 187 w 221"/>
                    <a:gd name="T25" fmla="*/ 167 h 328"/>
                    <a:gd name="T26" fmla="*/ 161 w 221"/>
                    <a:gd name="T27" fmla="*/ 175 h 328"/>
                    <a:gd name="T28" fmla="*/ 149 w 221"/>
                    <a:gd name="T29" fmla="*/ 165 h 328"/>
                    <a:gd name="T30" fmla="*/ 144 w 221"/>
                    <a:gd name="T31" fmla="*/ 155 h 328"/>
                    <a:gd name="T32" fmla="*/ 135 w 221"/>
                    <a:gd name="T33" fmla="*/ 144 h 328"/>
                    <a:gd name="T34" fmla="*/ 134 w 221"/>
                    <a:gd name="T35" fmla="*/ 137 h 328"/>
                    <a:gd name="T36" fmla="*/ 129 w 221"/>
                    <a:gd name="T37" fmla="*/ 131 h 328"/>
                    <a:gd name="T38" fmla="*/ 132 w 221"/>
                    <a:gd name="T39" fmla="*/ 128 h 328"/>
                    <a:gd name="T40" fmla="*/ 132 w 221"/>
                    <a:gd name="T41" fmla="*/ 121 h 328"/>
                    <a:gd name="T42" fmla="*/ 144 w 221"/>
                    <a:gd name="T43" fmla="*/ 112 h 328"/>
                    <a:gd name="T44" fmla="*/ 145 w 221"/>
                    <a:gd name="T45" fmla="*/ 101 h 328"/>
                    <a:gd name="T46" fmla="*/ 151 w 221"/>
                    <a:gd name="T47" fmla="*/ 88 h 328"/>
                    <a:gd name="T48" fmla="*/ 180 w 221"/>
                    <a:gd name="T49" fmla="*/ 76 h 328"/>
                    <a:gd name="T50" fmla="*/ 190 w 221"/>
                    <a:gd name="T51" fmla="*/ 72 h 328"/>
                    <a:gd name="T52" fmla="*/ 198 w 221"/>
                    <a:gd name="T53" fmla="*/ 75 h 328"/>
                    <a:gd name="T54" fmla="*/ 191 w 221"/>
                    <a:gd name="T55" fmla="*/ 66 h 328"/>
                    <a:gd name="T56" fmla="*/ 197 w 221"/>
                    <a:gd name="T57" fmla="*/ 46 h 328"/>
                    <a:gd name="T58" fmla="*/ 180 w 221"/>
                    <a:gd name="T59" fmla="*/ 37 h 328"/>
                    <a:gd name="T60" fmla="*/ 169 w 221"/>
                    <a:gd name="T61" fmla="*/ 37 h 328"/>
                    <a:gd name="T62" fmla="*/ 158 w 221"/>
                    <a:gd name="T63" fmla="*/ 40 h 328"/>
                    <a:gd name="T64" fmla="*/ 144 w 221"/>
                    <a:gd name="T65" fmla="*/ 34 h 328"/>
                    <a:gd name="T66" fmla="*/ 136 w 221"/>
                    <a:gd name="T67" fmla="*/ 24 h 328"/>
                    <a:gd name="T68" fmla="*/ 122 w 221"/>
                    <a:gd name="T69" fmla="*/ 13 h 328"/>
                    <a:gd name="T70" fmla="*/ 108 w 221"/>
                    <a:gd name="T71" fmla="*/ 0 h 328"/>
                    <a:gd name="T72" fmla="*/ 105 w 221"/>
                    <a:gd name="T73" fmla="*/ 7 h 328"/>
                    <a:gd name="T74" fmla="*/ 102 w 221"/>
                    <a:gd name="T75" fmla="*/ 22 h 328"/>
                    <a:gd name="T76" fmla="*/ 78 w 221"/>
                    <a:gd name="T77" fmla="*/ 45 h 328"/>
                    <a:gd name="T78" fmla="*/ 55 w 221"/>
                    <a:gd name="T79" fmla="*/ 59 h 328"/>
                    <a:gd name="T80" fmla="*/ 52 w 221"/>
                    <a:gd name="T81" fmla="*/ 59 h 328"/>
                    <a:gd name="T82" fmla="*/ 45 w 221"/>
                    <a:gd name="T83" fmla="*/ 79 h 328"/>
                    <a:gd name="T84" fmla="*/ 39 w 221"/>
                    <a:gd name="T85" fmla="*/ 86 h 328"/>
                    <a:gd name="T86" fmla="*/ 29 w 221"/>
                    <a:gd name="T87" fmla="*/ 78 h 328"/>
                    <a:gd name="T88" fmla="*/ 14 w 221"/>
                    <a:gd name="T89" fmla="*/ 76 h 328"/>
                    <a:gd name="T90" fmla="*/ 16 w 221"/>
                    <a:gd name="T91" fmla="*/ 69 h 328"/>
                    <a:gd name="T92" fmla="*/ 19 w 221"/>
                    <a:gd name="T93" fmla="*/ 60 h 328"/>
                    <a:gd name="T94" fmla="*/ 0 w 221"/>
                    <a:gd name="T95" fmla="*/ 78 h 328"/>
                    <a:gd name="T96" fmla="*/ 3 w 221"/>
                    <a:gd name="T97" fmla="*/ 91 h 328"/>
                    <a:gd name="T98" fmla="*/ 7 w 221"/>
                    <a:gd name="T99" fmla="*/ 101 h 328"/>
                    <a:gd name="T100" fmla="*/ 3 w 221"/>
                    <a:gd name="T101" fmla="*/ 106 h 328"/>
                    <a:gd name="T102" fmla="*/ 32 w 221"/>
                    <a:gd name="T103" fmla="*/ 134 h 328"/>
                    <a:gd name="T104" fmla="*/ 65 w 221"/>
                    <a:gd name="T105" fmla="*/ 194 h 328"/>
                    <a:gd name="T106" fmla="*/ 72 w 221"/>
                    <a:gd name="T107" fmla="*/ 204 h 328"/>
                    <a:gd name="T108" fmla="*/ 90 w 221"/>
                    <a:gd name="T109" fmla="*/ 241 h 328"/>
                    <a:gd name="T110" fmla="*/ 89 w 221"/>
                    <a:gd name="T111" fmla="*/ 252 h 328"/>
                    <a:gd name="T112" fmla="*/ 172 w 221"/>
                    <a:gd name="T113" fmla="*/ 309 h 328"/>
                    <a:gd name="T114" fmla="*/ 188 w 221"/>
                    <a:gd name="T115" fmla="*/ 32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1" h="328">
                      <a:moveTo>
                        <a:pt x="201" y="325"/>
                      </a:moveTo>
                      <a:lnTo>
                        <a:pt x="202" y="321"/>
                      </a:lnTo>
                      <a:lnTo>
                        <a:pt x="202" y="319"/>
                      </a:lnTo>
                      <a:lnTo>
                        <a:pt x="201" y="316"/>
                      </a:lnTo>
                      <a:lnTo>
                        <a:pt x="201" y="315"/>
                      </a:lnTo>
                      <a:lnTo>
                        <a:pt x="202" y="315"/>
                      </a:lnTo>
                      <a:lnTo>
                        <a:pt x="205" y="312"/>
                      </a:lnTo>
                      <a:lnTo>
                        <a:pt x="207" y="312"/>
                      </a:lnTo>
                      <a:lnTo>
                        <a:pt x="207" y="310"/>
                      </a:lnTo>
                      <a:lnTo>
                        <a:pt x="207" y="309"/>
                      </a:lnTo>
                      <a:lnTo>
                        <a:pt x="205" y="309"/>
                      </a:lnTo>
                      <a:lnTo>
                        <a:pt x="205" y="308"/>
                      </a:lnTo>
                      <a:lnTo>
                        <a:pt x="205" y="306"/>
                      </a:lnTo>
                      <a:lnTo>
                        <a:pt x="207" y="305"/>
                      </a:lnTo>
                      <a:lnTo>
                        <a:pt x="207" y="305"/>
                      </a:lnTo>
                      <a:lnTo>
                        <a:pt x="208" y="303"/>
                      </a:lnTo>
                      <a:lnTo>
                        <a:pt x="210" y="302"/>
                      </a:lnTo>
                      <a:lnTo>
                        <a:pt x="213" y="298"/>
                      </a:lnTo>
                      <a:lnTo>
                        <a:pt x="214" y="298"/>
                      </a:lnTo>
                      <a:lnTo>
                        <a:pt x="215" y="296"/>
                      </a:lnTo>
                      <a:lnTo>
                        <a:pt x="215" y="296"/>
                      </a:lnTo>
                      <a:lnTo>
                        <a:pt x="215" y="295"/>
                      </a:lnTo>
                      <a:lnTo>
                        <a:pt x="215" y="293"/>
                      </a:lnTo>
                      <a:lnTo>
                        <a:pt x="215" y="293"/>
                      </a:lnTo>
                      <a:lnTo>
                        <a:pt x="217" y="292"/>
                      </a:lnTo>
                      <a:lnTo>
                        <a:pt x="218" y="292"/>
                      </a:lnTo>
                      <a:lnTo>
                        <a:pt x="218" y="290"/>
                      </a:lnTo>
                      <a:lnTo>
                        <a:pt x="218" y="289"/>
                      </a:lnTo>
                      <a:lnTo>
                        <a:pt x="218" y="289"/>
                      </a:lnTo>
                      <a:lnTo>
                        <a:pt x="215" y="287"/>
                      </a:lnTo>
                      <a:lnTo>
                        <a:pt x="214" y="287"/>
                      </a:lnTo>
                      <a:lnTo>
                        <a:pt x="213" y="287"/>
                      </a:lnTo>
                      <a:lnTo>
                        <a:pt x="211" y="286"/>
                      </a:lnTo>
                      <a:lnTo>
                        <a:pt x="211" y="283"/>
                      </a:lnTo>
                      <a:lnTo>
                        <a:pt x="210" y="280"/>
                      </a:lnTo>
                      <a:lnTo>
                        <a:pt x="210" y="279"/>
                      </a:lnTo>
                      <a:lnTo>
                        <a:pt x="210" y="277"/>
                      </a:lnTo>
                      <a:lnTo>
                        <a:pt x="210" y="276"/>
                      </a:lnTo>
                      <a:lnTo>
                        <a:pt x="211" y="275"/>
                      </a:lnTo>
                      <a:lnTo>
                        <a:pt x="213" y="270"/>
                      </a:lnTo>
                      <a:lnTo>
                        <a:pt x="213" y="270"/>
                      </a:lnTo>
                      <a:lnTo>
                        <a:pt x="211" y="269"/>
                      </a:lnTo>
                      <a:lnTo>
                        <a:pt x="211" y="267"/>
                      </a:lnTo>
                      <a:lnTo>
                        <a:pt x="210" y="264"/>
                      </a:lnTo>
                      <a:lnTo>
                        <a:pt x="210" y="263"/>
                      </a:lnTo>
                      <a:lnTo>
                        <a:pt x="211" y="262"/>
                      </a:lnTo>
                      <a:lnTo>
                        <a:pt x="211" y="260"/>
                      </a:lnTo>
                      <a:lnTo>
                        <a:pt x="217" y="253"/>
                      </a:lnTo>
                      <a:lnTo>
                        <a:pt x="217" y="252"/>
                      </a:lnTo>
                      <a:lnTo>
                        <a:pt x="218" y="250"/>
                      </a:lnTo>
                      <a:lnTo>
                        <a:pt x="218" y="249"/>
                      </a:lnTo>
                      <a:lnTo>
                        <a:pt x="217" y="246"/>
                      </a:lnTo>
                      <a:lnTo>
                        <a:pt x="215" y="244"/>
                      </a:lnTo>
                      <a:lnTo>
                        <a:pt x="215" y="243"/>
                      </a:lnTo>
                      <a:lnTo>
                        <a:pt x="217" y="230"/>
                      </a:lnTo>
                      <a:lnTo>
                        <a:pt x="217" y="229"/>
                      </a:lnTo>
                      <a:lnTo>
                        <a:pt x="217" y="227"/>
                      </a:lnTo>
                      <a:lnTo>
                        <a:pt x="220" y="224"/>
                      </a:lnTo>
                      <a:lnTo>
                        <a:pt x="220" y="223"/>
                      </a:lnTo>
                      <a:lnTo>
                        <a:pt x="221" y="221"/>
                      </a:lnTo>
                      <a:lnTo>
                        <a:pt x="221" y="220"/>
                      </a:lnTo>
                      <a:lnTo>
                        <a:pt x="221" y="218"/>
                      </a:lnTo>
                      <a:lnTo>
                        <a:pt x="220" y="217"/>
                      </a:lnTo>
                      <a:lnTo>
                        <a:pt x="205" y="193"/>
                      </a:lnTo>
                      <a:lnTo>
                        <a:pt x="204" y="193"/>
                      </a:lnTo>
                      <a:lnTo>
                        <a:pt x="201" y="193"/>
                      </a:lnTo>
                      <a:lnTo>
                        <a:pt x="200" y="193"/>
                      </a:lnTo>
                      <a:lnTo>
                        <a:pt x="198" y="193"/>
                      </a:lnTo>
                      <a:lnTo>
                        <a:pt x="195" y="194"/>
                      </a:lnTo>
                      <a:lnTo>
                        <a:pt x="194" y="194"/>
                      </a:lnTo>
                      <a:lnTo>
                        <a:pt x="192" y="194"/>
                      </a:lnTo>
                      <a:lnTo>
                        <a:pt x="191" y="193"/>
                      </a:lnTo>
                      <a:lnTo>
                        <a:pt x="188" y="193"/>
                      </a:lnTo>
                      <a:lnTo>
                        <a:pt x="187" y="194"/>
                      </a:lnTo>
                      <a:lnTo>
                        <a:pt x="188" y="171"/>
                      </a:lnTo>
                      <a:lnTo>
                        <a:pt x="188" y="168"/>
                      </a:lnTo>
                      <a:lnTo>
                        <a:pt x="190" y="165"/>
                      </a:lnTo>
                      <a:lnTo>
                        <a:pt x="187" y="167"/>
                      </a:lnTo>
                      <a:lnTo>
                        <a:pt x="180" y="172"/>
                      </a:lnTo>
                      <a:lnTo>
                        <a:pt x="175" y="174"/>
                      </a:lnTo>
                      <a:lnTo>
                        <a:pt x="172" y="175"/>
                      </a:lnTo>
                      <a:lnTo>
                        <a:pt x="168" y="175"/>
                      </a:lnTo>
                      <a:lnTo>
                        <a:pt x="161" y="175"/>
                      </a:lnTo>
                      <a:lnTo>
                        <a:pt x="161" y="175"/>
                      </a:lnTo>
                      <a:lnTo>
                        <a:pt x="161" y="174"/>
                      </a:lnTo>
                      <a:lnTo>
                        <a:pt x="161" y="172"/>
                      </a:lnTo>
                      <a:lnTo>
                        <a:pt x="158" y="168"/>
                      </a:lnTo>
                      <a:lnTo>
                        <a:pt x="158" y="167"/>
                      </a:lnTo>
                      <a:lnTo>
                        <a:pt x="154" y="165"/>
                      </a:lnTo>
                      <a:lnTo>
                        <a:pt x="149" y="165"/>
                      </a:lnTo>
                      <a:lnTo>
                        <a:pt x="142" y="165"/>
                      </a:lnTo>
                      <a:lnTo>
                        <a:pt x="144" y="162"/>
                      </a:lnTo>
                      <a:lnTo>
                        <a:pt x="145" y="161"/>
                      </a:lnTo>
                      <a:lnTo>
                        <a:pt x="146" y="158"/>
                      </a:lnTo>
                      <a:lnTo>
                        <a:pt x="145" y="157"/>
                      </a:lnTo>
                      <a:lnTo>
                        <a:pt x="144" y="155"/>
                      </a:lnTo>
                      <a:lnTo>
                        <a:pt x="142" y="152"/>
                      </a:lnTo>
                      <a:lnTo>
                        <a:pt x="141" y="152"/>
                      </a:lnTo>
                      <a:lnTo>
                        <a:pt x="141" y="151"/>
                      </a:lnTo>
                      <a:lnTo>
                        <a:pt x="139" y="149"/>
                      </a:lnTo>
                      <a:lnTo>
                        <a:pt x="139" y="148"/>
                      </a:lnTo>
                      <a:lnTo>
                        <a:pt x="135" y="144"/>
                      </a:lnTo>
                      <a:lnTo>
                        <a:pt x="134" y="141"/>
                      </a:lnTo>
                      <a:lnTo>
                        <a:pt x="132" y="139"/>
                      </a:lnTo>
                      <a:lnTo>
                        <a:pt x="132" y="138"/>
                      </a:lnTo>
                      <a:lnTo>
                        <a:pt x="134" y="138"/>
                      </a:lnTo>
                      <a:lnTo>
                        <a:pt x="134" y="137"/>
                      </a:lnTo>
                      <a:lnTo>
                        <a:pt x="134" y="137"/>
                      </a:lnTo>
                      <a:lnTo>
                        <a:pt x="132" y="137"/>
                      </a:lnTo>
                      <a:lnTo>
                        <a:pt x="132" y="135"/>
                      </a:lnTo>
                      <a:lnTo>
                        <a:pt x="132" y="135"/>
                      </a:lnTo>
                      <a:lnTo>
                        <a:pt x="129" y="134"/>
                      </a:lnTo>
                      <a:lnTo>
                        <a:pt x="129" y="132"/>
                      </a:lnTo>
                      <a:lnTo>
                        <a:pt x="129" y="131"/>
                      </a:lnTo>
                      <a:lnTo>
                        <a:pt x="129" y="129"/>
                      </a:lnTo>
                      <a:lnTo>
                        <a:pt x="129" y="129"/>
                      </a:lnTo>
                      <a:lnTo>
                        <a:pt x="129" y="129"/>
                      </a:lnTo>
                      <a:lnTo>
                        <a:pt x="132" y="128"/>
                      </a:lnTo>
                      <a:lnTo>
                        <a:pt x="132" y="128"/>
                      </a:lnTo>
                      <a:lnTo>
                        <a:pt x="132" y="128"/>
                      </a:lnTo>
                      <a:lnTo>
                        <a:pt x="132" y="125"/>
                      </a:lnTo>
                      <a:lnTo>
                        <a:pt x="132" y="125"/>
                      </a:lnTo>
                      <a:lnTo>
                        <a:pt x="132" y="124"/>
                      </a:lnTo>
                      <a:lnTo>
                        <a:pt x="132" y="122"/>
                      </a:lnTo>
                      <a:lnTo>
                        <a:pt x="132" y="122"/>
                      </a:lnTo>
                      <a:lnTo>
                        <a:pt x="132" y="121"/>
                      </a:lnTo>
                      <a:lnTo>
                        <a:pt x="134" y="121"/>
                      </a:lnTo>
                      <a:lnTo>
                        <a:pt x="134" y="119"/>
                      </a:lnTo>
                      <a:lnTo>
                        <a:pt x="136" y="118"/>
                      </a:lnTo>
                      <a:lnTo>
                        <a:pt x="141" y="115"/>
                      </a:lnTo>
                      <a:lnTo>
                        <a:pt x="142" y="114"/>
                      </a:lnTo>
                      <a:lnTo>
                        <a:pt x="144" y="112"/>
                      </a:lnTo>
                      <a:lnTo>
                        <a:pt x="144" y="111"/>
                      </a:lnTo>
                      <a:lnTo>
                        <a:pt x="142" y="109"/>
                      </a:lnTo>
                      <a:lnTo>
                        <a:pt x="142" y="106"/>
                      </a:lnTo>
                      <a:lnTo>
                        <a:pt x="142" y="105"/>
                      </a:lnTo>
                      <a:lnTo>
                        <a:pt x="144" y="102"/>
                      </a:lnTo>
                      <a:lnTo>
                        <a:pt x="145" y="101"/>
                      </a:lnTo>
                      <a:lnTo>
                        <a:pt x="146" y="98"/>
                      </a:lnTo>
                      <a:lnTo>
                        <a:pt x="146" y="96"/>
                      </a:lnTo>
                      <a:lnTo>
                        <a:pt x="146" y="92"/>
                      </a:lnTo>
                      <a:lnTo>
                        <a:pt x="148" y="91"/>
                      </a:lnTo>
                      <a:lnTo>
                        <a:pt x="149" y="89"/>
                      </a:lnTo>
                      <a:lnTo>
                        <a:pt x="151" y="88"/>
                      </a:lnTo>
                      <a:lnTo>
                        <a:pt x="152" y="88"/>
                      </a:lnTo>
                      <a:lnTo>
                        <a:pt x="154" y="86"/>
                      </a:lnTo>
                      <a:lnTo>
                        <a:pt x="162" y="80"/>
                      </a:lnTo>
                      <a:lnTo>
                        <a:pt x="167" y="79"/>
                      </a:lnTo>
                      <a:lnTo>
                        <a:pt x="171" y="78"/>
                      </a:lnTo>
                      <a:lnTo>
                        <a:pt x="180" y="76"/>
                      </a:lnTo>
                      <a:lnTo>
                        <a:pt x="181" y="75"/>
                      </a:lnTo>
                      <a:lnTo>
                        <a:pt x="182" y="75"/>
                      </a:lnTo>
                      <a:lnTo>
                        <a:pt x="184" y="73"/>
                      </a:lnTo>
                      <a:lnTo>
                        <a:pt x="185" y="72"/>
                      </a:lnTo>
                      <a:lnTo>
                        <a:pt x="188" y="72"/>
                      </a:lnTo>
                      <a:lnTo>
                        <a:pt x="190" y="72"/>
                      </a:lnTo>
                      <a:lnTo>
                        <a:pt x="191" y="72"/>
                      </a:lnTo>
                      <a:lnTo>
                        <a:pt x="192" y="73"/>
                      </a:lnTo>
                      <a:lnTo>
                        <a:pt x="195" y="75"/>
                      </a:lnTo>
                      <a:lnTo>
                        <a:pt x="197" y="75"/>
                      </a:lnTo>
                      <a:lnTo>
                        <a:pt x="198" y="75"/>
                      </a:lnTo>
                      <a:lnTo>
                        <a:pt x="198" y="75"/>
                      </a:lnTo>
                      <a:lnTo>
                        <a:pt x="200" y="73"/>
                      </a:lnTo>
                      <a:lnTo>
                        <a:pt x="197" y="69"/>
                      </a:lnTo>
                      <a:lnTo>
                        <a:pt x="194" y="68"/>
                      </a:lnTo>
                      <a:lnTo>
                        <a:pt x="192" y="66"/>
                      </a:lnTo>
                      <a:lnTo>
                        <a:pt x="192" y="66"/>
                      </a:lnTo>
                      <a:lnTo>
                        <a:pt x="191" y="66"/>
                      </a:lnTo>
                      <a:lnTo>
                        <a:pt x="190" y="66"/>
                      </a:lnTo>
                      <a:lnTo>
                        <a:pt x="190" y="66"/>
                      </a:lnTo>
                      <a:lnTo>
                        <a:pt x="185" y="65"/>
                      </a:lnTo>
                      <a:lnTo>
                        <a:pt x="195" y="52"/>
                      </a:lnTo>
                      <a:lnTo>
                        <a:pt x="197" y="47"/>
                      </a:lnTo>
                      <a:lnTo>
                        <a:pt x="197" y="46"/>
                      </a:lnTo>
                      <a:lnTo>
                        <a:pt x="194" y="43"/>
                      </a:lnTo>
                      <a:lnTo>
                        <a:pt x="188" y="42"/>
                      </a:lnTo>
                      <a:lnTo>
                        <a:pt x="185" y="39"/>
                      </a:lnTo>
                      <a:lnTo>
                        <a:pt x="182" y="37"/>
                      </a:lnTo>
                      <a:lnTo>
                        <a:pt x="181" y="37"/>
                      </a:lnTo>
                      <a:lnTo>
                        <a:pt x="180" y="37"/>
                      </a:lnTo>
                      <a:lnTo>
                        <a:pt x="178" y="39"/>
                      </a:lnTo>
                      <a:lnTo>
                        <a:pt x="175" y="39"/>
                      </a:lnTo>
                      <a:lnTo>
                        <a:pt x="174" y="39"/>
                      </a:lnTo>
                      <a:lnTo>
                        <a:pt x="172" y="39"/>
                      </a:lnTo>
                      <a:lnTo>
                        <a:pt x="171" y="37"/>
                      </a:lnTo>
                      <a:lnTo>
                        <a:pt x="169" y="37"/>
                      </a:lnTo>
                      <a:lnTo>
                        <a:pt x="168" y="36"/>
                      </a:lnTo>
                      <a:lnTo>
                        <a:pt x="167" y="37"/>
                      </a:lnTo>
                      <a:lnTo>
                        <a:pt x="164" y="39"/>
                      </a:lnTo>
                      <a:lnTo>
                        <a:pt x="162" y="40"/>
                      </a:lnTo>
                      <a:lnTo>
                        <a:pt x="159" y="40"/>
                      </a:lnTo>
                      <a:lnTo>
                        <a:pt x="158" y="40"/>
                      </a:lnTo>
                      <a:lnTo>
                        <a:pt x="154" y="40"/>
                      </a:lnTo>
                      <a:lnTo>
                        <a:pt x="149" y="42"/>
                      </a:lnTo>
                      <a:lnTo>
                        <a:pt x="148" y="42"/>
                      </a:lnTo>
                      <a:lnTo>
                        <a:pt x="145" y="40"/>
                      </a:lnTo>
                      <a:lnTo>
                        <a:pt x="144" y="37"/>
                      </a:lnTo>
                      <a:lnTo>
                        <a:pt x="144" y="34"/>
                      </a:lnTo>
                      <a:lnTo>
                        <a:pt x="142" y="32"/>
                      </a:lnTo>
                      <a:lnTo>
                        <a:pt x="141" y="30"/>
                      </a:lnTo>
                      <a:lnTo>
                        <a:pt x="139" y="30"/>
                      </a:lnTo>
                      <a:lnTo>
                        <a:pt x="138" y="29"/>
                      </a:lnTo>
                      <a:lnTo>
                        <a:pt x="136" y="27"/>
                      </a:lnTo>
                      <a:lnTo>
                        <a:pt x="136" y="24"/>
                      </a:lnTo>
                      <a:lnTo>
                        <a:pt x="135" y="23"/>
                      </a:lnTo>
                      <a:lnTo>
                        <a:pt x="134" y="20"/>
                      </a:lnTo>
                      <a:lnTo>
                        <a:pt x="126" y="17"/>
                      </a:lnTo>
                      <a:lnTo>
                        <a:pt x="124" y="16"/>
                      </a:lnTo>
                      <a:lnTo>
                        <a:pt x="124" y="14"/>
                      </a:lnTo>
                      <a:lnTo>
                        <a:pt x="122" y="13"/>
                      </a:lnTo>
                      <a:lnTo>
                        <a:pt x="122" y="11"/>
                      </a:lnTo>
                      <a:lnTo>
                        <a:pt x="121" y="9"/>
                      </a:lnTo>
                      <a:lnTo>
                        <a:pt x="121" y="7"/>
                      </a:lnTo>
                      <a:lnTo>
                        <a:pt x="119" y="6"/>
                      </a:lnTo>
                      <a:lnTo>
                        <a:pt x="111" y="1"/>
                      </a:lnTo>
                      <a:lnTo>
                        <a:pt x="108" y="0"/>
                      </a:lnTo>
                      <a:lnTo>
                        <a:pt x="106" y="0"/>
                      </a:lnTo>
                      <a:lnTo>
                        <a:pt x="105" y="1"/>
                      </a:lnTo>
                      <a:lnTo>
                        <a:pt x="103" y="1"/>
                      </a:lnTo>
                      <a:lnTo>
                        <a:pt x="101" y="1"/>
                      </a:lnTo>
                      <a:lnTo>
                        <a:pt x="99" y="1"/>
                      </a:lnTo>
                      <a:lnTo>
                        <a:pt x="105" y="7"/>
                      </a:lnTo>
                      <a:lnTo>
                        <a:pt x="106" y="9"/>
                      </a:lnTo>
                      <a:lnTo>
                        <a:pt x="106" y="11"/>
                      </a:lnTo>
                      <a:lnTo>
                        <a:pt x="106" y="14"/>
                      </a:lnTo>
                      <a:lnTo>
                        <a:pt x="106" y="16"/>
                      </a:lnTo>
                      <a:lnTo>
                        <a:pt x="103" y="14"/>
                      </a:lnTo>
                      <a:lnTo>
                        <a:pt x="102" y="22"/>
                      </a:lnTo>
                      <a:lnTo>
                        <a:pt x="101" y="24"/>
                      </a:lnTo>
                      <a:lnTo>
                        <a:pt x="99" y="26"/>
                      </a:lnTo>
                      <a:lnTo>
                        <a:pt x="92" y="36"/>
                      </a:lnTo>
                      <a:lnTo>
                        <a:pt x="88" y="40"/>
                      </a:lnTo>
                      <a:lnTo>
                        <a:pt x="82" y="43"/>
                      </a:lnTo>
                      <a:lnTo>
                        <a:pt x="78" y="45"/>
                      </a:lnTo>
                      <a:lnTo>
                        <a:pt x="63" y="49"/>
                      </a:lnTo>
                      <a:lnTo>
                        <a:pt x="60" y="52"/>
                      </a:lnTo>
                      <a:lnTo>
                        <a:pt x="59" y="53"/>
                      </a:lnTo>
                      <a:lnTo>
                        <a:pt x="55" y="57"/>
                      </a:lnTo>
                      <a:lnTo>
                        <a:pt x="55" y="59"/>
                      </a:lnTo>
                      <a:lnTo>
                        <a:pt x="55" y="59"/>
                      </a:lnTo>
                      <a:lnTo>
                        <a:pt x="55" y="59"/>
                      </a:lnTo>
                      <a:lnTo>
                        <a:pt x="55" y="60"/>
                      </a:lnTo>
                      <a:lnTo>
                        <a:pt x="55" y="60"/>
                      </a:lnTo>
                      <a:lnTo>
                        <a:pt x="53" y="59"/>
                      </a:lnTo>
                      <a:lnTo>
                        <a:pt x="53" y="59"/>
                      </a:lnTo>
                      <a:lnTo>
                        <a:pt x="52" y="59"/>
                      </a:lnTo>
                      <a:lnTo>
                        <a:pt x="52" y="60"/>
                      </a:lnTo>
                      <a:lnTo>
                        <a:pt x="50" y="62"/>
                      </a:lnTo>
                      <a:lnTo>
                        <a:pt x="50" y="63"/>
                      </a:lnTo>
                      <a:lnTo>
                        <a:pt x="50" y="65"/>
                      </a:lnTo>
                      <a:lnTo>
                        <a:pt x="46" y="78"/>
                      </a:lnTo>
                      <a:lnTo>
                        <a:pt x="45" y="79"/>
                      </a:lnTo>
                      <a:lnTo>
                        <a:pt x="45" y="79"/>
                      </a:lnTo>
                      <a:lnTo>
                        <a:pt x="43" y="80"/>
                      </a:lnTo>
                      <a:lnTo>
                        <a:pt x="43" y="82"/>
                      </a:lnTo>
                      <a:lnTo>
                        <a:pt x="42" y="83"/>
                      </a:lnTo>
                      <a:lnTo>
                        <a:pt x="42" y="85"/>
                      </a:lnTo>
                      <a:lnTo>
                        <a:pt x="39" y="86"/>
                      </a:lnTo>
                      <a:lnTo>
                        <a:pt x="36" y="86"/>
                      </a:lnTo>
                      <a:lnTo>
                        <a:pt x="33" y="83"/>
                      </a:lnTo>
                      <a:lnTo>
                        <a:pt x="32" y="80"/>
                      </a:lnTo>
                      <a:lnTo>
                        <a:pt x="30" y="79"/>
                      </a:lnTo>
                      <a:lnTo>
                        <a:pt x="30" y="78"/>
                      </a:lnTo>
                      <a:lnTo>
                        <a:pt x="29" y="78"/>
                      </a:lnTo>
                      <a:lnTo>
                        <a:pt x="27" y="78"/>
                      </a:lnTo>
                      <a:lnTo>
                        <a:pt x="23" y="75"/>
                      </a:lnTo>
                      <a:lnTo>
                        <a:pt x="22" y="75"/>
                      </a:lnTo>
                      <a:lnTo>
                        <a:pt x="19" y="75"/>
                      </a:lnTo>
                      <a:lnTo>
                        <a:pt x="16" y="76"/>
                      </a:lnTo>
                      <a:lnTo>
                        <a:pt x="14" y="76"/>
                      </a:lnTo>
                      <a:lnTo>
                        <a:pt x="17" y="73"/>
                      </a:lnTo>
                      <a:lnTo>
                        <a:pt x="14" y="72"/>
                      </a:lnTo>
                      <a:lnTo>
                        <a:pt x="14" y="72"/>
                      </a:lnTo>
                      <a:lnTo>
                        <a:pt x="14" y="70"/>
                      </a:lnTo>
                      <a:lnTo>
                        <a:pt x="16" y="69"/>
                      </a:lnTo>
                      <a:lnTo>
                        <a:pt x="16" y="69"/>
                      </a:lnTo>
                      <a:lnTo>
                        <a:pt x="17" y="69"/>
                      </a:lnTo>
                      <a:lnTo>
                        <a:pt x="19" y="68"/>
                      </a:lnTo>
                      <a:lnTo>
                        <a:pt x="20" y="68"/>
                      </a:lnTo>
                      <a:lnTo>
                        <a:pt x="20" y="65"/>
                      </a:lnTo>
                      <a:lnTo>
                        <a:pt x="19" y="63"/>
                      </a:lnTo>
                      <a:lnTo>
                        <a:pt x="19" y="60"/>
                      </a:lnTo>
                      <a:lnTo>
                        <a:pt x="17" y="59"/>
                      </a:lnTo>
                      <a:lnTo>
                        <a:pt x="13" y="62"/>
                      </a:lnTo>
                      <a:lnTo>
                        <a:pt x="7" y="66"/>
                      </a:lnTo>
                      <a:lnTo>
                        <a:pt x="3" y="70"/>
                      </a:lnTo>
                      <a:lnTo>
                        <a:pt x="0" y="75"/>
                      </a:lnTo>
                      <a:lnTo>
                        <a:pt x="0" y="78"/>
                      </a:lnTo>
                      <a:lnTo>
                        <a:pt x="0" y="80"/>
                      </a:lnTo>
                      <a:lnTo>
                        <a:pt x="3" y="85"/>
                      </a:lnTo>
                      <a:lnTo>
                        <a:pt x="3" y="86"/>
                      </a:lnTo>
                      <a:lnTo>
                        <a:pt x="1" y="89"/>
                      </a:lnTo>
                      <a:lnTo>
                        <a:pt x="3" y="89"/>
                      </a:lnTo>
                      <a:lnTo>
                        <a:pt x="3" y="91"/>
                      </a:lnTo>
                      <a:lnTo>
                        <a:pt x="6" y="93"/>
                      </a:lnTo>
                      <a:lnTo>
                        <a:pt x="6" y="95"/>
                      </a:lnTo>
                      <a:lnTo>
                        <a:pt x="7" y="96"/>
                      </a:lnTo>
                      <a:lnTo>
                        <a:pt x="7" y="98"/>
                      </a:lnTo>
                      <a:lnTo>
                        <a:pt x="7" y="99"/>
                      </a:lnTo>
                      <a:lnTo>
                        <a:pt x="7" y="101"/>
                      </a:lnTo>
                      <a:lnTo>
                        <a:pt x="6" y="102"/>
                      </a:lnTo>
                      <a:lnTo>
                        <a:pt x="6" y="102"/>
                      </a:lnTo>
                      <a:lnTo>
                        <a:pt x="4" y="101"/>
                      </a:lnTo>
                      <a:lnTo>
                        <a:pt x="3" y="101"/>
                      </a:lnTo>
                      <a:lnTo>
                        <a:pt x="3" y="103"/>
                      </a:lnTo>
                      <a:lnTo>
                        <a:pt x="3" y="106"/>
                      </a:lnTo>
                      <a:lnTo>
                        <a:pt x="6" y="108"/>
                      </a:lnTo>
                      <a:lnTo>
                        <a:pt x="19" y="115"/>
                      </a:lnTo>
                      <a:lnTo>
                        <a:pt x="23" y="119"/>
                      </a:lnTo>
                      <a:lnTo>
                        <a:pt x="27" y="124"/>
                      </a:lnTo>
                      <a:lnTo>
                        <a:pt x="29" y="125"/>
                      </a:lnTo>
                      <a:lnTo>
                        <a:pt x="32" y="134"/>
                      </a:lnTo>
                      <a:lnTo>
                        <a:pt x="33" y="135"/>
                      </a:lnTo>
                      <a:lnTo>
                        <a:pt x="39" y="142"/>
                      </a:lnTo>
                      <a:lnTo>
                        <a:pt x="42" y="147"/>
                      </a:lnTo>
                      <a:lnTo>
                        <a:pt x="56" y="180"/>
                      </a:lnTo>
                      <a:lnTo>
                        <a:pt x="63" y="193"/>
                      </a:lnTo>
                      <a:lnTo>
                        <a:pt x="65" y="194"/>
                      </a:lnTo>
                      <a:lnTo>
                        <a:pt x="65" y="197"/>
                      </a:lnTo>
                      <a:lnTo>
                        <a:pt x="65" y="198"/>
                      </a:lnTo>
                      <a:lnTo>
                        <a:pt x="66" y="200"/>
                      </a:lnTo>
                      <a:lnTo>
                        <a:pt x="67" y="201"/>
                      </a:lnTo>
                      <a:lnTo>
                        <a:pt x="70" y="203"/>
                      </a:lnTo>
                      <a:lnTo>
                        <a:pt x="72" y="204"/>
                      </a:lnTo>
                      <a:lnTo>
                        <a:pt x="72" y="207"/>
                      </a:lnTo>
                      <a:lnTo>
                        <a:pt x="73" y="213"/>
                      </a:lnTo>
                      <a:lnTo>
                        <a:pt x="75" y="214"/>
                      </a:lnTo>
                      <a:lnTo>
                        <a:pt x="79" y="220"/>
                      </a:lnTo>
                      <a:lnTo>
                        <a:pt x="89" y="236"/>
                      </a:lnTo>
                      <a:lnTo>
                        <a:pt x="90" y="241"/>
                      </a:lnTo>
                      <a:lnTo>
                        <a:pt x="86" y="244"/>
                      </a:lnTo>
                      <a:lnTo>
                        <a:pt x="88" y="246"/>
                      </a:lnTo>
                      <a:lnTo>
                        <a:pt x="88" y="247"/>
                      </a:lnTo>
                      <a:lnTo>
                        <a:pt x="88" y="249"/>
                      </a:lnTo>
                      <a:lnTo>
                        <a:pt x="89" y="250"/>
                      </a:lnTo>
                      <a:lnTo>
                        <a:pt x="89" y="252"/>
                      </a:lnTo>
                      <a:lnTo>
                        <a:pt x="95" y="259"/>
                      </a:lnTo>
                      <a:lnTo>
                        <a:pt x="102" y="266"/>
                      </a:lnTo>
                      <a:lnTo>
                        <a:pt x="109" y="273"/>
                      </a:lnTo>
                      <a:lnTo>
                        <a:pt x="112" y="275"/>
                      </a:lnTo>
                      <a:lnTo>
                        <a:pt x="171" y="308"/>
                      </a:lnTo>
                      <a:lnTo>
                        <a:pt x="172" y="309"/>
                      </a:lnTo>
                      <a:lnTo>
                        <a:pt x="174" y="310"/>
                      </a:lnTo>
                      <a:lnTo>
                        <a:pt x="174" y="312"/>
                      </a:lnTo>
                      <a:lnTo>
                        <a:pt x="175" y="313"/>
                      </a:lnTo>
                      <a:lnTo>
                        <a:pt x="175" y="315"/>
                      </a:lnTo>
                      <a:lnTo>
                        <a:pt x="177" y="316"/>
                      </a:lnTo>
                      <a:lnTo>
                        <a:pt x="188" y="325"/>
                      </a:lnTo>
                      <a:lnTo>
                        <a:pt x="191" y="328"/>
                      </a:lnTo>
                      <a:lnTo>
                        <a:pt x="198" y="326"/>
                      </a:lnTo>
                      <a:lnTo>
                        <a:pt x="201" y="32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51" name="Freeform 244">
                  <a:extLst>
                    <a:ext uri="{FF2B5EF4-FFF2-40B4-BE49-F238E27FC236}">
                      <a16:creationId xmlns:a16="http://schemas.microsoft.com/office/drawing/2014/main" id="{6A706683-A4CB-D13A-B6AE-FCC1D3B40886}"/>
                    </a:ext>
                  </a:extLst>
                </p:cNvPr>
                <p:cNvSpPr>
                  <a:spLocks/>
                </p:cNvSpPr>
                <p:nvPr/>
              </p:nvSpPr>
              <p:spPr bwMode="auto">
                <a:xfrm>
                  <a:off x="2158" y="3338"/>
                  <a:ext cx="5" cy="2"/>
                </a:xfrm>
                <a:custGeom>
                  <a:avLst/>
                  <a:gdLst>
                    <a:gd name="T0" fmla="*/ 2 w 5"/>
                    <a:gd name="T1" fmla="*/ 0 h 2"/>
                    <a:gd name="T2" fmla="*/ 2 w 5"/>
                    <a:gd name="T3" fmla="*/ 0 h 2"/>
                    <a:gd name="T4" fmla="*/ 0 w 5"/>
                    <a:gd name="T5" fmla="*/ 2 h 2"/>
                    <a:gd name="T6" fmla="*/ 2 w 5"/>
                    <a:gd name="T7" fmla="*/ 2 h 2"/>
                    <a:gd name="T8" fmla="*/ 3 w 5"/>
                    <a:gd name="T9" fmla="*/ 2 h 2"/>
                    <a:gd name="T10" fmla="*/ 3 w 5"/>
                    <a:gd name="T11" fmla="*/ 2 h 2"/>
                    <a:gd name="T12" fmla="*/ 5 w 5"/>
                    <a:gd name="T13" fmla="*/ 2 h 2"/>
                    <a:gd name="T14" fmla="*/ 3 w 5"/>
                    <a:gd name="T15" fmla="*/ 0 h 2"/>
                    <a:gd name="T16" fmla="*/ 2 w 5"/>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
                      <a:moveTo>
                        <a:pt x="2" y="0"/>
                      </a:moveTo>
                      <a:lnTo>
                        <a:pt x="2" y="0"/>
                      </a:lnTo>
                      <a:lnTo>
                        <a:pt x="0" y="2"/>
                      </a:lnTo>
                      <a:lnTo>
                        <a:pt x="2" y="2"/>
                      </a:lnTo>
                      <a:lnTo>
                        <a:pt x="3" y="2"/>
                      </a:lnTo>
                      <a:lnTo>
                        <a:pt x="3" y="2"/>
                      </a:lnTo>
                      <a:lnTo>
                        <a:pt x="5" y="2"/>
                      </a:lnTo>
                      <a:lnTo>
                        <a:pt x="3" y="0"/>
                      </a:lnTo>
                      <a:lnTo>
                        <a:pt x="2"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52" name="Freeform 245">
                  <a:extLst>
                    <a:ext uri="{FF2B5EF4-FFF2-40B4-BE49-F238E27FC236}">
                      <a16:creationId xmlns:a16="http://schemas.microsoft.com/office/drawing/2014/main" id="{13DD2C3F-BED0-AB40-CD51-B630CFB487E9}"/>
                    </a:ext>
                  </a:extLst>
                </p:cNvPr>
                <p:cNvSpPr>
                  <a:spLocks noEditPoints="1"/>
                </p:cNvSpPr>
                <p:nvPr/>
              </p:nvSpPr>
              <p:spPr bwMode="auto">
                <a:xfrm>
                  <a:off x="1936" y="2716"/>
                  <a:ext cx="41" cy="25"/>
                </a:xfrm>
                <a:custGeom>
                  <a:avLst/>
                  <a:gdLst>
                    <a:gd name="T0" fmla="*/ 13 w 41"/>
                    <a:gd name="T1" fmla="*/ 12 h 25"/>
                    <a:gd name="T2" fmla="*/ 10 w 41"/>
                    <a:gd name="T3" fmla="*/ 19 h 25"/>
                    <a:gd name="T4" fmla="*/ 5 w 41"/>
                    <a:gd name="T5" fmla="*/ 14 h 25"/>
                    <a:gd name="T6" fmla="*/ 8 w 41"/>
                    <a:gd name="T7" fmla="*/ 13 h 25"/>
                    <a:gd name="T8" fmla="*/ 10 w 41"/>
                    <a:gd name="T9" fmla="*/ 12 h 25"/>
                    <a:gd name="T10" fmla="*/ 5 w 41"/>
                    <a:gd name="T11" fmla="*/ 7 h 25"/>
                    <a:gd name="T12" fmla="*/ 2 w 41"/>
                    <a:gd name="T13" fmla="*/ 3 h 25"/>
                    <a:gd name="T14" fmla="*/ 2 w 41"/>
                    <a:gd name="T15" fmla="*/ 0 h 25"/>
                    <a:gd name="T16" fmla="*/ 7 w 41"/>
                    <a:gd name="T17" fmla="*/ 0 h 25"/>
                    <a:gd name="T18" fmla="*/ 8 w 41"/>
                    <a:gd name="T19" fmla="*/ 3 h 25"/>
                    <a:gd name="T20" fmla="*/ 8 w 41"/>
                    <a:gd name="T21" fmla="*/ 6 h 25"/>
                    <a:gd name="T22" fmla="*/ 11 w 41"/>
                    <a:gd name="T23" fmla="*/ 7 h 25"/>
                    <a:gd name="T24" fmla="*/ 11 w 41"/>
                    <a:gd name="T25" fmla="*/ 9 h 25"/>
                    <a:gd name="T26" fmla="*/ 13 w 41"/>
                    <a:gd name="T27" fmla="*/ 12 h 25"/>
                    <a:gd name="T28" fmla="*/ 20 w 41"/>
                    <a:gd name="T29" fmla="*/ 12 h 25"/>
                    <a:gd name="T30" fmla="*/ 21 w 41"/>
                    <a:gd name="T31" fmla="*/ 14 h 25"/>
                    <a:gd name="T32" fmla="*/ 25 w 41"/>
                    <a:gd name="T33" fmla="*/ 14 h 25"/>
                    <a:gd name="T34" fmla="*/ 25 w 41"/>
                    <a:gd name="T35" fmla="*/ 10 h 25"/>
                    <a:gd name="T36" fmla="*/ 40 w 41"/>
                    <a:gd name="T37" fmla="*/ 14 h 25"/>
                    <a:gd name="T38" fmla="*/ 37 w 41"/>
                    <a:gd name="T39" fmla="*/ 17 h 25"/>
                    <a:gd name="T40" fmla="*/ 41 w 41"/>
                    <a:gd name="T41" fmla="*/ 16 h 25"/>
                    <a:gd name="T42" fmla="*/ 41 w 41"/>
                    <a:gd name="T43" fmla="*/ 13 h 25"/>
                    <a:gd name="T44" fmla="*/ 20 w 41"/>
                    <a:gd name="T45" fmla="*/ 23 h 25"/>
                    <a:gd name="T46" fmla="*/ 23 w 41"/>
                    <a:gd name="T47" fmla="*/ 25 h 25"/>
                    <a:gd name="T48" fmla="*/ 20 w 41"/>
                    <a:gd name="T49" fmla="*/ 23 h 25"/>
                    <a:gd name="T50" fmla="*/ 18 w 41"/>
                    <a:gd name="T51" fmla="*/ 6 h 25"/>
                    <a:gd name="T52" fmla="*/ 15 w 41"/>
                    <a:gd name="T53" fmla="*/ 4 h 25"/>
                    <a:gd name="T54" fmla="*/ 14 w 41"/>
                    <a:gd name="T55" fmla="*/ 7 h 25"/>
                    <a:gd name="T56" fmla="*/ 18 w 41"/>
                    <a:gd name="T57" fmla="*/ 7 h 25"/>
                    <a:gd name="T58" fmla="*/ 0 w 41"/>
                    <a:gd name="T59" fmla="*/ 9 h 25"/>
                    <a:gd name="T60" fmla="*/ 2 w 41"/>
                    <a:gd name="T61" fmla="*/ 10 h 25"/>
                    <a:gd name="T62" fmla="*/ 5 w 41"/>
                    <a:gd name="T63" fmla="*/ 9 h 25"/>
                    <a:gd name="T64" fmla="*/ 2 w 41"/>
                    <a:gd name="T65" fmla="*/ 6 h 25"/>
                    <a:gd name="T66" fmla="*/ 0 w 41"/>
                    <a:gd name="T67" fmla="*/ 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25">
                      <a:moveTo>
                        <a:pt x="13" y="12"/>
                      </a:moveTo>
                      <a:lnTo>
                        <a:pt x="13" y="12"/>
                      </a:lnTo>
                      <a:lnTo>
                        <a:pt x="14" y="16"/>
                      </a:lnTo>
                      <a:lnTo>
                        <a:pt x="10" y="19"/>
                      </a:lnTo>
                      <a:lnTo>
                        <a:pt x="4" y="19"/>
                      </a:lnTo>
                      <a:lnTo>
                        <a:pt x="5" y="14"/>
                      </a:lnTo>
                      <a:lnTo>
                        <a:pt x="7" y="13"/>
                      </a:lnTo>
                      <a:lnTo>
                        <a:pt x="8" y="13"/>
                      </a:lnTo>
                      <a:lnTo>
                        <a:pt x="8" y="13"/>
                      </a:lnTo>
                      <a:lnTo>
                        <a:pt x="10" y="12"/>
                      </a:lnTo>
                      <a:lnTo>
                        <a:pt x="8" y="10"/>
                      </a:lnTo>
                      <a:lnTo>
                        <a:pt x="5" y="7"/>
                      </a:lnTo>
                      <a:lnTo>
                        <a:pt x="4" y="3"/>
                      </a:lnTo>
                      <a:lnTo>
                        <a:pt x="2" y="3"/>
                      </a:lnTo>
                      <a:lnTo>
                        <a:pt x="1" y="2"/>
                      </a:lnTo>
                      <a:lnTo>
                        <a:pt x="2" y="0"/>
                      </a:lnTo>
                      <a:lnTo>
                        <a:pt x="4" y="0"/>
                      </a:lnTo>
                      <a:lnTo>
                        <a:pt x="7" y="0"/>
                      </a:lnTo>
                      <a:lnTo>
                        <a:pt x="8" y="3"/>
                      </a:lnTo>
                      <a:lnTo>
                        <a:pt x="8" y="3"/>
                      </a:lnTo>
                      <a:lnTo>
                        <a:pt x="8" y="4"/>
                      </a:lnTo>
                      <a:lnTo>
                        <a:pt x="8" y="6"/>
                      </a:lnTo>
                      <a:lnTo>
                        <a:pt x="8" y="6"/>
                      </a:lnTo>
                      <a:lnTo>
                        <a:pt x="11" y="7"/>
                      </a:lnTo>
                      <a:lnTo>
                        <a:pt x="11" y="9"/>
                      </a:lnTo>
                      <a:lnTo>
                        <a:pt x="11" y="9"/>
                      </a:lnTo>
                      <a:lnTo>
                        <a:pt x="13" y="10"/>
                      </a:lnTo>
                      <a:lnTo>
                        <a:pt x="13" y="12"/>
                      </a:lnTo>
                      <a:close/>
                      <a:moveTo>
                        <a:pt x="23" y="10"/>
                      </a:moveTo>
                      <a:lnTo>
                        <a:pt x="20" y="12"/>
                      </a:lnTo>
                      <a:lnTo>
                        <a:pt x="20" y="13"/>
                      </a:lnTo>
                      <a:lnTo>
                        <a:pt x="21" y="14"/>
                      </a:lnTo>
                      <a:lnTo>
                        <a:pt x="23" y="14"/>
                      </a:lnTo>
                      <a:lnTo>
                        <a:pt x="25" y="14"/>
                      </a:lnTo>
                      <a:lnTo>
                        <a:pt x="25" y="12"/>
                      </a:lnTo>
                      <a:lnTo>
                        <a:pt x="25" y="10"/>
                      </a:lnTo>
                      <a:lnTo>
                        <a:pt x="23" y="10"/>
                      </a:lnTo>
                      <a:close/>
                      <a:moveTo>
                        <a:pt x="40" y="14"/>
                      </a:moveTo>
                      <a:lnTo>
                        <a:pt x="36" y="17"/>
                      </a:lnTo>
                      <a:lnTo>
                        <a:pt x="37" y="17"/>
                      </a:lnTo>
                      <a:lnTo>
                        <a:pt x="40" y="17"/>
                      </a:lnTo>
                      <a:lnTo>
                        <a:pt x="41" y="16"/>
                      </a:lnTo>
                      <a:lnTo>
                        <a:pt x="41" y="14"/>
                      </a:lnTo>
                      <a:lnTo>
                        <a:pt x="41" y="13"/>
                      </a:lnTo>
                      <a:lnTo>
                        <a:pt x="40" y="14"/>
                      </a:lnTo>
                      <a:close/>
                      <a:moveTo>
                        <a:pt x="20" y="23"/>
                      </a:moveTo>
                      <a:lnTo>
                        <a:pt x="21" y="25"/>
                      </a:lnTo>
                      <a:lnTo>
                        <a:pt x="23" y="25"/>
                      </a:lnTo>
                      <a:lnTo>
                        <a:pt x="21" y="23"/>
                      </a:lnTo>
                      <a:lnTo>
                        <a:pt x="20" y="23"/>
                      </a:lnTo>
                      <a:close/>
                      <a:moveTo>
                        <a:pt x="18" y="7"/>
                      </a:moveTo>
                      <a:lnTo>
                        <a:pt x="18" y="6"/>
                      </a:lnTo>
                      <a:lnTo>
                        <a:pt x="17" y="4"/>
                      </a:lnTo>
                      <a:lnTo>
                        <a:pt x="15" y="4"/>
                      </a:lnTo>
                      <a:lnTo>
                        <a:pt x="14" y="6"/>
                      </a:lnTo>
                      <a:lnTo>
                        <a:pt x="14" y="7"/>
                      </a:lnTo>
                      <a:lnTo>
                        <a:pt x="17" y="7"/>
                      </a:lnTo>
                      <a:lnTo>
                        <a:pt x="18" y="7"/>
                      </a:lnTo>
                      <a:lnTo>
                        <a:pt x="18" y="7"/>
                      </a:lnTo>
                      <a:close/>
                      <a:moveTo>
                        <a:pt x="0" y="9"/>
                      </a:moveTo>
                      <a:lnTo>
                        <a:pt x="1" y="10"/>
                      </a:lnTo>
                      <a:lnTo>
                        <a:pt x="2" y="10"/>
                      </a:lnTo>
                      <a:lnTo>
                        <a:pt x="4" y="10"/>
                      </a:lnTo>
                      <a:lnTo>
                        <a:pt x="5" y="9"/>
                      </a:lnTo>
                      <a:lnTo>
                        <a:pt x="4" y="7"/>
                      </a:lnTo>
                      <a:lnTo>
                        <a:pt x="2" y="6"/>
                      </a:lnTo>
                      <a:lnTo>
                        <a:pt x="0" y="7"/>
                      </a:lnTo>
                      <a:lnTo>
                        <a:pt x="0" y="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53" name="Freeform 246">
                  <a:extLst>
                    <a:ext uri="{FF2B5EF4-FFF2-40B4-BE49-F238E27FC236}">
                      <a16:creationId xmlns:a16="http://schemas.microsoft.com/office/drawing/2014/main" id="{EEFED016-48B4-B434-6EC8-D224608E423C}"/>
                    </a:ext>
                  </a:extLst>
                </p:cNvPr>
                <p:cNvSpPr>
                  <a:spLocks noEditPoints="1"/>
                </p:cNvSpPr>
                <p:nvPr/>
              </p:nvSpPr>
              <p:spPr bwMode="auto">
                <a:xfrm>
                  <a:off x="2216" y="3031"/>
                  <a:ext cx="163" cy="815"/>
                </a:xfrm>
                <a:custGeom>
                  <a:avLst/>
                  <a:gdLst>
                    <a:gd name="T0" fmla="*/ 97 w 163"/>
                    <a:gd name="T1" fmla="*/ 747 h 815"/>
                    <a:gd name="T2" fmla="*/ 117 w 163"/>
                    <a:gd name="T3" fmla="*/ 780 h 815"/>
                    <a:gd name="T4" fmla="*/ 90 w 163"/>
                    <a:gd name="T5" fmla="*/ 772 h 815"/>
                    <a:gd name="T6" fmla="*/ 87 w 163"/>
                    <a:gd name="T7" fmla="*/ 779 h 815"/>
                    <a:gd name="T8" fmla="*/ 93 w 163"/>
                    <a:gd name="T9" fmla="*/ 789 h 815"/>
                    <a:gd name="T10" fmla="*/ 51 w 163"/>
                    <a:gd name="T11" fmla="*/ 537 h 815"/>
                    <a:gd name="T12" fmla="*/ 24 w 163"/>
                    <a:gd name="T13" fmla="*/ 746 h 815"/>
                    <a:gd name="T14" fmla="*/ 59 w 163"/>
                    <a:gd name="T15" fmla="*/ 762 h 815"/>
                    <a:gd name="T16" fmla="*/ 33 w 163"/>
                    <a:gd name="T17" fmla="*/ 760 h 815"/>
                    <a:gd name="T18" fmla="*/ 94 w 163"/>
                    <a:gd name="T19" fmla="*/ 798 h 815"/>
                    <a:gd name="T20" fmla="*/ 112 w 163"/>
                    <a:gd name="T21" fmla="*/ 799 h 815"/>
                    <a:gd name="T22" fmla="*/ 126 w 163"/>
                    <a:gd name="T23" fmla="*/ 796 h 815"/>
                    <a:gd name="T24" fmla="*/ 69 w 163"/>
                    <a:gd name="T25" fmla="*/ 756 h 815"/>
                    <a:gd name="T26" fmla="*/ 48 w 163"/>
                    <a:gd name="T27" fmla="*/ 752 h 815"/>
                    <a:gd name="T28" fmla="*/ 54 w 163"/>
                    <a:gd name="T29" fmla="*/ 736 h 815"/>
                    <a:gd name="T30" fmla="*/ 37 w 163"/>
                    <a:gd name="T31" fmla="*/ 739 h 815"/>
                    <a:gd name="T32" fmla="*/ 50 w 163"/>
                    <a:gd name="T33" fmla="*/ 721 h 815"/>
                    <a:gd name="T34" fmla="*/ 51 w 163"/>
                    <a:gd name="T35" fmla="*/ 711 h 815"/>
                    <a:gd name="T36" fmla="*/ 18 w 163"/>
                    <a:gd name="T37" fmla="*/ 687 h 815"/>
                    <a:gd name="T38" fmla="*/ 37 w 163"/>
                    <a:gd name="T39" fmla="*/ 683 h 815"/>
                    <a:gd name="T40" fmla="*/ 26 w 163"/>
                    <a:gd name="T41" fmla="*/ 665 h 815"/>
                    <a:gd name="T42" fmla="*/ 28 w 163"/>
                    <a:gd name="T43" fmla="*/ 632 h 815"/>
                    <a:gd name="T44" fmla="*/ 21 w 163"/>
                    <a:gd name="T45" fmla="*/ 615 h 815"/>
                    <a:gd name="T46" fmla="*/ 21 w 163"/>
                    <a:gd name="T47" fmla="*/ 593 h 815"/>
                    <a:gd name="T48" fmla="*/ 27 w 163"/>
                    <a:gd name="T49" fmla="*/ 568 h 815"/>
                    <a:gd name="T50" fmla="*/ 37 w 163"/>
                    <a:gd name="T51" fmla="*/ 569 h 815"/>
                    <a:gd name="T52" fmla="*/ 44 w 163"/>
                    <a:gd name="T53" fmla="*/ 526 h 815"/>
                    <a:gd name="T54" fmla="*/ 54 w 163"/>
                    <a:gd name="T55" fmla="*/ 487 h 815"/>
                    <a:gd name="T56" fmla="*/ 36 w 163"/>
                    <a:gd name="T57" fmla="*/ 476 h 815"/>
                    <a:gd name="T58" fmla="*/ 37 w 163"/>
                    <a:gd name="T59" fmla="*/ 385 h 815"/>
                    <a:gd name="T60" fmla="*/ 66 w 163"/>
                    <a:gd name="T61" fmla="*/ 319 h 815"/>
                    <a:gd name="T62" fmla="*/ 77 w 163"/>
                    <a:gd name="T63" fmla="*/ 214 h 815"/>
                    <a:gd name="T64" fmla="*/ 90 w 163"/>
                    <a:gd name="T65" fmla="*/ 111 h 815"/>
                    <a:gd name="T66" fmla="*/ 113 w 163"/>
                    <a:gd name="T67" fmla="*/ 9 h 815"/>
                    <a:gd name="T68" fmla="*/ 123 w 163"/>
                    <a:gd name="T69" fmla="*/ 50 h 815"/>
                    <a:gd name="T70" fmla="*/ 153 w 163"/>
                    <a:gd name="T71" fmla="*/ 103 h 815"/>
                    <a:gd name="T72" fmla="*/ 126 w 163"/>
                    <a:gd name="T73" fmla="*/ 171 h 815"/>
                    <a:gd name="T74" fmla="*/ 102 w 163"/>
                    <a:gd name="T75" fmla="*/ 238 h 815"/>
                    <a:gd name="T76" fmla="*/ 96 w 163"/>
                    <a:gd name="T77" fmla="*/ 276 h 815"/>
                    <a:gd name="T78" fmla="*/ 102 w 163"/>
                    <a:gd name="T79" fmla="*/ 322 h 815"/>
                    <a:gd name="T80" fmla="*/ 80 w 163"/>
                    <a:gd name="T81" fmla="*/ 371 h 815"/>
                    <a:gd name="T82" fmla="*/ 69 w 163"/>
                    <a:gd name="T83" fmla="*/ 441 h 815"/>
                    <a:gd name="T84" fmla="*/ 63 w 163"/>
                    <a:gd name="T85" fmla="*/ 494 h 815"/>
                    <a:gd name="T86" fmla="*/ 69 w 163"/>
                    <a:gd name="T87" fmla="*/ 530 h 815"/>
                    <a:gd name="T88" fmla="*/ 74 w 163"/>
                    <a:gd name="T89" fmla="*/ 560 h 815"/>
                    <a:gd name="T90" fmla="*/ 67 w 163"/>
                    <a:gd name="T91" fmla="*/ 601 h 815"/>
                    <a:gd name="T92" fmla="*/ 38 w 163"/>
                    <a:gd name="T93" fmla="*/ 660 h 815"/>
                    <a:gd name="T94" fmla="*/ 59 w 163"/>
                    <a:gd name="T95" fmla="*/ 708 h 815"/>
                    <a:gd name="T96" fmla="*/ 21 w 163"/>
                    <a:gd name="T97" fmla="*/ 537 h 815"/>
                    <a:gd name="T98" fmla="*/ 33 w 163"/>
                    <a:gd name="T99" fmla="*/ 530 h 815"/>
                    <a:gd name="T100" fmla="*/ 40 w 163"/>
                    <a:gd name="T101" fmla="*/ 501 h 815"/>
                    <a:gd name="T102" fmla="*/ 18 w 163"/>
                    <a:gd name="T103" fmla="*/ 565 h 815"/>
                    <a:gd name="T104" fmla="*/ 15 w 163"/>
                    <a:gd name="T105" fmla="*/ 519 h 815"/>
                    <a:gd name="T106" fmla="*/ 13 w 163"/>
                    <a:gd name="T107" fmla="*/ 671 h 815"/>
                    <a:gd name="T108" fmla="*/ 21 w 163"/>
                    <a:gd name="T109" fmla="*/ 706 h 815"/>
                    <a:gd name="T110" fmla="*/ 10 w 163"/>
                    <a:gd name="T111" fmla="*/ 648 h 815"/>
                    <a:gd name="T112" fmla="*/ 5 w 163"/>
                    <a:gd name="T113" fmla="*/ 664 h 815"/>
                    <a:gd name="T114" fmla="*/ 23 w 163"/>
                    <a:gd name="T115" fmla="*/ 717 h 815"/>
                    <a:gd name="T116" fmla="*/ 11 w 163"/>
                    <a:gd name="T117" fmla="*/ 639 h 815"/>
                    <a:gd name="T118" fmla="*/ 8 w 163"/>
                    <a:gd name="T119" fmla="*/ 621 h 815"/>
                    <a:gd name="T120" fmla="*/ 163 w 163"/>
                    <a:gd name="T121" fmla="*/ 799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3" h="815">
                      <a:moveTo>
                        <a:pt x="142" y="812"/>
                      </a:moveTo>
                      <a:lnTo>
                        <a:pt x="145" y="813"/>
                      </a:lnTo>
                      <a:lnTo>
                        <a:pt x="145" y="813"/>
                      </a:lnTo>
                      <a:lnTo>
                        <a:pt x="143" y="813"/>
                      </a:lnTo>
                      <a:lnTo>
                        <a:pt x="143" y="815"/>
                      </a:lnTo>
                      <a:lnTo>
                        <a:pt x="140" y="813"/>
                      </a:lnTo>
                      <a:lnTo>
                        <a:pt x="139" y="812"/>
                      </a:lnTo>
                      <a:lnTo>
                        <a:pt x="142" y="812"/>
                      </a:lnTo>
                      <a:close/>
                      <a:moveTo>
                        <a:pt x="123" y="737"/>
                      </a:moveTo>
                      <a:lnTo>
                        <a:pt x="120" y="737"/>
                      </a:lnTo>
                      <a:lnTo>
                        <a:pt x="119" y="739"/>
                      </a:lnTo>
                      <a:lnTo>
                        <a:pt x="117" y="739"/>
                      </a:lnTo>
                      <a:lnTo>
                        <a:pt x="115" y="739"/>
                      </a:lnTo>
                      <a:lnTo>
                        <a:pt x="113" y="736"/>
                      </a:lnTo>
                      <a:lnTo>
                        <a:pt x="112" y="736"/>
                      </a:lnTo>
                      <a:lnTo>
                        <a:pt x="109" y="736"/>
                      </a:lnTo>
                      <a:lnTo>
                        <a:pt x="107" y="737"/>
                      </a:lnTo>
                      <a:lnTo>
                        <a:pt x="104" y="742"/>
                      </a:lnTo>
                      <a:lnTo>
                        <a:pt x="102" y="743"/>
                      </a:lnTo>
                      <a:lnTo>
                        <a:pt x="100" y="742"/>
                      </a:lnTo>
                      <a:lnTo>
                        <a:pt x="99" y="742"/>
                      </a:lnTo>
                      <a:lnTo>
                        <a:pt x="96" y="740"/>
                      </a:lnTo>
                      <a:lnTo>
                        <a:pt x="94" y="742"/>
                      </a:lnTo>
                      <a:lnTo>
                        <a:pt x="96" y="743"/>
                      </a:lnTo>
                      <a:lnTo>
                        <a:pt x="97" y="744"/>
                      </a:lnTo>
                      <a:lnTo>
                        <a:pt x="97" y="744"/>
                      </a:lnTo>
                      <a:lnTo>
                        <a:pt x="97" y="747"/>
                      </a:lnTo>
                      <a:lnTo>
                        <a:pt x="96" y="747"/>
                      </a:lnTo>
                      <a:lnTo>
                        <a:pt x="94" y="747"/>
                      </a:lnTo>
                      <a:lnTo>
                        <a:pt x="93" y="749"/>
                      </a:lnTo>
                      <a:lnTo>
                        <a:pt x="93" y="750"/>
                      </a:lnTo>
                      <a:lnTo>
                        <a:pt x="93" y="752"/>
                      </a:lnTo>
                      <a:lnTo>
                        <a:pt x="93" y="753"/>
                      </a:lnTo>
                      <a:lnTo>
                        <a:pt x="93" y="754"/>
                      </a:lnTo>
                      <a:lnTo>
                        <a:pt x="94" y="756"/>
                      </a:lnTo>
                      <a:lnTo>
                        <a:pt x="97" y="757"/>
                      </a:lnTo>
                      <a:lnTo>
                        <a:pt x="100" y="756"/>
                      </a:lnTo>
                      <a:lnTo>
                        <a:pt x="103" y="756"/>
                      </a:lnTo>
                      <a:lnTo>
                        <a:pt x="106" y="754"/>
                      </a:lnTo>
                      <a:lnTo>
                        <a:pt x="109" y="756"/>
                      </a:lnTo>
                      <a:lnTo>
                        <a:pt x="112" y="756"/>
                      </a:lnTo>
                      <a:lnTo>
                        <a:pt x="112" y="759"/>
                      </a:lnTo>
                      <a:lnTo>
                        <a:pt x="110" y="760"/>
                      </a:lnTo>
                      <a:lnTo>
                        <a:pt x="103" y="763"/>
                      </a:lnTo>
                      <a:lnTo>
                        <a:pt x="100" y="763"/>
                      </a:lnTo>
                      <a:lnTo>
                        <a:pt x="99" y="766"/>
                      </a:lnTo>
                      <a:lnTo>
                        <a:pt x="99" y="769"/>
                      </a:lnTo>
                      <a:lnTo>
                        <a:pt x="99" y="772"/>
                      </a:lnTo>
                      <a:lnTo>
                        <a:pt x="102" y="773"/>
                      </a:lnTo>
                      <a:lnTo>
                        <a:pt x="104" y="776"/>
                      </a:lnTo>
                      <a:lnTo>
                        <a:pt x="112" y="777"/>
                      </a:lnTo>
                      <a:lnTo>
                        <a:pt x="116" y="779"/>
                      </a:lnTo>
                      <a:lnTo>
                        <a:pt x="117" y="780"/>
                      </a:lnTo>
                      <a:lnTo>
                        <a:pt x="117" y="780"/>
                      </a:lnTo>
                      <a:lnTo>
                        <a:pt x="117" y="780"/>
                      </a:lnTo>
                      <a:lnTo>
                        <a:pt x="116" y="782"/>
                      </a:lnTo>
                      <a:lnTo>
                        <a:pt x="116" y="782"/>
                      </a:lnTo>
                      <a:lnTo>
                        <a:pt x="115" y="783"/>
                      </a:lnTo>
                      <a:lnTo>
                        <a:pt x="113" y="783"/>
                      </a:lnTo>
                      <a:lnTo>
                        <a:pt x="113" y="785"/>
                      </a:lnTo>
                      <a:lnTo>
                        <a:pt x="113" y="783"/>
                      </a:lnTo>
                      <a:lnTo>
                        <a:pt x="112" y="782"/>
                      </a:lnTo>
                      <a:lnTo>
                        <a:pt x="110" y="780"/>
                      </a:lnTo>
                      <a:lnTo>
                        <a:pt x="110" y="780"/>
                      </a:lnTo>
                      <a:lnTo>
                        <a:pt x="106" y="779"/>
                      </a:lnTo>
                      <a:lnTo>
                        <a:pt x="106" y="779"/>
                      </a:lnTo>
                      <a:lnTo>
                        <a:pt x="104" y="779"/>
                      </a:lnTo>
                      <a:lnTo>
                        <a:pt x="104" y="779"/>
                      </a:lnTo>
                      <a:lnTo>
                        <a:pt x="103" y="779"/>
                      </a:lnTo>
                      <a:lnTo>
                        <a:pt x="103" y="779"/>
                      </a:lnTo>
                      <a:lnTo>
                        <a:pt x="100" y="780"/>
                      </a:lnTo>
                      <a:lnTo>
                        <a:pt x="99" y="780"/>
                      </a:lnTo>
                      <a:lnTo>
                        <a:pt x="99" y="780"/>
                      </a:lnTo>
                      <a:lnTo>
                        <a:pt x="97" y="779"/>
                      </a:lnTo>
                      <a:lnTo>
                        <a:pt x="97" y="779"/>
                      </a:lnTo>
                      <a:lnTo>
                        <a:pt x="97" y="777"/>
                      </a:lnTo>
                      <a:lnTo>
                        <a:pt x="96" y="777"/>
                      </a:lnTo>
                      <a:lnTo>
                        <a:pt x="93" y="775"/>
                      </a:lnTo>
                      <a:lnTo>
                        <a:pt x="90" y="773"/>
                      </a:lnTo>
                      <a:lnTo>
                        <a:pt x="90" y="772"/>
                      </a:lnTo>
                      <a:lnTo>
                        <a:pt x="90" y="772"/>
                      </a:lnTo>
                      <a:lnTo>
                        <a:pt x="92" y="772"/>
                      </a:lnTo>
                      <a:lnTo>
                        <a:pt x="93" y="770"/>
                      </a:lnTo>
                      <a:lnTo>
                        <a:pt x="94" y="770"/>
                      </a:lnTo>
                      <a:lnTo>
                        <a:pt x="93" y="769"/>
                      </a:lnTo>
                      <a:lnTo>
                        <a:pt x="92" y="766"/>
                      </a:lnTo>
                      <a:lnTo>
                        <a:pt x="92" y="762"/>
                      </a:lnTo>
                      <a:lnTo>
                        <a:pt x="90" y="763"/>
                      </a:lnTo>
                      <a:lnTo>
                        <a:pt x="89" y="765"/>
                      </a:lnTo>
                      <a:lnTo>
                        <a:pt x="89" y="766"/>
                      </a:lnTo>
                      <a:lnTo>
                        <a:pt x="89" y="767"/>
                      </a:lnTo>
                      <a:lnTo>
                        <a:pt x="87" y="767"/>
                      </a:lnTo>
                      <a:lnTo>
                        <a:pt x="86" y="767"/>
                      </a:lnTo>
                      <a:lnTo>
                        <a:pt x="86" y="769"/>
                      </a:lnTo>
                      <a:lnTo>
                        <a:pt x="86" y="772"/>
                      </a:lnTo>
                      <a:lnTo>
                        <a:pt x="86" y="773"/>
                      </a:lnTo>
                      <a:lnTo>
                        <a:pt x="86" y="775"/>
                      </a:lnTo>
                      <a:lnTo>
                        <a:pt x="87" y="776"/>
                      </a:lnTo>
                      <a:lnTo>
                        <a:pt x="89" y="777"/>
                      </a:lnTo>
                      <a:lnTo>
                        <a:pt x="92" y="779"/>
                      </a:lnTo>
                      <a:lnTo>
                        <a:pt x="94" y="780"/>
                      </a:lnTo>
                      <a:lnTo>
                        <a:pt x="94" y="783"/>
                      </a:lnTo>
                      <a:lnTo>
                        <a:pt x="93" y="783"/>
                      </a:lnTo>
                      <a:lnTo>
                        <a:pt x="90" y="783"/>
                      </a:lnTo>
                      <a:lnTo>
                        <a:pt x="89" y="782"/>
                      </a:lnTo>
                      <a:lnTo>
                        <a:pt x="87" y="782"/>
                      </a:lnTo>
                      <a:lnTo>
                        <a:pt x="89" y="780"/>
                      </a:lnTo>
                      <a:lnTo>
                        <a:pt x="87" y="779"/>
                      </a:lnTo>
                      <a:lnTo>
                        <a:pt x="86" y="779"/>
                      </a:lnTo>
                      <a:lnTo>
                        <a:pt x="84" y="779"/>
                      </a:lnTo>
                      <a:lnTo>
                        <a:pt x="84" y="780"/>
                      </a:lnTo>
                      <a:lnTo>
                        <a:pt x="84" y="780"/>
                      </a:lnTo>
                      <a:lnTo>
                        <a:pt x="83" y="780"/>
                      </a:lnTo>
                      <a:lnTo>
                        <a:pt x="82" y="782"/>
                      </a:lnTo>
                      <a:lnTo>
                        <a:pt x="80" y="780"/>
                      </a:lnTo>
                      <a:lnTo>
                        <a:pt x="79" y="780"/>
                      </a:lnTo>
                      <a:lnTo>
                        <a:pt x="77" y="780"/>
                      </a:lnTo>
                      <a:lnTo>
                        <a:pt x="76" y="780"/>
                      </a:lnTo>
                      <a:lnTo>
                        <a:pt x="74" y="782"/>
                      </a:lnTo>
                      <a:lnTo>
                        <a:pt x="73" y="783"/>
                      </a:lnTo>
                      <a:lnTo>
                        <a:pt x="71" y="782"/>
                      </a:lnTo>
                      <a:lnTo>
                        <a:pt x="70" y="782"/>
                      </a:lnTo>
                      <a:lnTo>
                        <a:pt x="70" y="782"/>
                      </a:lnTo>
                      <a:lnTo>
                        <a:pt x="69" y="782"/>
                      </a:lnTo>
                      <a:lnTo>
                        <a:pt x="67" y="782"/>
                      </a:lnTo>
                      <a:lnTo>
                        <a:pt x="67" y="783"/>
                      </a:lnTo>
                      <a:lnTo>
                        <a:pt x="67" y="783"/>
                      </a:lnTo>
                      <a:lnTo>
                        <a:pt x="67" y="785"/>
                      </a:lnTo>
                      <a:lnTo>
                        <a:pt x="69" y="786"/>
                      </a:lnTo>
                      <a:lnTo>
                        <a:pt x="70" y="786"/>
                      </a:lnTo>
                      <a:lnTo>
                        <a:pt x="73" y="786"/>
                      </a:lnTo>
                      <a:lnTo>
                        <a:pt x="74" y="786"/>
                      </a:lnTo>
                      <a:lnTo>
                        <a:pt x="90" y="789"/>
                      </a:lnTo>
                      <a:lnTo>
                        <a:pt x="92" y="789"/>
                      </a:lnTo>
                      <a:lnTo>
                        <a:pt x="93" y="789"/>
                      </a:lnTo>
                      <a:lnTo>
                        <a:pt x="94" y="789"/>
                      </a:lnTo>
                      <a:lnTo>
                        <a:pt x="96" y="789"/>
                      </a:lnTo>
                      <a:lnTo>
                        <a:pt x="99" y="789"/>
                      </a:lnTo>
                      <a:lnTo>
                        <a:pt x="100" y="790"/>
                      </a:lnTo>
                      <a:lnTo>
                        <a:pt x="102" y="789"/>
                      </a:lnTo>
                      <a:lnTo>
                        <a:pt x="104" y="788"/>
                      </a:lnTo>
                      <a:lnTo>
                        <a:pt x="104" y="788"/>
                      </a:lnTo>
                      <a:lnTo>
                        <a:pt x="106" y="789"/>
                      </a:lnTo>
                      <a:lnTo>
                        <a:pt x="109" y="790"/>
                      </a:lnTo>
                      <a:lnTo>
                        <a:pt x="110" y="790"/>
                      </a:lnTo>
                      <a:lnTo>
                        <a:pt x="113" y="792"/>
                      </a:lnTo>
                      <a:lnTo>
                        <a:pt x="117" y="792"/>
                      </a:lnTo>
                      <a:lnTo>
                        <a:pt x="120" y="790"/>
                      </a:lnTo>
                      <a:lnTo>
                        <a:pt x="125" y="790"/>
                      </a:lnTo>
                      <a:lnTo>
                        <a:pt x="125" y="739"/>
                      </a:lnTo>
                      <a:lnTo>
                        <a:pt x="123" y="737"/>
                      </a:lnTo>
                      <a:close/>
                      <a:moveTo>
                        <a:pt x="43" y="546"/>
                      </a:moveTo>
                      <a:lnTo>
                        <a:pt x="40" y="542"/>
                      </a:lnTo>
                      <a:lnTo>
                        <a:pt x="43" y="539"/>
                      </a:lnTo>
                      <a:lnTo>
                        <a:pt x="43" y="537"/>
                      </a:lnTo>
                      <a:lnTo>
                        <a:pt x="43" y="537"/>
                      </a:lnTo>
                      <a:lnTo>
                        <a:pt x="43" y="535"/>
                      </a:lnTo>
                      <a:lnTo>
                        <a:pt x="43" y="535"/>
                      </a:lnTo>
                      <a:lnTo>
                        <a:pt x="46" y="535"/>
                      </a:lnTo>
                      <a:lnTo>
                        <a:pt x="47" y="535"/>
                      </a:lnTo>
                      <a:lnTo>
                        <a:pt x="50" y="536"/>
                      </a:lnTo>
                      <a:lnTo>
                        <a:pt x="51" y="537"/>
                      </a:lnTo>
                      <a:lnTo>
                        <a:pt x="51" y="542"/>
                      </a:lnTo>
                      <a:lnTo>
                        <a:pt x="47" y="545"/>
                      </a:lnTo>
                      <a:lnTo>
                        <a:pt x="43" y="546"/>
                      </a:lnTo>
                      <a:close/>
                      <a:moveTo>
                        <a:pt x="63" y="773"/>
                      </a:moveTo>
                      <a:lnTo>
                        <a:pt x="61" y="772"/>
                      </a:lnTo>
                      <a:lnTo>
                        <a:pt x="66" y="769"/>
                      </a:lnTo>
                      <a:lnTo>
                        <a:pt x="71" y="769"/>
                      </a:lnTo>
                      <a:lnTo>
                        <a:pt x="77" y="772"/>
                      </a:lnTo>
                      <a:lnTo>
                        <a:pt x="83" y="773"/>
                      </a:lnTo>
                      <a:lnTo>
                        <a:pt x="83" y="775"/>
                      </a:lnTo>
                      <a:lnTo>
                        <a:pt x="83" y="776"/>
                      </a:lnTo>
                      <a:lnTo>
                        <a:pt x="83" y="777"/>
                      </a:lnTo>
                      <a:lnTo>
                        <a:pt x="82" y="777"/>
                      </a:lnTo>
                      <a:lnTo>
                        <a:pt x="80" y="779"/>
                      </a:lnTo>
                      <a:lnTo>
                        <a:pt x="80" y="779"/>
                      </a:lnTo>
                      <a:lnTo>
                        <a:pt x="77" y="777"/>
                      </a:lnTo>
                      <a:lnTo>
                        <a:pt x="74" y="777"/>
                      </a:lnTo>
                      <a:lnTo>
                        <a:pt x="71" y="777"/>
                      </a:lnTo>
                      <a:lnTo>
                        <a:pt x="70" y="777"/>
                      </a:lnTo>
                      <a:lnTo>
                        <a:pt x="66" y="777"/>
                      </a:lnTo>
                      <a:lnTo>
                        <a:pt x="66" y="776"/>
                      </a:lnTo>
                      <a:lnTo>
                        <a:pt x="64" y="775"/>
                      </a:lnTo>
                      <a:lnTo>
                        <a:pt x="63" y="773"/>
                      </a:lnTo>
                      <a:close/>
                      <a:moveTo>
                        <a:pt x="21" y="743"/>
                      </a:moveTo>
                      <a:lnTo>
                        <a:pt x="23" y="744"/>
                      </a:lnTo>
                      <a:lnTo>
                        <a:pt x="24" y="746"/>
                      </a:lnTo>
                      <a:lnTo>
                        <a:pt x="24" y="746"/>
                      </a:lnTo>
                      <a:lnTo>
                        <a:pt x="27" y="746"/>
                      </a:lnTo>
                      <a:lnTo>
                        <a:pt x="33" y="747"/>
                      </a:lnTo>
                      <a:lnTo>
                        <a:pt x="37" y="750"/>
                      </a:lnTo>
                      <a:lnTo>
                        <a:pt x="41" y="753"/>
                      </a:lnTo>
                      <a:lnTo>
                        <a:pt x="46" y="756"/>
                      </a:lnTo>
                      <a:lnTo>
                        <a:pt x="43" y="756"/>
                      </a:lnTo>
                      <a:lnTo>
                        <a:pt x="40" y="754"/>
                      </a:lnTo>
                      <a:lnTo>
                        <a:pt x="37" y="753"/>
                      </a:lnTo>
                      <a:lnTo>
                        <a:pt x="36" y="752"/>
                      </a:lnTo>
                      <a:lnTo>
                        <a:pt x="33" y="750"/>
                      </a:lnTo>
                      <a:lnTo>
                        <a:pt x="26" y="749"/>
                      </a:lnTo>
                      <a:lnTo>
                        <a:pt x="23" y="747"/>
                      </a:lnTo>
                      <a:lnTo>
                        <a:pt x="21" y="746"/>
                      </a:lnTo>
                      <a:lnTo>
                        <a:pt x="18" y="743"/>
                      </a:lnTo>
                      <a:lnTo>
                        <a:pt x="18" y="742"/>
                      </a:lnTo>
                      <a:lnTo>
                        <a:pt x="20" y="742"/>
                      </a:lnTo>
                      <a:lnTo>
                        <a:pt x="21" y="743"/>
                      </a:lnTo>
                      <a:close/>
                      <a:moveTo>
                        <a:pt x="38" y="757"/>
                      </a:moveTo>
                      <a:lnTo>
                        <a:pt x="46" y="759"/>
                      </a:lnTo>
                      <a:lnTo>
                        <a:pt x="46" y="756"/>
                      </a:lnTo>
                      <a:lnTo>
                        <a:pt x="47" y="757"/>
                      </a:lnTo>
                      <a:lnTo>
                        <a:pt x="50" y="760"/>
                      </a:lnTo>
                      <a:lnTo>
                        <a:pt x="50" y="762"/>
                      </a:lnTo>
                      <a:lnTo>
                        <a:pt x="51" y="762"/>
                      </a:lnTo>
                      <a:lnTo>
                        <a:pt x="56" y="760"/>
                      </a:lnTo>
                      <a:lnTo>
                        <a:pt x="57" y="762"/>
                      </a:lnTo>
                      <a:lnTo>
                        <a:pt x="59" y="762"/>
                      </a:lnTo>
                      <a:lnTo>
                        <a:pt x="61" y="766"/>
                      </a:lnTo>
                      <a:lnTo>
                        <a:pt x="56" y="772"/>
                      </a:lnTo>
                      <a:lnTo>
                        <a:pt x="51" y="775"/>
                      </a:lnTo>
                      <a:lnTo>
                        <a:pt x="48" y="773"/>
                      </a:lnTo>
                      <a:lnTo>
                        <a:pt x="50" y="772"/>
                      </a:lnTo>
                      <a:lnTo>
                        <a:pt x="51" y="770"/>
                      </a:lnTo>
                      <a:lnTo>
                        <a:pt x="51" y="769"/>
                      </a:lnTo>
                      <a:lnTo>
                        <a:pt x="51" y="767"/>
                      </a:lnTo>
                      <a:lnTo>
                        <a:pt x="51" y="767"/>
                      </a:lnTo>
                      <a:lnTo>
                        <a:pt x="48" y="767"/>
                      </a:lnTo>
                      <a:lnTo>
                        <a:pt x="47" y="767"/>
                      </a:lnTo>
                      <a:lnTo>
                        <a:pt x="47" y="769"/>
                      </a:lnTo>
                      <a:lnTo>
                        <a:pt x="47" y="769"/>
                      </a:lnTo>
                      <a:lnTo>
                        <a:pt x="46" y="770"/>
                      </a:lnTo>
                      <a:lnTo>
                        <a:pt x="46" y="772"/>
                      </a:lnTo>
                      <a:lnTo>
                        <a:pt x="43" y="770"/>
                      </a:lnTo>
                      <a:lnTo>
                        <a:pt x="43" y="769"/>
                      </a:lnTo>
                      <a:lnTo>
                        <a:pt x="43" y="767"/>
                      </a:lnTo>
                      <a:lnTo>
                        <a:pt x="43" y="766"/>
                      </a:lnTo>
                      <a:lnTo>
                        <a:pt x="41" y="765"/>
                      </a:lnTo>
                      <a:lnTo>
                        <a:pt x="41" y="765"/>
                      </a:lnTo>
                      <a:lnTo>
                        <a:pt x="40" y="765"/>
                      </a:lnTo>
                      <a:lnTo>
                        <a:pt x="38" y="765"/>
                      </a:lnTo>
                      <a:lnTo>
                        <a:pt x="37" y="763"/>
                      </a:lnTo>
                      <a:lnTo>
                        <a:pt x="37" y="762"/>
                      </a:lnTo>
                      <a:lnTo>
                        <a:pt x="36" y="760"/>
                      </a:lnTo>
                      <a:lnTo>
                        <a:pt x="33" y="760"/>
                      </a:lnTo>
                      <a:lnTo>
                        <a:pt x="36" y="757"/>
                      </a:lnTo>
                      <a:lnTo>
                        <a:pt x="38" y="757"/>
                      </a:lnTo>
                      <a:close/>
                      <a:moveTo>
                        <a:pt x="92" y="798"/>
                      </a:moveTo>
                      <a:lnTo>
                        <a:pt x="92" y="798"/>
                      </a:lnTo>
                      <a:lnTo>
                        <a:pt x="92" y="798"/>
                      </a:lnTo>
                      <a:lnTo>
                        <a:pt x="90" y="796"/>
                      </a:lnTo>
                      <a:lnTo>
                        <a:pt x="90" y="796"/>
                      </a:lnTo>
                      <a:lnTo>
                        <a:pt x="90" y="796"/>
                      </a:lnTo>
                      <a:lnTo>
                        <a:pt x="89" y="796"/>
                      </a:lnTo>
                      <a:lnTo>
                        <a:pt x="89" y="796"/>
                      </a:lnTo>
                      <a:lnTo>
                        <a:pt x="86" y="796"/>
                      </a:lnTo>
                      <a:lnTo>
                        <a:pt x="83" y="795"/>
                      </a:lnTo>
                      <a:lnTo>
                        <a:pt x="80" y="792"/>
                      </a:lnTo>
                      <a:lnTo>
                        <a:pt x="79" y="792"/>
                      </a:lnTo>
                      <a:lnTo>
                        <a:pt x="77" y="792"/>
                      </a:lnTo>
                      <a:lnTo>
                        <a:pt x="77" y="792"/>
                      </a:lnTo>
                      <a:lnTo>
                        <a:pt x="76" y="792"/>
                      </a:lnTo>
                      <a:lnTo>
                        <a:pt x="76" y="792"/>
                      </a:lnTo>
                      <a:lnTo>
                        <a:pt x="77" y="790"/>
                      </a:lnTo>
                      <a:lnTo>
                        <a:pt x="82" y="790"/>
                      </a:lnTo>
                      <a:lnTo>
                        <a:pt x="84" y="792"/>
                      </a:lnTo>
                      <a:lnTo>
                        <a:pt x="87" y="793"/>
                      </a:lnTo>
                      <a:lnTo>
                        <a:pt x="93" y="792"/>
                      </a:lnTo>
                      <a:lnTo>
                        <a:pt x="94" y="793"/>
                      </a:lnTo>
                      <a:lnTo>
                        <a:pt x="96" y="795"/>
                      </a:lnTo>
                      <a:lnTo>
                        <a:pt x="94" y="796"/>
                      </a:lnTo>
                      <a:lnTo>
                        <a:pt x="94" y="798"/>
                      </a:lnTo>
                      <a:lnTo>
                        <a:pt x="93" y="798"/>
                      </a:lnTo>
                      <a:lnTo>
                        <a:pt x="92" y="798"/>
                      </a:lnTo>
                      <a:close/>
                      <a:moveTo>
                        <a:pt x="126" y="796"/>
                      </a:moveTo>
                      <a:lnTo>
                        <a:pt x="125" y="798"/>
                      </a:lnTo>
                      <a:lnTo>
                        <a:pt x="126" y="799"/>
                      </a:lnTo>
                      <a:lnTo>
                        <a:pt x="129" y="799"/>
                      </a:lnTo>
                      <a:lnTo>
                        <a:pt x="129" y="799"/>
                      </a:lnTo>
                      <a:lnTo>
                        <a:pt x="130" y="799"/>
                      </a:lnTo>
                      <a:lnTo>
                        <a:pt x="130" y="800"/>
                      </a:lnTo>
                      <a:lnTo>
                        <a:pt x="130" y="800"/>
                      </a:lnTo>
                      <a:lnTo>
                        <a:pt x="130" y="800"/>
                      </a:lnTo>
                      <a:lnTo>
                        <a:pt x="132" y="802"/>
                      </a:lnTo>
                      <a:lnTo>
                        <a:pt x="133" y="803"/>
                      </a:lnTo>
                      <a:lnTo>
                        <a:pt x="133" y="805"/>
                      </a:lnTo>
                      <a:lnTo>
                        <a:pt x="135" y="806"/>
                      </a:lnTo>
                      <a:lnTo>
                        <a:pt x="135" y="808"/>
                      </a:lnTo>
                      <a:lnTo>
                        <a:pt x="135" y="809"/>
                      </a:lnTo>
                      <a:lnTo>
                        <a:pt x="130" y="806"/>
                      </a:lnTo>
                      <a:lnTo>
                        <a:pt x="127" y="805"/>
                      </a:lnTo>
                      <a:lnTo>
                        <a:pt x="123" y="805"/>
                      </a:lnTo>
                      <a:lnTo>
                        <a:pt x="120" y="803"/>
                      </a:lnTo>
                      <a:lnTo>
                        <a:pt x="120" y="799"/>
                      </a:lnTo>
                      <a:lnTo>
                        <a:pt x="119" y="799"/>
                      </a:lnTo>
                      <a:lnTo>
                        <a:pt x="117" y="799"/>
                      </a:lnTo>
                      <a:lnTo>
                        <a:pt x="116" y="798"/>
                      </a:lnTo>
                      <a:lnTo>
                        <a:pt x="115" y="798"/>
                      </a:lnTo>
                      <a:lnTo>
                        <a:pt x="112" y="799"/>
                      </a:lnTo>
                      <a:lnTo>
                        <a:pt x="112" y="800"/>
                      </a:lnTo>
                      <a:lnTo>
                        <a:pt x="113" y="803"/>
                      </a:lnTo>
                      <a:lnTo>
                        <a:pt x="115" y="805"/>
                      </a:lnTo>
                      <a:lnTo>
                        <a:pt x="113" y="805"/>
                      </a:lnTo>
                      <a:lnTo>
                        <a:pt x="110" y="803"/>
                      </a:lnTo>
                      <a:lnTo>
                        <a:pt x="107" y="800"/>
                      </a:lnTo>
                      <a:lnTo>
                        <a:pt x="106" y="800"/>
                      </a:lnTo>
                      <a:lnTo>
                        <a:pt x="106" y="800"/>
                      </a:lnTo>
                      <a:lnTo>
                        <a:pt x="106" y="799"/>
                      </a:lnTo>
                      <a:lnTo>
                        <a:pt x="106" y="799"/>
                      </a:lnTo>
                      <a:lnTo>
                        <a:pt x="106" y="799"/>
                      </a:lnTo>
                      <a:lnTo>
                        <a:pt x="104" y="799"/>
                      </a:lnTo>
                      <a:lnTo>
                        <a:pt x="103" y="799"/>
                      </a:lnTo>
                      <a:lnTo>
                        <a:pt x="103" y="799"/>
                      </a:lnTo>
                      <a:lnTo>
                        <a:pt x="102" y="798"/>
                      </a:lnTo>
                      <a:lnTo>
                        <a:pt x="100" y="798"/>
                      </a:lnTo>
                      <a:lnTo>
                        <a:pt x="102" y="796"/>
                      </a:lnTo>
                      <a:lnTo>
                        <a:pt x="102" y="795"/>
                      </a:lnTo>
                      <a:lnTo>
                        <a:pt x="103" y="792"/>
                      </a:lnTo>
                      <a:lnTo>
                        <a:pt x="110" y="793"/>
                      </a:lnTo>
                      <a:lnTo>
                        <a:pt x="117" y="795"/>
                      </a:lnTo>
                      <a:lnTo>
                        <a:pt x="119" y="793"/>
                      </a:lnTo>
                      <a:lnTo>
                        <a:pt x="123" y="793"/>
                      </a:lnTo>
                      <a:lnTo>
                        <a:pt x="126" y="793"/>
                      </a:lnTo>
                      <a:lnTo>
                        <a:pt x="129" y="795"/>
                      </a:lnTo>
                      <a:lnTo>
                        <a:pt x="127" y="795"/>
                      </a:lnTo>
                      <a:lnTo>
                        <a:pt x="126" y="796"/>
                      </a:lnTo>
                      <a:close/>
                      <a:moveTo>
                        <a:pt x="126" y="729"/>
                      </a:moveTo>
                      <a:lnTo>
                        <a:pt x="127" y="731"/>
                      </a:lnTo>
                      <a:lnTo>
                        <a:pt x="117" y="729"/>
                      </a:lnTo>
                      <a:lnTo>
                        <a:pt x="115" y="727"/>
                      </a:lnTo>
                      <a:lnTo>
                        <a:pt x="112" y="729"/>
                      </a:lnTo>
                      <a:lnTo>
                        <a:pt x="109" y="730"/>
                      </a:lnTo>
                      <a:lnTo>
                        <a:pt x="107" y="733"/>
                      </a:lnTo>
                      <a:lnTo>
                        <a:pt x="104" y="734"/>
                      </a:lnTo>
                      <a:lnTo>
                        <a:pt x="89" y="740"/>
                      </a:lnTo>
                      <a:lnTo>
                        <a:pt x="87" y="742"/>
                      </a:lnTo>
                      <a:lnTo>
                        <a:pt x="87" y="743"/>
                      </a:lnTo>
                      <a:lnTo>
                        <a:pt x="83" y="754"/>
                      </a:lnTo>
                      <a:lnTo>
                        <a:pt x="83" y="757"/>
                      </a:lnTo>
                      <a:lnTo>
                        <a:pt x="83" y="762"/>
                      </a:lnTo>
                      <a:lnTo>
                        <a:pt x="83" y="765"/>
                      </a:lnTo>
                      <a:lnTo>
                        <a:pt x="82" y="766"/>
                      </a:lnTo>
                      <a:lnTo>
                        <a:pt x="79" y="767"/>
                      </a:lnTo>
                      <a:lnTo>
                        <a:pt x="74" y="767"/>
                      </a:lnTo>
                      <a:lnTo>
                        <a:pt x="67" y="766"/>
                      </a:lnTo>
                      <a:lnTo>
                        <a:pt x="61" y="762"/>
                      </a:lnTo>
                      <a:lnTo>
                        <a:pt x="59" y="759"/>
                      </a:lnTo>
                      <a:lnTo>
                        <a:pt x="59" y="756"/>
                      </a:lnTo>
                      <a:lnTo>
                        <a:pt x="60" y="753"/>
                      </a:lnTo>
                      <a:lnTo>
                        <a:pt x="63" y="753"/>
                      </a:lnTo>
                      <a:lnTo>
                        <a:pt x="66" y="753"/>
                      </a:lnTo>
                      <a:lnTo>
                        <a:pt x="67" y="754"/>
                      </a:lnTo>
                      <a:lnTo>
                        <a:pt x="69" y="756"/>
                      </a:lnTo>
                      <a:lnTo>
                        <a:pt x="69" y="757"/>
                      </a:lnTo>
                      <a:lnTo>
                        <a:pt x="67" y="760"/>
                      </a:lnTo>
                      <a:lnTo>
                        <a:pt x="69" y="759"/>
                      </a:lnTo>
                      <a:lnTo>
                        <a:pt x="70" y="756"/>
                      </a:lnTo>
                      <a:lnTo>
                        <a:pt x="70" y="754"/>
                      </a:lnTo>
                      <a:lnTo>
                        <a:pt x="70" y="753"/>
                      </a:lnTo>
                      <a:lnTo>
                        <a:pt x="71" y="752"/>
                      </a:lnTo>
                      <a:lnTo>
                        <a:pt x="74" y="750"/>
                      </a:lnTo>
                      <a:lnTo>
                        <a:pt x="76" y="750"/>
                      </a:lnTo>
                      <a:lnTo>
                        <a:pt x="79" y="747"/>
                      </a:lnTo>
                      <a:lnTo>
                        <a:pt x="80" y="746"/>
                      </a:lnTo>
                      <a:lnTo>
                        <a:pt x="80" y="744"/>
                      </a:lnTo>
                      <a:lnTo>
                        <a:pt x="79" y="742"/>
                      </a:lnTo>
                      <a:lnTo>
                        <a:pt x="76" y="742"/>
                      </a:lnTo>
                      <a:lnTo>
                        <a:pt x="71" y="743"/>
                      </a:lnTo>
                      <a:lnTo>
                        <a:pt x="66" y="747"/>
                      </a:lnTo>
                      <a:lnTo>
                        <a:pt x="61" y="750"/>
                      </a:lnTo>
                      <a:lnTo>
                        <a:pt x="59" y="752"/>
                      </a:lnTo>
                      <a:lnTo>
                        <a:pt x="57" y="754"/>
                      </a:lnTo>
                      <a:lnTo>
                        <a:pt x="56" y="759"/>
                      </a:lnTo>
                      <a:lnTo>
                        <a:pt x="54" y="757"/>
                      </a:lnTo>
                      <a:lnTo>
                        <a:pt x="51" y="757"/>
                      </a:lnTo>
                      <a:lnTo>
                        <a:pt x="50" y="756"/>
                      </a:lnTo>
                      <a:lnTo>
                        <a:pt x="48" y="754"/>
                      </a:lnTo>
                      <a:lnTo>
                        <a:pt x="47" y="753"/>
                      </a:lnTo>
                      <a:lnTo>
                        <a:pt x="47" y="753"/>
                      </a:lnTo>
                      <a:lnTo>
                        <a:pt x="48" y="752"/>
                      </a:lnTo>
                      <a:lnTo>
                        <a:pt x="48" y="750"/>
                      </a:lnTo>
                      <a:lnTo>
                        <a:pt x="50" y="744"/>
                      </a:lnTo>
                      <a:lnTo>
                        <a:pt x="51" y="743"/>
                      </a:lnTo>
                      <a:lnTo>
                        <a:pt x="53" y="742"/>
                      </a:lnTo>
                      <a:lnTo>
                        <a:pt x="54" y="742"/>
                      </a:lnTo>
                      <a:lnTo>
                        <a:pt x="54" y="742"/>
                      </a:lnTo>
                      <a:lnTo>
                        <a:pt x="56" y="743"/>
                      </a:lnTo>
                      <a:lnTo>
                        <a:pt x="57" y="743"/>
                      </a:lnTo>
                      <a:lnTo>
                        <a:pt x="59" y="742"/>
                      </a:lnTo>
                      <a:lnTo>
                        <a:pt x="61" y="739"/>
                      </a:lnTo>
                      <a:lnTo>
                        <a:pt x="63" y="739"/>
                      </a:lnTo>
                      <a:lnTo>
                        <a:pt x="66" y="739"/>
                      </a:lnTo>
                      <a:lnTo>
                        <a:pt x="69" y="739"/>
                      </a:lnTo>
                      <a:lnTo>
                        <a:pt x="71" y="739"/>
                      </a:lnTo>
                      <a:lnTo>
                        <a:pt x="74" y="737"/>
                      </a:lnTo>
                      <a:lnTo>
                        <a:pt x="70" y="736"/>
                      </a:lnTo>
                      <a:lnTo>
                        <a:pt x="67" y="736"/>
                      </a:lnTo>
                      <a:lnTo>
                        <a:pt x="63" y="736"/>
                      </a:lnTo>
                      <a:lnTo>
                        <a:pt x="60" y="736"/>
                      </a:lnTo>
                      <a:lnTo>
                        <a:pt x="59" y="736"/>
                      </a:lnTo>
                      <a:lnTo>
                        <a:pt x="59" y="737"/>
                      </a:lnTo>
                      <a:lnTo>
                        <a:pt x="57" y="737"/>
                      </a:lnTo>
                      <a:lnTo>
                        <a:pt x="57" y="737"/>
                      </a:lnTo>
                      <a:lnTo>
                        <a:pt x="57" y="737"/>
                      </a:lnTo>
                      <a:lnTo>
                        <a:pt x="57" y="736"/>
                      </a:lnTo>
                      <a:lnTo>
                        <a:pt x="57" y="736"/>
                      </a:lnTo>
                      <a:lnTo>
                        <a:pt x="54" y="736"/>
                      </a:lnTo>
                      <a:lnTo>
                        <a:pt x="54" y="736"/>
                      </a:lnTo>
                      <a:lnTo>
                        <a:pt x="53" y="736"/>
                      </a:lnTo>
                      <a:lnTo>
                        <a:pt x="51" y="737"/>
                      </a:lnTo>
                      <a:lnTo>
                        <a:pt x="51" y="740"/>
                      </a:lnTo>
                      <a:lnTo>
                        <a:pt x="51" y="740"/>
                      </a:lnTo>
                      <a:lnTo>
                        <a:pt x="51" y="740"/>
                      </a:lnTo>
                      <a:lnTo>
                        <a:pt x="50" y="742"/>
                      </a:lnTo>
                      <a:lnTo>
                        <a:pt x="48" y="743"/>
                      </a:lnTo>
                      <a:lnTo>
                        <a:pt x="48" y="744"/>
                      </a:lnTo>
                      <a:lnTo>
                        <a:pt x="47" y="747"/>
                      </a:lnTo>
                      <a:lnTo>
                        <a:pt x="47" y="747"/>
                      </a:lnTo>
                      <a:lnTo>
                        <a:pt x="44" y="749"/>
                      </a:lnTo>
                      <a:lnTo>
                        <a:pt x="41" y="747"/>
                      </a:lnTo>
                      <a:lnTo>
                        <a:pt x="38" y="744"/>
                      </a:lnTo>
                      <a:lnTo>
                        <a:pt x="37" y="743"/>
                      </a:lnTo>
                      <a:lnTo>
                        <a:pt x="40" y="742"/>
                      </a:lnTo>
                      <a:lnTo>
                        <a:pt x="43" y="740"/>
                      </a:lnTo>
                      <a:lnTo>
                        <a:pt x="44" y="740"/>
                      </a:lnTo>
                      <a:lnTo>
                        <a:pt x="46" y="739"/>
                      </a:lnTo>
                      <a:lnTo>
                        <a:pt x="46" y="737"/>
                      </a:lnTo>
                      <a:lnTo>
                        <a:pt x="46" y="736"/>
                      </a:lnTo>
                      <a:lnTo>
                        <a:pt x="44" y="734"/>
                      </a:lnTo>
                      <a:lnTo>
                        <a:pt x="44" y="737"/>
                      </a:lnTo>
                      <a:lnTo>
                        <a:pt x="44" y="737"/>
                      </a:lnTo>
                      <a:lnTo>
                        <a:pt x="40" y="737"/>
                      </a:lnTo>
                      <a:lnTo>
                        <a:pt x="37" y="739"/>
                      </a:lnTo>
                      <a:lnTo>
                        <a:pt x="37" y="739"/>
                      </a:lnTo>
                      <a:lnTo>
                        <a:pt x="33" y="739"/>
                      </a:lnTo>
                      <a:lnTo>
                        <a:pt x="31" y="739"/>
                      </a:lnTo>
                      <a:lnTo>
                        <a:pt x="31" y="737"/>
                      </a:lnTo>
                      <a:lnTo>
                        <a:pt x="30" y="736"/>
                      </a:lnTo>
                      <a:lnTo>
                        <a:pt x="30" y="736"/>
                      </a:lnTo>
                      <a:lnTo>
                        <a:pt x="30" y="734"/>
                      </a:lnTo>
                      <a:lnTo>
                        <a:pt x="30" y="733"/>
                      </a:lnTo>
                      <a:lnTo>
                        <a:pt x="30" y="733"/>
                      </a:lnTo>
                      <a:lnTo>
                        <a:pt x="28" y="733"/>
                      </a:lnTo>
                      <a:lnTo>
                        <a:pt x="28" y="731"/>
                      </a:lnTo>
                      <a:lnTo>
                        <a:pt x="28" y="731"/>
                      </a:lnTo>
                      <a:lnTo>
                        <a:pt x="27" y="730"/>
                      </a:lnTo>
                      <a:lnTo>
                        <a:pt x="26" y="729"/>
                      </a:lnTo>
                      <a:lnTo>
                        <a:pt x="26" y="727"/>
                      </a:lnTo>
                      <a:lnTo>
                        <a:pt x="26" y="726"/>
                      </a:lnTo>
                      <a:lnTo>
                        <a:pt x="26" y="726"/>
                      </a:lnTo>
                      <a:lnTo>
                        <a:pt x="26" y="726"/>
                      </a:lnTo>
                      <a:lnTo>
                        <a:pt x="27" y="726"/>
                      </a:lnTo>
                      <a:lnTo>
                        <a:pt x="33" y="727"/>
                      </a:lnTo>
                      <a:lnTo>
                        <a:pt x="36" y="727"/>
                      </a:lnTo>
                      <a:lnTo>
                        <a:pt x="36" y="724"/>
                      </a:lnTo>
                      <a:lnTo>
                        <a:pt x="37" y="726"/>
                      </a:lnTo>
                      <a:lnTo>
                        <a:pt x="40" y="726"/>
                      </a:lnTo>
                      <a:lnTo>
                        <a:pt x="41" y="726"/>
                      </a:lnTo>
                      <a:lnTo>
                        <a:pt x="43" y="726"/>
                      </a:lnTo>
                      <a:lnTo>
                        <a:pt x="46" y="726"/>
                      </a:lnTo>
                      <a:lnTo>
                        <a:pt x="50" y="721"/>
                      </a:lnTo>
                      <a:lnTo>
                        <a:pt x="51" y="721"/>
                      </a:lnTo>
                      <a:lnTo>
                        <a:pt x="53" y="721"/>
                      </a:lnTo>
                      <a:lnTo>
                        <a:pt x="54" y="723"/>
                      </a:lnTo>
                      <a:lnTo>
                        <a:pt x="54" y="724"/>
                      </a:lnTo>
                      <a:lnTo>
                        <a:pt x="56" y="726"/>
                      </a:lnTo>
                      <a:lnTo>
                        <a:pt x="54" y="727"/>
                      </a:lnTo>
                      <a:lnTo>
                        <a:pt x="54" y="731"/>
                      </a:lnTo>
                      <a:lnTo>
                        <a:pt x="54" y="731"/>
                      </a:lnTo>
                      <a:lnTo>
                        <a:pt x="54" y="731"/>
                      </a:lnTo>
                      <a:lnTo>
                        <a:pt x="56" y="730"/>
                      </a:lnTo>
                      <a:lnTo>
                        <a:pt x="56" y="729"/>
                      </a:lnTo>
                      <a:lnTo>
                        <a:pt x="56" y="727"/>
                      </a:lnTo>
                      <a:lnTo>
                        <a:pt x="56" y="726"/>
                      </a:lnTo>
                      <a:lnTo>
                        <a:pt x="54" y="724"/>
                      </a:lnTo>
                      <a:lnTo>
                        <a:pt x="54" y="723"/>
                      </a:lnTo>
                      <a:lnTo>
                        <a:pt x="54" y="721"/>
                      </a:lnTo>
                      <a:lnTo>
                        <a:pt x="56" y="721"/>
                      </a:lnTo>
                      <a:lnTo>
                        <a:pt x="56" y="720"/>
                      </a:lnTo>
                      <a:lnTo>
                        <a:pt x="56" y="720"/>
                      </a:lnTo>
                      <a:lnTo>
                        <a:pt x="56" y="717"/>
                      </a:lnTo>
                      <a:lnTo>
                        <a:pt x="56" y="716"/>
                      </a:lnTo>
                      <a:lnTo>
                        <a:pt x="54" y="713"/>
                      </a:lnTo>
                      <a:lnTo>
                        <a:pt x="50" y="710"/>
                      </a:lnTo>
                      <a:lnTo>
                        <a:pt x="48" y="708"/>
                      </a:lnTo>
                      <a:lnTo>
                        <a:pt x="46" y="708"/>
                      </a:lnTo>
                      <a:lnTo>
                        <a:pt x="44" y="708"/>
                      </a:lnTo>
                      <a:lnTo>
                        <a:pt x="51" y="711"/>
                      </a:lnTo>
                      <a:lnTo>
                        <a:pt x="54" y="714"/>
                      </a:lnTo>
                      <a:lnTo>
                        <a:pt x="56" y="717"/>
                      </a:lnTo>
                      <a:lnTo>
                        <a:pt x="41" y="724"/>
                      </a:lnTo>
                      <a:lnTo>
                        <a:pt x="38" y="723"/>
                      </a:lnTo>
                      <a:lnTo>
                        <a:pt x="36" y="719"/>
                      </a:lnTo>
                      <a:lnTo>
                        <a:pt x="33" y="717"/>
                      </a:lnTo>
                      <a:lnTo>
                        <a:pt x="30" y="716"/>
                      </a:lnTo>
                      <a:lnTo>
                        <a:pt x="28" y="716"/>
                      </a:lnTo>
                      <a:lnTo>
                        <a:pt x="27" y="714"/>
                      </a:lnTo>
                      <a:lnTo>
                        <a:pt x="27" y="713"/>
                      </a:lnTo>
                      <a:lnTo>
                        <a:pt x="28" y="713"/>
                      </a:lnTo>
                      <a:lnTo>
                        <a:pt x="30" y="711"/>
                      </a:lnTo>
                      <a:lnTo>
                        <a:pt x="31" y="713"/>
                      </a:lnTo>
                      <a:lnTo>
                        <a:pt x="33" y="707"/>
                      </a:lnTo>
                      <a:lnTo>
                        <a:pt x="31" y="704"/>
                      </a:lnTo>
                      <a:lnTo>
                        <a:pt x="30" y="703"/>
                      </a:lnTo>
                      <a:lnTo>
                        <a:pt x="28" y="701"/>
                      </a:lnTo>
                      <a:lnTo>
                        <a:pt x="27" y="701"/>
                      </a:lnTo>
                      <a:lnTo>
                        <a:pt x="24" y="701"/>
                      </a:lnTo>
                      <a:lnTo>
                        <a:pt x="23" y="701"/>
                      </a:lnTo>
                      <a:lnTo>
                        <a:pt x="18" y="698"/>
                      </a:lnTo>
                      <a:lnTo>
                        <a:pt x="15" y="696"/>
                      </a:lnTo>
                      <a:lnTo>
                        <a:pt x="13" y="693"/>
                      </a:lnTo>
                      <a:lnTo>
                        <a:pt x="11" y="688"/>
                      </a:lnTo>
                      <a:lnTo>
                        <a:pt x="15" y="688"/>
                      </a:lnTo>
                      <a:lnTo>
                        <a:pt x="17" y="688"/>
                      </a:lnTo>
                      <a:lnTo>
                        <a:pt x="18" y="687"/>
                      </a:lnTo>
                      <a:lnTo>
                        <a:pt x="18" y="687"/>
                      </a:lnTo>
                      <a:lnTo>
                        <a:pt x="18" y="685"/>
                      </a:lnTo>
                      <a:lnTo>
                        <a:pt x="18" y="684"/>
                      </a:lnTo>
                      <a:lnTo>
                        <a:pt x="18" y="684"/>
                      </a:lnTo>
                      <a:lnTo>
                        <a:pt x="17" y="683"/>
                      </a:lnTo>
                      <a:lnTo>
                        <a:pt x="17" y="681"/>
                      </a:lnTo>
                      <a:lnTo>
                        <a:pt x="18" y="680"/>
                      </a:lnTo>
                      <a:lnTo>
                        <a:pt x="18" y="680"/>
                      </a:lnTo>
                      <a:lnTo>
                        <a:pt x="20" y="680"/>
                      </a:lnTo>
                      <a:lnTo>
                        <a:pt x="21" y="680"/>
                      </a:lnTo>
                      <a:lnTo>
                        <a:pt x="21" y="681"/>
                      </a:lnTo>
                      <a:lnTo>
                        <a:pt x="26" y="684"/>
                      </a:lnTo>
                      <a:lnTo>
                        <a:pt x="27" y="688"/>
                      </a:lnTo>
                      <a:lnTo>
                        <a:pt x="30" y="693"/>
                      </a:lnTo>
                      <a:lnTo>
                        <a:pt x="34" y="696"/>
                      </a:lnTo>
                      <a:lnTo>
                        <a:pt x="34" y="693"/>
                      </a:lnTo>
                      <a:lnTo>
                        <a:pt x="34" y="691"/>
                      </a:lnTo>
                      <a:lnTo>
                        <a:pt x="36" y="690"/>
                      </a:lnTo>
                      <a:lnTo>
                        <a:pt x="36" y="687"/>
                      </a:lnTo>
                      <a:lnTo>
                        <a:pt x="36" y="687"/>
                      </a:lnTo>
                      <a:lnTo>
                        <a:pt x="37" y="687"/>
                      </a:lnTo>
                      <a:lnTo>
                        <a:pt x="37" y="687"/>
                      </a:lnTo>
                      <a:lnTo>
                        <a:pt x="37" y="687"/>
                      </a:lnTo>
                      <a:lnTo>
                        <a:pt x="37" y="685"/>
                      </a:lnTo>
                      <a:lnTo>
                        <a:pt x="37" y="685"/>
                      </a:lnTo>
                      <a:lnTo>
                        <a:pt x="36" y="684"/>
                      </a:lnTo>
                      <a:lnTo>
                        <a:pt x="37" y="683"/>
                      </a:lnTo>
                      <a:lnTo>
                        <a:pt x="34" y="684"/>
                      </a:lnTo>
                      <a:lnTo>
                        <a:pt x="33" y="690"/>
                      </a:lnTo>
                      <a:lnTo>
                        <a:pt x="31" y="691"/>
                      </a:lnTo>
                      <a:lnTo>
                        <a:pt x="30" y="690"/>
                      </a:lnTo>
                      <a:lnTo>
                        <a:pt x="28" y="687"/>
                      </a:lnTo>
                      <a:lnTo>
                        <a:pt x="27" y="685"/>
                      </a:lnTo>
                      <a:lnTo>
                        <a:pt x="27" y="683"/>
                      </a:lnTo>
                      <a:lnTo>
                        <a:pt x="31" y="684"/>
                      </a:lnTo>
                      <a:lnTo>
                        <a:pt x="30" y="683"/>
                      </a:lnTo>
                      <a:lnTo>
                        <a:pt x="26" y="681"/>
                      </a:lnTo>
                      <a:lnTo>
                        <a:pt x="24" y="680"/>
                      </a:lnTo>
                      <a:lnTo>
                        <a:pt x="23" y="678"/>
                      </a:lnTo>
                      <a:lnTo>
                        <a:pt x="20" y="675"/>
                      </a:lnTo>
                      <a:lnTo>
                        <a:pt x="23" y="671"/>
                      </a:lnTo>
                      <a:lnTo>
                        <a:pt x="23" y="671"/>
                      </a:lnTo>
                      <a:lnTo>
                        <a:pt x="24" y="670"/>
                      </a:lnTo>
                      <a:lnTo>
                        <a:pt x="26" y="670"/>
                      </a:lnTo>
                      <a:lnTo>
                        <a:pt x="27" y="670"/>
                      </a:lnTo>
                      <a:lnTo>
                        <a:pt x="28" y="670"/>
                      </a:lnTo>
                      <a:lnTo>
                        <a:pt x="30" y="670"/>
                      </a:lnTo>
                      <a:lnTo>
                        <a:pt x="30" y="670"/>
                      </a:lnTo>
                      <a:lnTo>
                        <a:pt x="31" y="670"/>
                      </a:lnTo>
                      <a:lnTo>
                        <a:pt x="30" y="668"/>
                      </a:lnTo>
                      <a:lnTo>
                        <a:pt x="30" y="668"/>
                      </a:lnTo>
                      <a:lnTo>
                        <a:pt x="28" y="668"/>
                      </a:lnTo>
                      <a:lnTo>
                        <a:pt x="28" y="668"/>
                      </a:lnTo>
                      <a:lnTo>
                        <a:pt x="26" y="665"/>
                      </a:lnTo>
                      <a:lnTo>
                        <a:pt x="26" y="664"/>
                      </a:lnTo>
                      <a:lnTo>
                        <a:pt x="24" y="661"/>
                      </a:lnTo>
                      <a:lnTo>
                        <a:pt x="26" y="660"/>
                      </a:lnTo>
                      <a:lnTo>
                        <a:pt x="27" y="658"/>
                      </a:lnTo>
                      <a:lnTo>
                        <a:pt x="30" y="658"/>
                      </a:lnTo>
                      <a:lnTo>
                        <a:pt x="31" y="660"/>
                      </a:lnTo>
                      <a:lnTo>
                        <a:pt x="33" y="660"/>
                      </a:lnTo>
                      <a:lnTo>
                        <a:pt x="33" y="658"/>
                      </a:lnTo>
                      <a:lnTo>
                        <a:pt x="31" y="658"/>
                      </a:lnTo>
                      <a:lnTo>
                        <a:pt x="31" y="657"/>
                      </a:lnTo>
                      <a:lnTo>
                        <a:pt x="30" y="657"/>
                      </a:lnTo>
                      <a:lnTo>
                        <a:pt x="30" y="655"/>
                      </a:lnTo>
                      <a:lnTo>
                        <a:pt x="30" y="654"/>
                      </a:lnTo>
                      <a:lnTo>
                        <a:pt x="30" y="648"/>
                      </a:lnTo>
                      <a:lnTo>
                        <a:pt x="30" y="647"/>
                      </a:lnTo>
                      <a:lnTo>
                        <a:pt x="31" y="645"/>
                      </a:lnTo>
                      <a:lnTo>
                        <a:pt x="30" y="647"/>
                      </a:lnTo>
                      <a:lnTo>
                        <a:pt x="28" y="650"/>
                      </a:lnTo>
                      <a:lnTo>
                        <a:pt x="27" y="657"/>
                      </a:lnTo>
                      <a:lnTo>
                        <a:pt x="24" y="654"/>
                      </a:lnTo>
                      <a:lnTo>
                        <a:pt x="23" y="650"/>
                      </a:lnTo>
                      <a:lnTo>
                        <a:pt x="24" y="637"/>
                      </a:lnTo>
                      <a:lnTo>
                        <a:pt x="24" y="635"/>
                      </a:lnTo>
                      <a:lnTo>
                        <a:pt x="26" y="632"/>
                      </a:lnTo>
                      <a:lnTo>
                        <a:pt x="27" y="632"/>
                      </a:lnTo>
                      <a:lnTo>
                        <a:pt x="28" y="632"/>
                      </a:lnTo>
                      <a:lnTo>
                        <a:pt x="28" y="632"/>
                      </a:lnTo>
                      <a:lnTo>
                        <a:pt x="30" y="631"/>
                      </a:lnTo>
                      <a:lnTo>
                        <a:pt x="27" y="631"/>
                      </a:lnTo>
                      <a:lnTo>
                        <a:pt x="24" y="631"/>
                      </a:lnTo>
                      <a:lnTo>
                        <a:pt x="21" y="629"/>
                      </a:lnTo>
                      <a:lnTo>
                        <a:pt x="21" y="628"/>
                      </a:lnTo>
                      <a:lnTo>
                        <a:pt x="20" y="625"/>
                      </a:lnTo>
                      <a:lnTo>
                        <a:pt x="20" y="619"/>
                      </a:lnTo>
                      <a:lnTo>
                        <a:pt x="30" y="621"/>
                      </a:lnTo>
                      <a:lnTo>
                        <a:pt x="31" y="621"/>
                      </a:lnTo>
                      <a:lnTo>
                        <a:pt x="34" y="622"/>
                      </a:lnTo>
                      <a:lnTo>
                        <a:pt x="37" y="624"/>
                      </a:lnTo>
                      <a:lnTo>
                        <a:pt x="38" y="624"/>
                      </a:lnTo>
                      <a:lnTo>
                        <a:pt x="41" y="624"/>
                      </a:lnTo>
                      <a:lnTo>
                        <a:pt x="38" y="621"/>
                      </a:lnTo>
                      <a:lnTo>
                        <a:pt x="37" y="618"/>
                      </a:lnTo>
                      <a:lnTo>
                        <a:pt x="36" y="611"/>
                      </a:lnTo>
                      <a:lnTo>
                        <a:pt x="34" y="614"/>
                      </a:lnTo>
                      <a:lnTo>
                        <a:pt x="33" y="616"/>
                      </a:lnTo>
                      <a:lnTo>
                        <a:pt x="31" y="618"/>
                      </a:lnTo>
                      <a:lnTo>
                        <a:pt x="28" y="619"/>
                      </a:lnTo>
                      <a:lnTo>
                        <a:pt x="27" y="619"/>
                      </a:lnTo>
                      <a:lnTo>
                        <a:pt x="26" y="618"/>
                      </a:lnTo>
                      <a:lnTo>
                        <a:pt x="24" y="616"/>
                      </a:lnTo>
                      <a:lnTo>
                        <a:pt x="24" y="615"/>
                      </a:lnTo>
                      <a:lnTo>
                        <a:pt x="23" y="615"/>
                      </a:lnTo>
                      <a:lnTo>
                        <a:pt x="23" y="615"/>
                      </a:lnTo>
                      <a:lnTo>
                        <a:pt x="21" y="615"/>
                      </a:lnTo>
                      <a:lnTo>
                        <a:pt x="21" y="614"/>
                      </a:lnTo>
                      <a:lnTo>
                        <a:pt x="20" y="612"/>
                      </a:lnTo>
                      <a:lnTo>
                        <a:pt x="20" y="611"/>
                      </a:lnTo>
                      <a:lnTo>
                        <a:pt x="21" y="611"/>
                      </a:lnTo>
                      <a:lnTo>
                        <a:pt x="23" y="611"/>
                      </a:lnTo>
                      <a:lnTo>
                        <a:pt x="24" y="611"/>
                      </a:lnTo>
                      <a:lnTo>
                        <a:pt x="26" y="612"/>
                      </a:lnTo>
                      <a:lnTo>
                        <a:pt x="27" y="612"/>
                      </a:lnTo>
                      <a:lnTo>
                        <a:pt x="28" y="611"/>
                      </a:lnTo>
                      <a:lnTo>
                        <a:pt x="27" y="609"/>
                      </a:lnTo>
                      <a:lnTo>
                        <a:pt x="27" y="609"/>
                      </a:lnTo>
                      <a:lnTo>
                        <a:pt x="26" y="609"/>
                      </a:lnTo>
                      <a:lnTo>
                        <a:pt x="26" y="609"/>
                      </a:lnTo>
                      <a:lnTo>
                        <a:pt x="23" y="606"/>
                      </a:lnTo>
                      <a:lnTo>
                        <a:pt x="23" y="604"/>
                      </a:lnTo>
                      <a:lnTo>
                        <a:pt x="26" y="602"/>
                      </a:lnTo>
                      <a:lnTo>
                        <a:pt x="27" y="601"/>
                      </a:lnTo>
                      <a:lnTo>
                        <a:pt x="27" y="599"/>
                      </a:lnTo>
                      <a:lnTo>
                        <a:pt x="27" y="595"/>
                      </a:lnTo>
                      <a:lnTo>
                        <a:pt x="27" y="595"/>
                      </a:lnTo>
                      <a:lnTo>
                        <a:pt x="27" y="593"/>
                      </a:lnTo>
                      <a:lnTo>
                        <a:pt x="26" y="592"/>
                      </a:lnTo>
                      <a:lnTo>
                        <a:pt x="24" y="591"/>
                      </a:lnTo>
                      <a:lnTo>
                        <a:pt x="23" y="591"/>
                      </a:lnTo>
                      <a:lnTo>
                        <a:pt x="21" y="591"/>
                      </a:lnTo>
                      <a:lnTo>
                        <a:pt x="21" y="592"/>
                      </a:lnTo>
                      <a:lnTo>
                        <a:pt x="21" y="593"/>
                      </a:lnTo>
                      <a:lnTo>
                        <a:pt x="18" y="592"/>
                      </a:lnTo>
                      <a:lnTo>
                        <a:pt x="15" y="592"/>
                      </a:lnTo>
                      <a:lnTo>
                        <a:pt x="13" y="589"/>
                      </a:lnTo>
                      <a:lnTo>
                        <a:pt x="13" y="588"/>
                      </a:lnTo>
                      <a:lnTo>
                        <a:pt x="13" y="585"/>
                      </a:lnTo>
                      <a:lnTo>
                        <a:pt x="7" y="586"/>
                      </a:lnTo>
                      <a:lnTo>
                        <a:pt x="4" y="588"/>
                      </a:lnTo>
                      <a:lnTo>
                        <a:pt x="3" y="589"/>
                      </a:lnTo>
                      <a:lnTo>
                        <a:pt x="4" y="591"/>
                      </a:lnTo>
                      <a:lnTo>
                        <a:pt x="5" y="592"/>
                      </a:lnTo>
                      <a:lnTo>
                        <a:pt x="5" y="593"/>
                      </a:lnTo>
                      <a:lnTo>
                        <a:pt x="5" y="593"/>
                      </a:lnTo>
                      <a:lnTo>
                        <a:pt x="4" y="595"/>
                      </a:lnTo>
                      <a:lnTo>
                        <a:pt x="3" y="593"/>
                      </a:lnTo>
                      <a:lnTo>
                        <a:pt x="1" y="591"/>
                      </a:lnTo>
                      <a:lnTo>
                        <a:pt x="0" y="589"/>
                      </a:lnTo>
                      <a:lnTo>
                        <a:pt x="3" y="586"/>
                      </a:lnTo>
                      <a:lnTo>
                        <a:pt x="5" y="582"/>
                      </a:lnTo>
                      <a:lnTo>
                        <a:pt x="11" y="579"/>
                      </a:lnTo>
                      <a:lnTo>
                        <a:pt x="14" y="576"/>
                      </a:lnTo>
                      <a:lnTo>
                        <a:pt x="11" y="572"/>
                      </a:lnTo>
                      <a:lnTo>
                        <a:pt x="13" y="570"/>
                      </a:lnTo>
                      <a:lnTo>
                        <a:pt x="17" y="569"/>
                      </a:lnTo>
                      <a:lnTo>
                        <a:pt x="21" y="569"/>
                      </a:lnTo>
                      <a:lnTo>
                        <a:pt x="24" y="569"/>
                      </a:lnTo>
                      <a:lnTo>
                        <a:pt x="26" y="568"/>
                      </a:lnTo>
                      <a:lnTo>
                        <a:pt x="27" y="568"/>
                      </a:lnTo>
                      <a:lnTo>
                        <a:pt x="28" y="566"/>
                      </a:lnTo>
                      <a:lnTo>
                        <a:pt x="28" y="565"/>
                      </a:lnTo>
                      <a:lnTo>
                        <a:pt x="28" y="563"/>
                      </a:lnTo>
                      <a:lnTo>
                        <a:pt x="28" y="563"/>
                      </a:lnTo>
                      <a:lnTo>
                        <a:pt x="28" y="562"/>
                      </a:lnTo>
                      <a:lnTo>
                        <a:pt x="28" y="560"/>
                      </a:lnTo>
                      <a:lnTo>
                        <a:pt x="30" y="559"/>
                      </a:lnTo>
                      <a:lnTo>
                        <a:pt x="31" y="559"/>
                      </a:lnTo>
                      <a:lnTo>
                        <a:pt x="33" y="559"/>
                      </a:lnTo>
                      <a:lnTo>
                        <a:pt x="33" y="560"/>
                      </a:lnTo>
                      <a:lnTo>
                        <a:pt x="33" y="563"/>
                      </a:lnTo>
                      <a:lnTo>
                        <a:pt x="30" y="573"/>
                      </a:lnTo>
                      <a:lnTo>
                        <a:pt x="27" y="576"/>
                      </a:lnTo>
                      <a:lnTo>
                        <a:pt x="24" y="578"/>
                      </a:lnTo>
                      <a:lnTo>
                        <a:pt x="28" y="579"/>
                      </a:lnTo>
                      <a:lnTo>
                        <a:pt x="31" y="575"/>
                      </a:lnTo>
                      <a:lnTo>
                        <a:pt x="33" y="570"/>
                      </a:lnTo>
                      <a:lnTo>
                        <a:pt x="36" y="569"/>
                      </a:lnTo>
                      <a:lnTo>
                        <a:pt x="37" y="572"/>
                      </a:lnTo>
                      <a:lnTo>
                        <a:pt x="34" y="578"/>
                      </a:lnTo>
                      <a:lnTo>
                        <a:pt x="33" y="582"/>
                      </a:lnTo>
                      <a:lnTo>
                        <a:pt x="31" y="586"/>
                      </a:lnTo>
                      <a:lnTo>
                        <a:pt x="34" y="585"/>
                      </a:lnTo>
                      <a:lnTo>
                        <a:pt x="36" y="582"/>
                      </a:lnTo>
                      <a:lnTo>
                        <a:pt x="37" y="572"/>
                      </a:lnTo>
                      <a:lnTo>
                        <a:pt x="37" y="570"/>
                      </a:lnTo>
                      <a:lnTo>
                        <a:pt x="37" y="569"/>
                      </a:lnTo>
                      <a:lnTo>
                        <a:pt x="37" y="568"/>
                      </a:lnTo>
                      <a:lnTo>
                        <a:pt x="36" y="568"/>
                      </a:lnTo>
                      <a:lnTo>
                        <a:pt x="36" y="566"/>
                      </a:lnTo>
                      <a:lnTo>
                        <a:pt x="34" y="563"/>
                      </a:lnTo>
                      <a:lnTo>
                        <a:pt x="36" y="562"/>
                      </a:lnTo>
                      <a:lnTo>
                        <a:pt x="37" y="560"/>
                      </a:lnTo>
                      <a:lnTo>
                        <a:pt x="40" y="559"/>
                      </a:lnTo>
                      <a:lnTo>
                        <a:pt x="43" y="559"/>
                      </a:lnTo>
                      <a:lnTo>
                        <a:pt x="44" y="559"/>
                      </a:lnTo>
                      <a:lnTo>
                        <a:pt x="46" y="559"/>
                      </a:lnTo>
                      <a:lnTo>
                        <a:pt x="48" y="560"/>
                      </a:lnTo>
                      <a:lnTo>
                        <a:pt x="47" y="558"/>
                      </a:lnTo>
                      <a:lnTo>
                        <a:pt x="46" y="556"/>
                      </a:lnTo>
                      <a:lnTo>
                        <a:pt x="43" y="555"/>
                      </a:lnTo>
                      <a:lnTo>
                        <a:pt x="40" y="555"/>
                      </a:lnTo>
                      <a:lnTo>
                        <a:pt x="41" y="550"/>
                      </a:lnTo>
                      <a:lnTo>
                        <a:pt x="41" y="549"/>
                      </a:lnTo>
                      <a:lnTo>
                        <a:pt x="43" y="549"/>
                      </a:lnTo>
                      <a:lnTo>
                        <a:pt x="46" y="547"/>
                      </a:lnTo>
                      <a:lnTo>
                        <a:pt x="47" y="547"/>
                      </a:lnTo>
                      <a:lnTo>
                        <a:pt x="48" y="546"/>
                      </a:lnTo>
                      <a:lnTo>
                        <a:pt x="51" y="545"/>
                      </a:lnTo>
                      <a:lnTo>
                        <a:pt x="53" y="542"/>
                      </a:lnTo>
                      <a:lnTo>
                        <a:pt x="53" y="540"/>
                      </a:lnTo>
                      <a:lnTo>
                        <a:pt x="53" y="536"/>
                      </a:lnTo>
                      <a:lnTo>
                        <a:pt x="44" y="530"/>
                      </a:lnTo>
                      <a:lnTo>
                        <a:pt x="44" y="526"/>
                      </a:lnTo>
                      <a:lnTo>
                        <a:pt x="46" y="524"/>
                      </a:lnTo>
                      <a:lnTo>
                        <a:pt x="47" y="523"/>
                      </a:lnTo>
                      <a:lnTo>
                        <a:pt x="47" y="520"/>
                      </a:lnTo>
                      <a:lnTo>
                        <a:pt x="47" y="517"/>
                      </a:lnTo>
                      <a:lnTo>
                        <a:pt x="47" y="513"/>
                      </a:lnTo>
                      <a:lnTo>
                        <a:pt x="47" y="510"/>
                      </a:lnTo>
                      <a:lnTo>
                        <a:pt x="48" y="507"/>
                      </a:lnTo>
                      <a:lnTo>
                        <a:pt x="50" y="507"/>
                      </a:lnTo>
                      <a:lnTo>
                        <a:pt x="50" y="506"/>
                      </a:lnTo>
                      <a:lnTo>
                        <a:pt x="50" y="506"/>
                      </a:lnTo>
                      <a:lnTo>
                        <a:pt x="50" y="504"/>
                      </a:lnTo>
                      <a:lnTo>
                        <a:pt x="51" y="504"/>
                      </a:lnTo>
                      <a:lnTo>
                        <a:pt x="51" y="504"/>
                      </a:lnTo>
                      <a:lnTo>
                        <a:pt x="53" y="504"/>
                      </a:lnTo>
                      <a:lnTo>
                        <a:pt x="53" y="503"/>
                      </a:lnTo>
                      <a:lnTo>
                        <a:pt x="51" y="503"/>
                      </a:lnTo>
                      <a:lnTo>
                        <a:pt x="51" y="501"/>
                      </a:lnTo>
                      <a:lnTo>
                        <a:pt x="51" y="500"/>
                      </a:lnTo>
                      <a:lnTo>
                        <a:pt x="51" y="499"/>
                      </a:lnTo>
                      <a:lnTo>
                        <a:pt x="51" y="496"/>
                      </a:lnTo>
                      <a:lnTo>
                        <a:pt x="51" y="493"/>
                      </a:lnTo>
                      <a:lnTo>
                        <a:pt x="54" y="493"/>
                      </a:lnTo>
                      <a:lnTo>
                        <a:pt x="53" y="491"/>
                      </a:lnTo>
                      <a:lnTo>
                        <a:pt x="53" y="490"/>
                      </a:lnTo>
                      <a:lnTo>
                        <a:pt x="51" y="489"/>
                      </a:lnTo>
                      <a:lnTo>
                        <a:pt x="53" y="487"/>
                      </a:lnTo>
                      <a:lnTo>
                        <a:pt x="54" y="487"/>
                      </a:lnTo>
                      <a:lnTo>
                        <a:pt x="56" y="487"/>
                      </a:lnTo>
                      <a:lnTo>
                        <a:pt x="57" y="490"/>
                      </a:lnTo>
                      <a:lnTo>
                        <a:pt x="59" y="491"/>
                      </a:lnTo>
                      <a:lnTo>
                        <a:pt x="59" y="489"/>
                      </a:lnTo>
                      <a:lnTo>
                        <a:pt x="57" y="481"/>
                      </a:lnTo>
                      <a:lnTo>
                        <a:pt x="54" y="481"/>
                      </a:lnTo>
                      <a:lnTo>
                        <a:pt x="53" y="481"/>
                      </a:lnTo>
                      <a:lnTo>
                        <a:pt x="51" y="480"/>
                      </a:lnTo>
                      <a:lnTo>
                        <a:pt x="53" y="477"/>
                      </a:lnTo>
                      <a:lnTo>
                        <a:pt x="54" y="476"/>
                      </a:lnTo>
                      <a:lnTo>
                        <a:pt x="57" y="476"/>
                      </a:lnTo>
                      <a:lnTo>
                        <a:pt x="59" y="474"/>
                      </a:lnTo>
                      <a:lnTo>
                        <a:pt x="60" y="471"/>
                      </a:lnTo>
                      <a:lnTo>
                        <a:pt x="59" y="473"/>
                      </a:lnTo>
                      <a:lnTo>
                        <a:pt x="57" y="474"/>
                      </a:lnTo>
                      <a:lnTo>
                        <a:pt x="56" y="474"/>
                      </a:lnTo>
                      <a:lnTo>
                        <a:pt x="54" y="474"/>
                      </a:lnTo>
                      <a:lnTo>
                        <a:pt x="51" y="473"/>
                      </a:lnTo>
                      <a:lnTo>
                        <a:pt x="51" y="471"/>
                      </a:lnTo>
                      <a:lnTo>
                        <a:pt x="50" y="471"/>
                      </a:lnTo>
                      <a:lnTo>
                        <a:pt x="47" y="473"/>
                      </a:lnTo>
                      <a:lnTo>
                        <a:pt x="46" y="474"/>
                      </a:lnTo>
                      <a:lnTo>
                        <a:pt x="44" y="476"/>
                      </a:lnTo>
                      <a:lnTo>
                        <a:pt x="41" y="477"/>
                      </a:lnTo>
                      <a:lnTo>
                        <a:pt x="38" y="477"/>
                      </a:lnTo>
                      <a:lnTo>
                        <a:pt x="36" y="477"/>
                      </a:lnTo>
                      <a:lnTo>
                        <a:pt x="36" y="476"/>
                      </a:lnTo>
                      <a:lnTo>
                        <a:pt x="36" y="474"/>
                      </a:lnTo>
                      <a:lnTo>
                        <a:pt x="37" y="473"/>
                      </a:lnTo>
                      <a:lnTo>
                        <a:pt x="34" y="471"/>
                      </a:lnTo>
                      <a:lnTo>
                        <a:pt x="33" y="468"/>
                      </a:lnTo>
                      <a:lnTo>
                        <a:pt x="31" y="466"/>
                      </a:lnTo>
                      <a:lnTo>
                        <a:pt x="31" y="463"/>
                      </a:lnTo>
                      <a:lnTo>
                        <a:pt x="31" y="460"/>
                      </a:lnTo>
                      <a:lnTo>
                        <a:pt x="31" y="457"/>
                      </a:lnTo>
                      <a:lnTo>
                        <a:pt x="33" y="451"/>
                      </a:lnTo>
                      <a:lnTo>
                        <a:pt x="36" y="443"/>
                      </a:lnTo>
                      <a:lnTo>
                        <a:pt x="36" y="440"/>
                      </a:lnTo>
                      <a:lnTo>
                        <a:pt x="37" y="437"/>
                      </a:lnTo>
                      <a:lnTo>
                        <a:pt x="41" y="432"/>
                      </a:lnTo>
                      <a:lnTo>
                        <a:pt x="43" y="430"/>
                      </a:lnTo>
                      <a:lnTo>
                        <a:pt x="43" y="427"/>
                      </a:lnTo>
                      <a:lnTo>
                        <a:pt x="44" y="424"/>
                      </a:lnTo>
                      <a:lnTo>
                        <a:pt x="43" y="421"/>
                      </a:lnTo>
                      <a:lnTo>
                        <a:pt x="43" y="418"/>
                      </a:lnTo>
                      <a:lnTo>
                        <a:pt x="40" y="411"/>
                      </a:lnTo>
                      <a:lnTo>
                        <a:pt x="38" y="408"/>
                      </a:lnTo>
                      <a:lnTo>
                        <a:pt x="38" y="405"/>
                      </a:lnTo>
                      <a:lnTo>
                        <a:pt x="38" y="399"/>
                      </a:lnTo>
                      <a:lnTo>
                        <a:pt x="38" y="397"/>
                      </a:lnTo>
                      <a:lnTo>
                        <a:pt x="38" y="394"/>
                      </a:lnTo>
                      <a:lnTo>
                        <a:pt x="37" y="392"/>
                      </a:lnTo>
                      <a:lnTo>
                        <a:pt x="37" y="391"/>
                      </a:lnTo>
                      <a:lnTo>
                        <a:pt x="37" y="385"/>
                      </a:lnTo>
                      <a:lnTo>
                        <a:pt x="37" y="384"/>
                      </a:lnTo>
                      <a:lnTo>
                        <a:pt x="37" y="382"/>
                      </a:lnTo>
                      <a:lnTo>
                        <a:pt x="38" y="381"/>
                      </a:lnTo>
                      <a:lnTo>
                        <a:pt x="40" y="381"/>
                      </a:lnTo>
                      <a:lnTo>
                        <a:pt x="43" y="379"/>
                      </a:lnTo>
                      <a:lnTo>
                        <a:pt x="44" y="378"/>
                      </a:lnTo>
                      <a:lnTo>
                        <a:pt x="46" y="376"/>
                      </a:lnTo>
                      <a:lnTo>
                        <a:pt x="46" y="374"/>
                      </a:lnTo>
                      <a:lnTo>
                        <a:pt x="46" y="372"/>
                      </a:lnTo>
                      <a:lnTo>
                        <a:pt x="46" y="371"/>
                      </a:lnTo>
                      <a:lnTo>
                        <a:pt x="47" y="371"/>
                      </a:lnTo>
                      <a:lnTo>
                        <a:pt x="47" y="369"/>
                      </a:lnTo>
                      <a:lnTo>
                        <a:pt x="48" y="368"/>
                      </a:lnTo>
                      <a:lnTo>
                        <a:pt x="50" y="365"/>
                      </a:lnTo>
                      <a:lnTo>
                        <a:pt x="51" y="359"/>
                      </a:lnTo>
                      <a:lnTo>
                        <a:pt x="51" y="356"/>
                      </a:lnTo>
                      <a:lnTo>
                        <a:pt x="53" y="355"/>
                      </a:lnTo>
                      <a:lnTo>
                        <a:pt x="54" y="352"/>
                      </a:lnTo>
                      <a:lnTo>
                        <a:pt x="54" y="352"/>
                      </a:lnTo>
                      <a:lnTo>
                        <a:pt x="56" y="351"/>
                      </a:lnTo>
                      <a:lnTo>
                        <a:pt x="56" y="348"/>
                      </a:lnTo>
                      <a:lnTo>
                        <a:pt x="56" y="346"/>
                      </a:lnTo>
                      <a:lnTo>
                        <a:pt x="57" y="343"/>
                      </a:lnTo>
                      <a:lnTo>
                        <a:pt x="60" y="339"/>
                      </a:lnTo>
                      <a:lnTo>
                        <a:pt x="61" y="338"/>
                      </a:lnTo>
                      <a:lnTo>
                        <a:pt x="64" y="332"/>
                      </a:lnTo>
                      <a:lnTo>
                        <a:pt x="66" y="319"/>
                      </a:lnTo>
                      <a:lnTo>
                        <a:pt x="69" y="313"/>
                      </a:lnTo>
                      <a:lnTo>
                        <a:pt x="70" y="310"/>
                      </a:lnTo>
                      <a:lnTo>
                        <a:pt x="71" y="309"/>
                      </a:lnTo>
                      <a:lnTo>
                        <a:pt x="71" y="306"/>
                      </a:lnTo>
                      <a:lnTo>
                        <a:pt x="70" y="299"/>
                      </a:lnTo>
                      <a:lnTo>
                        <a:pt x="71" y="297"/>
                      </a:lnTo>
                      <a:lnTo>
                        <a:pt x="73" y="293"/>
                      </a:lnTo>
                      <a:lnTo>
                        <a:pt x="74" y="290"/>
                      </a:lnTo>
                      <a:lnTo>
                        <a:pt x="74" y="287"/>
                      </a:lnTo>
                      <a:lnTo>
                        <a:pt x="74" y="277"/>
                      </a:lnTo>
                      <a:lnTo>
                        <a:pt x="73" y="272"/>
                      </a:lnTo>
                      <a:lnTo>
                        <a:pt x="70" y="256"/>
                      </a:lnTo>
                      <a:lnTo>
                        <a:pt x="70" y="250"/>
                      </a:lnTo>
                      <a:lnTo>
                        <a:pt x="73" y="244"/>
                      </a:lnTo>
                      <a:lnTo>
                        <a:pt x="74" y="243"/>
                      </a:lnTo>
                      <a:lnTo>
                        <a:pt x="74" y="241"/>
                      </a:lnTo>
                      <a:lnTo>
                        <a:pt x="76" y="241"/>
                      </a:lnTo>
                      <a:lnTo>
                        <a:pt x="77" y="238"/>
                      </a:lnTo>
                      <a:lnTo>
                        <a:pt x="77" y="237"/>
                      </a:lnTo>
                      <a:lnTo>
                        <a:pt x="77" y="236"/>
                      </a:lnTo>
                      <a:lnTo>
                        <a:pt x="77" y="233"/>
                      </a:lnTo>
                      <a:lnTo>
                        <a:pt x="77" y="230"/>
                      </a:lnTo>
                      <a:lnTo>
                        <a:pt x="74" y="224"/>
                      </a:lnTo>
                      <a:lnTo>
                        <a:pt x="74" y="221"/>
                      </a:lnTo>
                      <a:lnTo>
                        <a:pt x="74" y="218"/>
                      </a:lnTo>
                      <a:lnTo>
                        <a:pt x="76" y="215"/>
                      </a:lnTo>
                      <a:lnTo>
                        <a:pt x="77" y="214"/>
                      </a:lnTo>
                      <a:lnTo>
                        <a:pt x="79" y="211"/>
                      </a:lnTo>
                      <a:lnTo>
                        <a:pt x="79" y="208"/>
                      </a:lnTo>
                      <a:lnTo>
                        <a:pt x="82" y="198"/>
                      </a:lnTo>
                      <a:lnTo>
                        <a:pt x="84" y="191"/>
                      </a:lnTo>
                      <a:lnTo>
                        <a:pt x="84" y="188"/>
                      </a:lnTo>
                      <a:lnTo>
                        <a:pt x="86" y="182"/>
                      </a:lnTo>
                      <a:lnTo>
                        <a:pt x="89" y="171"/>
                      </a:lnTo>
                      <a:lnTo>
                        <a:pt x="89" y="165"/>
                      </a:lnTo>
                      <a:lnTo>
                        <a:pt x="89" y="162"/>
                      </a:lnTo>
                      <a:lnTo>
                        <a:pt x="89" y="159"/>
                      </a:lnTo>
                      <a:lnTo>
                        <a:pt x="89" y="157"/>
                      </a:lnTo>
                      <a:lnTo>
                        <a:pt x="89" y="152"/>
                      </a:lnTo>
                      <a:lnTo>
                        <a:pt x="92" y="149"/>
                      </a:lnTo>
                      <a:lnTo>
                        <a:pt x="93" y="146"/>
                      </a:lnTo>
                      <a:lnTo>
                        <a:pt x="93" y="144"/>
                      </a:lnTo>
                      <a:lnTo>
                        <a:pt x="92" y="141"/>
                      </a:lnTo>
                      <a:lnTo>
                        <a:pt x="92" y="135"/>
                      </a:lnTo>
                      <a:lnTo>
                        <a:pt x="90" y="131"/>
                      </a:lnTo>
                      <a:lnTo>
                        <a:pt x="92" y="122"/>
                      </a:lnTo>
                      <a:lnTo>
                        <a:pt x="92" y="119"/>
                      </a:lnTo>
                      <a:lnTo>
                        <a:pt x="93" y="118"/>
                      </a:lnTo>
                      <a:lnTo>
                        <a:pt x="93" y="116"/>
                      </a:lnTo>
                      <a:lnTo>
                        <a:pt x="93" y="115"/>
                      </a:lnTo>
                      <a:lnTo>
                        <a:pt x="93" y="113"/>
                      </a:lnTo>
                      <a:lnTo>
                        <a:pt x="93" y="112"/>
                      </a:lnTo>
                      <a:lnTo>
                        <a:pt x="92" y="111"/>
                      </a:lnTo>
                      <a:lnTo>
                        <a:pt x="90" y="111"/>
                      </a:lnTo>
                      <a:lnTo>
                        <a:pt x="90" y="108"/>
                      </a:lnTo>
                      <a:lnTo>
                        <a:pt x="92" y="105"/>
                      </a:lnTo>
                      <a:lnTo>
                        <a:pt x="94" y="100"/>
                      </a:lnTo>
                      <a:lnTo>
                        <a:pt x="96" y="98"/>
                      </a:lnTo>
                      <a:lnTo>
                        <a:pt x="96" y="95"/>
                      </a:lnTo>
                      <a:lnTo>
                        <a:pt x="99" y="70"/>
                      </a:lnTo>
                      <a:lnTo>
                        <a:pt x="97" y="57"/>
                      </a:lnTo>
                      <a:lnTo>
                        <a:pt x="97" y="44"/>
                      </a:lnTo>
                      <a:lnTo>
                        <a:pt x="97" y="39"/>
                      </a:lnTo>
                      <a:lnTo>
                        <a:pt x="94" y="27"/>
                      </a:lnTo>
                      <a:lnTo>
                        <a:pt x="94" y="20"/>
                      </a:lnTo>
                      <a:lnTo>
                        <a:pt x="94" y="17"/>
                      </a:lnTo>
                      <a:lnTo>
                        <a:pt x="93" y="16"/>
                      </a:lnTo>
                      <a:lnTo>
                        <a:pt x="100" y="14"/>
                      </a:lnTo>
                      <a:lnTo>
                        <a:pt x="103" y="13"/>
                      </a:lnTo>
                      <a:lnTo>
                        <a:pt x="104" y="9"/>
                      </a:lnTo>
                      <a:lnTo>
                        <a:pt x="104" y="7"/>
                      </a:lnTo>
                      <a:lnTo>
                        <a:pt x="103" y="4"/>
                      </a:lnTo>
                      <a:lnTo>
                        <a:pt x="103" y="3"/>
                      </a:lnTo>
                      <a:lnTo>
                        <a:pt x="104" y="3"/>
                      </a:lnTo>
                      <a:lnTo>
                        <a:pt x="107" y="0"/>
                      </a:lnTo>
                      <a:lnTo>
                        <a:pt x="109" y="0"/>
                      </a:lnTo>
                      <a:lnTo>
                        <a:pt x="110" y="1"/>
                      </a:lnTo>
                      <a:lnTo>
                        <a:pt x="110" y="3"/>
                      </a:lnTo>
                      <a:lnTo>
                        <a:pt x="112" y="6"/>
                      </a:lnTo>
                      <a:lnTo>
                        <a:pt x="113" y="7"/>
                      </a:lnTo>
                      <a:lnTo>
                        <a:pt x="113" y="9"/>
                      </a:lnTo>
                      <a:lnTo>
                        <a:pt x="116" y="10"/>
                      </a:lnTo>
                      <a:lnTo>
                        <a:pt x="116" y="10"/>
                      </a:lnTo>
                      <a:lnTo>
                        <a:pt x="116" y="14"/>
                      </a:lnTo>
                      <a:lnTo>
                        <a:pt x="119" y="23"/>
                      </a:lnTo>
                      <a:lnTo>
                        <a:pt x="120" y="27"/>
                      </a:lnTo>
                      <a:lnTo>
                        <a:pt x="122" y="29"/>
                      </a:lnTo>
                      <a:lnTo>
                        <a:pt x="125" y="31"/>
                      </a:lnTo>
                      <a:lnTo>
                        <a:pt x="126" y="33"/>
                      </a:lnTo>
                      <a:lnTo>
                        <a:pt x="127" y="34"/>
                      </a:lnTo>
                      <a:lnTo>
                        <a:pt x="127" y="36"/>
                      </a:lnTo>
                      <a:lnTo>
                        <a:pt x="126" y="37"/>
                      </a:lnTo>
                      <a:lnTo>
                        <a:pt x="125" y="39"/>
                      </a:lnTo>
                      <a:lnTo>
                        <a:pt x="125" y="39"/>
                      </a:lnTo>
                      <a:lnTo>
                        <a:pt x="125" y="40"/>
                      </a:lnTo>
                      <a:lnTo>
                        <a:pt x="125" y="42"/>
                      </a:lnTo>
                      <a:lnTo>
                        <a:pt x="125" y="42"/>
                      </a:lnTo>
                      <a:lnTo>
                        <a:pt x="125" y="43"/>
                      </a:lnTo>
                      <a:lnTo>
                        <a:pt x="126" y="44"/>
                      </a:lnTo>
                      <a:lnTo>
                        <a:pt x="125" y="46"/>
                      </a:lnTo>
                      <a:lnTo>
                        <a:pt x="125" y="47"/>
                      </a:lnTo>
                      <a:lnTo>
                        <a:pt x="125" y="47"/>
                      </a:lnTo>
                      <a:lnTo>
                        <a:pt x="123" y="47"/>
                      </a:lnTo>
                      <a:lnTo>
                        <a:pt x="123" y="47"/>
                      </a:lnTo>
                      <a:lnTo>
                        <a:pt x="123" y="47"/>
                      </a:lnTo>
                      <a:lnTo>
                        <a:pt x="123" y="49"/>
                      </a:lnTo>
                      <a:lnTo>
                        <a:pt x="123" y="49"/>
                      </a:lnTo>
                      <a:lnTo>
                        <a:pt x="123" y="50"/>
                      </a:lnTo>
                      <a:lnTo>
                        <a:pt x="123" y="50"/>
                      </a:lnTo>
                      <a:lnTo>
                        <a:pt x="123" y="53"/>
                      </a:lnTo>
                      <a:lnTo>
                        <a:pt x="122" y="53"/>
                      </a:lnTo>
                      <a:lnTo>
                        <a:pt x="123" y="54"/>
                      </a:lnTo>
                      <a:lnTo>
                        <a:pt x="126" y="56"/>
                      </a:lnTo>
                      <a:lnTo>
                        <a:pt x="127" y="57"/>
                      </a:lnTo>
                      <a:lnTo>
                        <a:pt x="127" y="59"/>
                      </a:lnTo>
                      <a:lnTo>
                        <a:pt x="126" y="60"/>
                      </a:lnTo>
                      <a:lnTo>
                        <a:pt x="126" y="62"/>
                      </a:lnTo>
                      <a:lnTo>
                        <a:pt x="126" y="62"/>
                      </a:lnTo>
                      <a:lnTo>
                        <a:pt x="126" y="63"/>
                      </a:lnTo>
                      <a:lnTo>
                        <a:pt x="129" y="66"/>
                      </a:lnTo>
                      <a:lnTo>
                        <a:pt x="130" y="67"/>
                      </a:lnTo>
                      <a:lnTo>
                        <a:pt x="132" y="70"/>
                      </a:lnTo>
                      <a:lnTo>
                        <a:pt x="133" y="79"/>
                      </a:lnTo>
                      <a:lnTo>
                        <a:pt x="135" y="82"/>
                      </a:lnTo>
                      <a:lnTo>
                        <a:pt x="136" y="86"/>
                      </a:lnTo>
                      <a:lnTo>
                        <a:pt x="136" y="88"/>
                      </a:lnTo>
                      <a:lnTo>
                        <a:pt x="136" y="89"/>
                      </a:lnTo>
                      <a:lnTo>
                        <a:pt x="138" y="96"/>
                      </a:lnTo>
                      <a:lnTo>
                        <a:pt x="138" y="98"/>
                      </a:lnTo>
                      <a:lnTo>
                        <a:pt x="140" y="100"/>
                      </a:lnTo>
                      <a:lnTo>
                        <a:pt x="143" y="100"/>
                      </a:lnTo>
                      <a:lnTo>
                        <a:pt x="146" y="100"/>
                      </a:lnTo>
                      <a:lnTo>
                        <a:pt x="150" y="99"/>
                      </a:lnTo>
                      <a:lnTo>
                        <a:pt x="152" y="102"/>
                      </a:lnTo>
                      <a:lnTo>
                        <a:pt x="153" y="103"/>
                      </a:lnTo>
                      <a:lnTo>
                        <a:pt x="152" y="105"/>
                      </a:lnTo>
                      <a:lnTo>
                        <a:pt x="149" y="118"/>
                      </a:lnTo>
                      <a:lnTo>
                        <a:pt x="148" y="121"/>
                      </a:lnTo>
                      <a:lnTo>
                        <a:pt x="145" y="123"/>
                      </a:lnTo>
                      <a:lnTo>
                        <a:pt x="140" y="125"/>
                      </a:lnTo>
                      <a:lnTo>
                        <a:pt x="136" y="128"/>
                      </a:lnTo>
                      <a:lnTo>
                        <a:pt x="132" y="129"/>
                      </a:lnTo>
                      <a:lnTo>
                        <a:pt x="130" y="131"/>
                      </a:lnTo>
                      <a:lnTo>
                        <a:pt x="127" y="134"/>
                      </a:lnTo>
                      <a:lnTo>
                        <a:pt x="127" y="134"/>
                      </a:lnTo>
                      <a:lnTo>
                        <a:pt x="126" y="136"/>
                      </a:lnTo>
                      <a:lnTo>
                        <a:pt x="126" y="138"/>
                      </a:lnTo>
                      <a:lnTo>
                        <a:pt x="127" y="139"/>
                      </a:lnTo>
                      <a:lnTo>
                        <a:pt x="127" y="142"/>
                      </a:lnTo>
                      <a:lnTo>
                        <a:pt x="129" y="144"/>
                      </a:lnTo>
                      <a:lnTo>
                        <a:pt x="127" y="144"/>
                      </a:lnTo>
                      <a:lnTo>
                        <a:pt x="127" y="144"/>
                      </a:lnTo>
                      <a:lnTo>
                        <a:pt x="126" y="146"/>
                      </a:lnTo>
                      <a:lnTo>
                        <a:pt x="126" y="148"/>
                      </a:lnTo>
                      <a:lnTo>
                        <a:pt x="126" y="151"/>
                      </a:lnTo>
                      <a:lnTo>
                        <a:pt x="127" y="158"/>
                      </a:lnTo>
                      <a:lnTo>
                        <a:pt x="127" y="161"/>
                      </a:lnTo>
                      <a:lnTo>
                        <a:pt x="127" y="162"/>
                      </a:lnTo>
                      <a:lnTo>
                        <a:pt x="127" y="165"/>
                      </a:lnTo>
                      <a:lnTo>
                        <a:pt x="126" y="168"/>
                      </a:lnTo>
                      <a:lnTo>
                        <a:pt x="126" y="169"/>
                      </a:lnTo>
                      <a:lnTo>
                        <a:pt x="126" y="171"/>
                      </a:lnTo>
                      <a:lnTo>
                        <a:pt x="126" y="172"/>
                      </a:lnTo>
                      <a:lnTo>
                        <a:pt x="127" y="174"/>
                      </a:lnTo>
                      <a:lnTo>
                        <a:pt x="129" y="177"/>
                      </a:lnTo>
                      <a:lnTo>
                        <a:pt x="130" y="178"/>
                      </a:lnTo>
                      <a:lnTo>
                        <a:pt x="130" y="181"/>
                      </a:lnTo>
                      <a:lnTo>
                        <a:pt x="129" y="182"/>
                      </a:lnTo>
                      <a:lnTo>
                        <a:pt x="126" y="182"/>
                      </a:lnTo>
                      <a:lnTo>
                        <a:pt x="125" y="182"/>
                      </a:lnTo>
                      <a:lnTo>
                        <a:pt x="123" y="182"/>
                      </a:lnTo>
                      <a:lnTo>
                        <a:pt x="120" y="185"/>
                      </a:lnTo>
                      <a:lnTo>
                        <a:pt x="119" y="190"/>
                      </a:lnTo>
                      <a:lnTo>
                        <a:pt x="117" y="194"/>
                      </a:lnTo>
                      <a:lnTo>
                        <a:pt x="115" y="198"/>
                      </a:lnTo>
                      <a:lnTo>
                        <a:pt x="113" y="203"/>
                      </a:lnTo>
                      <a:lnTo>
                        <a:pt x="110" y="205"/>
                      </a:lnTo>
                      <a:lnTo>
                        <a:pt x="107" y="208"/>
                      </a:lnTo>
                      <a:lnTo>
                        <a:pt x="106" y="213"/>
                      </a:lnTo>
                      <a:lnTo>
                        <a:pt x="104" y="220"/>
                      </a:lnTo>
                      <a:lnTo>
                        <a:pt x="103" y="223"/>
                      </a:lnTo>
                      <a:lnTo>
                        <a:pt x="102" y="223"/>
                      </a:lnTo>
                      <a:lnTo>
                        <a:pt x="102" y="224"/>
                      </a:lnTo>
                      <a:lnTo>
                        <a:pt x="100" y="226"/>
                      </a:lnTo>
                      <a:lnTo>
                        <a:pt x="100" y="227"/>
                      </a:lnTo>
                      <a:lnTo>
                        <a:pt x="100" y="228"/>
                      </a:lnTo>
                      <a:lnTo>
                        <a:pt x="102" y="234"/>
                      </a:lnTo>
                      <a:lnTo>
                        <a:pt x="102" y="236"/>
                      </a:lnTo>
                      <a:lnTo>
                        <a:pt x="102" y="238"/>
                      </a:lnTo>
                      <a:lnTo>
                        <a:pt x="102" y="238"/>
                      </a:lnTo>
                      <a:lnTo>
                        <a:pt x="102" y="240"/>
                      </a:lnTo>
                      <a:lnTo>
                        <a:pt x="103" y="241"/>
                      </a:lnTo>
                      <a:lnTo>
                        <a:pt x="103" y="241"/>
                      </a:lnTo>
                      <a:lnTo>
                        <a:pt x="103" y="243"/>
                      </a:lnTo>
                      <a:lnTo>
                        <a:pt x="102" y="246"/>
                      </a:lnTo>
                      <a:lnTo>
                        <a:pt x="100" y="246"/>
                      </a:lnTo>
                      <a:lnTo>
                        <a:pt x="97" y="246"/>
                      </a:lnTo>
                      <a:lnTo>
                        <a:pt x="97" y="249"/>
                      </a:lnTo>
                      <a:lnTo>
                        <a:pt x="96" y="253"/>
                      </a:lnTo>
                      <a:lnTo>
                        <a:pt x="94" y="254"/>
                      </a:lnTo>
                      <a:lnTo>
                        <a:pt x="94" y="257"/>
                      </a:lnTo>
                      <a:lnTo>
                        <a:pt x="94" y="259"/>
                      </a:lnTo>
                      <a:lnTo>
                        <a:pt x="94" y="260"/>
                      </a:lnTo>
                      <a:lnTo>
                        <a:pt x="93" y="260"/>
                      </a:lnTo>
                      <a:lnTo>
                        <a:pt x="93" y="260"/>
                      </a:lnTo>
                      <a:lnTo>
                        <a:pt x="92" y="260"/>
                      </a:lnTo>
                      <a:lnTo>
                        <a:pt x="92" y="260"/>
                      </a:lnTo>
                      <a:lnTo>
                        <a:pt x="92" y="261"/>
                      </a:lnTo>
                      <a:lnTo>
                        <a:pt x="90" y="263"/>
                      </a:lnTo>
                      <a:lnTo>
                        <a:pt x="90" y="266"/>
                      </a:lnTo>
                      <a:lnTo>
                        <a:pt x="92" y="269"/>
                      </a:lnTo>
                      <a:lnTo>
                        <a:pt x="92" y="272"/>
                      </a:lnTo>
                      <a:lnTo>
                        <a:pt x="94" y="274"/>
                      </a:lnTo>
                      <a:lnTo>
                        <a:pt x="94" y="276"/>
                      </a:lnTo>
                      <a:lnTo>
                        <a:pt x="94" y="276"/>
                      </a:lnTo>
                      <a:lnTo>
                        <a:pt x="96" y="276"/>
                      </a:lnTo>
                      <a:lnTo>
                        <a:pt x="96" y="277"/>
                      </a:lnTo>
                      <a:lnTo>
                        <a:pt x="96" y="277"/>
                      </a:lnTo>
                      <a:lnTo>
                        <a:pt x="94" y="277"/>
                      </a:lnTo>
                      <a:lnTo>
                        <a:pt x="94" y="279"/>
                      </a:lnTo>
                      <a:lnTo>
                        <a:pt x="94" y="279"/>
                      </a:lnTo>
                      <a:lnTo>
                        <a:pt x="94" y="282"/>
                      </a:lnTo>
                      <a:lnTo>
                        <a:pt x="99" y="292"/>
                      </a:lnTo>
                      <a:lnTo>
                        <a:pt x="99" y="293"/>
                      </a:lnTo>
                      <a:lnTo>
                        <a:pt x="99" y="293"/>
                      </a:lnTo>
                      <a:lnTo>
                        <a:pt x="99" y="296"/>
                      </a:lnTo>
                      <a:lnTo>
                        <a:pt x="99" y="297"/>
                      </a:lnTo>
                      <a:lnTo>
                        <a:pt x="99" y="297"/>
                      </a:lnTo>
                      <a:lnTo>
                        <a:pt x="99" y="299"/>
                      </a:lnTo>
                      <a:lnTo>
                        <a:pt x="99" y="300"/>
                      </a:lnTo>
                      <a:lnTo>
                        <a:pt x="100" y="300"/>
                      </a:lnTo>
                      <a:lnTo>
                        <a:pt x="102" y="302"/>
                      </a:lnTo>
                      <a:lnTo>
                        <a:pt x="102" y="300"/>
                      </a:lnTo>
                      <a:lnTo>
                        <a:pt x="103" y="302"/>
                      </a:lnTo>
                      <a:lnTo>
                        <a:pt x="104" y="303"/>
                      </a:lnTo>
                      <a:lnTo>
                        <a:pt x="103" y="306"/>
                      </a:lnTo>
                      <a:lnTo>
                        <a:pt x="103" y="307"/>
                      </a:lnTo>
                      <a:lnTo>
                        <a:pt x="103" y="310"/>
                      </a:lnTo>
                      <a:lnTo>
                        <a:pt x="103" y="318"/>
                      </a:lnTo>
                      <a:lnTo>
                        <a:pt x="103" y="320"/>
                      </a:lnTo>
                      <a:lnTo>
                        <a:pt x="103" y="320"/>
                      </a:lnTo>
                      <a:lnTo>
                        <a:pt x="102" y="320"/>
                      </a:lnTo>
                      <a:lnTo>
                        <a:pt x="102" y="322"/>
                      </a:lnTo>
                      <a:lnTo>
                        <a:pt x="100" y="322"/>
                      </a:lnTo>
                      <a:lnTo>
                        <a:pt x="97" y="326"/>
                      </a:lnTo>
                      <a:lnTo>
                        <a:pt x="97" y="329"/>
                      </a:lnTo>
                      <a:lnTo>
                        <a:pt x="94" y="333"/>
                      </a:lnTo>
                      <a:lnTo>
                        <a:pt x="94" y="338"/>
                      </a:lnTo>
                      <a:lnTo>
                        <a:pt x="94" y="339"/>
                      </a:lnTo>
                      <a:lnTo>
                        <a:pt x="93" y="339"/>
                      </a:lnTo>
                      <a:lnTo>
                        <a:pt x="92" y="341"/>
                      </a:lnTo>
                      <a:lnTo>
                        <a:pt x="92" y="341"/>
                      </a:lnTo>
                      <a:lnTo>
                        <a:pt x="92" y="342"/>
                      </a:lnTo>
                      <a:lnTo>
                        <a:pt x="93" y="345"/>
                      </a:lnTo>
                      <a:lnTo>
                        <a:pt x="93" y="348"/>
                      </a:lnTo>
                      <a:lnTo>
                        <a:pt x="94" y="352"/>
                      </a:lnTo>
                      <a:lnTo>
                        <a:pt x="94" y="355"/>
                      </a:lnTo>
                      <a:lnTo>
                        <a:pt x="93" y="356"/>
                      </a:lnTo>
                      <a:lnTo>
                        <a:pt x="93" y="358"/>
                      </a:lnTo>
                      <a:lnTo>
                        <a:pt x="92" y="358"/>
                      </a:lnTo>
                      <a:lnTo>
                        <a:pt x="92" y="359"/>
                      </a:lnTo>
                      <a:lnTo>
                        <a:pt x="90" y="359"/>
                      </a:lnTo>
                      <a:lnTo>
                        <a:pt x="90" y="361"/>
                      </a:lnTo>
                      <a:lnTo>
                        <a:pt x="89" y="362"/>
                      </a:lnTo>
                      <a:lnTo>
                        <a:pt x="87" y="364"/>
                      </a:lnTo>
                      <a:lnTo>
                        <a:pt x="86" y="364"/>
                      </a:lnTo>
                      <a:lnTo>
                        <a:pt x="83" y="365"/>
                      </a:lnTo>
                      <a:lnTo>
                        <a:pt x="82" y="366"/>
                      </a:lnTo>
                      <a:lnTo>
                        <a:pt x="82" y="368"/>
                      </a:lnTo>
                      <a:lnTo>
                        <a:pt x="80" y="371"/>
                      </a:lnTo>
                      <a:lnTo>
                        <a:pt x="80" y="389"/>
                      </a:lnTo>
                      <a:lnTo>
                        <a:pt x="83" y="402"/>
                      </a:lnTo>
                      <a:lnTo>
                        <a:pt x="83" y="405"/>
                      </a:lnTo>
                      <a:lnTo>
                        <a:pt x="84" y="405"/>
                      </a:lnTo>
                      <a:lnTo>
                        <a:pt x="84" y="407"/>
                      </a:lnTo>
                      <a:lnTo>
                        <a:pt x="86" y="408"/>
                      </a:lnTo>
                      <a:lnTo>
                        <a:pt x="86" y="408"/>
                      </a:lnTo>
                      <a:lnTo>
                        <a:pt x="86" y="410"/>
                      </a:lnTo>
                      <a:lnTo>
                        <a:pt x="84" y="411"/>
                      </a:lnTo>
                      <a:lnTo>
                        <a:pt x="79" y="414"/>
                      </a:lnTo>
                      <a:lnTo>
                        <a:pt x="77" y="415"/>
                      </a:lnTo>
                      <a:lnTo>
                        <a:pt x="76" y="417"/>
                      </a:lnTo>
                      <a:lnTo>
                        <a:pt x="76" y="420"/>
                      </a:lnTo>
                      <a:lnTo>
                        <a:pt x="76" y="425"/>
                      </a:lnTo>
                      <a:lnTo>
                        <a:pt x="74" y="428"/>
                      </a:lnTo>
                      <a:lnTo>
                        <a:pt x="74" y="430"/>
                      </a:lnTo>
                      <a:lnTo>
                        <a:pt x="74" y="430"/>
                      </a:lnTo>
                      <a:lnTo>
                        <a:pt x="73" y="430"/>
                      </a:lnTo>
                      <a:lnTo>
                        <a:pt x="73" y="430"/>
                      </a:lnTo>
                      <a:lnTo>
                        <a:pt x="71" y="430"/>
                      </a:lnTo>
                      <a:lnTo>
                        <a:pt x="71" y="430"/>
                      </a:lnTo>
                      <a:lnTo>
                        <a:pt x="71" y="431"/>
                      </a:lnTo>
                      <a:lnTo>
                        <a:pt x="71" y="435"/>
                      </a:lnTo>
                      <a:lnTo>
                        <a:pt x="71" y="437"/>
                      </a:lnTo>
                      <a:lnTo>
                        <a:pt x="71" y="440"/>
                      </a:lnTo>
                      <a:lnTo>
                        <a:pt x="70" y="441"/>
                      </a:lnTo>
                      <a:lnTo>
                        <a:pt x="69" y="441"/>
                      </a:lnTo>
                      <a:lnTo>
                        <a:pt x="69" y="444"/>
                      </a:lnTo>
                      <a:lnTo>
                        <a:pt x="69" y="444"/>
                      </a:lnTo>
                      <a:lnTo>
                        <a:pt x="70" y="445"/>
                      </a:lnTo>
                      <a:lnTo>
                        <a:pt x="70" y="445"/>
                      </a:lnTo>
                      <a:lnTo>
                        <a:pt x="70" y="447"/>
                      </a:lnTo>
                      <a:lnTo>
                        <a:pt x="70" y="447"/>
                      </a:lnTo>
                      <a:lnTo>
                        <a:pt x="69" y="450"/>
                      </a:lnTo>
                      <a:lnTo>
                        <a:pt x="67" y="453"/>
                      </a:lnTo>
                      <a:lnTo>
                        <a:pt x="67" y="455"/>
                      </a:lnTo>
                      <a:lnTo>
                        <a:pt x="67" y="460"/>
                      </a:lnTo>
                      <a:lnTo>
                        <a:pt x="67" y="473"/>
                      </a:lnTo>
                      <a:lnTo>
                        <a:pt x="69" y="474"/>
                      </a:lnTo>
                      <a:lnTo>
                        <a:pt x="70" y="480"/>
                      </a:lnTo>
                      <a:lnTo>
                        <a:pt x="70" y="481"/>
                      </a:lnTo>
                      <a:lnTo>
                        <a:pt x="69" y="484"/>
                      </a:lnTo>
                      <a:lnTo>
                        <a:pt x="67" y="484"/>
                      </a:lnTo>
                      <a:lnTo>
                        <a:pt x="66" y="486"/>
                      </a:lnTo>
                      <a:lnTo>
                        <a:pt x="64" y="486"/>
                      </a:lnTo>
                      <a:lnTo>
                        <a:pt x="64" y="487"/>
                      </a:lnTo>
                      <a:lnTo>
                        <a:pt x="64" y="487"/>
                      </a:lnTo>
                      <a:lnTo>
                        <a:pt x="64" y="489"/>
                      </a:lnTo>
                      <a:lnTo>
                        <a:pt x="64" y="490"/>
                      </a:lnTo>
                      <a:lnTo>
                        <a:pt x="64" y="491"/>
                      </a:lnTo>
                      <a:lnTo>
                        <a:pt x="64" y="493"/>
                      </a:lnTo>
                      <a:lnTo>
                        <a:pt x="64" y="493"/>
                      </a:lnTo>
                      <a:lnTo>
                        <a:pt x="63" y="494"/>
                      </a:lnTo>
                      <a:lnTo>
                        <a:pt x="63" y="494"/>
                      </a:lnTo>
                      <a:lnTo>
                        <a:pt x="63" y="500"/>
                      </a:lnTo>
                      <a:lnTo>
                        <a:pt x="63" y="504"/>
                      </a:lnTo>
                      <a:lnTo>
                        <a:pt x="64" y="506"/>
                      </a:lnTo>
                      <a:lnTo>
                        <a:pt x="66" y="507"/>
                      </a:lnTo>
                      <a:lnTo>
                        <a:pt x="69" y="507"/>
                      </a:lnTo>
                      <a:lnTo>
                        <a:pt x="70" y="509"/>
                      </a:lnTo>
                      <a:lnTo>
                        <a:pt x="70" y="510"/>
                      </a:lnTo>
                      <a:lnTo>
                        <a:pt x="69" y="510"/>
                      </a:lnTo>
                      <a:lnTo>
                        <a:pt x="69" y="512"/>
                      </a:lnTo>
                      <a:lnTo>
                        <a:pt x="67" y="512"/>
                      </a:lnTo>
                      <a:lnTo>
                        <a:pt x="67" y="513"/>
                      </a:lnTo>
                      <a:lnTo>
                        <a:pt x="67" y="514"/>
                      </a:lnTo>
                      <a:lnTo>
                        <a:pt x="69" y="514"/>
                      </a:lnTo>
                      <a:lnTo>
                        <a:pt x="70" y="517"/>
                      </a:lnTo>
                      <a:lnTo>
                        <a:pt x="70" y="517"/>
                      </a:lnTo>
                      <a:lnTo>
                        <a:pt x="70" y="519"/>
                      </a:lnTo>
                      <a:lnTo>
                        <a:pt x="70" y="519"/>
                      </a:lnTo>
                      <a:lnTo>
                        <a:pt x="70" y="520"/>
                      </a:lnTo>
                      <a:lnTo>
                        <a:pt x="69" y="520"/>
                      </a:lnTo>
                      <a:lnTo>
                        <a:pt x="69" y="520"/>
                      </a:lnTo>
                      <a:lnTo>
                        <a:pt x="70" y="523"/>
                      </a:lnTo>
                      <a:lnTo>
                        <a:pt x="70" y="523"/>
                      </a:lnTo>
                      <a:lnTo>
                        <a:pt x="70" y="524"/>
                      </a:lnTo>
                      <a:lnTo>
                        <a:pt x="70" y="526"/>
                      </a:lnTo>
                      <a:lnTo>
                        <a:pt x="70" y="527"/>
                      </a:lnTo>
                      <a:lnTo>
                        <a:pt x="69" y="529"/>
                      </a:lnTo>
                      <a:lnTo>
                        <a:pt x="69" y="530"/>
                      </a:lnTo>
                      <a:lnTo>
                        <a:pt x="69" y="535"/>
                      </a:lnTo>
                      <a:lnTo>
                        <a:pt x="70" y="535"/>
                      </a:lnTo>
                      <a:lnTo>
                        <a:pt x="73" y="536"/>
                      </a:lnTo>
                      <a:lnTo>
                        <a:pt x="77" y="536"/>
                      </a:lnTo>
                      <a:lnTo>
                        <a:pt x="80" y="537"/>
                      </a:lnTo>
                      <a:lnTo>
                        <a:pt x="80" y="540"/>
                      </a:lnTo>
                      <a:lnTo>
                        <a:pt x="79" y="543"/>
                      </a:lnTo>
                      <a:lnTo>
                        <a:pt x="77" y="545"/>
                      </a:lnTo>
                      <a:lnTo>
                        <a:pt x="76" y="545"/>
                      </a:lnTo>
                      <a:lnTo>
                        <a:pt x="73" y="545"/>
                      </a:lnTo>
                      <a:lnTo>
                        <a:pt x="71" y="545"/>
                      </a:lnTo>
                      <a:lnTo>
                        <a:pt x="67" y="545"/>
                      </a:lnTo>
                      <a:lnTo>
                        <a:pt x="66" y="545"/>
                      </a:lnTo>
                      <a:lnTo>
                        <a:pt x="64" y="545"/>
                      </a:lnTo>
                      <a:lnTo>
                        <a:pt x="64" y="546"/>
                      </a:lnTo>
                      <a:lnTo>
                        <a:pt x="66" y="547"/>
                      </a:lnTo>
                      <a:lnTo>
                        <a:pt x="69" y="547"/>
                      </a:lnTo>
                      <a:lnTo>
                        <a:pt x="70" y="549"/>
                      </a:lnTo>
                      <a:lnTo>
                        <a:pt x="71" y="549"/>
                      </a:lnTo>
                      <a:lnTo>
                        <a:pt x="73" y="550"/>
                      </a:lnTo>
                      <a:lnTo>
                        <a:pt x="74" y="553"/>
                      </a:lnTo>
                      <a:lnTo>
                        <a:pt x="76" y="555"/>
                      </a:lnTo>
                      <a:lnTo>
                        <a:pt x="77" y="556"/>
                      </a:lnTo>
                      <a:lnTo>
                        <a:pt x="77" y="558"/>
                      </a:lnTo>
                      <a:lnTo>
                        <a:pt x="77" y="558"/>
                      </a:lnTo>
                      <a:lnTo>
                        <a:pt x="74" y="559"/>
                      </a:lnTo>
                      <a:lnTo>
                        <a:pt x="74" y="560"/>
                      </a:lnTo>
                      <a:lnTo>
                        <a:pt x="74" y="560"/>
                      </a:lnTo>
                      <a:lnTo>
                        <a:pt x="74" y="560"/>
                      </a:lnTo>
                      <a:lnTo>
                        <a:pt x="74" y="560"/>
                      </a:lnTo>
                      <a:lnTo>
                        <a:pt x="71" y="562"/>
                      </a:lnTo>
                      <a:lnTo>
                        <a:pt x="71" y="562"/>
                      </a:lnTo>
                      <a:lnTo>
                        <a:pt x="70" y="563"/>
                      </a:lnTo>
                      <a:lnTo>
                        <a:pt x="70" y="563"/>
                      </a:lnTo>
                      <a:lnTo>
                        <a:pt x="70" y="565"/>
                      </a:lnTo>
                      <a:lnTo>
                        <a:pt x="70" y="566"/>
                      </a:lnTo>
                      <a:lnTo>
                        <a:pt x="70" y="569"/>
                      </a:lnTo>
                      <a:lnTo>
                        <a:pt x="71" y="570"/>
                      </a:lnTo>
                      <a:lnTo>
                        <a:pt x="71" y="572"/>
                      </a:lnTo>
                      <a:lnTo>
                        <a:pt x="71" y="573"/>
                      </a:lnTo>
                      <a:lnTo>
                        <a:pt x="70" y="575"/>
                      </a:lnTo>
                      <a:lnTo>
                        <a:pt x="70" y="575"/>
                      </a:lnTo>
                      <a:lnTo>
                        <a:pt x="69" y="576"/>
                      </a:lnTo>
                      <a:lnTo>
                        <a:pt x="69" y="578"/>
                      </a:lnTo>
                      <a:lnTo>
                        <a:pt x="69" y="579"/>
                      </a:lnTo>
                      <a:lnTo>
                        <a:pt x="70" y="582"/>
                      </a:lnTo>
                      <a:lnTo>
                        <a:pt x="70" y="583"/>
                      </a:lnTo>
                      <a:lnTo>
                        <a:pt x="70" y="586"/>
                      </a:lnTo>
                      <a:lnTo>
                        <a:pt x="69" y="589"/>
                      </a:lnTo>
                      <a:lnTo>
                        <a:pt x="67" y="592"/>
                      </a:lnTo>
                      <a:lnTo>
                        <a:pt x="66" y="595"/>
                      </a:lnTo>
                      <a:lnTo>
                        <a:pt x="66" y="596"/>
                      </a:lnTo>
                      <a:lnTo>
                        <a:pt x="67" y="599"/>
                      </a:lnTo>
                      <a:lnTo>
                        <a:pt x="67" y="601"/>
                      </a:lnTo>
                      <a:lnTo>
                        <a:pt x="67" y="601"/>
                      </a:lnTo>
                      <a:lnTo>
                        <a:pt x="61" y="606"/>
                      </a:lnTo>
                      <a:lnTo>
                        <a:pt x="59" y="609"/>
                      </a:lnTo>
                      <a:lnTo>
                        <a:pt x="57" y="614"/>
                      </a:lnTo>
                      <a:lnTo>
                        <a:pt x="57" y="616"/>
                      </a:lnTo>
                      <a:lnTo>
                        <a:pt x="57" y="619"/>
                      </a:lnTo>
                      <a:lnTo>
                        <a:pt x="59" y="622"/>
                      </a:lnTo>
                      <a:lnTo>
                        <a:pt x="60" y="625"/>
                      </a:lnTo>
                      <a:lnTo>
                        <a:pt x="59" y="628"/>
                      </a:lnTo>
                      <a:lnTo>
                        <a:pt x="59" y="629"/>
                      </a:lnTo>
                      <a:lnTo>
                        <a:pt x="57" y="631"/>
                      </a:lnTo>
                      <a:lnTo>
                        <a:pt x="56" y="632"/>
                      </a:lnTo>
                      <a:lnTo>
                        <a:pt x="54" y="634"/>
                      </a:lnTo>
                      <a:lnTo>
                        <a:pt x="54" y="635"/>
                      </a:lnTo>
                      <a:lnTo>
                        <a:pt x="54" y="637"/>
                      </a:lnTo>
                      <a:lnTo>
                        <a:pt x="54" y="638"/>
                      </a:lnTo>
                      <a:lnTo>
                        <a:pt x="54" y="641"/>
                      </a:lnTo>
                      <a:lnTo>
                        <a:pt x="51" y="642"/>
                      </a:lnTo>
                      <a:lnTo>
                        <a:pt x="48" y="645"/>
                      </a:lnTo>
                      <a:lnTo>
                        <a:pt x="46" y="648"/>
                      </a:lnTo>
                      <a:lnTo>
                        <a:pt x="46" y="652"/>
                      </a:lnTo>
                      <a:lnTo>
                        <a:pt x="43" y="652"/>
                      </a:lnTo>
                      <a:lnTo>
                        <a:pt x="41" y="652"/>
                      </a:lnTo>
                      <a:lnTo>
                        <a:pt x="40" y="652"/>
                      </a:lnTo>
                      <a:lnTo>
                        <a:pt x="38" y="655"/>
                      </a:lnTo>
                      <a:lnTo>
                        <a:pt x="38" y="657"/>
                      </a:lnTo>
                      <a:lnTo>
                        <a:pt x="38" y="660"/>
                      </a:lnTo>
                      <a:lnTo>
                        <a:pt x="38" y="661"/>
                      </a:lnTo>
                      <a:lnTo>
                        <a:pt x="40" y="664"/>
                      </a:lnTo>
                      <a:lnTo>
                        <a:pt x="40" y="665"/>
                      </a:lnTo>
                      <a:lnTo>
                        <a:pt x="38" y="670"/>
                      </a:lnTo>
                      <a:lnTo>
                        <a:pt x="38" y="671"/>
                      </a:lnTo>
                      <a:lnTo>
                        <a:pt x="40" y="673"/>
                      </a:lnTo>
                      <a:lnTo>
                        <a:pt x="41" y="678"/>
                      </a:lnTo>
                      <a:lnTo>
                        <a:pt x="44" y="688"/>
                      </a:lnTo>
                      <a:lnTo>
                        <a:pt x="46" y="688"/>
                      </a:lnTo>
                      <a:lnTo>
                        <a:pt x="46" y="690"/>
                      </a:lnTo>
                      <a:lnTo>
                        <a:pt x="48" y="688"/>
                      </a:lnTo>
                      <a:lnTo>
                        <a:pt x="54" y="687"/>
                      </a:lnTo>
                      <a:lnTo>
                        <a:pt x="57" y="687"/>
                      </a:lnTo>
                      <a:lnTo>
                        <a:pt x="60" y="688"/>
                      </a:lnTo>
                      <a:lnTo>
                        <a:pt x="60" y="690"/>
                      </a:lnTo>
                      <a:lnTo>
                        <a:pt x="60" y="693"/>
                      </a:lnTo>
                      <a:lnTo>
                        <a:pt x="60" y="694"/>
                      </a:lnTo>
                      <a:lnTo>
                        <a:pt x="60" y="697"/>
                      </a:lnTo>
                      <a:lnTo>
                        <a:pt x="60" y="697"/>
                      </a:lnTo>
                      <a:lnTo>
                        <a:pt x="59" y="698"/>
                      </a:lnTo>
                      <a:lnTo>
                        <a:pt x="59" y="698"/>
                      </a:lnTo>
                      <a:lnTo>
                        <a:pt x="59" y="700"/>
                      </a:lnTo>
                      <a:lnTo>
                        <a:pt x="60" y="701"/>
                      </a:lnTo>
                      <a:lnTo>
                        <a:pt x="60" y="701"/>
                      </a:lnTo>
                      <a:lnTo>
                        <a:pt x="60" y="703"/>
                      </a:lnTo>
                      <a:lnTo>
                        <a:pt x="60" y="704"/>
                      </a:lnTo>
                      <a:lnTo>
                        <a:pt x="59" y="708"/>
                      </a:lnTo>
                      <a:lnTo>
                        <a:pt x="59" y="710"/>
                      </a:lnTo>
                      <a:lnTo>
                        <a:pt x="59" y="711"/>
                      </a:lnTo>
                      <a:lnTo>
                        <a:pt x="60" y="713"/>
                      </a:lnTo>
                      <a:lnTo>
                        <a:pt x="63" y="716"/>
                      </a:lnTo>
                      <a:lnTo>
                        <a:pt x="64" y="717"/>
                      </a:lnTo>
                      <a:lnTo>
                        <a:pt x="66" y="721"/>
                      </a:lnTo>
                      <a:lnTo>
                        <a:pt x="67" y="721"/>
                      </a:lnTo>
                      <a:lnTo>
                        <a:pt x="69" y="723"/>
                      </a:lnTo>
                      <a:lnTo>
                        <a:pt x="100" y="723"/>
                      </a:lnTo>
                      <a:lnTo>
                        <a:pt x="102" y="723"/>
                      </a:lnTo>
                      <a:lnTo>
                        <a:pt x="109" y="726"/>
                      </a:lnTo>
                      <a:lnTo>
                        <a:pt x="120" y="727"/>
                      </a:lnTo>
                      <a:lnTo>
                        <a:pt x="126" y="729"/>
                      </a:lnTo>
                      <a:close/>
                      <a:moveTo>
                        <a:pt x="13" y="546"/>
                      </a:moveTo>
                      <a:lnTo>
                        <a:pt x="11" y="545"/>
                      </a:lnTo>
                      <a:lnTo>
                        <a:pt x="11" y="546"/>
                      </a:lnTo>
                      <a:lnTo>
                        <a:pt x="11" y="546"/>
                      </a:lnTo>
                      <a:lnTo>
                        <a:pt x="13" y="546"/>
                      </a:lnTo>
                      <a:close/>
                      <a:moveTo>
                        <a:pt x="34" y="540"/>
                      </a:moveTo>
                      <a:lnTo>
                        <a:pt x="34" y="542"/>
                      </a:lnTo>
                      <a:lnTo>
                        <a:pt x="36" y="546"/>
                      </a:lnTo>
                      <a:lnTo>
                        <a:pt x="37" y="545"/>
                      </a:lnTo>
                      <a:lnTo>
                        <a:pt x="37" y="542"/>
                      </a:lnTo>
                      <a:lnTo>
                        <a:pt x="37" y="540"/>
                      </a:lnTo>
                      <a:lnTo>
                        <a:pt x="36" y="539"/>
                      </a:lnTo>
                      <a:lnTo>
                        <a:pt x="34" y="540"/>
                      </a:lnTo>
                      <a:close/>
                      <a:moveTo>
                        <a:pt x="21" y="537"/>
                      </a:moveTo>
                      <a:lnTo>
                        <a:pt x="21" y="539"/>
                      </a:lnTo>
                      <a:lnTo>
                        <a:pt x="21" y="540"/>
                      </a:lnTo>
                      <a:lnTo>
                        <a:pt x="20" y="542"/>
                      </a:lnTo>
                      <a:lnTo>
                        <a:pt x="21" y="543"/>
                      </a:lnTo>
                      <a:lnTo>
                        <a:pt x="26" y="550"/>
                      </a:lnTo>
                      <a:lnTo>
                        <a:pt x="27" y="552"/>
                      </a:lnTo>
                      <a:lnTo>
                        <a:pt x="28" y="553"/>
                      </a:lnTo>
                      <a:lnTo>
                        <a:pt x="28" y="555"/>
                      </a:lnTo>
                      <a:lnTo>
                        <a:pt x="30" y="556"/>
                      </a:lnTo>
                      <a:lnTo>
                        <a:pt x="28" y="556"/>
                      </a:lnTo>
                      <a:lnTo>
                        <a:pt x="30" y="558"/>
                      </a:lnTo>
                      <a:lnTo>
                        <a:pt x="31" y="558"/>
                      </a:lnTo>
                      <a:lnTo>
                        <a:pt x="34" y="556"/>
                      </a:lnTo>
                      <a:lnTo>
                        <a:pt x="34" y="553"/>
                      </a:lnTo>
                      <a:lnTo>
                        <a:pt x="34" y="549"/>
                      </a:lnTo>
                      <a:lnTo>
                        <a:pt x="33" y="546"/>
                      </a:lnTo>
                      <a:lnTo>
                        <a:pt x="33" y="545"/>
                      </a:lnTo>
                      <a:lnTo>
                        <a:pt x="31" y="542"/>
                      </a:lnTo>
                      <a:lnTo>
                        <a:pt x="30" y="540"/>
                      </a:lnTo>
                      <a:lnTo>
                        <a:pt x="31" y="537"/>
                      </a:lnTo>
                      <a:lnTo>
                        <a:pt x="33" y="536"/>
                      </a:lnTo>
                      <a:lnTo>
                        <a:pt x="34" y="536"/>
                      </a:lnTo>
                      <a:lnTo>
                        <a:pt x="36" y="535"/>
                      </a:lnTo>
                      <a:lnTo>
                        <a:pt x="36" y="533"/>
                      </a:lnTo>
                      <a:lnTo>
                        <a:pt x="34" y="532"/>
                      </a:lnTo>
                      <a:lnTo>
                        <a:pt x="33" y="532"/>
                      </a:lnTo>
                      <a:lnTo>
                        <a:pt x="33" y="530"/>
                      </a:lnTo>
                      <a:lnTo>
                        <a:pt x="33" y="530"/>
                      </a:lnTo>
                      <a:lnTo>
                        <a:pt x="30" y="530"/>
                      </a:lnTo>
                      <a:lnTo>
                        <a:pt x="30" y="530"/>
                      </a:lnTo>
                      <a:lnTo>
                        <a:pt x="28" y="533"/>
                      </a:lnTo>
                      <a:lnTo>
                        <a:pt x="28" y="533"/>
                      </a:lnTo>
                      <a:lnTo>
                        <a:pt x="28" y="535"/>
                      </a:lnTo>
                      <a:lnTo>
                        <a:pt x="28" y="535"/>
                      </a:lnTo>
                      <a:lnTo>
                        <a:pt x="27" y="536"/>
                      </a:lnTo>
                      <a:lnTo>
                        <a:pt x="27" y="536"/>
                      </a:lnTo>
                      <a:lnTo>
                        <a:pt x="26" y="536"/>
                      </a:lnTo>
                      <a:lnTo>
                        <a:pt x="24" y="536"/>
                      </a:lnTo>
                      <a:lnTo>
                        <a:pt x="23" y="536"/>
                      </a:lnTo>
                      <a:lnTo>
                        <a:pt x="21" y="537"/>
                      </a:lnTo>
                      <a:close/>
                      <a:moveTo>
                        <a:pt x="24" y="507"/>
                      </a:moveTo>
                      <a:lnTo>
                        <a:pt x="24" y="510"/>
                      </a:lnTo>
                      <a:lnTo>
                        <a:pt x="26" y="512"/>
                      </a:lnTo>
                      <a:lnTo>
                        <a:pt x="28" y="512"/>
                      </a:lnTo>
                      <a:lnTo>
                        <a:pt x="31" y="513"/>
                      </a:lnTo>
                      <a:lnTo>
                        <a:pt x="33" y="512"/>
                      </a:lnTo>
                      <a:lnTo>
                        <a:pt x="34" y="512"/>
                      </a:lnTo>
                      <a:lnTo>
                        <a:pt x="34" y="510"/>
                      </a:lnTo>
                      <a:lnTo>
                        <a:pt x="34" y="510"/>
                      </a:lnTo>
                      <a:lnTo>
                        <a:pt x="34" y="509"/>
                      </a:lnTo>
                      <a:lnTo>
                        <a:pt x="36" y="507"/>
                      </a:lnTo>
                      <a:lnTo>
                        <a:pt x="38" y="506"/>
                      </a:lnTo>
                      <a:lnTo>
                        <a:pt x="38" y="504"/>
                      </a:lnTo>
                      <a:lnTo>
                        <a:pt x="40" y="501"/>
                      </a:lnTo>
                      <a:lnTo>
                        <a:pt x="38" y="500"/>
                      </a:lnTo>
                      <a:lnTo>
                        <a:pt x="37" y="499"/>
                      </a:lnTo>
                      <a:lnTo>
                        <a:pt x="34" y="496"/>
                      </a:lnTo>
                      <a:lnTo>
                        <a:pt x="36" y="494"/>
                      </a:lnTo>
                      <a:lnTo>
                        <a:pt x="36" y="493"/>
                      </a:lnTo>
                      <a:lnTo>
                        <a:pt x="37" y="493"/>
                      </a:lnTo>
                      <a:lnTo>
                        <a:pt x="40" y="491"/>
                      </a:lnTo>
                      <a:lnTo>
                        <a:pt x="38" y="490"/>
                      </a:lnTo>
                      <a:lnTo>
                        <a:pt x="38" y="489"/>
                      </a:lnTo>
                      <a:lnTo>
                        <a:pt x="40" y="487"/>
                      </a:lnTo>
                      <a:lnTo>
                        <a:pt x="40" y="486"/>
                      </a:lnTo>
                      <a:lnTo>
                        <a:pt x="40" y="483"/>
                      </a:lnTo>
                      <a:lnTo>
                        <a:pt x="38" y="481"/>
                      </a:lnTo>
                      <a:lnTo>
                        <a:pt x="37" y="480"/>
                      </a:lnTo>
                      <a:lnTo>
                        <a:pt x="36" y="478"/>
                      </a:lnTo>
                      <a:lnTo>
                        <a:pt x="33" y="478"/>
                      </a:lnTo>
                      <a:lnTo>
                        <a:pt x="30" y="477"/>
                      </a:lnTo>
                      <a:lnTo>
                        <a:pt x="30" y="477"/>
                      </a:lnTo>
                      <a:lnTo>
                        <a:pt x="30" y="478"/>
                      </a:lnTo>
                      <a:lnTo>
                        <a:pt x="30" y="480"/>
                      </a:lnTo>
                      <a:lnTo>
                        <a:pt x="30" y="480"/>
                      </a:lnTo>
                      <a:lnTo>
                        <a:pt x="27" y="489"/>
                      </a:lnTo>
                      <a:lnTo>
                        <a:pt x="27" y="491"/>
                      </a:lnTo>
                      <a:lnTo>
                        <a:pt x="27" y="497"/>
                      </a:lnTo>
                      <a:lnTo>
                        <a:pt x="27" y="500"/>
                      </a:lnTo>
                      <a:lnTo>
                        <a:pt x="24" y="507"/>
                      </a:lnTo>
                      <a:close/>
                      <a:moveTo>
                        <a:pt x="18" y="565"/>
                      </a:moveTo>
                      <a:lnTo>
                        <a:pt x="18" y="565"/>
                      </a:lnTo>
                      <a:lnTo>
                        <a:pt x="18" y="566"/>
                      </a:lnTo>
                      <a:lnTo>
                        <a:pt x="18" y="566"/>
                      </a:lnTo>
                      <a:lnTo>
                        <a:pt x="23" y="566"/>
                      </a:lnTo>
                      <a:lnTo>
                        <a:pt x="26" y="566"/>
                      </a:lnTo>
                      <a:lnTo>
                        <a:pt x="27" y="563"/>
                      </a:lnTo>
                      <a:lnTo>
                        <a:pt x="26" y="563"/>
                      </a:lnTo>
                      <a:lnTo>
                        <a:pt x="26" y="560"/>
                      </a:lnTo>
                      <a:lnTo>
                        <a:pt x="26" y="559"/>
                      </a:lnTo>
                      <a:lnTo>
                        <a:pt x="24" y="558"/>
                      </a:lnTo>
                      <a:lnTo>
                        <a:pt x="26" y="555"/>
                      </a:lnTo>
                      <a:lnTo>
                        <a:pt x="26" y="553"/>
                      </a:lnTo>
                      <a:lnTo>
                        <a:pt x="23" y="555"/>
                      </a:lnTo>
                      <a:lnTo>
                        <a:pt x="21" y="558"/>
                      </a:lnTo>
                      <a:lnTo>
                        <a:pt x="21" y="560"/>
                      </a:lnTo>
                      <a:lnTo>
                        <a:pt x="18" y="563"/>
                      </a:lnTo>
                      <a:lnTo>
                        <a:pt x="18" y="565"/>
                      </a:lnTo>
                      <a:close/>
                      <a:moveTo>
                        <a:pt x="30" y="522"/>
                      </a:moveTo>
                      <a:lnTo>
                        <a:pt x="28" y="523"/>
                      </a:lnTo>
                      <a:lnTo>
                        <a:pt x="28" y="523"/>
                      </a:lnTo>
                      <a:lnTo>
                        <a:pt x="28" y="524"/>
                      </a:lnTo>
                      <a:lnTo>
                        <a:pt x="31" y="524"/>
                      </a:lnTo>
                      <a:lnTo>
                        <a:pt x="34" y="523"/>
                      </a:lnTo>
                      <a:lnTo>
                        <a:pt x="33" y="522"/>
                      </a:lnTo>
                      <a:lnTo>
                        <a:pt x="30" y="522"/>
                      </a:lnTo>
                      <a:close/>
                      <a:moveTo>
                        <a:pt x="15" y="517"/>
                      </a:moveTo>
                      <a:lnTo>
                        <a:pt x="15" y="519"/>
                      </a:lnTo>
                      <a:lnTo>
                        <a:pt x="18" y="517"/>
                      </a:lnTo>
                      <a:lnTo>
                        <a:pt x="17" y="516"/>
                      </a:lnTo>
                      <a:lnTo>
                        <a:pt x="15" y="517"/>
                      </a:lnTo>
                      <a:close/>
                      <a:moveTo>
                        <a:pt x="20" y="720"/>
                      </a:moveTo>
                      <a:lnTo>
                        <a:pt x="18" y="720"/>
                      </a:lnTo>
                      <a:lnTo>
                        <a:pt x="17" y="719"/>
                      </a:lnTo>
                      <a:lnTo>
                        <a:pt x="17" y="717"/>
                      </a:lnTo>
                      <a:lnTo>
                        <a:pt x="15" y="716"/>
                      </a:lnTo>
                      <a:lnTo>
                        <a:pt x="15" y="713"/>
                      </a:lnTo>
                      <a:lnTo>
                        <a:pt x="15" y="713"/>
                      </a:lnTo>
                      <a:lnTo>
                        <a:pt x="14" y="714"/>
                      </a:lnTo>
                      <a:lnTo>
                        <a:pt x="14" y="714"/>
                      </a:lnTo>
                      <a:lnTo>
                        <a:pt x="14" y="716"/>
                      </a:lnTo>
                      <a:lnTo>
                        <a:pt x="11" y="716"/>
                      </a:lnTo>
                      <a:lnTo>
                        <a:pt x="11" y="719"/>
                      </a:lnTo>
                      <a:lnTo>
                        <a:pt x="13" y="723"/>
                      </a:lnTo>
                      <a:lnTo>
                        <a:pt x="14" y="726"/>
                      </a:lnTo>
                      <a:lnTo>
                        <a:pt x="15" y="729"/>
                      </a:lnTo>
                      <a:lnTo>
                        <a:pt x="18" y="729"/>
                      </a:lnTo>
                      <a:lnTo>
                        <a:pt x="21" y="721"/>
                      </a:lnTo>
                      <a:lnTo>
                        <a:pt x="20" y="720"/>
                      </a:lnTo>
                      <a:lnTo>
                        <a:pt x="20" y="720"/>
                      </a:lnTo>
                      <a:close/>
                      <a:moveTo>
                        <a:pt x="13" y="677"/>
                      </a:moveTo>
                      <a:lnTo>
                        <a:pt x="14" y="675"/>
                      </a:lnTo>
                      <a:lnTo>
                        <a:pt x="15" y="674"/>
                      </a:lnTo>
                      <a:lnTo>
                        <a:pt x="14" y="673"/>
                      </a:lnTo>
                      <a:lnTo>
                        <a:pt x="13" y="671"/>
                      </a:lnTo>
                      <a:lnTo>
                        <a:pt x="8" y="671"/>
                      </a:lnTo>
                      <a:lnTo>
                        <a:pt x="7" y="670"/>
                      </a:lnTo>
                      <a:lnTo>
                        <a:pt x="5" y="678"/>
                      </a:lnTo>
                      <a:lnTo>
                        <a:pt x="7" y="678"/>
                      </a:lnTo>
                      <a:lnTo>
                        <a:pt x="8" y="678"/>
                      </a:lnTo>
                      <a:lnTo>
                        <a:pt x="10" y="678"/>
                      </a:lnTo>
                      <a:lnTo>
                        <a:pt x="11" y="678"/>
                      </a:lnTo>
                      <a:lnTo>
                        <a:pt x="13" y="677"/>
                      </a:lnTo>
                      <a:close/>
                      <a:moveTo>
                        <a:pt x="18" y="703"/>
                      </a:moveTo>
                      <a:lnTo>
                        <a:pt x="15" y="703"/>
                      </a:lnTo>
                      <a:lnTo>
                        <a:pt x="13" y="704"/>
                      </a:lnTo>
                      <a:lnTo>
                        <a:pt x="10" y="704"/>
                      </a:lnTo>
                      <a:lnTo>
                        <a:pt x="8" y="708"/>
                      </a:lnTo>
                      <a:lnTo>
                        <a:pt x="8" y="710"/>
                      </a:lnTo>
                      <a:lnTo>
                        <a:pt x="8" y="713"/>
                      </a:lnTo>
                      <a:lnTo>
                        <a:pt x="8" y="711"/>
                      </a:lnTo>
                      <a:lnTo>
                        <a:pt x="10" y="710"/>
                      </a:lnTo>
                      <a:lnTo>
                        <a:pt x="11" y="708"/>
                      </a:lnTo>
                      <a:lnTo>
                        <a:pt x="13" y="708"/>
                      </a:lnTo>
                      <a:lnTo>
                        <a:pt x="13" y="707"/>
                      </a:lnTo>
                      <a:lnTo>
                        <a:pt x="14" y="708"/>
                      </a:lnTo>
                      <a:lnTo>
                        <a:pt x="15" y="708"/>
                      </a:lnTo>
                      <a:lnTo>
                        <a:pt x="15" y="707"/>
                      </a:lnTo>
                      <a:lnTo>
                        <a:pt x="18" y="706"/>
                      </a:lnTo>
                      <a:lnTo>
                        <a:pt x="20" y="706"/>
                      </a:lnTo>
                      <a:lnTo>
                        <a:pt x="20" y="706"/>
                      </a:lnTo>
                      <a:lnTo>
                        <a:pt x="21" y="706"/>
                      </a:lnTo>
                      <a:lnTo>
                        <a:pt x="20" y="704"/>
                      </a:lnTo>
                      <a:lnTo>
                        <a:pt x="18" y="703"/>
                      </a:lnTo>
                      <a:close/>
                      <a:moveTo>
                        <a:pt x="8" y="683"/>
                      </a:moveTo>
                      <a:lnTo>
                        <a:pt x="5" y="683"/>
                      </a:lnTo>
                      <a:lnTo>
                        <a:pt x="4" y="687"/>
                      </a:lnTo>
                      <a:lnTo>
                        <a:pt x="5" y="690"/>
                      </a:lnTo>
                      <a:lnTo>
                        <a:pt x="7" y="690"/>
                      </a:lnTo>
                      <a:lnTo>
                        <a:pt x="7" y="690"/>
                      </a:lnTo>
                      <a:lnTo>
                        <a:pt x="7" y="688"/>
                      </a:lnTo>
                      <a:lnTo>
                        <a:pt x="7" y="687"/>
                      </a:lnTo>
                      <a:lnTo>
                        <a:pt x="7" y="687"/>
                      </a:lnTo>
                      <a:lnTo>
                        <a:pt x="8" y="685"/>
                      </a:lnTo>
                      <a:lnTo>
                        <a:pt x="10" y="684"/>
                      </a:lnTo>
                      <a:lnTo>
                        <a:pt x="11" y="684"/>
                      </a:lnTo>
                      <a:lnTo>
                        <a:pt x="10" y="683"/>
                      </a:lnTo>
                      <a:lnTo>
                        <a:pt x="8" y="683"/>
                      </a:lnTo>
                      <a:close/>
                      <a:moveTo>
                        <a:pt x="21" y="641"/>
                      </a:moveTo>
                      <a:lnTo>
                        <a:pt x="18" y="638"/>
                      </a:lnTo>
                      <a:lnTo>
                        <a:pt x="15" y="638"/>
                      </a:lnTo>
                      <a:lnTo>
                        <a:pt x="14" y="639"/>
                      </a:lnTo>
                      <a:lnTo>
                        <a:pt x="14" y="641"/>
                      </a:lnTo>
                      <a:lnTo>
                        <a:pt x="13" y="644"/>
                      </a:lnTo>
                      <a:lnTo>
                        <a:pt x="13" y="645"/>
                      </a:lnTo>
                      <a:lnTo>
                        <a:pt x="11" y="645"/>
                      </a:lnTo>
                      <a:lnTo>
                        <a:pt x="10" y="647"/>
                      </a:lnTo>
                      <a:lnTo>
                        <a:pt x="10" y="648"/>
                      </a:lnTo>
                      <a:lnTo>
                        <a:pt x="10" y="648"/>
                      </a:lnTo>
                      <a:lnTo>
                        <a:pt x="10" y="648"/>
                      </a:lnTo>
                      <a:lnTo>
                        <a:pt x="11" y="650"/>
                      </a:lnTo>
                      <a:lnTo>
                        <a:pt x="11" y="650"/>
                      </a:lnTo>
                      <a:lnTo>
                        <a:pt x="11" y="651"/>
                      </a:lnTo>
                      <a:lnTo>
                        <a:pt x="11" y="651"/>
                      </a:lnTo>
                      <a:lnTo>
                        <a:pt x="11" y="651"/>
                      </a:lnTo>
                      <a:lnTo>
                        <a:pt x="10" y="651"/>
                      </a:lnTo>
                      <a:lnTo>
                        <a:pt x="8" y="651"/>
                      </a:lnTo>
                      <a:lnTo>
                        <a:pt x="8" y="651"/>
                      </a:lnTo>
                      <a:lnTo>
                        <a:pt x="7" y="651"/>
                      </a:lnTo>
                      <a:lnTo>
                        <a:pt x="5" y="652"/>
                      </a:lnTo>
                      <a:lnTo>
                        <a:pt x="5" y="654"/>
                      </a:lnTo>
                      <a:lnTo>
                        <a:pt x="5" y="654"/>
                      </a:lnTo>
                      <a:lnTo>
                        <a:pt x="5" y="655"/>
                      </a:lnTo>
                      <a:lnTo>
                        <a:pt x="7" y="657"/>
                      </a:lnTo>
                      <a:lnTo>
                        <a:pt x="7" y="658"/>
                      </a:lnTo>
                      <a:lnTo>
                        <a:pt x="7" y="660"/>
                      </a:lnTo>
                      <a:lnTo>
                        <a:pt x="5" y="660"/>
                      </a:lnTo>
                      <a:lnTo>
                        <a:pt x="5" y="661"/>
                      </a:lnTo>
                      <a:lnTo>
                        <a:pt x="4" y="661"/>
                      </a:lnTo>
                      <a:lnTo>
                        <a:pt x="4" y="661"/>
                      </a:lnTo>
                      <a:lnTo>
                        <a:pt x="3" y="661"/>
                      </a:lnTo>
                      <a:lnTo>
                        <a:pt x="3" y="662"/>
                      </a:lnTo>
                      <a:lnTo>
                        <a:pt x="3" y="662"/>
                      </a:lnTo>
                      <a:lnTo>
                        <a:pt x="3" y="664"/>
                      </a:lnTo>
                      <a:lnTo>
                        <a:pt x="3" y="664"/>
                      </a:lnTo>
                      <a:lnTo>
                        <a:pt x="5" y="664"/>
                      </a:lnTo>
                      <a:lnTo>
                        <a:pt x="8" y="665"/>
                      </a:lnTo>
                      <a:lnTo>
                        <a:pt x="11" y="667"/>
                      </a:lnTo>
                      <a:lnTo>
                        <a:pt x="13" y="664"/>
                      </a:lnTo>
                      <a:lnTo>
                        <a:pt x="14" y="661"/>
                      </a:lnTo>
                      <a:lnTo>
                        <a:pt x="14" y="658"/>
                      </a:lnTo>
                      <a:lnTo>
                        <a:pt x="14" y="657"/>
                      </a:lnTo>
                      <a:lnTo>
                        <a:pt x="17" y="655"/>
                      </a:lnTo>
                      <a:lnTo>
                        <a:pt x="17" y="657"/>
                      </a:lnTo>
                      <a:lnTo>
                        <a:pt x="15" y="660"/>
                      </a:lnTo>
                      <a:lnTo>
                        <a:pt x="15" y="662"/>
                      </a:lnTo>
                      <a:lnTo>
                        <a:pt x="15" y="665"/>
                      </a:lnTo>
                      <a:lnTo>
                        <a:pt x="15" y="668"/>
                      </a:lnTo>
                      <a:lnTo>
                        <a:pt x="17" y="670"/>
                      </a:lnTo>
                      <a:lnTo>
                        <a:pt x="18" y="670"/>
                      </a:lnTo>
                      <a:lnTo>
                        <a:pt x="21" y="668"/>
                      </a:lnTo>
                      <a:lnTo>
                        <a:pt x="21" y="667"/>
                      </a:lnTo>
                      <a:lnTo>
                        <a:pt x="21" y="664"/>
                      </a:lnTo>
                      <a:lnTo>
                        <a:pt x="21" y="660"/>
                      </a:lnTo>
                      <a:lnTo>
                        <a:pt x="23" y="648"/>
                      </a:lnTo>
                      <a:lnTo>
                        <a:pt x="21" y="641"/>
                      </a:lnTo>
                      <a:close/>
                      <a:moveTo>
                        <a:pt x="24" y="720"/>
                      </a:moveTo>
                      <a:lnTo>
                        <a:pt x="26" y="720"/>
                      </a:lnTo>
                      <a:lnTo>
                        <a:pt x="27" y="720"/>
                      </a:lnTo>
                      <a:lnTo>
                        <a:pt x="27" y="719"/>
                      </a:lnTo>
                      <a:lnTo>
                        <a:pt x="24" y="717"/>
                      </a:lnTo>
                      <a:lnTo>
                        <a:pt x="23" y="716"/>
                      </a:lnTo>
                      <a:lnTo>
                        <a:pt x="23" y="717"/>
                      </a:lnTo>
                      <a:lnTo>
                        <a:pt x="23" y="719"/>
                      </a:lnTo>
                      <a:lnTo>
                        <a:pt x="24" y="720"/>
                      </a:lnTo>
                      <a:close/>
                      <a:moveTo>
                        <a:pt x="1" y="632"/>
                      </a:moveTo>
                      <a:lnTo>
                        <a:pt x="1" y="634"/>
                      </a:lnTo>
                      <a:lnTo>
                        <a:pt x="1" y="637"/>
                      </a:lnTo>
                      <a:lnTo>
                        <a:pt x="3" y="638"/>
                      </a:lnTo>
                      <a:lnTo>
                        <a:pt x="5" y="638"/>
                      </a:lnTo>
                      <a:lnTo>
                        <a:pt x="8" y="637"/>
                      </a:lnTo>
                      <a:lnTo>
                        <a:pt x="10" y="634"/>
                      </a:lnTo>
                      <a:lnTo>
                        <a:pt x="10" y="631"/>
                      </a:lnTo>
                      <a:lnTo>
                        <a:pt x="10" y="628"/>
                      </a:lnTo>
                      <a:lnTo>
                        <a:pt x="8" y="625"/>
                      </a:lnTo>
                      <a:lnTo>
                        <a:pt x="7" y="622"/>
                      </a:lnTo>
                      <a:lnTo>
                        <a:pt x="5" y="621"/>
                      </a:lnTo>
                      <a:lnTo>
                        <a:pt x="4" y="621"/>
                      </a:lnTo>
                      <a:lnTo>
                        <a:pt x="3" y="624"/>
                      </a:lnTo>
                      <a:lnTo>
                        <a:pt x="3" y="624"/>
                      </a:lnTo>
                      <a:lnTo>
                        <a:pt x="4" y="627"/>
                      </a:lnTo>
                      <a:lnTo>
                        <a:pt x="4" y="628"/>
                      </a:lnTo>
                      <a:lnTo>
                        <a:pt x="3" y="629"/>
                      </a:lnTo>
                      <a:lnTo>
                        <a:pt x="1" y="632"/>
                      </a:lnTo>
                      <a:close/>
                      <a:moveTo>
                        <a:pt x="4" y="650"/>
                      </a:moveTo>
                      <a:lnTo>
                        <a:pt x="5" y="648"/>
                      </a:lnTo>
                      <a:lnTo>
                        <a:pt x="8" y="647"/>
                      </a:lnTo>
                      <a:lnTo>
                        <a:pt x="11" y="642"/>
                      </a:lnTo>
                      <a:lnTo>
                        <a:pt x="11" y="641"/>
                      </a:lnTo>
                      <a:lnTo>
                        <a:pt x="11" y="639"/>
                      </a:lnTo>
                      <a:lnTo>
                        <a:pt x="10" y="638"/>
                      </a:lnTo>
                      <a:lnTo>
                        <a:pt x="10" y="638"/>
                      </a:lnTo>
                      <a:lnTo>
                        <a:pt x="8" y="639"/>
                      </a:lnTo>
                      <a:lnTo>
                        <a:pt x="7" y="639"/>
                      </a:lnTo>
                      <a:lnTo>
                        <a:pt x="5" y="639"/>
                      </a:lnTo>
                      <a:lnTo>
                        <a:pt x="4" y="641"/>
                      </a:lnTo>
                      <a:lnTo>
                        <a:pt x="3" y="641"/>
                      </a:lnTo>
                      <a:lnTo>
                        <a:pt x="1" y="642"/>
                      </a:lnTo>
                      <a:lnTo>
                        <a:pt x="3" y="644"/>
                      </a:lnTo>
                      <a:lnTo>
                        <a:pt x="4" y="645"/>
                      </a:lnTo>
                      <a:lnTo>
                        <a:pt x="4" y="647"/>
                      </a:lnTo>
                      <a:lnTo>
                        <a:pt x="1" y="650"/>
                      </a:lnTo>
                      <a:lnTo>
                        <a:pt x="4" y="650"/>
                      </a:lnTo>
                      <a:close/>
                      <a:moveTo>
                        <a:pt x="11" y="612"/>
                      </a:moveTo>
                      <a:lnTo>
                        <a:pt x="10" y="612"/>
                      </a:lnTo>
                      <a:lnTo>
                        <a:pt x="8" y="614"/>
                      </a:lnTo>
                      <a:lnTo>
                        <a:pt x="10" y="615"/>
                      </a:lnTo>
                      <a:lnTo>
                        <a:pt x="11" y="615"/>
                      </a:lnTo>
                      <a:lnTo>
                        <a:pt x="14" y="614"/>
                      </a:lnTo>
                      <a:lnTo>
                        <a:pt x="13" y="612"/>
                      </a:lnTo>
                      <a:lnTo>
                        <a:pt x="11" y="612"/>
                      </a:lnTo>
                      <a:close/>
                      <a:moveTo>
                        <a:pt x="15" y="616"/>
                      </a:moveTo>
                      <a:lnTo>
                        <a:pt x="14" y="616"/>
                      </a:lnTo>
                      <a:lnTo>
                        <a:pt x="14" y="616"/>
                      </a:lnTo>
                      <a:lnTo>
                        <a:pt x="11" y="618"/>
                      </a:lnTo>
                      <a:lnTo>
                        <a:pt x="10" y="619"/>
                      </a:lnTo>
                      <a:lnTo>
                        <a:pt x="8" y="621"/>
                      </a:lnTo>
                      <a:lnTo>
                        <a:pt x="8" y="622"/>
                      </a:lnTo>
                      <a:lnTo>
                        <a:pt x="10" y="624"/>
                      </a:lnTo>
                      <a:lnTo>
                        <a:pt x="13" y="632"/>
                      </a:lnTo>
                      <a:lnTo>
                        <a:pt x="14" y="634"/>
                      </a:lnTo>
                      <a:lnTo>
                        <a:pt x="17" y="635"/>
                      </a:lnTo>
                      <a:lnTo>
                        <a:pt x="20" y="634"/>
                      </a:lnTo>
                      <a:lnTo>
                        <a:pt x="18" y="627"/>
                      </a:lnTo>
                      <a:lnTo>
                        <a:pt x="15" y="618"/>
                      </a:lnTo>
                      <a:lnTo>
                        <a:pt x="15" y="616"/>
                      </a:lnTo>
                      <a:lnTo>
                        <a:pt x="15" y="616"/>
                      </a:lnTo>
                      <a:lnTo>
                        <a:pt x="15" y="616"/>
                      </a:lnTo>
                      <a:close/>
                      <a:moveTo>
                        <a:pt x="146" y="812"/>
                      </a:moveTo>
                      <a:lnTo>
                        <a:pt x="148" y="812"/>
                      </a:lnTo>
                      <a:lnTo>
                        <a:pt x="148" y="810"/>
                      </a:lnTo>
                      <a:lnTo>
                        <a:pt x="148" y="808"/>
                      </a:lnTo>
                      <a:lnTo>
                        <a:pt x="146" y="808"/>
                      </a:lnTo>
                      <a:lnTo>
                        <a:pt x="145" y="809"/>
                      </a:lnTo>
                      <a:lnTo>
                        <a:pt x="143" y="810"/>
                      </a:lnTo>
                      <a:lnTo>
                        <a:pt x="145" y="810"/>
                      </a:lnTo>
                      <a:lnTo>
                        <a:pt x="146" y="812"/>
                      </a:lnTo>
                      <a:close/>
                      <a:moveTo>
                        <a:pt x="160" y="799"/>
                      </a:moveTo>
                      <a:lnTo>
                        <a:pt x="160" y="799"/>
                      </a:lnTo>
                      <a:lnTo>
                        <a:pt x="162" y="800"/>
                      </a:lnTo>
                      <a:lnTo>
                        <a:pt x="162" y="800"/>
                      </a:lnTo>
                      <a:lnTo>
                        <a:pt x="162" y="799"/>
                      </a:lnTo>
                      <a:lnTo>
                        <a:pt x="163" y="799"/>
                      </a:lnTo>
                      <a:lnTo>
                        <a:pt x="163" y="799"/>
                      </a:lnTo>
                      <a:lnTo>
                        <a:pt x="162" y="798"/>
                      </a:lnTo>
                      <a:lnTo>
                        <a:pt x="160" y="799"/>
                      </a:lnTo>
                      <a:close/>
                      <a:moveTo>
                        <a:pt x="148" y="795"/>
                      </a:moveTo>
                      <a:lnTo>
                        <a:pt x="146" y="793"/>
                      </a:lnTo>
                      <a:lnTo>
                        <a:pt x="138" y="792"/>
                      </a:lnTo>
                      <a:lnTo>
                        <a:pt x="135" y="793"/>
                      </a:lnTo>
                      <a:lnTo>
                        <a:pt x="130" y="793"/>
                      </a:lnTo>
                      <a:lnTo>
                        <a:pt x="132" y="795"/>
                      </a:lnTo>
                      <a:lnTo>
                        <a:pt x="133" y="798"/>
                      </a:lnTo>
                      <a:lnTo>
                        <a:pt x="135" y="799"/>
                      </a:lnTo>
                      <a:lnTo>
                        <a:pt x="136" y="800"/>
                      </a:lnTo>
                      <a:lnTo>
                        <a:pt x="139" y="800"/>
                      </a:lnTo>
                      <a:lnTo>
                        <a:pt x="145" y="799"/>
                      </a:lnTo>
                      <a:lnTo>
                        <a:pt x="146" y="799"/>
                      </a:lnTo>
                      <a:lnTo>
                        <a:pt x="146" y="799"/>
                      </a:lnTo>
                      <a:lnTo>
                        <a:pt x="148" y="800"/>
                      </a:lnTo>
                      <a:lnTo>
                        <a:pt x="149" y="800"/>
                      </a:lnTo>
                      <a:lnTo>
                        <a:pt x="150" y="799"/>
                      </a:lnTo>
                      <a:lnTo>
                        <a:pt x="152" y="798"/>
                      </a:lnTo>
                      <a:lnTo>
                        <a:pt x="150" y="795"/>
                      </a:lnTo>
                      <a:lnTo>
                        <a:pt x="148" y="79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54" name="Freeform 247">
                  <a:extLst>
                    <a:ext uri="{FF2B5EF4-FFF2-40B4-BE49-F238E27FC236}">
                      <a16:creationId xmlns:a16="http://schemas.microsoft.com/office/drawing/2014/main" id="{3A98478C-C1F6-50F4-B92D-3B27FE3E3400}"/>
                    </a:ext>
                  </a:extLst>
                </p:cNvPr>
                <p:cNvSpPr>
                  <a:spLocks noEditPoints="1"/>
                </p:cNvSpPr>
                <p:nvPr/>
              </p:nvSpPr>
              <p:spPr bwMode="auto">
                <a:xfrm>
                  <a:off x="2473" y="3734"/>
                  <a:ext cx="59" cy="27"/>
                </a:xfrm>
                <a:custGeom>
                  <a:avLst/>
                  <a:gdLst>
                    <a:gd name="T0" fmla="*/ 24 w 59"/>
                    <a:gd name="T1" fmla="*/ 24 h 27"/>
                    <a:gd name="T2" fmla="*/ 24 w 59"/>
                    <a:gd name="T3" fmla="*/ 26 h 27"/>
                    <a:gd name="T4" fmla="*/ 34 w 59"/>
                    <a:gd name="T5" fmla="*/ 24 h 27"/>
                    <a:gd name="T6" fmla="*/ 34 w 59"/>
                    <a:gd name="T7" fmla="*/ 20 h 27"/>
                    <a:gd name="T8" fmla="*/ 38 w 59"/>
                    <a:gd name="T9" fmla="*/ 20 h 27"/>
                    <a:gd name="T10" fmla="*/ 43 w 59"/>
                    <a:gd name="T11" fmla="*/ 21 h 27"/>
                    <a:gd name="T12" fmla="*/ 43 w 59"/>
                    <a:gd name="T13" fmla="*/ 18 h 27"/>
                    <a:gd name="T14" fmla="*/ 46 w 59"/>
                    <a:gd name="T15" fmla="*/ 17 h 27"/>
                    <a:gd name="T16" fmla="*/ 57 w 59"/>
                    <a:gd name="T17" fmla="*/ 11 h 27"/>
                    <a:gd name="T18" fmla="*/ 56 w 59"/>
                    <a:gd name="T19" fmla="*/ 8 h 27"/>
                    <a:gd name="T20" fmla="*/ 56 w 59"/>
                    <a:gd name="T21" fmla="*/ 8 h 27"/>
                    <a:gd name="T22" fmla="*/ 59 w 59"/>
                    <a:gd name="T23" fmla="*/ 7 h 27"/>
                    <a:gd name="T24" fmla="*/ 51 w 59"/>
                    <a:gd name="T25" fmla="*/ 4 h 27"/>
                    <a:gd name="T26" fmla="*/ 50 w 59"/>
                    <a:gd name="T27" fmla="*/ 8 h 27"/>
                    <a:gd name="T28" fmla="*/ 47 w 59"/>
                    <a:gd name="T29" fmla="*/ 7 h 27"/>
                    <a:gd name="T30" fmla="*/ 46 w 59"/>
                    <a:gd name="T31" fmla="*/ 5 h 27"/>
                    <a:gd name="T32" fmla="*/ 47 w 59"/>
                    <a:gd name="T33" fmla="*/ 4 h 27"/>
                    <a:gd name="T34" fmla="*/ 47 w 59"/>
                    <a:gd name="T35" fmla="*/ 3 h 27"/>
                    <a:gd name="T36" fmla="*/ 40 w 59"/>
                    <a:gd name="T37" fmla="*/ 1 h 27"/>
                    <a:gd name="T38" fmla="*/ 38 w 59"/>
                    <a:gd name="T39" fmla="*/ 3 h 27"/>
                    <a:gd name="T40" fmla="*/ 38 w 59"/>
                    <a:gd name="T41" fmla="*/ 4 h 27"/>
                    <a:gd name="T42" fmla="*/ 36 w 59"/>
                    <a:gd name="T43" fmla="*/ 7 h 27"/>
                    <a:gd name="T44" fmla="*/ 36 w 59"/>
                    <a:gd name="T45" fmla="*/ 10 h 27"/>
                    <a:gd name="T46" fmla="*/ 36 w 59"/>
                    <a:gd name="T47" fmla="*/ 11 h 27"/>
                    <a:gd name="T48" fmla="*/ 36 w 59"/>
                    <a:gd name="T49" fmla="*/ 11 h 27"/>
                    <a:gd name="T50" fmla="*/ 28 w 59"/>
                    <a:gd name="T51" fmla="*/ 16 h 27"/>
                    <a:gd name="T52" fmla="*/ 27 w 59"/>
                    <a:gd name="T53" fmla="*/ 24 h 27"/>
                    <a:gd name="T54" fmla="*/ 31 w 59"/>
                    <a:gd name="T55" fmla="*/ 26 h 27"/>
                    <a:gd name="T56" fmla="*/ 34 w 59"/>
                    <a:gd name="T57" fmla="*/ 24 h 27"/>
                    <a:gd name="T58" fmla="*/ 46 w 59"/>
                    <a:gd name="T59" fmla="*/ 20 h 27"/>
                    <a:gd name="T60" fmla="*/ 47 w 59"/>
                    <a:gd name="T61" fmla="*/ 20 h 27"/>
                    <a:gd name="T62" fmla="*/ 46 w 59"/>
                    <a:gd name="T63" fmla="*/ 20 h 27"/>
                    <a:gd name="T64" fmla="*/ 16 w 59"/>
                    <a:gd name="T65" fmla="*/ 0 h 27"/>
                    <a:gd name="T66" fmla="*/ 17 w 59"/>
                    <a:gd name="T67" fmla="*/ 4 h 27"/>
                    <a:gd name="T68" fmla="*/ 30 w 59"/>
                    <a:gd name="T69" fmla="*/ 8 h 27"/>
                    <a:gd name="T70" fmla="*/ 31 w 59"/>
                    <a:gd name="T71" fmla="*/ 4 h 27"/>
                    <a:gd name="T72" fmla="*/ 30 w 59"/>
                    <a:gd name="T73" fmla="*/ 4 h 27"/>
                    <a:gd name="T74" fmla="*/ 18 w 59"/>
                    <a:gd name="T75" fmla="*/ 4 h 27"/>
                    <a:gd name="T76" fmla="*/ 17 w 59"/>
                    <a:gd name="T77" fmla="*/ 5 h 27"/>
                    <a:gd name="T78" fmla="*/ 14 w 59"/>
                    <a:gd name="T79" fmla="*/ 5 h 27"/>
                    <a:gd name="T80" fmla="*/ 11 w 59"/>
                    <a:gd name="T81" fmla="*/ 4 h 27"/>
                    <a:gd name="T82" fmla="*/ 11 w 59"/>
                    <a:gd name="T83" fmla="*/ 5 h 27"/>
                    <a:gd name="T84" fmla="*/ 14 w 59"/>
                    <a:gd name="T85" fmla="*/ 8 h 27"/>
                    <a:gd name="T86" fmla="*/ 14 w 59"/>
                    <a:gd name="T87" fmla="*/ 11 h 27"/>
                    <a:gd name="T88" fmla="*/ 10 w 59"/>
                    <a:gd name="T89" fmla="*/ 13 h 27"/>
                    <a:gd name="T90" fmla="*/ 14 w 59"/>
                    <a:gd name="T91" fmla="*/ 13 h 27"/>
                    <a:gd name="T92" fmla="*/ 14 w 59"/>
                    <a:gd name="T93" fmla="*/ 14 h 27"/>
                    <a:gd name="T94" fmla="*/ 10 w 59"/>
                    <a:gd name="T95" fmla="*/ 17 h 27"/>
                    <a:gd name="T96" fmla="*/ 7 w 59"/>
                    <a:gd name="T97" fmla="*/ 18 h 27"/>
                    <a:gd name="T98" fmla="*/ 4 w 59"/>
                    <a:gd name="T99" fmla="*/ 20 h 27"/>
                    <a:gd name="T100" fmla="*/ 5 w 59"/>
                    <a:gd name="T101" fmla="*/ 23 h 27"/>
                    <a:gd name="T102" fmla="*/ 11 w 59"/>
                    <a:gd name="T103" fmla="*/ 24 h 27"/>
                    <a:gd name="T104" fmla="*/ 14 w 59"/>
                    <a:gd name="T105" fmla="*/ 21 h 27"/>
                    <a:gd name="T106" fmla="*/ 16 w 59"/>
                    <a:gd name="T107" fmla="*/ 18 h 27"/>
                    <a:gd name="T108" fmla="*/ 17 w 59"/>
                    <a:gd name="T109" fmla="*/ 18 h 27"/>
                    <a:gd name="T110" fmla="*/ 20 w 59"/>
                    <a:gd name="T111" fmla="*/ 18 h 27"/>
                    <a:gd name="T112" fmla="*/ 23 w 59"/>
                    <a:gd name="T113" fmla="*/ 17 h 27"/>
                    <a:gd name="T114" fmla="*/ 30 w 59"/>
                    <a:gd name="T115" fmla="*/ 8 h 27"/>
                    <a:gd name="T116" fmla="*/ 4 w 59"/>
                    <a:gd name="T117" fmla="*/ 14 h 27"/>
                    <a:gd name="T118" fmla="*/ 1 w 59"/>
                    <a:gd name="T119" fmla="*/ 14 h 27"/>
                    <a:gd name="T120" fmla="*/ 0 w 59"/>
                    <a:gd name="T121" fmla="*/ 16 h 27"/>
                    <a:gd name="T122" fmla="*/ 3 w 59"/>
                    <a:gd name="T123"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 h="27">
                      <a:moveTo>
                        <a:pt x="23" y="23"/>
                      </a:moveTo>
                      <a:lnTo>
                        <a:pt x="24" y="24"/>
                      </a:lnTo>
                      <a:lnTo>
                        <a:pt x="24" y="26"/>
                      </a:lnTo>
                      <a:lnTo>
                        <a:pt x="24" y="26"/>
                      </a:lnTo>
                      <a:lnTo>
                        <a:pt x="23" y="23"/>
                      </a:lnTo>
                      <a:close/>
                      <a:moveTo>
                        <a:pt x="34" y="24"/>
                      </a:moveTo>
                      <a:lnTo>
                        <a:pt x="36" y="24"/>
                      </a:lnTo>
                      <a:lnTo>
                        <a:pt x="34" y="20"/>
                      </a:lnTo>
                      <a:lnTo>
                        <a:pt x="36" y="20"/>
                      </a:lnTo>
                      <a:lnTo>
                        <a:pt x="38" y="20"/>
                      </a:lnTo>
                      <a:lnTo>
                        <a:pt x="43" y="21"/>
                      </a:lnTo>
                      <a:lnTo>
                        <a:pt x="43" y="21"/>
                      </a:lnTo>
                      <a:lnTo>
                        <a:pt x="43" y="20"/>
                      </a:lnTo>
                      <a:lnTo>
                        <a:pt x="43" y="18"/>
                      </a:lnTo>
                      <a:lnTo>
                        <a:pt x="43" y="17"/>
                      </a:lnTo>
                      <a:lnTo>
                        <a:pt x="46" y="17"/>
                      </a:lnTo>
                      <a:lnTo>
                        <a:pt x="56" y="13"/>
                      </a:lnTo>
                      <a:lnTo>
                        <a:pt x="57" y="11"/>
                      </a:lnTo>
                      <a:lnTo>
                        <a:pt x="59" y="10"/>
                      </a:lnTo>
                      <a:lnTo>
                        <a:pt x="56" y="8"/>
                      </a:lnTo>
                      <a:lnTo>
                        <a:pt x="56" y="8"/>
                      </a:lnTo>
                      <a:lnTo>
                        <a:pt x="56" y="8"/>
                      </a:lnTo>
                      <a:lnTo>
                        <a:pt x="57" y="7"/>
                      </a:lnTo>
                      <a:lnTo>
                        <a:pt x="59" y="7"/>
                      </a:lnTo>
                      <a:lnTo>
                        <a:pt x="56" y="4"/>
                      </a:lnTo>
                      <a:lnTo>
                        <a:pt x="51" y="4"/>
                      </a:lnTo>
                      <a:lnTo>
                        <a:pt x="50" y="5"/>
                      </a:lnTo>
                      <a:lnTo>
                        <a:pt x="50" y="8"/>
                      </a:lnTo>
                      <a:lnTo>
                        <a:pt x="49" y="8"/>
                      </a:lnTo>
                      <a:lnTo>
                        <a:pt x="47" y="7"/>
                      </a:lnTo>
                      <a:lnTo>
                        <a:pt x="46" y="7"/>
                      </a:lnTo>
                      <a:lnTo>
                        <a:pt x="46" y="5"/>
                      </a:lnTo>
                      <a:lnTo>
                        <a:pt x="46" y="4"/>
                      </a:lnTo>
                      <a:lnTo>
                        <a:pt x="47" y="4"/>
                      </a:lnTo>
                      <a:lnTo>
                        <a:pt x="47" y="4"/>
                      </a:lnTo>
                      <a:lnTo>
                        <a:pt x="47" y="3"/>
                      </a:lnTo>
                      <a:lnTo>
                        <a:pt x="47" y="3"/>
                      </a:lnTo>
                      <a:lnTo>
                        <a:pt x="40" y="1"/>
                      </a:lnTo>
                      <a:lnTo>
                        <a:pt x="38" y="1"/>
                      </a:lnTo>
                      <a:lnTo>
                        <a:pt x="38" y="3"/>
                      </a:lnTo>
                      <a:lnTo>
                        <a:pt x="38" y="3"/>
                      </a:lnTo>
                      <a:lnTo>
                        <a:pt x="38" y="4"/>
                      </a:lnTo>
                      <a:lnTo>
                        <a:pt x="37" y="4"/>
                      </a:lnTo>
                      <a:lnTo>
                        <a:pt x="36" y="7"/>
                      </a:lnTo>
                      <a:lnTo>
                        <a:pt x="36" y="8"/>
                      </a:lnTo>
                      <a:lnTo>
                        <a:pt x="36" y="10"/>
                      </a:lnTo>
                      <a:lnTo>
                        <a:pt x="36" y="10"/>
                      </a:lnTo>
                      <a:lnTo>
                        <a:pt x="36" y="11"/>
                      </a:lnTo>
                      <a:lnTo>
                        <a:pt x="36" y="11"/>
                      </a:lnTo>
                      <a:lnTo>
                        <a:pt x="36" y="11"/>
                      </a:lnTo>
                      <a:lnTo>
                        <a:pt x="33" y="13"/>
                      </a:lnTo>
                      <a:lnTo>
                        <a:pt x="28" y="16"/>
                      </a:lnTo>
                      <a:lnTo>
                        <a:pt x="27" y="20"/>
                      </a:lnTo>
                      <a:lnTo>
                        <a:pt x="27" y="24"/>
                      </a:lnTo>
                      <a:lnTo>
                        <a:pt x="30" y="27"/>
                      </a:lnTo>
                      <a:lnTo>
                        <a:pt x="31" y="26"/>
                      </a:lnTo>
                      <a:lnTo>
                        <a:pt x="31" y="24"/>
                      </a:lnTo>
                      <a:lnTo>
                        <a:pt x="34" y="24"/>
                      </a:lnTo>
                      <a:lnTo>
                        <a:pt x="34" y="24"/>
                      </a:lnTo>
                      <a:close/>
                      <a:moveTo>
                        <a:pt x="46" y="20"/>
                      </a:moveTo>
                      <a:lnTo>
                        <a:pt x="47" y="21"/>
                      </a:lnTo>
                      <a:lnTo>
                        <a:pt x="47" y="20"/>
                      </a:lnTo>
                      <a:lnTo>
                        <a:pt x="46" y="20"/>
                      </a:lnTo>
                      <a:lnTo>
                        <a:pt x="46" y="20"/>
                      </a:lnTo>
                      <a:close/>
                      <a:moveTo>
                        <a:pt x="18" y="1"/>
                      </a:moveTo>
                      <a:lnTo>
                        <a:pt x="16" y="0"/>
                      </a:lnTo>
                      <a:lnTo>
                        <a:pt x="16" y="3"/>
                      </a:lnTo>
                      <a:lnTo>
                        <a:pt x="17" y="4"/>
                      </a:lnTo>
                      <a:lnTo>
                        <a:pt x="18" y="1"/>
                      </a:lnTo>
                      <a:close/>
                      <a:moveTo>
                        <a:pt x="30" y="8"/>
                      </a:moveTo>
                      <a:lnTo>
                        <a:pt x="31" y="7"/>
                      </a:lnTo>
                      <a:lnTo>
                        <a:pt x="31" y="4"/>
                      </a:lnTo>
                      <a:lnTo>
                        <a:pt x="31" y="4"/>
                      </a:lnTo>
                      <a:lnTo>
                        <a:pt x="30" y="4"/>
                      </a:lnTo>
                      <a:lnTo>
                        <a:pt x="26" y="4"/>
                      </a:lnTo>
                      <a:lnTo>
                        <a:pt x="18" y="4"/>
                      </a:lnTo>
                      <a:lnTo>
                        <a:pt x="17" y="5"/>
                      </a:lnTo>
                      <a:lnTo>
                        <a:pt x="17" y="5"/>
                      </a:lnTo>
                      <a:lnTo>
                        <a:pt x="16" y="5"/>
                      </a:lnTo>
                      <a:lnTo>
                        <a:pt x="14" y="5"/>
                      </a:lnTo>
                      <a:lnTo>
                        <a:pt x="13" y="5"/>
                      </a:lnTo>
                      <a:lnTo>
                        <a:pt x="11" y="4"/>
                      </a:lnTo>
                      <a:lnTo>
                        <a:pt x="10" y="3"/>
                      </a:lnTo>
                      <a:lnTo>
                        <a:pt x="11" y="5"/>
                      </a:lnTo>
                      <a:lnTo>
                        <a:pt x="11" y="7"/>
                      </a:lnTo>
                      <a:lnTo>
                        <a:pt x="14" y="8"/>
                      </a:lnTo>
                      <a:lnTo>
                        <a:pt x="16" y="10"/>
                      </a:lnTo>
                      <a:lnTo>
                        <a:pt x="14" y="11"/>
                      </a:lnTo>
                      <a:lnTo>
                        <a:pt x="13" y="11"/>
                      </a:lnTo>
                      <a:lnTo>
                        <a:pt x="10" y="13"/>
                      </a:lnTo>
                      <a:lnTo>
                        <a:pt x="11" y="13"/>
                      </a:lnTo>
                      <a:lnTo>
                        <a:pt x="14" y="13"/>
                      </a:lnTo>
                      <a:lnTo>
                        <a:pt x="16" y="13"/>
                      </a:lnTo>
                      <a:lnTo>
                        <a:pt x="14" y="14"/>
                      </a:lnTo>
                      <a:lnTo>
                        <a:pt x="13" y="16"/>
                      </a:lnTo>
                      <a:lnTo>
                        <a:pt x="10" y="17"/>
                      </a:lnTo>
                      <a:lnTo>
                        <a:pt x="10" y="18"/>
                      </a:lnTo>
                      <a:lnTo>
                        <a:pt x="7" y="18"/>
                      </a:lnTo>
                      <a:lnTo>
                        <a:pt x="5" y="18"/>
                      </a:lnTo>
                      <a:lnTo>
                        <a:pt x="4" y="20"/>
                      </a:lnTo>
                      <a:lnTo>
                        <a:pt x="3" y="21"/>
                      </a:lnTo>
                      <a:lnTo>
                        <a:pt x="5" y="23"/>
                      </a:lnTo>
                      <a:lnTo>
                        <a:pt x="8" y="24"/>
                      </a:lnTo>
                      <a:lnTo>
                        <a:pt x="11" y="24"/>
                      </a:lnTo>
                      <a:lnTo>
                        <a:pt x="14" y="23"/>
                      </a:lnTo>
                      <a:lnTo>
                        <a:pt x="14" y="21"/>
                      </a:lnTo>
                      <a:lnTo>
                        <a:pt x="14" y="20"/>
                      </a:lnTo>
                      <a:lnTo>
                        <a:pt x="16" y="18"/>
                      </a:lnTo>
                      <a:lnTo>
                        <a:pt x="16" y="18"/>
                      </a:lnTo>
                      <a:lnTo>
                        <a:pt x="17" y="18"/>
                      </a:lnTo>
                      <a:lnTo>
                        <a:pt x="17" y="18"/>
                      </a:lnTo>
                      <a:lnTo>
                        <a:pt x="20" y="18"/>
                      </a:lnTo>
                      <a:lnTo>
                        <a:pt x="21" y="17"/>
                      </a:lnTo>
                      <a:lnTo>
                        <a:pt x="23" y="17"/>
                      </a:lnTo>
                      <a:lnTo>
                        <a:pt x="24" y="14"/>
                      </a:lnTo>
                      <a:lnTo>
                        <a:pt x="30" y="8"/>
                      </a:lnTo>
                      <a:close/>
                      <a:moveTo>
                        <a:pt x="3" y="17"/>
                      </a:moveTo>
                      <a:lnTo>
                        <a:pt x="4" y="14"/>
                      </a:lnTo>
                      <a:lnTo>
                        <a:pt x="3" y="14"/>
                      </a:lnTo>
                      <a:lnTo>
                        <a:pt x="1" y="14"/>
                      </a:lnTo>
                      <a:lnTo>
                        <a:pt x="0" y="14"/>
                      </a:lnTo>
                      <a:lnTo>
                        <a:pt x="0" y="16"/>
                      </a:lnTo>
                      <a:lnTo>
                        <a:pt x="1" y="17"/>
                      </a:lnTo>
                      <a:lnTo>
                        <a:pt x="3" y="17"/>
                      </a:lnTo>
                      <a:lnTo>
                        <a:pt x="3" y="1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55" name="Freeform 248">
                  <a:extLst>
                    <a:ext uri="{FF2B5EF4-FFF2-40B4-BE49-F238E27FC236}">
                      <a16:creationId xmlns:a16="http://schemas.microsoft.com/office/drawing/2014/main" id="{C8BDECA1-0E49-A0CA-435C-F041CA0B5B15}"/>
                    </a:ext>
                  </a:extLst>
                </p:cNvPr>
                <p:cNvSpPr>
                  <a:spLocks noEditPoints="1"/>
                </p:cNvSpPr>
                <p:nvPr/>
              </p:nvSpPr>
              <p:spPr bwMode="auto">
                <a:xfrm>
                  <a:off x="2254" y="3111"/>
                  <a:ext cx="349" cy="715"/>
                </a:xfrm>
                <a:custGeom>
                  <a:avLst/>
                  <a:gdLst>
                    <a:gd name="T0" fmla="*/ 266 w 349"/>
                    <a:gd name="T1" fmla="*/ 236 h 715"/>
                    <a:gd name="T2" fmla="*/ 285 w 349"/>
                    <a:gd name="T3" fmla="*/ 273 h 715"/>
                    <a:gd name="T4" fmla="*/ 296 w 349"/>
                    <a:gd name="T5" fmla="*/ 294 h 715"/>
                    <a:gd name="T6" fmla="*/ 204 w 349"/>
                    <a:gd name="T7" fmla="*/ 335 h 715"/>
                    <a:gd name="T8" fmla="*/ 197 w 349"/>
                    <a:gd name="T9" fmla="*/ 361 h 715"/>
                    <a:gd name="T10" fmla="*/ 150 w 349"/>
                    <a:gd name="T11" fmla="*/ 374 h 715"/>
                    <a:gd name="T12" fmla="*/ 157 w 349"/>
                    <a:gd name="T13" fmla="*/ 407 h 715"/>
                    <a:gd name="T14" fmla="*/ 167 w 349"/>
                    <a:gd name="T15" fmla="*/ 409 h 715"/>
                    <a:gd name="T16" fmla="*/ 168 w 349"/>
                    <a:gd name="T17" fmla="*/ 421 h 715"/>
                    <a:gd name="T18" fmla="*/ 163 w 349"/>
                    <a:gd name="T19" fmla="*/ 423 h 715"/>
                    <a:gd name="T20" fmla="*/ 144 w 349"/>
                    <a:gd name="T21" fmla="*/ 456 h 715"/>
                    <a:gd name="T22" fmla="*/ 127 w 349"/>
                    <a:gd name="T23" fmla="*/ 470 h 715"/>
                    <a:gd name="T24" fmla="*/ 120 w 349"/>
                    <a:gd name="T25" fmla="*/ 516 h 715"/>
                    <a:gd name="T26" fmla="*/ 134 w 349"/>
                    <a:gd name="T27" fmla="*/ 541 h 715"/>
                    <a:gd name="T28" fmla="*/ 89 w 349"/>
                    <a:gd name="T29" fmla="*/ 588 h 715"/>
                    <a:gd name="T30" fmla="*/ 82 w 349"/>
                    <a:gd name="T31" fmla="*/ 600 h 715"/>
                    <a:gd name="T32" fmla="*/ 75 w 349"/>
                    <a:gd name="T33" fmla="*/ 631 h 715"/>
                    <a:gd name="T34" fmla="*/ 31 w 349"/>
                    <a:gd name="T35" fmla="*/ 643 h 715"/>
                    <a:gd name="T36" fmla="*/ 21 w 349"/>
                    <a:gd name="T37" fmla="*/ 620 h 715"/>
                    <a:gd name="T38" fmla="*/ 8 w 349"/>
                    <a:gd name="T39" fmla="*/ 608 h 715"/>
                    <a:gd name="T40" fmla="*/ 3 w 349"/>
                    <a:gd name="T41" fmla="*/ 572 h 715"/>
                    <a:gd name="T42" fmla="*/ 21 w 349"/>
                    <a:gd name="T43" fmla="*/ 549 h 715"/>
                    <a:gd name="T44" fmla="*/ 28 w 349"/>
                    <a:gd name="T45" fmla="*/ 515 h 715"/>
                    <a:gd name="T46" fmla="*/ 33 w 349"/>
                    <a:gd name="T47" fmla="*/ 490 h 715"/>
                    <a:gd name="T48" fmla="*/ 39 w 349"/>
                    <a:gd name="T49" fmla="*/ 478 h 715"/>
                    <a:gd name="T50" fmla="*/ 29 w 349"/>
                    <a:gd name="T51" fmla="*/ 465 h 715"/>
                    <a:gd name="T52" fmla="*/ 31 w 349"/>
                    <a:gd name="T53" fmla="*/ 449 h 715"/>
                    <a:gd name="T54" fmla="*/ 31 w 349"/>
                    <a:gd name="T55" fmla="*/ 434 h 715"/>
                    <a:gd name="T56" fmla="*/ 25 w 349"/>
                    <a:gd name="T57" fmla="*/ 414 h 715"/>
                    <a:gd name="T58" fmla="*/ 32 w 349"/>
                    <a:gd name="T59" fmla="*/ 401 h 715"/>
                    <a:gd name="T60" fmla="*/ 31 w 349"/>
                    <a:gd name="T61" fmla="*/ 364 h 715"/>
                    <a:gd name="T62" fmla="*/ 36 w 349"/>
                    <a:gd name="T63" fmla="*/ 348 h 715"/>
                    <a:gd name="T64" fmla="*/ 45 w 349"/>
                    <a:gd name="T65" fmla="*/ 322 h 715"/>
                    <a:gd name="T66" fmla="*/ 55 w 349"/>
                    <a:gd name="T67" fmla="*/ 278 h 715"/>
                    <a:gd name="T68" fmla="*/ 59 w 349"/>
                    <a:gd name="T69" fmla="*/ 249 h 715"/>
                    <a:gd name="T70" fmla="*/ 64 w 349"/>
                    <a:gd name="T71" fmla="*/ 220 h 715"/>
                    <a:gd name="T72" fmla="*/ 56 w 349"/>
                    <a:gd name="T73" fmla="*/ 199 h 715"/>
                    <a:gd name="T74" fmla="*/ 54 w 349"/>
                    <a:gd name="T75" fmla="*/ 180 h 715"/>
                    <a:gd name="T76" fmla="*/ 65 w 349"/>
                    <a:gd name="T77" fmla="*/ 163 h 715"/>
                    <a:gd name="T78" fmla="*/ 65 w 349"/>
                    <a:gd name="T79" fmla="*/ 143 h 715"/>
                    <a:gd name="T80" fmla="*/ 91 w 349"/>
                    <a:gd name="T81" fmla="*/ 102 h 715"/>
                    <a:gd name="T82" fmla="*/ 88 w 349"/>
                    <a:gd name="T83" fmla="*/ 71 h 715"/>
                    <a:gd name="T84" fmla="*/ 94 w 349"/>
                    <a:gd name="T85" fmla="*/ 49 h 715"/>
                    <a:gd name="T86" fmla="*/ 124 w 349"/>
                    <a:gd name="T87" fmla="*/ 8 h 715"/>
                    <a:gd name="T88" fmla="*/ 156 w 349"/>
                    <a:gd name="T89" fmla="*/ 8 h 715"/>
                    <a:gd name="T90" fmla="*/ 190 w 349"/>
                    <a:gd name="T91" fmla="*/ 6 h 715"/>
                    <a:gd name="T92" fmla="*/ 255 w 349"/>
                    <a:gd name="T93" fmla="*/ 54 h 715"/>
                    <a:gd name="T94" fmla="*/ 269 w 349"/>
                    <a:gd name="T95" fmla="*/ 94 h 715"/>
                    <a:gd name="T96" fmla="*/ 299 w 349"/>
                    <a:gd name="T97" fmla="*/ 111 h 715"/>
                    <a:gd name="T98" fmla="*/ 316 w 349"/>
                    <a:gd name="T99" fmla="*/ 104 h 715"/>
                    <a:gd name="T100" fmla="*/ 348 w 349"/>
                    <a:gd name="T101" fmla="*/ 81 h 715"/>
                    <a:gd name="T102" fmla="*/ 315 w 349"/>
                    <a:gd name="T103" fmla="*/ 123 h 715"/>
                    <a:gd name="T104" fmla="*/ 276 w 349"/>
                    <a:gd name="T105" fmla="*/ 170 h 715"/>
                    <a:gd name="T106" fmla="*/ 270 w 349"/>
                    <a:gd name="T107" fmla="*/ 194 h 715"/>
                    <a:gd name="T108" fmla="*/ 110 w 349"/>
                    <a:gd name="T109" fmla="*/ 690 h 715"/>
                    <a:gd name="T110" fmla="*/ 92 w 349"/>
                    <a:gd name="T111" fmla="*/ 667 h 715"/>
                    <a:gd name="T112" fmla="*/ 143 w 349"/>
                    <a:gd name="T113" fmla="*/ 712 h 715"/>
                    <a:gd name="T114" fmla="*/ 157 w 349"/>
                    <a:gd name="T115" fmla="*/ 712 h 715"/>
                    <a:gd name="T116" fmla="*/ 203 w 349"/>
                    <a:gd name="T117" fmla="*/ 341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9" h="715">
                      <a:moveTo>
                        <a:pt x="270" y="203"/>
                      </a:moveTo>
                      <a:lnTo>
                        <a:pt x="270" y="206"/>
                      </a:lnTo>
                      <a:lnTo>
                        <a:pt x="270" y="209"/>
                      </a:lnTo>
                      <a:lnTo>
                        <a:pt x="270" y="212"/>
                      </a:lnTo>
                      <a:lnTo>
                        <a:pt x="270" y="215"/>
                      </a:lnTo>
                      <a:lnTo>
                        <a:pt x="269" y="217"/>
                      </a:lnTo>
                      <a:lnTo>
                        <a:pt x="269" y="217"/>
                      </a:lnTo>
                      <a:lnTo>
                        <a:pt x="268" y="217"/>
                      </a:lnTo>
                      <a:lnTo>
                        <a:pt x="266" y="217"/>
                      </a:lnTo>
                      <a:lnTo>
                        <a:pt x="266" y="219"/>
                      </a:lnTo>
                      <a:lnTo>
                        <a:pt x="265" y="227"/>
                      </a:lnTo>
                      <a:lnTo>
                        <a:pt x="265" y="230"/>
                      </a:lnTo>
                      <a:lnTo>
                        <a:pt x="266" y="236"/>
                      </a:lnTo>
                      <a:lnTo>
                        <a:pt x="266" y="239"/>
                      </a:lnTo>
                      <a:lnTo>
                        <a:pt x="266" y="240"/>
                      </a:lnTo>
                      <a:lnTo>
                        <a:pt x="265" y="242"/>
                      </a:lnTo>
                      <a:lnTo>
                        <a:pt x="265" y="243"/>
                      </a:lnTo>
                      <a:lnTo>
                        <a:pt x="268" y="248"/>
                      </a:lnTo>
                      <a:lnTo>
                        <a:pt x="272" y="252"/>
                      </a:lnTo>
                      <a:lnTo>
                        <a:pt x="283" y="258"/>
                      </a:lnTo>
                      <a:lnTo>
                        <a:pt x="286" y="261"/>
                      </a:lnTo>
                      <a:lnTo>
                        <a:pt x="288" y="262"/>
                      </a:lnTo>
                      <a:lnTo>
                        <a:pt x="288" y="265"/>
                      </a:lnTo>
                      <a:lnTo>
                        <a:pt x="286" y="268"/>
                      </a:lnTo>
                      <a:lnTo>
                        <a:pt x="286" y="271"/>
                      </a:lnTo>
                      <a:lnTo>
                        <a:pt x="285" y="273"/>
                      </a:lnTo>
                      <a:lnTo>
                        <a:pt x="285" y="276"/>
                      </a:lnTo>
                      <a:lnTo>
                        <a:pt x="286" y="279"/>
                      </a:lnTo>
                      <a:lnTo>
                        <a:pt x="288" y="279"/>
                      </a:lnTo>
                      <a:lnTo>
                        <a:pt x="288" y="281"/>
                      </a:lnTo>
                      <a:lnTo>
                        <a:pt x="289" y="282"/>
                      </a:lnTo>
                      <a:lnTo>
                        <a:pt x="291" y="282"/>
                      </a:lnTo>
                      <a:lnTo>
                        <a:pt x="292" y="282"/>
                      </a:lnTo>
                      <a:lnTo>
                        <a:pt x="295" y="284"/>
                      </a:lnTo>
                      <a:lnTo>
                        <a:pt x="296" y="284"/>
                      </a:lnTo>
                      <a:lnTo>
                        <a:pt x="296" y="285"/>
                      </a:lnTo>
                      <a:lnTo>
                        <a:pt x="298" y="288"/>
                      </a:lnTo>
                      <a:lnTo>
                        <a:pt x="298" y="292"/>
                      </a:lnTo>
                      <a:lnTo>
                        <a:pt x="296" y="294"/>
                      </a:lnTo>
                      <a:lnTo>
                        <a:pt x="293" y="299"/>
                      </a:lnTo>
                      <a:lnTo>
                        <a:pt x="286" y="309"/>
                      </a:lnTo>
                      <a:lnTo>
                        <a:pt x="282" y="315"/>
                      </a:lnTo>
                      <a:lnTo>
                        <a:pt x="280" y="318"/>
                      </a:lnTo>
                      <a:lnTo>
                        <a:pt x="279" y="319"/>
                      </a:lnTo>
                      <a:lnTo>
                        <a:pt x="278" y="322"/>
                      </a:lnTo>
                      <a:lnTo>
                        <a:pt x="270" y="325"/>
                      </a:lnTo>
                      <a:lnTo>
                        <a:pt x="255" y="331"/>
                      </a:lnTo>
                      <a:lnTo>
                        <a:pt x="243" y="334"/>
                      </a:lnTo>
                      <a:lnTo>
                        <a:pt x="223" y="337"/>
                      </a:lnTo>
                      <a:lnTo>
                        <a:pt x="214" y="337"/>
                      </a:lnTo>
                      <a:lnTo>
                        <a:pt x="207" y="337"/>
                      </a:lnTo>
                      <a:lnTo>
                        <a:pt x="204" y="335"/>
                      </a:lnTo>
                      <a:lnTo>
                        <a:pt x="201" y="334"/>
                      </a:lnTo>
                      <a:lnTo>
                        <a:pt x="199" y="334"/>
                      </a:lnTo>
                      <a:lnTo>
                        <a:pt x="197" y="335"/>
                      </a:lnTo>
                      <a:lnTo>
                        <a:pt x="197" y="335"/>
                      </a:lnTo>
                      <a:lnTo>
                        <a:pt x="197" y="341"/>
                      </a:lnTo>
                      <a:lnTo>
                        <a:pt x="199" y="342"/>
                      </a:lnTo>
                      <a:lnTo>
                        <a:pt x="201" y="344"/>
                      </a:lnTo>
                      <a:lnTo>
                        <a:pt x="203" y="345"/>
                      </a:lnTo>
                      <a:lnTo>
                        <a:pt x="200" y="345"/>
                      </a:lnTo>
                      <a:lnTo>
                        <a:pt x="203" y="348"/>
                      </a:lnTo>
                      <a:lnTo>
                        <a:pt x="201" y="352"/>
                      </a:lnTo>
                      <a:lnTo>
                        <a:pt x="199" y="357"/>
                      </a:lnTo>
                      <a:lnTo>
                        <a:pt x="197" y="361"/>
                      </a:lnTo>
                      <a:lnTo>
                        <a:pt x="197" y="365"/>
                      </a:lnTo>
                      <a:lnTo>
                        <a:pt x="197" y="370"/>
                      </a:lnTo>
                      <a:lnTo>
                        <a:pt x="199" y="374"/>
                      </a:lnTo>
                      <a:lnTo>
                        <a:pt x="196" y="378"/>
                      </a:lnTo>
                      <a:lnTo>
                        <a:pt x="190" y="381"/>
                      </a:lnTo>
                      <a:lnTo>
                        <a:pt x="186" y="383"/>
                      </a:lnTo>
                      <a:lnTo>
                        <a:pt x="180" y="384"/>
                      </a:lnTo>
                      <a:lnTo>
                        <a:pt x="174" y="383"/>
                      </a:lnTo>
                      <a:lnTo>
                        <a:pt x="168" y="383"/>
                      </a:lnTo>
                      <a:lnTo>
                        <a:pt x="158" y="377"/>
                      </a:lnTo>
                      <a:lnTo>
                        <a:pt x="153" y="375"/>
                      </a:lnTo>
                      <a:lnTo>
                        <a:pt x="154" y="374"/>
                      </a:lnTo>
                      <a:lnTo>
                        <a:pt x="150" y="374"/>
                      </a:lnTo>
                      <a:lnTo>
                        <a:pt x="148" y="377"/>
                      </a:lnTo>
                      <a:lnTo>
                        <a:pt x="148" y="381"/>
                      </a:lnTo>
                      <a:lnTo>
                        <a:pt x="148" y="386"/>
                      </a:lnTo>
                      <a:lnTo>
                        <a:pt x="150" y="391"/>
                      </a:lnTo>
                      <a:lnTo>
                        <a:pt x="150" y="394"/>
                      </a:lnTo>
                      <a:lnTo>
                        <a:pt x="150" y="397"/>
                      </a:lnTo>
                      <a:lnTo>
                        <a:pt x="150" y="398"/>
                      </a:lnTo>
                      <a:lnTo>
                        <a:pt x="150" y="401"/>
                      </a:lnTo>
                      <a:lnTo>
                        <a:pt x="150" y="403"/>
                      </a:lnTo>
                      <a:lnTo>
                        <a:pt x="151" y="404"/>
                      </a:lnTo>
                      <a:lnTo>
                        <a:pt x="153" y="406"/>
                      </a:lnTo>
                      <a:lnTo>
                        <a:pt x="156" y="407"/>
                      </a:lnTo>
                      <a:lnTo>
                        <a:pt x="157" y="407"/>
                      </a:lnTo>
                      <a:lnTo>
                        <a:pt x="157" y="407"/>
                      </a:lnTo>
                      <a:lnTo>
                        <a:pt x="158" y="407"/>
                      </a:lnTo>
                      <a:lnTo>
                        <a:pt x="158" y="407"/>
                      </a:lnTo>
                      <a:lnTo>
                        <a:pt x="158" y="407"/>
                      </a:lnTo>
                      <a:lnTo>
                        <a:pt x="158" y="409"/>
                      </a:lnTo>
                      <a:lnTo>
                        <a:pt x="158" y="410"/>
                      </a:lnTo>
                      <a:lnTo>
                        <a:pt x="158" y="410"/>
                      </a:lnTo>
                      <a:lnTo>
                        <a:pt x="160" y="411"/>
                      </a:lnTo>
                      <a:lnTo>
                        <a:pt x="161" y="411"/>
                      </a:lnTo>
                      <a:lnTo>
                        <a:pt x="163" y="411"/>
                      </a:lnTo>
                      <a:lnTo>
                        <a:pt x="166" y="411"/>
                      </a:lnTo>
                      <a:lnTo>
                        <a:pt x="167" y="410"/>
                      </a:lnTo>
                      <a:lnTo>
                        <a:pt x="167" y="409"/>
                      </a:lnTo>
                      <a:lnTo>
                        <a:pt x="166" y="407"/>
                      </a:lnTo>
                      <a:lnTo>
                        <a:pt x="164" y="407"/>
                      </a:lnTo>
                      <a:lnTo>
                        <a:pt x="167" y="406"/>
                      </a:lnTo>
                      <a:lnTo>
                        <a:pt x="170" y="404"/>
                      </a:lnTo>
                      <a:lnTo>
                        <a:pt x="173" y="406"/>
                      </a:lnTo>
                      <a:lnTo>
                        <a:pt x="176" y="410"/>
                      </a:lnTo>
                      <a:lnTo>
                        <a:pt x="176" y="411"/>
                      </a:lnTo>
                      <a:lnTo>
                        <a:pt x="176" y="414"/>
                      </a:lnTo>
                      <a:lnTo>
                        <a:pt x="176" y="416"/>
                      </a:lnTo>
                      <a:lnTo>
                        <a:pt x="174" y="419"/>
                      </a:lnTo>
                      <a:lnTo>
                        <a:pt x="173" y="420"/>
                      </a:lnTo>
                      <a:lnTo>
                        <a:pt x="170" y="421"/>
                      </a:lnTo>
                      <a:lnTo>
                        <a:pt x="168" y="421"/>
                      </a:lnTo>
                      <a:lnTo>
                        <a:pt x="166" y="421"/>
                      </a:lnTo>
                      <a:lnTo>
                        <a:pt x="164" y="420"/>
                      </a:lnTo>
                      <a:lnTo>
                        <a:pt x="163" y="416"/>
                      </a:lnTo>
                      <a:lnTo>
                        <a:pt x="161" y="414"/>
                      </a:lnTo>
                      <a:lnTo>
                        <a:pt x="158" y="413"/>
                      </a:lnTo>
                      <a:lnTo>
                        <a:pt x="157" y="414"/>
                      </a:lnTo>
                      <a:lnTo>
                        <a:pt x="156" y="414"/>
                      </a:lnTo>
                      <a:lnTo>
                        <a:pt x="153" y="416"/>
                      </a:lnTo>
                      <a:lnTo>
                        <a:pt x="151" y="417"/>
                      </a:lnTo>
                      <a:lnTo>
                        <a:pt x="151" y="419"/>
                      </a:lnTo>
                      <a:lnTo>
                        <a:pt x="153" y="420"/>
                      </a:lnTo>
                      <a:lnTo>
                        <a:pt x="157" y="421"/>
                      </a:lnTo>
                      <a:lnTo>
                        <a:pt x="163" y="423"/>
                      </a:lnTo>
                      <a:lnTo>
                        <a:pt x="160" y="426"/>
                      </a:lnTo>
                      <a:lnTo>
                        <a:pt x="153" y="429"/>
                      </a:lnTo>
                      <a:lnTo>
                        <a:pt x="150" y="432"/>
                      </a:lnTo>
                      <a:lnTo>
                        <a:pt x="147" y="434"/>
                      </a:lnTo>
                      <a:lnTo>
                        <a:pt x="147" y="436"/>
                      </a:lnTo>
                      <a:lnTo>
                        <a:pt x="145" y="439"/>
                      </a:lnTo>
                      <a:lnTo>
                        <a:pt x="145" y="440"/>
                      </a:lnTo>
                      <a:lnTo>
                        <a:pt x="145" y="443"/>
                      </a:lnTo>
                      <a:lnTo>
                        <a:pt x="145" y="444"/>
                      </a:lnTo>
                      <a:lnTo>
                        <a:pt x="145" y="446"/>
                      </a:lnTo>
                      <a:lnTo>
                        <a:pt x="145" y="452"/>
                      </a:lnTo>
                      <a:lnTo>
                        <a:pt x="145" y="453"/>
                      </a:lnTo>
                      <a:lnTo>
                        <a:pt x="144" y="456"/>
                      </a:lnTo>
                      <a:lnTo>
                        <a:pt x="143" y="457"/>
                      </a:lnTo>
                      <a:lnTo>
                        <a:pt x="141" y="459"/>
                      </a:lnTo>
                      <a:lnTo>
                        <a:pt x="140" y="462"/>
                      </a:lnTo>
                      <a:lnTo>
                        <a:pt x="138" y="463"/>
                      </a:lnTo>
                      <a:lnTo>
                        <a:pt x="140" y="465"/>
                      </a:lnTo>
                      <a:lnTo>
                        <a:pt x="140" y="466"/>
                      </a:lnTo>
                      <a:lnTo>
                        <a:pt x="140" y="467"/>
                      </a:lnTo>
                      <a:lnTo>
                        <a:pt x="138" y="469"/>
                      </a:lnTo>
                      <a:lnTo>
                        <a:pt x="137" y="469"/>
                      </a:lnTo>
                      <a:lnTo>
                        <a:pt x="133" y="469"/>
                      </a:lnTo>
                      <a:lnTo>
                        <a:pt x="130" y="469"/>
                      </a:lnTo>
                      <a:lnTo>
                        <a:pt x="128" y="469"/>
                      </a:lnTo>
                      <a:lnTo>
                        <a:pt x="127" y="470"/>
                      </a:lnTo>
                      <a:lnTo>
                        <a:pt x="125" y="472"/>
                      </a:lnTo>
                      <a:lnTo>
                        <a:pt x="122" y="473"/>
                      </a:lnTo>
                      <a:lnTo>
                        <a:pt x="118" y="475"/>
                      </a:lnTo>
                      <a:lnTo>
                        <a:pt x="115" y="478"/>
                      </a:lnTo>
                      <a:lnTo>
                        <a:pt x="112" y="480"/>
                      </a:lnTo>
                      <a:lnTo>
                        <a:pt x="107" y="492"/>
                      </a:lnTo>
                      <a:lnTo>
                        <a:pt x="105" y="495"/>
                      </a:lnTo>
                      <a:lnTo>
                        <a:pt x="105" y="499"/>
                      </a:lnTo>
                      <a:lnTo>
                        <a:pt x="107" y="503"/>
                      </a:lnTo>
                      <a:lnTo>
                        <a:pt x="110" y="506"/>
                      </a:lnTo>
                      <a:lnTo>
                        <a:pt x="112" y="511"/>
                      </a:lnTo>
                      <a:lnTo>
                        <a:pt x="115" y="513"/>
                      </a:lnTo>
                      <a:lnTo>
                        <a:pt x="120" y="516"/>
                      </a:lnTo>
                      <a:lnTo>
                        <a:pt x="124" y="518"/>
                      </a:lnTo>
                      <a:lnTo>
                        <a:pt x="128" y="518"/>
                      </a:lnTo>
                      <a:lnTo>
                        <a:pt x="133" y="518"/>
                      </a:lnTo>
                      <a:lnTo>
                        <a:pt x="137" y="521"/>
                      </a:lnTo>
                      <a:lnTo>
                        <a:pt x="138" y="526"/>
                      </a:lnTo>
                      <a:lnTo>
                        <a:pt x="137" y="531"/>
                      </a:lnTo>
                      <a:lnTo>
                        <a:pt x="133" y="534"/>
                      </a:lnTo>
                      <a:lnTo>
                        <a:pt x="130" y="535"/>
                      </a:lnTo>
                      <a:lnTo>
                        <a:pt x="131" y="536"/>
                      </a:lnTo>
                      <a:lnTo>
                        <a:pt x="134" y="536"/>
                      </a:lnTo>
                      <a:lnTo>
                        <a:pt x="135" y="536"/>
                      </a:lnTo>
                      <a:lnTo>
                        <a:pt x="135" y="539"/>
                      </a:lnTo>
                      <a:lnTo>
                        <a:pt x="134" y="541"/>
                      </a:lnTo>
                      <a:lnTo>
                        <a:pt x="131" y="544"/>
                      </a:lnTo>
                      <a:lnTo>
                        <a:pt x="112" y="558"/>
                      </a:lnTo>
                      <a:lnTo>
                        <a:pt x="108" y="562"/>
                      </a:lnTo>
                      <a:lnTo>
                        <a:pt x="105" y="568"/>
                      </a:lnTo>
                      <a:lnTo>
                        <a:pt x="104" y="574"/>
                      </a:lnTo>
                      <a:lnTo>
                        <a:pt x="102" y="580"/>
                      </a:lnTo>
                      <a:lnTo>
                        <a:pt x="101" y="585"/>
                      </a:lnTo>
                      <a:lnTo>
                        <a:pt x="101" y="588"/>
                      </a:lnTo>
                      <a:lnTo>
                        <a:pt x="98" y="591"/>
                      </a:lnTo>
                      <a:lnTo>
                        <a:pt x="95" y="593"/>
                      </a:lnTo>
                      <a:lnTo>
                        <a:pt x="94" y="593"/>
                      </a:lnTo>
                      <a:lnTo>
                        <a:pt x="91" y="591"/>
                      </a:lnTo>
                      <a:lnTo>
                        <a:pt x="89" y="588"/>
                      </a:lnTo>
                      <a:lnTo>
                        <a:pt x="87" y="584"/>
                      </a:lnTo>
                      <a:lnTo>
                        <a:pt x="87" y="587"/>
                      </a:lnTo>
                      <a:lnTo>
                        <a:pt x="85" y="588"/>
                      </a:lnTo>
                      <a:lnTo>
                        <a:pt x="84" y="588"/>
                      </a:lnTo>
                      <a:lnTo>
                        <a:pt x="81" y="590"/>
                      </a:lnTo>
                      <a:lnTo>
                        <a:pt x="84" y="590"/>
                      </a:lnTo>
                      <a:lnTo>
                        <a:pt x="87" y="590"/>
                      </a:lnTo>
                      <a:lnTo>
                        <a:pt x="88" y="591"/>
                      </a:lnTo>
                      <a:lnTo>
                        <a:pt x="89" y="593"/>
                      </a:lnTo>
                      <a:lnTo>
                        <a:pt x="89" y="595"/>
                      </a:lnTo>
                      <a:lnTo>
                        <a:pt x="87" y="597"/>
                      </a:lnTo>
                      <a:lnTo>
                        <a:pt x="85" y="598"/>
                      </a:lnTo>
                      <a:lnTo>
                        <a:pt x="82" y="600"/>
                      </a:lnTo>
                      <a:lnTo>
                        <a:pt x="81" y="601"/>
                      </a:lnTo>
                      <a:lnTo>
                        <a:pt x="79" y="603"/>
                      </a:lnTo>
                      <a:lnTo>
                        <a:pt x="78" y="605"/>
                      </a:lnTo>
                      <a:lnTo>
                        <a:pt x="78" y="611"/>
                      </a:lnTo>
                      <a:lnTo>
                        <a:pt x="77" y="613"/>
                      </a:lnTo>
                      <a:lnTo>
                        <a:pt x="74" y="618"/>
                      </a:lnTo>
                      <a:lnTo>
                        <a:pt x="77" y="617"/>
                      </a:lnTo>
                      <a:lnTo>
                        <a:pt x="78" y="620"/>
                      </a:lnTo>
                      <a:lnTo>
                        <a:pt x="79" y="623"/>
                      </a:lnTo>
                      <a:lnTo>
                        <a:pt x="79" y="626"/>
                      </a:lnTo>
                      <a:lnTo>
                        <a:pt x="79" y="630"/>
                      </a:lnTo>
                      <a:lnTo>
                        <a:pt x="78" y="630"/>
                      </a:lnTo>
                      <a:lnTo>
                        <a:pt x="75" y="631"/>
                      </a:lnTo>
                      <a:lnTo>
                        <a:pt x="72" y="631"/>
                      </a:lnTo>
                      <a:lnTo>
                        <a:pt x="78" y="633"/>
                      </a:lnTo>
                      <a:lnTo>
                        <a:pt x="81" y="634"/>
                      </a:lnTo>
                      <a:lnTo>
                        <a:pt x="82" y="637"/>
                      </a:lnTo>
                      <a:lnTo>
                        <a:pt x="88" y="644"/>
                      </a:lnTo>
                      <a:lnTo>
                        <a:pt x="89" y="649"/>
                      </a:lnTo>
                      <a:lnTo>
                        <a:pt x="89" y="651"/>
                      </a:lnTo>
                      <a:lnTo>
                        <a:pt x="88" y="649"/>
                      </a:lnTo>
                      <a:lnTo>
                        <a:pt x="82" y="647"/>
                      </a:lnTo>
                      <a:lnTo>
                        <a:pt x="71" y="646"/>
                      </a:lnTo>
                      <a:lnTo>
                        <a:pt x="64" y="643"/>
                      </a:lnTo>
                      <a:lnTo>
                        <a:pt x="62" y="643"/>
                      </a:lnTo>
                      <a:lnTo>
                        <a:pt x="31" y="643"/>
                      </a:lnTo>
                      <a:lnTo>
                        <a:pt x="29" y="641"/>
                      </a:lnTo>
                      <a:lnTo>
                        <a:pt x="28" y="641"/>
                      </a:lnTo>
                      <a:lnTo>
                        <a:pt x="26" y="637"/>
                      </a:lnTo>
                      <a:lnTo>
                        <a:pt x="25" y="636"/>
                      </a:lnTo>
                      <a:lnTo>
                        <a:pt x="22" y="633"/>
                      </a:lnTo>
                      <a:lnTo>
                        <a:pt x="21" y="631"/>
                      </a:lnTo>
                      <a:lnTo>
                        <a:pt x="21" y="630"/>
                      </a:lnTo>
                      <a:lnTo>
                        <a:pt x="21" y="628"/>
                      </a:lnTo>
                      <a:lnTo>
                        <a:pt x="22" y="624"/>
                      </a:lnTo>
                      <a:lnTo>
                        <a:pt x="22" y="623"/>
                      </a:lnTo>
                      <a:lnTo>
                        <a:pt x="22" y="621"/>
                      </a:lnTo>
                      <a:lnTo>
                        <a:pt x="22" y="621"/>
                      </a:lnTo>
                      <a:lnTo>
                        <a:pt x="21" y="620"/>
                      </a:lnTo>
                      <a:lnTo>
                        <a:pt x="21" y="618"/>
                      </a:lnTo>
                      <a:lnTo>
                        <a:pt x="21" y="618"/>
                      </a:lnTo>
                      <a:lnTo>
                        <a:pt x="22" y="617"/>
                      </a:lnTo>
                      <a:lnTo>
                        <a:pt x="22" y="617"/>
                      </a:lnTo>
                      <a:lnTo>
                        <a:pt x="22" y="614"/>
                      </a:lnTo>
                      <a:lnTo>
                        <a:pt x="22" y="613"/>
                      </a:lnTo>
                      <a:lnTo>
                        <a:pt x="22" y="610"/>
                      </a:lnTo>
                      <a:lnTo>
                        <a:pt x="22" y="608"/>
                      </a:lnTo>
                      <a:lnTo>
                        <a:pt x="19" y="607"/>
                      </a:lnTo>
                      <a:lnTo>
                        <a:pt x="16" y="607"/>
                      </a:lnTo>
                      <a:lnTo>
                        <a:pt x="10" y="608"/>
                      </a:lnTo>
                      <a:lnTo>
                        <a:pt x="8" y="610"/>
                      </a:lnTo>
                      <a:lnTo>
                        <a:pt x="8" y="608"/>
                      </a:lnTo>
                      <a:lnTo>
                        <a:pt x="6" y="608"/>
                      </a:lnTo>
                      <a:lnTo>
                        <a:pt x="3" y="598"/>
                      </a:lnTo>
                      <a:lnTo>
                        <a:pt x="2" y="593"/>
                      </a:lnTo>
                      <a:lnTo>
                        <a:pt x="0" y="591"/>
                      </a:lnTo>
                      <a:lnTo>
                        <a:pt x="0" y="590"/>
                      </a:lnTo>
                      <a:lnTo>
                        <a:pt x="2" y="585"/>
                      </a:lnTo>
                      <a:lnTo>
                        <a:pt x="2" y="584"/>
                      </a:lnTo>
                      <a:lnTo>
                        <a:pt x="0" y="581"/>
                      </a:lnTo>
                      <a:lnTo>
                        <a:pt x="0" y="580"/>
                      </a:lnTo>
                      <a:lnTo>
                        <a:pt x="0" y="577"/>
                      </a:lnTo>
                      <a:lnTo>
                        <a:pt x="0" y="575"/>
                      </a:lnTo>
                      <a:lnTo>
                        <a:pt x="2" y="572"/>
                      </a:lnTo>
                      <a:lnTo>
                        <a:pt x="3" y="572"/>
                      </a:lnTo>
                      <a:lnTo>
                        <a:pt x="5" y="572"/>
                      </a:lnTo>
                      <a:lnTo>
                        <a:pt x="8" y="572"/>
                      </a:lnTo>
                      <a:lnTo>
                        <a:pt x="8" y="568"/>
                      </a:lnTo>
                      <a:lnTo>
                        <a:pt x="10" y="565"/>
                      </a:lnTo>
                      <a:lnTo>
                        <a:pt x="13" y="562"/>
                      </a:lnTo>
                      <a:lnTo>
                        <a:pt x="16" y="561"/>
                      </a:lnTo>
                      <a:lnTo>
                        <a:pt x="16" y="558"/>
                      </a:lnTo>
                      <a:lnTo>
                        <a:pt x="16" y="557"/>
                      </a:lnTo>
                      <a:lnTo>
                        <a:pt x="16" y="555"/>
                      </a:lnTo>
                      <a:lnTo>
                        <a:pt x="16" y="554"/>
                      </a:lnTo>
                      <a:lnTo>
                        <a:pt x="18" y="552"/>
                      </a:lnTo>
                      <a:lnTo>
                        <a:pt x="19" y="551"/>
                      </a:lnTo>
                      <a:lnTo>
                        <a:pt x="21" y="549"/>
                      </a:lnTo>
                      <a:lnTo>
                        <a:pt x="21" y="548"/>
                      </a:lnTo>
                      <a:lnTo>
                        <a:pt x="22" y="545"/>
                      </a:lnTo>
                      <a:lnTo>
                        <a:pt x="21" y="542"/>
                      </a:lnTo>
                      <a:lnTo>
                        <a:pt x="19" y="539"/>
                      </a:lnTo>
                      <a:lnTo>
                        <a:pt x="19" y="536"/>
                      </a:lnTo>
                      <a:lnTo>
                        <a:pt x="19" y="534"/>
                      </a:lnTo>
                      <a:lnTo>
                        <a:pt x="21" y="529"/>
                      </a:lnTo>
                      <a:lnTo>
                        <a:pt x="23" y="526"/>
                      </a:lnTo>
                      <a:lnTo>
                        <a:pt x="29" y="521"/>
                      </a:lnTo>
                      <a:lnTo>
                        <a:pt x="29" y="521"/>
                      </a:lnTo>
                      <a:lnTo>
                        <a:pt x="29" y="519"/>
                      </a:lnTo>
                      <a:lnTo>
                        <a:pt x="28" y="516"/>
                      </a:lnTo>
                      <a:lnTo>
                        <a:pt x="28" y="515"/>
                      </a:lnTo>
                      <a:lnTo>
                        <a:pt x="29" y="512"/>
                      </a:lnTo>
                      <a:lnTo>
                        <a:pt x="31" y="509"/>
                      </a:lnTo>
                      <a:lnTo>
                        <a:pt x="32" y="506"/>
                      </a:lnTo>
                      <a:lnTo>
                        <a:pt x="32" y="503"/>
                      </a:lnTo>
                      <a:lnTo>
                        <a:pt x="32" y="502"/>
                      </a:lnTo>
                      <a:lnTo>
                        <a:pt x="31" y="499"/>
                      </a:lnTo>
                      <a:lnTo>
                        <a:pt x="31" y="498"/>
                      </a:lnTo>
                      <a:lnTo>
                        <a:pt x="31" y="496"/>
                      </a:lnTo>
                      <a:lnTo>
                        <a:pt x="32" y="495"/>
                      </a:lnTo>
                      <a:lnTo>
                        <a:pt x="32" y="495"/>
                      </a:lnTo>
                      <a:lnTo>
                        <a:pt x="33" y="493"/>
                      </a:lnTo>
                      <a:lnTo>
                        <a:pt x="33" y="492"/>
                      </a:lnTo>
                      <a:lnTo>
                        <a:pt x="33" y="490"/>
                      </a:lnTo>
                      <a:lnTo>
                        <a:pt x="32" y="489"/>
                      </a:lnTo>
                      <a:lnTo>
                        <a:pt x="32" y="486"/>
                      </a:lnTo>
                      <a:lnTo>
                        <a:pt x="32" y="485"/>
                      </a:lnTo>
                      <a:lnTo>
                        <a:pt x="32" y="483"/>
                      </a:lnTo>
                      <a:lnTo>
                        <a:pt x="32" y="483"/>
                      </a:lnTo>
                      <a:lnTo>
                        <a:pt x="33" y="482"/>
                      </a:lnTo>
                      <a:lnTo>
                        <a:pt x="33" y="482"/>
                      </a:lnTo>
                      <a:lnTo>
                        <a:pt x="36" y="480"/>
                      </a:lnTo>
                      <a:lnTo>
                        <a:pt x="36" y="480"/>
                      </a:lnTo>
                      <a:lnTo>
                        <a:pt x="36" y="480"/>
                      </a:lnTo>
                      <a:lnTo>
                        <a:pt x="36" y="480"/>
                      </a:lnTo>
                      <a:lnTo>
                        <a:pt x="36" y="479"/>
                      </a:lnTo>
                      <a:lnTo>
                        <a:pt x="39" y="478"/>
                      </a:lnTo>
                      <a:lnTo>
                        <a:pt x="39" y="478"/>
                      </a:lnTo>
                      <a:lnTo>
                        <a:pt x="39" y="476"/>
                      </a:lnTo>
                      <a:lnTo>
                        <a:pt x="38" y="475"/>
                      </a:lnTo>
                      <a:lnTo>
                        <a:pt x="36" y="473"/>
                      </a:lnTo>
                      <a:lnTo>
                        <a:pt x="35" y="470"/>
                      </a:lnTo>
                      <a:lnTo>
                        <a:pt x="33" y="469"/>
                      </a:lnTo>
                      <a:lnTo>
                        <a:pt x="32" y="469"/>
                      </a:lnTo>
                      <a:lnTo>
                        <a:pt x="31" y="467"/>
                      </a:lnTo>
                      <a:lnTo>
                        <a:pt x="28" y="467"/>
                      </a:lnTo>
                      <a:lnTo>
                        <a:pt x="26" y="466"/>
                      </a:lnTo>
                      <a:lnTo>
                        <a:pt x="26" y="465"/>
                      </a:lnTo>
                      <a:lnTo>
                        <a:pt x="28" y="465"/>
                      </a:lnTo>
                      <a:lnTo>
                        <a:pt x="29" y="465"/>
                      </a:lnTo>
                      <a:lnTo>
                        <a:pt x="33" y="465"/>
                      </a:lnTo>
                      <a:lnTo>
                        <a:pt x="35" y="465"/>
                      </a:lnTo>
                      <a:lnTo>
                        <a:pt x="38" y="465"/>
                      </a:lnTo>
                      <a:lnTo>
                        <a:pt x="39" y="465"/>
                      </a:lnTo>
                      <a:lnTo>
                        <a:pt x="41" y="463"/>
                      </a:lnTo>
                      <a:lnTo>
                        <a:pt x="42" y="460"/>
                      </a:lnTo>
                      <a:lnTo>
                        <a:pt x="42" y="457"/>
                      </a:lnTo>
                      <a:lnTo>
                        <a:pt x="39" y="456"/>
                      </a:lnTo>
                      <a:lnTo>
                        <a:pt x="35" y="456"/>
                      </a:lnTo>
                      <a:lnTo>
                        <a:pt x="32" y="455"/>
                      </a:lnTo>
                      <a:lnTo>
                        <a:pt x="31" y="455"/>
                      </a:lnTo>
                      <a:lnTo>
                        <a:pt x="31" y="450"/>
                      </a:lnTo>
                      <a:lnTo>
                        <a:pt x="31" y="449"/>
                      </a:lnTo>
                      <a:lnTo>
                        <a:pt x="32" y="447"/>
                      </a:lnTo>
                      <a:lnTo>
                        <a:pt x="32" y="446"/>
                      </a:lnTo>
                      <a:lnTo>
                        <a:pt x="32" y="444"/>
                      </a:lnTo>
                      <a:lnTo>
                        <a:pt x="32" y="443"/>
                      </a:lnTo>
                      <a:lnTo>
                        <a:pt x="32" y="443"/>
                      </a:lnTo>
                      <a:lnTo>
                        <a:pt x="31" y="440"/>
                      </a:lnTo>
                      <a:lnTo>
                        <a:pt x="31" y="440"/>
                      </a:lnTo>
                      <a:lnTo>
                        <a:pt x="32" y="440"/>
                      </a:lnTo>
                      <a:lnTo>
                        <a:pt x="32" y="439"/>
                      </a:lnTo>
                      <a:lnTo>
                        <a:pt x="32" y="439"/>
                      </a:lnTo>
                      <a:lnTo>
                        <a:pt x="32" y="437"/>
                      </a:lnTo>
                      <a:lnTo>
                        <a:pt x="32" y="437"/>
                      </a:lnTo>
                      <a:lnTo>
                        <a:pt x="31" y="434"/>
                      </a:lnTo>
                      <a:lnTo>
                        <a:pt x="29" y="434"/>
                      </a:lnTo>
                      <a:lnTo>
                        <a:pt x="29" y="433"/>
                      </a:lnTo>
                      <a:lnTo>
                        <a:pt x="29" y="432"/>
                      </a:lnTo>
                      <a:lnTo>
                        <a:pt x="31" y="432"/>
                      </a:lnTo>
                      <a:lnTo>
                        <a:pt x="31" y="430"/>
                      </a:lnTo>
                      <a:lnTo>
                        <a:pt x="32" y="430"/>
                      </a:lnTo>
                      <a:lnTo>
                        <a:pt x="32" y="429"/>
                      </a:lnTo>
                      <a:lnTo>
                        <a:pt x="31" y="427"/>
                      </a:lnTo>
                      <a:lnTo>
                        <a:pt x="28" y="427"/>
                      </a:lnTo>
                      <a:lnTo>
                        <a:pt x="26" y="426"/>
                      </a:lnTo>
                      <a:lnTo>
                        <a:pt x="25" y="424"/>
                      </a:lnTo>
                      <a:lnTo>
                        <a:pt x="25" y="420"/>
                      </a:lnTo>
                      <a:lnTo>
                        <a:pt x="25" y="414"/>
                      </a:lnTo>
                      <a:lnTo>
                        <a:pt x="25" y="414"/>
                      </a:lnTo>
                      <a:lnTo>
                        <a:pt x="26" y="413"/>
                      </a:lnTo>
                      <a:lnTo>
                        <a:pt x="26" y="413"/>
                      </a:lnTo>
                      <a:lnTo>
                        <a:pt x="26" y="411"/>
                      </a:lnTo>
                      <a:lnTo>
                        <a:pt x="26" y="410"/>
                      </a:lnTo>
                      <a:lnTo>
                        <a:pt x="26" y="409"/>
                      </a:lnTo>
                      <a:lnTo>
                        <a:pt x="26" y="407"/>
                      </a:lnTo>
                      <a:lnTo>
                        <a:pt x="26" y="407"/>
                      </a:lnTo>
                      <a:lnTo>
                        <a:pt x="26" y="406"/>
                      </a:lnTo>
                      <a:lnTo>
                        <a:pt x="28" y="406"/>
                      </a:lnTo>
                      <a:lnTo>
                        <a:pt x="29" y="404"/>
                      </a:lnTo>
                      <a:lnTo>
                        <a:pt x="31" y="404"/>
                      </a:lnTo>
                      <a:lnTo>
                        <a:pt x="32" y="401"/>
                      </a:lnTo>
                      <a:lnTo>
                        <a:pt x="32" y="400"/>
                      </a:lnTo>
                      <a:lnTo>
                        <a:pt x="31" y="394"/>
                      </a:lnTo>
                      <a:lnTo>
                        <a:pt x="29" y="393"/>
                      </a:lnTo>
                      <a:lnTo>
                        <a:pt x="29" y="380"/>
                      </a:lnTo>
                      <a:lnTo>
                        <a:pt x="29" y="375"/>
                      </a:lnTo>
                      <a:lnTo>
                        <a:pt x="29" y="373"/>
                      </a:lnTo>
                      <a:lnTo>
                        <a:pt x="31" y="370"/>
                      </a:lnTo>
                      <a:lnTo>
                        <a:pt x="32" y="367"/>
                      </a:lnTo>
                      <a:lnTo>
                        <a:pt x="32" y="367"/>
                      </a:lnTo>
                      <a:lnTo>
                        <a:pt x="32" y="365"/>
                      </a:lnTo>
                      <a:lnTo>
                        <a:pt x="32" y="365"/>
                      </a:lnTo>
                      <a:lnTo>
                        <a:pt x="31" y="364"/>
                      </a:lnTo>
                      <a:lnTo>
                        <a:pt x="31" y="364"/>
                      </a:lnTo>
                      <a:lnTo>
                        <a:pt x="31" y="361"/>
                      </a:lnTo>
                      <a:lnTo>
                        <a:pt x="32" y="361"/>
                      </a:lnTo>
                      <a:lnTo>
                        <a:pt x="33" y="360"/>
                      </a:lnTo>
                      <a:lnTo>
                        <a:pt x="33" y="357"/>
                      </a:lnTo>
                      <a:lnTo>
                        <a:pt x="33" y="355"/>
                      </a:lnTo>
                      <a:lnTo>
                        <a:pt x="33" y="351"/>
                      </a:lnTo>
                      <a:lnTo>
                        <a:pt x="33" y="350"/>
                      </a:lnTo>
                      <a:lnTo>
                        <a:pt x="33" y="350"/>
                      </a:lnTo>
                      <a:lnTo>
                        <a:pt x="35" y="350"/>
                      </a:lnTo>
                      <a:lnTo>
                        <a:pt x="35" y="350"/>
                      </a:lnTo>
                      <a:lnTo>
                        <a:pt x="36" y="350"/>
                      </a:lnTo>
                      <a:lnTo>
                        <a:pt x="36" y="350"/>
                      </a:lnTo>
                      <a:lnTo>
                        <a:pt x="36" y="348"/>
                      </a:lnTo>
                      <a:lnTo>
                        <a:pt x="38" y="345"/>
                      </a:lnTo>
                      <a:lnTo>
                        <a:pt x="38" y="340"/>
                      </a:lnTo>
                      <a:lnTo>
                        <a:pt x="38" y="337"/>
                      </a:lnTo>
                      <a:lnTo>
                        <a:pt x="39" y="335"/>
                      </a:lnTo>
                      <a:lnTo>
                        <a:pt x="41" y="334"/>
                      </a:lnTo>
                      <a:lnTo>
                        <a:pt x="46" y="331"/>
                      </a:lnTo>
                      <a:lnTo>
                        <a:pt x="48" y="330"/>
                      </a:lnTo>
                      <a:lnTo>
                        <a:pt x="48" y="328"/>
                      </a:lnTo>
                      <a:lnTo>
                        <a:pt x="48" y="328"/>
                      </a:lnTo>
                      <a:lnTo>
                        <a:pt x="46" y="327"/>
                      </a:lnTo>
                      <a:lnTo>
                        <a:pt x="46" y="325"/>
                      </a:lnTo>
                      <a:lnTo>
                        <a:pt x="45" y="325"/>
                      </a:lnTo>
                      <a:lnTo>
                        <a:pt x="45" y="322"/>
                      </a:lnTo>
                      <a:lnTo>
                        <a:pt x="42" y="309"/>
                      </a:lnTo>
                      <a:lnTo>
                        <a:pt x="42" y="291"/>
                      </a:lnTo>
                      <a:lnTo>
                        <a:pt x="44" y="288"/>
                      </a:lnTo>
                      <a:lnTo>
                        <a:pt x="44" y="286"/>
                      </a:lnTo>
                      <a:lnTo>
                        <a:pt x="45" y="285"/>
                      </a:lnTo>
                      <a:lnTo>
                        <a:pt x="48" y="284"/>
                      </a:lnTo>
                      <a:lnTo>
                        <a:pt x="49" y="284"/>
                      </a:lnTo>
                      <a:lnTo>
                        <a:pt x="51" y="282"/>
                      </a:lnTo>
                      <a:lnTo>
                        <a:pt x="52" y="281"/>
                      </a:lnTo>
                      <a:lnTo>
                        <a:pt x="52" y="279"/>
                      </a:lnTo>
                      <a:lnTo>
                        <a:pt x="54" y="279"/>
                      </a:lnTo>
                      <a:lnTo>
                        <a:pt x="54" y="278"/>
                      </a:lnTo>
                      <a:lnTo>
                        <a:pt x="55" y="278"/>
                      </a:lnTo>
                      <a:lnTo>
                        <a:pt x="55" y="276"/>
                      </a:lnTo>
                      <a:lnTo>
                        <a:pt x="56" y="275"/>
                      </a:lnTo>
                      <a:lnTo>
                        <a:pt x="56" y="272"/>
                      </a:lnTo>
                      <a:lnTo>
                        <a:pt x="55" y="268"/>
                      </a:lnTo>
                      <a:lnTo>
                        <a:pt x="55" y="265"/>
                      </a:lnTo>
                      <a:lnTo>
                        <a:pt x="54" y="262"/>
                      </a:lnTo>
                      <a:lnTo>
                        <a:pt x="54" y="261"/>
                      </a:lnTo>
                      <a:lnTo>
                        <a:pt x="54" y="261"/>
                      </a:lnTo>
                      <a:lnTo>
                        <a:pt x="55" y="259"/>
                      </a:lnTo>
                      <a:lnTo>
                        <a:pt x="56" y="259"/>
                      </a:lnTo>
                      <a:lnTo>
                        <a:pt x="56" y="258"/>
                      </a:lnTo>
                      <a:lnTo>
                        <a:pt x="56" y="253"/>
                      </a:lnTo>
                      <a:lnTo>
                        <a:pt x="59" y="249"/>
                      </a:lnTo>
                      <a:lnTo>
                        <a:pt x="59" y="246"/>
                      </a:lnTo>
                      <a:lnTo>
                        <a:pt x="62" y="242"/>
                      </a:lnTo>
                      <a:lnTo>
                        <a:pt x="64" y="242"/>
                      </a:lnTo>
                      <a:lnTo>
                        <a:pt x="64" y="240"/>
                      </a:lnTo>
                      <a:lnTo>
                        <a:pt x="65" y="240"/>
                      </a:lnTo>
                      <a:lnTo>
                        <a:pt x="65" y="240"/>
                      </a:lnTo>
                      <a:lnTo>
                        <a:pt x="65" y="238"/>
                      </a:lnTo>
                      <a:lnTo>
                        <a:pt x="65" y="230"/>
                      </a:lnTo>
                      <a:lnTo>
                        <a:pt x="65" y="227"/>
                      </a:lnTo>
                      <a:lnTo>
                        <a:pt x="65" y="226"/>
                      </a:lnTo>
                      <a:lnTo>
                        <a:pt x="66" y="223"/>
                      </a:lnTo>
                      <a:lnTo>
                        <a:pt x="65" y="222"/>
                      </a:lnTo>
                      <a:lnTo>
                        <a:pt x="64" y="220"/>
                      </a:lnTo>
                      <a:lnTo>
                        <a:pt x="64" y="222"/>
                      </a:lnTo>
                      <a:lnTo>
                        <a:pt x="62" y="220"/>
                      </a:lnTo>
                      <a:lnTo>
                        <a:pt x="61" y="220"/>
                      </a:lnTo>
                      <a:lnTo>
                        <a:pt x="61" y="219"/>
                      </a:lnTo>
                      <a:lnTo>
                        <a:pt x="61" y="217"/>
                      </a:lnTo>
                      <a:lnTo>
                        <a:pt x="61" y="217"/>
                      </a:lnTo>
                      <a:lnTo>
                        <a:pt x="61" y="216"/>
                      </a:lnTo>
                      <a:lnTo>
                        <a:pt x="61" y="213"/>
                      </a:lnTo>
                      <a:lnTo>
                        <a:pt x="61" y="213"/>
                      </a:lnTo>
                      <a:lnTo>
                        <a:pt x="61" y="212"/>
                      </a:lnTo>
                      <a:lnTo>
                        <a:pt x="56" y="202"/>
                      </a:lnTo>
                      <a:lnTo>
                        <a:pt x="56" y="199"/>
                      </a:lnTo>
                      <a:lnTo>
                        <a:pt x="56" y="199"/>
                      </a:lnTo>
                      <a:lnTo>
                        <a:pt x="56" y="197"/>
                      </a:lnTo>
                      <a:lnTo>
                        <a:pt x="58" y="197"/>
                      </a:lnTo>
                      <a:lnTo>
                        <a:pt x="58" y="197"/>
                      </a:lnTo>
                      <a:lnTo>
                        <a:pt x="58" y="196"/>
                      </a:lnTo>
                      <a:lnTo>
                        <a:pt x="56" y="196"/>
                      </a:lnTo>
                      <a:lnTo>
                        <a:pt x="56" y="196"/>
                      </a:lnTo>
                      <a:lnTo>
                        <a:pt x="56" y="194"/>
                      </a:lnTo>
                      <a:lnTo>
                        <a:pt x="54" y="192"/>
                      </a:lnTo>
                      <a:lnTo>
                        <a:pt x="54" y="189"/>
                      </a:lnTo>
                      <a:lnTo>
                        <a:pt x="52" y="186"/>
                      </a:lnTo>
                      <a:lnTo>
                        <a:pt x="52" y="183"/>
                      </a:lnTo>
                      <a:lnTo>
                        <a:pt x="54" y="181"/>
                      </a:lnTo>
                      <a:lnTo>
                        <a:pt x="54" y="180"/>
                      </a:lnTo>
                      <a:lnTo>
                        <a:pt x="54" y="180"/>
                      </a:lnTo>
                      <a:lnTo>
                        <a:pt x="55" y="180"/>
                      </a:lnTo>
                      <a:lnTo>
                        <a:pt x="55" y="180"/>
                      </a:lnTo>
                      <a:lnTo>
                        <a:pt x="56" y="180"/>
                      </a:lnTo>
                      <a:lnTo>
                        <a:pt x="56" y="179"/>
                      </a:lnTo>
                      <a:lnTo>
                        <a:pt x="56" y="177"/>
                      </a:lnTo>
                      <a:lnTo>
                        <a:pt x="56" y="174"/>
                      </a:lnTo>
                      <a:lnTo>
                        <a:pt x="58" y="173"/>
                      </a:lnTo>
                      <a:lnTo>
                        <a:pt x="59" y="169"/>
                      </a:lnTo>
                      <a:lnTo>
                        <a:pt x="59" y="166"/>
                      </a:lnTo>
                      <a:lnTo>
                        <a:pt x="62" y="166"/>
                      </a:lnTo>
                      <a:lnTo>
                        <a:pt x="64" y="166"/>
                      </a:lnTo>
                      <a:lnTo>
                        <a:pt x="65" y="163"/>
                      </a:lnTo>
                      <a:lnTo>
                        <a:pt x="65" y="161"/>
                      </a:lnTo>
                      <a:lnTo>
                        <a:pt x="65" y="161"/>
                      </a:lnTo>
                      <a:lnTo>
                        <a:pt x="64" y="160"/>
                      </a:lnTo>
                      <a:lnTo>
                        <a:pt x="64" y="158"/>
                      </a:lnTo>
                      <a:lnTo>
                        <a:pt x="64" y="158"/>
                      </a:lnTo>
                      <a:lnTo>
                        <a:pt x="64" y="156"/>
                      </a:lnTo>
                      <a:lnTo>
                        <a:pt x="64" y="154"/>
                      </a:lnTo>
                      <a:lnTo>
                        <a:pt x="62" y="148"/>
                      </a:lnTo>
                      <a:lnTo>
                        <a:pt x="62" y="147"/>
                      </a:lnTo>
                      <a:lnTo>
                        <a:pt x="62" y="146"/>
                      </a:lnTo>
                      <a:lnTo>
                        <a:pt x="64" y="144"/>
                      </a:lnTo>
                      <a:lnTo>
                        <a:pt x="64" y="143"/>
                      </a:lnTo>
                      <a:lnTo>
                        <a:pt x="65" y="143"/>
                      </a:lnTo>
                      <a:lnTo>
                        <a:pt x="66" y="140"/>
                      </a:lnTo>
                      <a:lnTo>
                        <a:pt x="68" y="133"/>
                      </a:lnTo>
                      <a:lnTo>
                        <a:pt x="69" y="128"/>
                      </a:lnTo>
                      <a:lnTo>
                        <a:pt x="72" y="125"/>
                      </a:lnTo>
                      <a:lnTo>
                        <a:pt x="75" y="123"/>
                      </a:lnTo>
                      <a:lnTo>
                        <a:pt x="77" y="118"/>
                      </a:lnTo>
                      <a:lnTo>
                        <a:pt x="79" y="114"/>
                      </a:lnTo>
                      <a:lnTo>
                        <a:pt x="81" y="110"/>
                      </a:lnTo>
                      <a:lnTo>
                        <a:pt x="82" y="105"/>
                      </a:lnTo>
                      <a:lnTo>
                        <a:pt x="85" y="102"/>
                      </a:lnTo>
                      <a:lnTo>
                        <a:pt x="87" y="102"/>
                      </a:lnTo>
                      <a:lnTo>
                        <a:pt x="88" y="102"/>
                      </a:lnTo>
                      <a:lnTo>
                        <a:pt x="91" y="102"/>
                      </a:lnTo>
                      <a:lnTo>
                        <a:pt x="92" y="101"/>
                      </a:lnTo>
                      <a:lnTo>
                        <a:pt x="92" y="98"/>
                      </a:lnTo>
                      <a:lnTo>
                        <a:pt x="91" y="97"/>
                      </a:lnTo>
                      <a:lnTo>
                        <a:pt x="89" y="94"/>
                      </a:lnTo>
                      <a:lnTo>
                        <a:pt x="88" y="92"/>
                      </a:lnTo>
                      <a:lnTo>
                        <a:pt x="88" y="91"/>
                      </a:lnTo>
                      <a:lnTo>
                        <a:pt x="88" y="89"/>
                      </a:lnTo>
                      <a:lnTo>
                        <a:pt x="88" y="88"/>
                      </a:lnTo>
                      <a:lnTo>
                        <a:pt x="89" y="85"/>
                      </a:lnTo>
                      <a:lnTo>
                        <a:pt x="89" y="82"/>
                      </a:lnTo>
                      <a:lnTo>
                        <a:pt x="89" y="81"/>
                      </a:lnTo>
                      <a:lnTo>
                        <a:pt x="89" y="78"/>
                      </a:lnTo>
                      <a:lnTo>
                        <a:pt x="88" y="71"/>
                      </a:lnTo>
                      <a:lnTo>
                        <a:pt x="88" y="68"/>
                      </a:lnTo>
                      <a:lnTo>
                        <a:pt x="88" y="66"/>
                      </a:lnTo>
                      <a:lnTo>
                        <a:pt x="89" y="64"/>
                      </a:lnTo>
                      <a:lnTo>
                        <a:pt x="89" y="64"/>
                      </a:lnTo>
                      <a:lnTo>
                        <a:pt x="91" y="64"/>
                      </a:lnTo>
                      <a:lnTo>
                        <a:pt x="89" y="62"/>
                      </a:lnTo>
                      <a:lnTo>
                        <a:pt x="89" y="59"/>
                      </a:lnTo>
                      <a:lnTo>
                        <a:pt x="88" y="58"/>
                      </a:lnTo>
                      <a:lnTo>
                        <a:pt x="88" y="56"/>
                      </a:lnTo>
                      <a:lnTo>
                        <a:pt x="89" y="54"/>
                      </a:lnTo>
                      <a:lnTo>
                        <a:pt x="89" y="54"/>
                      </a:lnTo>
                      <a:lnTo>
                        <a:pt x="92" y="51"/>
                      </a:lnTo>
                      <a:lnTo>
                        <a:pt x="94" y="49"/>
                      </a:lnTo>
                      <a:lnTo>
                        <a:pt x="98" y="48"/>
                      </a:lnTo>
                      <a:lnTo>
                        <a:pt x="102" y="45"/>
                      </a:lnTo>
                      <a:lnTo>
                        <a:pt x="107" y="43"/>
                      </a:lnTo>
                      <a:lnTo>
                        <a:pt x="110" y="41"/>
                      </a:lnTo>
                      <a:lnTo>
                        <a:pt x="111" y="38"/>
                      </a:lnTo>
                      <a:lnTo>
                        <a:pt x="114" y="25"/>
                      </a:lnTo>
                      <a:lnTo>
                        <a:pt x="115" y="23"/>
                      </a:lnTo>
                      <a:lnTo>
                        <a:pt x="114" y="22"/>
                      </a:lnTo>
                      <a:lnTo>
                        <a:pt x="112" y="19"/>
                      </a:lnTo>
                      <a:lnTo>
                        <a:pt x="117" y="12"/>
                      </a:lnTo>
                      <a:lnTo>
                        <a:pt x="120" y="9"/>
                      </a:lnTo>
                      <a:lnTo>
                        <a:pt x="122" y="8"/>
                      </a:lnTo>
                      <a:lnTo>
                        <a:pt x="124" y="8"/>
                      </a:lnTo>
                      <a:lnTo>
                        <a:pt x="125" y="6"/>
                      </a:lnTo>
                      <a:lnTo>
                        <a:pt x="127" y="6"/>
                      </a:lnTo>
                      <a:lnTo>
                        <a:pt x="127" y="5"/>
                      </a:lnTo>
                      <a:lnTo>
                        <a:pt x="128" y="2"/>
                      </a:lnTo>
                      <a:lnTo>
                        <a:pt x="128" y="0"/>
                      </a:lnTo>
                      <a:lnTo>
                        <a:pt x="130" y="0"/>
                      </a:lnTo>
                      <a:lnTo>
                        <a:pt x="131" y="0"/>
                      </a:lnTo>
                      <a:lnTo>
                        <a:pt x="135" y="3"/>
                      </a:lnTo>
                      <a:lnTo>
                        <a:pt x="137" y="5"/>
                      </a:lnTo>
                      <a:lnTo>
                        <a:pt x="140" y="5"/>
                      </a:lnTo>
                      <a:lnTo>
                        <a:pt x="148" y="6"/>
                      </a:lnTo>
                      <a:lnTo>
                        <a:pt x="151" y="6"/>
                      </a:lnTo>
                      <a:lnTo>
                        <a:pt x="156" y="8"/>
                      </a:lnTo>
                      <a:lnTo>
                        <a:pt x="158" y="10"/>
                      </a:lnTo>
                      <a:lnTo>
                        <a:pt x="160" y="15"/>
                      </a:lnTo>
                      <a:lnTo>
                        <a:pt x="163" y="19"/>
                      </a:lnTo>
                      <a:lnTo>
                        <a:pt x="166" y="12"/>
                      </a:lnTo>
                      <a:lnTo>
                        <a:pt x="167" y="8"/>
                      </a:lnTo>
                      <a:lnTo>
                        <a:pt x="168" y="6"/>
                      </a:lnTo>
                      <a:lnTo>
                        <a:pt x="170" y="5"/>
                      </a:lnTo>
                      <a:lnTo>
                        <a:pt x="173" y="5"/>
                      </a:lnTo>
                      <a:lnTo>
                        <a:pt x="176" y="3"/>
                      </a:lnTo>
                      <a:lnTo>
                        <a:pt x="184" y="3"/>
                      </a:lnTo>
                      <a:lnTo>
                        <a:pt x="187" y="3"/>
                      </a:lnTo>
                      <a:lnTo>
                        <a:pt x="189" y="5"/>
                      </a:lnTo>
                      <a:lnTo>
                        <a:pt x="190" y="6"/>
                      </a:lnTo>
                      <a:lnTo>
                        <a:pt x="191" y="8"/>
                      </a:lnTo>
                      <a:lnTo>
                        <a:pt x="194" y="10"/>
                      </a:lnTo>
                      <a:lnTo>
                        <a:pt x="199" y="15"/>
                      </a:lnTo>
                      <a:lnTo>
                        <a:pt x="200" y="18"/>
                      </a:lnTo>
                      <a:lnTo>
                        <a:pt x="203" y="20"/>
                      </a:lnTo>
                      <a:lnTo>
                        <a:pt x="204" y="23"/>
                      </a:lnTo>
                      <a:lnTo>
                        <a:pt x="207" y="26"/>
                      </a:lnTo>
                      <a:lnTo>
                        <a:pt x="220" y="38"/>
                      </a:lnTo>
                      <a:lnTo>
                        <a:pt x="223" y="39"/>
                      </a:lnTo>
                      <a:lnTo>
                        <a:pt x="227" y="41"/>
                      </a:lnTo>
                      <a:lnTo>
                        <a:pt x="235" y="42"/>
                      </a:lnTo>
                      <a:lnTo>
                        <a:pt x="242" y="45"/>
                      </a:lnTo>
                      <a:lnTo>
                        <a:pt x="255" y="54"/>
                      </a:lnTo>
                      <a:lnTo>
                        <a:pt x="260" y="56"/>
                      </a:lnTo>
                      <a:lnTo>
                        <a:pt x="266" y="59"/>
                      </a:lnTo>
                      <a:lnTo>
                        <a:pt x="272" y="61"/>
                      </a:lnTo>
                      <a:lnTo>
                        <a:pt x="275" y="62"/>
                      </a:lnTo>
                      <a:lnTo>
                        <a:pt x="278" y="65"/>
                      </a:lnTo>
                      <a:lnTo>
                        <a:pt x="280" y="68"/>
                      </a:lnTo>
                      <a:lnTo>
                        <a:pt x="282" y="71"/>
                      </a:lnTo>
                      <a:lnTo>
                        <a:pt x="280" y="72"/>
                      </a:lnTo>
                      <a:lnTo>
                        <a:pt x="275" y="81"/>
                      </a:lnTo>
                      <a:lnTo>
                        <a:pt x="272" y="84"/>
                      </a:lnTo>
                      <a:lnTo>
                        <a:pt x="272" y="85"/>
                      </a:lnTo>
                      <a:lnTo>
                        <a:pt x="270" y="88"/>
                      </a:lnTo>
                      <a:lnTo>
                        <a:pt x="269" y="94"/>
                      </a:lnTo>
                      <a:lnTo>
                        <a:pt x="269" y="95"/>
                      </a:lnTo>
                      <a:lnTo>
                        <a:pt x="268" y="97"/>
                      </a:lnTo>
                      <a:lnTo>
                        <a:pt x="266" y="100"/>
                      </a:lnTo>
                      <a:lnTo>
                        <a:pt x="265" y="101"/>
                      </a:lnTo>
                      <a:lnTo>
                        <a:pt x="263" y="104"/>
                      </a:lnTo>
                      <a:lnTo>
                        <a:pt x="263" y="105"/>
                      </a:lnTo>
                      <a:lnTo>
                        <a:pt x="265" y="107"/>
                      </a:lnTo>
                      <a:lnTo>
                        <a:pt x="266" y="107"/>
                      </a:lnTo>
                      <a:lnTo>
                        <a:pt x="270" y="107"/>
                      </a:lnTo>
                      <a:lnTo>
                        <a:pt x="272" y="107"/>
                      </a:lnTo>
                      <a:lnTo>
                        <a:pt x="275" y="107"/>
                      </a:lnTo>
                      <a:lnTo>
                        <a:pt x="285" y="108"/>
                      </a:lnTo>
                      <a:lnTo>
                        <a:pt x="299" y="111"/>
                      </a:lnTo>
                      <a:lnTo>
                        <a:pt x="301" y="111"/>
                      </a:lnTo>
                      <a:lnTo>
                        <a:pt x="302" y="110"/>
                      </a:lnTo>
                      <a:lnTo>
                        <a:pt x="303" y="110"/>
                      </a:lnTo>
                      <a:lnTo>
                        <a:pt x="303" y="108"/>
                      </a:lnTo>
                      <a:lnTo>
                        <a:pt x="305" y="107"/>
                      </a:lnTo>
                      <a:lnTo>
                        <a:pt x="308" y="107"/>
                      </a:lnTo>
                      <a:lnTo>
                        <a:pt x="309" y="107"/>
                      </a:lnTo>
                      <a:lnTo>
                        <a:pt x="311" y="108"/>
                      </a:lnTo>
                      <a:lnTo>
                        <a:pt x="312" y="108"/>
                      </a:lnTo>
                      <a:lnTo>
                        <a:pt x="314" y="108"/>
                      </a:lnTo>
                      <a:lnTo>
                        <a:pt x="315" y="107"/>
                      </a:lnTo>
                      <a:lnTo>
                        <a:pt x="315" y="107"/>
                      </a:lnTo>
                      <a:lnTo>
                        <a:pt x="316" y="104"/>
                      </a:lnTo>
                      <a:lnTo>
                        <a:pt x="318" y="102"/>
                      </a:lnTo>
                      <a:lnTo>
                        <a:pt x="319" y="101"/>
                      </a:lnTo>
                      <a:lnTo>
                        <a:pt x="324" y="98"/>
                      </a:lnTo>
                      <a:lnTo>
                        <a:pt x="329" y="92"/>
                      </a:lnTo>
                      <a:lnTo>
                        <a:pt x="332" y="87"/>
                      </a:lnTo>
                      <a:lnTo>
                        <a:pt x="332" y="79"/>
                      </a:lnTo>
                      <a:lnTo>
                        <a:pt x="334" y="72"/>
                      </a:lnTo>
                      <a:lnTo>
                        <a:pt x="336" y="72"/>
                      </a:lnTo>
                      <a:lnTo>
                        <a:pt x="341" y="72"/>
                      </a:lnTo>
                      <a:lnTo>
                        <a:pt x="344" y="72"/>
                      </a:lnTo>
                      <a:lnTo>
                        <a:pt x="345" y="74"/>
                      </a:lnTo>
                      <a:lnTo>
                        <a:pt x="347" y="77"/>
                      </a:lnTo>
                      <a:lnTo>
                        <a:pt x="348" y="81"/>
                      </a:lnTo>
                      <a:lnTo>
                        <a:pt x="349" y="85"/>
                      </a:lnTo>
                      <a:lnTo>
                        <a:pt x="349" y="87"/>
                      </a:lnTo>
                      <a:lnTo>
                        <a:pt x="348" y="97"/>
                      </a:lnTo>
                      <a:lnTo>
                        <a:pt x="348" y="101"/>
                      </a:lnTo>
                      <a:lnTo>
                        <a:pt x="345" y="104"/>
                      </a:lnTo>
                      <a:lnTo>
                        <a:pt x="342" y="105"/>
                      </a:lnTo>
                      <a:lnTo>
                        <a:pt x="339" y="107"/>
                      </a:lnTo>
                      <a:lnTo>
                        <a:pt x="336" y="108"/>
                      </a:lnTo>
                      <a:lnTo>
                        <a:pt x="334" y="110"/>
                      </a:lnTo>
                      <a:lnTo>
                        <a:pt x="331" y="111"/>
                      </a:lnTo>
                      <a:lnTo>
                        <a:pt x="329" y="112"/>
                      </a:lnTo>
                      <a:lnTo>
                        <a:pt x="325" y="117"/>
                      </a:lnTo>
                      <a:lnTo>
                        <a:pt x="315" y="123"/>
                      </a:lnTo>
                      <a:lnTo>
                        <a:pt x="315" y="124"/>
                      </a:lnTo>
                      <a:lnTo>
                        <a:pt x="314" y="125"/>
                      </a:lnTo>
                      <a:lnTo>
                        <a:pt x="315" y="127"/>
                      </a:lnTo>
                      <a:lnTo>
                        <a:pt x="314" y="128"/>
                      </a:lnTo>
                      <a:lnTo>
                        <a:pt x="311" y="128"/>
                      </a:lnTo>
                      <a:lnTo>
                        <a:pt x="311" y="128"/>
                      </a:lnTo>
                      <a:lnTo>
                        <a:pt x="309" y="130"/>
                      </a:lnTo>
                      <a:lnTo>
                        <a:pt x="298" y="144"/>
                      </a:lnTo>
                      <a:lnTo>
                        <a:pt x="280" y="163"/>
                      </a:lnTo>
                      <a:lnTo>
                        <a:pt x="279" y="164"/>
                      </a:lnTo>
                      <a:lnTo>
                        <a:pt x="278" y="167"/>
                      </a:lnTo>
                      <a:lnTo>
                        <a:pt x="276" y="169"/>
                      </a:lnTo>
                      <a:lnTo>
                        <a:pt x="276" y="170"/>
                      </a:lnTo>
                      <a:lnTo>
                        <a:pt x="276" y="171"/>
                      </a:lnTo>
                      <a:lnTo>
                        <a:pt x="276" y="173"/>
                      </a:lnTo>
                      <a:lnTo>
                        <a:pt x="278" y="174"/>
                      </a:lnTo>
                      <a:lnTo>
                        <a:pt x="276" y="177"/>
                      </a:lnTo>
                      <a:lnTo>
                        <a:pt x="275" y="183"/>
                      </a:lnTo>
                      <a:lnTo>
                        <a:pt x="273" y="186"/>
                      </a:lnTo>
                      <a:lnTo>
                        <a:pt x="273" y="187"/>
                      </a:lnTo>
                      <a:lnTo>
                        <a:pt x="273" y="189"/>
                      </a:lnTo>
                      <a:lnTo>
                        <a:pt x="273" y="190"/>
                      </a:lnTo>
                      <a:lnTo>
                        <a:pt x="273" y="192"/>
                      </a:lnTo>
                      <a:lnTo>
                        <a:pt x="272" y="192"/>
                      </a:lnTo>
                      <a:lnTo>
                        <a:pt x="272" y="193"/>
                      </a:lnTo>
                      <a:lnTo>
                        <a:pt x="270" y="194"/>
                      </a:lnTo>
                      <a:lnTo>
                        <a:pt x="270" y="197"/>
                      </a:lnTo>
                      <a:lnTo>
                        <a:pt x="270" y="200"/>
                      </a:lnTo>
                      <a:lnTo>
                        <a:pt x="270" y="203"/>
                      </a:lnTo>
                      <a:close/>
                      <a:moveTo>
                        <a:pt x="145" y="706"/>
                      </a:moveTo>
                      <a:lnTo>
                        <a:pt x="144" y="706"/>
                      </a:lnTo>
                      <a:lnTo>
                        <a:pt x="141" y="706"/>
                      </a:lnTo>
                      <a:lnTo>
                        <a:pt x="138" y="706"/>
                      </a:lnTo>
                      <a:lnTo>
                        <a:pt x="134" y="705"/>
                      </a:lnTo>
                      <a:lnTo>
                        <a:pt x="131" y="705"/>
                      </a:lnTo>
                      <a:lnTo>
                        <a:pt x="128" y="703"/>
                      </a:lnTo>
                      <a:lnTo>
                        <a:pt x="121" y="699"/>
                      </a:lnTo>
                      <a:lnTo>
                        <a:pt x="115" y="696"/>
                      </a:lnTo>
                      <a:lnTo>
                        <a:pt x="110" y="690"/>
                      </a:lnTo>
                      <a:lnTo>
                        <a:pt x="100" y="682"/>
                      </a:lnTo>
                      <a:lnTo>
                        <a:pt x="98" y="680"/>
                      </a:lnTo>
                      <a:lnTo>
                        <a:pt x="97" y="679"/>
                      </a:lnTo>
                      <a:lnTo>
                        <a:pt x="95" y="677"/>
                      </a:lnTo>
                      <a:lnTo>
                        <a:pt x="95" y="676"/>
                      </a:lnTo>
                      <a:lnTo>
                        <a:pt x="94" y="674"/>
                      </a:lnTo>
                      <a:lnTo>
                        <a:pt x="92" y="674"/>
                      </a:lnTo>
                      <a:lnTo>
                        <a:pt x="91" y="673"/>
                      </a:lnTo>
                      <a:lnTo>
                        <a:pt x="89" y="673"/>
                      </a:lnTo>
                      <a:lnTo>
                        <a:pt x="88" y="672"/>
                      </a:lnTo>
                      <a:lnTo>
                        <a:pt x="89" y="670"/>
                      </a:lnTo>
                      <a:lnTo>
                        <a:pt x="91" y="669"/>
                      </a:lnTo>
                      <a:lnTo>
                        <a:pt x="92" y="667"/>
                      </a:lnTo>
                      <a:lnTo>
                        <a:pt x="94" y="669"/>
                      </a:lnTo>
                      <a:lnTo>
                        <a:pt x="92" y="666"/>
                      </a:lnTo>
                      <a:lnTo>
                        <a:pt x="91" y="663"/>
                      </a:lnTo>
                      <a:lnTo>
                        <a:pt x="89" y="662"/>
                      </a:lnTo>
                      <a:lnTo>
                        <a:pt x="87" y="659"/>
                      </a:lnTo>
                      <a:lnTo>
                        <a:pt x="87" y="710"/>
                      </a:lnTo>
                      <a:lnTo>
                        <a:pt x="92" y="710"/>
                      </a:lnTo>
                      <a:lnTo>
                        <a:pt x="100" y="710"/>
                      </a:lnTo>
                      <a:lnTo>
                        <a:pt x="114" y="712"/>
                      </a:lnTo>
                      <a:lnTo>
                        <a:pt x="121" y="713"/>
                      </a:lnTo>
                      <a:lnTo>
                        <a:pt x="124" y="715"/>
                      </a:lnTo>
                      <a:lnTo>
                        <a:pt x="140" y="713"/>
                      </a:lnTo>
                      <a:lnTo>
                        <a:pt x="143" y="712"/>
                      </a:lnTo>
                      <a:lnTo>
                        <a:pt x="144" y="712"/>
                      </a:lnTo>
                      <a:lnTo>
                        <a:pt x="145" y="710"/>
                      </a:lnTo>
                      <a:lnTo>
                        <a:pt x="147" y="709"/>
                      </a:lnTo>
                      <a:lnTo>
                        <a:pt x="147" y="708"/>
                      </a:lnTo>
                      <a:lnTo>
                        <a:pt x="147" y="706"/>
                      </a:lnTo>
                      <a:lnTo>
                        <a:pt x="145" y="706"/>
                      </a:lnTo>
                      <a:close/>
                      <a:moveTo>
                        <a:pt x="167" y="709"/>
                      </a:moveTo>
                      <a:lnTo>
                        <a:pt x="170" y="709"/>
                      </a:lnTo>
                      <a:lnTo>
                        <a:pt x="171" y="708"/>
                      </a:lnTo>
                      <a:lnTo>
                        <a:pt x="163" y="708"/>
                      </a:lnTo>
                      <a:lnTo>
                        <a:pt x="158" y="709"/>
                      </a:lnTo>
                      <a:lnTo>
                        <a:pt x="154" y="710"/>
                      </a:lnTo>
                      <a:lnTo>
                        <a:pt x="157" y="712"/>
                      </a:lnTo>
                      <a:lnTo>
                        <a:pt x="158" y="712"/>
                      </a:lnTo>
                      <a:lnTo>
                        <a:pt x="160" y="710"/>
                      </a:lnTo>
                      <a:lnTo>
                        <a:pt x="163" y="709"/>
                      </a:lnTo>
                      <a:lnTo>
                        <a:pt x="164" y="709"/>
                      </a:lnTo>
                      <a:lnTo>
                        <a:pt x="167" y="709"/>
                      </a:lnTo>
                      <a:close/>
                      <a:moveTo>
                        <a:pt x="203" y="341"/>
                      </a:moveTo>
                      <a:lnTo>
                        <a:pt x="204" y="342"/>
                      </a:lnTo>
                      <a:lnTo>
                        <a:pt x="206" y="342"/>
                      </a:lnTo>
                      <a:lnTo>
                        <a:pt x="206" y="341"/>
                      </a:lnTo>
                      <a:lnTo>
                        <a:pt x="204" y="340"/>
                      </a:lnTo>
                      <a:lnTo>
                        <a:pt x="203" y="340"/>
                      </a:lnTo>
                      <a:lnTo>
                        <a:pt x="201" y="340"/>
                      </a:lnTo>
                      <a:lnTo>
                        <a:pt x="203" y="341"/>
                      </a:lnTo>
                      <a:lnTo>
                        <a:pt x="203" y="34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56" name="Freeform 249">
                  <a:extLst>
                    <a:ext uri="{FF2B5EF4-FFF2-40B4-BE49-F238E27FC236}">
                      <a16:creationId xmlns:a16="http://schemas.microsoft.com/office/drawing/2014/main" id="{6C263249-9F40-8986-55E3-7FA61FCDC3AD}"/>
                    </a:ext>
                  </a:extLst>
                </p:cNvPr>
                <p:cNvSpPr>
                  <a:spLocks noEditPoints="1"/>
                </p:cNvSpPr>
                <p:nvPr/>
              </p:nvSpPr>
              <p:spPr bwMode="auto">
                <a:xfrm>
                  <a:off x="2247" y="2626"/>
                  <a:ext cx="688" cy="715"/>
                </a:xfrm>
                <a:custGeom>
                  <a:avLst/>
                  <a:gdLst>
                    <a:gd name="T0" fmla="*/ 447 w 688"/>
                    <a:gd name="T1" fmla="*/ 572 h 715"/>
                    <a:gd name="T2" fmla="*/ 447 w 688"/>
                    <a:gd name="T3" fmla="*/ 597 h 715"/>
                    <a:gd name="T4" fmla="*/ 669 w 688"/>
                    <a:gd name="T5" fmla="*/ 265 h 715"/>
                    <a:gd name="T6" fmla="*/ 641 w 688"/>
                    <a:gd name="T7" fmla="*/ 301 h 715"/>
                    <a:gd name="T8" fmla="*/ 616 w 688"/>
                    <a:gd name="T9" fmla="*/ 343 h 715"/>
                    <a:gd name="T10" fmla="*/ 585 w 688"/>
                    <a:gd name="T11" fmla="*/ 467 h 715"/>
                    <a:gd name="T12" fmla="*/ 547 w 688"/>
                    <a:gd name="T13" fmla="*/ 507 h 715"/>
                    <a:gd name="T14" fmla="*/ 517 w 688"/>
                    <a:gd name="T15" fmla="*/ 513 h 715"/>
                    <a:gd name="T16" fmla="*/ 458 w 688"/>
                    <a:gd name="T17" fmla="*/ 547 h 715"/>
                    <a:gd name="T18" fmla="*/ 448 w 688"/>
                    <a:gd name="T19" fmla="*/ 559 h 715"/>
                    <a:gd name="T20" fmla="*/ 431 w 688"/>
                    <a:gd name="T21" fmla="*/ 625 h 715"/>
                    <a:gd name="T22" fmla="*/ 399 w 688"/>
                    <a:gd name="T23" fmla="*/ 669 h 715"/>
                    <a:gd name="T24" fmla="*/ 412 w 688"/>
                    <a:gd name="T25" fmla="*/ 651 h 715"/>
                    <a:gd name="T26" fmla="*/ 397 w 688"/>
                    <a:gd name="T27" fmla="*/ 658 h 715"/>
                    <a:gd name="T28" fmla="*/ 359 w 688"/>
                    <a:gd name="T29" fmla="*/ 711 h 715"/>
                    <a:gd name="T30" fmla="*/ 331 w 688"/>
                    <a:gd name="T31" fmla="*/ 668 h 715"/>
                    <a:gd name="T32" fmla="*/ 321 w 688"/>
                    <a:gd name="T33" fmla="*/ 613 h 715"/>
                    <a:gd name="T34" fmla="*/ 348 w 688"/>
                    <a:gd name="T35" fmla="*/ 557 h 715"/>
                    <a:gd name="T36" fmla="*/ 322 w 688"/>
                    <a:gd name="T37" fmla="*/ 504 h 715"/>
                    <a:gd name="T38" fmla="*/ 283 w 688"/>
                    <a:gd name="T39" fmla="*/ 491 h 715"/>
                    <a:gd name="T40" fmla="*/ 286 w 688"/>
                    <a:gd name="T41" fmla="*/ 432 h 715"/>
                    <a:gd name="T42" fmla="*/ 272 w 688"/>
                    <a:gd name="T43" fmla="*/ 395 h 715"/>
                    <a:gd name="T44" fmla="*/ 237 w 688"/>
                    <a:gd name="T45" fmla="*/ 340 h 715"/>
                    <a:gd name="T46" fmla="*/ 191 w 688"/>
                    <a:gd name="T47" fmla="*/ 317 h 715"/>
                    <a:gd name="T48" fmla="*/ 151 w 688"/>
                    <a:gd name="T49" fmla="*/ 287 h 715"/>
                    <a:gd name="T50" fmla="*/ 134 w 688"/>
                    <a:gd name="T51" fmla="*/ 265 h 715"/>
                    <a:gd name="T52" fmla="*/ 75 w 688"/>
                    <a:gd name="T53" fmla="*/ 286 h 715"/>
                    <a:gd name="T54" fmla="*/ 32 w 688"/>
                    <a:gd name="T55" fmla="*/ 265 h 715"/>
                    <a:gd name="T56" fmla="*/ 5 w 688"/>
                    <a:gd name="T57" fmla="*/ 230 h 715"/>
                    <a:gd name="T58" fmla="*/ 5 w 688"/>
                    <a:gd name="T59" fmla="*/ 212 h 715"/>
                    <a:gd name="T60" fmla="*/ 42 w 688"/>
                    <a:gd name="T61" fmla="*/ 171 h 715"/>
                    <a:gd name="T62" fmla="*/ 76 w 688"/>
                    <a:gd name="T63" fmla="*/ 104 h 715"/>
                    <a:gd name="T64" fmla="*/ 85 w 688"/>
                    <a:gd name="T65" fmla="*/ 80 h 715"/>
                    <a:gd name="T66" fmla="*/ 104 w 688"/>
                    <a:gd name="T67" fmla="*/ 60 h 715"/>
                    <a:gd name="T68" fmla="*/ 147 w 688"/>
                    <a:gd name="T69" fmla="*/ 76 h 715"/>
                    <a:gd name="T70" fmla="*/ 181 w 688"/>
                    <a:gd name="T71" fmla="*/ 48 h 715"/>
                    <a:gd name="T72" fmla="*/ 173 w 688"/>
                    <a:gd name="T73" fmla="*/ 20 h 715"/>
                    <a:gd name="T74" fmla="*/ 214 w 688"/>
                    <a:gd name="T75" fmla="*/ 18 h 715"/>
                    <a:gd name="T76" fmla="*/ 244 w 688"/>
                    <a:gd name="T77" fmla="*/ 1 h 715"/>
                    <a:gd name="T78" fmla="*/ 249 w 688"/>
                    <a:gd name="T79" fmla="*/ 28 h 715"/>
                    <a:gd name="T80" fmla="*/ 263 w 688"/>
                    <a:gd name="T81" fmla="*/ 69 h 715"/>
                    <a:gd name="T82" fmla="*/ 295 w 688"/>
                    <a:gd name="T83" fmla="*/ 57 h 715"/>
                    <a:gd name="T84" fmla="*/ 332 w 688"/>
                    <a:gd name="T85" fmla="*/ 47 h 715"/>
                    <a:gd name="T86" fmla="*/ 368 w 688"/>
                    <a:gd name="T87" fmla="*/ 53 h 715"/>
                    <a:gd name="T88" fmla="*/ 410 w 688"/>
                    <a:gd name="T89" fmla="*/ 53 h 715"/>
                    <a:gd name="T90" fmla="*/ 399 w 688"/>
                    <a:gd name="T91" fmla="*/ 93 h 715"/>
                    <a:gd name="T92" fmla="*/ 385 w 688"/>
                    <a:gd name="T93" fmla="*/ 120 h 715"/>
                    <a:gd name="T94" fmla="*/ 431 w 688"/>
                    <a:gd name="T95" fmla="*/ 123 h 715"/>
                    <a:gd name="T96" fmla="*/ 448 w 688"/>
                    <a:gd name="T97" fmla="*/ 116 h 715"/>
                    <a:gd name="T98" fmla="*/ 471 w 688"/>
                    <a:gd name="T99" fmla="*/ 104 h 715"/>
                    <a:gd name="T100" fmla="*/ 513 w 688"/>
                    <a:gd name="T101" fmla="*/ 123 h 715"/>
                    <a:gd name="T102" fmla="*/ 514 w 688"/>
                    <a:gd name="T103" fmla="*/ 148 h 715"/>
                    <a:gd name="T104" fmla="*/ 545 w 688"/>
                    <a:gd name="T105" fmla="*/ 135 h 715"/>
                    <a:gd name="T106" fmla="*/ 647 w 688"/>
                    <a:gd name="T107" fmla="*/ 178 h 715"/>
                    <a:gd name="T108" fmla="*/ 448 w 688"/>
                    <a:gd name="T109" fmla="*/ 102 h 715"/>
                    <a:gd name="T110" fmla="*/ 411 w 688"/>
                    <a:gd name="T111" fmla="*/ 112 h 715"/>
                    <a:gd name="T112" fmla="*/ 430 w 688"/>
                    <a:gd name="T113" fmla="*/ 119 h 715"/>
                    <a:gd name="T114" fmla="*/ 407 w 688"/>
                    <a:gd name="T115" fmla="*/ 93 h 715"/>
                    <a:gd name="T116" fmla="*/ 519 w 688"/>
                    <a:gd name="T117" fmla="*/ 140 h 715"/>
                    <a:gd name="T118" fmla="*/ 415 w 688"/>
                    <a:gd name="T119" fmla="*/ 90 h 715"/>
                    <a:gd name="T120" fmla="*/ 392 w 688"/>
                    <a:gd name="T121" fmla="*/ 106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88" h="715">
                      <a:moveTo>
                        <a:pt x="615" y="330"/>
                      </a:moveTo>
                      <a:lnTo>
                        <a:pt x="615" y="330"/>
                      </a:lnTo>
                      <a:lnTo>
                        <a:pt x="616" y="332"/>
                      </a:lnTo>
                      <a:lnTo>
                        <a:pt x="615" y="332"/>
                      </a:lnTo>
                      <a:lnTo>
                        <a:pt x="615" y="330"/>
                      </a:lnTo>
                      <a:close/>
                      <a:moveTo>
                        <a:pt x="621" y="322"/>
                      </a:moveTo>
                      <a:lnTo>
                        <a:pt x="621" y="322"/>
                      </a:lnTo>
                      <a:lnTo>
                        <a:pt x="619" y="323"/>
                      </a:lnTo>
                      <a:lnTo>
                        <a:pt x="618" y="323"/>
                      </a:lnTo>
                      <a:lnTo>
                        <a:pt x="619" y="324"/>
                      </a:lnTo>
                      <a:lnTo>
                        <a:pt x="621" y="323"/>
                      </a:lnTo>
                      <a:lnTo>
                        <a:pt x="621" y="323"/>
                      </a:lnTo>
                      <a:lnTo>
                        <a:pt x="622" y="322"/>
                      </a:lnTo>
                      <a:lnTo>
                        <a:pt x="621" y="320"/>
                      </a:lnTo>
                      <a:lnTo>
                        <a:pt x="621" y="322"/>
                      </a:lnTo>
                      <a:close/>
                      <a:moveTo>
                        <a:pt x="445" y="570"/>
                      </a:moveTo>
                      <a:lnTo>
                        <a:pt x="445" y="572"/>
                      </a:lnTo>
                      <a:lnTo>
                        <a:pt x="445" y="573"/>
                      </a:lnTo>
                      <a:lnTo>
                        <a:pt x="445" y="574"/>
                      </a:lnTo>
                      <a:lnTo>
                        <a:pt x="447" y="573"/>
                      </a:lnTo>
                      <a:lnTo>
                        <a:pt x="447" y="572"/>
                      </a:lnTo>
                      <a:lnTo>
                        <a:pt x="447" y="572"/>
                      </a:lnTo>
                      <a:lnTo>
                        <a:pt x="448" y="570"/>
                      </a:lnTo>
                      <a:lnTo>
                        <a:pt x="447" y="569"/>
                      </a:lnTo>
                      <a:lnTo>
                        <a:pt x="445" y="570"/>
                      </a:lnTo>
                      <a:close/>
                      <a:moveTo>
                        <a:pt x="522" y="511"/>
                      </a:moveTo>
                      <a:lnTo>
                        <a:pt x="520" y="511"/>
                      </a:lnTo>
                      <a:lnTo>
                        <a:pt x="522" y="510"/>
                      </a:lnTo>
                      <a:lnTo>
                        <a:pt x="523" y="510"/>
                      </a:lnTo>
                      <a:lnTo>
                        <a:pt x="524" y="510"/>
                      </a:lnTo>
                      <a:lnTo>
                        <a:pt x="524" y="511"/>
                      </a:lnTo>
                      <a:lnTo>
                        <a:pt x="523" y="511"/>
                      </a:lnTo>
                      <a:lnTo>
                        <a:pt x="522" y="511"/>
                      </a:lnTo>
                      <a:close/>
                      <a:moveTo>
                        <a:pt x="447" y="597"/>
                      </a:moveTo>
                      <a:lnTo>
                        <a:pt x="448" y="595"/>
                      </a:lnTo>
                      <a:lnTo>
                        <a:pt x="450" y="593"/>
                      </a:lnTo>
                      <a:lnTo>
                        <a:pt x="450" y="595"/>
                      </a:lnTo>
                      <a:lnTo>
                        <a:pt x="448" y="597"/>
                      </a:lnTo>
                      <a:lnTo>
                        <a:pt x="448" y="600"/>
                      </a:lnTo>
                      <a:lnTo>
                        <a:pt x="447" y="602"/>
                      </a:lnTo>
                      <a:lnTo>
                        <a:pt x="447" y="599"/>
                      </a:lnTo>
                      <a:lnTo>
                        <a:pt x="447" y="597"/>
                      </a:lnTo>
                      <a:close/>
                      <a:moveTo>
                        <a:pt x="504" y="526"/>
                      </a:moveTo>
                      <a:lnTo>
                        <a:pt x="503" y="526"/>
                      </a:lnTo>
                      <a:lnTo>
                        <a:pt x="501" y="524"/>
                      </a:lnTo>
                      <a:lnTo>
                        <a:pt x="503" y="524"/>
                      </a:lnTo>
                      <a:lnTo>
                        <a:pt x="504" y="521"/>
                      </a:lnTo>
                      <a:lnTo>
                        <a:pt x="504" y="523"/>
                      </a:lnTo>
                      <a:lnTo>
                        <a:pt x="504" y="523"/>
                      </a:lnTo>
                      <a:lnTo>
                        <a:pt x="504" y="523"/>
                      </a:lnTo>
                      <a:lnTo>
                        <a:pt x="506" y="524"/>
                      </a:lnTo>
                      <a:lnTo>
                        <a:pt x="504" y="524"/>
                      </a:lnTo>
                      <a:lnTo>
                        <a:pt x="504" y="526"/>
                      </a:lnTo>
                      <a:lnTo>
                        <a:pt x="504" y="526"/>
                      </a:lnTo>
                      <a:close/>
                      <a:moveTo>
                        <a:pt x="688" y="217"/>
                      </a:moveTo>
                      <a:lnTo>
                        <a:pt x="688" y="222"/>
                      </a:lnTo>
                      <a:lnTo>
                        <a:pt x="687" y="238"/>
                      </a:lnTo>
                      <a:lnTo>
                        <a:pt x="685" y="242"/>
                      </a:lnTo>
                      <a:lnTo>
                        <a:pt x="682" y="248"/>
                      </a:lnTo>
                      <a:lnTo>
                        <a:pt x="678" y="255"/>
                      </a:lnTo>
                      <a:lnTo>
                        <a:pt x="674" y="261"/>
                      </a:lnTo>
                      <a:lnTo>
                        <a:pt x="669" y="263"/>
                      </a:lnTo>
                      <a:lnTo>
                        <a:pt x="669" y="265"/>
                      </a:lnTo>
                      <a:lnTo>
                        <a:pt x="667" y="270"/>
                      </a:lnTo>
                      <a:lnTo>
                        <a:pt x="662" y="274"/>
                      </a:lnTo>
                      <a:lnTo>
                        <a:pt x="661" y="277"/>
                      </a:lnTo>
                      <a:lnTo>
                        <a:pt x="658" y="278"/>
                      </a:lnTo>
                      <a:lnTo>
                        <a:pt x="654" y="281"/>
                      </a:lnTo>
                      <a:lnTo>
                        <a:pt x="651" y="283"/>
                      </a:lnTo>
                      <a:lnTo>
                        <a:pt x="651" y="284"/>
                      </a:lnTo>
                      <a:lnTo>
                        <a:pt x="649" y="286"/>
                      </a:lnTo>
                      <a:lnTo>
                        <a:pt x="648" y="287"/>
                      </a:lnTo>
                      <a:lnTo>
                        <a:pt x="647" y="287"/>
                      </a:lnTo>
                      <a:lnTo>
                        <a:pt x="647" y="290"/>
                      </a:lnTo>
                      <a:lnTo>
                        <a:pt x="647" y="291"/>
                      </a:lnTo>
                      <a:lnTo>
                        <a:pt x="645" y="293"/>
                      </a:lnTo>
                      <a:lnTo>
                        <a:pt x="644" y="294"/>
                      </a:lnTo>
                      <a:lnTo>
                        <a:pt x="644" y="293"/>
                      </a:lnTo>
                      <a:lnTo>
                        <a:pt x="644" y="291"/>
                      </a:lnTo>
                      <a:lnTo>
                        <a:pt x="644" y="290"/>
                      </a:lnTo>
                      <a:lnTo>
                        <a:pt x="642" y="293"/>
                      </a:lnTo>
                      <a:lnTo>
                        <a:pt x="642" y="296"/>
                      </a:lnTo>
                      <a:lnTo>
                        <a:pt x="641" y="299"/>
                      </a:lnTo>
                      <a:lnTo>
                        <a:pt x="641" y="301"/>
                      </a:lnTo>
                      <a:lnTo>
                        <a:pt x="636" y="307"/>
                      </a:lnTo>
                      <a:lnTo>
                        <a:pt x="629" y="319"/>
                      </a:lnTo>
                      <a:lnTo>
                        <a:pt x="628" y="320"/>
                      </a:lnTo>
                      <a:lnTo>
                        <a:pt x="625" y="322"/>
                      </a:lnTo>
                      <a:lnTo>
                        <a:pt x="624" y="322"/>
                      </a:lnTo>
                      <a:lnTo>
                        <a:pt x="622" y="317"/>
                      </a:lnTo>
                      <a:lnTo>
                        <a:pt x="621" y="316"/>
                      </a:lnTo>
                      <a:lnTo>
                        <a:pt x="619" y="317"/>
                      </a:lnTo>
                      <a:lnTo>
                        <a:pt x="619" y="317"/>
                      </a:lnTo>
                      <a:lnTo>
                        <a:pt x="618" y="319"/>
                      </a:lnTo>
                      <a:lnTo>
                        <a:pt x="618" y="319"/>
                      </a:lnTo>
                      <a:lnTo>
                        <a:pt x="619" y="322"/>
                      </a:lnTo>
                      <a:lnTo>
                        <a:pt x="616" y="326"/>
                      </a:lnTo>
                      <a:lnTo>
                        <a:pt x="615" y="330"/>
                      </a:lnTo>
                      <a:lnTo>
                        <a:pt x="613" y="333"/>
                      </a:lnTo>
                      <a:lnTo>
                        <a:pt x="615" y="333"/>
                      </a:lnTo>
                      <a:lnTo>
                        <a:pt x="615" y="336"/>
                      </a:lnTo>
                      <a:lnTo>
                        <a:pt x="615" y="340"/>
                      </a:lnTo>
                      <a:lnTo>
                        <a:pt x="615" y="342"/>
                      </a:lnTo>
                      <a:lnTo>
                        <a:pt x="615" y="340"/>
                      </a:lnTo>
                      <a:lnTo>
                        <a:pt x="616" y="343"/>
                      </a:lnTo>
                      <a:lnTo>
                        <a:pt x="615" y="350"/>
                      </a:lnTo>
                      <a:lnTo>
                        <a:pt x="613" y="353"/>
                      </a:lnTo>
                      <a:lnTo>
                        <a:pt x="616" y="375"/>
                      </a:lnTo>
                      <a:lnTo>
                        <a:pt x="615" y="382"/>
                      </a:lnTo>
                      <a:lnTo>
                        <a:pt x="612" y="395"/>
                      </a:lnTo>
                      <a:lnTo>
                        <a:pt x="612" y="398"/>
                      </a:lnTo>
                      <a:lnTo>
                        <a:pt x="612" y="406"/>
                      </a:lnTo>
                      <a:lnTo>
                        <a:pt x="611" y="409"/>
                      </a:lnTo>
                      <a:lnTo>
                        <a:pt x="609" y="411"/>
                      </a:lnTo>
                      <a:lnTo>
                        <a:pt x="608" y="412"/>
                      </a:lnTo>
                      <a:lnTo>
                        <a:pt x="606" y="414"/>
                      </a:lnTo>
                      <a:lnTo>
                        <a:pt x="603" y="419"/>
                      </a:lnTo>
                      <a:lnTo>
                        <a:pt x="602" y="425"/>
                      </a:lnTo>
                      <a:lnTo>
                        <a:pt x="602" y="438"/>
                      </a:lnTo>
                      <a:lnTo>
                        <a:pt x="602" y="441"/>
                      </a:lnTo>
                      <a:lnTo>
                        <a:pt x="601" y="444"/>
                      </a:lnTo>
                      <a:lnTo>
                        <a:pt x="596" y="448"/>
                      </a:lnTo>
                      <a:lnTo>
                        <a:pt x="595" y="451"/>
                      </a:lnTo>
                      <a:lnTo>
                        <a:pt x="592" y="458"/>
                      </a:lnTo>
                      <a:lnTo>
                        <a:pt x="589" y="462"/>
                      </a:lnTo>
                      <a:lnTo>
                        <a:pt x="585" y="467"/>
                      </a:lnTo>
                      <a:lnTo>
                        <a:pt x="582" y="472"/>
                      </a:lnTo>
                      <a:lnTo>
                        <a:pt x="579" y="478"/>
                      </a:lnTo>
                      <a:lnTo>
                        <a:pt x="579" y="480"/>
                      </a:lnTo>
                      <a:lnTo>
                        <a:pt x="580" y="485"/>
                      </a:lnTo>
                      <a:lnTo>
                        <a:pt x="579" y="488"/>
                      </a:lnTo>
                      <a:lnTo>
                        <a:pt x="578" y="490"/>
                      </a:lnTo>
                      <a:lnTo>
                        <a:pt x="575" y="491"/>
                      </a:lnTo>
                      <a:lnTo>
                        <a:pt x="572" y="493"/>
                      </a:lnTo>
                      <a:lnTo>
                        <a:pt x="569" y="494"/>
                      </a:lnTo>
                      <a:lnTo>
                        <a:pt x="566" y="495"/>
                      </a:lnTo>
                      <a:lnTo>
                        <a:pt x="565" y="497"/>
                      </a:lnTo>
                      <a:lnTo>
                        <a:pt x="563" y="500"/>
                      </a:lnTo>
                      <a:lnTo>
                        <a:pt x="562" y="503"/>
                      </a:lnTo>
                      <a:lnTo>
                        <a:pt x="562" y="503"/>
                      </a:lnTo>
                      <a:lnTo>
                        <a:pt x="562" y="504"/>
                      </a:lnTo>
                      <a:lnTo>
                        <a:pt x="562" y="505"/>
                      </a:lnTo>
                      <a:lnTo>
                        <a:pt x="562" y="507"/>
                      </a:lnTo>
                      <a:lnTo>
                        <a:pt x="560" y="507"/>
                      </a:lnTo>
                      <a:lnTo>
                        <a:pt x="556" y="507"/>
                      </a:lnTo>
                      <a:lnTo>
                        <a:pt x="550" y="507"/>
                      </a:lnTo>
                      <a:lnTo>
                        <a:pt x="547" y="507"/>
                      </a:lnTo>
                      <a:lnTo>
                        <a:pt x="545" y="507"/>
                      </a:lnTo>
                      <a:lnTo>
                        <a:pt x="543" y="505"/>
                      </a:lnTo>
                      <a:lnTo>
                        <a:pt x="543" y="504"/>
                      </a:lnTo>
                      <a:lnTo>
                        <a:pt x="542" y="503"/>
                      </a:lnTo>
                      <a:lnTo>
                        <a:pt x="540" y="503"/>
                      </a:lnTo>
                      <a:lnTo>
                        <a:pt x="540" y="504"/>
                      </a:lnTo>
                      <a:lnTo>
                        <a:pt x="540" y="505"/>
                      </a:lnTo>
                      <a:lnTo>
                        <a:pt x="540" y="507"/>
                      </a:lnTo>
                      <a:lnTo>
                        <a:pt x="539" y="508"/>
                      </a:lnTo>
                      <a:lnTo>
                        <a:pt x="536" y="508"/>
                      </a:lnTo>
                      <a:lnTo>
                        <a:pt x="533" y="510"/>
                      </a:lnTo>
                      <a:lnTo>
                        <a:pt x="530" y="510"/>
                      </a:lnTo>
                      <a:lnTo>
                        <a:pt x="527" y="508"/>
                      </a:lnTo>
                      <a:lnTo>
                        <a:pt x="532" y="508"/>
                      </a:lnTo>
                      <a:lnTo>
                        <a:pt x="533" y="508"/>
                      </a:lnTo>
                      <a:lnTo>
                        <a:pt x="530" y="507"/>
                      </a:lnTo>
                      <a:lnTo>
                        <a:pt x="527" y="507"/>
                      </a:lnTo>
                      <a:lnTo>
                        <a:pt x="519" y="508"/>
                      </a:lnTo>
                      <a:lnTo>
                        <a:pt x="516" y="510"/>
                      </a:lnTo>
                      <a:lnTo>
                        <a:pt x="514" y="511"/>
                      </a:lnTo>
                      <a:lnTo>
                        <a:pt x="517" y="513"/>
                      </a:lnTo>
                      <a:lnTo>
                        <a:pt x="516" y="514"/>
                      </a:lnTo>
                      <a:lnTo>
                        <a:pt x="513" y="514"/>
                      </a:lnTo>
                      <a:lnTo>
                        <a:pt x="512" y="514"/>
                      </a:lnTo>
                      <a:lnTo>
                        <a:pt x="510" y="516"/>
                      </a:lnTo>
                      <a:lnTo>
                        <a:pt x="507" y="517"/>
                      </a:lnTo>
                      <a:lnTo>
                        <a:pt x="501" y="521"/>
                      </a:lnTo>
                      <a:lnTo>
                        <a:pt x="501" y="521"/>
                      </a:lnTo>
                      <a:lnTo>
                        <a:pt x="501" y="521"/>
                      </a:lnTo>
                      <a:lnTo>
                        <a:pt x="501" y="523"/>
                      </a:lnTo>
                      <a:lnTo>
                        <a:pt x="500" y="523"/>
                      </a:lnTo>
                      <a:lnTo>
                        <a:pt x="500" y="523"/>
                      </a:lnTo>
                      <a:lnTo>
                        <a:pt x="497" y="523"/>
                      </a:lnTo>
                      <a:lnTo>
                        <a:pt x="497" y="523"/>
                      </a:lnTo>
                      <a:lnTo>
                        <a:pt x="494" y="523"/>
                      </a:lnTo>
                      <a:lnTo>
                        <a:pt x="493" y="523"/>
                      </a:lnTo>
                      <a:lnTo>
                        <a:pt x="490" y="524"/>
                      </a:lnTo>
                      <a:lnTo>
                        <a:pt x="480" y="530"/>
                      </a:lnTo>
                      <a:lnTo>
                        <a:pt x="464" y="543"/>
                      </a:lnTo>
                      <a:lnTo>
                        <a:pt x="460" y="546"/>
                      </a:lnTo>
                      <a:lnTo>
                        <a:pt x="457" y="547"/>
                      </a:lnTo>
                      <a:lnTo>
                        <a:pt x="458" y="547"/>
                      </a:lnTo>
                      <a:lnTo>
                        <a:pt x="458" y="547"/>
                      </a:lnTo>
                      <a:lnTo>
                        <a:pt x="457" y="550"/>
                      </a:lnTo>
                      <a:lnTo>
                        <a:pt x="455" y="551"/>
                      </a:lnTo>
                      <a:lnTo>
                        <a:pt x="454" y="553"/>
                      </a:lnTo>
                      <a:lnTo>
                        <a:pt x="453" y="554"/>
                      </a:lnTo>
                      <a:lnTo>
                        <a:pt x="453" y="553"/>
                      </a:lnTo>
                      <a:lnTo>
                        <a:pt x="450" y="551"/>
                      </a:lnTo>
                      <a:lnTo>
                        <a:pt x="450" y="551"/>
                      </a:lnTo>
                      <a:lnTo>
                        <a:pt x="450" y="551"/>
                      </a:lnTo>
                      <a:lnTo>
                        <a:pt x="448" y="553"/>
                      </a:lnTo>
                      <a:lnTo>
                        <a:pt x="448" y="553"/>
                      </a:lnTo>
                      <a:lnTo>
                        <a:pt x="448" y="553"/>
                      </a:lnTo>
                      <a:lnTo>
                        <a:pt x="448" y="554"/>
                      </a:lnTo>
                      <a:lnTo>
                        <a:pt x="447" y="554"/>
                      </a:lnTo>
                      <a:lnTo>
                        <a:pt x="445" y="554"/>
                      </a:lnTo>
                      <a:lnTo>
                        <a:pt x="444" y="553"/>
                      </a:lnTo>
                      <a:lnTo>
                        <a:pt x="444" y="556"/>
                      </a:lnTo>
                      <a:lnTo>
                        <a:pt x="445" y="556"/>
                      </a:lnTo>
                      <a:lnTo>
                        <a:pt x="448" y="556"/>
                      </a:lnTo>
                      <a:lnTo>
                        <a:pt x="450" y="557"/>
                      </a:lnTo>
                      <a:lnTo>
                        <a:pt x="448" y="559"/>
                      </a:lnTo>
                      <a:lnTo>
                        <a:pt x="448" y="562"/>
                      </a:lnTo>
                      <a:lnTo>
                        <a:pt x="445" y="563"/>
                      </a:lnTo>
                      <a:lnTo>
                        <a:pt x="444" y="563"/>
                      </a:lnTo>
                      <a:lnTo>
                        <a:pt x="445" y="564"/>
                      </a:lnTo>
                      <a:lnTo>
                        <a:pt x="447" y="566"/>
                      </a:lnTo>
                      <a:lnTo>
                        <a:pt x="445" y="567"/>
                      </a:lnTo>
                      <a:lnTo>
                        <a:pt x="445" y="569"/>
                      </a:lnTo>
                      <a:lnTo>
                        <a:pt x="445" y="570"/>
                      </a:lnTo>
                      <a:lnTo>
                        <a:pt x="444" y="570"/>
                      </a:lnTo>
                      <a:lnTo>
                        <a:pt x="444" y="570"/>
                      </a:lnTo>
                      <a:lnTo>
                        <a:pt x="444" y="570"/>
                      </a:lnTo>
                      <a:lnTo>
                        <a:pt x="444" y="572"/>
                      </a:lnTo>
                      <a:lnTo>
                        <a:pt x="444" y="572"/>
                      </a:lnTo>
                      <a:lnTo>
                        <a:pt x="444" y="576"/>
                      </a:lnTo>
                      <a:lnTo>
                        <a:pt x="447" y="587"/>
                      </a:lnTo>
                      <a:lnTo>
                        <a:pt x="445" y="605"/>
                      </a:lnTo>
                      <a:lnTo>
                        <a:pt x="445" y="609"/>
                      </a:lnTo>
                      <a:lnTo>
                        <a:pt x="444" y="612"/>
                      </a:lnTo>
                      <a:lnTo>
                        <a:pt x="443" y="615"/>
                      </a:lnTo>
                      <a:lnTo>
                        <a:pt x="440" y="618"/>
                      </a:lnTo>
                      <a:lnTo>
                        <a:pt x="431" y="625"/>
                      </a:lnTo>
                      <a:lnTo>
                        <a:pt x="430" y="628"/>
                      </a:lnTo>
                      <a:lnTo>
                        <a:pt x="424" y="633"/>
                      </a:lnTo>
                      <a:lnTo>
                        <a:pt x="412" y="658"/>
                      </a:lnTo>
                      <a:lnTo>
                        <a:pt x="408" y="665"/>
                      </a:lnTo>
                      <a:lnTo>
                        <a:pt x="402" y="672"/>
                      </a:lnTo>
                      <a:lnTo>
                        <a:pt x="392" y="678"/>
                      </a:lnTo>
                      <a:lnTo>
                        <a:pt x="385" y="684"/>
                      </a:lnTo>
                      <a:lnTo>
                        <a:pt x="385" y="682"/>
                      </a:lnTo>
                      <a:lnTo>
                        <a:pt x="385" y="681"/>
                      </a:lnTo>
                      <a:lnTo>
                        <a:pt x="385" y="681"/>
                      </a:lnTo>
                      <a:lnTo>
                        <a:pt x="385" y="679"/>
                      </a:lnTo>
                      <a:lnTo>
                        <a:pt x="387" y="679"/>
                      </a:lnTo>
                      <a:lnTo>
                        <a:pt x="387" y="679"/>
                      </a:lnTo>
                      <a:lnTo>
                        <a:pt x="388" y="679"/>
                      </a:lnTo>
                      <a:lnTo>
                        <a:pt x="389" y="678"/>
                      </a:lnTo>
                      <a:lnTo>
                        <a:pt x="392" y="677"/>
                      </a:lnTo>
                      <a:lnTo>
                        <a:pt x="395" y="674"/>
                      </a:lnTo>
                      <a:lnTo>
                        <a:pt x="397" y="674"/>
                      </a:lnTo>
                      <a:lnTo>
                        <a:pt x="398" y="672"/>
                      </a:lnTo>
                      <a:lnTo>
                        <a:pt x="399" y="671"/>
                      </a:lnTo>
                      <a:lnTo>
                        <a:pt x="399" y="669"/>
                      </a:lnTo>
                      <a:lnTo>
                        <a:pt x="401" y="668"/>
                      </a:lnTo>
                      <a:lnTo>
                        <a:pt x="401" y="666"/>
                      </a:lnTo>
                      <a:lnTo>
                        <a:pt x="401" y="665"/>
                      </a:lnTo>
                      <a:lnTo>
                        <a:pt x="401" y="665"/>
                      </a:lnTo>
                      <a:lnTo>
                        <a:pt x="402" y="665"/>
                      </a:lnTo>
                      <a:lnTo>
                        <a:pt x="402" y="665"/>
                      </a:lnTo>
                      <a:lnTo>
                        <a:pt x="402" y="665"/>
                      </a:lnTo>
                      <a:lnTo>
                        <a:pt x="404" y="665"/>
                      </a:lnTo>
                      <a:lnTo>
                        <a:pt x="404" y="662"/>
                      </a:lnTo>
                      <a:lnTo>
                        <a:pt x="408" y="659"/>
                      </a:lnTo>
                      <a:lnTo>
                        <a:pt x="408" y="658"/>
                      </a:lnTo>
                      <a:lnTo>
                        <a:pt x="408" y="656"/>
                      </a:lnTo>
                      <a:lnTo>
                        <a:pt x="408" y="655"/>
                      </a:lnTo>
                      <a:lnTo>
                        <a:pt x="410" y="654"/>
                      </a:lnTo>
                      <a:lnTo>
                        <a:pt x="410" y="652"/>
                      </a:lnTo>
                      <a:lnTo>
                        <a:pt x="410" y="652"/>
                      </a:lnTo>
                      <a:lnTo>
                        <a:pt x="410" y="652"/>
                      </a:lnTo>
                      <a:lnTo>
                        <a:pt x="410" y="652"/>
                      </a:lnTo>
                      <a:lnTo>
                        <a:pt x="410" y="652"/>
                      </a:lnTo>
                      <a:lnTo>
                        <a:pt x="411" y="652"/>
                      </a:lnTo>
                      <a:lnTo>
                        <a:pt x="412" y="651"/>
                      </a:lnTo>
                      <a:lnTo>
                        <a:pt x="411" y="649"/>
                      </a:lnTo>
                      <a:lnTo>
                        <a:pt x="410" y="649"/>
                      </a:lnTo>
                      <a:lnTo>
                        <a:pt x="408" y="649"/>
                      </a:lnTo>
                      <a:lnTo>
                        <a:pt x="405" y="651"/>
                      </a:lnTo>
                      <a:lnTo>
                        <a:pt x="404" y="651"/>
                      </a:lnTo>
                      <a:lnTo>
                        <a:pt x="404" y="651"/>
                      </a:lnTo>
                      <a:lnTo>
                        <a:pt x="401" y="648"/>
                      </a:lnTo>
                      <a:lnTo>
                        <a:pt x="401" y="648"/>
                      </a:lnTo>
                      <a:lnTo>
                        <a:pt x="399" y="646"/>
                      </a:lnTo>
                      <a:lnTo>
                        <a:pt x="399" y="645"/>
                      </a:lnTo>
                      <a:lnTo>
                        <a:pt x="398" y="645"/>
                      </a:lnTo>
                      <a:lnTo>
                        <a:pt x="398" y="646"/>
                      </a:lnTo>
                      <a:lnTo>
                        <a:pt x="401" y="651"/>
                      </a:lnTo>
                      <a:lnTo>
                        <a:pt x="401" y="652"/>
                      </a:lnTo>
                      <a:lnTo>
                        <a:pt x="399" y="654"/>
                      </a:lnTo>
                      <a:lnTo>
                        <a:pt x="399" y="655"/>
                      </a:lnTo>
                      <a:lnTo>
                        <a:pt x="399" y="656"/>
                      </a:lnTo>
                      <a:lnTo>
                        <a:pt x="398" y="658"/>
                      </a:lnTo>
                      <a:lnTo>
                        <a:pt x="398" y="658"/>
                      </a:lnTo>
                      <a:lnTo>
                        <a:pt x="398" y="656"/>
                      </a:lnTo>
                      <a:lnTo>
                        <a:pt x="397" y="658"/>
                      </a:lnTo>
                      <a:lnTo>
                        <a:pt x="397" y="661"/>
                      </a:lnTo>
                      <a:lnTo>
                        <a:pt x="395" y="664"/>
                      </a:lnTo>
                      <a:lnTo>
                        <a:pt x="395" y="665"/>
                      </a:lnTo>
                      <a:lnTo>
                        <a:pt x="394" y="666"/>
                      </a:lnTo>
                      <a:lnTo>
                        <a:pt x="389" y="668"/>
                      </a:lnTo>
                      <a:lnTo>
                        <a:pt x="388" y="669"/>
                      </a:lnTo>
                      <a:lnTo>
                        <a:pt x="387" y="671"/>
                      </a:lnTo>
                      <a:lnTo>
                        <a:pt x="384" y="677"/>
                      </a:lnTo>
                      <a:lnTo>
                        <a:pt x="384" y="679"/>
                      </a:lnTo>
                      <a:lnTo>
                        <a:pt x="384" y="681"/>
                      </a:lnTo>
                      <a:lnTo>
                        <a:pt x="384" y="682"/>
                      </a:lnTo>
                      <a:lnTo>
                        <a:pt x="384" y="685"/>
                      </a:lnTo>
                      <a:lnTo>
                        <a:pt x="384" y="687"/>
                      </a:lnTo>
                      <a:lnTo>
                        <a:pt x="381" y="689"/>
                      </a:lnTo>
                      <a:lnTo>
                        <a:pt x="379" y="691"/>
                      </a:lnTo>
                      <a:lnTo>
                        <a:pt x="377" y="701"/>
                      </a:lnTo>
                      <a:lnTo>
                        <a:pt x="374" y="705"/>
                      </a:lnTo>
                      <a:lnTo>
                        <a:pt x="369" y="710"/>
                      </a:lnTo>
                      <a:lnTo>
                        <a:pt x="362" y="715"/>
                      </a:lnTo>
                      <a:lnTo>
                        <a:pt x="359" y="714"/>
                      </a:lnTo>
                      <a:lnTo>
                        <a:pt x="359" y="711"/>
                      </a:lnTo>
                      <a:lnTo>
                        <a:pt x="359" y="707"/>
                      </a:lnTo>
                      <a:lnTo>
                        <a:pt x="359" y="704"/>
                      </a:lnTo>
                      <a:lnTo>
                        <a:pt x="361" y="702"/>
                      </a:lnTo>
                      <a:lnTo>
                        <a:pt x="365" y="697"/>
                      </a:lnTo>
                      <a:lnTo>
                        <a:pt x="366" y="695"/>
                      </a:lnTo>
                      <a:lnTo>
                        <a:pt x="365" y="694"/>
                      </a:lnTo>
                      <a:lnTo>
                        <a:pt x="364" y="692"/>
                      </a:lnTo>
                      <a:lnTo>
                        <a:pt x="362" y="692"/>
                      </a:lnTo>
                      <a:lnTo>
                        <a:pt x="361" y="691"/>
                      </a:lnTo>
                      <a:lnTo>
                        <a:pt x="359" y="689"/>
                      </a:lnTo>
                      <a:lnTo>
                        <a:pt x="358" y="688"/>
                      </a:lnTo>
                      <a:lnTo>
                        <a:pt x="356" y="685"/>
                      </a:lnTo>
                      <a:lnTo>
                        <a:pt x="355" y="682"/>
                      </a:lnTo>
                      <a:lnTo>
                        <a:pt x="352" y="681"/>
                      </a:lnTo>
                      <a:lnTo>
                        <a:pt x="348" y="679"/>
                      </a:lnTo>
                      <a:lnTo>
                        <a:pt x="345" y="678"/>
                      </a:lnTo>
                      <a:lnTo>
                        <a:pt x="342" y="674"/>
                      </a:lnTo>
                      <a:lnTo>
                        <a:pt x="341" y="672"/>
                      </a:lnTo>
                      <a:lnTo>
                        <a:pt x="339" y="672"/>
                      </a:lnTo>
                      <a:lnTo>
                        <a:pt x="333" y="669"/>
                      </a:lnTo>
                      <a:lnTo>
                        <a:pt x="331" y="668"/>
                      </a:lnTo>
                      <a:lnTo>
                        <a:pt x="329" y="666"/>
                      </a:lnTo>
                      <a:lnTo>
                        <a:pt x="325" y="662"/>
                      </a:lnTo>
                      <a:lnTo>
                        <a:pt x="323" y="661"/>
                      </a:lnTo>
                      <a:lnTo>
                        <a:pt x="322" y="661"/>
                      </a:lnTo>
                      <a:lnTo>
                        <a:pt x="318" y="664"/>
                      </a:lnTo>
                      <a:lnTo>
                        <a:pt x="316" y="664"/>
                      </a:lnTo>
                      <a:lnTo>
                        <a:pt x="316" y="662"/>
                      </a:lnTo>
                      <a:lnTo>
                        <a:pt x="315" y="659"/>
                      </a:lnTo>
                      <a:lnTo>
                        <a:pt x="313" y="655"/>
                      </a:lnTo>
                      <a:lnTo>
                        <a:pt x="309" y="652"/>
                      </a:lnTo>
                      <a:lnTo>
                        <a:pt x="305" y="648"/>
                      </a:lnTo>
                      <a:lnTo>
                        <a:pt x="302" y="646"/>
                      </a:lnTo>
                      <a:lnTo>
                        <a:pt x="298" y="646"/>
                      </a:lnTo>
                      <a:lnTo>
                        <a:pt x="295" y="649"/>
                      </a:lnTo>
                      <a:lnTo>
                        <a:pt x="290" y="649"/>
                      </a:lnTo>
                      <a:lnTo>
                        <a:pt x="287" y="648"/>
                      </a:lnTo>
                      <a:lnTo>
                        <a:pt x="305" y="629"/>
                      </a:lnTo>
                      <a:lnTo>
                        <a:pt x="316" y="615"/>
                      </a:lnTo>
                      <a:lnTo>
                        <a:pt x="318" y="613"/>
                      </a:lnTo>
                      <a:lnTo>
                        <a:pt x="318" y="613"/>
                      </a:lnTo>
                      <a:lnTo>
                        <a:pt x="321" y="613"/>
                      </a:lnTo>
                      <a:lnTo>
                        <a:pt x="322" y="612"/>
                      </a:lnTo>
                      <a:lnTo>
                        <a:pt x="321" y="610"/>
                      </a:lnTo>
                      <a:lnTo>
                        <a:pt x="322" y="609"/>
                      </a:lnTo>
                      <a:lnTo>
                        <a:pt x="322" y="608"/>
                      </a:lnTo>
                      <a:lnTo>
                        <a:pt x="332" y="602"/>
                      </a:lnTo>
                      <a:lnTo>
                        <a:pt x="336" y="597"/>
                      </a:lnTo>
                      <a:lnTo>
                        <a:pt x="338" y="596"/>
                      </a:lnTo>
                      <a:lnTo>
                        <a:pt x="341" y="595"/>
                      </a:lnTo>
                      <a:lnTo>
                        <a:pt x="343" y="593"/>
                      </a:lnTo>
                      <a:lnTo>
                        <a:pt x="346" y="592"/>
                      </a:lnTo>
                      <a:lnTo>
                        <a:pt x="349" y="590"/>
                      </a:lnTo>
                      <a:lnTo>
                        <a:pt x="352" y="589"/>
                      </a:lnTo>
                      <a:lnTo>
                        <a:pt x="355" y="586"/>
                      </a:lnTo>
                      <a:lnTo>
                        <a:pt x="355" y="582"/>
                      </a:lnTo>
                      <a:lnTo>
                        <a:pt x="356" y="572"/>
                      </a:lnTo>
                      <a:lnTo>
                        <a:pt x="356" y="570"/>
                      </a:lnTo>
                      <a:lnTo>
                        <a:pt x="355" y="566"/>
                      </a:lnTo>
                      <a:lnTo>
                        <a:pt x="354" y="562"/>
                      </a:lnTo>
                      <a:lnTo>
                        <a:pt x="352" y="559"/>
                      </a:lnTo>
                      <a:lnTo>
                        <a:pt x="351" y="557"/>
                      </a:lnTo>
                      <a:lnTo>
                        <a:pt x="348" y="557"/>
                      </a:lnTo>
                      <a:lnTo>
                        <a:pt x="343" y="557"/>
                      </a:lnTo>
                      <a:lnTo>
                        <a:pt x="341" y="557"/>
                      </a:lnTo>
                      <a:lnTo>
                        <a:pt x="341" y="556"/>
                      </a:lnTo>
                      <a:lnTo>
                        <a:pt x="341" y="553"/>
                      </a:lnTo>
                      <a:lnTo>
                        <a:pt x="342" y="551"/>
                      </a:lnTo>
                      <a:lnTo>
                        <a:pt x="343" y="550"/>
                      </a:lnTo>
                      <a:lnTo>
                        <a:pt x="343" y="549"/>
                      </a:lnTo>
                      <a:lnTo>
                        <a:pt x="345" y="530"/>
                      </a:lnTo>
                      <a:lnTo>
                        <a:pt x="346" y="528"/>
                      </a:lnTo>
                      <a:lnTo>
                        <a:pt x="345" y="527"/>
                      </a:lnTo>
                      <a:lnTo>
                        <a:pt x="343" y="526"/>
                      </a:lnTo>
                      <a:lnTo>
                        <a:pt x="342" y="524"/>
                      </a:lnTo>
                      <a:lnTo>
                        <a:pt x="339" y="523"/>
                      </a:lnTo>
                      <a:lnTo>
                        <a:pt x="338" y="524"/>
                      </a:lnTo>
                      <a:lnTo>
                        <a:pt x="335" y="526"/>
                      </a:lnTo>
                      <a:lnTo>
                        <a:pt x="333" y="527"/>
                      </a:lnTo>
                      <a:lnTo>
                        <a:pt x="329" y="527"/>
                      </a:lnTo>
                      <a:lnTo>
                        <a:pt x="326" y="526"/>
                      </a:lnTo>
                      <a:lnTo>
                        <a:pt x="325" y="521"/>
                      </a:lnTo>
                      <a:lnTo>
                        <a:pt x="323" y="518"/>
                      </a:lnTo>
                      <a:lnTo>
                        <a:pt x="322" y="504"/>
                      </a:lnTo>
                      <a:lnTo>
                        <a:pt x="321" y="498"/>
                      </a:lnTo>
                      <a:lnTo>
                        <a:pt x="316" y="494"/>
                      </a:lnTo>
                      <a:lnTo>
                        <a:pt x="313" y="493"/>
                      </a:lnTo>
                      <a:lnTo>
                        <a:pt x="312" y="493"/>
                      </a:lnTo>
                      <a:lnTo>
                        <a:pt x="309" y="493"/>
                      </a:lnTo>
                      <a:lnTo>
                        <a:pt x="309" y="491"/>
                      </a:lnTo>
                      <a:lnTo>
                        <a:pt x="309" y="491"/>
                      </a:lnTo>
                      <a:lnTo>
                        <a:pt x="309" y="491"/>
                      </a:lnTo>
                      <a:lnTo>
                        <a:pt x="308" y="490"/>
                      </a:lnTo>
                      <a:lnTo>
                        <a:pt x="306" y="491"/>
                      </a:lnTo>
                      <a:lnTo>
                        <a:pt x="306" y="491"/>
                      </a:lnTo>
                      <a:lnTo>
                        <a:pt x="306" y="493"/>
                      </a:lnTo>
                      <a:lnTo>
                        <a:pt x="305" y="493"/>
                      </a:lnTo>
                      <a:lnTo>
                        <a:pt x="302" y="494"/>
                      </a:lnTo>
                      <a:lnTo>
                        <a:pt x="298" y="494"/>
                      </a:lnTo>
                      <a:lnTo>
                        <a:pt x="290" y="493"/>
                      </a:lnTo>
                      <a:lnTo>
                        <a:pt x="289" y="493"/>
                      </a:lnTo>
                      <a:lnTo>
                        <a:pt x="287" y="491"/>
                      </a:lnTo>
                      <a:lnTo>
                        <a:pt x="286" y="491"/>
                      </a:lnTo>
                      <a:lnTo>
                        <a:pt x="286" y="491"/>
                      </a:lnTo>
                      <a:lnTo>
                        <a:pt x="283" y="491"/>
                      </a:lnTo>
                      <a:lnTo>
                        <a:pt x="282" y="491"/>
                      </a:lnTo>
                      <a:lnTo>
                        <a:pt x="282" y="490"/>
                      </a:lnTo>
                      <a:lnTo>
                        <a:pt x="282" y="482"/>
                      </a:lnTo>
                      <a:lnTo>
                        <a:pt x="283" y="474"/>
                      </a:lnTo>
                      <a:lnTo>
                        <a:pt x="283" y="471"/>
                      </a:lnTo>
                      <a:lnTo>
                        <a:pt x="283" y="468"/>
                      </a:lnTo>
                      <a:lnTo>
                        <a:pt x="282" y="465"/>
                      </a:lnTo>
                      <a:lnTo>
                        <a:pt x="279" y="457"/>
                      </a:lnTo>
                      <a:lnTo>
                        <a:pt x="277" y="454"/>
                      </a:lnTo>
                      <a:lnTo>
                        <a:pt x="282" y="451"/>
                      </a:lnTo>
                      <a:lnTo>
                        <a:pt x="283" y="451"/>
                      </a:lnTo>
                      <a:lnTo>
                        <a:pt x="283" y="449"/>
                      </a:lnTo>
                      <a:lnTo>
                        <a:pt x="282" y="449"/>
                      </a:lnTo>
                      <a:lnTo>
                        <a:pt x="280" y="448"/>
                      </a:lnTo>
                      <a:lnTo>
                        <a:pt x="280" y="448"/>
                      </a:lnTo>
                      <a:lnTo>
                        <a:pt x="279" y="447"/>
                      </a:lnTo>
                      <a:lnTo>
                        <a:pt x="279" y="444"/>
                      </a:lnTo>
                      <a:lnTo>
                        <a:pt x="280" y="442"/>
                      </a:lnTo>
                      <a:lnTo>
                        <a:pt x="283" y="435"/>
                      </a:lnTo>
                      <a:lnTo>
                        <a:pt x="285" y="434"/>
                      </a:lnTo>
                      <a:lnTo>
                        <a:pt x="286" y="432"/>
                      </a:lnTo>
                      <a:lnTo>
                        <a:pt x="286" y="432"/>
                      </a:lnTo>
                      <a:lnTo>
                        <a:pt x="285" y="431"/>
                      </a:lnTo>
                      <a:lnTo>
                        <a:pt x="286" y="424"/>
                      </a:lnTo>
                      <a:lnTo>
                        <a:pt x="287" y="421"/>
                      </a:lnTo>
                      <a:lnTo>
                        <a:pt x="289" y="418"/>
                      </a:lnTo>
                      <a:lnTo>
                        <a:pt x="287" y="416"/>
                      </a:lnTo>
                      <a:lnTo>
                        <a:pt x="286" y="414"/>
                      </a:lnTo>
                      <a:lnTo>
                        <a:pt x="286" y="411"/>
                      </a:lnTo>
                      <a:lnTo>
                        <a:pt x="285" y="408"/>
                      </a:lnTo>
                      <a:lnTo>
                        <a:pt x="285" y="406"/>
                      </a:lnTo>
                      <a:lnTo>
                        <a:pt x="285" y="406"/>
                      </a:lnTo>
                      <a:lnTo>
                        <a:pt x="285" y="405"/>
                      </a:lnTo>
                      <a:lnTo>
                        <a:pt x="283" y="405"/>
                      </a:lnTo>
                      <a:lnTo>
                        <a:pt x="283" y="405"/>
                      </a:lnTo>
                      <a:lnTo>
                        <a:pt x="282" y="405"/>
                      </a:lnTo>
                      <a:lnTo>
                        <a:pt x="282" y="405"/>
                      </a:lnTo>
                      <a:lnTo>
                        <a:pt x="277" y="402"/>
                      </a:lnTo>
                      <a:lnTo>
                        <a:pt x="276" y="402"/>
                      </a:lnTo>
                      <a:lnTo>
                        <a:pt x="275" y="399"/>
                      </a:lnTo>
                      <a:lnTo>
                        <a:pt x="273" y="398"/>
                      </a:lnTo>
                      <a:lnTo>
                        <a:pt x="272" y="395"/>
                      </a:lnTo>
                      <a:lnTo>
                        <a:pt x="272" y="391"/>
                      </a:lnTo>
                      <a:lnTo>
                        <a:pt x="273" y="389"/>
                      </a:lnTo>
                      <a:lnTo>
                        <a:pt x="275" y="385"/>
                      </a:lnTo>
                      <a:lnTo>
                        <a:pt x="275" y="382"/>
                      </a:lnTo>
                      <a:lnTo>
                        <a:pt x="269" y="383"/>
                      </a:lnTo>
                      <a:lnTo>
                        <a:pt x="262" y="383"/>
                      </a:lnTo>
                      <a:lnTo>
                        <a:pt x="247" y="382"/>
                      </a:lnTo>
                      <a:lnTo>
                        <a:pt x="244" y="382"/>
                      </a:lnTo>
                      <a:lnTo>
                        <a:pt x="243" y="382"/>
                      </a:lnTo>
                      <a:lnTo>
                        <a:pt x="242" y="380"/>
                      </a:lnTo>
                      <a:lnTo>
                        <a:pt x="242" y="378"/>
                      </a:lnTo>
                      <a:lnTo>
                        <a:pt x="242" y="372"/>
                      </a:lnTo>
                      <a:lnTo>
                        <a:pt x="242" y="369"/>
                      </a:lnTo>
                      <a:lnTo>
                        <a:pt x="240" y="366"/>
                      </a:lnTo>
                      <a:lnTo>
                        <a:pt x="237" y="363"/>
                      </a:lnTo>
                      <a:lnTo>
                        <a:pt x="236" y="360"/>
                      </a:lnTo>
                      <a:lnTo>
                        <a:pt x="240" y="360"/>
                      </a:lnTo>
                      <a:lnTo>
                        <a:pt x="240" y="353"/>
                      </a:lnTo>
                      <a:lnTo>
                        <a:pt x="239" y="345"/>
                      </a:lnTo>
                      <a:lnTo>
                        <a:pt x="237" y="343"/>
                      </a:lnTo>
                      <a:lnTo>
                        <a:pt x="237" y="340"/>
                      </a:lnTo>
                      <a:lnTo>
                        <a:pt x="237" y="339"/>
                      </a:lnTo>
                      <a:lnTo>
                        <a:pt x="237" y="337"/>
                      </a:lnTo>
                      <a:lnTo>
                        <a:pt x="234" y="334"/>
                      </a:lnTo>
                      <a:lnTo>
                        <a:pt x="231" y="333"/>
                      </a:lnTo>
                      <a:lnTo>
                        <a:pt x="229" y="332"/>
                      </a:lnTo>
                      <a:lnTo>
                        <a:pt x="226" y="332"/>
                      </a:lnTo>
                      <a:lnTo>
                        <a:pt x="221" y="332"/>
                      </a:lnTo>
                      <a:lnTo>
                        <a:pt x="219" y="332"/>
                      </a:lnTo>
                      <a:lnTo>
                        <a:pt x="216" y="332"/>
                      </a:lnTo>
                      <a:lnTo>
                        <a:pt x="213" y="330"/>
                      </a:lnTo>
                      <a:lnTo>
                        <a:pt x="211" y="329"/>
                      </a:lnTo>
                      <a:lnTo>
                        <a:pt x="208" y="326"/>
                      </a:lnTo>
                      <a:lnTo>
                        <a:pt x="208" y="326"/>
                      </a:lnTo>
                      <a:lnTo>
                        <a:pt x="207" y="324"/>
                      </a:lnTo>
                      <a:lnTo>
                        <a:pt x="203" y="324"/>
                      </a:lnTo>
                      <a:lnTo>
                        <a:pt x="200" y="323"/>
                      </a:lnTo>
                      <a:lnTo>
                        <a:pt x="197" y="322"/>
                      </a:lnTo>
                      <a:lnTo>
                        <a:pt x="193" y="317"/>
                      </a:lnTo>
                      <a:lnTo>
                        <a:pt x="191" y="317"/>
                      </a:lnTo>
                      <a:lnTo>
                        <a:pt x="191" y="317"/>
                      </a:lnTo>
                      <a:lnTo>
                        <a:pt x="191" y="317"/>
                      </a:lnTo>
                      <a:lnTo>
                        <a:pt x="191" y="316"/>
                      </a:lnTo>
                      <a:lnTo>
                        <a:pt x="190" y="316"/>
                      </a:lnTo>
                      <a:lnTo>
                        <a:pt x="190" y="316"/>
                      </a:lnTo>
                      <a:lnTo>
                        <a:pt x="190" y="317"/>
                      </a:lnTo>
                      <a:lnTo>
                        <a:pt x="188" y="317"/>
                      </a:lnTo>
                      <a:lnTo>
                        <a:pt x="186" y="316"/>
                      </a:lnTo>
                      <a:lnTo>
                        <a:pt x="183" y="314"/>
                      </a:lnTo>
                      <a:lnTo>
                        <a:pt x="180" y="313"/>
                      </a:lnTo>
                      <a:lnTo>
                        <a:pt x="174" y="313"/>
                      </a:lnTo>
                      <a:lnTo>
                        <a:pt x="171" y="313"/>
                      </a:lnTo>
                      <a:lnTo>
                        <a:pt x="168" y="311"/>
                      </a:lnTo>
                      <a:lnTo>
                        <a:pt x="164" y="307"/>
                      </a:lnTo>
                      <a:lnTo>
                        <a:pt x="161" y="306"/>
                      </a:lnTo>
                      <a:lnTo>
                        <a:pt x="160" y="304"/>
                      </a:lnTo>
                      <a:lnTo>
                        <a:pt x="158" y="303"/>
                      </a:lnTo>
                      <a:lnTo>
                        <a:pt x="157" y="301"/>
                      </a:lnTo>
                      <a:lnTo>
                        <a:pt x="155" y="300"/>
                      </a:lnTo>
                      <a:lnTo>
                        <a:pt x="152" y="293"/>
                      </a:lnTo>
                      <a:lnTo>
                        <a:pt x="151" y="291"/>
                      </a:lnTo>
                      <a:lnTo>
                        <a:pt x="151" y="288"/>
                      </a:lnTo>
                      <a:lnTo>
                        <a:pt x="151" y="287"/>
                      </a:lnTo>
                      <a:lnTo>
                        <a:pt x="151" y="284"/>
                      </a:lnTo>
                      <a:lnTo>
                        <a:pt x="151" y="283"/>
                      </a:lnTo>
                      <a:lnTo>
                        <a:pt x="150" y="280"/>
                      </a:lnTo>
                      <a:lnTo>
                        <a:pt x="150" y="278"/>
                      </a:lnTo>
                      <a:lnTo>
                        <a:pt x="150" y="277"/>
                      </a:lnTo>
                      <a:lnTo>
                        <a:pt x="151" y="276"/>
                      </a:lnTo>
                      <a:lnTo>
                        <a:pt x="151" y="274"/>
                      </a:lnTo>
                      <a:lnTo>
                        <a:pt x="152" y="273"/>
                      </a:lnTo>
                      <a:lnTo>
                        <a:pt x="152" y="271"/>
                      </a:lnTo>
                      <a:lnTo>
                        <a:pt x="152" y="267"/>
                      </a:lnTo>
                      <a:lnTo>
                        <a:pt x="151" y="265"/>
                      </a:lnTo>
                      <a:lnTo>
                        <a:pt x="150" y="264"/>
                      </a:lnTo>
                      <a:lnTo>
                        <a:pt x="150" y="264"/>
                      </a:lnTo>
                      <a:lnTo>
                        <a:pt x="148" y="264"/>
                      </a:lnTo>
                      <a:lnTo>
                        <a:pt x="148" y="264"/>
                      </a:lnTo>
                      <a:lnTo>
                        <a:pt x="148" y="265"/>
                      </a:lnTo>
                      <a:lnTo>
                        <a:pt x="147" y="265"/>
                      </a:lnTo>
                      <a:lnTo>
                        <a:pt x="145" y="264"/>
                      </a:lnTo>
                      <a:lnTo>
                        <a:pt x="145" y="264"/>
                      </a:lnTo>
                      <a:lnTo>
                        <a:pt x="137" y="265"/>
                      </a:lnTo>
                      <a:lnTo>
                        <a:pt x="134" y="265"/>
                      </a:lnTo>
                      <a:lnTo>
                        <a:pt x="131" y="267"/>
                      </a:lnTo>
                      <a:lnTo>
                        <a:pt x="128" y="268"/>
                      </a:lnTo>
                      <a:lnTo>
                        <a:pt x="115" y="276"/>
                      </a:lnTo>
                      <a:lnTo>
                        <a:pt x="112" y="277"/>
                      </a:lnTo>
                      <a:lnTo>
                        <a:pt x="111" y="280"/>
                      </a:lnTo>
                      <a:lnTo>
                        <a:pt x="109" y="280"/>
                      </a:lnTo>
                      <a:lnTo>
                        <a:pt x="108" y="280"/>
                      </a:lnTo>
                      <a:lnTo>
                        <a:pt x="107" y="281"/>
                      </a:lnTo>
                      <a:lnTo>
                        <a:pt x="105" y="281"/>
                      </a:lnTo>
                      <a:lnTo>
                        <a:pt x="104" y="281"/>
                      </a:lnTo>
                      <a:lnTo>
                        <a:pt x="102" y="283"/>
                      </a:lnTo>
                      <a:lnTo>
                        <a:pt x="99" y="286"/>
                      </a:lnTo>
                      <a:lnTo>
                        <a:pt x="96" y="287"/>
                      </a:lnTo>
                      <a:lnTo>
                        <a:pt x="95" y="288"/>
                      </a:lnTo>
                      <a:lnTo>
                        <a:pt x="91" y="288"/>
                      </a:lnTo>
                      <a:lnTo>
                        <a:pt x="91" y="288"/>
                      </a:lnTo>
                      <a:lnTo>
                        <a:pt x="88" y="287"/>
                      </a:lnTo>
                      <a:lnTo>
                        <a:pt x="86" y="286"/>
                      </a:lnTo>
                      <a:lnTo>
                        <a:pt x="82" y="286"/>
                      </a:lnTo>
                      <a:lnTo>
                        <a:pt x="76" y="286"/>
                      </a:lnTo>
                      <a:lnTo>
                        <a:pt x="75" y="286"/>
                      </a:lnTo>
                      <a:lnTo>
                        <a:pt x="72" y="286"/>
                      </a:lnTo>
                      <a:lnTo>
                        <a:pt x="71" y="286"/>
                      </a:lnTo>
                      <a:lnTo>
                        <a:pt x="69" y="286"/>
                      </a:lnTo>
                      <a:lnTo>
                        <a:pt x="66" y="287"/>
                      </a:lnTo>
                      <a:lnTo>
                        <a:pt x="65" y="287"/>
                      </a:lnTo>
                      <a:lnTo>
                        <a:pt x="63" y="287"/>
                      </a:lnTo>
                      <a:lnTo>
                        <a:pt x="62" y="286"/>
                      </a:lnTo>
                      <a:lnTo>
                        <a:pt x="59" y="286"/>
                      </a:lnTo>
                      <a:lnTo>
                        <a:pt x="58" y="287"/>
                      </a:lnTo>
                      <a:lnTo>
                        <a:pt x="59" y="264"/>
                      </a:lnTo>
                      <a:lnTo>
                        <a:pt x="59" y="261"/>
                      </a:lnTo>
                      <a:lnTo>
                        <a:pt x="61" y="258"/>
                      </a:lnTo>
                      <a:lnTo>
                        <a:pt x="58" y="260"/>
                      </a:lnTo>
                      <a:lnTo>
                        <a:pt x="51" y="265"/>
                      </a:lnTo>
                      <a:lnTo>
                        <a:pt x="46" y="267"/>
                      </a:lnTo>
                      <a:lnTo>
                        <a:pt x="43" y="268"/>
                      </a:lnTo>
                      <a:lnTo>
                        <a:pt x="39" y="268"/>
                      </a:lnTo>
                      <a:lnTo>
                        <a:pt x="32" y="268"/>
                      </a:lnTo>
                      <a:lnTo>
                        <a:pt x="32" y="268"/>
                      </a:lnTo>
                      <a:lnTo>
                        <a:pt x="32" y="267"/>
                      </a:lnTo>
                      <a:lnTo>
                        <a:pt x="32" y="265"/>
                      </a:lnTo>
                      <a:lnTo>
                        <a:pt x="29" y="261"/>
                      </a:lnTo>
                      <a:lnTo>
                        <a:pt x="29" y="260"/>
                      </a:lnTo>
                      <a:lnTo>
                        <a:pt x="25" y="258"/>
                      </a:lnTo>
                      <a:lnTo>
                        <a:pt x="20" y="258"/>
                      </a:lnTo>
                      <a:lnTo>
                        <a:pt x="13" y="258"/>
                      </a:lnTo>
                      <a:lnTo>
                        <a:pt x="15" y="255"/>
                      </a:lnTo>
                      <a:lnTo>
                        <a:pt x="16" y="254"/>
                      </a:lnTo>
                      <a:lnTo>
                        <a:pt x="17" y="251"/>
                      </a:lnTo>
                      <a:lnTo>
                        <a:pt x="16" y="250"/>
                      </a:lnTo>
                      <a:lnTo>
                        <a:pt x="15" y="248"/>
                      </a:lnTo>
                      <a:lnTo>
                        <a:pt x="13" y="245"/>
                      </a:lnTo>
                      <a:lnTo>
                        <a:pt x="12" y="245"/>
                      </a:lnTo>
                      <a:lnTo>
                        <a:pt x="12" y="244"/>
                      </a:lnTo>
                      <a:lnTo>
                        <a:pt x="10" y="242"/>
                      </a:lnTo>
                      <a:lnTo>
                        <a:pt x="10" y="241"/>
                      </a:lnTo>
                      <a:lnTo>
                        <a:pt x="6" y="237"/>
                      </a:lnTo>
                      <a:lnTo>
                        <a:pt x="5" y="234"/>
                      </a:lnTo>
                      <a:lnTo>
                        <a:pt x="3" y="232"/>
                      </a:lnTo>
                      <a:lnTo>
                        <a:pt x="3" y="231"/>
                      </a:lnTo>
                      <a:lnTo>
                        <a:pt x="5" y="231"/>
                      </a:lnTo>
                      <a:lnTo>
                        <a:pt x="5" y="230"/>
                      </a:lnTo>
                      <a:lnTo>
                        <a:pt x="5" y="230"/>
                      </a:lnTo>
                      <a:lnTo>
                        <a:pt x="3" y="230"/>
                      </a:lnTo>
                      <a:lnTo>
                        <a:pt x="3" y="228"/>
                      </a:lnTo>
                      <a:lnTo>
                        <a:pt x="3" y="228"/>
                      </a:lnTo>
                      <a:lnTo>
                        <a:pt x="0" y="227"/>
                      </a:lnTo>
                      <a:lnTo>
                        <a:pt x="0" y="225"/>
                      </a:lnTo>
                      <a:lnTo>
                        <a:pt x="0" y="224"/>
                      </a:lnTo>
                      <a:lnTo>
                        <a:pt x="0" y="222"/>
                      </a:lnTo>
                      <a:lnTo>
                        <a:pt x="0" y="222"/>
                      </a:lnTo>
                      <a:lnTo>
                        <a:pt x="0" y="222"/>
                      </a:lnTo>
                      <a:lnTo>
                        <a:pt x="3" y="221"/>
                      </a:lnTo>
                      <a:lnTo>
                        <a:pt x="3" y="221"/>
                      </a:lnTo>
                      <a:lnTo>
                        <a:pt x="3" y="221"/>
                      </a:lnTo>
                      <a:lnTo>
                        <a:pt x="3" y="218"/>
                      </a:lnTo>
                      <a:lnTo>
                        <a:pt x="3" y="218"/>
                      </a:lnTo>
                      <a:lnTo>
                        <a:pt x="3" y="217"/>
                      </a:lnTo>
                      <a:lnTo>
                        <a:pt x="3" y="215"/>
                      </a:lnTo>
                      <a:lnTo>
                        <a:pt x="3" y="215"/>
                      </a:lnTo>
                      <a:lnTo>
                        <a:pt x="3" y="214"/>
                      </a:lnTo>
                      <a:lnTo>
                        <a:pt x="5" y="214"/>
                      </a:lnTo>
                      <a:lnTo>
                        <a:pt x="5" y="212"/>
                      </a:lnTo>
                      <a:lnTo>
                        <a:pt x="7" y="211"/>
                      </a:lnTo>
                      <a:lnTo>
                        <a:pt x="12" y="208"/>
                      </a:lnTo>
                      <a:lnTo>
                        <a:pt x="13" y="207"/>
                      </a:lnTo>
                      <a:lnTo>
                        <a:pt x="15" y="205"/>
                      </a:lnTo>
                      <a:lnTo>
                        <a:pt x="15" y="204"/>
                      </a:lnTo>
                      <a:lnTo>
                        <a:pt x="13" y="202"/>
                      </a:lnTo>
                      <a:lnTo>
                        <a:pt x="13" y="199"/>
                      </a:lnTo>
                      <a:lnTo>
                        <a:pt x="13" y="198"/>
                      </a:lnTo>
                      <a:lnTo>
                        <a:pt x="15" y="195"/>
                      </a:lnTo>
                      <a:lnTo>
                        <a:pt x="16" y="194"/>
                      </a:lnTo>
                      <a:lnTo>
                        <a:pt x="17" y="191"/>
                      </a:lnTo>
                      <a:lnTo>
                        <a:pt x="17" y="189"/>
                      </a:lnTo>
                      <a:lnTo>
                        <a:pt x="17" y="185"/>
                      </a:lnTo>
                      <a:lnTo>
                        <a:pt x="19" y="184"/>
                      </a:lnTo>
                      <a:lnTo>
                        <a:pt x="20" y="182"/>
                      </a:lnTo>
                      <a:lnTo>
                        <a:pt x="22" y="181"/>
                      </a:lnTo>
                      <a:lnTo>
                        <a:pt x="23" y="181"/>
                      </a:lnTo>
                      <a:lnTo>
                        <a:pt x="25" y="179"/>
                      </a:lnTo>
                      <a:lnTo>
                        <a:pt x="33" y="173"/>
                      </a:lnTo>
                      <a:lnTo>
                        <a:pt x="38" y="172"/>
                      </a:lnTo>
                      <a:lnTo>
                        <a:pt x="42" y="171"/>
                      </a:lnTo>
                      <a:lnTo>
                        <a:pt x="51" y="169"/>
                      </a:lnTo>
                      <a:lnTo>
                        <a:pt x="52" y="168"/>
                      </a:lnTo>
                      <a:lnTo>
                        <a:pt x="53" y="168"/>
                      </a:lnTo>
                      <a:lnTo>
                        <a:pt x="55" y="166"/>
                      </a:lnTo>
                      <a:lnTo>
                        <a:pt x="56" y="165"/>
                      </a:lnTo>
                      <a:lnTo>
                        <a:pt x="59" y="165"/>
                      </a:lnTo>
                      <a:lnTo>
                        <a:pt x="61" y="165"/>
                      </a:lnTo>
                      <a:lnTo>
                        <a:pt x="62" y="165"/>
                      </a:lnTo>
                      <a:lnTo>
                        <a:pt x="63" y="166"/>
                      </a:lnTo>
                      <a:lnTo>
                        <a:pt x="66" y="168"/>
                      </a:lnTo>
                      <a:lnTo>
                        <a:pt x="68" y="168"/>
                      </a:lnTo>
                      <a:lnTo>
                        <a:pt x="69" y="168"/>
                      </a:lnTo>
                      <a:lnTo>
                        <a:pt x="69" y="168"/>
                      </a:lnTo>
                      <a:lnTo>
                        <a:pt x="71" y="166"/>
                      </a:lnTo>
                      <a:lnTo>
                        <a:pt x="73" y="156"/>
                      </a:lnTo>
                      <a:lnTo>
                        <a:pt x="79" y="116"/>
                      </a:lnTo>
                      <a:lnTo>
                        <a:pt x="79" y="113"/>
                      </a:lnTo>
                      <a:lnTo>
                        <a:pt x="79" y="110"/>
                      </a:lnTo>
                      <a:lnTo>
                        <a:pt x="79" y="109"/>
                      </a:lnTo>
                      <a:lnTo>
                        <a:pt x="76" y="106"/>
                      </a:lnTo>
                      <a:lnTo>
                        <a:pt x="76" y="104"/>
                      </a:lnTo>
                      <a:lnTo>
                        <a:pt x="76" y="103"/>
                      </a:lnTo>
                      <a:lnTo>
                        <a:pt x="76" y="102"/>
                      </a:lnTo>
                      <a:lnTo>
                        <a:pt x="76" y="102"/>
                      </a:lnTo>
                      <a:lnTo>
                        <a:pt x="76" y="100"/>
                      </a:lnTo>
                      <a:lnTo>
                        <a:pt x="75" y="99"/>
                      </a:lnTo>
                      <a:lnTo>
                        <a:pt x="71" y="97"/>
                      </a:lnTo>
                      <a:lnTo>
                        <a:pt x="69" y="96"/>
                      </a:lnTo>
                      <a:lnTo>
                        <a:pt x="68" y="93"/>
                      </a:lnTo>
                      <a:lnTo>
                        <a:pt x="68" y="92"/>
                      </a:lnTo>
                      <a:lnTo>
                        <a:pt x="69" y="87"/>
                      </a:lnTo>
                      <a:lnTo>
                        <a:pt x="68" y="84"/>
                      </a:lnTo>
                      <a:lnTo>
                        <a:pt x="69" y="83"/>
                      </a:lnTo>
                      <a:lnTo>
                        <a:pt x="69" y="81"/>
                      </a:lnTo>
                      <a:lnTo>
                        <a:pt x="69" y="81"/>
                      </a:lnTo>
                      <a:lnTo>
                        <a:pt x="72" y="80"/>
                      </a:lnTo>
                      <a:lnTo>
                        <a:pt x="76" y="79"/>
                      </a:lnTo>
                      <a:lnTo>
                        <a:pt x="78" y="79"/>
                      </a:lnTo>
                      <a:lnTo>
                        <a:pt x="79" y="80"/>
                      </a:lnTo>
                      <a:lnTo>
                        <a:pt x="81" y="80"/>
                      </a:lnTo>
                      <a:lnTo>
                        <a:pt x="84" y="80"/>
                      </a:lnTo>
                      <a:lnTo>
                        <a:pt x="85" y="80"/>
                      </a:lnTo>
                      <a:lnTo>
                        <a:pt x="85" y="79"/>
                      </a:lnTo>
                      <a:lnTo>
                        <a:pt x="84" y="76"/>
                      </a:lnTo>
                      <a:lnTo>
                        <a:pt x="82" y="74"/>
                      </a:lnTo>
                      <a:lnTo>
                        <a:pt x="81" y="73"/>
                      </a:lnTo>
                      <a:lnTo>
                        <a:pt x="79" y="73"/>
                      </a:lnTo>
                      <a:lnTo>
                        <a:pt x="76" y="73"/>
                      </a:lnTo>
                      <a:lnTo>
                        <a:pt x="72" y="73"/>
                      </a:lnTo>
                      <a:lnTo>
                        <a:pt x="72" y="67"/>
                      </a:lnTo>
                      <a:lnTo>
                        <a:pt x="72" y="64"/>
                      </a:lnTo>
                      <a:lnTo>
                        <a:pt x="73" y="61"/>
                      </a:lnTo>
                      <a:lnTo>
                        <a:pt x="75" y="61"/>
                      </a:lnTo>
                      <a:lnTo>
                        <a:pt x="76" y="60"/>
                      </a:lnTo>
                      <a:lnTo>
                        <a:pt x="79" y="61"/>
                      </a:lnTo>
                      <a:lnTo>
                        <a:pt x="102" y="61"/>
                      </a:lnTo>
                      <a:lnTo>
                        <a:pt x="101" y="60"/>
                      </a:lnTo>
                      <a:lnTo>
                        <a:pt x="101" y="58"/>
                      </a:lnTo>
                      <a:lnTo>
                        <a:pt x="101" y="58"/>
                      </a:lnTo>
                      <a:lnTo>
                        <a:pt x="101" y="57"/>
                      </a:lnTo>
                      <a:lnTo>
                        <a:pt x="102" y="57"/>
                      </a:lnTo>
                      <a:lnTo>
                        <a:pt x="102" y="58"/>
                      </a:lnTo>
                      <a:lnTo>
                        <a:pt x="104" y="60"/>
                      </a:lnTo>
                      <a:lnTo>
                        <a:pt x="105" y="60"/>
                      </a:lnTo>
                      <a:lnTo>
                        <a:pt x="107" y="60"/>
                      </a:lnTo>
                      <a:lnTo>
                        <a:pt x="109" y="58"/>
                      </a:lnTo>
                      <a:lnTo>
                        <a:pt x="111" y="57"/>
                      </a:lnTo>
                      <a:lnTo>
                        <a:pt x="112" y="56"/>
                      </a:lnTo>
                      <a:lnTo>
                        <a:pt x="115" y="56"/>
                      </a:lnTo>
                      <a:lnTo>
                        <a:pt x="118" y="57"/>
                      </a:lnTo>
                      <a:lnTo>
                        <a:pt x="119" y="58"/>
                      </a:lnTo>
                      <a:lnTo>
                        <a:pt x="121" y="61"/>
                      </a:lnTo>
                      <a:lnTo>
                        <a:pt x="121" y="64"/>
                      </a:lnTo>
                      <a:lnTo>
                        <a:pt x="121" y="69"/>
                      </a:lnTo>
                      <a:lnTo>
                        <a:pt x="121" y="70"/>
                      </a:lnTo>
                      <a:lnTo>
                        <a:pt x="125" y="70"/>
                      </a:lnTo>
                      <a:lnTo>
                        <a:pt x="129" y="74"/>
                      </a:lnTo>
                      <a:lnTo>
                        <a:pt x="132" y="77"/>
                      </a:lnTo>
                      <a:lnTo>
                        <a:pt x="134" y="79"/>
                      </a:lnTo>
                      <a:lnTo>
                        <a:pt x="138" y="79"/>
                      </a:lnTo>
                      <a:lnTo>
                        <a:pt x="140" y="77"/>
                      </a:lnTo>
                      <a:lnTo>
                        <a:pt x="142" y="76"/>
                      </a:lnTo>
                      <a:lnTo>
                        <a:pt x="145" y="74"/>
                      </a:lnTo>
                      <a:lnTo>
                        <a:pt x="147" y="76"/>
                      </a:lnTo>
                      <a:lnTo>
                        <a:pt x="148" y="77"/>
                      </a:lnTo>
                      <a:lnTo>
                        <a:pt x="148" y="79"/>
                      </a:lnTo>
                      <a:lnTo>
                        <a:pt x="150" y="80"/>
                      </a:lnTo>
                      <a:lnTo>
                        <a:pt x="155" y="73"/>
                      </a:lnTo>
                      <a:lnTo>
                        <a:pt x="157" y="71"/>
                      </a:lnTo>
                      <a:lnTo>
                        <a:pt x="158" y="70"/>
                      </a:lnTo>
                      <a:lnTo>
                        <a:pt x="167" y="66"/>
                      </a:lnTo>
                      <a:lnTo>
                        <a:pt x="168" y="66"/>
                      </a:lnTo>
                      <a:lnTo>
                        <a:pt x="170" y="66"/>
                      </a:lnTo>
                      <a:lnTo>
                        <a:pt x="171" y="64"/>
                      </a:lnTo>
                      <a:lnTo>
                        <a:pt x="173" y="63"/>
                      </a:lnTo>
                      <a:lnTo>
                        <a:pt x="173" y="63"/>
                      </a:lnTo>
                      <a:lnTo>
                        <a:pt x="174" y="58"/>
                      </a:lnTo>
                      <a:lnTo>
                        <a:pt x="174" y="58"/>
                      </a:lnTo>
                      <a:lnTo>
                        <a:pt x="177" y="57"/>
                      </a:lnTo>
                      <a:lnTo>
                        <a:pt x="181" y="56"/>
                      </a:lnTo>
                      <a:lnTo>
                        <a:pt x="183" y="54"/>
                      </a:lnTo>
                      <a:lnTo>
                        <a:pt x="186" y="53"/>
                      </a:lnTo>
                      <a:lnTo>
                        <a:pt x="186" y="51"/>
                      </a:lnTo>
                      <a:lnTo>
                        <a:pt x="186" y="50"/>
                      </a:lnTo>
                      <a:lnTo>
                        <a:pt x="181" y="48"/>
                      </a:lnTo>
                      <a:lnTo>
                        <a:pt x="178" y="48"/>
                      </a:lnTo>
                      <a:lnTo>
                        <a:pt x="177" y="48"/>
                      </a:lnTo>
                      <a:lnTo>
                        <a:pt x="175" y="48"/>
                      </a:lnTo>
                      <a:lnTo>
                        <a:pt x="174" y="47"/>
                      </a:lnTo>
                      <a:lnTo>
                        <a:pt x="174" y="47"/>
                      </a:lnTo>
                      <a:lnTo>
                        <a:pt x="175" y="46"/>
                      </a:lnTo>
                      <a:lnTo>
                        <a:pt x="175" y="44"/>
                      </a:lnTo>
                      <a:lnTo>
                        <a:pt x="171" y="36"/>
                      </a:lnTo>
                      <a:lnTo>
                        <a:pt x="170" y="28"/>
                      </a:lnTo>
                      <a:lnTo>
                        <a:pt x="168" y="27"/>
                      </a:lnTo>
                      <a:lnTo>
                        <a:pt x="164" y="21"/>
                      </a:lnTo>
                      <a:lnTo>
                        <a:pt x="163" y="18"/>
                      </a:lnTo>
                      <a:lnTo>
                        <a:pt x="161" y="17"/>
                      </a:lnTo>
                      <a:lnTo>
                        <a:pt x="161" y="17"/>
                      </a:lnTo>
                      <a:lnTo>
                        <a:pt x="163" y="15"/>
                      </a:lnTo>
                      <a:lnTo>
                        <a:pt x="163" y="17"/>
                      </a:lnTo>
                      <a:lnTo>
                        <a:pt x="164" y="18"/>
                      </a:lnTo>
                      <a:lnTo>
                        <a:pt x="164" y="18"/>
                      </a:lnTo>
                      <a:lnTo>
                        <a:pt x="167" y="18"/>
                      </a:lnTo>
                      <a:lnTo>
                        <a:pt x="171" y="20"/>
                      </a:lnTo>
                      <a:lnTo>
                        <a:pt x="173" y="20"/>
                      </a:lnTo>
                      <a:lnTo>
                        <a:pt x="174" y="21"/>
                      </a:lnTo>
                      <a:lnTo>
                        <a:pt x="175" y="21"/>
                      </a:lnTo>
                      <a:lnTo>
                        <a:pt x="175" y="23"/>
                      </a:lnTo>
                      <a:lnTo>
                        <a:pt x="177" y="23"/>
                      </a:lnTo>
                      <a:lnTo>
                        <a:pt x="183" y="23"/>
                      </a:lnTo>
                      <a:lnTo>
                        <a:pt x="184" y="23"/>
                      </a:lnTo>
                      <a:lnTo>
                        <a:pt x="186" y="23"/>
                      </a:lnTo>
                      <a:lnTo>
                        <a:pt x="186" y="23"/>
                      </a:lnTo>
                      <a:lnTo>
                        <a:pt x="187" y="23"/>
                      </a:lnTo>
                      <a:lnTo>
                        <a:pt x="188" y="24"/>
                      </a:lnTo>
                      <a:lnTo>
                        <a:pt x="191" y="27"/>
                      </a:lnTo>
                      <a:lnTo>
                        <a:pt x="193" y="27"/>
                      </a:lnTo>
                      <a:lnTo>
                        <a:pt x="196" y="28"/>
                      </a:lnTo>
                      <a:lnTo>
                        <a:pt x="197" y="25"/>
                      </a:lnTo>
                      <a:lnTo>
                        <a:pt x="197" y="23"/>
                      </a:lnTo>
                      <a:lnTo>
                        <a:pt x="198" y="21"/>
                      </a:lnTo>
                      <a:lnTo>
                        <a:pt x="201" y="20"/>
                      </a:lnTo>
                      <a:lnTo>
                        <a:pt x="204" y="18"/>
                      </a:lnTo>
                      <a:lnTo>
                        <a:pt x="207" y="18"/>
                      </a:lnTo>
                      <a:lnTo>
                        <a:pt x="210" y="18"/>
                      </a:lnTo>
                      <a:lnTo>
                        <a:pt x="214" y="18"/>
                      </a:lnTo>
                      <a:lnTo>
                        <a:pt x="216" y="17"/>
                      </a:lnTo>
                      <a:lnTo>
                        <a:pt x="217" y="17"/>
                      </a:lnTo>
                      <a:lnTo>
                        <a:pt x="219" y="15"/>
                      </a:lnTo>
                      <a:lnTo>
                        <a:pt x="221" y="13"/>
                      </a:lnTo>
                      <a:lnTo>
                        <a:pt x="223" y="13"/>
                      </a:lnTo>
                      <a:lnTo>
                        <a:pt x="226" y="11"/>
                      </a:lnTo>
                      <a:lnTo>
                        <a:pt x="229" y="11"/>
                      </a:lnTo>
                      <a:lnTo>
                        <a:pt x="230" y="10"/>
                      </a:lnTo>
                      <a:lnTo>
                        <a:pt x="231" y="8"/>
                      </a:lnTo>
                      <a:lnTo>
                        <a:pt x="233" y="5"/>
                      </a:lnTo>
                      <a:lnTo>
                        <a:pt x="234" y="4"/>
                      </a:lnTo>
                      <a:lnTo>
                        <a:pt x="234" y="1"/>
                      </a:lnTo>
                      <a:lnTo>
                        <a:pt x="233" y="0"/>
                      </a:lnTo>
                      <a:lnTo>
                        <a:pt x="234" y="0"/>
                      </a:lnTo>
                      <a:lnTo>
                        <a:pt x="236" y="0"/>
                      </a:lnTo>
                      <a:lnTo>
                        <a:pt x="237" y="0"/>
                      </a:lnTo>
                      <a:lnTo>
                        <a:pt x="239" y="0"/>
                      </a:lnTo>
                      <a:lnTo>
                        <a:pt x="240" y="0"/>
                      </a:lnTo>
                      <a:lnTo>
                        <a:pt x="242" y="0"/>
                      </a:lnTo>
                      <a:lnTo>
                        <a:pt x="243" y="0"/>
                      </a:lnTo>
                      <a:lnTo>
                        <a:pt x="244" y="1"/>
                      </a:lnTo>
                      <a:lnTo>
                        <a:pt x="244" y="2"/>
                      </a:lnTo>
                      <a:lnTo>
                        <a:pt x="246" y="4"/>
                      </a:lnTo>
                      <a:lnTo>
                        <a:pt x="244" y="5"/>
                      </a:lnTo>
                      <a:lnTo>
                        <a:pt x="243" y="10"/>
                      </a:lnTo>
                      <a:lnTo>
                        <a:pt x="243" y="11"/>
                      </a:lnTo>
                      <a:lnTo>
                        <a:pt x="244" y="13"/>
                      </a:lnTo>
                      <a:lnTo>
                        <a:pt x="246" y="13"/>
                      </a:lnTo>
                      <a:lnTo>
                        <a:pt x="247" y="13"/>
                      </a:lnTo>
                      <a:lnTo>
                        <a:pt x="249" y="14"/>
                      </a:lnTo>
                      <a:lnTo>
                        <a:pt x="250" y="14"/>
                      </a:lnTo>
                      <a:lnTo>
                        <a:pt x="250" y="15"/>
                      </a:lnTo>
                      <a:lnTo>
                        <a:pt x="250" y="17"/>
                      </a:lnTo>
                      <a:lnTo>
                        <a:pt x="252" y="18"/>
                      </a:lnTo>
                      <a:lnTo>
                        <a:pt x="252" y="20"/>
                      </a:lnTo>
                      <a:lnTo>
                        <a:pt x="253" y="21"/>
                      </a:lnTo>
                      <a:lnTo>
                        <a:pt x="253" y="23"/>
                      </a:lnTo>
                      <a:lnTo>
                        <a:pt x="253" y="24"/>
                      </a:lnTo>
                      <a:lnTo>
                        <a:pt x="252" y="25"/>
                      </a:lnTo>
                      <a:lnTo>
                        <a:pt x="250" y="27"/>
                      </a:lnTo>
                      <a:lnTo>
                        <a:pt x="250" y="27"/>
                      </a:lnTo>
                      <a:lnTo>
                        <a:pt x="249" y="28"/>
                      </a:lnTo>
                      <a:lnTo>
                        <a:pt x="249" y="28"/>
                      </a:lnTo>
                      <a:lnTo>
                        <a:pt x="249" y="28"/>
                      </a:lnTo>
                      <a:lnTo>
                        <a:pt x="249" y="30"/>
                      </a:lnTo>
                      <a:lnTo>
                        <a:pt x="249" y="31"/>
                      </a:lnTo>
                      <a:lnTo>
                        <a:pt x="246" y="38"/>
                      </a:lnTo>
                      <a:lnTo>
                        <a:pt x="246" y="41"/>
                      </a:lnTo>
                      <a:lnTo>
                        <a:pt x="246" y="44"/>
                      </a:lnTo>
                      <a:lnTo>
                        <a:pt x="246" y="47"/>
                      </a:lnTo>
                      <a:lnTo>
                        <a:pt x="247" y="50"/>
                      </a:lnTo>
                      <a:lnTo>
                        <a:pt x="249" y="51"/>
                      </a:lnTo>
                      <a:lnTo>
                        <a:pt x="249" y="51"/>
                      </a:lnTo>
                      <a:lnTo>
                        <a:pt x="249" y="53"/>
                      </a:lnTo>
                      <a:lnTo>
                        <a:pt x="250" y="54"/>
                      </a:lnTo>
                      <a:lnTo>
                        <a:pt x="250" y="54"/>
                      </a:lnTo>
                      <a:lnTo>
                        <a:pt x="250" y="57"/>
                      </a:lnTo>
                      <a:lnTo>
                        <a:pt x="250" y="58"/>
                      </a:lnTo>
                      <a:lnTo>
                        <a:pt x="252" y="61"/>
                      </a:lnTo>
                      <a:lnTo>
                        <a:pt x="254" y="63"/>
                      </a:lnTo>
                      <a:lnTo>
                        <a:pt x="257" y="66"/>
                      </a:lnTo>
                      <a:lnTo>
                        <a:pt x="260" y="67"/>
                      </a:lnTo>
                      <a:lnTo>
                        <a:pt x="263" y="69"/>
                      </a:lnTo>
                      <a:lnTo>
                        <a:pt x="266" y="70"/>
                      </a:lnTo>
                      <a:lnTo>
                        <a:pt x="269" y="70"/>
                      </a:lnTo>
                      <a:lnTo>
                        <a:pt x="272" y="69"/>
                      </a:lnTo>
                      <a:lnTo>
                        <a:pt x="272" y="67"/>
                      </a:lnTo>
                      <a:lnTo>
                        <a:pt x="273" y="66"/>
                      </a:lnTo>
                      <a:lnTo>
                        <a:pt x="273" y="64"/>
                      </a:lnTo>
                      <a:lnTo>
                        <a:pt x="275" y="64"/>
                      </a:lnTo>
                      <a:lnTo>
                        <a:pt x="276" y="64"/>
                      </a:lnTo>
                      <a:lnTo>
                        <a:pt x="277" y="64"/>
                      </a:lnTo>
                      <a:lnTo>
                        <a:pt x="279" y="64"/>
                      </a:lnTo>
                      <a:lnTo>
                        <a:pt x="280" y="64"/>
                      </a:lnTo>
                      <a:lnTo>
                        <a:pt x="280" y="64"/>
                      </a:lnTo>
                      <a:lnTo>
                        <a:pt x="280" y="63"/>
                      </a:lnTo>
                      <a:lnTo>
                        <a:pt x="280" y="63"/>
                      </a:lnTo>
                      <a:lnTo>
                        <a:pt x="282" y="63"/>
                      </a:lnTo>
                      <a:lnTo>
                        <a:pt x="285" y="61"/>
                      </a:lnTo>
                      <a:lnTo>
                        <a:pt x="287" y="61"/>
                      </a:lnTo>
                      <a:lnTo>
                        <a:pt x="289" y="60"/>
                      </a:lnTo>
                      <a:lnTo>
                        <a:pt x="290" y="58"/>
                      </a:lnTo>
                      <a:lnTo>
                        <a:pt x="292" y="57"/>
                      </a:lnTo>
                      <a:lnTo>
                        <a:pt x="295" y="57"/>
                      </a:lnTo>
                      <a:lnTo>
                        <a:pt x="296" y="57"/>
                      </a:lnTo>
                      <a:lnTo>
                        <a:pt x="298" y="57"/>
                      </a:lnTo>
                      <a:lnTo>
                        <a:pt x="299" y="58"/>
                      </a:lnTo>
                      <a:lnTo>
                        <a:pt x="302" y="58"/>
                      </a:lnTo>
                      <a:lnTo>
                        <a:pt x="303" y="58"/>
                      </a:lnTo>
                      <a:lnTo>
                        <a:pt x="305" y="58"/>
                      </a:lnTo>
                      <a:lnTo>
                        <a:pt x="308" y="57"/>
                      </a:lnTo>
                      <a:lnTo>
                        <a:pt x="313" y="58"/>
                      </a:lnTo>
                      <a:lnTo>
                        <a:pt x="316" y="58"/>
                      </a:lnTo>
                      <a:lnTo>
                        <a:pt x="318" y="56"/>
                      </a:lnTo>
                      <a:lnTo>
                        <a:pt x="316" y="54"/>
                      </a:lnTo>
                      <a:lnTo>
                        <a:pt x="315" y="53"/>
                      </a:lnTo>
                      <a:lnTo>
                        <a:pt x="315" y="51"/>
                      </a:lnTo>
                      <a:lnTo>
                        <a:pt x="315" y="50"/>
                      </a:lnTo>
                      <a:lnTo>
                        <a:pt x="316" y="48"/>
                      </a:lnTo>
                      <a:lnTo>
                        <a:pt x="316" y="48"/>
                      </a:lnTo>
                      <a:lnTo>
                        <a:pt x="321" y="48"/>
                      </a:lnTo>
                      <a:lnTo>
                        <a:pt x="322" y="48"/>
                      </a:lnTo>
                      <a:lnTo>
                        <a:pt x="323" y="48"/>
                      </a:lnTo>
                      <a:lnTo>
                        <a:pt x="325" y="48"/>
                      </a:lnTo>
                      <a:lnTo>
                        <a:pt x="332" y="47"/>
                      </a:lnTo>
                      <a:lnTo>
                        <a:pt x="333" y="46"/>
                      </a:lnTo>
                      <a:lnTo>
                        <a:pt x="335" y="47"/>
                      </a:lnTo>
                      <a:lnTo>
                        <a:pt x="336" y="48"/>
                      </a:lnTo>
                      <a:lnTo>
                        <a:pt x="341" y="51"/>
                      </a:lnTo>
                      <a:lnTo>
                        <a:pt x="342" y="51"/>
                      </a:lnTo>
                      <a:lnTo>
                        <a:pt x="343" y="53"/>
                      </a:lnTo>
                      <a:lnTo>
                        <a:pt x="346" y="54"/>
                      </a:lnTo>
                      <a:lnTo>
                        <a:pt x="348" y="54"/>
                      </a:lnTo>
                      <a:lnTo>
                        <a:pt x="351" y="53"/>
                      </a:lnTo>
                      <a:lnTo>
                        <a:pt x="354" y="51"/>
                      </a:lnTo>
                      <a:lnTo>
                        <a:pt x="355" y="50"/>
                      </a:lnTo>
                      <a:lnTo>
                        <a:pt x="356" y="51"/>
                      </a:lnTo>
                      <a:lnTo>
                        <a:pt x="358" y="51"/>
                      </a:lnTo>
                      <a:lnTo>
                        <a:pt x="359" y="51"/>
                      </a:lnTo>
                      <a:lnTo>
                        <a:pt x="361" y="51"/>
                      </a:lnTo>
                      <a:lnTo>
                        <a:pt x="362" y="51"/>
                      </a:lnTo>
                      <a:lnTo>
                        <a:pt x="364" y="51"/>
                      </a:lnTo>
                      <a:lnTo>
                        <a:pt x="365" y="53"/>
                      </a:lnTo>
                      <a:lnTo>
                        <a:pt x="366" y="53"/>
                      </a:lnTo>
                      <a:lnTo>
                        <a:pt x="368" y="53"/>
                      </a:lnTo>
                      <a:lnTo>
                        <a:pt x="368" y="53"/>
                      </a:lnTo>
                      <a:lnTo>
                        <a:pt x="369" y="53"/>
                      </a:lnTo>
                      <a:lnTo>
                        <a:pt x="371" y="53"/>
                      </a:lnTo>
                      <a:lnTo>
                        <a:pt x="374" y="50"/>
                      </a:lnTo>
                      <a:lnTo>
                        <a:pt x="377" y="46"/>
                      </a:lnTo>
                      <a:lnTo>
                        <a:pt x="381" y="36"/>
                      </a:lnTo>
                      <a:lnTo>
                        <a:pt x="385" y="27"/>
                      </a:lnTo>
                      <a:lnTo>
                        <a:pt x="389" y="23"/>
                      </a:lnTo>
                      <a:lnTo>
                        <a:pt x="392" y="20"/>
                      </a:lnTo>
                      <a:lnTo>
                        <a:pt x="392" y="18"/>
                      </a:lnTo>
                      <a:lnTo>
                        <a:pt x="394" y="17"/>
                      </a:lnTo>
                      <a:lnTo>
                        <a:pt x="394" y="17"/>
                      </a:lnTo>
                      <a:lnTo>
                        <a:pt x="395" y="15"/>
                      </a:lnTo>
                      <a:lnTo>
                        <a:pt x="397" y="15"/>
                      </a:lnTo>
                      <a:lnTo>
                        <a:pt x="398" y="17"/>
                      </a:lnTo>
                      <a:lnTo>
                        <a:pt x="398" y="18"/>
                      </a:lnTo>
                      <a:lnTo>
                        <a:pt x="399" y="20"/>
                      </a:lnTo>
                      <a:lnTo>
                        <a:pt x="401" y="23"/>
                      </a:lnTo>
                      <a:lnTo>
                        <a:pt x="402" y="25"/>
                      </a:lnTo>
                      <a:lnTo>
                        <a:pt x="404" y="36"/>
                      </a:lnTo>
                      <a:lnTo>
                        <a:pt x="408" y="50"/>
                      </a:lnTo>
                      <a:lnTo>
                        <a:pt x="410" y="53"/>
                      </a:lnTo>
                      <a:lnTo>
                        <a:pt x="408" y="54"/>
                      </a:lnTo>
                      <a:lnTo>
                        <a:pt x="410" y="54"/>
                      </a:lnTo>
                      <a:lnTo>
                        <a:pt x="411" y="56"/>
                      </a:lnTo>
                      <a:lnTo>
                        <a:pt x="411" y="56"/>
                      </a:lnTo>
                      <a:lnTo>
                        <a:pt x="412" y="57"/>
                      </a:lnTo>
                      <a:lnTo>
                        <a:pt x="412" y="58"/>
                      </a:lnTo>
                      <a:lnTo>
                        <a:pt x="414" y="60"/>
                      </a:lnTo>
                      <a:lnTo>
                        <a:pt x="418" y="60"/>
                      </a:lnTo>
                      <a:lnTo>
                        <a:pt x="421" y="61"/>
                      </a:lnTo>
                      <a:lnTo>
                        <a:pt x="422" y="64"/>
                      </a:lnTo>
                      <a:lnTo>
                        <a:pt x="424" y="67"/>
                      </a:lnTo>
                      <a:lnTo>
                        <a:pt x="422" y="70"/>
                      </a:lnTo>
                      <a:lnTo>
                        <a:pt x="421" y="73"/>
                      </a:lnTo>
                      <a:lnTo>
                        <a:pt x="415" y="79"/>
                      </a:lnTo>
                      <a:lnTo>
                        <a:pt x="410" y="86"/>
                      </a:lnTo>
                      <a:lnTo>
                        <a:pt x="407" y="89"/>
                      </a:lnTo>
                      <a:lnTo>
                        <a:pt x="402" y="92"/>
                      </a:lnTo>
                      <a:lnTo>
                        <a:pt x="401" y="92"/>
                      </a:lnTo>
                      <a:lnTo>
                        <a:pt x="399" y="93"/>
                      </a:lnTo>
                      <a:lnTo>
                        <a:pt x="399" y="93"/>
                      </a:lnTo>
                      <a:lnTo>
                        <a:pt x="399" y="93"/>
                      </a:lnTo>
                      <a:lnTo>
                        <a:pt x="398" y="94"/>
                      </a:lnTo>
                      <a:lnTo>
                        <a:pt x="398" y="96"/>
                      </a:lnTo>
                      <a:lnTo>
                        <a:pt x="392" y="103"/>
                      </a:lnTo>
                      <a:lnTo>
                        <a:pt x="391" y="106"/>
                      </a:lnTo>
                      <a:lnTo>
                        <a:pt x="389" y="110"/>
                      </a:lnTo>
                      <a:lnTo>
                        <a:pt x="389" y="112"/>
                      </a:lnTo>
                      <a:lnTo>
                        <a:pt x="389" y="112"/>
                      </a:lnTo>
                      <a:lnTo>
                        <a:pt x="388" y="113"/>
                      </a:lnTo>
                      <a:lnTo>
                        <a:pt x="387" y="113"/>
                      </a:lnTo>
                      <a:lnTo>
                        <a:pt x="387" y="115"/>
                      </a:lnTo>
                      <a:lnTo>
                        <a:pt x="387" y="115"/>
                      </a:lnTo>
                      <a:lnTo>
                        <a:pt x="387" y="116"/>
                      </a:lnTo>
                      <a:lnTo>
                        <a:pt x="385" y="116"/>
                      </a:lnTo>
                      <a:lnTo>
                        <a:pt x="384" y="116"/>
                      </a:lnTo>
                      <a:lnTo>
                        <a:pt x="382" y="116"/>
                      </a:lnTo>
                      <a:lnTo>
                        <a:pt x="382" y="116"/>
                      </a:lnTo>
                      <a:lnTo>
                        <a:pt x="379" y="116"/>
                      </a:lnTo>
                      <a:lnTo>
                        <a:pt x="377" y="119"/>
                      </a:lnTo>
                      <a:lnTo>
                        <a:pt x="375" y="119"/>
                      </a:lnTo>
                      <a:lnTo>
                        <a:pt x="382" y="120"/>
                      </a:lnTo>
                      <a:lnTo>
                        <a:pt x="385" y="120"/>
                      </a:lnTo>
                      <a:lnTo>
                        <a:pt x="388" y="119"/>
                      </a:lnTo>
                      <a:lnTo>
                        <a:pt x="397" y="113"/>
                      </a:lnTo>
                      <a:lnTo>
                        <a:pt x="401" y="110"/>
                      </a:lnTo>
                      <a:lnTo>
                        <a:pt x="404" y="109"/>
                      </a:lnTo>
                      <a:lnTo>
                        <a:pt x="405" y="109"/>
                      </a:lnTo>
                      <a:lnTo>
                        <a:pt x="407" y="109"/>
                      </a:lnTo>
                      <a:lnTo>
                        <a:pt x="405" y="110"/>
                      </a:lnTo>
                      <a:lnTo>
                        <a:pt x="405" y="112"/>
                      </a:lnTo>
                      <a:lnTo>
                        <a:pt x="407" y="116"/>
                      </a:lnTo>
                      <a:lnTo>
                        <a:pt x="408" y="120"/>
                      </a:lnTo>
                      <a:lnTo>
                        <a:pt x="411" y="125"/>
                      </a:lnTo>
                      <a:lnTo>
                        <a:pt x="414" y="127"/>
                      </a:lnTo>
                      <a:lnTo>
                        <a:pt x="415" y="127"/>
                      </a:lnTo>
                      <a:lnTo>
                        <a:pt x="418" y="125"/>
                      </a:lnTo>
                      <a:lnTo>
                        <a:pt x="418" y="125"/>
                      </a:lnTo>
                      <a:lnTo>
                        <a:pt x="420" y="125"/>
                      </a:lnTo>
                      <a:lnTo>
                        <a:pt x="421" y="125"/>
                      </a:lnTo>
                      <a:lnTo>
                        <a:pt x="424" y="125"/>
                      </a:lnTo>
                      <a:lnTo>
                        <a:pt x="427" y="125"/>
                      </a:lnTo>
                      <a:lnTo>
                        <a:pt x="428" y="125"/>
                      </a:lnTo>
                      <a:lnTo>
                        <a:pt x="431" y="123"/>
                      </a:lnTo>
                      <a:lnTo>
                        <a:pt x="434" y="122"/>
                      </a:lnTo>
                      <a:lnTo>
                        <a:pt x="430" y="135"/>
                      </a:lnTo>
                      <a:lnTo>
                        <a:pt x="428" y="139"/>
                      </a:lnTo>
                      <a:lnTo>
                        <a:pt x="431" y="136"/>
                      </a:lnTo>
                      <a:lnTo>
                        <a:pt x="433" y="132"/>
                      </a:lnTo>
                      <a:lnTo>
                        <a:pt x="434" y="129"/>
                      </a:lnTo>
                      <a:lnTo>
                        <a:pt x="435" y="125"/>
                      </a:lnTo>
                      <a:lnTo>
                        <a:pt x="437" y="125"/>
                      </a:lnTo>
                      <a:lnTo>
                        <a:pt x="438" y="125"/>
                      </a:lnTo>
                      <a:lnTo>
                        <a:pt x="440" y="123"/>
                      </a:lnTo>
                      <a:lnTo>
                        <a:pt x="440" y="123"/>
                      </a:lnTo>
                      <a:lnTo>
                        <a:pt x="441" y="120"/>
                      </a:lnTo>
                      <a:lnTo>
                        <a:pt x="443" y="120"/>
                      </a:lnTo>
                      <a:lnTo>
                        <a:pt x="444" y="119"/>
                      </a:lnTo>
                      <a:lnTo>
                        <a:pt x="445" y="117"/>
                      </a:lnTo>
                      <a:lnTo>
                        <a:pt x="447" y="119"/>
                      </a:lnTo>
                      <a:lnTo>
                        <a:pt x="448" y="120"/>
                      </a:lnTo>
                      <a:lnTo>
                        <a:pt x="450" y="119"/>
                      </a:lnTo>
                      <a:lnTo>
                        <a:pt x="450" y="119"/>
                      </a:lnTo>
                      <a:lnTo>
                        <a:pt x="450" y="117"/>
                      </a:lnTo>
                      <a:lnTo>
                        <a:pt x="448" y="116"/>
                      </a:lnTo>
                      <a:lnTo>
                        <a:pt x="450" y="112"/>
                      </a:lnTo>
                      <a:lnTo>
                        <a:pt x="453" y="107"/>
                      </a:lnTo>
                      <a:lnTo>
                        <a:pt x="454" y="104"/>
                      </a:lnTo>
                      <a:lnTo>
                        <a:pt x="455" y="104"/>
                      </a:lnTo>
                      <a:lnTo>
                        <a:pt x="455" y="104"/>
                      </a:lnTo>
                      <a:lnTo>
                        <a:pt x="457" y="104"/>
                      </a:lnTo>
                      <a:lnTo>
                        <a:pt x="457" y="104"/>
                      </a:lnTo>
                      <a:lnTo>
                        <a:pt x="458" y="104"/>
                      </a:lnTo>
                      <a:lnTo>
                        <a:pt x="460" y="103"/>
                      </a:lnTo>
                      <a:lnTo>
                        <a:pt x="460" y="103"/>
                      </a:lnTo>
                      <a:lnTo>
                        <a:pt x="461" y="103"/>
                      </a:lnTo>
                      <a:lnTo>
                        <a:pt x="464" y="104"/>
                      </a:lnTo>
                      <a:lnTo>
                        <a:pt x="466" y="104"/>
                      </a:lnTo>
                      <a:lnTo>
                        <a:pt x="467" y="104"/>
                      </a:lnTo>
                      <a:lnTo>
                        <a:pt x="466" y="104"/>
                      </a:lnTo>
                      <a:lnTo>
                        <a:pt x="467" y="103"/>
                      </a:lnTo>
                      <a:lnTo>
                        <a:pt x="467" y="103"/>
                      </a:lnTo>
                      <a:lnTo>
                        <a:pt x="468" y="103"/>
                      </a:lnTo>
                      <a:lnTo>
                        <a:pt x="470" y="103"/>
                      </a:lnTo>
                      <a:lnTo>
                        <a:pt x="471" y="104"/>
                      </a:lnTo>
                      <a:lnTo>
                        <a:pt x="471" y="104"/>
                      </a:lnTo>
                      <a:lnTo>
                        <a:pt x="473" y="104"/>
                      </a:lnTo>
                      <a:lnTo>
                        <a:pt x="474" y="104"/>
                      </a:lnTo>
                      <a:lnTo>
                        <a:pt x="476" y="104"/>
                      </a:lnTo>
                      <a:lnTo>
                        <a:pt x="478" y="106"/>
                      </a:lnTo>
                      <a:lnTo>
                        <a:pt x="481" y="109"/>
                      </a:lnTo>
                      <a:lnTo>
                        <a:pt x="484" y="110"/>
                      </a:lnTo>
                      <a:lnTo>
                        <a:pt x="487" y="110"/>
                      </a:lnTo>
                      <a:lnTo>
                        <a:pt x="489" y="110"/>
                      </a:lnTo>
                      <a:lnTo>
                        <a:pt x="491" y="112"/>
                      </a:lnTo>
                      <a:lnTo>
                        <a:pt x="499" y="115"/>
                      </a:lnTo>
                      <a:lnTo>
                        <a:pt x="501" y="116"/>
                      </a:lnTo>
                      <a:lnTo>
                        <a:pt x="503" y="119"/>
                      </a:lnTo>
                      <a:lnTo>
                        <a:pt x="503" y="122"/>
                      </a:lnTo>
                      <a:lnTo>
                        <a:pt x="504" y="120"/>
                      </a:lnTo>
                      <a:lnTo>
                        <a:pt x="506" y="119"/>
                      </a:lnTo>
                      <a:lnTo>
                        <a:pt x="507" y="117"/>
                      </a:lnTo>
                      <a:lnTo>
                        <a:pt x="509" y="117"/>
                      </a:lnTo>
                      <a:lnTo>
                        <a:pt x="510" y="119"/>
                      </a:lnTo>
                      <a:lnTo>
                        <a:pt x="513" y="122"/>
                      </a:lnTo>
                      <a:lnTo>
                        <a:pt x="514" y="122"/>
                      </a:lnTo>
                      <a:lnTo>
                        <a:pt x="513" y="123"/>
                      </a:lnTo>
                      <a:lnTo>
                        <a:pt x="513" y="123"/>
                      </a:lnTo>
                      <a:lnTo>
                        <a:pt x="514" y="123"/>
                      </a:lnTo>
                      <a:lnTo>
                        <a:pt x="516" y="122"/>
                      </a:lnTo>
                      <a:lnTo>
                        <a:pt x="517" y="125"/>
                      </a:lnTo>
                      <a:lnTo>
                        <a:pt x="517" y="127"/>
                      </a:lnTo>
                      <a:lnTo>
                        <a:pt x="516" y="130"/>
                      </a:lnTo>
                      <a:lnTo>
                        <a:pt x="513" y="132"/>
                      </a:lnTo>
                      <a:lnTo>
                        <a:pt x="514" y="132"/>
                      </a:lnTo>
                      <a:lnTo>
                        <a:pt x="514" y="133"/>
                      </a:lnTo>
                      <a:lnTo>
                        <a:pt x="516" y="133"/>
                      </a:lnTo>
                      <a:lnTo>
                        <a:pt x="516" y="132"/>
                      </a:lnTo>
                      <a:lnTo>
                        <a:pt x="517" y="130"/>
                      </a:lnTo>
                      <a:lnTo>
                        <a:pt x="519" y="130"/>
                      </a:lnTo>
                      <a:lnTo>
                        <a:pt x="520" y="132"/>
                      </a:lnTo>
                      <a:lnTo>
                        <a:pt x="520" y="132"/>
                      </a:lnTo>
                      <a:lnTo>
                        <a:pt x="519" y="133"/>
                      </a:lnTo>
                      <a:lnTo>
                        <a:pt x="517" y="136"/>
                      </a:lnTo>
                      <a:lnTo>
                        <a:pt x="516" y="138"/>
                      </a:lnTo>
                      <a:lnTo>
                        <a:pt x="514" y="142"/>
                      </a:lnTo>
                      <a:lnTo>
                        <a:pt x="514" y="145"/>
                      </a:lnTo>
                      <a:lnTo>
                        <a:pt x="514" y="148"/>
                      </a:lnTo>
                      <a:lnTo>
                        <a:pt x="516" y="148"/>
                      </a:lnTo>
                      <a:lnTo>
                        <a:pt x="517" y="146"/>
                      </a:lnTo>
                      <a:lnTo>
                        <a:pt x="519" y="145"/>
                      </a:lnTo>
                      <a:lnTo>
                        <a:pt x="519" y="143"/>
                      </a:lnTo>
                      <a:lnTo>
                        <a:pt x="520" y="140"/>
                      </a:lnTo>
                      <a:lnTo>
                        <a:pt x="520" y="139"/>
                      </a:lnTo>
                      <a:lnTo>
                        <a:pt x="522" y="138"/>
                      </a:lnTo>
                      <a:lnTo>
                        <a:pt x="522" y="136"/>
                      </a:lnTo>
                      <a:lnTo>
                        <a:pt x="524" y="135"/>
                      </a:lnTo>
                      <a:lnTo>
                        <a:pt x="524" y="138"/>
                      </a:lnTo>
                      <a:lnTo>
                        <a:pt x="524" y="139"/>
                      </a:lnTo>
                      <a:lnTo>
                        <a:pt x="523" y="140"/>
                      </a:lnTo>
                      <a:lnTo>
                        <a:pt x="527" y="139"/>
                      </a:lnTo>
                      <a:lnTo>
                        <a:pt x="529" y="138"/>
                      </a:lnTo>
                      <a:lnTo>
                        <a:pt x="536" y="136"/>
                      </a:lnTo>
                      <a:lnTo>
                        <a:pt x="537" y="135"/>
                      </a:lnTo>
                      <a:lnTo>
                        <a:pt x="537" y="135"/>
                      </a:lnTo>
                      <a:lnTo>
                        <a:pt x="539" y="133"/>
                      </a:lnTo>
                      <a:lnTo>
                        <a:pt x="540" y="133"/>
                      </a:lnTo>
                      <a:lnTo>
                        <a:pt x="542" y="133"/>
                      </a:lnTo>
                      <a:lnTo>
                        <a:pt x="545" y="135"/>
                      </a:lnTo>
                      <a:lnTo>
                        <a:pt x="552" y="138"/>
                      </a:lnTo>
                      <a:lnTo>
                        <a:pt x="555" y="139"/>
                      </a:lnTo>
                      <a:lnTo>
                        <a:pt x="559" y="140"/>
                      </a:lnTo>
                      <a:lnTo>
                        <a:pt x="566" y="140"/>
                      </a:lnTo>
                      <a:lnTo>
                        <a:pt x="572" y="142"/>
                      </a:lnTo>
                      <a:lnTo>
                        <a:pt x="576" y="143"/>
                      </a:lnTo>
                      <a:lnTo>
                        <a:pt x="589" y="142"/>
                      </a:lnTo>
                      <a:lnTo>
                        <a:pt x="595" y="142"/>
                      </a:lnTo>
                      <a:lnTo>
                        <a:pt x="602" y="145"/>
                      </a:lnTo>
                      <a:lnTo>
                        <a:pt x="611" y="149"/>
                      </a:lnTo>
                      <a:lnTo>
                        <a:pt x="624" y="158"/>
                      </a:lnTo>
                      <a:lnTo>
                        <a:pt x="626" y="159"/>
                      </a:lnTo>
                      <a:lnTo>
                        <a:pt x="631" y="165"/>
                      </a:lnTo>
                      <a:lnTo>
                        <a:pt x="636" y="171"/>
                      </a:lnTo>
                      <a:lnTo>
                        <a:pt x="638" y="172"/>
                      </a:lnTo>
                      <a:lnTo>
                        <a:pt x="639" y="173"/>
                      </a:lnTo>
                      <a:lnTo>
                        <a:pt x="644" y="173"/>
                      </a:lnTo>
                      <a:lnTo>
                        <a:pt x="645" y="175"/>
                      </a:lnTo>
                      <a:lnTo>
                        <a:pt x="645" y="175"/>
                      </a:lnTo>
                      <a:lnTo>
                        <a:pt x="647" y="178"/>
                      </a:lnTo>
                      <a:lnTo>
                        <a:pt x="647" y="178"/>
                      </a:lnTo>
                      <a:lnTo>
                        <a:pt x="648" y="178"/>
                      </a:lnTo>
                      <a:lnTo>
                        <a:pt x="649" y="178"/>
                      </a:lnTo>
                      <a:lnTo>
                        <a:pt x="649" y="178"/>
                      </a:lnTo>
                      <a:lnTo>
                        <a:pt x="654" y="181"/>
                      </a:lnTo>
                      <a:lnTo>
                        <a:pt x="658" y="181"/>
                      </a:lnTo>
                      <a:lnTo>
                        <a:pt x="668" y="181"/>
                      </a:lnTo>
                      <a:lnTo>
                        <a:pt x="675" y="182"/>
                      </a:lnTo>
                      <a:lnTo>
                        <a:pt x="680" y="186"/>
                      </a:lnTo>
                      <a:lnTo>
                        <a:pt x="681" y="192"/>
                      </a:lnTo>
                      <a:lnTo>
                        <a:pt x="687" y="211"/>
                      </a:lnTo>
                      <a:lnTo>
                        <a:pt x="688" y="217"/>
                      </a:lnTo>
                      <a:close/>
                      <a:moveTo>
                        <a:pt x="415" y="58"/>
                      </a:moveTo>
                      <a:lnTo>
                        <a:pt x="417" y="57"/>
                      </a:lnTo>
                      <a:lnTo>
                        <a:pt x="415" y="54"/>
                      </a:lnTo>
                      <a:lnTo>
                        <a:pt x="414" y="54"/>
                      </a:lnTo>
                      <a:lnTo>
                        <a:pt x="414" y="54"/>
                      </a:lnTo>
                      <a:lnTo>
                        <a:pt x="412" y="56"/>
                      </a:lnTo>
                      <a:lnTo>
                        <a:pt x="412" y="57"/>
                      </a:lnTo>
                      <a:lnTo>
                        <a:pt x="414" y="58"/>
                      </a:lnTo>
                      <a:lnTo>
                        <a:pt x="415" y="58"/>
                      </a:lnTo>
                      <a:close/>
                      <a:moveTo>
                        <a:pt x="448" y="102"/>
                      </a:moveTo>
                      <a:lnTo>
                        <a:pt x="450" y="100"/>
                      </a:lnTo>
                      <a:lnTo>
                        <a:pt x="450" y="97"/>
                      </a:lnTo>
                      <a:lnTo>
                        <a:pt x="445" y="94"/>
                      </a:lnTo>
                      <a:lnTo>
                        <a:pt x="440" y="94"/>
                      </a:lnTo>
                      <a:lnTo>
                        <a:pt x="428" y="96"/>
                      </a:lnTo>
                      <a:lnTo>
                        <a:pt x="420" y="94"/>
                      </a:lnTo>
                      <a:lnTo>
                        <a:pt x="415" y="94"/>
                      </a:lnTo>
                      <a:lnTo>
                        <a:pt x="411" y="96"/>
                      </a:lnTo>
                      <a:lnTo>
                        <a:pt x="410" y="97"/>
                      </a:lnTo>
                      <a:lnTo>
                        <a:pt x="408" y="99"/>
                      </a:lnTo>
                      <a:lnTo>
                        <a:pt x="408" y="102"/>
                      </a:lnTo>
                      <a:lnTo>
                        <a:pt x="408" y="104"/>
                      </a:lnTo>
                      <a:lnTo>
                        <a:pt x="407" y="106"/>
                      </a:lnTo>
                      <a:lnTo>
                        <a:pt x="408" y="107"/>
                      </a:lnTo>
                      <a:lnTo>
                        <a:pt x="408" y="109"/>
                      </a:lnTo>
                      <a:lnTo>
                        <a:pt x="408" y="110"/>
                      </a:lnTo>
                      <a:lnTo>
                        <a:pt x="410" y="110"/>
                      </a:lnTo>
                      <a:lnTo>
                        <a:pt x="410" y="110"/>
                      </a:lnTo>
                      <a:lnTo>
                        <a:pt x="411" y="110"/>
                      </a:lnTo>
                      <a:lnTo>
                        <a:pt x="411" y="112"/>
                      </a:lnTo>
                      <a:lnTo>
                        <a:pt x="411" y="112"/>
                      </a:lnTo>
                      <a:lnTo>
                        <a:pt x="411" y="112"/>
                      </a:lnTo>
                      <a:lnTo>
                        <a:pt x="410" y="112"/>
                      </a:lnTo>
                      <a:lnTo>
                        <a:pt x="410" y="112"/>
                      </a:lnTo>
                      <a:lnTo>
                        <a:pt x="410" y="112"/>
                      </a:lnTo>
                      <a:lnTo>
                        <a:pt x="408" y="112"/>
                      </a:lnTo>
                      <a:lnTo>
                        <a:pt x="408" y="113"/>
                      </a:lnTo>
                      <a:lnTo>
                        <a:pt x="408" y="113"/>
                      </a:lnTo>
                      <a:lnTo>
                        <a:pt x="408" y="113"/>
                      </a:lnTo>
                      <a:lnTo>
                        <a:pt x="408" y="115"/>
                      </a:lnTo>
                      <a:lnTo>
                        <a:pt x="408" y="116"/>
                      </a:lnTo>
                      <a:lnTo>
                        <a:pt x="410" y="119"/>
                      </a:lnTo>
                      <a:lnTo>
                        <a:pt x="410" y="120"/>
                      </a:lnTo>
                      <a:lnTo>
                        <a:pt x="411" y="120"/>
                      </a:lnTo>
                      <a:lnTo>
                        <a:pt x="412" y="123"/>
                      </a:lnTo>
                      <a:lnTo>
                        <a:pt x="415" y="123"/>
                      </a:lnTo>
                      <a:lnTo>
                        <a:pt x="418" y="122"/>
                      </a:lnTo>
                      <a:lnTo>
                        <a:pt x="421" y="122"/>
                      </a:lnTo>
                      <a:lnTo>
                        <a:pt x="424" y="122"/>
                      </a:lnTo>
                      <a:lnTo>
                        <a:pt x="427" y="122"/>
                      </a:lnTo>
                      <a:lnTo>
                        <a:pt x="430" y="122"/>
                      </a:lnTo>
                      <a:lnTo>
                        <a:pt x="430" y="119"/>
                      </a:lnTo>
                      <a:lnTo>
                        <a:pt x="433" y="119"/>
                      </a:lnTo>
                      <a:lnTo>
                        <a:pt x="434" y="119"/>
                      </a:lnTo>
                      <a:lnTo>
                        <a:pt x="435" y="119"/>
                      </a:lnTo>
                      <a:lnTo>
                        <a:pt x="435" y="116"/>
                      </a:lnTo>
                      <a:lnTo>
                        <a:pt x="437" y="117"/>
                      </a:lnTo>
                      <a:lnTo>
                        <a:pt x="438" y="117"/>
                      </a:lnTo>
                      <a:lnTo>
                        <a:pt x="440" y="117"/>
                      </a:lnTo>
                      <a:lnTo>
                        <a:pt x="440" y="117"/>
                      </a:lnTo>
                      <a:lnTo>
                        <a:pt x="441" y="116"/>
                      </a:lnTo>
                      <a:lnTo>
                        <a:pt x="441" y="116"/>
                      </a:lnTo>
                      <a:lnTo>
                        <a:pt x="441" y="115"/>
                      </a:lnTo>
                      <a:lnTo>
                        <a:pt x="441" y="113"/>
                      </a:lnTo>
                      <a:lnTo>
                        <a:pt x="444" y="112"/>
                      </a:lnTo>
                      <a:lnTo>
                        <a:pt x="445" y="109"/>
                      </a:lnTo>
                      <a:lnTo>
                        <a:pt x="447" y="106"/>
                      </a:lnTo>
                      <a:lnTo>
                        <a:pt x="447" y="103"/>
                      </a:lnTo>
                      <a:lnTo>
                        <a:pt x="448" y="103"/>
                      </a:lnTo>
                      <a:lnTo>
                        <a:pt x="448" y="102"/>
                      </a:lnTo>
                      <a:close/>
                      <a:moveTo>
                        <a:pt x="410" y="93"/>
                      </a:moveTo>
                      <a:lnTo>
                        <a:pt x="408" y="93"/>
                      </a:lnTo>
                      <a:lnTo>
                        <a:pt x="407" y="93"/>
                      </a:lnTo>
                      <a:lnTo>
                        <a:pt x="404" y="93"/>
                      </a:lnTo>
                      <a:lnTo>
                        <a:pt x="404" y="94"/>
                      </a:lnTo>
                      <a:lnTo>
                        <a:pt x="404" y="97"/>
                      </a:lnTo>
                      <a:lnTo>
                        <a:pt x="407" y="96"/>
                      </a:lnTo>
                      <a:lnTo>
                        <a:pt x="408" y="94"/>
                      </a:lnTo>
                      <a:lnTo>
                        <a:pt x="410" y="93"/>
                      </a:lnTo>
                      <a:close/>
                      <a:moveTo>
                        <a:pt x="510" y="116"/>
                      </a:moveTo>
                      <a:lnTo>
                        <a:pt x="512" y="115"/>
                      </a:lnTo>
                      <a:lnTo>
                        <a:pt x="510" y="115"/>
                      </a:lnTo>
                      <a:lnTo>
                        <a:pt x="510" y="115"/>
                      </a:lnTo>
                      <a:lnTo>
                        <a:pt x="509" y="115"/>
                      </a:lnTo>
                      <a:lnTo>
                        <a:pt x="509" y="116"/>
                      </a:lnTo>
                      <a:lnTo>
                        <a:pt x="510" y="116"/>
                      </a:lnTo>
                      <a:lnTo>
                        <a:pt x="510" y="116"/>
                      </a:lnTo>
                      <a:lnTo>
                        <a:pt x="510" y="116"/>
                      </a:lnTo>
                      <a:close/>
                      <a:moveTo>
                        <a:pt x="517" y="142"/>
                      </a:moveTo>
                      <a:lnTo>
                        <a:pt x="517" y="143"/>
                      </a:lnTo>
                      <a:lnTo>
                        <a:pt x="516" y="145"/>
                      </a:lnTo>
                      <a:lnTo>
                        <a:pt x="517" y="143"/>
                      </a:lnTo>
                      <a:lnTo>
                        <a:pt x="519" y="143"/>
                      </a:lnTo>
                      <a:lnTo>
                        <a:pt x="519" y="140"/>
                      </a:lnTo>
                      <a:lnTo>
                        <a:pt x="519" y="139"/>
                      </a:lnTo>
                      <a:lnTo>
                        <a:pt x="517" y="140"/>
                      </a:lnTo>
                      <a:lnTo>
                        <a:pt x="517" y="142"/>
                      </a:lnTo>
                      <a:close/>
                      <a:moveTo>
                        <a:pt x="412" y="86"/>
                      </a:moveTo>
                      <a:lnTo>
                        <a:pt x="411" y="89"/>
                      </a:lnTo>
                      <a:lnTo>
                        <a:pt x="411" y="90"/>
                      </a:lnTo>
                      <a:lnTo>
                        <a:pt x="414" y="92"/>
                      </a:lnTo>
                      <a:lnTo>
                        <a:pt x="414" y="90"/>
                      </a:lnTo>
                      <a:lnTo>
                        <a:pt x="414" y="89"/>
                      </a:lnTo>
                      <a:lnTo>
                        <a:pt x="414" y="89"/>
                      </a:lnTo>
                      <a:lnTo>
                        <a:pt x="415" y="87"/>
                      </a:lnTo>
                      <a:lnTo>
                        <a:pt x="415" y="81"/>
                      </a:lnTo>
                      <a:lnTo>
                        <a:pt x="415" y="81"/>
                      </a:lnTo>
                      <a:lnTo>
                        <a:pt x="414" y="81"/>
                      </a:lnTo>
                      <a:lnTo>
                        <a:pt x="414" y="83"/>
                      </a:lnTo>
                      <a:lnTo>
                        <a:pt x="414" y="83"/>
                      </a:lnTo>
                      <a:lnTo>
                        <a:pt x="414" y="84"/>
                      </a:lnTo>
                      <a:lnTo>
                        <a:pt x="412" y="86"/>
                      </a:lnTo>
                      <a:close/>
                      <a:moveTo>
                        <a:pt x="420" y="87"/>
                      </a:moveTo>
                      <a:lnTo>
                        <a:pt x="417" y="89"/>
                      </a:lnTo>
                      <a:lnTo>
                        <a:pt x="415" y="90"/>
                      </a:lnTo>
                      <a:lnTo>
                        <a:pt x="417" y="92"/>
                      </a:lnTo>
                      <a:lnTo>
                        <a:pt x="420" y="92"/>
                      </a:lnTo>
                      <a:lnTo>
                        <a:pt x="421" y="92"/>
                      </a:lnTo>
                      <a:lnTo>
                        <a:pt x="422" y="92"/>
                      </a:lnTo>
                      <a:lnTo>
                        <a:pt x="424" y="92"/>
                      </a:lnTo>
                      <a:lnTo>
                        <a:pt x="425" y="90"/>
                      </a:lnTo>
                      <a:lnTo>
                        <a:pt x="427" y="87"/>
                      </a:lnTo>
                      <a:lnTo>
                        <a:pt x="424" y="87"/>
                      </a:lnTo>
                      <a:lnTo>
                        <a:pt x="420" y="87"/>
                      </a:lnTo>
                      <a:close/>
                      <a:moveTo>
                        <a:pt x="428" y="90"/>
                      </a:moveTo>
                      <a:lnTo>
                        <a:pt x="425" y="92"/>
                      </a:lnTo>
                      <a:lnTo>
                        <a:pt x="424" y="93"/>
                      </a:lnTo>
                      <a:lnTo>
                        <a:pt x="427" y="94"/>
                      </a:lnTo>
                      <a:lnTo>
                        <a:pt x="430" y="94"/>
                      </a:lnTo>
                      <a:lnTo>
                        <a:pt x="431" y="93"/>
                      </a:lnTo>
                      <a:lnTo>
                        <a:pt x="433" y="92"/>
                      </a:lnTo>
                      <a:lnTo>
                        <a:pt x="431" y="90"/>
                      </a:lnTo>
                      <a:lnTo>
                        <a:pt x="428" y="90"/>
                      </a:lnTo>
                      <a:close/>
                      <a:moveTo>
                        <a:pt x="397" y="102"/>
                      </a:moveTo>
                      <a:lnTo>
                        <a:pt x="394" y="104"/>
                      </a:lnTo>
                      <a:lnTo>
                        <a:pt x="392" y="106"/>
                      </a:lnTo>
                      <a:lnTo>
                        <a:pt x="391" y="107"/>
                      </a:lnTo>
                      <a:lnTo>
                        <a:pt x="391" y="110"/>
                      </a:lnTo>
                      <a:lnTo>
                        <a:pt x="391" y="112"/>
                      </a:lnTo>
                      <a:lnTo>
                        <a:pt x="389" y="113"/>
                      </a:lnTo>
                      <a:lnTo>
                        <a:pt x="387" y="117"/>
                      </a:lnTo>
                      <a:lnTo>
                        <a:pt x="392" y="116"/>
                      </a:lnTo>
                      <a:lnTo>
                        <a:pt x="397" y="112"/>
                      </a:lnTo>
                      <a:lnTo>
                        <a:pt x="399" y="107"/>
                      </a:lnTo>
                      <a:lnTo>
                        <a:pt x="401" y="103"/>
                      </a:lnTo>
                      <a:lnTo>
                        <a:pt x="399" y="102"/>
                      </a:lnTo>
                      <a:lnTo>
                        <a:pt x="397" y="102"/>
                      </a:lnTo>
                      <a:close/>
                      <a:moveTo>
                        <a:pt x="420" y="83"/>
                      </a:moveTo>
                      <a:lnTo>
                        <a:pt x="421" y="81"/>
                      </a:lnTo>
                      <a:lnTo>
                        <a:pt x="420" y="80"/>
                      </a:lnTo>
                      <a:lnTo>
                        <a:pt x="418" y="81"/>
                      </a:lnTo>
                      <a:lnTo>
                        <a:pt x="417" y="81"/>
                      </a:lnTo>
                      <a:lnTo>
                        <a:pt x="417" y="83"/>
                      </a:lnTo>
                      <a:lnTo>
                        <a:pt x="417" y="84"/>
                      </a:lnTo>
                      <a:lnTo>
                        <a:pt x="418" y="84"/>
                      </a:lnTo>
                      <a:lnTo>
                        <a:pt x="420" y="8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57" name="Freeform 250">
                  <a:extLst>
                    <a:ext uri="{FF2B5EF4-FFF2-40B4-BE49-F238E27FC236}">
                      <a16:creationId xmlns:a16="http://schemas.microsoft.com/office/drawing/2014/main" id="{694F8272-AAEB-6CD1-FE97-CED66CD1B55A}"/>
                    </a:ext>
                  </a:extLst>
                </p:cNvPr>
                <p:cNvSpPr>
                  <a:spLocks noEditPoints="1"/>
                </p:cNvSpPr>
                <p:nvPr/>
              </p:nvSpPr>
              <p:spPr bwMode="auto">
                <a:xfrm>
                  <a:off x="2879" y="3801"/>
                  <a:ext cx="207" cy="108"/>
                </a:xfrm>
                <a:custGeom>
                  <a:avLst/>
                  <a:gdLst>
                    <a:gd name="T0" fmla="*/ 37 w 207"/>
                    <a:gd name="T1" fmla="*/ 18 h 108"/>
                    <a:gd name="T2" fmla="*/ 39 w 207"/>
                    <a:gd name="T3" fmla="*/ 19 h 108"/>
                    <a:gd name="T4" fmla="*/ 36 w 207"/>
                    <a:gd name="T5" fmla="*/ 20 h 108"/>
                    <a:gd name="T6" fmla="*/ 35 w 207"/>
                    <a:gd name="T7" fmla="*/ 20 h 108"/>
                    <a:gd name="T8" fmla="*/ 32 w 207"/>
                    <a:gd name="T9" fmla="*/ 19 h 108"/>
                    <a:gd name="T10" fmla="*/ 30 w 207"/>
                    <a:gd name="T11" fmla="*/ 18 h 108"/>
                    <a:gd name="T12" fmla="*/ 27 w 207"/>
                    <a:gd name="T13" fmla="*/ 15 h 108"/>
                    <a:gd name="T14" fmla="*/ 27 w 207"/>
                    <a:gd name="T15" fmla="*/ 13 h 108"/>
                    <a:gd name="T16" fmla="*/ 26 w 207"/>
                    <a:gd name="T17" fmla="*/ 13 h 108"/>
                    <a:gd name="T18" fmla="*/ 23 w 207"/>
                    <a:gd name="T19" fmla="*/ 12 h 108"/>
                    <a:gd name="T20" fmla="*/ 23 w 207"/>
                    <a:gd name="T21" fmla="*/ 12 h 108"/>
                    <a:gd name="T22" fmla="*/ 22 w 207"/>
                    <a:gd name="T23" fmla="*/ 12 h 108"/>
                    <a:gd name="T24" fmla="*/ 20 w 207"/>
                    <a:gd name="T25" fmla="*/ 9 h 108"/>
                    <a:gd name="T26" fmla="*/ 19 w 207"/>
                    <a:gd name="T27" fmla="*/ 9 h 108"/>
                    <a:gd name="T28" fmla="*/ 15 w 207"/>
                    <a:gd name="T29" fmla="*/ 7 h 108"/>
                    <a:gd name="T30" fmla="*/ 9 w 207"/>
                    <a:gd name="T31" fmla="*/ 5 h 108"/>
                    <a:gd name="T32" fmla="*/ 6 w 207"/>
                    <a:gd name="T33" fmla="*/ 3 h 108"/>
                    <a:gd name="T34" fmla="*/ 7 w 207"/>
                    <a:gd name="T35" fmla="*/ 2 h 108"/>
                    <a:gd name="T36" fmla="*/ 2 w 207"/>
                    <a:gd name="T37" fmla="*/ 2 h 108"/>
                    <a:gd name="T38" fmla="*/ 0 w 207"/>
                    <a:gd name="T39" fmla="*/ 2 h 108"/>
                    <a:gd name="T40" fmla="*/ 4 w 207"/>
                    <a:gd name="T41" fmla="*/ 0 h 108"/>
                    <a:gd name="T42" fmla="*/ 7 w 207"/>
                    <a:gd name="T43" fmla="*/ 0 h 108"/>
                    <a:gd name="T44" fmla="*/ 12 w 207"/>
                    <a:gd name="T45" fmla="*/ 2 h 108"/>
                    <a:gd name="T46" fmla="*/ 15 w 207"/>
                    <a:gd name="T47" fmla="*/ 3 h 108"/>
                    <a:gd name="T48" fmla="*/ 22 w 207"/>
                    <a:gd name="T49" fmla="*/ 3 h 108"/>
                    <a:gd name="T50" fmla="*/ 25 w 207"/>
                    <a:gd name="T51" fmla="*/ 5 h 108"/>
                    <a:gd name="T52" fmla="*/ 25 w 207"/>
                    <a:gd name="T53" fmla="*/ 7 h 108"/>
                    <a:gd name="T54" fmla="*/ 25 w 207"/>
                    <a:gd name="T55" fmla="*/ 7 h 108"/>
                    <a:gd name="T56" fmla="*/ 26 w 207"/>
                    <a:gd name="T57" fmla="*/ 7 h 108"/>
                    <a:gd name="T58" fmla="*/ 29 w 207"/>
                    <a:gd name="T59" fmla="*/ 7 h 108"/>
                    <a:gd name="T60" fmla="*/ 29 w 207"/>
                    <a:gd name="T61" fmla="*/ 7 h 108"/>
                    <a:gd name="T62" fmla="*/ 29 w 207"/>
                    <a:gd name="T63" fmla="*/ 7 h 108"/>
                    <a:gd name="T64" fmla="*/ 30 w 207"/>
                    <a:gd name="T65" fmla="*/ 7 h 108"/>
                    <a:gd name="T66" fmla="*/ 30 w 207"/>
                    <a:gd name="T67" fmla="*/ 7 h 108"/>
                    <a:gd name="T68" fmla="*/ 30 w 207"/>
                    <a:gd name="T69" fmla="*/ 9 h 108"/>
                    <a:gd name="T70" fmla="*/ 33 w 207"/>
                    <a:gd name="T71" fmla="*/ 10 h 108"/>
                    <a:gd name="T72" fmla="*/ 33 w 207"/>
                    <a:gd name="T73" fmla="*/ 13 h 108"/>
                    <a:gd name="T74" fmla="*/ 35 w 207"/>
                    <a:gd name="T75" fmla="*/ 15 h 108"/>
                    <a:gd name="T76" fmla="*/ 37 w 207"/>
                    <a:gd name="T77" fmla="*/ 13 h 108"/>
                    <a:gd name="T78" fmla="*/ 37 w 207"/>
                    <a:gd name="T79" fmla="*/ 16 h 108"/>
                    <a:gd name="T80" fmla="*/ 37 w 207"/>
                    <a:gd name="T81" fmla="*/ 16 h 108"/>
                    <a:gd name="T82" fmla="*/ 37 w 207"/>
                    <a:gd name="T83" fmla="*/ 18 h 108"/>
                    <a:gd name="T84" fmla="*/ 206 w 207"/>
                    <a:gd name="T85" fmla="*/ 105 h 108"/>
                    <a:gd name="T86" fmla="*/ 204 w 207"/>
                    <a:gd name="T87" fmla="*/ 105 h 108"/>
                    <a:gd name="T88" fmla="*/ 204 w 207"/>
                    <a:gd name="T89" fmla="*/ 105 h 108"/>
                    <a:gd name="T90" fmla="*/ 204 w 207"/>
                    <a:gd name="T91" fmla="*/ 107 h 108"/>
                    <a:gd name="T92" fmla="*/ 206 w 207"/>
                    <a:gd name="T93" fmla="*/ 107 h 108"/>
                    <a:gd name="T94" fmla="*/ 206 w 207"/>
                    <a:gd name="T95" fmla="*/ 107 h 108"/>
                    <a:gd name="T96" fmla="*/ 207 w 207"/>
                    <a:gd name="T97" fmla="*/ 108 h 108"/>
                    <a:gd name="T98" fmla="*/ 207 w 207"/>
                    <a:gd name="T99" fmla="*/ 107 h 108"/>
                    <a:gd name="T100" fmla="*/ 206 w 207"/>
                    <a:gd name="T101" fmla="*/ 10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7" h="108">
                      <a:moveTo>
                        <a:pt x="37" y="18"/>
                      </a:moveTo>
                      <a:lnTo>
                        <a:pt x="39" y="19"/>
                      </a:lnTo>
                      <a:lnTo>
                        <a:pt x="36" y="20"/>
                      </a:lnTo>
                      <a:lnTo>
                        <a:pt x="35" y="20"/>
                      </a:lnTo>
                      <a:lnTo>
                        <a:pt x="32" y="19"/>
                      </a:lnTo>
                      <a:lnTo>
                        <a:pt x="30" y="18"/>
                      </a:lnTo>
                      <a:lnTo>
                        <a:pt x="27" y="15"/>
                      </a:lnTo>
                      <a:lnTo>
                        <a:pt x="27" y="13"/>
                      </a:lnTo>
                      <a:lnTo>
                        <a:pt x="26" y="13"/>
                      </a:lnTo>
                      <a:lnTo>
                        <a:pt x="23" y="12"/>
                      </a:lnTo>
                      <a:lnTo>
                        <a:pt x="23" y="12"/>
                      </a:lnTo>
                      <a:lnTo>
                        <a:pt x="22" y="12"/>
                      </a:lnTo>
                      <a:lnTo>
                        <a:pt x="20" y="9"/>
                      </a:lnTo>
                      <a:lnTo>
                        <a:pt x="19" y="9"/>
                      </a:lnTo>
                      <a:lnTo>
                        <a:pt x="15" y="7"/>
                      </a:lnTo>
                      <a:lnTo>
                        <a:pt x="9" y="5"/>
                      </a:lnTo>
                      <a:lnTo>
                        <a:pt x="6" y="3"/>
                      </a:lnTo>
                      <a:lnTo>
                        <a:pt x="7" y="2"/>
                      </a:lnTo>
                      <a:lnTo>
                        <a:pt x="2" y="2"/>
                      </a:lnTo>
                      <a:lnTo>
                        <a:pt x="0" y="2"/>
                      </a:lnTo>
                      <a:lnTo>
                        <a:pt x="4" y="0"/>
                      </a:lnTo>
                      <a:lnTo>
                        <a:pt x="7" y="0"/>
                      </a:lnTo>
                      <a:lnTo>
                        <a:pt x="12" y="2"/>
                      </a:lnTo>
                      <a:lnTo>
                        <a:pt x="15" y="3"/>
                      </a:lnTo>
                      <a:lnTo>
                        <a:pt x="22" y="3"/>
                      </a:lnTo>
                      <a:lnTo>
                        <a:pt x="25" y="5"/>
                      </a:lnTo>
                      <a:lnTo>
                        <a:pt x="25" y="7"/>
                      </a:lnTo>
                      <a:lnTo>
                        <a:pt x="25" y="7"/>
                      </a:lnTo>
                      <a:lnTo>
                        <a:pt x="26" y="7"/>
                      </a:lnTo>
                      <a:lnTo>
                        <a:pt x="29" y="7"/>
                      </a:lnTo>
                      <a:lnTo>
                        <a:pt x="29" y="7"/>
                      </a:lnTo>
                      <a:lnTo>
                        <a:pt x="29" y="7"/>
                      </a:lnTo>
                      <a:lnTo>
                        <a:pt x="30" y="7"/>
                      </a:lnTo>
                      <a:lnTo>
                        <a:pt x="30" y="7"/>
                      </a:lnTo>
                      <a:lnTo>
                        <a:pt x="30" y="9"/>
                      </a:lnTo>
                      <a:lnTo>
                        <a:pt x="33" y="10"/>
                      </a:lnTo>
                      <a:lnTo>
                        <a:pt x="33" y="13"/>
                      </a:lnTo>
                      <a:lnTo>
                        <a:pt x="35" y="15"/>
                      </a:lnTo>
                      <a:lnTo>
                        <a:pt x="37" y="13"/>
                      </a:lnTo>
                      <a:lnTo>
                        <a:pt x="37" y="16"/>
                      </a:lnTo>
                      <a:lnTo>
                        <a:pt x="37" y="16"/>
                      </a:lnTo>
                      <a:lnTo>
                        <a:pt x="37" y="18"/>
                      </a:lnTo>
                      <a:close/>
                      <a:moveTo>
                        <a:pt x="206" y="105"/>
                      </a:moveTo>
                      <a:lnTo>
                        <a:pt x="204" y="105"/>
                      </a:lnTo>
                      <a:lnTo>
                        <a:pt x="204" y="105"/>
                      </a:lnTo>
                      <a:lnTo>
                        <a:pt x="204" y="107"/>
                      </a:lnTo>
                      <a:lnTo>
                        <a:pt x="206" y="107"/>
                      </a:lnTo>
                      <a:lnTo>
                        <a:pt x="206" y="107"/>
                      </a:lnTo>
                      <a:lnTo>
                        <a:pt x="207" y="108"/>
                      </a:lnTo>
                      <a:lnTo>
                        <a:pt x="207" y="107"/>
                      </a:lnTo>
                      <a:lnTo>
                        <a:pt x="206" y="10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58" name="Freeform 251">
                  <a:extLst>
                    <a:ext uri="{FF2B5EF4-FFF2-40B4-BE49-F238E27FC236}">
                      <a16:creationId xmlns:a16="http://schemas.microsoft.com/office/drawing/2014/main" id="{CB0FC575-13A8-4B27-9218-2B6179B626C9}"/>
                    </a:ext>
                  </a:extLst>
                </p:cNvPr>
                <p:cNvSpPr>
                  <a:spLocks noEditPoints="1"/>
                </p:cNvSpPr>
                <p:nvPr/>
              </p:nvSpPr>
              <p:spPr bwMode="auto">
                <a:xfrm>
                  <a:off x="2257" y="2502"/>
                  <a:ext cx="237" cy="204"/>
                </a:xfrm>
                <a:custGeom>
                  <a:avLst/>
                  <a:gdLst>
                    <a:gd name="T0" fmla="*/ 221 w 237"/>
                    <a:gd name="T1" fmla="*/ 53 h 204"/>
                    <a:gd name="T2" fmla="*/ 219 w 237"/>
                    <a:gd name="T3" fmla="*/ 59 h 204"/>
                    <a:gd name="T4" fmla="*/ 23 w 237"/>
                    <a:gd name="T5" fmla="*/ 11 h 204"/>
                    <a:gd name="T6" fmla="*/ 6 w 237"/>
                    <a:gd name="T7" fmla="*/ 42 h 204"/>
                    <a:gd name="T8" fmla="*/ 9 w 237"/>
                    <a:gd name="T9" fmla="*/ 55 h 204"/>
                    <a:gd name="T10" fmla="*/ 18 w 237"/>
                    <a:gd name="T11" fmla="*/ 69 h 204"/>
                    <a:gd name="T12" fmla="*/ 20 w 237"/>
                    <a:gd name="T13" fmla="*/ 85 h 204"/>
                    <a:gd name="T14" fmla="*/ 32 w 237"/>
                    <a:gd name="T15" fmla="*/ 92 h 204"/>
                    <a:gd name="T16" fmla="*/ 48 w 237"/>
                    <a:gd name="T17" fmla="*/ 91 h 204"/>
                    <a:gd name="T18" fmla="*/ 59 w 237"/>
                    <a:gd name="T19" fmla="*/ 95 h 204"/>
                    <a:gd name="T20" fmla="*/ 79 w 237"/>
                    <a:gd name="T21" fmla="*/ 106 h 204"/>
                    <a:gd name="T22" fmla="*/ 104 w 237"/>
                    <a:gd name="T23" fmla="*/ 108 h 204"/>
                    <a:gd name="T24" fmla="*/ 101 w 237"/>
                    <a:gd name="T25" fmla="*/ 147 h 204"/>
                    <a:gd name="T26" fmla="*/ 98 w 237"/>
                    <a:gd name="T27" fmla="*/ 167 h 204"/>
                    <a:gd name="T28" fmla="*/ 108 w 237"/>
                    <a:gd name="T29" fmla="*/ 174 h 204"/>
                    <a:gd name="T30" fmla="*/ 119 w 237"/>
                    <a:gd name="T31" fmla="*/ 198 h 204"/>
                    <a:gd name="T32" fmla="*/ 137 w 237"/>
                    <a:gd name="T33" fmla="*/ 200 h 204"/>
                    <a:gd name="T34" fmla="*/ 157 w 237"/>
                    <a:gd name="T35" fmla="*/ 190 h 204"/>
                    <a:gd name="T36" fmla="*/ 164 w 237"/>
                    <a:gd name="T37" fmla="*/ 182 h 204"/>
                    <a:gd name="T38" fmla="*/ 171 w 237"/>
                    <a:gd name="T39" fmla="*/ 172 h 204"/>
                    <a:gd name="T40" fmla="*/ 165 w 237"/>
                    <a:gd name="T41" fmla="*/ 168 h 204"/>
                    <a:gd name="T42" fmla="*/ 151 w 237"/>
                    <a:gd name="T43" fmla="*/ 141 h 204"/>
                    <a:gd name="T44" fmla="*/ 163 w 237"/>
                    <a:gd name="T45" fmla="*/ 144 h 204"/>
                    <a:gd name="T46" fmla="*/ 176 w 237"/>
                    <a:gd name="T47" fmla="*/ 147 h 204"/>
                    <a:gd name="T48" fmla="*/ 187 w 237"/>
                    <a:gd name="T49" fmla="*/ 149 h 204"/>
                    <a:gd name="T50" fmla="*/ 204 w 237"/>
                    <a:gd name="T51" fmla="*/ 142 h 204"/>
                    <a:gd name="T52" fmla="*/ 219 w 237"/>
                    <a:gd name="T53" fmla="*/ 135 h 204"/>
                    <a:gd name="T54" fmla="*/ 213 w 237"/>
                    <a:gd name="T55" fmla="*/ 115 h 204"/>
                    <a:gd name="T56" fmla="*/ 216 w 237"/>
                    <a:gd name="T57" fmla="*/ 105 h 204"/>
                    <a:gd name="T58" fmla="*/ 229 w 237"/>
                    <a:gd name="T59" fmla="*/ 93 h 204"/>
                    <a:gd name="T60" fmla="*/ 224 w 237"/>
                    <a:gd name="T61" fmla="*/ 85 h 204"/>
                    <a:gd name="T62" fmla="*/ 232 w 237"/>
                    <a:gd name="T63" fmla="*/ 76 h 204"/>
                    <a:gd name="T64" fmla="*/ 232 w 237"/>
                    <a:gd name="T65" fmla="*/ 63 h 204"/>
                    <a:gd name="T66" fmla="*/ 213 w 237"/>
                    <a:gd name="T67" fmla="*/ 66 h 204"/>
                    <a:gd name="T68" fmla="*/ 213 w 237"/>
                    <a:gd name="T69" fmla="*/ 63 h 204"/>
                    <a:gd name="T70" fmla="*/ 221 w 237"/>
                    <a:gd name="T71" fmla="*/ 52 h 204"/>
                    <a:gd name="T72" fmla="*/ 213 w 237"/>
                    <a:gd name="T73" fmla="*/ 46 h 204"/>
                    <a:gd name="T74" fmla="*/ 206 w 237"/>
                    <a:gd name="T75" fmla="*/ 42 h 204"/>
                    <a:gd name="T76" fmla="*/ 197 w 237"/>
                    <a:gd name="T77" fmla="*/ 39 h 204"/>
                    <a:gd name="T78" fmla="*/ 194 w 237"/>
                    <a:gd name="T79" fmla="*/ 42 h 204"/>
                    <a:gd name="T80" fmla="*/ 187 w 237"/>
                    <a:gd name="T81" fmla="*/ 37 h 204"/>
                    <a:gd name="T82" fmla="*/ 198 w 237"/>
                    <a:gd name="T83" fmla="*/ 27 h 204"/>
                    <a:gd name="T84" fmla="*/ 161 w 237"/>
                    <a:gd name="T85" fmla="*/ 29 h 204"/>
                    <a:gd name="T86" fmla="*/ 161 w 237"/>
                    <a:gd name="T87" fmla="*/ 32 h 204"/>
                    <a:gd name="T88" fmla="*/ 134 w 237"/>
                    <a:gd name="T89" fmla="*/ 34 h 204"/>
                    <a:gd name="T90" fmla="*/ 122 w 237"/>
                    <a:gd name="T91" fmla="*/ 27 h 204"/>
                    <a:gd name="T92" fmla="*/ 89 w 237"/>
                    <a:gd name="T93" fmla="*/ 22 h 204"/>
                    <a:gd name="T94" fmla="*/ 65 w 237"/>
                    <a:gd name="T95" fmla="*/ 11 h 204"/>
                    <a:gd name="T96" fmla="*/ 55 w 237"/>
                    <a:gd name="T97" fmla="*/ 4 h 204"/>
                    <a:gd name="T98" fmla="*/ 61 w 237"/>
                    <a:gd name="T99" fmla="*/ 9 h 204"/>
                    <a:gd name="T100" fmla="*/ 58 w 237"/>
                    <a:gd name="T101" fmla="*/ 11 h 204"/>
                    <a:gd name="T102" fmla="*/ 35 w 237"/>
                    <a:gd name="T103" fmla="*/ 22 h 204"/>
                    <a:gd name="T104" fmla="*/ 35 w 237"/>
                    <a:gd name="T105" fmla="*/ 32 h 204"/>
                    <a:gd name="T106" fmla="*/ 36 w 237"/>
                    <a:gd name="T107" fmla="*/ 55 h 204"/>
                    <a:gd name="T108" fmla="*/ 28 w 237"/>
                    <a:gd name="T109" fmla="*/ 50 h 204"/>
                    <a:gd name="T110" fmla="*/ 25 w 237"/>
                    <a:gd name="T111" fmla="*/ 39 h 204"/>
                    <a:gd name="T112" fmla="*/ 29 w 237"/>
                    <a:gd name="T113" fmla="*/ 22 h 204"/>
                    <a:gd name="T114" fmla="*/ 28 w 237"/>
                    <a:gd name="T115" fmla="*/ 9 h 204"/>
                    <a:gd name="T116" fmla="*/ 160 w 237"/>
                    <a:gd name="T117" fmla="*/ 20 h 204"/>
                    <a:gd name="T118" fmla="*/ 168 w 237"/>
                    <a:gd name="T119" fmla="*/ 22 h 204"/>
                    <a:gd name="T120" fmla="*/ 141 w 237"/>
                    <a:gd name="T121" fmla="*/ 23 h 204"/>
                    <a:gd name="T122" fmla="*/ 142 w 237"/>
                    <a:gd name="T123"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7" h="204">
                      <a:moveTo>
                        <a:pt x="220" y="55"/>
                      </a:moveTo>
                      <a:lnTo>
                        <a:pt x="219" y="55"/>
                      </a:lnTo>
                      <a:lnTo>
                        <a:pt x="220" y="53"/>
                      </a:lnTo>
                      <a:lnTo>
                        <a:pt x="220" y="53"/>
                      </a:lnTo>
                      <a:lnTo>
                        <a:pt x="220" y="53"/>
                      </a:lnTo>
                      <a:lnTo>
                        <a:pt x="221" y="53"/>
                      </a:lnTo>
                      <a:lnTo>
                        <a:pt x="221" y="53"/>
                      </a:lnTo>
                      <a:lnTo>
                        <a:pt x="221" y="53"/>
                      </a:lnTo>
                      <a:lnTo>
                        <a:pt x="220" y="55"/>
                      </a:lnTo>
                      <a:close/>
                      <a:moveTo>
                        <a:pt x="217" y="56"/>
                      </a:moveTo>
                      <a:lnTo>
                        <a:pt x="217" y="57"/>
                      </a:lnTo>
                      <a:lnTo>
                        <a:pt x="217" y="57"/>
                      </a:lnTo>
                      <a:lnTo>
                        <a:pt x="217" y="59"/>
                      </a:lnTo>
                      <a:lnTo>
                        <a:pt x="219" y="59"/>
                      </a:lnTo>
                      <a:lnTo>
                        <a:pt x="220" y="57"/>
                      </a:lnTo>
                      <a:lnTo>
                        <a:pt x="220" y="56"/>
                      </a:lnTo>
                      <a:lnTo>
                        <a:pt x="219" y="56"/>
                      </a:lnTo>
                      <a:lnTo>
                        <a:pt x="217" y="56"/>
                      </a:lnTo>
                      <a:close/>
                      <a:moveTo>
                        <a:pt x="28" y="9"/>
                      </a:moveTo>
                      <a:lnTo>
                        <a:pt x="25" y="10"/>
                      </a:lnTo>
                      <a:lnTo>
                        <a:pt x="23" y="11"/>
                      </a:lnTo>
                      <a:lnTo>
                        <a:pt x="22" y="16"/>
                      </a:lnTo>
                      <a:lnTo>
                        <a:pt x="20" y="17"/>
                      </a:lnTo>
                      <a:lnTo>
                        <a:pt x="19" y="17"/>
                      </a:lnTo>
                      <a:lnTo>
                        <a:pt x="16" y="20"/>
                      </a:lnTo>
                      <a:lnTo>
                        <a:pt x="15" y="20"/>
                      </a:lnTo>
                      <a:lnTo>
                        <a:pt x="10" y="27"/>
                      </a:lnTo>
                      <a:lnTo>
                        <a:pt x="6" y="42"/>
                      </a:lnTo>
                      <a:lnTo>
                        <a:pt x="3" y="49"/>
                      </a:lnTo>
                      <a:lnTo>
                        <a:pt x="0" y="52"/>
                      </a:lnTo>
                      <a:lnTo>
                        <a:pt x="2" y="53"/>
                      </a:lnTo>
                      <a:lnTo>
                        <a:pt x="3" y="52"/>
                      </a:lnTo>
                      <a:lnTo>
                        <a:pt x="6" y="52"/>
                      </a:lnTo>
                      <a:lnTo>
                        <a:pt x="6" y="52"/>
                      </a:lnTo>
                      <a:lnTo>
                        <a:pt x="9" y="55"/>
                      </a:lnTo>
                      <a:lnTo>
                        <a:pt x="9" y="55"/>
                      </a:lnTo>
                      <a:lnTo>
                        <a:pt x="10" y="56"/>
                      </a:lnTo>
                      <a:lnTo>
                        <a:pt x="10" y="57"/>
                      </a:lnTo>
                      <a:lnTo>
                        <a:pt x="12" y="60"/>
                      </a:lnTo>
                      <a:lnTo>
                        <a:pt x="13" y="63"/>
                      </a:lnTo>
                      <a:lnTo>
                        <a:pt x="16" y="66"/>
                      </a:lnTo>
                      <a:lnTo>
                        <a:pt x="18" y="69"/>
                      </a:lnTo>
                      <a:lnTo>
                        <a:pt x="18" y="72"/>
                      </a:lnTo>
                      <a:lnTo>
                        <a:pt x="18" y="75"/>
                      </a:lnTo>
                      <a:lnTo>
                        <a:pt x="16" y="78"/>
                      </a:lnTo>
                      <a:lnTo>
                        <a:pt x="16" y="80"/>
                      </a:lnTo>
                      <a:lnTo>
                        <a:pt x="16" y="83"/>
                      </a:lnTo>
                      <a:lnTo>
                        <a:pt x="18" y="85"/>
                      </a:lnTo>
                      <a:lnTo>
                        <a:pt x="20" y="85"/>
                      </a:lnTo>
                      <a:lnTo>
                        <a:pt x="20" y="86"/>
                      </a:lnTo>
                      <a:lnTo>
                        <a:pt x="22" y="88"/>
                      </a:lnTo>
                      <a:lnTo>
                        <a:pt x="23" y="89"/>
                      </a:lnTo>
                      <a:lnTo>
                        <a:pt x="23" y="91"/>
                      </a:lnTo>
                      <a:lnTo>
                        <a:pt x="26" y="92"/>
                      </a:lnTo>
                      <a:lnTo>
                        <a:pt x="28" y="92"/>
                      </a:lnTo>
                      <a:lnTo>
                        <a:pt x="32" y="92"/>
                      </a:lnTo>
                      <a:lnTo>
                        <a:pt x="33" y="92"/>
                      </a:lnTo>
                      <a:lnTo>
                        <a:pt x="38" y="92"/>
                      </a:lnTo>
                      <a:lnTo>
                        <a:pt x="41" y="92"/>
                      </a:lnTo>
                      <a:lnTo>
                        <a:pt x="42" y="92"/>
                      </a:lnTo>
                      <a:lnTo>
                        <a:pt x="45" y="91"/>
                      </a:lnTo>
                      <a:lnTo>
                        <a:pt x="46" y="91"/>
                      </a:lnTo>
                      <a:lnTo>
                        <a:pt x="48" y="91"/>
                      </a:lnTo>
                      <a:lnTo>
                        <a:pt x="49" y="92"/>
                      </a:lnTo>
                      <a:lnTo>
                        <a:pt x="51" y="92"/>
                      </a:lnTo>
                      <a:lnTo>
                        <a:pt x="52" y="92"/>
                      </a:lnTo>
                      <a:lnTo>
                        <a:pt x="53" y="92"/>
                      </a:lnTo>
                      <a:lnTo>
                        <a:pt x="56" y="93"/>
                      </a:lnTo>
                      <a:lnTo>
                        <a:pt x="58" y="93"/>
                      </a:lnTo>
                      <a:lnTo>
                        <a:pt x="59" y="95"/>
                      </a:lnTo>
                      <a:lnTo>
                        <a:pt x="66" y="105"/>
                      </a:lnTo>
                      <a:lnTo>
                        <a:pt x="69" y="106"/>
                      </a:lnTo>
                      <a:lnTo>
                        <a:pt x="72" y="108"/>
                      </a:lnTo>
                      <a:lnTo>
                        <a:pt x="74" y="108"/>
                      </a:lnTo>
                      <a:lnTo>
                        <a:pt x="76" y="106"/>
                      </a:lnTo>
                      <a:lnTo>
                        <a:pt x="78" y="106"/>
                      </a:lnTo>
                      <a:lnTo>
                        <a:pt x="79" y="106"/>
                      </a:lnTo>
                      <a:lnTo>
                        <a:pt x="84" y="106"/>
                      </a:lnTo>
                      <a:lnTo>
                        <a:pt x="85" y="108"/>
                      </a:lnTo>
                      <a:lnTo>
                        <a:pt x="89" y="106"/>
                      </a:lnTo>
                      <a:lnTo>
                        <a:pt x="97" y="105"/>
                      </a:lnTo>
                      <a:lnTo>
                        <a:pt x="99" y="105"/>
                      </a:lnTo>
                      <a:lnTo>
                        <a:pt x="104" y="106"/>
                      </a:lnTo>
                      <a:lnTo>
                        <a:pt x="104" y="108"/>
                      </a:lnTo>
                      <a:lnTo>
                        <a:pt x="104" y="111"/>
                      </a:lnTo>
                      <a:lnTo>
                        <a:pt x="102" y="114"/>
                      </a:lnTo>
                      <a:lnTo>
                        <a:pt x="99" y="121"/>
                      </a:lnTo>
                      <a:lnTo>
                        <a:pt x="98" y="128"/>
                      </a:lnTo>
                      <a:lnTo>
                        <a:pt x="98" y="137"/>
                      </a:lnTo>
                      <a:lnTo>
                        <a:pt x="99" y="144"/>
                      </a:lnTo>
                      <a:lnTo>
                        <a:pt x="101" y="147"/>
                      </a:lnTo>
                      <a:lnTo>
                        <a:pt x="101" y="148"/>
                      </a:lnTo>
                      <a:lnTo>
                        <a:pt x="105" y="154"/>
                      </a:lnTo>
                      <a:lnTo>
                        <a:pt x="107" y="155"/>
                      </a:lnTo>
                      <a:lnTo>
                        <a:pt x="107" y="157"/>
                      </a:lnTo>
                      <a:lnTo>
                        <a:pt x="105" y="160"/>
                      </a:lnTo>
                      <a:lnTo>
                        <a:pt x="99" y="164"/>
                      </a:lnTo>
                      <a:lnTo>
                        <a:pt x="98" y="167"/>
                      </a:lnTo>
                      <a:lnTo>
                        <a:pt x="99" y="165"/>
                      </a:lnTo>
                      <a:lnTo>
                        <a:pt x="101" y="167"/>
                      </a:lnTo>
                      <a:lnTo>
                        <a:pt x="102" y="168"/>
                      </a:lnTo>
                      <a:lnTo>
                        <a:pt x="104" y="170"/>
                      </a:lnTo>
                      <a:lnTo>
                        <a:pt x="107" y="172"/>
                      </a:lnTo>
                      <a:lnTo>
                        <a:pt x="108" y="172"/>
                      </a:lnTo>
                      <a:lnTo>
                        <a:pt x="108" y="174"/>
                      </a:lnTo>
                      <a:lnTo>
                        <a:pt x="108" y="174"/>
                      </a:lnTo>
                      <a:lnTo>
                        <a:pt x="108" y="175"/>
                      </a:lnTo>
                      <a:lnTo>
                        <a:pt x="108" y="175"/>
                      </a:lnTo>
                      <a:lnTo>
                        <a:pt x="112" y="185"/>
                      </a:lnTo>
                      <a:lnTo>
                        <a:pt x="114" y="190"/>
                      </a:lnTo>
                      <a:lnTo>
                        <a:pt x="115" y="194"/>
                      </a:lnTo>
                      <a:lnTo>
                        <a:pt x="119" y="198"/>
                      </a:lnTo>
                      <a:lnTo>
                        <a:pt x="122" y="201"/>
                      </a:lnTo>
                      <a:lnTo>
                        <a:pt x="124" y="203"/>
                      </a:lnTo>
                      <a:lnTo>
                        <a:pt x="128" y="203"/>
                      </a:lnTo>
                      <a:lnTo>
                        <a:pt x="130" y="201"/>
                      </a:lnTo>
                      <a:lnTo>
                        <a:pt x="132" y="200"/>
                      </a:lnTo>
                      <a:lnTo>
                        <a:pt x="135" y="198"/>
                      </a:lnTo>
                      <a:lnTo>
                        <a:pt x="137" y="200"/>
                      </a:lnTo>
                      <a:lnTo>
                        <a:pt x="138" y="201"/>
                      </a:lnTo>
                      <a:lnTo>
                        <a:pt x="138" y="203"/>
                      </a:lnTo>
                      <a:lnTo>
                        <a:pt x="140" y="204"/>
                      </a:lnTo>
                      <a:lnTo>
                        <a:pt x="145" y="197"/>
                      </a:lnTo>
                      <a:lnTo>
                        <a:pt x="147" y="195"/>
                      </a:lnTo>
                      <a:lnTo>
                        <a:pt x="148" y="194"/>
                      </a:lnTo>
                      <a:lnTo>
                        <a:pt x="157" y="190"/>
                      </a:lnTo>
                      <a:lnTo>
                        <a:pt x="158" y="190"/>
                      </a:lnTo>
                      <a:lnTo>
                        <a:pt x="160" y="190"/>
                      </a:lnTo>
                      <a:lnTo>
                        <a:pt x="161" y="188"/>
                      </a:lnTo>
                      <a:lnTo>
                        <a:pt x="163" y="187"/>
                      </a:lnTo>
                      <a:lnTo>
                        <a:pt x="163" y="187"/>
                      </a:lnTo>
                      <a:lnTo>
                        <a:pt x="164" y="182"/>
                      </a:lnTo>
                      <a:lnTo>
                        <a:pt x="164" y="182"/>
                      </a:lnTo>
                      <a:lnTo>
                        <a:pt x="167" y="181"/>
                      </a:lnTo>
                      <a:lnTo>
                        <a:pt x="171" y="180"/>
                      </a:lnTo>
                      <a:lnTo>
                        <a:pt x="173" y="178"/>
                      </a:lnTo>
                      <a:lnTo>
                        <a:pt x="176" y="177"/>
                      </a:lnTo>
                      <a:lnTo>
                        <a:pt x="176" y="175"/>
                      </a:lnTo>
                      <a:lnTo>
                        <a:pt x="176" y="174"/>
                      </a:lnTo>
                      <a:lnTo>
                        <a:pt x="171" y="172"/>
                      </a:lnTo>
                      <a:lnTo>
                        <a:pt x="168" y="172"/>
                      </a:lnTo>
                      <a:lnTo>
                        <a:pt x="167" y="172"/>
                      </a:lnTo>
                      <a:lnTo>
                        <a:pt x="165" y="172"/>
                      </a:lnTo>
                      <a:lnTo>
                        <a:pt x="164" y="171"/>
                      </a:lnTo>
                      <a:lnTo>
                        <a:pt x="164" y="171"/>
                      </a:lnTo>
                      <a:lnTo>
                        <a:pt x="165" y="170"/>
                      </a:lnTo>
                      <a:lnTo>
                        <a:pt x="165" y="168"/>
                      </a:lnTo>
                      <a:lnTo>
                        <a:pt x="161" y="160"/>
                      </a:lnTo>
                      <a:lnTo>
                        <a:pt x="160" y="152"/>
                      </a:lnTo>
                      <a:lnTo>
                        <a:pt x="158" y="151"/>
                      </a:lnTo>
                      <a:lnTo>
                        <a:pt x="154" y="145"/>
                      </a:lnTo>
                      <a:lnTo>
                        <a:pt x="153" y="142"/>
                      </a:lnTo>
                      <a:lnTo>
                        <a:pt x="151" y="141"/>
                      </a:lnTo>
                      <a:lnTo>
                        <a:pt x="151" y="141"/>
                      </a:lnTo>
                      <a:lnTo>
                        <a:pt x="153" y="139"/>
                      </a:lnTo>
                      <a:lnTo>
                        <a:pt x="153" y="141"/>
                      </a:lnTo>
                      <a:lnTo>
                        <a:pt x="154" y="142"/>
                      </a:lnTo>
                      <a:lnTo>
                        <a:pt x="154" y="142"/>
                      </a:lnTo>
                      <a:lnTo>
                        <a:pt x="157" y="142"/>
                      </a:lnTo>
                      <a:lnTo>
                        <a:pt x="161" y="144"/>
                      </a:lnTo>
                      <a:lnTo>
                        <a:pt x="163" y="144"/>
                      </a:lnTo>
                      <a:lnTo>
                        <a:pt x="164" y="145"/>
                      </a:lnTo>
                      <a:lnTo>
                        <a:pt x="165" y="145"/>
                      </a:lnTo>
                      <a:lnTo>
                        <a:pt x="165" y="147"/>
                      </a:lnTo>
                      <a:lnTo>
                        <a:pt x="167" y="147"/>
                      </a:lnTo>
                      <a:lnTo>
                        <a:pt x="173" y="147"/>
                      </a:lnTo>
                      <a:lnTo>
                        <a:pt x="174" y="147"/>
                      </a:lnTo>
                      <a:lnTo>
                        <a:pt x="176" y="147"/>
                      </a:lnTo>
                      <a:lnTo>
                        <a:pt x="176" y="147"/>
                      </a:lnTo>
                      <a:lnTo>
                        <a:pt x="177" y="147"/>
                      </a:lnTo>
                      <a:lnTo>
                        <a:pt x="178" y="148"/>
                      </a:lnTo>
                      <a:lnTo>
                        <a:pt x="181" y="151"/>
                      </a:lnTo>
                      <a:lnTo>
                        <a:pt x="183" y="151"/>
                      </a:lnTo>
                      <a:lnTo>
                        <a:pt x="186" y="152"/>
                      </a:lnTo>
                      <a:lnTo>
                        <a:pt x="187" y="149"/>
                      </a:lnTo>
                      <a:lnTo>
                        <a:pt x="187" y="147"/>
                      </a:lnTo>
                      <a:lnTo>
                        <a:pt x="188" y="145"/>
                      </a:lnTo>
                      <a:lnTo>
                        <a:pt x="191" y="144"/>
                      </a:lnTo>
                      <a:lnTo>
                        <a:pt x="194" y="142"/>
                      </a:lnTo>
                      <a:lnTo>
                        <a:pt x="197" y="142"/>
                      </a:lnTo>
                      <a:lnTo>
                        <a:pt x="200" y="142"/>
                      </a:lnTo>
                      <a:lnTo>
                        <a:pt x="204" y="142"/>
                      </a:lnTo>
                      <a:lnTo>
                        <a:pt x="206" y="141"/>
                      </a:lnTo>
                      <a:lnTo>
                        <a:pt x="207" y="141"/>
                      </a:lnTo>
                      <a:lnTo>
                        <a:pt x="209" y="139"/>
                      </a:lnTo>
                      <a:lnTo>
                        <a:pt x="211" y="137"/>
                      </a:lnTo>
                      <a:lnTo>
                        <a:pt x="213" y="137"/>
                      </a:lnTo>
                      <a:lnTo>
                        <a:pt x="216" y="135"/>
                      </a:lnTo>
                      <a:lnTo>
                        <a:pt x="219" y="135"/>
                      </a:lnTo>
                      <a:lnTo>
                        <a:pt x="220" y="134"/>
                      </a:lnTo>
                      <a:lnTo>
                        <a:pt x="221" y="132"/>
                      </a:lnTo>
                      <a:lnTo>
                        <a:pt x="223" y="129"/>
                      </a:lnTo>
                      <a:lnTo>
                        <a:pt x="224" y="128"/>
                      </a:lnTo>
                      <a:lnTo>
                        <a:pt x="224" y="125"/>
                      </a:lnTo>
                      <a:lnTo>
                        <a:pt x="223" y="124"/>
                      </a:lnTo>
                      <a:lnTo>
                        <a:pt x="213" y="115"/>
                      </a:lnTo>
                      <a:lnTo>
                        <a:pt x="211" y="112"/>
                      </a:lnTo>
                      <a:lnTo>
                        <a:pt x="211" y="111"/>
                      </a:lnTo>
                      <a:lnTo>
                        <a:pt x="211" y="109"/>
                      </a:lnTo>
                      <a:lnTo>
                        <a:pt x="213" y="109"/>
                      </a:lnTo>
                      <a:lnTo>
                        <a:pt x="214" y="108"/>
                      </a:lnTo>
                      <a:lnTo>
                        <a:pt x="214" y="106"/>
                      </a:lnTo>
                      <a:lnTo>
                        <a:pt x="216" y="105"/>
                      </a:lnTo>
                      <a:lnTo>
                        <a:pt x="216" y="105"/>
                      </a:lnTo>
                      <a:lnTo>
                        <a:pt x="214" y="99"/>
                      </a:lnTo>
                      <a:lnTo>
                        <a:pt x="216" y="98"/>
                      </a:lnTo>
                      <a:lnTo>
                        <a:pt x="217" y="98"/>
                      </a:lnTo>
                      <a:lnTo>
                        <a:pt x="224" y="95"/>
                      </a:lnTo>
                      <a:lnTo>
                        <a:pt x="227" y="95"/>
                      </a:lnTo>
                      <a:lnTo>
                        <a:pt x="229" y="93"/>
                      </a:lnTo>
                      <a:lnTo>
                        <a:pt x="230" y="91"/>
                      </a:lnTo>
                      <a:lnTo>
                        <a:pt x="229" y="89"/>
                      </a:lnTo>
                      <a:lnTo>
                        <a:pt x="227" y="89"/>
                      </a:lnTo>
                      <a:lnTo>
                        <a:pt x="224" y="89"/>
                      </a:lnTo>
                      <a:lnTo>
                        <a:pt x="224" y="88"/>
                      </a:lnTo>
                      <a:lnTo>
                        <a:pt x="224" y="88"/>
                      </a:lnTo>
                      <a:lnTo>
                        <a:pt x="224" y="85"/>
                      </a:lnTo>
                      <a:lnTo>
                        <a:pt x="224" y="83"/>
                      </a:lnTo>
                      <a:lnTo>
                        <a:pt x="223" y="83"/>
                      </a:lnTo>
                      <a:lnTo>
                        <a:pt x="224" y="82"/>
                      </a:lnTo>
                      <a:lnTo>
                        <a:pt x="224" y="80"/>
                      </a:lnTo>
                      <a:lnTo>
                        <a:pt x="227" y="79"/>
                      </a:lnTo>
                      <a:lnTo>
                        <a:pt x="229" y="78"/>
                      </a:lnTo>
                      <a:lnTo>
                        <a:pt x="232" y="76"/>
                      </a:lnTo>
                      <a:lnTo>
                        <a:pt x="234" y="73"/>
                      </a:lnTo>
                      <a:lnTo>
                        <a:pt x="237" y="72"/>
                      </a:lnTo>
                      <a:lnTo>
                        <a:pt x="237" y="69"/>
                      </a:lnTo>
                      <a:lnTo>
                        <a:pt x="237" y="68"/>
                      </a:lnTo>
                      <a:lnTo>
                        <a:pt x="236" y="65"/>
                      </a:lnTo>
                      <a:lnTo>
                        <a:pt x="233" y="63"/>
                      </a:lnTo>
                      <a:lnTo>
                        <a:pt x="232" y="63"/>
                      </a:lnTo>
                      <a:lnTo>
                        <a:pt x="229" y="63"/>
                      </a:lnTo>
                      <a:lnTo>
                        <a:pt x="223" y="63"/>
                      </a:lnTo>
                      <a:lnTo>
                        <a:pt x="220" y="65"/>
                      </a:lnTo>
                      <a:lnTo>
                        <a:pt x="219" y="65"/>
                      </a:lnTo>
                      <a:lnTo>
                        <a:pt x="216" y="66"/>
                      </a:lnTo>
                      <a:lnTo>
                        <a:pt x="214" y="66"/>
                      </a:lnTo>
                      <a:lnTo>
                        <a:pt x="213" y="66"/>
                      </a:lnTo>
                      <a:lnTo>
                        <a:pt x="213" y="66"/>
                      </a:lnTo>
                      <a:lnTo>
                        <a:pt x="211" y="66"/>
                      </a:lnTo>
                      <a:lnTo>
                        <a:pt x="211" y="66"/>
                      </a:lnTo>
                      <a:lnTo>
                        <a:pt x="210" y="66"/>
                      </a:lnTo>
                      <a:lnTo>
                        <a:pt x="207" y="63"/>
                      </a:lnTo>
                      <a:lnTo>
                        <a:pt x="210" y="63"/>
                      </a:lnTo>
                      <a:lnTo>
                        <a:pt x="213" y="63"/>
                      </a:lnTo>
                      <a:lnTo>
                        <a:pt x="214" y="62"/>
                      </a:lnTo>
                      <a:lnTo>
                        <a:pt x="216" y="60"/>
                      </a:lnTo>
                      <a:lnTo>
                        <a:pt x="217" y="55"/>
                      </a:lnTo>
                      <a:lnTo>
                        <a:pt x="219" y="53"/>
                      </a:lnTo>
                      <a:lnTo>
                        <a:pt x="220" y="52"/>
                      </a:lnTo>
                      <a:lnTo>
                        <a:pt x="220" y="52"/>
                      </a:lnTo>
                      <a:lnTo>
                        <a:pt x="221" y="52"/>
                      </a:lnTo>
                      <a:lnTo>
                        <a:pt x="221" y="50"/>
                      </a:lnTo>
                      <a:lnTo>
                        <a:pt x="220" y="49"/>
                      </a:lnTo>
                      <a:lnTo>
                        <a:pt x="220" y="47"/>
                      </a:lnTo>
                      <a:lnTo>
                        <a:pt x="219" y="47"/>
                      </a:lnTo>
                      <a:lnTo>
                        <a:pt x="217" y="46"/>
                      </a:lnTo>
                      <a:lnTo>
                        <a:pt x="216" y="46"/>
                      </a:lnTo>
                      <a:lnTo>
                        <a:pt x="213" y="46"/>
                      </a:lnTo>
                      <a:lnTo>
                        <a:pt x="211" y="45"/>
                      </a:lnTo>
                      <a:lnTo>
                        <a:pt x="211" y="45"/>
                      </a:lnTo>
                      <a:lnTo>
                        <a:pt x="209" y="42"/>
                      </a:lnTo>
                      <a:lnTo>
                        <a:pt x="207" y="40"/>
                      </a:lnTo>
                      <a:lnTo>
                        <a:pt x="207" y="42"/>
                      </a:lnTo>
                      <a:lnTo>
                        <a:pt x="206" y="42"/>
                      </a:lnTo>
                      <a:lnTo>
                        <a:pt x="206" y="42"/>
                      </a:lnTo>
                      <a:lnTo>
                        <a:pt x="204" y="42"/>
                      </a:lnTo>
                      <a:lnTo>
                        <a:pt x="204" y="43"/>
                      </a:lnTo>
                      <a:lnTo>
                        <a:pt x="204" y="45"/>
                      </a:lnTo>
                      <a:lnTo>
                        <a:pt x="204" y="46"/>
                      </a:lnTo>
                      <a:lnTo>
                        <a:pt x="201" y="42"/>
                      </a:lnTo>
                      <a:lnTo>
                        <a:pt x="200" y="40"/>
                      </a:lnTo>
                      <a:lnTo>
                        <a:pt x="197" y="39"/>
                      </a:lnTo>
                      <a:lnTo>
                        <a:pt x="197" y="40"/>
                      </a:lnTo>
                      <a:lnTo>
                        <a:pt x="197" y="40"/>
                      </a:lnTo>
                      <a:lnTo>
                        <a:pt x="197" y="42"/>
                      </a:lnTo>
                      <a:lnTo>
                        <a:pt x="197" y="42"/>
                      </a:lnTo>
                      <a:lnTo>
                        <a:pt x="197" y="42"/>
                      </a:lnTo>
                      <a:lnTo>
                        <a:pt x="197" y="40"/>
                      </a:lnTo>
                      <a:lnTo>
                        <a:pt x="194" y="42"/>
                      </a:lnTo>
                      <a:lnTo>
                        <a:pt x="193" y="40"/>
                      </a:lnTo>
                      <a:lnTo>
                        <a:pt x="191" y="37"/>
                      </a:lnTo>
                      <a:lnTo>
                        <a:pt x="190" y="34"/>
                      </a:lnTo>
                      <a:lnTo>
                        <a:pt x="190" y="36"/>
                      </a:lnTo>
                      <a:lnTo>
                        <a:pt x="190" y="37"/>
                      </a:lnTo>
                      <a:lnTo>
                        <a:pt x="188" y="37"/>
                      </a:lnTo>
                      <a:lnTo>
                        <a:pt x="187" y="37"/>
                      </a:lnTo>
                      <a:lnTo>
                        <a:pt x="188" y="36"/>
                      </a:lnTo>
                      <a:lnTo>
                        <a:pt x="187" y="33"/>
                      </a:lnTo>
                      <a:lnTo>
                        <a:pt x="184" y="29"/>
                      </a:lnTo>
                      <a:lnTo>
                        <a:pt x="187" y="29"/>
                      </a:lnTo>
                      <a:lnTo>
                        <a:pt x="191" y="29"/>
                      </a:lnTo>
                      <a:lnTo>
                        <a:pt x="194" y="29"/>
                      </a:lnTo>
                      <a:lnTo>
                        <a:pt x="198" y="27"/>
                      </a:lnTo>
                      <a:lnTo>
                        <a:pt x="201" y="27"/>
                      </a:lnTo>
                      <a:lnTo>
                        <a:pt x="203" y="26"/>
                      </a:lnTo>
                      <a:lnTo>
                        <a:pt x="197" y="26"/>
                      </a:lnTo>
                      <a:lnTo>
                        <a:pt x="187" y="26"/>
                      </a:lnTo>
                      <a:lnTo>
                        <a:pt x="165" y="27"/>
                      </a:lnTo>
                      <a:lnTo>
                        <a:pt x="160" y="27"/>
                      </a:lnTo>
                      <a:lnTo>
                        <a:pt x="161" y="29"/>
                      </a:lnTo>
                      <a:lnTo>
                        <a:pt x="167" y="29"/>
                      </a:lnTo>
                      <a:lnTo>
                        <a:pt x="170" y="30"/>
                      </a:lnTo>
                      <a:lnTo>
                        <a:pt x="168" y="30"/>
                      </a:lnTo>
                      <a:lnTo>
                        <a:pt x="167" y="30"/>
                      </a:lnTo>
                      <a:lnTo>
                        <a:pt x="165" y="30"/>
                      </a:lnTo>
                      <a:lnTo>
                        <a:pt x="163" y="30"/>
                      </a:lnTo>
                      <a:lnTo>
                        <a:pt x="161" y="32"/>
                      </a:lnTo>
                      <a:lnTo>
                        <a:pt x="160" y="32"/>
                      </a:lnTo>
                      <a:lnTo>
                        <a:pt x="151" y="36"/>
                      </a:lnTo>
                      <a:lnTo>
                        <a:pt x="148" y="37"/>
                      </a:lnTo>
                      <a:lnTo>
                        <a:pt x="144" y="37"/>
                      </a:lnTo>
                      <a:lnTo>
                        <a:pt x="141" y="37"/>
                      </a:lnTo>
                      <a:lnTo>
                        <a:pt x="138" y="36"/>
                      </a:lnTo>
                      <a:lnTo>
                        <a:pt x="134" y="34"/>
                      </a:lnTo>
                      <a:lnTo>
                        <a:pt x="131" y="33"/>
                      </a:lnTo>
                      <a:lnTo>
                        <a:pt x="131" y="32"/>
                      </a:lnTo>
                      <a:lnTo>
                        <a:pt x="130" y="30"/>
                      </a:lnTo>
                      <a:lnTo>
                        <a:pt x="128" y="29"/>
                      </a:lnTo>
                      <a:lnTo>
                        <a:pt x="127" y="27"/>
                      </a:lnTo>
                      <a:lnTo>
                        <a:pt x="125" y="27"/>
                      </a:lnTo>
                      <a:lnTo>
                        <a:pt x="122" y="27"/>
                      </a:lnTo>
                      <a:lnTo>
                        <a:pt x="114" y="27"/>
                      </a:lnTo>
                      <a:lnTo>
                        <a:pt x="99" y="30"/>
                      </a:lnTo>
                      <a:lnTo>
                        <a:pt x="95" y="30"/>
                      </a:lnTo>
                      <a:lnTo>
                        <a:pt x="92" y="30"/>
                      </a:lnTo>
                      <a:lnTo>
                        <a:pt x="89" y="27"/>
                      </a:lnTo>
                      <a:lnTo>
                        <a:pt x="89" y="24"/>
                      </a:lnTo>
                      <a:lnTo>
                        <a:pt x="89" y="22"/>
                      </a:lnTo>
                      <a:lnTo>
                        <a:pt x="88" y="19"/>
                      </a:lnTo>
                      <a:lnTo>
                        <a:pt x="85" y="16"/>
                      </a:lnTo>
                      <a:lnTo>
                        <a:pt x="81" y="14"/>
                      </a:lnTo>
                      <a:lnTo>
                        <a:pt x="78" y="13"/>
                      </a:lnTo>
                      <a:lnTo>
                        <a:pt x="74" y="11"/>
                      </a:lnTo>
                      <a:lnTo>
                        <a:pt x="68" y="11"/>
                      </a:lnTo>
                      <a:lnTo>
                        <a:pt x="65" y="11"/>
                      </a:lnTo>
                      <a:lnTo>
                        <a:pt x="63" y="9"/>
                      </a:lnTo>
                      <a:lnTo>
                        <a:pt x="62" y="1"/>
                      </a:lnTo>
                      <a:lnTo>
                        <a:pt x="61" y="0"/>
                      </a:lnTo>
                      <a:lnTo>
                        <a:pt x="56" y="1"/>
                      </a:lnTo>
                      <a:lnTo>
                        <a:pt x="56" y="1"/>
                      </a:lnTo>
                      <a:lnTo>
                        <a:pt x="55" y="3"/>
                      </a:lnTo>
                      <a:lnTo>
                        <a:pt x="55" y="4"/>
                      </a:lnTo>
                      <a:lnTo>
                        <a:pt x="55" y="6"/>
                      </a:lnTo>
                      <a:lnTo>
                        <a:pt x="55" y="7"/>
                      </a:lnTo>
                      <a:lnTo>
                        <a:pt x="56" y="9"/>
                      </a:lnTo>
                      <a:lnTo>
                        <a:pt x="56" y="9"/>
                      </a:lnTo>
                      <a:lnTo>
                        <a:pt x="58" y="9"/>
                      </a:lnTo>
                      <a:lnTo>
                        <a:pt x="59" y="9"/>
                      </a:lnTo>
                      <a:lnTo>
                        <a:pt x="61" y="9"/>
                      </a:lnTo>
                      <a:lnTo>
                        <a:pt x="62" y="9"/>
                      </a:lnTo>
                      <a:lnTo>
                        <a:pt x="63" y="10"/>
                      </a:lnTo>
                      <a:lnTo>
                        <a:pt x="63" y="13"/>
                      </a:lnTo>
                      <a:lnTo>
                        <a:pt x="62" y="13"/>
                      </a:lnTo>
                      <a:lnTo>
                        <a:pt x="61" y="11"/>
                      </a:lnTo>
                      <a:lnTo>
                        <a:pt x="59" y="11"/>
                      </a:lnTo>
                      <a:lnTo>
                        <a:pt x="58" y="11"/>
                      </a:lnTo>
                      <a:lnTo>
                        <a:pt x="58" y="13"/>
                      </a:lnTo>
                      <a:lnTo>
                        <a:pt x="56" y="13"/>
                      </a:lnTo>
                      <a:lnTo>
                        <a:pt x="55" y="14"/>
                      </a:lnTo>
                      <a:lnTo>
                        <a:pt x="53" y="16"/>
                      </a:lnTo>
                      <a:lnTo>
                        <a:pt x="46" y="17"/>
                      </a:lnTo>
                      <a:lnTo>
                        <a:pt x="41" y="19"/>
                      </a:lnTo>
                      <a:lnTo>
                        <a:pt x="35" y="22"/>
                      </a:lnTo>
                      <a:lnTo>
                        <a:pt x="33" y="22"/>
                      </a:lnTo>
                      <a:lnTo>
                        <a:pt x="33" y="23"/>
                      </a:lnTo>
                      <a:lnTo>
                        <a:pt x="33" y="26"/>
                      </a:lnTo>
                      <a:lnTo>
                        <a:pt x="33" y="27"/>
                      </a:lnTo>
                      <a:lnTo>
                        <a:pt x="33" y="29"/>
                      </a:lnTo>
                      <a:lnTo>
                        <a:pt x="33" y="30"/>
                      </a:lnTo>
                      <a:lnTo>
                        <a:pt x="35" y="32"/>
                      </a:lnTo>
                      <a:lnTo>
                        <a:pt x="35" y="33"/>
                      </a:lnTo>
                      <a:lnTo>
                        <a:pt x="39" y="39"/>
                      </a:lnTo>
                      <a:lnTo>
                        <a:pt x="41" y="42"/>
                      </a:lnTo>
                      <a:lnTo>
                        <a:pt x="41" y="45"/>
                      </a:lnTo>
                      <a:lnTo>
                        <a:pt x="41" y="47"/>
                      </a:lnTo>
                      <a:lnTo>
                        <a:pt x="39" y="52"/>
                      </a:lnTo>
                      <a:lnTo>
                        <a:pt x="36" y="55"/>
                      </a:lnTo>
                      <a:lnTo>
                        <a:pt x="33" y="56"/>
                      </a:lnTo>
                      <a:lnTo>
                        <a:pt x="32" y="56"/>
                      </a:lnTo>
                      <a:lnTo>
                        <a:pt x="30" y="55"/>
                      </a:lnTo>
                      <a:lnTo>
                        <a:pt x="29" y="55"/>
                      </a:lnTo>
                      <a:lnTo>
                        <a:pt x="29" y="53"/>
                      </a:lnTo>
                      <a:lnTo>
                        <a:pt x="29" y="52"/>
                      </a:lnTo>
                      <a:lnTo>
                        <a:pt x="28" y="50"/>
                      </a:lnTo>
                      <a:lnTo>
                        <a:pt x="28" y="50"/>
                      </a:lnTo>
                      <a:lnTo>
                        <a:pt x="28" y="49"/>
                      </a:lnTo>
                      <a:lnTo>
                        <a:pt x="26" y="49"/>
                      </a:lnTo>
                      <a:lnTo>
                        <a:pt x="26" y="47"/>
                      </a:lnTo>
                      <a:lnTo>
                        <a:pt x="23" y="45"/>
                      </a:lnTo>
                      <a:lnTo>
                        <a:pt x="23" y="42"/>
                      </a:lnTo>
                      <a:lnTo>
                        <a:pt x="25" y="39"/>
                      </a:lnTo>
                      <a:lnTo>
                        <a:pt x="28" y="34"/>
                      </a:lnTo>
                      <a:lnTo>
                        <a:pt x="29" y="32"/>
                      </a:lnTo>
                      <a:lnTo>
                        <a:pt x="30" y="30"/>
                      </a:lnTo>
                      <a:lnTo>
                        <a:pt x="32" y="27"/>
                      </a:lnTo>
                      <a:lnTo>
                        <a:pt x="30" y="26"/>
                      </a:lnTo>
                      <a:lnTo>
                        <a:pt x="29" y="23"/>
                      </a:lnTo>
                      <a:lnTo>
                        <a:pt x="29" y="22"/>
                      </a:lnTo>
                      <a:lnTo>
                        <a:pt x="29" y="22"/>
                      </a:lnTo>
                      <a:lnTo>
                        <a:pt x="30" y="20"/>
                      </a:lnTo>
                      <a:lnTo>
                        <a:pt x="29" y="19"/>
                      </a:lnTo>
                      <a:lnTo>
                        <a:pt x="26" y="16"/>
                      </a:lnTo>
                      <a:lnTo>
                        <a:pt x="25" y="13"/>
                      </a:lnTo>
                      <a:lnTo>
                        <a:pt x="26" y="10"/>
                      </a:lnTo>
                      <a:lnTo>
                        <a:pt x="28" y="9"/>
                      </a:lnTo>
                      <a:lnTo>
                        <a:pt x="35" y="7"/>
                      </a:lnTo>
                      <a:lnTo>
                        <a:pt x="36" y="6"/>
                      </a:lnTo>
                      <a:lnTo>
                        <a:pt x="33" y="6"/>
                      </a:lnTo>
                      <a:lnTo>
                        <a:pt x="28" y="9"/>
                      </a:lnTo>
                      <a:close/>
                      <a:moveTo>
                        <a:pt x="160" y="22"/>
                      </a:moveTo>
                      <a:lnTo>
                        <a:pt x="158" y="22"/>
                      </a:lnTo>
                      <a:lnTo>
                        <a:pt x="160" y="20"/>
                      </a:lnTo>
                      <a:lnTo>
                        <a:pt x="161" y="20"/>
                      </a:lnTo>
                      <a:lnTo>
                        <a:pt x="163" y="20"/>
                      </a:lnTo>
                      <a:lnTo>
                        <a:pt x="164" y="20"/>
                      </a:lnTo>
                      <a:lnTo>
                        <a:pt x="165" y="20"/>
                      </a:lnTo>
                      <a:lnTo>
                        <a:pt x="167" y="19"/>
                      </a:lnTo>
                      <a:lnTo>
                        <a:pt x="168" y="19"/>
                      </a:lnTo>
                      <a:lnTo>
                        <a:pt x="168" y="22"/>
                      </a:lnTo>
                      <a:lnTo>
                        <a:pt x="167" y="22"/>
                      </a:lnTo>
                      <a:lnTo>
                        <a:pt x="167" y="23"/>
                      </a:lnTo>
                      <a:lnTo>
                        <a:pt x="165" y="23"/>
                      </a:lnTo>
                      <a:lnTo>
                        <a:pt x="164" y="23"/>
                      </a:lnTo>
                      <a:lnTo>
                        <a:pt x="163" y="23"/>
                      </a:lnTo>
                      <a:lnTo>
                        <a:pt x="160" y="22"/>
                      </a:lnTo>
                      <a:close/>
                      <a:moveTo>
                        <a:pt x="141" y="23"/>
                      </a:moveTo>
                      <a:lnTo>
                        <a:pt x="140" y="22"/>
                      </a:lnTo>
                      <a:lnTo>
                        <a:pt x="141" y="22"/>
                      </a:lnTo>
                      <a:lnTo>
                        <a:pt x="142" y="22"/>
                      </a:lnTo>
                      <a:lnTo>
                        <a:pt x="142" y="22"/>
                      </a:lnTo>
                      <a:lnTo>
                        <a:pt x="144" y="23"/>
                      </a:lnTo>
                      <a:lnTo>
                        <a:pt x="142" y="23"/>
                      </a:lnTo>
                      <a:lnTo>
                        <a:pt x="142" y="23"/>
                      </a:lnTo>
                      <a:lnTo>
                        <a:pt x="141" y="2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59" name="Freeform 252">
                  <a:extLst>
                    <a:ext uri="{FF2B5EF4-FFF2-40B4-BE49-F238E27FC236}">
                      <a16:creationId xmlns:a16="http://schemas.microsoft.com/office/drawing/2014/main" id="{2BE6FA82-D961-CD4C-C911-DB2FB67BA9C8}"/>
                    </a:ext>
                  </a:extLst>
                </p:cNvPr>
                <p:cNvSpPr>
                  <a:spLocks noEditPoints="1"/>
                </p:cNvSpPr>
                <p:nvPr/>
              </p:nvSpPr>
              <p:spPr bwMode="auto">
                <a:xfrm>
                  <a:off x="2158" y="2498"/>
                  <a:ext cx="214" cy="294"/>
                </a:xfrm>
                <a:custGeom>
                  <a:avLst/>
                  <a:gdLst>
                    <a:gd name="T0" fmla="*/ 3 w 214"/>
                    <a:gd name="T1" fmla="*/ 188 h 294"/>
                    <a:gd name="T2" fmla="*/ 10 w 214"/>
                    <a:gd name="T3" fmla="*/ 176 h 294"/>
                    <a:gd name="T4" fmla="*/ 23 w 214"/>
                    <a:gd name="T5" fmla="*/ 168 h 294"/>
                    <a:gd name="T6" fmla="*/ 29 w 214"/>
                    <a:gd name="T7" fmla="*/ 162 h 294"/>
                    <a:gd name="T8" fmla="*/ 29 w 214"/>
                    <a:gd name="T9" fmla="*/ 149 h 294"/>
                    <a:gd name="T10" fmla="*/ 29 w 214"/>
                    <a:gd name="T11" fmla="*/ 141 h 294"/>
                    <a:gd name="T12" fmla="*/ 29 w 214"/>
                    <a:gd name="T13" fmla="*/ 120 h 294"/>
                    <a:gd name="T14" fmla="*/ 29 w 214"/>
                    <a:gd name="T15" fmla="*/ 107 h 294"/>
                    <a:gd name="T16" fmla="*/ 20 w 214"/>
                    <a:gd name="T17" fmla="*/ 92 h 294"/>
                    <a:gd name="T18" fmla="*/ 32 w 214"/>
                    <a:gd name="T19" fmla="*/ 79 h 294"/>
                    <a:gd name="T20" fmla="*/ 29 w 214"/>
                    <a:gd name="T21" fmla="*/ 67 h 294"/>
                    <a:gd name="T22" fmla="*/ 38 w 214"/>
                    <a:gd name="T23" fmla="*/ 79 h 294"/>
                    <a:gd name="T24" fmla="*/ 38 w 214"/>
                    <a:gd name="T25" fmla="*/ 67 h 294"/>
                    <a:gd name="T26" fmla="*/ 55 w 214"/>
                    <a:gd name="T27" fmla="*/ 53 h 294"/>
                    <a:gd name="T28" fmla="*/ 59 w 214"/>
                    <a:gd name="T29" fmla="*/ 49 h 294"/>
                    <a:gd name="T30" fmla="*/ 65 w 214"/>
                    <a:gd name="T31" fmla="*/ 31 h 294"/>
                    <a:gd name="T32" fmla="*/ 81 w 214"/>
                    <a:gd name="T33" fmla="*/ 26 h 294"/>
                    <a:gd name="T34" fmla="*/ 89 w 214"/>
                    <a:gd name="T35" fmla="*/ 18 h 294"/>
                    <a:gd name="T36" fmla="*/ 119 w 214"/>
                    <a:gd name="T37" fmla="*/ 7 h 294"/>
                    <a:gd name="T38" fmla="*/ 137 w 214"/>
                    <a:gd name="T39" fmla="*/ 1 h 294"/>
                    <a:gd name="T40" fmla="*/ 124 w 214"/>
                    <a:gd name="T41" fmla="*/ 14 h 294"/>
                    <a:gd name="T42" fmla="*/ 109 w 214"/>
                    <a:gd name="T43" fmla="*/ 31 h 294"/>
                    <a:gd name="T44" fmla="*/ 105 w 214"/>
                    <a:gd name="T45" fmla="*/ 56 h 294"/>
                    <a:gd name="T46" fmla="*/ 115 w 214"/>
                    <a:gd name="T47" fmla="*/ 70 h 294"/>
                    <a:gd name="T48" fmla="*/ 117 w 214"/>
                    <a:gd name="T49" fmla="*/ 89 h 294"/>
                    <a:gd name="T50" fmla="*/ 127 w 214"/>
                    <a:gd name="T51" fmla="*/ 96 h 294"/>
                    <a:gd name="T52" fmla="*/ 145 w 214"/>
                    <a:gd name="T53" fmla="*/ 95 h 294"/>
                    <a:gd name="T54" fmla="*/ 157 w 214"/>
                    <a:gd name="T55" fmla="*/ 97 h 294"/>
                    <a:gd name="T56" fmla="*/ 177 w 214"/>
                    <a:gd name="T57" fmla="*/ 110 h 294"/>
                    <a:gd name="T58" fmla="*/ 203 w 214"/>
                    <a:gd name="T59" fmla="*/ 110 h 294"/>
                    <a:gd name="T60" fmla="*/ 198 w 214"/>
                    <a:gd name="T61" fmla="*/ 148 h 294"/>
                    <a:gd name="T62" fmla="*/ 198 w 214"/>
                    <a:gd name="T63" fmla="*/ 168 h 294"/>
                    <a:gd name="T64" fmla="*/ 207 w 214"/>
                    <a:gd name="T65" fmla="*/ 176 h 294"/>
                    <a:gd name="T66" fmla="*/ 214 w 214"/>
                    <a:gd name="T67" fmla="*/ 198 h 294"/>
                    <a:gd name="T68" fmla="*/ 204 w 214"/>
                    <a:gd name="T69" fmla="*/ 184 h 294"/>
                    <a:gd name="T70" fmla="*/ 191 w 214"/>
                    <a:gd name="T71" fmla="*/ 186 h 294"/>
                    <a:gd name="T72" fmla="*/ 168 w 214"/>
                    <a:gd name="T73" fmla="*/ 189 h 294"/>
                    <a:gd name="T74" fmla="*/ 165 w 214"/>
                    <a:gd name="T75" fmla="*/ 201 h 294"/>
                    <a:gd name="T76" fmla="*/ 173 w 214"/>
                    <a:gd name="T77" fmla="*/ 208 h 294"/>
                    <a:gd name="T78" fmla="*/ 158 w 214"/>
                    <a:gd name="T79" fmla="*/ 209 h 294"/>
                    <a:gd name="T80" fmla="*/ 160 w 214"/>
                    <a:gd name="T81" fmla="*/ 225 h 294"/>
                    <a:gd name="T82" fmla="*/ 165 w 214"/>
                    <a:gd name="T83" fmla="*/ 234 h 294"/>
                    <a:gd name="T84" fmla="*/ 157 w 214"/>
                    <a:gd name="T85" fmla="*/ 290 h 294"/>
                    <a:gd name="T86" fmla="*/ 145 w 214"/>
                    <a:gd name="T87" fmla="*/ 286 h 294"/>
                    <a:gd name="T88" fmla="*/ 142 w 214"/>
                    <a:gd name="T89" fmla="*/ 258 h 294"/>
                    <a:gd name="T90" fmla="*/ 131 w 214"/>
                    <a:gd name="T91" fmla="*/ 258 h 294"/>
                    <a:gd name="T92" fmla="*/ 118 w 214"/>
                    <a:gd name="T93" fmla="*/ 261 h 294"/>
                    <a:gd name="T94" fmla="*/ 102 w 214"/>
                    <a:gd name="T95" fmla="*/ 253 h 294"/>
                    <a:gd name="T96" fmla="*/ 94 w 214"/>
                    <a:gd name="T97" fmla="*/ 241 h 294"/>
                    <a:gd name="T98" fmla="*/ 81 w 214"/>
                    <a:gd name="T99" fmla="*/ 228 h 294"/>
                    <a:gd name="T100" fmla="*/ 55 w 214"/>
                    <a:gd name="T101" fmla="*/ 217 h 294"/>
                    <a:gd name="T102" fmla="*/ 46 w 214"/>
                    <a:gd name="T103" fmla="*/ 215 h 294"/>
                    <a:gd name="T104" fmla="*/ 30 w 214"/>
                    <a:gd name="T105" fmla="*/ 214 h 294"/>
                    <a:gd name="T106" fmla="*/ 22 w 214"/>
                    <a:gd name="T107" fmla="*/ 205 h 294"/>
                    <a:gd name="T108" fmla="*/ 15 w 214"/>
                    <a:gd name="T109" fmla="*/ 17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4" h="294">
                      <a:moveTo>
                        <a:pt x="12" y="201"/>
                      </a:moveTo>
                      <a:lnTo>
                        <a:pt x="3" y="194"/>
                      </a:lnTo>
                      <a:lnTo>
                        <a:pt x="2" y="192"/>
                      </a:lnTo>
                      <a:lnTo>
                        <a:pt x="0" y="192"/>
                      </a:lnTo>
                      <a:lnTo>
                        <a:pt x="0" y="191"/>
                      </a:lnTo>
                      <a:lnTo>
                        <a:pt x="2" y="189"/>
                      </a:lnTo>
                      <a:lnTo>
                        <a:pt x="3" y="188"/>
                      </a:lnTo>
                      <a:lnTo>
                        <a:pt x="5" y="188"/>
                      </a:lnTo>
                      <a:lnTo>
                        <a:pt x="6" y="188"/>
                      </a:lnTo>
                      <a:lnTo>
                        <a:pt x="7" y="188"/>
                      </a:lnTo>
                      <a:lnTo>
                        <a:pt x="9" y="185"/>
                      </a:lnTo>
                      <a:lnTo>
                        <a:pt x="7" y="181"/>
                      </a:lnTo>
                      <a:lnTo>
                        <a:pt x="7" y="178"/>
                      </a:lnTo>
                      <a:lnTo>
                        <a:pt x="10" y="176"/>
                      </a:lnTo>
                      <a:lnTo>
                        <a:pt x="12" y="176"/>
                      </a:lnTo>
                      <a:lnTo>
                        <a:pt x="16" y="175"/>
                      </a:lnTo>
                      <a:lnTo>
                        <a:pt x="17" y="175"/>
                      </a:lnTo>
                      <a:lnTo>
                        <a:pt x="17" y="175"/>
                      </a:lnTo>
                      <a:lnTo>
                        <a:pt x="20" y="172"/>
                      </a:lnTo>
                      <a:lnTo>
                        <a:pt x="23" y="169"/>
                      </a:lnTo>
                      <a:lnTo>
                        <a:pt x="23" y="168"/>
                      </a:lnTo>
                      <a:lnTo>
                        <a:pt x="23" y="168"/>
                      </a:lnTo>
                      <a:lnTo>
                        <a:pt x="23" y="166"/>
                      </a:lnTo>
                      <a:lnTo>
                        <a:pt x="23" y="166"/>
                      </a:lnTo>
                      <a:lnTo>
                        <a:pt x="23" y="166"/>
                      </a:lnTo>
                      <a:lnTo>
                        <a:pt x="26" y="165"/>
                      </a:lnTo>
                      <a:lnTo>
                        <a:pt x="26" y="165"/>
                      </a:lnTo>
                      <a:lnTo>
                        <a:pt x="29" y="162"/>
                      </a:lnTo>
                      <a:lnTo>
                        <a:pt x="35" y="151"/>
                      </a:lnTo>
                      <a:lnTo>
                        <a:pt x="32" y="152"/>
                      </a:lnTo>
                      <a:lnTo>
                        <a:pt x="32" y="151"/>
                      </a:lnTo>
                      <a:lnTo>
                        <a:pt x="30" y="149"/>
                      </a:lnTo>
                      <a:lnTo>
                        <a:pt x="30" y="148"/>
                      </a:lnTo>
                      <a:lnTo>
                        <a:pt x="30" y="149"/>
                      </a:lnTo>
                      <a:lnTo>
                        <a:pt x="29" y="149"/>
                      </a:lnTo>
                      <a:lnTo>
                        <a:pt x="29" y="151"/>
                      </a:lnTo>
                      <a:lnTo>
                        <a:pt x="29" y="149"/>
                      </a:lnTo>
                      <a:lnTo>
                        <a:pt x="27" y="148"/>
                      </a:lnTo>
                      <a:lnTo>
                        <a:pt x="27" y="146"/>
                      </a:lnTo>
                      <a:lnTo>
                        <a:pt x="29" y="145"/>
                      </a:lnTo>
                      <a:lnTo>
                        <a:pt x="26" y="145"/>
                      </a:lnTo>
                      <a:lnTo>
                        <a:pt x="29" y="141"/>
                      </a:lnTo>
                      <a:lnTo>
                        <a:pt x="30" y="139"/>
                      </a:lnTo>
                      <a:lnTo>
                        <a:pt x="30" y="136"/>
                      </a:lnTo>
                      <a:lnTo>
                        <a:pt x="29" y="128"/>
                      </a:lnTo>
                      <a:lnTo>
                        <a:pt x="29" y="125"/>
                      </a:lnTo>
                      <a:lnTo>
                        <a:pt x="26" y="122"/>
                      </a:lnTo>
                      <a:lnTo>
                        <a:pt x="27" y="120"/>
                      </a:lnTo>
                      <a:lnTo>
                        <a:pt x="29" y="120"/>
                      </a:lnTo>
                      <a:lnTo>
                        <a:pt x="30" y="119"/>
                      </a:lnTo>
                      <a:lnTo>
                        <a:pt x="30" y="116"/>
                      </a:lnTo>
                      <a:lnTo>
                        <a:pt x="30" y="115"/>
                      </a:lnTo>
                      <a:lnTo>
                        <a:pt x="27" y="110"/>
                      </a:lnTo>
                      <a:lnTo>
                        <a:pt x="27" y="109"/>
                      </a:lnTo>
                      <a:lnTo>
                        <a:pt x="29" y="109"/>
                      </a:lnTo>
                      <a:lnTo>
                        <a:pt x="29" y="107"/>
                      </a:lnTo>
                      <a:lnTo>
                        <a:pt x="29" y="107"/>
                      </a:lnTo>
                      <a:lnTo>
                        <a:pt x="29" y="106"/>
                      </a:lnTo>
                      <a:lnTo>
                        <a:pt x="29" y="105"/>
                      </a:lnTo>
                      <a:lnTo>
                        <a:pt x="29" y="103"/>
                      </a:lnTo>
                      <a:lnTo>
                        <a:pt x="26" y="102"/>
                      </a:lnTo>
                      <a:lnTo>
                        <a:pt x="22" y="95"/>
                      </a:lnTo>
                      <a:lnTo>
                        <a:pt x="20" y="92"/>
                      </a:lnTo>
                      <a:lnTo>
                        <a:pt x="22" y="84"/>
                      </a:lnTo>
                      <a:lnTo>
                        <a:pt x="22" y="83"/>
                      </a:lnTo>
                      <a:lnTo>
                        <a:pt x="25" y="84"/>
                      </a:lnTo>
                      <a:lnTo>
                        <a:pt x="25" y="86"/>
                      </a:lnTo>
                      <a:lnTo>
                        <a:pt x="26" y="86"/>
                      </a:lnTo>
                      <a:lnTo>
                        <a:pt x="29" y="84"/>
                      </a:lnTo>
                      <a:lnTo>
                        <a:pt x="32" y="79"/>
                      </a:lnTo>
                      <a:lnTo>
                        <a:pt x="32" y="79"/>
                      </a:lnTo>
                      <a:lnTo>
                        <a:pt x="32" y="77"/>
                      </a:lnTo>
                      <a:lnTo>
                        <a:pt x="32" y="76"/>
                      </a:lnTo>
                      <a:lnTo>
                        <a:pt x="30" y="74"/>
                      </a:lnTo>
                      <a:lnTo>
                        <a:pt x="29" y="72"/>
                      </a:lnTo>
                      <a:lnTo>
                        <a:pt x="27" y="69"/>
                      </a:lnTo>
                      <a:lnTo>
                        <a:pt x="29" y="67"/>
                      </a:lnTo>
                      <a:lnTo>
                        <a:pt x="30" y="69"/>
                      </a:lnTo>
                      <a:lnTo>
                        <a:pt x="38" y="76"/>
                      </a:lnTo>
                      <a:lnTo>
                        <a:pt x="38" y="77"/>
                      </a:lnTo>
                      <a:lnTo>
                        <a:pt x="38" y="77"/>
                      </a:lnTo>
                      <a:lnTo>
                        <a:pt x="38" y="77"/>
                      </a:lnTo>
                      <a:lnTo>
                        <a:pt x="38" y="79"/>
                      </a:lnTo>
                      <a:lnTo>
                        <a:pt x="38" y="79"/>
                      </a:lnTo>
                      <a:lnTo>
                        <a:pt x="39" y="80"/>
                      </a:lnTo>
                      <a:lnTo>
                        <a:pt x="39" y="79"/>
                      </a:lnTo>
                      <a:lnTo>
                        <a:pt x="40" y="77"/>
                      </a:lnTo>
                      <a:lnTo>
                        <a:pt x="40" y="74"/>
                      </a:lnTo>
                      <a:lnTo>
                        <a:pt x="39" y="73"/>
                      </a:lnTo>
                      <a:lnTo>
                        <a:pt x="38" y="69"/>
                      </a:lnTo>
                      <a:lnTo>
                        <a:pt x="38" y="67"/>
                      </a:lnTo>
                      <a:lnTo>
                        <a:pt x="39" y="66"/>
                      </a:lnTo>
                      <a:lnTo>
                        <a:pt x="46" y="63"/>
                      </a:lnTo>
                      <a:lnTo>
                        <a:pt x="48" y="61"/>
                      </a:lnTo>
                      <a:lnTo>
                        <a:pt x="49" y="59"/>
                      </a:lnTo>
                      <a:lnTo>
                        <a:pt x="50" y="56"/>
                      </a:lnTo>
                      <a:lnTo>
                        <a:pt x="52" y="54"/>
                      </a:lnTo>
                      <a:lnTo>
                        <a:pt x="55" y="53"/>
                      </a:lnTo>
                      <a:lnTo>
                        <a:pt x="56" y="53"/>
                      </a:lnTo>
                      <a:lnTo>
                        <a:pt x="58" y="53"/>
                      </a:lnTo>
                      <a:lnTo>
                        <a:pt x="59" y="53"/>
                      </a:lnTo>
                      <a:lnTo>
                        <a:pt x="59" y="53"/>
                      </a:lnTo>
                      <a:lnTo>
                        <a:pt x="61" y="51"/>
                      </a:lnTo>
                      <a:lnTo>
                        <a:pt x="59" y="50"/>
                      </a:lnTo>
                      <a:lnTo>
                        <a:pt x="59" y="49"/>
                      </a:lnTo>
                      <a:lnTo>
                        <a:pt x="59" y="47"/>
                      </a:lnTo>
                      <a:lnTo>
                        <a:pt x="59" y="46"/>
                      </a:lnTo>
                      <a:lnTo>
                        <a:pt x="61" y="38"/>
                      </a:lnTo>
                      <a:lnTo>
                        <a:pt x="61" y="38"/>
                      </a:lnTo>
                      <a:lnTo>
                        <a:pt x="59" y="40"/>
                      </a:lnTo>
                      <a:lnTo>
                        <a:pt x="58" y="40"/>
                      </a:lnTo>
                      <a:lnTo>
                        <a:pt x="65" y="31"/>
                      </a:lnTo>
                      <a:lnTo>
                        <a:pt x="71" y="26"/>
                      </a:lnTo>
                      <a:lnTo>
                        <a:pt x="72" y="24"/>
                      </a:lnTo>
                      <a:lnTo>
                        <a:pt x="73" y="23"/>
                      </a:lnTo>
                      <a:lnTo>
                        <a:pt x="75" y="23"/>
                      </a:lnTo>
                      <a:lnTo>
                        <a:pt x="81" y="24"/>
                      </a:lnTo>
                      <a:lnTo>
                        <a:pt x="82" y="26"/>
                      </a:lnTo>
                      <a:lnTo>
                        <a:pt x="81" y="26"/>
                      </a:lnTo>
                      <a:lnTo>
                        <a:pt x="79" y="27"/>
                      </a:lnTo>
                      <a:lnTo>
                        <a:pt x="81" y="28"/>
                      </a:lnTo>
                      <a:lnTo>
                        <a:pt x="82" y="28"/>
                      </a:lnTo>
                      <a:lnTo>
                        <a:pt x="84" y="27"/>
                      </a:lnTo>
                      <a:lnTo>
                        <a:pt x="85" y="21"/>
                      </a:lnTo>
                      <a:lnTo>
                        <a:pt x="86" y="18"/>
                      </a:lnTo>
                      <a:lnTo>
                        <a:pt x="89" y="18"/>
                      </a:lnTo>
                      <a:lnTo>
                        <a:pt x="95" y="20"/>
                      </a:lnTo>
                      <a:lnTo>
                        <a:pt x="99" y="20"/>
                      </a:lnTo>
                      <a:lnTo>
                        <a:pt x="102" y="18"/>
                      </a:lnTo>
                      <a:lnTo>
                        <a:pt x="111" y="13"/>
                      </a:lnTo>
                      <a:lnTo>
                        <a:pt x="115" y="10"/>
                      </a:lnTo>
                      <a:lnTo>
                        <a:pt x="118" y="10"/>
                      </a:lnTo>
                      <a:lnTo>
                        <a:pt x="119" y="7"/>
                      </a:lnTo>
                      <a:lnTo>
                        <a:pt x="122" y="4"/>
                      </a:lnTo>
                      <a:lnTo>
                        <a:pt x="122" y="3"/>
                      </a:lnTo>
                      <a:lnTo>
                        <a:pt x="125" y="1"/>
                      </a:lnTo>
                      <a:lnTo>
                        <a:pt x="128" y="0"/>
                      </a:lnTo>
                      <a:lnTo>
                        <a:pt x="131" y="0"/>
                      </a:lnTo>
                      <a:lnTo>
                        <a:pt x="134" y="0"/>
                      </a:lnTo>
                      <a:lnTo>
                        <a:pt x="137" y="1"/>
                      </a:lnTo>
                      <a:lnTo>
                        <a:pt x="138" y="3"/>
                      </a:lnTo>
                      <a:lnTo>
                        <a:pt x="138" y="5"/>
                      </a:lnTo>
                      <a:lnTo>
                        <a:pt x="137" y="7"/>
                      </a:lnTo>
                      <a:lnTo>
                        <a:pt x="135" y="10"/>
                      </a:lnTo>
                      <a:lnTo>
                        <a:pt x="132" y="10"/>
                      </a:lnTo>
                      <a:lnTo>
                        <a:pt x="127" y="13"/>
                      </a:lnTo>
                      <a:lnTo>
                        <a:pt x="124" y="14"/>
                      </a:lnTo>
                      <a:lnTo>
                        <a:pt x="122" y="15"/>
                      </a:lnTo>
                      <a:lnTo>
                        <a:pt x="121" y="20"/>
                      </a:lnTo>
                      <a:lnTo>
                        <a:pt x="119" y="21"/>
                      </a:lnTo>
                      <a:lnTo>
                        <a:pt x="118" y="21"/>
                      </a:lnTo>
                      <a:lnTo>
                        <a:pt x="115" y="24"/>
                      </a:lnTo>
                      <a:lnTo>
                        <a:pt x="114" y="24"/>
                      </a:lnTo>
                      <a:lnTo>
                        <a:pt x="109" y="31"/>
                      </a:lnTo>
                      <a:lnTo>
                        <a:pt x="105" y="46"/>
                      </a:lnTo>
                      <a:lnTo>
                        <a:pt x="102" y="53"/>
                      </a:lnTo>
                      <a:lnTo>
                        <a:pt x="99" y="56"/>
                      </a:lnTo>
                      <a:lnTo>
                        <a:pt x="101" y="57"/>
                      </a:lnTo>
                      <a:lnTo>
                        <a:pt x="102" y="56"/>
                      </a:lnTo>
                      <a:lnTo>
                        <a:pt x="105" y="56"/>
                      </a:lnTo>
                      <a:lnTo>
                        <a:pt x="105" y="56"/>
                      </a:lnTo>
                      <a:lnTo>
                        <a:pt x="108" y="59"/>
                      </a:lnTo>
                      <a:lnTo>
                        <a:pt x="108" y="59"/>
                      </a:lnTo>
                      <a:lnTo>
                        <a:pt x="109" y="60"/>
                      </a:lnTo>
                      <a:lnTo>
                        <a:pt x="109" y="61"/>
                      </a:lnTo>
                      <a:lnTo>
                        <a:pt x="111" y="64"/>
                      </a:lnTo>
                      <a:lnTo>
                        <a:pt x="112" y="67"/>
                      </a:lnTo>
                      <a:lnTo>
                        <a:pt x="115" y="70"/>
                      </a:lnTo>
                      <a:lnTo>
                        <a:pt x="117" y="73"/>
                      </a:lnTo>
                      <a:lnTo>
                        <a:pt x="117" y="76"/>
                      </a:lnTo>
                      <a:lnTo>
                        <a:pt x="117" y="79"/>
                      </a:lnTo>
                      <a:lnTo>
                        <a:pt x="115" y="82"/>
                      </a:lnTo>
                      <a:lnTo>
                        <a:pt x="115" y="84"/>
                      </a:lnTo>
                      <a:lnTo>
                        <a:pt x="115" y="87"/>
                      </a:lnTo>
                      <a:lnTo>
                        <a:pt x="117" y="89"/>
                      </a:lnTo>
                      <a:lnTo>
                        <a:pt x="119" y="89"/>
                      </a:lnTo>
                      <a:lnTo>
                        <a:pt x="119" y="90"/>
                      </a:lnTo>
                      <a:lnTo>
                        <a:pt x="121" y="92"/>
                      </a:lnTo>
                      <a:lnTo>
                        <a:pt x="122" y="93"/>
                      </a:lnTo>
                      <a:lnTo>
                        <a:pt x="122" y="95"/>
                      </a:lnTo>
                      <a:lnTo>
                        <a:pt x="125" y="96"/>
                      </a:lnTo>
                      <a:lnTo>
                        <a:pt x="127" y="96"/>
                      </a:lnTo>
                      <a:lnTo>
                        <a:pt x="131" y="96"/>
                      </a:lnTo>
                      <a:lnTo>
                        <a:pt x="132" y="96"/>
                      </a:lnTo>
                      <a:lnTo>
                        <a:pt x="137" y="96"/>
                      </a:lnTo>
                      <a:lnTo>
                        <a:pt x="140" y="96"/>
                      </a:lnTo>
                      <a:lnTo>
                        <a:pt x="141" y="96"/>
                      </a:lnTo>
                      <a:lnTo>
                        <a:pt x="144" y="95"/>
                      </a:lnTo>
                      <a:lnTo>
                        <a:pt x="145" y="95"/>
                      </a:lnTo>
                      <a:lnTo>
                        <a:pt x="147" y="95"/>
                      </a:lnTo>
                      <a:lnTo>
                        <a:pt x="148" y="96"/>
                      </a:lnTo>
                      <a:lnTo>
                        <a:pt x="150" y="96"/>
                      </a:lnTo>
                      <a:lnTo>
                        <a:pt x="151" y="96"/>
                      </a:lnTo>
                      <a:lnTo>
                        <a:pt x="152" y="96"/>
                      </a:lnTo>
                      <a:lnTo>
                        <a:pt x="155" y="97"/>
                      </a:lnTo>
                      <a:lnTo>
                        <a:pt x="157" y="97"/>
                      </a:lnTo>
                      <a:lnTo>
                        <a:pt x="158" y="99"/>
                      </a:lnTo>
                      <a:lnTo>
                        <a:pt x="165" y="109"/>
                      </a:lnTo>
                      <a:lnTo>
                        <a:pt x="168" y="110"/>
                      </a:lnTo>
                      <a:lnTo>
                        <a:pt x="171" y="112"/>
                      </a:lnTo>
                      <a:lnTo>
                        <a:pt x="173" y="112"/>
                      </a:lnTo>
                      <a:lnTo>
                        <a:pt x="175" y="110"/>
                      </a:lnTo>
                      <a:lnTo>
                        <a:pt x="177" y="110"/>
                      </a:lnTo>
                      <a:lnTo>
                        <a:pt x="178" y="110"/>
                      </a:lnTo>
                      <a:lnTo>
                        <a:pt x="183" y="110"/>
                      </a:lnTo>
                      <a:lnTo>
                        <a:pt x="184" y="112"/>
                      </a:lnTo>
                      <a:lnTo>
                        <a:pt x="188" y="110"/>
                      </a:lnTo>
                      <a:lnTo>
                        <a:pt x="196" y="109"/>
                      </a:lnTo>
                      <a:lnTo>
                        <a:pt x="198" y="109"/>
                      </a:lnTo>
                      <a:lnTo>
                        <a:pt x="203" y="110"/>
                      </a:lnTo>
                      <a:lnTo>
                        <a:pt x="203" y="112"/>
                      </a:lnTo>
                      <a:lnTo>
                        <a:pt x="203" y="115"/>
                      </a:lnTo>
                      <a:lnTo>
                        <a:pt x="201" y="118"/>
                      </a:lnTo>
                      <a:lnTo>
                        <a:pt x="198" y="125"/>
                      </a:lnTo>
                      <a:lnTo>
                        <a:pt x="197" y="132"/>
                      </a:lnTo>
                      <a:lnTo>
                        <a:pt x="197" y="141"/>
                      </a:lnTo>
                      <a:lnTo>
                        <a:pt x="198" y="148"/>
                      </a:lnTo>
                      <a:lnTo>
                        <a:pt x="200" y="151"/>
                      </a:lnTo>
                      <a:lnTo>
                        <a:pt x="200" y="152"/>
                      </a:lnTo>
                      <a:lnTo>
                        <a:pt x="204" y="158"/>
                      </a:lnTo>
                      <a:lnTo>
                        <a:pt x="206" y="159"/>
                      </a:lnTo>
                      <a:lnTo>
                        <a:pt x="206" y="161"/>
                      </a:lnTo>
                      <a:lnTo>
                        <a:pt x="204" y="164"/>
                      </a:lnTo>
                      <a:lnTo>
                        <a:pt x="198" y="168"/>
                      </a:lnTo>
                      <a:lnTo>
                        <a:pt x="197" y="171"/>
                      </a:lnTo>
                      <a:lnTo>
                        <a:pt x="198" y="169"/>
                      </a:lnTo>
                      <a:lnTo>
                        <a:pt x="200" y="171"/>
                      </a:lnTo>
                      <a:lnTo>
                        <a:pt x="201" y="172"/>
                      </a:lnTo>
                      <a:lnTo>
                        <a:pt x="203" y="174"/>
                      </a:lnTo>
                      <a:lnTo>
                        <a:pt x="206" y="176"/>
                      </a:lnTo>
                      <a:lnTo>
                        <a:pt x="207" y="176"/>
                      </a:lnTo>
                      <a:lnTo>
                        <a:pt x="207" y="178"/>
                      </a:lnTo>
                      <a:lnTo>
                        <a:pt x="207" y="178"/>
                      </a:lnTo>
                      <a:lnTo>
                        <a:pt x="207" y="179"/>
                      </a:lnTo>
                      <a:lnTo>
                        <a:pt x="207" y="179"/>
                      </a:lnTo>
                      <a:lnTo>
                        <a:pt x="211" y="189"/>
                      </a:lnTo>
                      <a:lnTo>
                        <a:pt x="213" y="194"/>
                      </a:lnTo>
                      <a:lnTo>
                        <a:pt x="214" y="198"/>
                      </a:lnTo>
                      <a:lnTo>
                        <a:pt x="210" y="198"/>
                      </a:lnTo>
                      <a:lnTo>
                        <a:pt x="210" y="197"/>
                      </a:lnTo>
                      <a:lnTo>
                        <a:pt x="210" y="192"/>
                      </a:lnTo>
                      <a:lnTo>
                        <a:pt x="210" y="189"/>
                      </a:lnTo>
                      <a:lnTo>
                        <a:pt x="208" y="186"/>
                      </a:lnTo>
                      <a:lnTo>
                        <a:pt x="207" y="185"/>
                      </a:lnTo>
                      <a:lnTo>
                        <a:pt x="204" y="184"/>
                      </a:lnTo>
                      <a:lnTo>
                        <a:pt x="201" y="184"/>
                      </a:lnTo>
                      <a:lnTo>
                        <a:pt x="200" y="185"/>
                      </a:lnTo>
                      <a:lnTo>
                        <a:pt x="198" y="186"/>
                      </a:lnTo>
                      <a:lnTo>
                        <a:pt x="196" y="188"/>
                      </a:lnTo>
                      <a:lnTo>
                        <a:pt x="194" y="188"/>
                      </a:lnTo>
                      <a:lnTo>
                        <a:pt x="193" y="188"/>
                      </a:lnTo>
                      <a:lnTo>
                        <a:pt x="191" y="186"/>
                      </a:lnTo>
                      <a:lnTo>
                        <a:pt x="191" y="185"/>
                      </a:lnTo>
                      <a:lnTo>
                        <a:pt x="190" y="185"/>
                      </a:lnTo>
                      <a:lnTo>
                        <a:pt x="190" y="186"/>
                      </a:lnTo>
                      <a:lnTo>
                        <a:pt x="190" y="186"/>
                      </a:lnTo>
                      <a:lnTo>
                        <a:pt x="190" y="188"/>
                      </a:lnTo>
                      <a:lnTo>
                        <a:pt x="191" y="189"/>
                      </a:lnTo>
                      <a:lnTo>
                        <a:pt x="168" y="189"/>
                      </a:lnTo>
                      <a:lnTo>
                        <a:pt x="165" y="188"/>
                      </a:lnTo>
                      <a:lnTo>
                        <a:pt x="164" y="189"/>
                      </a:lnTo>
                      <a:lnTo>
                        <a:pt x="162" y="189"/>
                      </a:lnTo>
                      <a:lnTo>
                        <a:pt x="161" y="192"/>
                      </a:lnTo>
                      <a:lnTo>
                        <a:pt x="161" y="195"/>
                      </a:lnTo>
                      <a:lnTo>
                        <a:pt x="161" y="201"/>
                      </a:lnTo>
                      <a:lnTo>
                        <a:pt x="165" y="201"/>
                      </a:lnTo>
                      <a:lnTo>
                        <a:pt x="168" y="201"/>
                      </a:lnTo>
                      <a:lnTo>
                        <a:pt x="170" y="201"/>
                      </a:lnTo>
                      <a:lnTo>
                        <a:pt x="171" y="202"/>
                      </a:lnTo>
                      <a:lnTo>
                        <a:pt x="173" y="204"/>
                      </a:lnTo>
                      <a:lnTo>
                        <a:pt x="174" y="207"/>
                      </a:lnTo>
                      <a:lnTo>
                        <a:pt x="174" y="208"/>
                      </a:lnTo>
                      <a:lnTo>
                        <a:pt x="173" y="208"/>
                      </a:lnTo>
                      <a:lnTo>
                        <a:pt x="170" y="208"/>
                      </a:lnTo>
                      <a:lnTo>
                        <a:pt x="168" y="208"/>
                      </a:lnTo>
                      <a:lnTo>
                        <a:pt x="167" y="207"/>
                      </a:lnTo>
                      <a:lnTo>
                        <a:pt x="165" y="207"/>
                      </a:lnTo>
                      <a:lnTo>
                        <a:pt x="161" y="208"/>
                      </a:lnTo>
                      <a:lnTo>
                        <a:pt x="158" y="209"/>
                      </a:lnTo>
                      <a:lnTo>
                        <a:pt x="158" y="209"/>
                      </a:lnTo>
                      <a:lnTo>
                        <a:pt x="158" y="211"/>
                      </a:lnTo>
                      <a:lnTo>
                        <a:pt x="157" y="212"/>
                      </a:lnTo>
                      <a:lnTo>
                        <a:pt x="158" y="215"/>
                      </a:lnTo>
                      <a:lnTo>
                        <a:pt x="157" y="220"/>
                      </a:lnTo>
                      <a:lnTo>
                        <a:pt x="157" y="221"/>
                      </a:lnTo>
                      <a:lnTo>
                        <a:pt x="158" y="224"/>
                      </a:lnTo>
                      <a:lnTo>
                        <a:pt x="160" y="225"/>
                      </a:lnTo>
                      <a:lnTo>
                        <a:pt x="164" y="227"/>
                      </a:lnTo>
                      <a:lnTo>
                        <a:pt x="165" y="228"/>
                      </a:lnTo>
                      <a:lnTo>
                        <a:pt x="165" y="230"/>
                      </a:lnTo>
                      <a:lnTo>
                        <a:pt x="165" y="230"/>
                      </a:lnTo>
                      <a:lnTo>
                        <a:pt x="165" y="231"/>
                      </a:lnTo>
                      <a:lnTo>
                        <a:pt x="165" y="232"/>
                      </a:lnTo>
                      <a:lnTo>
                        <a:pt x="165" y="234"/>
                      </a:lnTo>
                      <a:lnTo>
                        <a:pt x="168" y="237"/>
                      </a:lnTo>
                      <a:lnTo>
                        <a:pt x="168" y="238"/>
                      </a:lnTo>
                      <a:lnTo>
                        <a:pt x="168" y="241"/>
                      </a:lnTo>
                      <a:lnTo>
                        <a:pt x="168" y="244"/>
                      </a:lnTo>
                      <a:lnTo>
                        <a:pt x="162" y="284"/>
                      </a:lnTo>
                      <a:lnTo>
                        <a:pt x="160" y="294"/>
                      </a:lnTo>
                      <a:lnTo>
                        <a:pt x="157" y="290"/>
                      </a:lnTo>
                      <a:lnTo>
                        <a:pt x="154" y="289"/>
                      </a:lnTo>
                      <a:lnTo>
                        <a:pt x="152" y="287"/>
                      </a:lnTo>
                      <a:lnTo>
                        <a:pt x="152" y="287"/>
                      </a:lnTo>
                      <a:lnTo>
                        <a:pt x="151" y="287"/>
                      </a:lnTo>
                      <a:lnTo>
                        <a:pt x="150" y="287"/>
                      </a:lnTo>
                      <a:lnTo>
                        <a:pt x="150" y="287"/>
                      </a:lnTo>
                      <a:lnTo>
                        <a:pt x="145" y="286"/>
                      </a:lnTo>
                      <a:lnTo>
                        <a:pt x="155" y="273"/>
                      </a:lnTo>
                      <a:lnTo>
                        <a:pt x="157" y="268"/>
                      </a:lnTo>
                      <a:lnTo>
                        <a:pt x="157" y="267"/>
                      </a:lnTo>
                      <a:lnTo>
                        <a:pt x="154" y="264"/>
                      </a:lnTo>
                      <a:lnTo>
                        <a:pt x="148" y="263"/>
                      </a:lnTo>
                      <a:lnTo>
                        <a:pt x="145" y="260"/>
                      </a:lnTo>
                      <a:lnTo>
                        <a:pt x="142" y="258"/>
                      </a:lnTo>
                      <a:lnTo>
                        <a:pt x="141" y="258"/>
                      </a:lnTo>
                      <a:lnTo>
                        <a:pt x="140" y="258"/>
                      </a:lnTo>
                      <a:lnTo>
                        <a:pt x="138" y="260"/>
                      </a:lnTo>
                      <a:lnTo>
                        <a:pt x="135" y="260"/>
                      </a:lnTo>
                      <a:lnTo>
                        <a:pt x="134" y="260"/>
                      </a:lnTo>
                      <a:lnTo>
                        <a:pt x="132" y="260"/>
                      </a:lnTo>
                      <a:lnTo>
                        <a:pt x="131" y="258"/>
                      </a:lnTo>
                      <a:lnTo>
                        <a:pt x="129" y="258"/>
                      </a:lnTo>
                      <a:lnTo>
                        <a:pt x="128" y="257"/>
                      </a:lnTo>
                      <a:lnTo>
                        <a:pt x="127" y="258"/>
                      </a:lnTo>
                      <a:lnTo>
                        <a:pt x="124" y="260"/>
                      </a:lnTo>
                      <a:lnTo>
                        <a:pt x="122" y="261"/>
                      </a:lnTo>
                      <a:lnTo>
                        <a:pt x="119" y="261"/>
                      </a:lnTo>
                      <a:lnTo>
                        <a:pt x="118" y="261"/>
                      </a:lnTo>
                      <a:lnTo>
                        <a:pt x="114" y="261"/>
                      </a:lnTo>
                      <a:lnTo>
                        <a:pt x="109" y="263"/>
                      </a:lnTo>
                      <a:lnTo>
                        <a:pt x="108" y="263"/>
                      </a:lnTo>
                      <a:lnTo>
                        <a:pt x="105" y="261"/>
                      </a:lnTo>
                      <a:lnTo>
                        <a:pt x="104" y="258"/>
                      </a:lnTo>
                      <a:lnTo>
                        <a:pt x="104" y="255"/>
                      </a:lnTo>
                      <a:lnTo>
                        <a:pt x="102" y="253"/>
                      </a:lnTo>
                      <a:lnTo>
                        <a:pt x="101" y="251"/>
                      </a:lnTo>
                      <a:lnTo>
                        <a:pt x="99" y="251"/>
                      </a:lnTo>
                      <a:lnTo>
                        <a:pt x="98" y="250"/>
                      </a:lnTo>
                      <a:lnTo>
                        <a:pt x="96" y="248"/>
                      </a:lnTo>
                      <a:lnTo>
                        <a:pt x="96" y="245"/>
                      </a:lnTo>
                      <a:lnTo>
                        <a:pt x="95" y="244"/>
                      </a:lnTo>
                      <a:lnTo>
                        <a:pt x="94" y="241"/>
                      </a:lnTo>
                      <a:lnTo>
                        <a:pt x="86" y="238"/>
                      </a:lnTo>
                      <a:lnTo>
                        <a:pt x="84" y="237"/>
                      </a:lnTo>
                      <a:lnTo>
                        <a:pt x="84" y="235"/>
                      </a:lnTo>
                      <a:lnTo>
                        <a:pt x="82" y="234"/>
                      </a:lnTo>
                      <a:lnTo>
                        <a:pt x="82" y="232"/>
                      </a:lnTo>
                      <a:lnTo>
                        <a:pt x="81" y="230"/>
                      </a:lnTo>
                      <a:lnTo>
                        <a:pt x="81" y="228"/>
                      </a:lnTo>
                      <a:lnTo>
                        <a:pt x="79" y="227"/>
                      </a:lnTo>
                      <a:lnTo>
                        <a:pt x="71" y="222"/>
                      </a:lnTo>
                      <a:lnTo>
                        <a:pt x="68" y="221"/>
                      </a:lnTo>
                      <a:lnTo>
                        <a:pt x="66" y="221"/>
                      </a:lnTo>
                      <a:lnTo>
                        <a:pt x="61" y="220"/>
                      </a:lnTo>
                      <a:lnTo>
                        <a:pt x="58" y="218"/>
                      </a:lnTo>
                      <a:lnTo>
                        <a:pt x="55" y="217"/>
                      </a:lnTo>
                      <a:lnTo>
                        <a:pt x="52" y="214"/>
                      </a:lnTo>
                      <a:lnTo>
                        <a:pt x="49" y="212"/>
                      </a:lnTo>
                      <a:lnTo>
                        <a:pt x="48" y="212"/>
                      </a:lnTo>
                      <a:lnTo>
                        <a:pt x="46" y="212"/>
                      </a:lnTo>
                      <a:lnTo>
                        <a:pt x="46" y="214"/>
                      </a:lnTo>
                      <a:lnTo>
                        <a:pt x="46" y="214"/>
                      </a:lnTo>
                      <a:lnTo>
                        <a:pt x="46" y="215"/>
                      </a:lnTo>
                      <a:lnTo>
                        <a:pt x="45" y="215"/>
                      </a:lnTo>
                      <a:lnTo>
                        <a:pt x="43" y="215"/>
                      </a:lnTo>
                      <a:lnTo>
                        <a:pt x="39" y="215"/>
                      </a:lnTo>
                      <a:lnTo>
                        <a:pt x="33" y="214"/>
                      </a:lnTo>
                      <a:lnTo>
                        <a:pt x="32" y="214"/>
                      </a:lnTo>
                      <a:lnTo>
                        <a:pt x="32" y="214"/>
                      </a:lnTo>
                      <a:lnTo>
                        <a:pt x="30" y="214"/>
                      </a:lnTo>
                      <a:lnTo>
                        <a:pt x="29" y="212"/>
                      </a:lnTo>
                      <a:lnTo>
                        <a:pt x="29" y="212"/>
                      </a:lnTo>
                      <a:lnTo>
                        <a:pt x="27" y="211"/>
                      </a:lnTo>
                      <a:lnTo>
                        <a:pt x="27" y="209"/>
                      </a:lnTo>
                      <a:lnTo>
                        <a:pt x="27" y="208"/>
                      </a:lnTo>
                      <a:lnTo>
                        <a:pt x="26" y="208"/>
                      </a:lnTo>
                      <a:lnTo>
                        <a:pt x="22" y="205"/>
                      </a:lnTo>
                      <a:lnTo>
                        <a:pt x="15" y="202"/>
                      </a:lnTo>
                      <a:lnTo>
                        <a:pt x="12" y="201"/>
                      </a:lnTo>
                      <a:close/>
                      <a:moveTo>
                        <a:pt x="15" y="174"/>
                      </a:moveTo>
                      <a:lnTo>
                        <a:pt x="15" y="174"/>
                      </a:lnTo>
                      <a:lnTo>
                        <a:pt x="15" y="174"/>
                      </a:lnTo>
                      <a:lnTo>
                        <a:pt x="16" y="175"/>
                      </a:lnTo>
                      <a:lnTo>
                        <a:pt x="15" y="17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60" name="Freeform 253">
                  <a:extLst>
                    <a:ext uri="{FF2B5EF4-FFF2-40B4-BE49-F238E27FC236}">
                      <a16:creationId xmlns:a16="http://schemas.microsoft.com/office/drawing/2014/main" id="{71F37D86-CC31-8C3B-5EB6-EFF91913BC4A}"/>
                    </a:ext>
                  </a:extLst>
                </p:cNvPr>
                <p:cNvSpPr>
                  <a:spLocks noEditPoints="1"/>
                </p:cNvSpPr>
                <p:nvPr/>
              </p:nvSpPr>
              <p:spPr bwMode="auto">
                <a:xfrm>
                  <a:off x="2124" y="2692"/>
                  <a:ext cx="100" cy="113"/>
                </a:xfrm>
                <a:custGeom>
                  <a:avLst/>
                  <a:gdLst>
                    <a:gd name="T0" fmla="*/ 36 w 100"/>
                    <a:gd name="T1" fmla="*/ 4 h 113"/>
                    <a:gd name="T2" fmla="*/ 36 w 100"/>
                    <a:gd name="T3" fmla="*/ 3 h 113"/>
                    <a:gd name="T4" fmla="*/ 100 w 100"/>
                    <a:gd name="T5" fmla="*/ 36 h 113"/>
                    <a:gd name="T6" fmla="*/ 95 w 100"/>
                    <a:gd name="T7" fmla="*/ 28 h 113"/>
                    <a:gd name="T8" fmla="*/ 100 w 100"/>
                    <a:gd name="T9" fmla="*/ 27 h 113"/>
                    <a:gd name="T10" fmla="*/ 89 w 100"/>
                    <a:gd name="T11" fmla="*/ 23 h 113"/>
                    <a:gd name="T12" fmla="*/ 82 w 100"/>
                    <a:gd name="T13" fmla="*/ 18 h 113"/>
                    <a:gd name="T14" fmla="*/ 80 w 100"/>
                    <a:gd name="T15" fmla="*/ 20 h 113"/>
                    <a:gd name="T16" fmla="*/ 77 w 100"/>
                    <a:gd name="T17" fmla="*/ 21 h 113"/>
                    <a:gd name="T18" fmla="*/ 66 w 100"/>
                    <a:gd name="T19" fmla="*/ 20 h 113"/>
                    <a:gd name="T20" fmla="*/ 63 w 100"/>
                    <a:gd name="T21" fmla="*/ 18 h 113"/>
                    <a:gd name="T22" fmla="*/ 61 w 100"/>
                    <a:gd name="T23" fmla="*/ 15 h 113"/>
                    <a:gd name="T24" fmla="*/ 56 w 100"/>
                    <a:gd name="T25" fmla="*/ 11 h 113"/>
                    <a:gd name="T26" fmla="*/ 37 w 100"/>
                    <a:gd name="T27" fmla="*/ 0 h 113"/>
                    <a:gd name="T28" fmla="*/ 36 w 100"/>
                    <a:gd name="T29" fmla="*/ 4 h 113"/>
                    <a:gd name="T30" fmla="*/ 16 w 100"/>
                    <a:gd name="T31" fmla="*/ 13 h 113"/>
                    <a:gd name="T32" fmla="*/ 16 w 100"/>
                    <a:gd name="T33" fmla="*/ 20 h 113"/>
                    <a:gd name="T34" fmla="*/ 16 w 100"/>
                    <a:gd name="T35" fmla="*/ 24 h 113"/>
                    <a:gd name="T36" fmla="*/ 10 w 100"/>
                    <a:gd name="T37" fmla="*/ 31 h 113"/>
                    <a:gd name="T38" fmla="*/ 10 w 100"/>
                    <a:gd name="T39" fmla="*/ 36 h 113"/>
                    <a:gd name="T40" fmla="*/ 7 w 100"/>
                    <a:gd name="T41" fmla="*/ 40 h 113"/>
                    <a:gd name="T42" fmla="*/ 3 w 100"/>
                    <a:gd name="T43" fmla="*/ 43 h 113"/>
                    <a:gd name="T44" fmla="*/ 3 w 100"/>
                    <a:gd name="T45" fmla="*/ 49 h 113"/>
                    <a:gd name="T46" fmla="*/ 3 w 100"/>
                    <a:gd name="T47" fmla="*/ 53 h 113"/>
                    <a:gd name="T48" fmla="*/ 3 w 100"/>
                    <a:gd name="T49" fmla="*/ 57 h 113"/>
                    <a:gd name="T50" fmla="*/ 3 w 100"/>
                    <a:gd name="T51" fmla="*/ 63 h 113"/>
                    <a:gd name="T52" fmla="*/ 0 w 100"/>
                    <a:gd name="T53" fmla="*/ 66 h 113"/>
                    <a:gd name="T54" fmla="*/ 11 w 100"/>
                    <a:gd name="T55" fmla="*/ 73 h 113"/>
                    <a:gd name="T56" fmla="*/ 17 w 100"/>
                    <a:gd name="T57" fmla="*/ 69 h 113"/>
                    <a:gd name="T58" fmla="*/ 18 w 100"/>
                    <a:gd name="T59" fmla="*/ 70 h 113"/>
                    <a:gd name="T60" fmla="*/ 20 w 100"/>
                    <a:gd name="T61" fmla="*/ 61 h 113"/>
                    <a:gd name="T62" fmla="*/ 20 w 100"/>
                    <a:gd name="T63" fmla="*/ 74 h 113"/>
                    <a:gd name="T64" fmla="*/ 14 w 100"/>
                    <a:gd name="T65" fmla="*/ 83 h 113"/>
                    <a:gd name="T66" fmla="*/ 13 w 100"/>
                    <a:gd name="T67" fmla="*/ 90 h 113"/>
                    <a:gd name="T68" fmla="*/ 13 w 100"/>
                    <a:gd name="T69" fmla="*/ 95 h 113"/>
                    <a:gd name="T70" fmla="*/ 10 w 100"/>
                    <a:gd name="T71" fmla="*/ 96 h 113"/>
                    <a:gd name="T72" fmla="*/ 8 w 100"/>
                    <a:gd name="T73" fmla="*/ 99 h 113"/>
                    <a:gd name="T74" fmla="*/ 10 w 100"/>
                    <a:gd name="T75" fmla="*/ 103 h 113"/>
                    <a:gd name="T76" fmla="*/ 17 w 100"/>
                    <a:gd name="T77" fmla="*/ 102 h 113"/>
                    <a:gd name="T78" fmla="*/ 24 w 100"/>
                    <a:gd name="T79" fmla="*/ 105 h 113"/>
                    <a:gd name="T80" fmla="*/ 27 w 100"/>
                    <a:gd name="T81" fmla="*/ 110 h 113"/>
                    <a:gd name="T82" fmla="*/ 36 w 100"/>
                    <a:gd name="T83" fmla="*/ 112 h 113"/>
                    <a:gd name="T84" fmla="*/ 37 w 100"/>
                    <a:gd name="T85" fmla="*/ 107 h 113"/>
                    <a:gd name="T86" fmla="*/ 40 w 100"/>
                    <a:gd name="T87" fmla="*/ 105 h 113"/>
                    <a:gd name="T88" fmla="*/ 44 w 100"/>
                    <a:gd name="T89" fmla="*/ 89 h 113"/>
                    <a:gd name="T90" fmla="*/ 47 w 100"/>
                    <a:gd name="T91" fmla="*/ 86 h 113"/>
                    <a:gd name="T92" fmla="*/ 49 w 100"/>
                    <a:gd name="T93" fmla="*/ 87 h 113"/>
                    <a:gd name="T94" fmla="*/ 49 w 100"/>
                    <a:gd name="T95" fmla="*/ 86 h 113"/>
                    <a:gd name="T96" fmla="*/ 54 w 100"/>
                    <a:gd name="T97" fmla="*/ 79 h 113"/>
                    <a:gd name="T98" fmla="*/ 76 w 100"/>
                    <a:gd name="T99" fmla="*/ 70 h 113"/>
                    <a:gd name="T100" fmla="*/ 93 w 100"/>
                    <a:gd name="T101" fmla="*/ 53 h 113"/>
                    <a:gd name="T102" fmla="*/ 97 w 100"/>
                    <a:gd name="T103" fmla="*/ 41 h 113"/>
                    <a:gd name="T104" fmla="*/ 100 w 100"/>
                    <a:gd name="T105" fmla="*/ 38 h 113"/>
                    <a:gd name="T106" fmla="*/ 18 w 100"/>
                    <a:gd name="T107" fmla="*/ 73 h 113"/>
                    <a:gd name="T108" fmla="*/ 13 w 100"/>
                    <a:gd name="T109" fmla="*/ 76 h 113"/>
                    <a:gd name="T110" fmla="*/ 16 w 100"/>
                    <a:gd name="T111" fmla="*/ 7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113">
                      <a:moveTo>
                        <a:pt x="36" y="3"/>
                      </a:moveTo>
                      <a:lnTo>
                        <a:pt x="36" y="4"/>
                      </a:lnTo>
                      <a:lnTo>
                        <a:pt x="36" y="4"/>
                      </a:lnTo>
                      <a:lnTo>
                        <a:pt x="34" y="3"/>
                      </a:lnTo>
                      <a:lnTo>
                        <a:pt x="34" y="3"/>
                      </a:lnTo>
                      <a:lnTo>
                        <a:pt x="36" y="3"/>
                      </a:lnTo>
                      <a:lnTo>
                        <a:pt x="36" y="1"/>
                      </a:lnTo>
                      <a:lnTo>
                        <a:pt x="36" y="3"/>
                      </a:lnTo>
                      <a:close/>
                      <a:moveTo>
                        <a:pt x="100" y="36"/>
                      </a:moveTo>
                      <a:lnTo>
                        <a:pt x="99" y="34"/>
                      </a:lnTo>
                      <a:lnTo>
                        <a:pt x="93" y="28"/>
                      </a:lnTo>
                      <a:lnTo>
                        <a:pt x="95" y="28"/>
                      </a:lnTo>
                      <a:lnTo>
                        <a:pt x="97" y="28"/>
                      </a:lnTo>
                      <a:lnTo>
                        <a:pt x="99" y="28"/>
                      </a:lnTo>
                      <a:lnTo>
                        <a:pt x="100" y="27"/>
                      </a:lnTo>
                      <a:lnTo>
                        <a:pt x="95" y="26"/>
                      </a:lnTo>
                      <a:lnTo>
                        <a:pt x="92" y="24"/>
                      </a:lnTo>
                      <a:lnTo>
                        <a:pt x="89" y="23"/>
                      </a:lnTo>
                      <a:lnTo>
                        <a:pt x="86" y="20"/>
                      </a:lnTo>
                      <a:lnTo>
                        <a:pt x="83" y="18"/>
                      </a:lnTo>
                      <a:lnTo>
                        <a:pt x="82" y="18"/>
                      </a:lnTo>
                      <a:lnTo>
                        <a:pt x="80" y="18"/>
                      </a:lnTo>
                      <a:lnTo>
                        <a:pt x="80" y="20"/>
                      </a:lnTo>
                      <a:lnTo>
                        <a:pt x="80" y="20"/>
                      </a:lnTo>
                      <a:lnTo>
                        <a:pt x="80" y="21"/>
                      </a:lnTo>
                      <a:lnTo>
                        <a:pt x="79" y="21"/>
                      </a:lnTo>
                      <a:lnTo>
                        <a:pt x="77" y="21"/>
                      </a:lnTo>
                      <a:lnTo>
                        <a:pt x="73" y="21"/>
                      </a:lnTo>
                      <a:lnTo>
                        <a:pt x="67" y="20"/>
                      </a:lnTo>
                      <a:lnTo>
                        <a:pt x="66" y="20"/>
                      </a:lnTo>
                      <a:lnTo>
                        <a:pt x="66" y="20"/>
                      </a:lnTo>
                      <a:lnTo>
                        <a:pt x="64" y="20"/>
                      </a:lnTo>
                      <a:lnTo>
                        <a:pt x="63" y="18"/>
                      </a:lnTo>
                      <a:lnTo>
                        <a:pt x="63" y="18"/>
                      </a:lnTo>
                      <a:lnTo>
                        <a:pt x="61" y="17"/>
                      </a:lnTo>
                      <a:lnTo>
                        <a:pt x="61" y="15"/>
                      </a:lnTo>
                      <a:lnTo>
                        <a:pt x="61" y="14"/>
                      </a:lnTo>
                      <a:lnTo>
                        <a:pt x="60" y="14"/>
                      </a:lnTo>
                      <a:lnTo>
                        <a:pt x="56" y="11"/>
                      </a:lnTo>
                      <a:lnTo>
                        <a:pt x="49" y="8"/>
                      </a:lnTo>
                      <a:lnTo>
                        <a:pt x="46" y="7"/>
                      </a:lnTo>
                      <a:lnTo>
                        <a:pt x="37" y="0"/>
                      </a:lnTo>
                      <a:lnTo>
                        <a:pt x="37" y="1"/>
                      </a:lnTo>
                      <a:lnTo>
                        <a:pt x="37" y="3"/>
                      </a:lnTo>
                      <a:lnTo>
                        <a:pt x="36" y="4"/>
                      </a:lnTo>
                      <a:lnTo>
                        <a:pt x="28" y="7"/>
                      </a:lnTo>
                      <a:lnTo>
                        <a:pt x="20" y="10"/>
                      </a:lnTo>
                      <a:lnTo>
                        <a:pt x="16" y="13"/>
                      </a:lnTo>
                      <a:lnTo>
                        <a:pt x="16" y="14"/>
                      </a:lnTo>
                      <a:lnTo>
                        <a:pt x="16" y="18"/>
                      </a:lnTo>
                      <a:lnTo>
                        <a:pt x="16" y="20"/>
                      </a:lnTo>
                      <a:lnTo>
                        <a:pt x="16" y="21"/>
                      </a:lnTo>
                      <a:lnTo>
                        <a:pt x="16" y="23"/>
                      </a:lnTo>
                      <a:lnTo>
                        <a:pt x="16" y="24"/>
                      </a:lnTo>
                      <a:lnTo>
                        <a:pt x="14" y="26"/>
                      </a:lnTo>
                      <a:lnTo>
                        <a:pt x="11" y="28"/>
                      </a:lnTo>
                      <a:lnTo>
                        <a:pt x="10" y="31"/>
                      </a:lnTo>
                      <a:lnTo>
                        <a:pt x="8" y="34"/>
                      </a:lnTo>
                      <a:lnTo>
                        <a:pt x="11" y="37"/>
                      </a:lnTo>
                      <a:lnTo>
                        <a:pt x="10" y="36"/>
                      </a:lnTo>
                      <a:lnTo>
                        <a:pt x="8" y="37"/>
                      </a:lnTo>
                      <a:lnTo>
                        <a:pt x="8" y="38"/>
                      </a:lnTo>
                      <a:lnTo>
                        <a:pt x="7" y="40"/>
                      </a:lnTo>
                      <a:lnTo>
                        <a:pt x="5" y="41"/>
                      </a:lnTo>
                      <a:lnTo>
                        <a:pt x="4" y="43"/>
                      </a:lnTo>
                      <a:lnTo>
                        <a:pt x="3" y="43"/>
                      </a:lnTo>
                      <a:lnTo>
                        <a:pt x="1" y="44"/>
                      </a:lnTo>
                      <a:lnTo>
                        <a:pt x="1" y="46"/>
                      </a:lnTo>
                      <a:lnTo>
                        <a:pt x="3" y="49"/>
                      </a:lnTo>
                      <a:lnTo>
                        <a:pt x="3" y="49"/>
                      </a:lnTo>
                      <a:lnTo>
                        <a:pt x="3" y="50"/>
                      </a:lnTo>
                      <a:lnTo>
                        <a:pt x="3" y="53"/>
                      </a:lnTo>
                      <a:lnTo>
                        <a:pt x="3" y="54"/>
                      </a:lnTo>
                      <a:lnTo>
                        <a:pt x="3" y="56"/>
                      </a:lnTo>
                      <a:lnTo>
                        <a:pt x="3" y="57"/>
                      </a:lnTo>
                      <a:lnTo>
                        <a:pt x="4" y="60"/>
                      </a:lnTo>
                      <a:lnTo>
                        <a:pt x="3" y="61"/>
                      </a:lnTo>
                      <a:lnTo>
                        <a:pt x="3" y="63"/>
                      </a:lnTo>
                      <a:lnTo>
                        <a:pt x="1" y="63"/>
                      </a:lnTo>
                      <a:lnTo>
                        <a:pt x="0" y="64"/>
                      </a:lnTo>
                      <a:lnTo>
                        <a:pt x="0" y="66"/>
                      </a:lnTo>
                      <a:lnTo>
                        <a:pt x="1" y="67"/>
                      </a:lnTo>
                      <a:lnTo>
                        <a:pt x="8" y="70"/>
                      </a:lnTo>
                      <a:lnTo>
                        <a:pt x="11" y="73"/>
                      </a:lnTo>
                      <a:lnTo>
                        <a:pt x="13" y="72"/>
                      </a:lnTo>
                      <a:lnTo>
                        <a:pt x="17" y="67"/>
                      </a:lnTo>
                      <a:lnTo>
                        <a:pt x="17" y="69"/>
                      </a:lnTo>
                      <a:lnTo>
                        <a:pt x="17" y="70"/>
                      </a:lnTo>
                      <a:lnTo>
                        <a:pt x="17" y="72"/>
                      </a:lnTo>
                      <a:lnTo>
                        <a:pt x="18" y="70"/>
                      </a:lnTo>
                      <a:lnTo>
                        <a:pt x="18" y="69"/>
                      </a:lnTo>
                      <a:lnTo>
                        <a:pt x="18" y="64"/>
                      </a:lnTo>
                      <a:lnTo>
                        <a:pt x="20" y="61"/>
                      </a:lnTo>
                      <a:lnTo>
                        <a:pt x="20" y="69"/>
                      </a:lnTo>
                      <a:lnTo>
                        <a:pt x="21" y="72"/>
                      </a:lnTo>
                      <a:lnTo>
                        <a:pt x="20" y="74"/>
                      </a:lnTo>
                      <a:lnTo>
                        <a:pt x="18" y="79"/>
                      </a:lnTo>
                      <a:lnTo>
                        <a:pt x="17" y="82"/>
                      </a:lnTo>
                      <a:lnTo>
                        <a:pt x="14" y="83"/>
                      </a:lnTo>
                      <a:lnTo>
                        <a:pt x="11" y="86"/>
                      </a:lnTo>
                      <a:lnTo>
                        <a:pt x="13" y="87"/>
                      </a:lnTo>
                      <a:lnTo>
                        <a:pt x="13" y="90"/>
                      </a:lnTo>
                      <a:lnTo>
                        <a:pt x="14" y="92"/>
                      </a:lnTo>
                      <a:lnTo>
                        <a:pt x="14" y="95"/>
                      </a:lnTo>
                      <a:lnTo>
                        <a:pt x="13" y="95"/>
                      </a:lnTo>
                      <a:lnTo>
                        <a:pt x="11" y="96"/>
                      </a:lnTo>
                      <a:lnTo>
                        <a:pt x="10" y="96"/>
                      </a:lnTo>
                      <a:lnTo>
                        <a:pt x="10" y="96"/>
                      </a:lnTo>
                      <a:lnTo>
                        <a:pt x="8" y="97"/>
                      </a:lnTo>
                      <a:lnTo>
                        <a:pt x="8" y="99"/>
                      </a:lnTo>
                      <a:lnTo>
                        <a:pt x="8" y="99"/>
                      </a:lnTo>
                      <a:lnTo>
                        <a:pt x="11" y="100"/>
                      </a:lnTo>
                      <a:lnTo>
                        <a:pt x="8" y="103"/>
                      </a:lnTo>
                      <a:lnTo>
                        <a:pt x="10" y="103"/>
                      </a:lnTo>
                      <a:lnTo>
                        <a:pt x="13" y="102"/>
                      </a:lnTo>
                      <a:lnTo>
                        <a:pt x="16" y="102"/>
                      </a:lnTo>
                      <a:lnTo>
                        <a:pt x="17" y="102"/>
                      </a:lnTo>
                      <a:lnTo>
                        <a:pt x="21" y="105"/>
                      </a:lnTo>
                      <a:lnTo>
                        <a:pt x="23" y="105"/>
                      </a:lnTo>
                      <a:lnTo>
                        <a:pt x="24" y="105"/>
                      </a:lnTo>
                      <a:lnTo>
                        <a:pt x="24" y="106"/>
                      </a:lnTo>
                      <a:lnTo>
                        <a:pt x="26" y="107"/>
                      </a:lnTo>
                      <a:lnTo>
                        <a:pt x="27" y="110"/>
                      </a:lnTo>
                      <a:lnTo>
                        <a:pt x="30" y="113"/>
                      </a:lnTo>
                      <a:lnTo>
                        <a:pt x="33" y="113"/>
                      </a:lnTo>
                      <a:lnTo>
                        <a:pt x="36" y="112"/>
                      </a:lnTo>
                      <a:lnTo>
                        <a:pt x="36" y="110"/>
                      </a:lnTo>
                      <a:lnTo>
                        <a:pt x="37" y="109"/>
                      </a:lnTo>
                      <a:lnTo>
                        <a:pt x="37" y="107"/>
                      </a:lnTo>
                      <a:lnTo>
                        <a:pt x="39" y="106"/>
                      </a:lnTo>
                      <a:lnTo>
                        <a:pt x="39" y="106"/>
                      </a:lnTo>
                      <a:lnTo>
                        <a:pt x="40" y="105"/>
                      </a:lnTo>
                      <a:lnTo>
                        <a:pt x="44" y="92"/>
                      </a:lnTo>
                      <a:lnTo>
                        <a:pt x="44" y="90"/>
                      </a:lnTo>
                      <a:lnTo>
                        <a:pt x="44" y="89"/>
                      </a:lnTo>
                      <a:lnTo>
                        <a:pt x="46" y="87"/>
                      </a:lnTo>
                      <a:lnTo>
                        <a:pt x="46" y="86"/>
                      </a:lnTo>
                      <a:lnTo>
                        <a:pt x="47" y="86"/>
                      </a:lnTo>
                      <a:lnTo>
                        <a:pt x="47" y="86"/>
                      </a:lnTo>
                      <a:lnTo>
                        <a:pt x="49" y="87"/>
                      </a:lnTo>
                      <a:lnTo>
                        <a:pt x="49" y="87"/>
                      </a:lnTo>
                      <a:lnTo>
                        <a:pt x="49" y="86"/>
                      </a:lnTo>
                      <a:lnTo>
                        <a:pt x="49" y="86"/>
                      </a:lnTo>
                      <a:lnTo>
                        <a:pt x="49" y="86"/>
                      </a:lnTo>
                      <a:lnTo>
                        <a:pt x="49" y="84"/>
                      </a:lnTo>
                      <a:lnTo>
                        <a:pt x="53" y="80"/>
                      </a:lnTo>
                      <a:lnTo>
                        <a:pt x="54" y="79"/>
                      </a:lnTo>
                      <a:lnTo>
                        <a:pt x="57" y="76"/>
                      </a:lnTo>
                      <a:lnTo>
                        <a:pt x="72" y="72"/>
                      </a:lnTo>
                      <a:lnTo>
                        <a:pt x="76" y="70"/>
                      </a:lnTo>
                      <a:lnTo>
                        <a:pt x="82" y="67"/>
                      </a:lnTo>
                      <a:lnTo>
                        <a:pt x="86" y="63"/>
                      </a:lnTo>
                      <a:lnTo>
                        <a:pt x="93" y="53"/>
                      </a:lnTo>
                      <a:lnTo>
                        <a:pt x="95" y="51"/>
                      </a:lnTo>
                      <a:lnTo>
                        <a:pt x="96" y="49"/>
                      </a:lnTo>
                      <a:lnTo>
                        <a:pt x="97" y="41"/>
                      </a:lnTo>
                      <a:lnTo>
                        <a:pt x="100" y="43"/>
                      </a:lnTo>
                      <a:lnTo>
                        <a:pt x="100" y="41"/>
                      </a:lnTo>
                      <a:lnTo>
                        <a:pt x="100" y="38"/>
                      </a:lnTo>
                      <a:lnTo>
                        <a:pt x="100" y="36"/>
                      </a:lnTo>
                      <a:close/>
                      <a:moveTo>
                        <a:pt x="17" y="74"/>
                      </a:moveTo>
                      <a:lnTo>
                        <a:pt x="18" y="73"/>
                      </a:lnTo>
                      <a:lnTo>
                        <a:pt x="16" y="73"/>
                      </a:lnTo>
                      <a:lnTo>
                        <a:pt x="14" y="73"/>
                      </a:lnTo>
                      <a:lnTo>
                        <a:pt x="13" y="76"/>
                      </a:lnTo>
                      <a:lnTo>
                        <a:pt x="13" y="79"/>
                      </a:lnTo>
                      <a:lnTo>
                        <a:pt x="14" y="79"/>
                      </a:lnTo>
                      <a:lnTo>
                        <a:pt x="16" y="77"/>
                      </a:lnTo>
                      <a:lnTo>
                        <a:pt x="17" y="7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61" name="Freeform 254">
                  <a:extLst>
                    <a:ext uri="{FF2B5EF4-FFF2-40B4-BE49-F238E27FC236}">
                      <a16:creationId xmlns:a16="http://schemas.microsoft.com/office/drawing/2014/main" id="{178C5BFA-CF62-03B4-5F69-DF22E99AD21A}"/>
                    </a:ext>
                  </a:extLst>
                </p:cNvPr>
                <p:cNvSpPr>
                  <a:spLocks/>
                </p:cNvSpPr>
                <p:nvPr/>
              </p:nvSpPr>
              <p:spPr bwMode="auto">
                <a:xfrm>
                  <a:off x="2332" y="2498"/>
                  <a:ext cx="7" cy="5"/>
                </a:xfrm>
                <a:custGeom>
                  <a:avLst/>
                  <a:gdLst>
                    <a:gd name="T0" fmla="*/ 3 w 7"/>
                    <a:gd name="T1" fmla="*/ 3 h 5"/>
                    <a:gd name="T2" fmla="*/ 6 w 7"/>
                    <a:gd name="T3" fmla="*/ 4 h 5"/>
                    <a:gd name="T4" fmla="*/ 7 w 7"/>
                    <a:gd name="T5" fmla="*/ 5 h 5"/>
                    <a:gd name="T6" fmla="*/ 4 w 7"/>
                    <a:gd name="T7" fmla="*/ 5 h 5"/>
                    <a:gd name="T8" fmla="*/ 1 w 7"/>
                    <a:gd name="T9" fmla="*/ 4 h 5"/>
                    <a:gd name="T10" fmla="*/ 0 w 7"/>
                    <a:gd name="T11" fmla="*/ 3 h 5"/>
                    <a:gd name="T12" fmla="*/ 0 w 7"/>
                    <a:gd name="T13" fmla="*/ 0 h 5"/>
                    <a:gd name="T14" fmla="*/ 1 w 7"/>
                    <a:gd name="T15" fmla="*/ 1 h 5"/>
                    <a:gd name="T16" fmla="*/ 3 w 7"/>
                    <a:gd name="T1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3" y="3"/>
                      </a:moveTo>
                      <a:lnTo>
                        <a:pt x="6" y="4"/>
                      </a:lnTo>
                      <a:lnTo>
                        <a:pt x="7" y="5"/>
                      </a:lnTo>
                      <a:lnTo>
                        <a:pt x="4" y="5"/>
                      </a:lnTo>
                      <a:lnTo>
                        <a:pt x="1" y="4"/>
                      </a:lnTo>
                      <a:lnTo>
                        <a:pt x="0" y="3"/>
                      </a:lnTo>
                      <a:lnTo>
                        <a:pt x="0" y="0"/>
                      </a:lnTo>
                      <a:lnTo>
                        <a:pt x="1" y="1"/>
                      </a:lnTo>
                      <a:lnTo>
                        <a:pt x="3" y="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62" name="Freeform 255">
                  <a:extLst>
                    <a:ext uri="{FF2B5EF4-FFF2-40B4-BE49-F238E27FC236}">
                      <a16:creationId xmlns:a16="http://schemas.microsoft.com/office/drawing/2014/main" id="{070F9D0E-B15F-BF20-04DA-2F8656F967E9}"/>
                    </a:ext>
                  </a:extLst>
                </p:cNvPr>
                <p:cNvSpPr>
                  <a:spLocks/>
                </p:cNvSpPr>
                <p:nvPr/>
              </p:nvSpPr>
              <p:spPr bwMode="auto">
                <a:xfrm>
                  <a:off x="2345" y="2499"/>
                  <a:ext cx="3" cy="6"/>
                </a:xfrm>
                <a:custGeom>
                  <a:avLst/>
                  <a:gdLst>
                    <a:gd name="T0" fmla="*/ 1 w 3"/>
                    <a:gd name="T1" fmla="*/ 3 h 6"/>
                    <a:gd name="T2" fmla="*/ 3 w 3"/>
                    <a:gd name="T3" fmla="*/ 4 h 6"/>
                    <a:gd name="T4" fmla="*/ 3 w 3"/>
                    <a:gd name="T5" fmla="*/ 6 h 6"/>
                    <a:gd name="T6" fmla="*/ 3 w 3"/>
                    <a:gd name="T7" fmla="*/ 3 h 6"/>
                    <a:gd name="T8" fmla="*/ 3 w 3"/>
                    <a:gd name="T9" fmla="*/ 2 h 6"/>
                    <a:gd name="T10" fmla="*/ 1 w 3"/>
                    <a:gd name="T11" fmla="*/ 0 h 6"/>
                    <a:gd name="T12" fmla="*/ 0 w 3"/>
                    <a:gd name="T13" fmla="*/ 2 h 6"/>
                    <a:gd name="T14" fmla="*/ 1 w 3"/>
                    <a:gd name="T15" fmla="*/ 2 h 6"/>
                    <a:gd name="T16" fmla="*/ 1 w 3"/>
                    <a:gd name="T1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1" y="3"/>
                      </a:moveTo>
                      <a:lnTo>
                        <a:pt x="3" y="4"/>
                      </a:lnTo>
                      <a:lnTo>
                        <a:pt x="3" y="6"/>
                      </a:lnTo>
                      <a:lnTo>
                        <a:pt x="3" y="3"/>
                      </a:lnTo>
                      <a:lnTo>
                        <a:pt x="3" y="2"/>
                      </a:lnTo>
                      <a:lnTo>
                        <a:pt x="1" y="0"/>
                      </a:lnTo>
                      <a:lnTo>
                        <a:pt x="0" y="2"/>
                      </a:lnTo>
                      <a:lnTo>
                        <a:pt x="1" y="2"/>
                      </a:lnTo>
                      <a:lnTo>
                        <a:pt x="1" y="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63" name="Freeform 256">
                  <a:extLst>
                    <a:ext uri="{FF2B5EF4-FFF2-40B4-BE49-F238E27FC236}">
                      <a16:creationId xmlns:a16="http://schemas.microsoft.com/office/drawing/2014/main" id="{70F91A1D-9B3F-C72F-009B-2CF4E141B8D6}"/>
                    </a:ext>
                  </a:extLst>
                </p:cNvPr>
                <p:cNvSpPr>
                  <a:spLocks/>
                </p:cNvSpPr>
                <p:nvPr/>
              </p:nvSpPr>
              <p:spPr bwMode="auto">
                <a:xfrm>
                  <a:off x="2315" y="2493"/>
                  <a:ext cx="4" cy="5"/>
                </a:xfrm>
                <a:custGeom>
                  <a:avLst/>
                  <a:gdLst>
                    <a:gd name="T0" fmla="*/ 3 w 4"/>
                    <a:gd name="T1" fmla="*/ 2 h 5"/>
                    <a:gd name="T2" fmla="*/ 3 w 4"/>
                    <a:gd name="T3" fmla="*/ 3 h 5"/>
                    <a:gd name="T4" fmla="*/ 4 w 4"/>
                    <a:gd name="T5" fmla="*/ 5 h 5"/>
                    <a:gd name="T6" fmla="*/ 3 w 4"/>
                    <a:gd name="T7" fmla="*/ 3 h 5"/>
                    <a:gd name="T8" fmla="*/ 1 w 4"/>
                    <a:gd name="T9" fmla="*/ 3 h 5"/>
                    <a:gd name="T10" fmla="*/ 1 w 4"/>
                    <a:gd name="T11" fmla="*/ 3 h 5"/>
                    <a:gd name="T12" fmla="*/ 0 w 4"/>
                    <a:gd name="T13" fmla="*/ 2 h 5"/>
                    <a:gd name="T14" fmla="*/ 1 w 4"/>
                    <a:gd name="T15" fmla="*/ 2 h 5"/>
                    <a:gd name="T16" fmla="*/ 1 w 4"/>
                    <a:gd name="T17" fmla="*/ 2 h 5"/>
                    <a:gd name="T18" fmla="*/ 1 w 4"/>
                    <a:gd name="T19" fmla="*/ 0 h 5"/>
                    <a:gd name="T20" fmla="*/ 1 w 4"/>
                    <a:gd name="T21" fmla="*/ 2 h 5"/>
                    <a:gd name="T22" fmla="*/ 3 w 4"/>
                    <a:gd name="T2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3" y="2"/>
                      </a:moveTo>
                      <a:lnTo>
                        <a:pt x="3" y="3"/>
                      </a:lnTo>
                      <a:lnTo>
                        <a:pt x="4" y="5"/>
                      </a:lnTo>
                      <a:lnTo>
                        <a:pt x="3" y="3"/>
                      </a:lnTo>
                      <a:lnTo>
                        <a:pt x="1" y="3"/>
                      </a:lnTo>
                      <a:lnTo>
                        <a:pt x="1" y="3"/>
                      </a:lnTo>
                      <a:lnTo>
                        <a:pt x="0" y="2"/>
                      </a:lnTo>
                      <a:lnTo>
                        <a:pt x="1" y="2"/>
                      </a:lnTo>
                      <a:lnTo>
                        <a:pt x="1" y="2"/>
                      </a:lnTo>
                      <a:lnTo>
                        <a:pt x="1" y="0"/>
                      </a:lnTo>
                      <a:lnTo>
                        <a:pt x="1" y="2"/>
                      </a:lnTo>
                      <a:lnTo>
                        <a:pt x="3"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grpSp>
          <p:grpSp>
            <p:nvGrpSpPr>
              <p:cNvPr id="403" name="Group 286">
                <a:extLst>
                  <a:ext uri="{FF2B5EF4-FFF2-40B4-BE49-F238E27FC236}">
                    <a16:creationId xmlns:a16="http://schemas.microsoft.com/office/drawing/2014/main" id="{269A0728-0470-A1C4-E054-4EDFCB09A423}"/>
                  </a:ext>
                </a:extLst>
              </p:cNvPr>
              <p:cNvGrpSpPr>
                <a:grpSpLocks noChangeAspect="1"/>
              </p:cNvGrpSpPr>
              <p:nvPr/>
            </p:nvGrpSpPr>
            <p:grpSpPr bwMode="auto">
              <a:xfrm>
                <a:off x="1331162" y="1114954"/>
                <a:ext cx="4010242" cy="2811574"/>
                <a:chOff x="-3976" y="-5147"/>
                <a:chExt cx="3369" cy="2362"/>
              </a:xfrm>
              <a:grpFill/>
            </p:grpSpPr>
            <p:sp>
              <p:nvSpPr>
                <p:cNvPr id="404" name="Freeform 287">
                  <a:extLst>
                    <a:ext uri="{FF2B5EF4-FFF2-40B4-BE49-F238E27FC236}">
                      <a16:creationId xmlns:a16="http://schemas.microsoft.com/office/drawing/2014/main" id="{1196339E-B3E1-FD96-6DFB-28789E6D66CD}"/>
                    </a:ext>
                  </a:extLst>
                </p:cNvPr>
                <p:cNvSpPr>
                  <a:spLocks/>
                </p:cNvSpPr>
                <p:nvPr/>
              </p:nvSpPr>
              <p:spPr bwMode="auto">
                <a:xfrm>
                  <a:off x="-2289" y="-2942"/>
                  <a:ext cx="51" cy="28"/>
                </a:xfrm>
                <a:custGeom>
                  <a:avLst/>
                  <a:gdLst>
                    <a:gd name="T0" fmla="*/ 51 w 51"/>
                    <a:gd name="T1" fmla="*/ 19 h 28"/>
                    <a:gd name="T2" fmla="*/ 51 w 51"/>
                    <a:gd name="T3" fmla="*/ 16 h 28"/>
                    <a:gd name="T4" fmla="*/ 51 w 51"/>
                    <a:gd name="T5" fmla="*/ 12 h 28"/>
                    <a:gd name="T6" fmla="*/ 49 w 51"/>
                    <a:gd name="T7" fmla="*/ 12 h 28"/>
                    <a:gd name="T8" fmla="*/ 47 w 51"/>
                    <a:gd name="T9" fmla="*/ 12 h 28"/>
                    <a:gd name="T10" fmla="*/ 47 w 51"/>
                    <a:gd name="T11" fmla="*/ 12 h 28"/>
                    <a:gd name="T12" fmla="*/ 46 w 51"/>
                    <a:gd name="T13" fmla="*/ 12 h 28"/>
                    <a:gd name="T14" fmla="*/ 46 w 51"/>
                    <a:gd name="T15" fmla="*/ 12 h 28"/>
                    <a:gd name="T16" fmla="*/ 44 w 51"/>
                    <a:gd name="T17" fmla="*/ 12 h 28"/>
                    <a:gd name="T18" fmla="*/ 44 w 51"/>
                    <a:gd name="T19" fmla="*/ 10 h 28"/>
                    <a:gd name="T20" fmla="*/ 42 w 51"/>
                    <a:gd name="T21" fmla="*/ 12 h 28"/>
                    <a:gd name="T22" fmla="*/ 39 w 51"/>
                    <a:gd name="T23" fmla="*/ 12 h 28"/>
                    <a:gd name="T24" fmla="*/ 37 w 51"/>
                    <a:gd name="T25" fmla="*/ 14 h 28"/>
                    <a:gd name="T26" fmla="*/ 35 w 51"/>
                    <a:gd name="T27" fmla="*/ 12 h 28"/>
                    <a:gd name="T28" fmla="*/ 35 w 51"/>
                    <a:gd name="T29" fmla="*/ 12 h 28"/>
                    <a:gd name="T30" fmla="*/ 35 w 51"/>
                    <a:gd name="T31" fmla="*/ 12 h 28"/>
                    <a:gd name="T32" fmla="*/ 33 w 51"/>
                    <a:gd name="T33" fmla="*/ 10 h 28"/>
                    <a:gd name="T34" fmla="*/ 33 w 51"/>
                    <a:gd name="T35" fmla="*/ 10 h 28"/>
                    <a:gd name="T36" fmla="*/ 30 w 51"/>
                    <a:gd name="T37" fmla="*/ 9 h 28"/>
                    <a:gd name="T38" fmla="*/ 28 w 51"/>
                    <a:gd name="T39" fmla="*/ 9 h 28"/>
                    <a:gd name="T40" fmla="*/ 26 w 51"/>
                    <a:gd name="T41" fmla="*/ 7 h 28"/>
                    <a:gd name="T42" fmla="*/ 25 w 51"/>
                    <a:gd name="T43" fmla="*/ 5 h 28"/>
                    <a:gd name="T44" fmla="*/ 23 w 51"/>
                    <a:gd name="T45" fmla="*/ 3 h 28"/>
                    <a:gd name="T46" fmla="*/ 21 w 51"/>
                    <a:gd name="T47" fmla="*/ 2 h 28"/>
                    <a:gd name="T48" fmla="*/ 16 w 51"/>
                    <a:gd name="T49" fmla="*/ 2 h 28"/>
                    <a:gd name="T50" fmla="*/ 14 w 51"/>
                    <a:gd name="T51" fmla="*/ 0 h 28"/>
                    <a:gd name="T52" fmla="*/ 14 w 51"/>
                    <a:gd name="T53" fmla="*/ 2 h 28"/>
                    <a:gd name="T54" fmla="*/ 12 w 51"/>
                    <a:gd name="T55" fmla="*/ 2 h 28"/>
                    <a:gd name="T56" fmla="*/ 12 w 51"/>
                    <a:gd name="T57" fmla="*/ 2 h 28"/>
                    <a:gd name="T58" fmla="*/ 12 w 51"/>
                    <a:gd name="T59" fmla="*/ 3 h 28"/>
                    <a:gd name="T60" fmla="*/ 12 w 51"/>
                    <a:gd name="T61" fmla="*/ 3 h 28"/>
                    <a:gd name="T62" fmla="*/ 12 w 51"/>
                    <a:gd name="T63" fmla="*/ 5 h 28"/>
                    <a:gd name="T64" fmla="*/ 12 w 51"/>
                    <a:gd name="T65" fmla="*/ 5 h 28"/>
                    <a:gd name="T66" fmla="*/ 4 w 51"/>
                    <a:gd name="T67" fmla="*/ 10 h 28"/>
                    <a:gd name="T68" fmla="*/ 0 w 51"/>
                    <a:gd name="T69" fmla="*/ 12 h 28"/>
                    <a:gd name="T70" fmla="*/ 0 w 51"/>
                    <a:gd name="T71" fmla="*/ 16 h 28"/>
                    <a:gd name="T72" fmla="*/ 2 w 51"/>
                    <a:gd name="T73" fmla="*/ 17 h 28"/>
                    <a:gd name="T74" fmla="*/ 5 w 51"/>
                    <a:gd name="T75" fmla="*/ 19 h 28"/>
                    <a:gd name="T76" fmla="*/ 7 w 51"/>
                    <a:gd name="T77" fmla="*/ 19 h 28"/>
                    <a:gd name="T78" fmla="*/ 11 w 51"/>
                    <a:gd name="T79" fmla="*/ 21 h 28"/>
                    <a:gd name="T80" fmla="*/ 16 w 51"/>
                    <a:gd name="T81" fmla="*/ 21 h 28"/>
                    <a:gd name="T82" fmla="*/ 18 w 51"/>
                    <a:gd name="T83" fmla="*/ 21 h 28"/>
                    <a:gd name="T84" fmla="*/ 23 w 51"/>
                    <a:gd name="T85" fmla="*/ 23 h 28"/>
                    <a:gd name="T86" fmla="*/ 26 w 51"/>
                    <a:gd name="T87" fmla="*/ 26 h 28"/>
                    <a:gd name="T88" fmla="*/ 30 w 51"/>
                    <a:gd name="T89" fmla="*/ 28 h 28"/>
                    <a:gd name="T90" fmla="*/ 35 w 51"/>
                    <a:gd name="T91" fmla="*/ 28 h 28"/>
                    <a:gd name="T92" fmla="*/ 32 w 51"/>
                    <a:gd name="T93" fmla="*/ 26 h 28"/>
                    <a:gd name="T94" fmla="*/ 42 w 51"/>
                    <a:gd name="T95" fmla="*/ 28 h 28"/>
                    <a:gd name="T96" fmla="*/ 47 w 51"/>
                    <a:gd name="T97" fmla="*/ 28 h 28"/>
                    <a:gd name="T98" fmla="*/ 49 w 51"/>
                    <a:gd name="T99" fmla="*/ 23 h 28"/>
                    <a:gd name="T100" fmla="*/ 51 w 51"/>
                    <a:gd name="T101" fmla="*/ 21 h 28"/>
                    <a:gd name="T102" fmla="*/ 51 w 51"/>
                    <a:gd name="T103"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 h="28">
                      <a:moveTo>
                        <a:pt x="51" y="19"/>
                      </a:moveTo>
                      <a:lnTo>
                        <a:pt x="51" y="16"/>
                      </a:lnTo>
                      <a:lnTo>
                        <a:pt x="51" y="12"/>
                      </a:lnTo>
                      <a:lnTo>
                        <a:pt x="49" y="12"/>
                      </a:lnTo>
                      <a:lnTo>
                        <a:pt x="47" y="12"/>
                      </a:lnTo>
                      <a:lnTo>
                        <a:pt x="47" y="12"/>
                      </a:lnTo>
                      <a:lnTo>
                        <a:pt x="46" y="12"/>
                      </a:lnTo>
                      <a:lnTo>
                        <a:pt x="46" y="12"/>
                      </a:lnTo>
                      <a:lnTo>
                        <a:pt x="44" y="12"/>
                      </a:lnTo>
                      <a:lnTo>
                        <a:pt x="44" y="10"/>
                      </a:lnTo>
                      <a:lnTo>
                        <a:pt x="42" y="12"/>
                      </a:lnTo>
                      <a:lnTo>
                        <a:pt x="39" y="12"/>
                      </a:lnTo>
                      <a:lnTo>
                        <a:pt x="37" y="14"/>
                      </a:lnTo>
                      <a:lnTo>
                        <a:pt x="35" y="12"/>
                      </a:lnTo>
                      <a:lnTo>
                        <a:pt x="35" y="12"/>
                      </a:lnTo>
                      <a:lnTo>
                        <a:pt x="35" y="12"/>
                      </a:lnTo>
                      <a:lnTo>
                        <a:pt x="33" y="10"/>
                      </a:lnTo>
                      <a:lnTo>
                        <a:pt x="33" y="10"/>
                      </a:lnTo>
                      <a:lnTo>
                        <a:pt x="30" y="9"/>
                      </a:lnTo>
                      <a:lnTo>
                        <a:pt x="28" y="9"/>
                      </a:lnTo>
                      <a:lnTo>
                        <a:pt x="26" y="7"/>
                      </a:lnTo>
                      <a:lnTo>
                        <a:pt x="25" y="5"/>
                      </a:lnTo>
                      <a:lnTo>
                        <a:pt x="23" y="3"/>
                      </a:lnTo>
                      <a:lnTo>
                        <a:pt x="21" y="2"/>
                      </a:lnTo>
                      <a:lnTo>
                        <a:pt x="16" y="2"/>
                      </a:lnTo>
                      <a:lnTo>
                        <a:pt x="14" y="0"/>
                      </a:lnTo>
                      <a:lnTo>
                        <a:pt x="14" y="2"/>
                      </a:lnTo>
                      <a:lnTo>
                        <a:pt x="12" y="2"/>
                      </a:lnTo>
                      <a:lnTo>
                        <a:pt x="12" y="2"/>
                      </a:lnTo>
                      <a:lnTo>
                        <a:pt x="12" y="3"/>
                      </a:lnTo>
                      <a:lnTo>
                        <a:pt x="12" y="3"/>
                      </a:lnTo>
                      <a:lnTo>
                        <a:pt x="12" y="5"/>
                      </a:lnTo>
                      <a:lnTo>
                        <a:pt x="12" y="5"/>
                      </a:lnTo>
                      <a:lnTo>
                        <a:pt x="4" y="10"/>
                      </a:lnTo>
                      <a:lnTo>
                        <a:pt x="0" y="12"/>
                      </a:lnTo>
                      <a:lnTo>
                        <a:pt x="0" y="16"/>
                      </a:lnTo>
                      <a:lnTo>
                        <a:pt x="2" y="17"/>
                      </a:lnTo>
                      <a:lnTo>
                        <a:pt x="5" y="19"/>
                      </a:lnTo>
                      <a:lnTo>
                        <a:pt x="7" y="19"/>
                      </a:lnTo>
                      <a:lnTo>
                        <a:pt x="11" y="21"/>
                      </a:lnTo>
                      <a:lnTo>
                        <a:pt x="16" y="21"/>
                      </a:lnTo>
                      <a:lnTo>
                        <a:pt x="18" y="21"/>
                      </a:lnTo>
                      <a:lnTo>
                        <a:pt x="23" y="23"/>
                      </a:lnTo>
                      <a:lnTo>
                        <a:pt x="26" y="26"/>
                      </a:lnTo>
                      <a:lnTo>
                        <a:pt x="30" y="28"/>
                      </a:lnTo>
                      <a:lnTo>
                        <a:pt x="35" y="28"/>
                      </a:lnTo>
                      <a:lnTo>
                        <a:pt x="32" y="26"/>
                      </a:lnTo>
                      <a:lnTo>
                        <a:pt x="42" y="28"/>
                      </a:lnTo>
                      <a:lnTo>
                        <a:pt x="47" y="28"/>
                      </a:lnTo>
                      <a:lnTo>
                        <a:pt x="49" y="23"/>
                      </a:lnTo>
                      <a:lnTo>
                        <a:pt x="51" y="21"/>
                      </a:lnTo>
                      <a:lnTo>
                        <a:pt x="51" y="1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05" name="Freeform 288">
                  <a:extLst>
                    <a:ext uri="{FF2B5EF4-FFF2-40B4-BE49-F238E27FC236}">
                      <a16:creationId xmlns:a16="http://schemas.microsoft.com/office/drawing/2014/main" id="{DCAEF7EE-70BF-ABD3-4489-F2F47172CB44}"/>
                    </a:ext>
                  </a:extLst>
                </p:cNvPr>
                <p:cNvSpPr>
                  <a:spLocks/>
                </p:cNvSpPr>
                <p:nvPr/>
              </p:nvSpPr>
              <p:spPr bwMode="auto">
                <a:xfrm>
                  <a:off x="-2334" y="-3017"/>
                  <a:ext cx="85" cy="91"/>
                </a:xfrm>
                <a:custGeom>
                  <a:avLst/>
                  <a:gdLst>
                    <a:gd name="T0" fmla="*/ 57 w 85"/>
                    <a:gd name="T1" fmla="*/ 80 h 91"/>
                    <a:gd name="T2" fmla="*/ 57 w 85"/>
                    <a:gd name="T3" fmla="*/ 78 h 91"/>
                    <a:gd name="T4" fmla="*/ 57 w 85"/>
                    <a:gd name="T5" fmla="*/ 77 h 91"/>
                    <a:gd name="T6" fmla="*/ 59 w 85"/>
                    <a:gd name="T7" fmla="*/ 77 h 91"/>
                    <a:gd name="T8" fmla="*/ 61 w 85"/>
                    <a:gd name="T9" fmla="*/ 77 h 91"/>
                    <a:gd name="T10" fmla="*/ 64 w 85"/>
                    <a:gd name="T11" fmla="*/ 73 h 91"/>
                    <a:gd name="T12" fmla="*/ 64 w 85"/>
                    <a:gd name="T13" fmla="*/ 71 h 91"/>
                    <a:gd name="T14" fmla="*/ 64 w 85"/>
                    <a:gd name="T15" fmla="*/ 70 h 91"/>
                    <a:gd name="T16" fmla="*/ 64 w 85"/>
                    <a:gd name="T17" fmla="*/ 64 h 91"/>
                    <a:gd name="T18" fmla="*/ 66 w 85"/>
                    <a:gd name="T19" fmla="*/ 61 h 91"/>
                    <a:gd name="T20" fmla="*/ 77 w 85"/>
                    <a:gd name="T21" fmla="*/ 54 h 91"/>
                    <a:gd name="T22" fmla="*/ 78 w 85"/>
                    <a:gd name="T23" fmla="*/ 42 h 91"/>
                    <a:gd name="T24" fmla="*/ 77 w 85"/>
                    <a:gd name="T25" fmla="*/ 45 h 91"/>
                    <a:gd name="T26" fmla="*/ 71 w 85"/>
                    <a:gd name="T27" fmla="*/ 43 h 91"/>
                    <a:gd name="T28" fmla="*/ 64 w 85"/>
                    <a:gd name="T29" fmla="*/ 43 h 91"/>
                    <a:gd name="T30" fmla="*/ 29 w 85"/>
                    <a:gd name="T31" fmla="*/ 0 h 91"/>
                    <a:gd name="T32" fmla="*/ 26 w 85"/>
                    <a:gd name="T33" fmla="*/ 3 h 91"/>
                    <a:gd name="T34" fmla="*/ 17 w 85"/>
                    <a:gd name="T35" fmla="*/ 12 h 91"/>
                    <a:gd name="T36" fmla="*/ 24 w 85"/>
                    <a:gd name="T37" fmla="*/ 19 h 91"/>
                    <a:gd name="T38" fmla="*/ 31 w 85"/>
                    <a:gd name="T39" fmla="*/ 24 h 91"/>
                    <a:gd name="T40" fmla="*/ 33 w 85"/>
                    <a:gd name="T41" fmla="*/ 26 h 91"/>
                    <a:gd name="T42" fmla="*/ 35 w 85"/>
                    <a:gd name="T43" fmla="*/ 29 h 91"/>
                    <a:gd name="T44" fmla="*/ 36 w 85"/>
                    <a:gd name="T45" fmla="*/ 31 h 91"/>
                    <a:gd name="T46" fmla="*/ 38 w 85"/>
                    <a:gd name="T47" fmla="*/ 33 h 91"/>
                    <a:gd name="T48" fmla="*/ 38 w 85"/>
                    <a:gd name="T49" fmla="*/ 40 h 91"/>
                    <a:gd name="T50" fmla="*/ 12 w 85"/>
                    <a:gd name="T51" fmla="*/ 40 h 91"/>
                    <a:gd name="T52" fmla="*/ 8 w 85"/>
                    <a:gd name="T53" fmla="*/ 43 h 91"/>
                    <a:gd name="T54" fmla="*/ 2 w 85"/>
                    <a:gd name="T55" fmla="*/ 54 h 91"/>
                    <a:gd name="T56" fmla="*/ 0 w 85"/>
                    <a:gd name="T57" fmla="*/ 57 h 91"/>
                    <a:gd name="T58" fmla="*/ 2 w 85"/>
                    <a:gd name="T59" fmla="*/ 61 h 91"/>
                    <a:gd name="T60" fmla="*/ 2 w 85"/>
                    <a:gd name="T61" fmla="*/ 64 h 91"/>
                    <a:gd name="T62" fmla="*/ 2 w 85"/>
                    <a:gd name="T63" fmla="*/ 71 h 91"/>
                    <a:gd name="T64" fmla="*/ 10 w 85"/>
                    <a:gd name="T65" fmla="*/ 80 h 91"/>
                    <a:gd name="T66" fmla="*/ 21 w 85"/>
                    <a:gd name="T67" fmla="*/ 87 h 91"/>
                    <a:gd name="T68" fmla="*/ 31 w 85"/>
                    <a:gd name="T69" fmla="*/ 87 h 91"/>
                    <a:gd name="T70" fmla="*/ 38 w 85"/>
                    <a:gd name="T71" fmla="*/ 87 h 91"/>
                    <a:gd name="T72" fmla="*/ 45 w 85"/>
                    <a:gd name="T73" fmla="*/ 8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5" h="91">
                      <a:moveTo>
                        <a:pt x="49" y="85"/>
                      </a:moveTo>
                      <a:lnTo>
                        <a:pt x="57" y="80"/>
                      </a:lnTo>
                      <a:lnTo>
                        <a:pt x="57" y="80"/>
                      </a:lnTo>
                      <a:lnTo>
                        <a:pt x="57" y="78"/>
                      </a:lnTo>
                      <a:lnTo>
                        <a:pt x="57" y="78"/>
                      </a:lnTo>
                      <a:lnTo>
                        <a:pt x="57" y="77"/>
                      </a:lnTo>
                      <a:lnTo>
                        <a:pt x="57" y="77"/>
                      </a:lnTo>
                      <a:lnTo>
                        <a:pt x="59" y="77"/>
                      </a:lnTo>
                      <a:lnTo>
                        <a:pt x="59" y="75"/>
                      </a:lnTo>
                      <a:lnTo>
                        <a:pt x="61" y="77"/>
                      </a:lnTo>
                      <a:lnTo>
                        <a:pt x="63" y="75"/>
                      </a:lnTo>
                      <a:lnTo>
                        <a:pt x="64" y="73"/>
                      </a:lnTo>
                      <a:lnTo>
                        <a:pt x="64" y="71"/>
                      </a:lnTo>
                      <a:lnTo>
                        <a:pt x="64" y="71"/>
                      </a:lnTo>
                      <a:lnTo>
                        <a:pt x="64" y="70"/>
                      </a:lnTo>
                      <a:lnTo>
                        <a:pt x="64" y="70"/>
                      </a:lnTo>
                      <a:lnTo>
                        <a:pt x="64" y="66"/>
                      </a:lnTo>
                      <a:lnTo>
                        <a:pt x="64" y="64"/>
                      </a:lnTo>
                      <a:lnTo>
                        <a:pt x="66" y="63"/>
                      </a:lnTo>
                      <a:lnTo>
                        <a:pt x="66" y="61"/>
                      </a:lnTo>
                      <a:lnTo>
                        <a:pt x="68" y="59"/>
                      </a:lnTo>
                      <a:lnTo>
                        <a:pt x="77" y="54"/>
                      </a:lnTo>
                      <a:lnTo>
                        <a:pt x="85" y="47"/>
                      </a:lnTo>
                      <a:lnTo>
                        <a:pt x="78" y="42"/>
                      </a:lnTo>
                      <a:lnTo>
                        <a:pt x="78" y="45"/>
                      </a:lnTo>
                      <a:lnTo>
                        <a:pt x="77" y="45"/>
                      </a:lnTo>
                      <a:lnTo>
                        <a:pt x="73" y="43"/>
                      </a:lnTo>
                      <a:lnTo>
                        <a:pt x="71" y="43"/>
                      </a:lnTo>
                      <a:lnTo>
                        <a:pt x="66" y="43"/>
                      </a:lnTo>
                      <a:lnTo>
                        <a:pt x="64" y="43"/>
                      </a:lnTo>
                      <a:lnTo>
                        <a:pt x="66" y="0"/>
                      </a:lnTo>
                      <a:lnTo>
                        <a:pt x="29" y="0"/>
                      </a:lnTo>
                      <a:lnTo>
                        <a:pt x="26" y="0"/>
                      </a:lnTo>
                      <a:lnTo>
                        <a:pt x="26" y="3"/>
                      </a:lnTo>
                      <a:lnTo>
                        <a:pt x="26" y="14"/>
                      </a:lnTo>
                      <a:lnTo>
                        <a:pt x="17" y="12"/>
                      </a:lnTo>
                      <a:lnTo>
                        <a:pt x="19" y="14"/>
                      </a:lnTo>
                      <a:lnTo>
                        <a:pt x="24" y="19"/>
                      </a:lnTo>
                      <a:lnTo>
                        <a:pt x="26" y="21"/>
                      </a:lnTo>
                      <a:lnTo>
                        <a:pt x="31" y="24"/>
                      </a:lnTo>
                      <a:lnTo>
                        <a:pt x="33" y="26"/>
                      </a:lnTo>
                      <a:lnTo>
                        <a:pt x="33" y="26"/>
                      </a:lnTo>
                      <a:lnTo>
                        <a:pt x="33" y="28"/>
                      </a:lnTo>
                      <a:lnTo>
                        <a:pt x="35" y="29"/>
                      </a:lnTo>
                      <a:lnTo>
                        <a:pt x="35" y="29"/>
                      </a:lnTo>
                      <a:lnTo>
                        <a:pt x="36" y="31"/>
                      </a:lnTo>
                      <a:lnTo>
                        <a:pt x="38" y="31"/>
                      </a:lnTo>
                      <a:lnTo>
                        <a:pt x="38" y="33"/>
                      </a:lnTo>
                      <a:lnTo>
                        <a:pt x="38" y="36"/>
                      </a:lnTo>
                      <a:lnTo>
                        <a:pt x="38" y="40"/>
                      </a:lnTo>
                      <a:lnTo>
                        <a:pt x="14" y="40"/>
                      </a:lnTo>
                      <a:lnTo>
                        <a:pt x="12" y="40"/>
                      </a:lnTo>
                      <a:lnTo>
                        <a:pt x="10" y="42"/>
                      </a:lnTo>
                      <a:lnTo>
                        <a:pt x="8" y="43"/>
                      </a:lnTo>
                      <a:lnTo>
                        <a:pt x="5" y="50"/>
                      </a:lnTo>
                      <a:lnTo>
                        <a:pt x="2" y="54"/>
                      </a:lnTo>
                      <a:lnTo>
                        <a:pt x="2" y="56"/>
                      </a:lnTo>
                      <a:lnTo>
                        <a:pt x="0" y="57"/>
                      </a:lnTo>
                      <a:lnTo>
                        <a:pt x="2" y="59"/>
                      </a:lnTo>
                      <a:lnTo>
                        <a:pt x="2" y="61"/>
                      </a:lnTo>
                      <a:lnTo>
                        <a:pt x="3" y="63"/>
                      </a:lnTo>
                      <a:lnTo>
                        <a:pt x="2" y="64"/>
                      </a:lnTo>
                      <a:lnTo>
                        <a:pt x="2" y="68"/>
                      </a:lnTo>
                      <a:lnTo>
                        <a:pt x="2" y="71"/>
                      </a:lnTo>
                      <a:lnTo>
                        <a:pt x="0" y="73"/>
                      </a:lnTo>
                      <a:lnTo>
                        <a:pt x="10" y="80"/>
                      </a:lnTo>
                      <a:lnTo>
                        <a:pt x="15" y="84"/>
                      </a:lnTo>
                      <a:lnTo>
                        <a:pt x="21" y="87"/>
                      </a:lnTo>
                      <a:lnTo>
                        <a:pt x="24" y="87"/>
                      </a:lnTo>
                      <a:lnTo>
                        <a:pt x="31" y="87"/>
                      </a:lnTo>
                      <a:lnTo>
                        <a:pt x="35" y="87"/>
                      </a:lnTo>
                      <a:lnTo>
                        <a:pt x="38" y="87"/>
                      </a:lnTo>
                      <a:lnTo>
                        <a:pt x="45" y="91"/>
                      </a:lnTo>
                      <a:lnTo>
                        <a:pt x="45" y="87"/>
                      </a:lnTo>
                      <a:lnTo>
                        <a:pt x="49" y="8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06" name="Freeform 289">
                  <a:extLst>
                    <a:ext uri="{FF2B5EF4-FFF2-40B4-BE49-F238E27FC236}">
                      <a16:creationId xmlns:a16="http://schemas.microsoft.com/office/drawing/2014/main" id="{E07DD7C5-40D5-3C3E-13FB-E4FBA9667268}"/>
                    </a:ext>
                  </a:extLst>
                </p:cNvPr>
                <p:cNvSpPr>
                  <a:spLocks/>
                </p:cNvSpPr>
                <p:nvPr/>
              </p:nvSpPr>
              <p:spPr bwMode="auto">
                <a:xfrm>
                  <a:off x="-1901" y="-3064"/>
                  <a:ext cx="77" cy="50"/>
                </a:xfrm>
                <a:custGeom>
                  <a:avLst/>
                  <a:gdLst>
                    <a:gd name="T0" fmla="*/ 70 w 77"/>
                    <a:gd name="T1" fmla="*/ 38 h 50"/>
                    <a:gd name="T2" fmla="*/ 71 w 77"/>
                    <a:gd name="T3" fmla="*/ 36 h 50"/>
                    <a:gd name="T4" fmla="*/ 77 w 77"/>
                    <a:gd name="T5" fmla="*/ 29 h 50"/>
                    <a:gd name="T6" fmla="*/ 73 w 77"/>
                    <a:gd name="T7" fmla="*/ 24 h 50"/>
                    <a:gd name="T8" fmla="*/ 66 w 77"/>
                    <a:gd name="T9" fmla="*/ 20 h 50"/>
                    <a:gd name="T10" fmla="*/ 52 w 77"/>
                    <a:gd name="T11" fmla="*/ 19 h 50"/>
                    <a:gd name="T12" fmla="*/ 52 w 77"/>
                    <a:gd name="T13" fmla="*/ 15 h 50"/>
                    <a:gd name="T14" fmla="*/ 59 w 77"/>
                    <a:gd name="T15" fmla="*/ 13 h 50"/>
                    <a:gd name="T16" fmla="*/ 54 w 77"/>
                    <a:gd name="T17" fmla="*/ 13 h 50"/>
                    <a:gd name="T18" fmla="*/ 49 w 77"/>
                    <a:gd name="T19" fmla="*/ 13 h 50"/>
                    <a:gd name="T20" fmla="*/ 45 w 77"/>
                    <a:gd name="T21" fmla="*/ 10 h 50"/>
                    <a:gd name="T22" fmla="*/ 43 w 77"/>
                    <a:gd name="T23" fmla="*/ 7 h 50"/>
                    <a:gd name="T24" fmla="*/ 40 w 77"/>
                    <a:gd name="T25" fmla="*/ 5 h 50"/>
                    <a:gd name="T26" fmla="*/ 37 w 77"/>
                    <a:gd name="T27" fmla="*/ 5 h 50"/>
                    <a:gd name="T28" fmla="*/ 24 w 77"/>
                    <a:gd name="T29" fmla="*/ 1 h 50"/>
                    <a:gd name="T30" fmla="*/ 21 w 77"/>
                    <a:gd name="T31" fmla="*/ 0 h 50"/>
                    <a:gd name="T32" fmla="*/ 16 w 77"/>
                    <a:gd name="T33" fmla="*/ 1 h 50"/>
                    <a:gd name="T34" fmla="*/ 7 w 77"/>
                    <a:gd name="T35" fmla="*/ 1 h 50"/>
                    <a:gd name="T36" fmla="*/ 5 w 77"/>
                    <a:gd name="T37" fmla="*/ 7 h 50"/>
                    <a:gd name="T38" fmla="*/ 5 w 77"/>
                    <a:gd name="T39" fmla="*/ 12 h 50"/>
                    <a:gd name="T40" fmla="*/ 5 w 77"/>
                    <a:gd name="T41" fmla="*/ 15 h 50"/>
                    <a:gd name="T42" fmla="*/ 7 w 77"/>
                    <a:gd name="T43" fmla="*/ 17 h 50"/>
                    <a:gd name="T44" fmla="*/ 7 w 77"/>
                    <a:gd name="T45" fmla="*/ 19 h 50"/>
                    <a:gd name="T46" fmla="*/ 3 w 77"/>
                    <a:gd name="T47" fmla="*/ 22 h 50"/>
                    <a:gd name="T48" fmla="*/ 5 w 77"/>
                    <a:gd name="T49" fmla="*/ 24 h 50"/>
                    <a:gd name="T50" fmla="*/ 5 w 77"/>
                    <a:gd name="T51" fmla="*/ 27 h 50"/>
                    <a:gd name="T52" fmla="*/ 2 w 77"/>
                    <a:gd name="T53" fmla="*/ 29 h 50"/>
                    <a:gd name="T54" fmla="*/ 0 w 77"/>
                    <a:gd name="T55" fmla="*/ 31 h 50"/>
                    <a:gd name="T56" fmla="*/ 5 w 77"/>
                    <a:gd name="T57" fmla="*/ 36 h 50"/>
                    <a:gd name="T58" fmla="*/ 5 w 77"/>
                    <a:gd name="T59" fmla="*/ 40 h 50"/>
                    <a:gd name="T60" fmla="*/ 7 w 77"/>
                    <a:gd name="T61" fmla="*/ 43 h 50"/>
                    <a:gd name="T62" fmla="*/ 10 w 77"/>
                    <a:gd name="T63" fmla="*/ 48 h 50"/>
                    <a:gd name="T64" fmla="*/ 12 w 77"/>
                    <a:gd name="T65" fmla="*/ 50 h 50"/>
                    <a:gd name="T66" fmla="*/ 16 w 77"/>
                    <a:gd name="T67" fmla="*/ 48 h 50"/>
                    <a:gd name="T68" fmla="*/ 19 w 77"/>
                    <a:gd name="T69" fmla="*/ 40 h 50"/>
                    <a:gd name="T70" fmla="*/ 19 w 77"/>
                    <a:gd name="T71" fmla="*/ 38 h 50"/>
                    <a:gd name="T72" fmla="*/ 23 w 77"/>
                    <a:gd name="T73" fmla="*/ 36 h 50"/>
                    <a:gd name="T74" fmla="*/ 26 w 77"/>
                    <a:gd name="T75" fmla="*/ 36 h 50"/>
                    <a:gd name="T76" fmla="*/ 30 w 77"/>
                    <a:gd name="T77" fmla="*/ 36 h 50"/>
                    <a:gd name="T78" fmla="*/ 33 w 77"/>
                    <a:gd name="T79" fmla="*/ 38 h 50"/>
                    <a:gd name="T80" fmla="*/ 37 w 77"/>
                    <a:gd name="T81" fmla="*/ 38 h 50"/>
                    <a:gd name="T82" fmla="*/ 40 w 77"/>
                    <a:gd name="T83" fmla="*/ 36 h 50"/>
                    <a:gd name="T84" fmla="*/ 45 w 77"/>
                    <a:gd name="T85" fmla="*/ 34 h 50"/>
                    <a:gd name="T86" fmla="*/ 61 w 77"/>
                    <a:gd name="T87" fmla="*/ 34 h 50"/>
                    <a:gd name="T88" fmla="*/ 64 w 77"/>
                    <a:gd name="T89" fmla="*/ 34 h 50"/>
                    <a:gd name="T90" fmla="*/ 70 w 77"/>
                    <a:gd name="T91"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7" h="50">
                      <a:moveTo>
                        <a:pt x="70" y="38"/>
                      </a:moveTo>
                      <a:lnTo>
                        <a:pt x="70" y="38"/>
                      </a:lnTo>
                      <a:lnTo>
                        <a:pt x="71" y="38"/>
                      </a:lnTo>
                      <a:lnTo>
                        <a:pt x="71" y="36"/>
                      </a:lnTo>
                      <a:lnTo>
                        <a:pt x="75" y="33"/>
                      </a:lnTo>
                      <a:lnTo>
                        <a:pt x="77" y="29"/>
                      </a:lnTo>
                      <a:lnTo>
                        <a:pt x="77" y="27"/>
                      </a:lnTo>
                      <a:lnTo>
                        <a:pt x="73" y="24"/>
                      </a:lnTo>
                      <a:lnTo>
                        <a:pt x="70" y="22"/>
                      </a:lnTo>
                      <a:lnTo>
                        <a:pt x="66" y="20"/>
                      </a:lnTo>
                      <a:lnTo>
                        <a:pt x="57" y="19"/>
                      </a:lnTo>
                      <a:lnTo>
                        <a:pt x="52" y="19"/>
                      </a:lnTo>
                      <a:lnTo>
                        <a:pt x="50" y="17"/>
                      </a:lnTo>
                      <a:lnTo>
                        <a:pt x="52" y="15"/>
                      </a:lnTo>
                      <a:lnTo>
                        <a:pt x="56" y="15"/>
                      </a:lnTo>
                      <a:lnTo>
                        <a:pt x="59" y="13"/>
                      </a:lnTo>
                      <a:lnTo>
                        <a:pt x="56" y="13"/>
                      </a:lnTo>
                      <a:lnTo>
                        <a:pt x="54" y="13"/>
                      </a:lnTo>
                      <a:lnTo>
                        <a:pt x="50" y="13"/>
                      </a:lnTo>
                      <a:lnTo>
                        <a:pt x="49" y="13"/>
                      </a:lnTo>
                      <a:lnTo>
                        <a:pt x="47" y="12"/>
                      </a:lnTo>
                      <a:lnTo>
                        <a:pt x="45" y="10"/>
                      </a:lnTo>
                      <a:lnTo>
                        <a:pt x="45" y="8"/>
                      </a:lnTo>
                      <a:lnTo>
                        <a:pt x="43" y="7"/>
                      </a:lnTo>
                      <a:lnTo>
                        <a:pt x="42" y="5"/>
                      </a:lnTo>
                      <a:lnTo>
                        <a:pt x="40" y="5"/>
                      </a:lnTo>
                      <a:lnTo>
                        <a:pt x="38" y="7"/>
                      </a:lnTo>
                      <a:lnTo>
                        <a:pt x="37" y="5"/>
                      </a:lnTo>
                      <a:lnTo>
                        <a:pt x="30" y="3"/>
                      </a:lnTo>
                      <a:lnTo>
                        <a:pt x="24" y="1"/>
                      </a:lnTo>
                      <a:lnTo>
                        <a:pt x="23" y="0"/>
                      </a:lnTo>
                      <a:lnTo>
                        <a:pt x="21" y="0"/>
                      </a:lnTo>
                      <a:lnTo>
                        <a:pt x="17" y="1"/>
                      </a:lnTo>
                      <a:lnTo>
                        <a:pt x="16" y="1"/>
                      </a:lnTo>
                      <a:lnTo>
                        <a:pt x="9" y="1"/>
                      </a:lnTo>
                      <a:lnTo>
                        <a:pt x="7" y="1"/>
                      </a:lnTo>
                      <a:lnTo>
                        <a:pt x="5" y="5"/>
                      </a:lnTo>
                      <a:lnTo>
                        <a:pt x="5" y="7"/>
                      </a:lnTo>
                      <a:lnTo>
                        <a:pt x="5" y="8"/>
                      </a:lnTo>
                      <a:lnTo>
                        <a:pt x="5" y="12"/>
                      </a:lnTo>
                      <a:lnTo>
                        <a:pt x="5" y="13"/>
                      </a:lnTo>
                      <a:lnTo>
                        <a:pt x="5" y="15"/>
                      </a:lnTo>
                      <a:lnTo>
                        <a:pt x="7" y="15"/>
                      </a:lnTo>
                      <a:lnTo>
                        <a:pt x="7" y="17"/>
                      </a:lnTo>
                      <a:lnTo>
                        <a:pt x="7" y="17"/>
                      </a:lnTo>
                      <a:lnTo>
                        <a:pt x="7" y="19"/>
                      </a:lnTo>
                      <a:lnTo>
                        <a:pt x="5" y="20"/>
                      </a:lnTo>
                      <a:lnTo>
                        <a:pt x="3" y="22"/>
                      </a:lnTo>
                      <a:lnTo>
                        <a:pt x="3" y="22"/>
                      </a:lnTo>
                      <a:lnTo>
                        <a:pt x="5" y="24"/>
                      </a:lnTo>
                      <a:lnTo>
                        <a:pt x="5" y="24"/>
                      </a:lnTo>
                      <a:lnTo>
                        <a:pt x="5" y="27"/>
                      </a:lnTo>
                      <a:lnTo>
                        <a:pt x="3" y="27"/>
                      </a:lnTo>
                      <a:lnTo>
                        <a:pt x="2" y="29"/>
                      </a:lnTo>
                      <a:lnTo>
                        <a:pt x="0" y="29"/>
                      </a:lnTo>
                      <a:lnTo>
                        <a:pt x="0" y="31"/>
                      </a:lnTo>
                      <a:lnTo>
                        <a:pt x="3" y="34"/>
                      </a:lnTo>
                      <a:lnTo>
                        <a:pt x="5" y="36"/>
                      </a:lnTo>
                      <a:lnTo>
                        <a:pt x="5" y="36"/>
                      </a:lnTo>
                      <a:lnTo>
                        <a:pt x="5" y="40"/>
                      </a:lnTo>
                      <a:lnTo>
                        <a:pt x="5" y="41"/>
                      </a:lnTo>
                      <a:lnTo>
                        <a:pt x="7" y="43"/>
                      </a:lnTo>
                      <a:lnTo>
                        <a:pt x="9" y="47"/>
                      </a:lnTo>
                      <a:lnTo>
                        <a:pt x="10" y="48"/>
                      </a:lnTo>
                      <a:lnTo>
                        <a:pt x="12" y="50"/>
                      </a:lnTo>
                      <a:lnTo>
                        <a:pt x="12" y="50"/>
                      </a:lnTo>
                      <a:lnTo>
                        <a:pt x="14" y="50"/>
                      </a:lnTo>
                      <a:lnTo>
                        <a:pt x="16" y="48"/>
                      </a:lnTo>
                      <a:lnTo>
                        <a:pt x="19" y="41"/>
                      </a:lnTo>
                      <a:lnTo>
                        <a:pt x="19" y="40"/>
                      </a:lnTo>
                      <a:lnTo>
                        <a:pt x="19" y="40"/>
                      </a:lnTo>
                      <a:lnTo>
                        <a:pt x="19" y="38"/>
                      </a:lnTo>
                      <a:lnTo>
                        <a:pt x="21" y="36"/>
                      </a:lnTo>
                      <a:lnTo>
                        <a:pt x="23" y="36"/>
                      </a:lnTo>
                      <a:lnTo>
                        <a:pt x="24" y="36"/>
                      </a:lnTo>
                      <a:lnTo>
                        <a:pt x="26" y="36"/>
                      </a:lnTo>
                      <a:lnTo>
                        <a:pt x="28" y="36"/>
                      </a:lnTo>
                      <a:lnTo>
                        <a:pt x="30" y="36"/>
                      </a:lnTo>
                      <a:lnTo>
                        <a:pt x="31" y="36"/>
                      </a:lnTo>
                      <a:lnTo>
                        <a:pt x="33" y="38"/>
                      </a:lnTo>
                      <a:lnTo>
                        <a:pt x="35" y="38"/>
                      </a:lnTo>
                      <a:lnTo>
                        <a:pt x="37" y="38"/>
                      </a:lnTo>
                      <a:lnTo>
                        <a:pt x="38" y="36"/>
                      </a:lnTo>
                      <a:lnTo>
                        <a:pt x="40" y="36"/>
                      </a:lnTo>
                      <a:lnTo>
                        <a:pt x="42" y="34"/>
                      </a:lnTo>
                      <a:lnTo>
                        <a:pt x="45" y="34"/>
                      </a:lnTo>
                      <a:lnTo>
                        <a:pt x="47" y="33"/>
                      </a:lnTo>
                      <a:lnTo>
                        <a:pt x="61" y="34"/>
                      </a:lnTo>
                      <a:lnTo>
                        <a:pt x="63" y="34"/>
                      </a:lnTo>
                      <a:lnTo>
                        <a:pt x="64" y="34"/>
                      </a:lnTo>
                      <a:lnTo>
                        <a:pt x="66" y="36"/>
                      </a:lnTo>
                      <a:lnTo>
                        <a:pt x="70" y="38"/>
                      </a:lnTo>
                      <a:lnTo>
                        <a:pt x="70" y="3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07" name="Freeform 290">
                  <a:extLst>
                    <a:ext uri="{FF2B5EF4-FFF2-40B4-BE49-F238E27FC236}">
                      <a16:creationId xmlns:a16="http://schemas.microsoft.com/office/drawing/2014/main" id="{02D76AEB-0C1D-7F96-47AA-5B106862C22C}"/>
                    </a:ext>
                  </a:extLst>
                </p:cNvPr>
                <p:cNvSpPr>
                  <a:spLocks/>
                </p:cNvSpPr>
                <p:nvPr/>
              </p:nvSpPr>
              <p:spPr bwMode="auto">
                <a:xfrm>
                  <a:off x="-2198" y="-2871"/>
                  <a:ext cx="70" cy="69"/>
                </a:xfrm>
                <a:custGeom>
                  <a:avLst/>
                  <a:gdLst>
                    <a:gd name="T0" fmla="*/ 61 w 70"/>
                    <a:gd name="T1" fmla="*/ 63 h 69"/>
                    <a:gd name="T2" fmla="*/ 65 w 70"/>
                    <a:gd name="T3" fmla="*/ 60 h 69"/>
                    <a:gd name="T4" fmla="*/ 65 w 70"/>
                    <a:gd name="T5" fmla="*/ 58 h 69"/>
                    <a:gd name="T6" fmla="*/ 65 w 70"/>
                    <a:gd name="T7" fmla="*/ 53 h 69"/>
                    <a:gd name="T8" fmla="*/ 66 w 70"/>
                    <a:gd name="T9" fmla="*/ 51 h 69"/>
                    <a:gd name="T10" fmla="*/ 66 w 70"/>
                    <a:gd name="T11" fmla="*/ 49 h 69"/>
                    <a:gd name="T12" fmla="*/ 65 w 70"/>
                    <a:gd name="T13" fmla="*/ 48 h 69"/>
                    <a:gd name="T14" fmla="*/ 63 w 70"/>
                    <a:gd name="T15" fmla="*/ 48 h 69"/>
                    <a:gd name="T16" fmla="*/ 63 w 70"/>
                    <a:gd name="T17" fmla="*/ 42 h 69"/>
                    <a:gd name="T18" fmla="*/ 63 w 70"/>
                    <a:gd name="T19" fmla="*/ 39 h 69"/>
                    <a:gd name="T20" fmla="*/ 66 w 70"/>
                    <a:gd name="T21" fmla="*/ 37 h 69"/>
                    <a:gd name="T22" fmla="*/ 70 w 70"/>
                    <a:gd name="T23" fmla="*/ 35 h 69"/>
                    <a:gd name="T24" fmla="*/ 66 w 70"/>
                    <a:gd name="T25" fmla="*/ 32 h 69"/>
                    <a:gd name="T26" fmla="*/ 58 w 70"/>
                    <a:gd name="T27" fmla="*/ 25 h 69"/>
                    <a:gd name="T28" fmla="*/ 47 w 70"/>
                    <a:gd name="T29" fmla="*/ 7 h 69"/>
                    <a:gd name="T30" fmla="*/ 38 w 70"/>
                    <a:gd name="T31" fmla="*/ 9 h 69"/>
                    <a:gd name="T32" fmla="*/ 26 w 70"/>
                    <a:gd name="T33" fmla="*/ 4 h 69"/>
                    <a:gd name="T34" fmla="*/ 21 w 70"/>
                    <a:gd name="T35" fmla="*/ 6 h 69"/>
                    <a:gd name="T36" fmla="*/ 17 w 70"/>
                    <a:gd name="T37" fmla="*/ 6 h 69"/>
                    <a:gd name="T38" fmla="*/ 7 w 70"/>
                    <a:gd name="T39" fmla="*/ 0 h 69"/>
                    <a:gd name="T40" fmla="*/ 3 w 70"/>
                    <a:gd name="T41" fmla="*/ 4 h 69"/>
                    <a:gd name="T42" fmla="*/ 2 w 70"/>
                    <a:gd name="T43" fmla="*/ 6 h 69"/>
                    <a:gd name="T44" fmla="*/ 0 w 70"/>
                    <a:gd name="T45" fmla="*/ 7 h 69"/>
                    <a:gd name="T46" fmla="*/ 3 w 70"/>
                    <a:gd name="T47" fmla="*/ 11 h 69"/>
                    <a:gd name="T48" fmla="*/ 0 w 70"/>
                    <a:gd name="T49" fmla="*/ 21 h 69"/>
                    <a:gd name="T50" fmla="*/ 5 w 70"/>
                    <a:gd name="T51" fmla="*/ 28 h 69"/>
                    <a:gd name="T52" fmla="*/ 14 w 70"/>
                    <a:gd name="T53" fmla="*/ 34 h 69"/>
                    <a:gd name="T54" fmla="*/ 19 w 70"/>
                    <a:gd name="T55" fmla="*/ 34 h 69"/>
                    <a:gd name="T56" fmla="*/ 17 w 70"/>
                    <a:gd name="T57" fmla="*/ 27 h 69"/>
                    <a:gd name="T58" fmla="*/ 12 w 70"/>
                    <a:gd name="T59" fmla="*/ 21 h 69"/>
                    <a:gd name="T60" fmla="*/ 19 w 70"/>
                    <a:gd name="T61" fmla="*/ 25 h 69"/>
                    <a:gd name="T62" fmla="*/ 26 w 70"/>
                    <a:gd name="T63" fmla="*/ 30 h 69"/>
                    <a:gd name="T64" fmla="*/ 26 w 70"/>
                    <a:gd name="T65" fmla="*/ 34 h 69"/>
                    <a:gd name="T66" fmla="*/ 28 w 70"/>
                    <a:gd name="T67" fmla="*/ 37 h 69"/>
                    <a:gd name="T68" fmla="*/ 37 w 70"/>
                    <a:gd name="T69" fmla="*/ 41 h 69"/>
                    <a:gd name="T70" fmla="*/ 45 w 70"/>
                    <a:gd name="T71" fmla="*/ 44 h 69"/>
                    <a:gd name="T72" fmla="*/ 49 w 70"/>
                    <a:gd name="T73" fmla="*/ 53 h 69"/>
                    <a:gd name="T74" fmla="*/ 47 w 70"/>
                    <a:gd name="T75" fmla="*/ 56 h 69"/>
                    <a:gd name="T76" fmla="*/ 49 w 70"/>
                    <a:gd name="T77" fmla="*/ 60 h 69"/>
                    <a:gd name="T78" fmla="*/ 51 w 70"/>
                    <a:gd name="T79" fmla="*/ 60 h 69"/>
                    <a:gd name="T80" fmla="*/ 54 w 70"/>
                    <a:gd name="T81" fmla="*/ 60 h 69"/>
                    <a:gd name="T82" fmla="*/ 52 w 70"/>
                    <a:gd name="T83" fmla="*/ 56 h 69"/>
                    <a:gd name="T84" fmla="*/ 54 w 70"/>
                    <a:gd name="T85" fmla="*/ 55 h 69"/>
                    <a:gd name="T86" fmla="*/ 58 w 70"/>
                    <a:gd name="T87" fmla="*/ 58 h 69"/>
                    <a:gd name="T88" fmla="*/ 63 w 70"/>
                    <a:gd name="T89" fmla="*/ 67 h 69"/>
                    <a:gd name="T90" fmla="*/ 63 w 70"/>
                    <a:gd name="T91"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 h="69">
                      <a:moveTo>
                        <a:pt x="63" y="65"/>
                      </a:moveTo>
                      <a:lnTo>
                        <a:pt x="61" y="63"/>
                      </a:lnTo>
                      <a:lnTo>
                        <a:pt x="61" y="62"/>
                      </a:lnTo>
                      <a:lnTo>
                        <a:pt x="65" y="60"/>
                      </a:lnTo>
                      <a:lnTo>
                        <a:pt x="65" y="60"/>
                      </a:lnTo>
                      <a:lnTo>
                        <a:pt x="65" y="58"/>
                      </a:lnTo>
                      <a:lnTo>
                        <a:pt x="65" y="55"/>
                      </a:lnTo>
                      <a:lnTo>
                        <a:pt x="65" y="53"/>
                      </a:lnTo>
                      <a:lnTo>
                        <a:pt x="65" y="51"/>
                      </a:lnTo>
                      <a:lnTo>
                        <a:pt x="66" y="51"/>
                      </a:lnTo>
                      <a:lnTo>
                        <a:pt x="66" y="51"/>
                      </a:lnTo>
                      <a:lnTo>
                        <a:pt x="66" y="49"/>
                      </a:lnTo>
                      <a:lnTo>
                        <a:pt x="66" y="48"/>
                      </a:lnTo>
                      <a:lnTo>
                        <a:pt x="65" y="48"/>
                      </a:lnTo>
                      <a:lnTo>
                        <a:pt x="65" y="48"/>
                      </a:lnTo>
                      <a:lnTo>
                        <a:pt x="63" y="48"/>
                      </a:lnTo>
                      <a:lnTo>
                        <a:pt x="63" y="46"/>
                      </a:lnTo>
                      <a:lnTo>
                        <a:pt x="63" y="42"/>
                      </a:lnTo>
                      <a:lnTo>
                        <a:pt x="63" y="41"/>
                      </a:lnTo>
                      <a:lnTo>
                        <a:pt x="63" y="39"/>
                      </a:lnTo>
                      <a:lnTo>
                        <a:pt x="63" y="37"/>
                      </a:lnTo>
                      <a:lnTo>
                        <a:pt x="66" y="37"/>
                      </a:lnTo>
                      <a:lnTo>
                        <a:pt x="70" y="37"/>
                      </a:lnTo>
                      <a:lnTo>
                        <a:pt x="70" y="35"/>
                      </a:lnTo>
                      <a:lnTo>
                        <a:pt x="68" y="35"/>
                      </a:lnTo>
                      <a:lnTo>
                        <a:pt x="66" y="32"/>
                      </a:lnTo>
                      <a:lnTo>
                        <a:pt x="65" y="32"/>
                      </a:lnTo>
                      <a:lnTo>
                        <a:pt x="58" y="25"/>
                      </a:lnTo>
                      <a:lnTo>
                        <a:pt x="54" y="20"/>
                      </a:lnTo>
                      <a:lnTo>
                        <a:pt x="47" y="7"/>
                      </a:lnTo>
                      <a:lnTo>
                        <a:pt x="44" y="11"/>
                      </a:lnTo>
                      <a:lnTo>
                        <a:pt x="38" y="9"/>
                      </a:lnTo>
                      <a:lnTo>
                        <a:pt x="31" y="6"/>
                      </a:lnTo>
                      <a:lnTo>
                        <a:pt x="26" y="4"/>
                      </a:lnTo>
                      <a:lnTo>
                        <a:pt x="24" y="4"/>
                      </a:lnTo>
                      <a:lnTo>
                        <a:pt x="21" y="6"/>
                      </a:lnTo>
                      <a:lnTo>
                        <a:pt x="19" y="6"/>
                      </a:lnTo>
                      <a:lnTo>
                        <a:pt x="17" y="6"/>
                      </a:lnTo>
                      <a:lnTo>
                        <a:pt x="9" y="2"/>
                      </a:lnTo>
                      <a:lnTo>
                        <a:pt x="7" y="0"/>
                      </a:lnTo>
                      <a:lnTo>
                        <a:pt x="5" y="2"/>
                      </a:lnTo>
                      <a:lnTo>
                        <a:pt x="3" y="4"/>
                      </a:lnTo>
                      <a:lnTo>
                        <a:pt x="2" y="4"/>
                      </a:lnTo>
                      <a:lnTo>
                        <a:pt x="2" y="6"/>
                      </a:lnTo>
                      <a:lnTo>
                        <a:pt x="0" y="6"/>
                      </a:lnTo>
                      <a:lnTo>
                        <a:pt x="0" y="7"/>
                      </a:lnTo>
                      <a:lnTo>
                        <a:pt x="3" y="9"/>
                      </a:lnTo>
                      <a:lnTo>
                        <a:pt x="3" y="11"/>
                      </a:lnTo>
                      <a:lnTo>
                        <a:pt x="2" y="18"/>
                      </a:lnTo>
                      <a:lnTo>
                        <a:pt x="0" y="21"/>
                      </a:lnTo>
                      <a:lnTo>
                        <a:pt x="2" y="25"/>
                      </a:lnTo>
                      <a:lnTo>
                        <a:pt x="5" y="28"/>
                      </a:lnTo>
                      <a:lnTo>
                        <a:pt x="12" y="32"/>
                      </a:lnTo>
                      <a:lnTo>
                        <a:pt x="14" y="34"/>
                      </a:lnTo>
                      <a:lnTo>
                        <a:pt x="16" y="35"/>
                      </a:lnTo>
                      <a:lnTo>
                        <a:pt x="19" y="34"/>
                      </a:lnTo>
                      <a:lnTo>
                        <a:pt x="21" y="30"/>
                      </a:lnTo>
                      <a:lnTo>
                        <a:pt x="17" y="27"/>
                      </a:lnTo>
                      <a:lnTo>
                        <a:pt x="14" y="25"/>
                      </a:lnTo>
                      <a:lnTo>
                        <a:pt x="12" y="21"/>
                      </a:lnTo>
                      <a:lnTo>
                        <a:pt x="16" y="23"/>
                      </a:lnTo>
                      <a:lnTo>
                        <a:pt x="19" y="25"/>
                      </a:lnTo>
                      <a:lnTo>
                        <a:pt x="23" y="27"/>
                      </a:lnTo>
                      <a:lnTo>
                        <a:pt x="26" y="30"/>
                      </a:lnTo>
                      <a:lnTo>
                        <a:pt x="26" y="32"/>
                      </a:lnTo>
                      <a:lnTo>
                        <a:pt x="26" y="34"/>
                      </a:lnTo>
                      <a:lnTo>
                        <a:pt x="26" y="35"/>
                      </a:lnTo>
                      <a:lnTo>
                        <a:pt x="28" y="37"/>
                      </a:lnTo>
                      <a:lnTo>
                        <a:pt x="30" y="37"/>
                      </a:lnTo>
                      <a:lnTo>
                        <a:pt x="37" y="41"/>
                      </a:lnTo>
                      <a:lnTo>
                        <a:pt x="42" y="42"/>
                      </a:lnTo>
                      <a:lnTo>
                        <a:pt x="45" y="44"/>
                      </a:lnTo>
                      <a:lnTo>
                        <a:pt x="47" y="48"/>
                      </a:lnTo>
                      <a:lnTo>
                        <a:pt x="49" y="53"/>
                      </a:lnTo>
                      <a:lnTo>
                        <a:pt x="47" y="55"/>
                      </a:lnTo>
                      <a:lnTo>
                        <a:pt x="47" y="56"/>
                      </a:lnTo>
                      <a:lnTo>
                        <a:pt x="47" y="56"/>
                      </a:lnTo>
                      <a:lnTo>
                        <a:pt x="49" y="60"/>
                      </a:lnTo>
                      <a:lnTo>
                        <a:pt x="49" y="60"/>
                      </a:lnTo>
                      <a:lnTo>
                        <a:pt x="51" y="60"/>
                      </a:lnTo>
                      <a:lnTo>
                        <a:pt x="56" y="62"/>
                      </a:lnTo>
                      <a:lnTo>
                        <a:pt x="54" y="60"/>
                      </a:lnTo>
                      <a:lnTo>
                        <a:pt x="54" y="58"/>
                      </a:lnTo>
                      <a:lnTo>
                        <a:pt x="52" y="56"/>
                      </a:lnTo>
                      <a:lnTo>
                        <a:pt x="51" y="55"/>
                      </a:lnTo>
                      <a:lnTo>
                        <a:pt x="54" y="55"/>
                      </a:lnTo>
                      <a:lnTo>
                        <a:pt x="56" y="56"/>
                      </a:lnTo>
                      <a:lnTo>
                        <a:pt x="58" y="58"/>
                      </a:lnTo>
                      <a:lnTo>
                        <a:pt x="61" y="63"/>
                      </a:lnTo>
                      <a:lnTo>
                        <a:pt x="63" y="67"/>
                      </a:lnTo>
                      <a:lnTo>
                        <a:pt x="65" y="69"/>
                      </a:lnTo>
                      <a:lnTo>
                        <a:pt x="63" y="67"/>
                      </a:lnTo>
                      <a:lnTo>
                        <a:pt x="63" y="6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08" name="Freeform 291">
                  <a:extLst>
                    <a:ext uri="{FF2B5EF4-FFF2-40B4-BE49-F238E27FC236}">
                      <a16:creationId xmlns:a16="http://schemas.microsoft.com/office/drawing/2014/main" id="{821CF55B-A569-E23D-462B-18DD4E29241A}"/>
                    </a:ext>
                  </a:extLst>
                </p:cNvPr>
                <p:cNvSpPr>
                  <a:spLocks/>
                </p:cNvSpPr>
                <p:nvPr/>
              </p:nvSpPr>
              <p:spPr bwMode="auto">
                <a:xfrm>
                  <a:off x="-2236" y="-2954"/>
                  <a:ext cx="96" cy="94"/>
                </a:xfrm>
                <a:custGeom>
                  <a:avLst/>
                  <a:gdLst>
                    <a:gd name="T0" fmla="*/ 47 w 96"/>
                    <a:gd name="T1" fmla="*/ 85 h 94"/>
                    <a:gd name="T2" fmla="*/ 57 w 96"/>
                    <a:gd name="T3" fmla="*/ 89 h 94"/>
                    <a:gd name="T4" fmla="*/ 62 w 96"/>
                    <a:gd name="T5" fmla="*/ 87 h 94"/>
                    <a:gd name="T6" fmla="*/ 69 w 96"/>
                    <a:gd name="T7" fmla="*/ 89 h 94"/>
                    <a:gd name="T8" fmla="*/ 82 w 96"/>
                    <a:gd name="T9" fmla="*/ 94 h 94"/>
                    <a:gd name="T10" fmla="*/ 82 w 96"/>
                    <a:gd name="T11" fmla="*/ 87 h 94"/>
                    <a:gd name="T12" fmla="*/ 85 w 96"/>
                    <a:gd name="T13" fmla="*/ 75 h 94"/>
                    <a:gd name="T14" fmla="*/ 85 w 96"/>
                    <a:gd name="T15" fmla="*/ 73 h 94"/>
                    <a:gd name="T16" fmla="*/ 83 w 96"/>
                    <a:gd name="T17" fmla="*/ 69 h 94"/>
                    <a:gd name="T18" fmla="*/ 82 w 96"/>
                    <a:gd name="T19" fmla="*/ 69 h 94"/>
                    <a:gd name="T20" fmla="*/ 83 w 96"/>
                    <a:gd name="T21" fmla="*/ 64 h 94"/>
                    <a:gd name="T22" fmla="*/ 85 w 96"/>
                    <a:gd name="T23" fmla="*/ 66 h 94"/>
                    <a:gd name="T24" fmla="*/ 85 w 96"/>
                    <a:gd name="T25" fmla="*/ 61 h 94"/>
                    <a:gd name="T26" fmla="*/ 85 w 96"/>
                    <a:gd name="T27" fmla="*/ 59 h 94"/>
                    <a:gd name="T28" fmla="*/ 83 w 96"/>
                    <a:gd name="T29" fmla="*/ 57 h 94"/>
                    <a:gd name="T30" fmla="*/ 85 w 96"/>
                    <a:gd name="T31" fmla="*/ 54 h 94"/>
                    <a:gd name="T32" fmla="*/ 87 w 96"/>
                    <a:gd name="T33" fmla="*/ 50 h 94"/>
                    <a:gd name="T34" fmla="*/ 87 w 96"/>
                    <a:gd name="T35" fmla="*/ 54 h 94"/>
                    <a:gd name="T36" fmla="*/ 87 w 96"/>
                    <a:gd name="T37" fmla="*/ 57 h 94"/>
                    <a:gd name="T38" fmla="*/ 89 w 96"/>
                    <a:gd name="T39" fmla="*/ 56 h 94"/>
                    <a:gd name="T40" fmla="*/ 89 w 96"/>
                    <a:gd name="T41" fmla="*/ 28 h 94"/>
                    <a:gd name="T42" fmla="*/ 92 w 96"/>
                    <a:gd name="T43" fmla="*/ 21 h 94"/>
                    <a:gd name="T44" fmla="*/ 94 w 96"/>
                    <a:gd name="T45" fmla="*/ 12 h 94"/>
                    <a:gd name="T46" fmla="*/ 92 w 96"/>
                    <a:gd name="T47" fmla="*/ 5 h 94"/>
                    <a:gd name="T48" fmla="*/ 90 w 96"/>
                    <a:gd name="T49" fmla="*/ 5 h 94"/>
                    <a:gd name="T50" fmla="*/ 90 w 96"/>
                    <a:gd name="T51" fmla="*/ 3 h 94"/>
                    <a:gd name="T52" fmla="*/ 92 w 96"/>
                    <a:gd name="T53" fmla="*/ 3 h 94"/>
                    <a:gd name="T54" fmla="*/ 96 w 96"/>
                    <a:gd name="T55" fmla="*/ 0 h 94"/>
                    <a:gd name="T56" fmla="*/ 69 w 96"/>
                    <a:gd name="T57" fmla="*/ 7 h 94"/>
                    <a:gd name="T58" fmla="*/ 64 w 96"/>
                    <a:gd name="T59" fmla="*/ 8 h 94"/>
                    <a:gd name="T60" fmla="*/ 62 w 96"/>
                    <a:gd name="T61" fmla="*/ 7 h 94"/>
                    <a:gd name="T62" fmla="*/ 59 w 96"/>
                    <a:gd name="T63" fmla="*/ 5 h 94"/>
                    <a:gd name="T64" fmla="*/ 57 w 96"/>
                    <a:gd name="T65" fmla="*/ 7 h 94"/>
                    <a:gd name="T66" fmla="*/ 55 w 96"/>
                    <a:gd name="T67" fmla="*/ 8 h 94"/>
                    <a:gd name="T68" fmla="*/ 54 w 96"/>
                    <a:gd name="T69" fmla="*/ 14 h 94"/>
                    <a:gd name="T70" fmla="*/ 50 w 96"/>
                    <a:gd name="T71" fmla="*/ 17 h 94"/>
                    <a:gd name="T72" fmla="*/ 41 w 96"/>
                    <a:gd name="T73" fmla="*/ 24 h 94"/>
                    <a:gd name="T74" fmla="*/ 34 w 96"/>
                    <a:gd name="T75" fmla="*/ 22 h 94"/>
                    <a:gd name="T76" fmla="*/ 31 w 96"/>
                    <a:gd name="T77" fmla="*/ 22 h 94"/>
                    <a:gd name="T78" fmla="*/ 27 w 96"/>
                    <a:gd name="T79" fmla="*/ 28 h 94"/>
                    <a:gd name="T80" fmla="*/ 21 w 96"/>
                    <a:gd name="T81" fmla="*/ 28 h 94"/>
                    <a:gd name="T82" fmla="*/ 19 w 96"/>
                    <a:gd name="T83" fmla="*/ 29 h 94"/>
                    <a:gd name="T84" fmla="*/ 19 w 96"/>
                    <a:gd name="T85" fmla="*/ 33 h 94"/>
                    <a:gd name="T86" fmla="*/ 19 w 96"/>
                    <a:gd name="T87" fmla="*/ 36 h 94"/>
                    <a:gd name="T88" fmla="*/ 19 w 96"/>
                    <a:gd name="T89" fmla="*/ 36 h 94"/>
                    <a:gd name="T90" fmla="*/ 14 w 96"/>
                    <a:gd name="T91" fmla="*/ 43 h 94"/>
                    <a:gd name="T92" fmla="*/ 7 w 96"/>
                    <a:gd name="T93" fmla="*/ 45 h 94"/>
                    <a:gd name="T94" fmla="*/ 1 w 96"/>
                    <a:gd name="T95" fmla="*/ 43 h 94"/>
                    <a:gd name="T96" fmla="*/ 0 w 96"/>
                    <a:gd name="T97" fmla="*/ 47 h 94"/>
                    <a:gd name="T98" fmla="*/ 15 w 96"/>
                    <a:gd name="T99" fmla="*/ 59 h 94"/>
                    <a:gd name="T100" fmla="*/ 24 w 96"/>
                    <a:gd name="T101" fmla="*/ 69 h 94"/>
                    <a:gd name="T102" fmla="*/ 38 w 96"/>
                    <a:gd name="T103" fmla="*/ 82 h 94"/>
                    <a:gd name="T104" fmla="*/ 43 w 96"/>
                    <a:gd name="T105" fmla="*/ 8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6" h="94">
                      <a:moveTo>
                        <a:pt x="45" y="83"/>
                      </a:moveTo>
                      <a:lnTo>
                        <a:pt x="47" y="85"/>
                      </a:lnTo>
                      <a:lnTo>
                        <a:pt x="55" y="89"/>
                      </a:lnTo>
                      <a:lnTo>
                        <a:pt x="57" y="89"/>
                      </a:lnTo>
                      <a:lnTo>
                        <a:pt x="59" y="89"/>
                      </a:lnTo>
                      <a:lnTo>
                        <a:pt x="62" y="87"/>
                      </a:lnTo>
                      <a:lnTo>
                        <a:pt x="64" y="87"/>
                      </a:lnTo>
                      <a:lnTo>
                        <a:pt x="69" y="89"/>
                      </a:lnTo>
                      <a:lnTo>
                        <a:pt x="76" y="92"/>
                      </a:lnTo>
                      <a:lnTo>
                        <a:pt x="82" y="94"/>
                      </a:lnTo>
                      <a:lnTo>
                        <a:pt x="85" y="90"/>
                      </a:lnTo>
                      <a:lnTo>
                        <a:pt x="82" y="87"/>
                      </a:lnTo>
                      <a:lnTo>
                        <a:pt x="82" y="83"/>
                      </a:lnTo>
                      <a:lnTo>
                        <a:pt x="85" y="75"/>
                      </a:lnTo>
                      <a:lnTo>
                        <a:pt x="85" y="73"/>
                      </a:lnTo>
                      <a:lnTo>
                        <a:pt x="85" y="73"/>
                      </a:lnTo>
                      <a:lnTo>
                        <a:pt x="83" y="69"/>
                      </a:lnTo>
                      <a:lnTo>
                        <a:pt x="83" y="69"/>
                      </a:lnTo>
                      <a:lnTo>
                        <a:pt x="83" y="69"/>
                      </a:lnTo>
                      <a:lnTo>
                        <a:pt x="82" y="69"/>
                      </a:lnTo>
                      <a:lnTo>
                        <a:pt x="82" y="68"/>
                      </a:lnTo>
                      <a:lnTo>
                        <a:pt x="83" y="64"/>
                      </a:lnTo>
                      <a:lnTo>
                        <a:pt x="83" y="64"/>
                      </a:lnTo>
                      <a:lnTo>
                        <a:pt x="85" y="66"/>
                      </a:lnTo>
                      <a:lnTo>
                        <a:pt x="85" y="66"/>
                      </a:lnTo>
                      <a:lnTo>
                        <a:pt x="85" y="61"/>
                      </a:lnTo>
                      <a:lnTo>
                        <a:pt x="85" y="61"/>
                      </a:lnTo>
                      <a:lnTo>
                        <a:pt x="85" y="59"/>
                      </a:lnTo>
                      <a:lnTo>
                        <a:pt x="83" y="57"/>
                      </a:lnTo>
                      <a:lnTo>
                        <a:pt x="83" y="57"/>
                      </a:lnTo>
                      <a:lnTo>
                        <a:pt x="85" y="56"/>
                      </a:lnTo>
                      <a:lnTo>
                        <a:pt x="85" y="54"/>
                      </a:lnTo>
                      <a:lnTo>
                        <a:pt x="85" y="52"/>
                      </a:lnTo>
                      <a:lnTo>
                        <a:pt x="87" y="50"/>
                      </a:lnTo>
                      <a:lnTo>
                        <a:pt x="87" y="52"/>
                      </a:lnTo>
                      <a:lnTo>
                        <a:pt x="87" y="54"/>
                      </a:lnTo>
                      <a:lnTo>
                        <a:pt x="85" y="56"/>
                      </a:lnTo>
                      <a:lnTo>
                        <a:pt x="87" y="57"/>
                      </a:lnTo>
                      <a:lnTo>
                        <a:pt x="87" y="57"/>
                      </a:lnTo>
                      <a:lnTo>
                        <a:pt x="89" y="56"/>
                      </a:lnTo>
                      <a:lnTo>
                        <a:pt x="89" y="35"/>
                      </a:lnTo>
                      <a:lnTo>
                        <a:pt x="89" y="28"/>
                      </a:lnTo>
                      <a:lnTo>
                        <a:pt x="90" y="24"/>
                      </a:lnTo>
                      <a:lnTo>
                        <a:pt x="92" y="21"/>
                      </a:lnTo>
                      <a:lnTo>
                        <a:pt x="94" y="15"/>
                      </a:lnTo>
                      <a:lnTo>
                        <a:pt x="94" y="12"/>
                      </a:lnTo>
                      <a:lnTo>
                        <a:pt x="92" y="5"/>
                      </a:lnTo>
                      <a:lnTo>
                        <a:pt x="92" y="5"/>
                      </a:lnTo>
                      <a:lnTo>
                        <a:pt x="92" y="5"/>
                      </a:lnTo>
                      <a:lnTo>
                        <a:pt x="90" y="5"/>
                      </a:lnTo>
                      <a:lnTo>
                        <a:pt x="90" y="5"/>
                      </a:lnTo>
                      <a:lnTo>
                        <a:pt x="90" y="3"/>
                      </a:lnTo>
                      <a:lnTo>
                        <a:pt x="92" y="3"/>
                      </a:lnTo>
                      <a:lnTo>
                        <a:pt x="92" y="3"/>
                      </a:lnTo>
                      <a:lnTo>
                        <a:pt x="92" y="5"/>
                      </a:lnTo>
                      <a:lnTo>
                        <a:pt x="96" y="0"/>
                      </a:lnTo>
                      <a:lnTo>
                        <a:pt x="90" y="1"/>
                      </a:lnTo>
                      <a:lnTo>
                        <a:pt x="69" y="7"/>
                      </a:lnTo>
                      <a:lnTo>
                        <a:pt x="68" y="8"/>
                      </a:lnTo>
                      <a:lnTo>
                        <a:pt x="64" y="8"/>
                      </a:lnTo>
                      <a:lnTo>
                        <a:pt x="62" y="7"/>
                      </a:lnTo>
                      <a:lnTo>
                        <a:pt x="62" y="7"/>
                      </a:lnTo>
                      <a:lnTo>
                        <a:pt x="61" y="5"/>
                      </a:lnTo>
                      <a:lnTo>
                        <a:pt x="59" y="5"/>
                      </a:lnTo>
                      <a:lnTo>
                        <a:pt x="57" y="5"/>
                      </a:lnTo>
                      <a:lnTo>
                        <a:pt x="57" y="7"/>
                      </a:lnTo>
                      <a:lnTo>
                        <a:pt x="55" y="7"/>
                      </a:lnTo>
                      <a:lnTo>
                        <a:pt x="55" y="8"/>
                      </a:lnTo>
                      <a:lnTo>
                        <a:pt x="55" y="10"/>
                      </a:lnTo>
                      <a:lnTo>
                        <a:pt x="54" y="14"/>
                      </a:lnTo>
                      <a:lnTo>
                        <a:pt x="52" y="15"/>
                      </a:lnTo>
                      <a:lnTo>
                        <a:pt x="50" y="17"/>
                      </a:lnTo>
                      <a:lnTo>
                        <a:pt x="43" y="22"/>
                      </a:lnTo>
                      <a:lnTo>
                        <a:pt x="41" y="24"/>
                      </a:lnTo>
                      <a:lnTo>
                        <a:pt x="38" y="24"/>
                      </a:lnTo>
                      <a:lnTo>
                        <a:pt x="34" y="22"/>
                      </a:lnTo>
                      <a:lnTo>
                        <a:pt x="33" y="22"/>
                      </a:lnTo>
                      <a:lnTo>
                        <a:pt x="31" y="22"/>
                      </a:lnTo>
                      <a:lnTo>
                        <a:pt x="29" y="26"/>
                      </a:lnTo>
                      <a:lnTo>
                        <a:pt x="27" y="28"/>
                      </a:lnTo>
                      <a:lnTo>
                        <a:pt x="26" y="28"/>
                      </a:lnTo>
                      <a:lnTo>
                        <a:pt x="21" y="28"/>
                      </a:lnTo>
                      <a:lnTo>
                        <a:pt x="19" y="28"/>
                      </a:lnTo>
                      <a:lnTo>
                        <a:pt x="19" y="29"/>
                      </a:lnTo>
                      <a:lnTo>
                        <a:pt x="19" y="31"/>
                      </a:lnTo>
                      <a:lnTo>
                        <a:pt x="19" y="33"/>
                      </a:lnTo>
                      <a:lnTo>
                        <a:pt x="19" y="35"/>
                      </a:lnTo>
                      <a:lnTo>
                        <a:pt x="19" y="36"/>
                      </a:lnTo>
                      <a:lnTo>
                        <a:pt x="19" y="38"/>
                      </a:lnTo>
                      <a:lnTo>
                        <a:pt x="19" y="36"/>
                      </a:lnTo>
                      <a:lnTo>
                        <a:pt x="17" y="38"/>
                      </a:lnTo>
                      <a:lnTo>
                        <a:pt x="14" y="43"/>
                      </a:lnTo>
                      <a:lnTo>
                        <a:pt x="12" y="43"/>
                      </a:lnTo>
                      <a:lnTo>
                        <a:pt x="7" y="45"/>
                      </a:lnTo>
                      <a:lnTo>
                        <a:pt x="5" y="45"/>
                      </a:lnTo>
                      <a:lnTo>
                        <a:pt x="1" y="43"/>
                      </a:lnTo>
                      <a:lnTo>
                        <a:pt x="0" y="43"/>
                      </a:lnTo>
                      <a:lnTo>
                        <a:pt x="0" y="47"/>
                      </a:lnTo>
                      <a:lnTo>
                        <a:pt x="1" y="49"/>
                      </a:lnTo>
                      <a:lnTo>
                        <a:pt x="15" y="59"/>
                      </a:lnTo>
                      <a:lnTo>
                        <a:pt x="19" y="62"/>
                      </a:lnTo>
                      <a:lnTo>
                        <a:pt x="24" y="69"/>
                      </a:lnTo>
                      <a:lnTo>
                        <a:pt x="26" y="73"/>
                      </a:lnTo>
                      <a:lnTo>
                        <a:pt x="38" y="82"/>
                      </a:lnTo>
                      <a:lnTo>
                        <a:pt x="41" y="87"/>
                      </a:lnTo>
                      <a:lnTo>
                        <a:pt x="43" y="85"/>
                      </a:lnTo>
                      <a:lnTo>
                        <a:pt x="45" y="8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09" name="Freeform 292">
                  <a:extLst>
                    <a:ext uri="{FF2B5EF4-FFF2-40B4-BE49-F238E27FC236}">
                      <a16:creationId xmlns:a16="http://schemas.microsoft.com/office/drawing/2014/main" id="{EDFDEBC3-BF95-91BE-BD57-72C1764E885E}"/>
                    </a:ext>
                  </a:extLst>
                </p:cNvPr>
                <p:cNvSpPr>
                  <a:spLocks/>
                </p:cNvSpPr>
                <p:nvPr/>
              </p:nvSpPr>
              <p:spPr bwMode="auto">
                <a:xfrm>
                  <a:off x="-1637" y="-2916"/>
                  <a:ext cx="5" cy="4"/>
                </a:xfrm>
                <a:custGeom>
                  <a:avLst/>
                  <a:gdLst>
                    <a:gd name="T0" fmla="*/ 0 w 5"/>
                    <a:gd name="T1" fmla="*/ 2 h 4"/>
                    <a:gd name="T2" fmla="*/ 1 w 5"/>
                    <a:gd name="T3" fmla="*/ 4 h 4"/>
                    <a:gd name="T4" fmla="*/ 1 w 5"/>
                    <a:gd name="T5" fmla="*/ 4 h 4"/>
                    <a:gd name="T6" fmla="*/ 3 w 5"/>
                    <a:gd name="T7" fmla="*/ 4 h 4"/>
                    <a:gd name="T8" fmla="*/ 5 w 5"/>
                    <a:gd name="T9" fmla="*/ 4 h 4"/>
                    <a:gd name="T10" fmla="*/ 1 w 5"/>
                    <a:gd name="T11" fmla="*/ 0 h 4"/>
                    <a:gd name="T12" fmla="*/ 0 w 5"/>
                    <a:gd name="T13" fmla="*/ 0 h 4"/>
                    <a:gd name="T14" fmla="*/ 0 w 5"/>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0" y="2"/>
                      </a:moveTo>
                      <a:lnTo>
                        <a:pt x="1" y="4"/>
                      </a:lnTo>
                      <a:lnTo>
                        <a:pt x="1" y="4"/>
                      </a:lnTo>
                      <a:lnTo>
                        <a:pt x="3" y="4"/>
                      </a:lnTo>
                      <a:lnTo>
                        <a:pt x="5" y="4"/>
                      </a:lnTo>
                      <a:lnTo>
                        <a:pt x="1" y="0"/>
                      </a:lnTo>
                      <a:lnTo>
                        <a:pt x="0" y="0"/>
                      </a:lnTo>
                      <a:lnTo>
                        <a:pt x="0"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10" name="Freeform 293">
                  <a:extLst>
                    <a:ext uri="{FF2B5EF4-FFF2-40B4-BE49-F238E27FC236}">
                      <a16:creationId xmlns:a16="http://schemas.microsoft.com/office/drawing/2014/main" id="{D1D24CAF-BC4C-C32C-DA87-8D7898CD43FF}"/>
                    </a:ext>
                  </a:extLst>
                </p:cNvPr>
                <p:cNvSpPr>
                  <a:spLocks noEditPoints="1"/>
                </p:cNvSpPr>
                <p:nvPr/>
              </p:nvSpPr>
              <p:spPr bwMode="auto">
                <a:xfrm>
                  <a:off x="-2273" y="-2988"/>
                  <a:ext cx="133" cy="79"/>
                </a:xfrm>
                <a:custGeom>
                  <a:avLst/>
                  <a:gdLst>
                    <a:gd name="T0" fmla="*/ 44 w 133"/>
                    <a:gd name="T1" fmla="*/ 77 h 79"/>
                    <a:gd name="T2" fmla="*/ 40 w 133"/>
                    <a:gd name="T3" fmla="*/ 72 h 79"/>
                    <a:gd name="T4" fmla="*/ 33 w 133"/>
                    <a:gd name="T5" fmla="*/ 69 h 79"/>
                    <a:gd name="T6" fmla="*/ 35 w 133"/>
                    <a:gd name="T7" fmla="*/ 62 h 79"/>
                    <a:gd name="T8" fmla="*/ 31 w 133"/>
                    <a:gd name="T9" fmla="*/ 58 h 79"/>
                    <a:gd name="T10" fmla="*/ 30 w 133"/>
                    <a:gd name="T11" fmla="*/ 58 h 79"/>
                    <a:gd name="T12" fmla="*/ 26 w 133"/>
                    <a:gd name="T13" fmla="*/ 58 h 79"/>
                    <a:gd name="T14" fmla="*/ 19 w 133"/>
                    <a:gd name="T15" fmla="*/ 58 h 79"/>
                    <a:gd name="T16" fmla="*/ 17 w 133"/>
                    <a:gd name="T17" fmla="*/ 56 h 79"/>
                    <a:gd name="T18" fmla="*/ 12 w 133"/>
                    <a:gd name="T19" fmla="*/ 55 h 79"/>
                    <a:gd name="T20" fmla="*/ 7 w 133"/>
                    <a:gd name="T21" fmla="*/ 49 h 79"/>
                    <a:gd name="T22" fmla="*/ 2 w 133"/>
                    <a:gd name="T23" fmla="*/ 46 h 79"/>
                    <a:gd name="T24" fmla="*/ 3 w 133"/>
                    <a:gd name="T25" fmla="*/ 42 h 79"/>
                    <a:gd name="T26" fmla="*/ 3 w 133"/>
                    <a:gd name="T27" fmla="*/ 37 h 79"/>
                    <a:gd name="T28" fmla="*/ 5 w 133"/>
                    <a:gd name="T29" fmla="*/ 32 h 79"/>
                    <a:gd name="T30" fmla="*/ 24 w 133"/>
                    <a:gd name="T31" fmla="*/ 18 h 79"/>
                    <a:gd name="T32" fmla="*/ 31 w 133"/>
                    <a:gd name="T33" fmla="*/ 14 h 79"/>
                    <a:gd name="T34" fmla="*/ 38 w 133"/>
                    <a:gd name="T35" fmla="*/ 14 h 79"/>
                    <a:gd name="T36" fmla="*/ 42 w 133"/>
                    <a:gd name="T37" fmla="*/ 16 h 79"/>
                    <a:gd name="T38" fmla="*/ 61 w 133"/>
                    <a:gd name="T39" fmla="*/ 16 h 79"/>
                    <a:gd name="T40" fmla="*/ 70 w 133"/>
                    <a:gd name="T41" fmla="*/ 14 h 79"/>
                    <a:gd name="T42" fmla="*/ 73 w 133"/>
                    <a:gd name="T43" fmla="*/ 11 h 79"/>
                    <a:gd name="T44" fmla="*/ 91 w 133"/>
                    <a:gd name="T45" fmla="*/ 13 h 79"/>
                    <a:gd name="T46" fmla="*/ 98 w 133"/>
                    <a:gd name="T47" fmla="*/ 13 h 79"/>
                    <a:gd name="T48" fmla="*/ 105 w 133"/>
                    <a:gd name="T49" fmla="*/ 16 h 79"/>
                    <a:gd name="T50" fmla="*/ 108 w 133"/>
                    <a:gd name="T51" fmla="*/ 16 h 79"/>
                    <a:gd name="T52" fmla="*/ 120 w 133"/>
                    <a:gd name="T53" fmla="*/ 25 h 79"/>
                    <a:gd name="T54" fmla="*/ 113 w 133"/>
                    <a:gd name="T55" fmla="*/ 23 h 79"/>
                    <a:gd name="T56" fmla="*/ 113 w 133"/>
                    <a:gd name="T57" fmla="*/ 25 h 79"/>
                    <a:gd name="T58" fmla="*/ 120 w 133"/>
                    <a:gd name="T59" fmla="*/ 28 h 79"/>
                    <a:gd name="T60" fmla="*/ 122 w 133"/>
                    <a:gd name="T61" fmla="*/ 28 h 79"/>
                    <a:gd name="T62" fmla="*/ 126 w 133"/>
                    <a:gd name="T63" fmla="*/ 28 h 79"/>
                    <a:gd name="T64" fmla="*/ 122 w 133"/>
                    <a:gd name="T65" fmla="*/ 27 h 79"/>
                    <a:gd name="T66" fmla="*/ 131 w 133"/>
                    <a:gd name="T67" fmla="*/ 32 h 79"/>
                    <a:gd name="T68" fmla="*/ 106 w 133"/>
                    <a:gd name="T69" fmla="*/ 41 h 79"/>
                    <a:gd name="T70" fmla="*/ 99 w 133"/>
                    <a:gd name="T71" fmla="*/ 41 h 79"/>
                    <a:gd name="T72" fmla="*/ 96 w 133"/>
                    <a:gd name="T73" fmla="*/ 39 h 79"/>
                    <a:gd name="T74" fmla="*/ 92 w 133"/>
                    <a:gd name="T75" fmla="*/ 41 h 79"/>
                    <a:gd name="T76" fmla="*/ 91 w 133"/>
                    <a:gd name="T77" fmla="*/ 48 h 79"/>
                    <a:gd name="T78" fmla="*/ 80 w 133"/>
                    <a:gd name="T79" fmla="*/ 56 h 79"/>
                    <a:gd name="T80" fmla="*/ 71 w 133"/>
                    <a:gd name="T81" fmla="*/ 56 h 79"/>
                    <a:gd name="T82" fmla="*/ 66 w 133"/>
                    <a:gd name="T83" fmla="*/ 60 h 79"/>
                    <a:gd name="T84" fmla="*/ 58 w 133"/>
                    <a:gd name="T85" fmla="*/ 62 h 79"/>
                    <a:gd name="T86" fmla="*/ 56 w 133"/>
                    <a:gd name="T87" fmla="*/ 65 h 79"/>
                    <a:gd name="T88" fmla="*/ 56 w 133"/>
                    <a:gd name="T89" fmla="*/ 70 h 79"/>
                    <a:gd name="T90" fmla="*/ 54 w 133"/>
                    <a:gd name="T91" fmla="*/ 72 h 79"/>
                    <a:gd name="T92" fmla="*/ 73 w 133"/>
                    <a:gd name="T93" fmla="*/ 0 h 79"/>
                    <a:gd name="T94" fmla="*/ 73 w 133"/>
                    <a:gd name="T95" fmla="*/ 2 h 79"/>
                    <a:gd name="T96" fmla="*/ 75 w 133"/>
                    <a:gd name="T97" fmla="*/ 0 h 79"/>
                    <a:gd name="T98" fmla="*/ 59 w 133"/>
                    <a:gd name="T99" fmla="*/ 6 h 79"/>
                    <a:gd name="T100" fmla="*/ 64 w 133"/>
                    <a:gd name="T101" fmla="*/ 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 h="79">
                      <a:moveTo>
                        <a:pt x="49" y="77"/>
                      </a:moveTo>
                      <a:lnTo>
                        <a:pt x="44" y="79"/>
                      </a:lnTo>
                      <a:lnTo>
                        <a:pt x="44" y="77"/>
                      </a:lnTo>
                      <a:lnTo>
                        <a:pt x="42" y="76"/>
                      </a:lnTo>
                      <a:lnTo>
                        <a:pt x="42" y="72"/>
                      </a:lnTo>
                      <a:lnTo>
                        <a:pt x="40" y="72"/>
                      </a:lnTo>
                      <a:lnTo>
                        <a:pt x="38" y="70"/>
                      </a:lnTo>
                      <a:lnTo>
                        <a:pt x="35" y="70"/>
                      </a:lnTo>
                      <a:lnTo>
                        <a:pt x="33" y="69"/>
                      </a:lnTo>
                      <a:lnTo>
                        <a:pt x="35" y="67"/>
                      </a:lnTo>
                      <a:lnTo>
                        <a:pt x="35" y="65"/>
                      </a:lnTo>
                      <a:lnTo>
                        <a:pt x="35" y="62"/>
                      </a:lnTo>
                      <a:lnTo>
                        <a:pt x="35" y="58"/>
                      </a:lnTo>
                      <a:lnTo>
                        <a:pt x="33" y="58"/>
                      </a:lnTo>
                      <a:lnTo>
                        <a:pt x="31" y="58"/>
                      </a:lnTo>
                      <a:lnTo>
                        <a:pt x="31" y="58"/>
                      </a:lnTo>
                      <a:lnTo>
                        <a:pt x="30" y="58"/>
                      </a:lnTo>
                      <a:lnTo>
                        <a:pt x="30" y="58"/>
                      </a:lnTo>
                      <a:lnTo>
                        <a:pt x="28" y="58"/>
                      </a:lnTo>
                      <a:lnTo>
                        <a:pt x="28" y="56"/>
                      </a:lnTo>
                      <a:lnTo>
                        <a:pt x="26" y="58"/>
                      </a:lnTo>
                      <a:lnTo>
                        <a:pt x="23" y="58"/>
                      </a:lnTo>
                      <a:lnTo>
                        <a:pt x="21" y="60"/>
                      </a:lnTo>
                      <a:lnTo>
                        <a:pt x="19" y="58"/>
                      </a:lnTo>
                      <a:lnTo>
                        <a:pt x="19" y="58"/>
                      </a:lnTo>
                      <a:lnTo>
                        <a:pt x="19" y="58"/>
                      </a:lnTo>
                      <a:lnTo>
                        <a:pt x="17" y="56"/>
                      </a:lnTo>
                      <a:lnTo>
                        <a:pt x="17" y="56"/>
                      </a:lnTo>
                      <a:lnTo>
                        <a:pt x="14" y="55"/>
                      </a:lnTo>
                      <a:lnTo>
                        <a:pt x="12" y="55"/>
                      </a:lnTo>
                      <a:lnTo>
                        <a:pt x="10" y="53"/>
                      </a:lnTo>
                      <a:lnTo>
                        <a:pt x="9" y="51"/>
                      </a:lnTo>
                      <a:lnTo>
                        <a:pt x="7" y="49"/>
                      </a:lnTo>
                      <a:lnTo>
                        <a:pt x="5" y="48"/>
                      </a:lnTo>
                      <a:lnTo>
                        <a:pt x="0" y="48"/>
                      </a:lnTo>
                      <a:lnTo>
                        <a:pt x="2" y="46"/>
                      </a:lnTo>
                      <a:lnTo>
                        <a:pt x="3" y="44"/>
                      </a:lnTo>
                      <a:lnTo>
                        <a:pt x="3" y="42"/>
                      </a:lnTo>
                      <a:lnTo>
                        <a:pt x="3" y="42"/>
                      </a:lnTo>
                      <a:lnTo>
                        <a:pt x="3" y="41"/>
                      </a:lnTo>
                      <a:lnTo>
                        <a:pt x="3" y="41"/>
                      </a:lnTo>
                      <a:lnTo>
                        <a:pt x="3" y="37"/>
                      </a:lnTo>
                      <a:lnTo>
                        <a:pt x="3" y="35"/>
                      </a:lnTo>
                      <a:lnTo>
                        <a:pt x="5" y="34"/>
                      </a:lnTo>
                      <a:lnTo>
                        <a:pt x="5" y="32"/>
                      </a:lnTo>
                      <a:lnTo>
                        <a:pt x="7" y="30"/>
                      </a:lnTo>
                      <a:lnTo>
                        <a:pt x="16" y="25"/>
                      </a:lnTo>
                      <a:lnTo>
                        <a:pt x="24" y="18"/>
                      </a:lnTo>
                      <a:lnTo>
                        <a:pt x="28" y="18"/>
                      </a:lnTo>
                      <a:lnTo>
                        <a:pt x="30" y="16"/>
                      </a:lnTo>
                      <a:lnTo>
                        <a:pt x="31" y="14"/>
                      </a:lnTo>
                      <a:lnTo>
                        <a:pt x="35" y="14"/>
                      </a:lnTo>
                      <a:lnTo>
                        <a:pt x="37" y="14"/>
                      </a:lnTo>
                      <a:lnTo>
                        <a:pt x="38" y="14"/>
                      </a:lnTo>
                      <a:lnTo>
                        <a:pt x="38" y="16"/>
                      </a:lnTo>
                      <a:lnTo>
                        <a:pt x="40" y="16"/>
                      </a:lnTo>
                      <a:lnTo>
                        <a:pt x="42" y="16"/>
                      </a:lnTo>
                      <a:lnTo>
                        <a:pt x="45" y="16"/>
                      </a:lnTo>
                      <a:lnTo>
                        <a:pt x="56" y="16"/>
                      </a:lnTo>
                      <a:lnTo>
                        <a:pt x="61" y="16"/>
                      </a:lnTo>
                      <a:lnTo>
                        <a:pt x="64" y="16"/>
                      </a:lnTo>
                      <a:lnTo>
                        <a:pt x="66" y="14"/>
                      </a:lnTo>
                      <a:lnTo>
                        <a:pt x="70" y="14"/>
                      </a:lnTo>
                      <a:lnTo>
                        <a:pt x="73" y="13"/>
                      </a:lnTo>
                      <a:lnTo>
                        <a:pt x="73" y="11"/>
                      </a:lnTo>
                      <a:lnTo>
                        <a:pt x="73" y="11"/>
                      </a:lnTo>
                      <a:lnTo>
                        <a:pt x="77" y="13"/>
                      </a:lnTo>
                      <a:lnTo>
                        <a:pt x="85" y="13"/>
                      </a:lnTo>
                      <a:lnTo>
                        <a:pt x="91" y="13"/>
                      </a:lnTo>
                      <a:lnTo>
                        <a:pt x="92" y="13"/>
                      </a:lnTo>
                      <a:lnTo>
                        <a:pt x="96" y="13"/>
                      </a:lnTo>
                      <a:lnTo>
                        <a:pt x="98" y="13"/>
                      </a:lnTo>
                      <a:lnTo>
                        <a:pt x="99" y="14"/>
                      </a:lnTo>
                      <a:lnTo>
                        <a:pt x="103" y="16"/>
                      </a:lnTo>
                      <a:lnTo>
                        <a:pt x="105" y="16"/>
                      </a:lnTo>
                      <a:lnTo>
                        <a:pt x="106" y="16"/>
                      </a:lnTo>
                      <a:lnTo>
                        <a:pt x="105" y="14"/>
                      </a:lnTo>
                      <a:lnTo>
                        <a:pt x="108" y="16"/>
                      </a:lnTo>
                      <a:lnTo>
                        <a:pt x="113" y="18"/>
                      </a:lnTo>
                      <a:lnTo>
                        <a:pt x="117" y="21"/>
                      </a:lnTo>
                      <a:lnTo>
                        <a:pt x="120" y="25"/>
                      </a:lnTo>
                      <a:lnTo>
                        <a:pt x="119" y="25"/>
                      </a:lnTo>
                      <a:lnTo>
                        <a:pt x="115" y="23"/>
                      </a:lnTo>
                      <a:lnTo>
                        <a:pt x="113" y="23"/>
                      </a:lnTo>
                      <a:lnTo>
                        <a:pt x="113" y="23"/>
                      </a:lnTo>
                      <a:lnTo>
                        <a:pt x="113" y="25"/>
                      </a:lnTo>
                      <a:lnTo>
                        <a:pt x="113" y="25"/>
                      </a:lnTo>
                      <a:lnTo>
                        <a:pt x="115" y="25"/>
                      </a:lnTo>
                      <a:lnTo>
                        <a:pt x="115" y="25"/>
                      </a:lnTo>
                      <a:lnTo>
                        <a:pt x="120" y="28"/>
                      </a:lnTo>
                      <a:lnTo>
                        <a:pt x="120" y="28"/>
                      </a:lnTo>
                      <a:lnTo>
                        <a:pt x="122" y="28"/>
                      </a:lnTo>
                      <a:lnTo>
                        <a:pt x="122" y="28"/>
                      </a:lnTo>
                      <a:lnTo>
                        <a:pt x="124" y="28"/>
                      </a:lnTo>
                      <a:lnTo>
                        <a:pt x="126" y="28"/>
                      </a:lnTo>
                      <a:lnTo>
                        <a:pt x="126" y="28"/>
                      </a:lnTo>
                      <a:lnTo>
                        <a:pt x="124" y="27"/>
                      </a:lnTo>
                      <a:lnTo>
                        <a:pt x="124" y="27"/>
                      </a:lnTo>
                      <a:lnTo>
                        <a:pt x="122" y="27"/>
                      </a:lnTo>
                      <a:lnTo>
                        <a:pt x="126" y="27"/>
                      </a:lnTo>
                      <a:lnTo>
                        <a:pt x="127" y="30"/>
                      </a:lnTo>
                      <a:lnTo>
                        <a:pt x="131" y="32"/>
                      </a:lnTo>
                      <a:lnTo>
                        <a:pt x="133" y="34"/>
                      </a:lnTo>
                      <a:lnTo>
                        <a:pt x="127" y="35"/>
                      </a:lnTo>
                      <a:lnTo>
                        <a:pt x="106" y="41"/>
                      </a:lnTo>
                      <a:lnTo>
                        <a:pt x="105" y="42"/>
                      </a:lnTo>
                      <a:lnTo>
                        <a:pt x="101" y="42"/>
                      </a:lnTo>
                      <a:lnTo>
                        <a:pt x="99" y="41"/>
                      </a:lnTo>
                      <a:lnTo>
                        <a:pt x="99" y="41"/>
                      </a:lnTo>
                      <a:lnTo>
                        <a:pt x="98" y="39"/>
                      </a:lnTo>
                      <a:lnTo>
                        <a:pt x="96" y="39"/>
                      </a:lnTo>
                      <a:lnTo>
                        <a:pt x="94" y="39"/>
                      </a:lnTo>
                      <a:lnTo>
                        <a:pt x="94" y="41"/>
                      </a:lnTo>
                      <a:lnTo>
                        <a:pt x="92" y="41"/>
                      </a:lnTo>
                      <a:lnTo>
                        <a:pt x="92" y="42"/>
                      </a:lnTo>
                      <a:lnTo>
                        <a:pt x="92" y="44"/>
                      </a:lnTo>
                      <a:lnTo>
                        <a:pt x="91" y="48"/>
                      </a:lnTo>
                      <a:lnTo>
                        <a:pt x="89" y="49"/>
                      </a:lnTo>
                      <a:lnTo>
                        <a:pt x="87" y="51"/>
                      </a:lnTo>
                      <a:lnTo>
                        <a:pt x="80" y="56"/>
                      </a:lnTo>
                      <a:lnTo>
                        <a:pt x="78" y="58"/>
                      </a:lnTo>
                      <a:lnTo>
                        <a:pt x="75" y="58"/>
                      </a:lnTo>
                      <a:lnTo>
                        <a:pt x="71" y="56"/>
                      </a:lnTo>
                      <a:lnTo>
                        <a:pt x="70" y="56"/>
                      </a:lnTo>
                      <a:lnTo>
                        <a:pt x="68" y="56"/>
                      </a:lnTo>
                      <a:lnTo>
                        <a:pt x="66" y="60"/>
                      </a:lnTo>
                      <a:lnTo>
                        <a:pt x="64" y="62"/>
                      </a:lnTo>
                      <a:lnTo>
                        <a:pt x="63" y="62"/>
                      </a:lnTo>
                      <a:lnTo>
                        <a:pt x="58" y="62"/>
                      </a:lnTo>
                      <a:lnTo>
                        <a:pt x="56" y="62"/>
                      </a:lnTo>
                      <a:lnTo>
                        <a:pt x="56" y="63"/>
                      </a:lnTo>
                      <a:lnTo>
                        <a:pt x="56" y="65"/>
                      </a:lnTo>
                      <a:lnTo>
                        <a:pt x="56" y="67"/>
                      </a:lnTo>
                      <a:lnTo>
                        <a:pt x="56" y="69"/>
                      </a:lnTo>
                      <a:lnTo>
                        <a:pt x="56" y="70"/>
                      </a:lnTo>
                      <a:lnTo>
                        <a:pt x="56" y="72"/>
                      </a:lnTo>
                      <a:lnTo>
                        <a:pt x="56" y="70"/>
                      </a:lnTo>
                      <a:lnTo>
                        <a:pt x="54" y="72"/>
                      </a:lnTo>
                      <a:lnTo>
                        <a:pt x="51" y="77"/>
                      </a:lnTo>
                      <a:lnTo>
                        <a:pt x="49" y="77"/>
                      </a:lnTo>
                      <a:close/>
                      <a:moveTo>
                        <a:pt x="73" y="0"/>
                      </a:moveTo>
                      <a:lnTo>
                        <a:pt x="73" y="2"/>
                      </a:lnTo>
                      <a:lnTo>
                        <a:pt x="73" y="2"/>
                      </a:lnTo>
                      <a:lnTo>
                        <a:pt x="73" y="2"/>
                      </a:lnTo>
                      <a:lnTo>
                        <a:pt x="75" y="2"/>
                      </a:lnTo>
                      <a:lnTo>
                        <a:pt x="75" y="0"/>
                      </a:lnTo>
                      <a:lnTo>
                        <a:pt x="75" y="0"/>
                      </a:lnTo>
                      <a:lnTo>
                        <a:pt x="73" y="0"/>
                      </a:lnTo>
                      <a:close/>
                      <a:moveTo>
                        <a:pt x="61" y="4"/>
                      </a:moveTo>
                      <a:lnTo>
                        <a:pt x="59" y="6"/>
                      </a:lnTo>
                      <a:lnTo>
                        <a:pt x="61" y="4"/>
                      </a:lnTo>
                      <a:lnTo>
                        <a:pt x="66" y="2"/>
                      </a:lnTo>
                      <a:lnTo>
                        <a:pt x="64" y="2"/>
                      </a:lnTo>
                      <a:lnTo>
                        <a:pt x="63" y="2"/>
                      </a:lnTo>
                      <a:lnTo>
                        <a:pt x="61" y="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11" name="Freeform 294">
                  <a:extLst>
                    <a:ext uri="{FF2B5EF4-FFF2-40B4-BE49-F238E27FC236}">
                      <a16:creationId xmlns:a16="http://schemas.microsoft.com/office/drawing/2014/main" id="{313FDED8-CB0D-A8D9-50D3-B81774D60B76}"/>
                    </a:ext>
                  </a:extLst>
                </p:cNvPr>
                <p:cNvSpPr>
                  <a:spLocks noEditPoints="1"/>
                </p:cNvSpPr>
                <p:nvPr/>
              </p:nvSpPr>
              <p:spPr bwMode="auto">
                <a:xfrm>
                  <a:off x="-2270" y="-3031"/>
                  <a:ext cx="30" cy="57"/>
                </a:xfrm>
                <a:custGeom>
                  <a:avLst/>
                  <a:gdLst>
                    <a:gd name="T0" fmla="*/ 16 w 30"/>
                    <a:gd name="T1" fmla="*/ 0 h 57"/>
                    <a:gd name="T2" fmla="*/ 20 w 30"/>
                    <a:gd name="T3" fmla="*/ 0 h 57"/>
                    <a:gd name="T4" fmla="*/ 20 w 30"/>
                    <a:gd name="T5" fmla="*/ 0 h 57"/>
                    <a:gd name="T6" fmla="*/ 20 w 30"/>
                    <a:gd name="T7" fmla="*/ 1 h 57"/>
                    <a:gd name="T8" fmla="*/ 23 w 30"/>
                    <a:gd name="T9" fmla="*/ 3 h 57"/>
                    <a:gd name="T10" fmla="*/ 25 w 30"/>
                    <a:gd name="T11" fmla="*/ 5 h 57"/>
                    <a:gd name="T12" fmla="*/ 23 w 30"/>
                    <a:gd name="T13" fmla="*/ 8 h 57"/>
                    <a:gd name="T14" fmla="*/ 21 w 30"/>
                    <a:gd name="T15" fmla="*/ 14 h 57"/>
                    <a:gd name="T16" fmla="*/ 21 w 30"/>
                    <a:gd name="T17" fmla="*/ 15 h 57"/>
                    <a:gd name="T18" fmla="*/ 21 w 30"/>
                    <a:gd name="T19" fmla="*/ 17 h 57"/>
                    <a:gd name="T20" fmla="*/ 21 w 30"/>
                    <a:gd name="T21" fmla="*/ 17 h 57"/>
                    <a:gd name="T22" fmla="*/ 21 w 30"/>
                    <a:gd name="T23" fmla="*/ 21 h 57"/>
                    <a:gd name="T24" fmla="*/ 21 w 30"/>
                    <a:gd name="T25" fmla="*/ 21 h 57"/>
                    <a:gd name="T26" fmla="*/ 21 w 30"/>
                    <a:gd name="T27" fmla="*/ 22 h 57"/>
                    <a:gd name="T28" fmla="*/ 20 w 30"/>
                    <a:gd name="T29" fmla="*/ 26 h 57"/>
                    <a:gd name="T30" fmla="*/ 20 w 30"/>
                    <a:gd name="T31" fmla="*/ 28 h 57"/>
                    <a:gd name="T32" fmla="*/ 20 w 30"/>
                    <a:gd name="T33" fmla="*/ 36 h 57"/>
                    <a:gd name="T34" fmla="*/ 20 w 30"/>
                    <a:gd name="T35" fmla="*/ 42 h 57"/>
                    <a:gd name="T36" fmla="*/ 16 w 30"/>
                    <a:gd name="T37" fmla="*/ 45 h 57"/>
                    <a:gd name="T38" fmla="*/ 11 w 30"/>
                    <a:gd name="T39" fmla="*/ 50 h 57"/>
                    <a:gd name="T40" fmla="*/ 7 w 30"/>
                    <a:gd name="T41" fmla="*/ 54 h 57"/>
                    <a:gd name="T42" fmla="*/ 7 w 30"/>
                    <a:gd name="T43" fmla="*/ 57 h 57"/>
                    <a:gd name="T44" fmla="*/ 2 w 30"/>
                    <a:gd name="T45" fmla="*/ 57 h 57"/>
                    <a:gd name="T46" fmla="*/ 0 w 30"/>
                    <a:gd name="T47" fmla="*/ 57 h 57"/>
                    <a:gd name="T48" fmla="*/ 2 w 30"/>
                    <a:gd name="T49" fmla="*/ 14 h 57"/>
                    <a:gd name="T50" fmla="*/ 2 w 30"/>
                    <a:gd name="T51" fmla="*/ 12 h 57"/>
                    <a:gd name="T52" fmla="*/ 2 w 30"/>
                    <a:gd name="T53" fmla="*/ 10 h 57"/>
                    <a:gd name="T54" fmla="*/ 4 w 30"/>
                    <a:gd name="T55" fmla="*/ 12 h 57"/>
                    <a:gd name="T56" fmla="*/ 6 w 30"/>
                    <a:gd name="T57" fmla="*/ 12 h 57"/>
                    <a:gd name="T58" fmla="*/ 7 w 30"/>
                    <a:gd name="T59" fmla="*/ 10 h 57"/>
                    <a:gd name="T60" fmla="*/ 9 w 30"/>
                    <a:gd name="T61" fmla="*/ 10 h 57"/>
                    <a:gd name="T62" fmla="*/ 9 w 30"/>
                    <a:gd name="T63" fmla="*/ 10 h 57"/>
                    <a:gd name="T64" fmla="*/ 13 w 30"/>
                    <a:gd name="T65" fmla="*/ 7 h 57"/>
                    <a:gd name="T66" fmla="*/ 14 w 30"/>
                    <a:gd name="T67" fmla="*/ 3 h 57"/>
                    <a:gd name="T68" fmla="*/ 16 w 30"/>
                    <a:gd name="T69" fmla="*/ 0 h 57"/>
                    <a:gd name="T70" fmla="*/ 30 w 30"/>
                    <a:gd name="T71" fmla="*/ 7 h 57"/>
                    <a:gd name="T72" fmla="*/ 28 w 30"/>
                    <a:gd name="T73" fmla="*/ 7 h 57"/>
                    <a:gd name="T74" fmla="*/ 28 w 30"/>
                    <a:gd name="T75" fmla="*/ 8 h 57"/>
                    <a:gd name="T76" fmla="*/ 27 w 30"/>
                    <a:gd name="T77" fmla="*/ 10 h 57"/>
                    <a:gd name="T78" fmla="*/ 27 w 30"/>
                    <a:gd name="T79" fmla="*/ 12 h 57"/>
                    <a:gd name="T80" fmla="*/ 28 w 30"/>
                    <a:gd name="T81" fmla="*/ 12 h 57"/>
                    <a:gd name="T82" fmla="*/ 28 w 30"/>
                    <a:gd name="T83" fmla="*/ 10 h 57"/>
                    <a:gd name="T84" fmla="*/ 30 w 30"/>
                    <a:gd name="T85" fmla="*/ 7 h 57"/>
                    <a:gd name="T86" fmla="*/ 30 w 30"/>
                    <a:gd name="T87" fmla="*/ 21 h 57"/>
                    <a:gd name="T88" fmla="*/ 30 w 30"/>
                    <a:gd name="T89" fmla="*/ 21 h 57"/>
                    <a:gd name="T90" fmla="*/ 28 w 30"/>
                    <a:gd name="T91" fmla="*/ 22 h 57"/>
                    <a:gd name="T92" fmla="*/ 28 w 30"/>
                    <a:gd name="T93" fmla="*/ 24 h 57"/>
                    <a:gd name="T94" fmla="*/ 28 w 30"/>
                    <a:gd name="T95" fmla="*/ 26 h 57"/>
                    <a:gd name="T96" fmla="*/ 28 w 30"/>
                    <a:gd name="T97" fmla="*/ 24 h 57"/>
                    <a:gd name="T98" fmla="*/ 30 w 30"/>
                    <a:gd name="T99" fmla="*/ 2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57">
                      <a:moveTo>
                        <a:pt x="16" y="0"/>
                      </a:moveTo>
                      <a:lnTo>
                        <a:pt x="20" y="0"/>
                      </a:lnTo>
                      <a:lnTo>
                        <a:pt x="20" y="0"/>
                      </a:lnTo>
                      <a:lnTo>
                        <a:pt x="20" y="1"/>
                      </a:lnTo>
                      <a:lnTo>
                        <a:pt x="23" y="3"/>
                      </a:lnTo>
                      <a:lnTo>
                        <a:pt x="25" y="5"/>
                      </a:lnTo>
                      <a:lnTo>
                        <a:pt x="23" y="8"/>
                      </a:lnTo>
                      <a:lnTo>
                        <a:pt x="21" y="14"/>
                      </a:lnTo>
                      <a:lnTo>
                        <a:pt x="21" y="15"/>
                      </a:lnTo>
                      <a:lnTo>
                        <a:pt x="21" y="17"/>
                      </a:lnTo>
                      <a:lnTo>
                        <a:pt x="21" y="17"/>
                      </a:lnTo>
                      <a:lnTo>
                        <a:pt x="21" y="21"/>
                      </a:lnTo>
                      <a:lnTo>
                        <a:pt x="21" y="21"/>
                      </a:lnTo>
                      <a:lnTo>
                        <a:pt x="21" y="22"/>
                      </a:lnTo>
                      <a:lnTo>
                        <a:pt x="20" y="26"/>
                      </a:lnTo>
                      <a:lnTo>
                        <a:pt x="20" y="28"/>
                      </a:lnTo>
                      <a:lnTo>
                        <a:pt x="20" y="36"/>
                      </a:lnTo>
                      <a:lnTo>
                        <a:pt x="20" y="42"/>
                      </a:lnTo>
                      <a:lnTo>
                        <a:pt x="16" y="45"/>
                      </a:lnTo>
                      <a:lnTo>
                        <a:pt x="11" y="50"/>
                      </a:lnTo>
                      <a:lnTo>
                        <a:pt x="7" y="54"/>
                      </a:lnTo>
                      <a:lnTo>
                        <a:pt x="7" y="57"/>
                      </a:lnTo>
                      <a:lnTo>
                        <a:pt x="2" y="57"/>
                      </a:lnTo>
                      <a:lnTo>
                        <a:pt x="0" y="57"/>
                      </a:lnTo>
                      <a:lnTo>
                        <a:pt x="2" y="14"/>
                      </a:lnTo>
                      <a:lnTo>
                        <a:pt x="2" y="12"/>
                      </a:lnTo>
                      <a:lnTo>
                        <a:pt x="2" y="10"/>
                      </a:lnTo>
                      <a:lnTo>
                        <a:pt x="4" y="12"/>
                      </a:lnTo>
                      <a:lnTo>
                        <a:pt x="6" y="12"/>
                      </a:lnTo>
                      <a:lnTo>
                        <a:pt x="7" y="10"/>
                      </a:lnTo>
                      <a:lnTo>
                        <a:pt x="9" y="10"/>
                      </a:lnTo>
                      <a:lnTo>
                        <a:pt x="9" y="10"/>
                      </a:lnTo>
                      <a:lnTo>
                        <a:pt x="13" y="7"/>
                      </a:lnTo>
                      <a:lnTo>
                        <a:pt x="14" y="3"/>
                      </a:lnTo>
                      <a:lnTo>
                        <a:pt x="16" y="0"/>
                      </a:lnTo>
                      <a:close/>
                      <a:moveTo>
                        <a:pt x="30" y="7"/>
                      </a:moveTo>
                      <a:lnTo>
                        <a:pt x="28" y="7"/>
                      </a:lnTo>
                      <a:lnTo>
                        <a:pt x="28" y="8"/>
                      </a:lnTo>
                      <a:lnTo>
                        <a:pt x="27" y="10"/>
                      </a:lnTo>
                      <a:lnTo>
                        <a:pt x="27" y="12"/>
                      </a:lnTo>
                      <a:lnTo>
                        <a:pt x="28" y="12"/>
                      </a:lnTo>
                      <a:lnTo>
                        <a:pt x="28" y="10"/>
                      </a:lnTo>
                      <a:lnTo>
                        <a:pt x="30" y="7"/>
                      </a:lnTo>
                      <a:close/>
                      <a:moveTo>
                        <a:pt x="30" y="21"/>
                      </a:moveTo>
                      <a:lnTo>
                        <a:pt x="30" y="21"/>
                      </a:lnTo>
                      <a:lnTo>
                        <a:pt x="28" y="22"/>
                      </a:lnTo>
                      <a:lnTo>
                        <a:pt x="28" y="24"/>
                      </a:lnTo>
                      <a:lnTo>
                        <a:pt x="28" y="26"/>
                      </a:lnTo>
                      <a:lnTo>
                        <a:pt x="28" y="24"/>
                      </a:lnTo>
                      <a:lnTo>
                        <a:pt x="30" y="2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12" name="Freeform 295">
                  <a:extLst>
                    <a:ext uri="{FF2B5EF4-FFF2-40B4-BE49-F238E27FC236}">
                      <a16:creationId xmlns:a16="http://schemas.microsoft.com/office/drawing/2014/main" id="{64B93B55-7605-3DF4-306B-6D97859B74EA}"/>
                    </a:ext>
                  </a:extLst>
                </p:cNvPr>
                <p:cNvSpPr>
                  <a:spLocks noEditPoints="1"/>
                </p:cNvSpPr>
                <p:nvPr/>
              </p:nvSpPr>
              <p:spPr bwMode="auto">
                <a:xfrm>
                  <a:off x="-1954" y="-3068"/>
                  <a:ext cx="60" cy="45"/>
                </a:xfrm>
                <a:custGeom>
                  <a:avLst/>
                  <a:gdLst>
                    <a:gd name="T0" fmla="*/ 58 w 60"/>
                    <a:gd name="T1" fmla="*/ 45 h 45"/>
                    <a:gd name="T2" fmla="*/ 49 w 60"/>
                    <a:gd name="T3" fmla="*/ 42 h 45"/>
                    <a:gd name="T4" fmla="*/ 39 w 60"/>
                    <a:gd name="T5" fmla="*/ 44 h 45"/>
                    <a:gd name="T6" fmla="*/ 23 w 60"/>
                    <a:gd name="T7" fmla="*/ 42 h 45"/>
                    <a:gd name="T8" fmla="*/ 16 w 60"/>
                    <a:gd name="T9" fmla="*/ 44 h 45"/>
                    <a:gd name="T10" fmla="*/ 11 w 60"/>
                    <a:gd name="T11" fmla="*/ 45 h 45"/>
                    <a:gd name="T12" fmla="*/ 0 w 60"/>
                    <a:gd name="T13" fmla="*/ 37 h 45"/>
                    <a:gd name="T14" fmla="*/ 6 w 60"/>
                    <a:gd name="T15" fmla="*/ 33 h 45"/>
                    <a:gd name="T16" fmla="*/ 27 w 60"/>
                    <a:gd name="T17" fmla="*/ 37 h 45"/>
                    <a:gd name="T18" fmla="*/ 34 w 60"/>
                    <a:gd name="T19" fmla="*/ 37 h 45"/>
                    <a:gd name="T20" fmla="*/ 44 w 60"/>
                    <a:gd name="T21" fmla="*/ 35 h 45"/>
                    <a:gd name="T22" fmla="*/ 44 w 60"/>
                    <a:gd name="T23" fmla="*/ 33 h 45"/>
                    <a:gd name="T24" fmla="*/ 41 w 60"/>
                    <a:gd name="T25" fmla="*/ 28 h 45"/>
                    <a:gd name="T26" fmla="*/ 37 w 60"/>
                    <a:gd name="T27" fmla="*/ 24 h 45"/>
                    <a:gd name="T28" fmla="*/ 37 w 60"/>
                    <a:gd name="T29" fmla="*/ 21 h 45"/>
                    <a:gd name="T30" fmla="*/ 37 w 60"/>
                    <a:gd name="T31" fmla="*/ 16 h 45"/>
                    <a:gd name="T32" fmla="*/ 34 w 60"/>
                    <a:gd name="T33" fmla="*/ 12 h 45"/>
                    <a:gd name="T34" fmla="*/ 25 w 60"/>
                    <a:gd name="T35" fmla="*/ 11 h 45"/>
                    <a:gd name="T36" fmla="*/ 23 w 60"/>
                    <a:gd name="T37" fmla="*/ 7 h 45"/>
                    <a:gd name="T38" fmla="*/ 34 w 60"/>
                    <a:gd name="T39" fmla="*/ 4 h 45"/>
                    <a:gd name="T40" fmla="*/ 48 w 60"/>
                    <a:gd name="T41" fmla="*/ 7 h 45"/>
                    <a:gd name="T42" fmla="*/ 58 w 60"/>
                    <a:gd name="T43" fmla="*/ 9 h 45"/>
                    <a:gd name="T44" fmla="*/ 58 w 60"/>
                    <a:gd name="T45" fmla="*/ 12 h 45"/>
                    <a:gd name="T46" fmla="*/ 58 w 60"/>
                    <a:gd name="T47" fmla="*/ 17 h 45"/>
                    <a:gd name="T48" fmla="*/ 60 w 60"/>
                    <a:gd name="T49" fmla="*/ 19 h 45"/>
                    <a:gd name="T50" fmla="*/ 60 w 60"/>
                    <a:gd name="T51" fmla="*/ 21 h 45"/>
                    <a:gd name="T52" fmla="*/ 58 w 60"/>
                    <a:gd name="T53" fmla="*/ 24 h 45"/>
                    <a:gd name="T54" fmla="*/ 56 w 60"/>
                    <a:gd name="T55" fmla="*/ 26 h 45"/>
                    <a:gd name="T56" fmla="*/ 58 w 60"/>
                    <a:gd name="T57" fmla="*/ 28 h 45"/>
                    <a:gd name="T58" fmla="*/ 56 w 60"/>
                    <a:gd name="T59" fmla="*/ 31 h 45"/>
                    <a:gd name="T60" fmla="*/ 53 w 60"/>
                    <a:gd name="T61" fmla="*/ 33 h 45"/>
                    <a:gd name="T62" fmla="*/ 56 w 60"/>
                    <a:gd name="T63" fmla="*/ 38 h 45"/>
                    <a:gd name="T64" fmla="*/ 58 w 60"/>
                    <a:gd name="T65" fmla="*/ 40 h 45"/>
                    <a:gd name="T66" fmla="*/ 35 w 60"/>
                    <a:gd name="T67" fmla="*/ 2 h 45"/>
                    <a:gd name="T68" fmla="*/ 39 w 60"/>
                    <a:gd name="T69" fmla="*/ 2 h 45"/>
                    <a:gd name="T70" fmla="*/ 35 w 60"/>
                    <a:gd name="T71" fmla="*/ 0 h 45"/>
                    <a:gd name="T72" fmla="*/ 32 w 60"/>
                    <a:gd name="T73" fmla="*/ 0 h 45"/>
                    <a:gd name="T74" fmla="*/ 35 w 60"/>
                    <a:gd name="T75" fmla="*/ 2 h 45"/>
                    <a:gd name="T76" fmla="*/ 34 w 60"/>
                    <a:gd name="T77" fmla="*/ 28 h 45"/>
                    <a:gd name="T78" fmla="*/ 27 w 60"/>
                    <a:gd name="T79" fmla="*/ 26 h 45"/>
                    <a:gd name="T80" fmla="*/ 30 w 60"/>
                    <a:gd name="T8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45">
                      <a:moveTo>
                        <a:pt x="58" y="44"/>
                      </a:moveTo>
                      <a:lnTo>
                        <a:pt x="58" y="45"/>
                      </a:lnTo>
                      <a:lnTo>
                        <a:pt x="53" y="44"/>
                      </a:lnTo>
                      <a:lnTo>
                        <a:pt x="49" y="42"/>
                      </a:lnTo>
                      <a:lnTo>
                        <a:pt x="44" y="42"/>
                      </a:lnTo>
                      <a:lnTo>
                        <a:pt x="39" y="44"/>
                      </a:lnTo>
                      <a:lnTo>
                        <a:pt x="34" y="44"/>
                      </a:lnTo>
                      <a:lnTo>
                        <a:pt x="23" y="42"/>
                      </a:lnTo>
                      <a:lnTo>
                        <a:pt x="18" y="42"/>
                      </a:lnTo>
                      <a:lnTo>
                        <a:pt x="16" y="44"/>
                      </a:lnTo>
                      <a:lnTo>
                        <a:pt x="13" y="45"/>
                      </a:lnTo>
                      <a:lnTo>
                        <a:pt x="11" y="45"/>
                      </a:lnTo>
                      <a:lnTo>
                        <a:pt x="2" y="40"/>
                      </a:lnTo>
                      <a:lnTo>
                        <a:pt x="0" y="37"/>
                      </a:lnTo>
                      <a:lnTo>
                        <a:pt x="2" y="33"/>
                      </a:lnTo>
                      <a:lnTo>
                        <a:pt x="6" y="33"/>
                      </a:lnTo>
                      <a:lnTo>
                        <a:pt x="9" y="33"/>
                      </a:lnTo>
                      <a:lnTo>
                        <a:pt x="27" y="37"/>
                      </a:lnTo>
                      <a:lnTo>
                        <a:pt x="32" y="37"/>
                      </a:lnTo>
                      <a:lnTo>
                        <a:pt x="34" y="37"/>
                      </a:lnTo>
                      <a:lnTo>
                        <a:pt x="35" y="37"/>
                      </a:lnTo>
                      <a:lnTo>
                        <a:pt x="44" y="35"/>
                      </a:lnTo>
                      <a:lnTo>
                        <a:pt x="44" y="35"/>
                      </a:lnTo>
                      <a:lnTo>
                        <a:pt x="44" y="33"/>
                      </a:lnTo>
                      <a:lnTo>
                        <a:pt x="44" y="31"/>
                      </a:lnTo>
                      <a:lnTo>
                        <a:pt x="41" y="28"/>
                      </a:lnTo>
                      <a:lnTo>
                        <a:pt x="39" y="26"/>
                      </a:lnTo>
                      <a:lnTo>
                        <a:pt x="37" y="24"/>
                      </a:lnTo>
                      <a:lnTo>
                        <a:pt x="37" y="23"/>
                      </a:lnTo>
                      <a:lnTo>
                        <a:pt x="37" y="21"/>
                      </a:lnTo>
                      <a:lnTo>
                        <a:pt x="37" y="17"/>
                      </a:lnTo>
                      <a:lnTo>
                        <a:pt x="37" y="16"/>
                      </a:lnTo>
                      <a:lnTo>
                        <a:pt x="35" y="14"/>
                      </a:lnTo>
                      <a:lnTo>
                        <a:pt x="34" y="12"/>
                      </a:lnTo>
                      <a:lnTo>
                        <a:pt x="32" y="12"/>
                      </a:lnTo>
                      <a:lnTo>
                        <a:pt x="25" y="11"/>
                      </a:lnTo>
                      <a:lnTo>
                        <a:pt x="23" y="11"/>
                      </a:lnTo>
                      <a:lnTo>
                        <a:pt x="23" y="7"/>
                      </a:lnTo>
                      <a:lnTo>
                        <a:pt x="27" y="5"/>
                      </a:lnTo>
                      <a:lnTo>
                        <a:pt x="34" y="4"/>
                      </a:lnTo>
                      <a:lnTo>
                        <a:pt x="39" y="4"/>
                      </a:lnTo>
                      <a:lnTo>
                        <a:pt x="48" y="7"/>
                      </a:lnTo>
                      <a:lnTo>
                        <a:pt x="53" y="9"/>
                      </a:lnTo>
                      <a:lnTo>
                        <a:pt x="58" y="9"/>
                      </a:lnTo>
                      <a:lnTo>
                        <a:pt x="58" y="11"/>
                      </a:lnTo>
                      <a:lnTo>
                        <a:pt x="58" y="12"/>
                      </a:lnTo>
                      <a:lnTo>
                        <a:pt x="58" y="16"/>
                      </a:lnTo>
                      <a:lnTo>
                        <a:pt x="58" y="17"/>
                      </a:lnTo>
                      <a:lnTo>
                        <a:pt x="58" y="19"/>
                      </a:lnTo>
                      <a:lnTo>
                        <a:pt x="60" y="19"/>
                      </a:lnTo>
                      <a:lnTo>
                        <a:pt x="60" y="21"/>
                      </a:lnTo>
                      <a:lnTo>
                        <a:pt x="60" y="21"/>
                      </a:lnTo>
                      <a:lnTo>
                        <a:pt x="60" y="23"/>
                      </a:lnTo>
                      <a:lnTo>
                        <a:pt x="58" y="24"/>
                      </a:lnTo>
                      <a:lnTo>
                        <a:pt x="56" y="26"/>
                      </a:lnTo>
                      <a:lnTo>
                        <a:pt x="56" y="26"/>
                      </a:lnTo>
                      <a:lnTo>
                        <a:pt x="58" y="28"/>
                      </a:lnTo>
                      <a:lnTo>
                        <a:pt x="58" y="28"/>
                      </a:lnTo>
                      <a:lnTo>
                        <a:pt x="58" y="31"/>
                      </a:lnTo>
                      <a:lnTo>
                        <a:pt x="56" y="31"/>
                      </a:lnTo>
                      <a:lnTo>
                        <a:pt x="55" y="33"/>
                      </a:lnTo>
                      <a:lnTo>
                        <a:pt x="53" y="33"/>
                      </a:lnTo>
                      <a:lnTo>
                        <a:pt x="53" y="35"/>
                      </a:lnTo>
                      <a:lnTo>
                        <a:pt x="56" y="38"/>
                      </a:lnTo>
                      <a:lnTo>
                        <a:pt x="58" y="40"/>
                      </a:lnTo>
                      <a:lnTo>
                        <a:pt x="58" y="40"/>
                      </a:lnTo>
                      <a:lnTo>
                        <a:pt x="58" y="44"/>
                      </a:lnTo>
                      <a:close/>
                      <a:moveTo>
                        <a:pt x="35" y="2"/>
                      </a:moveTo>
                      <a:lnTo>
                        <a:pt x="37" y="2"/>
                      </a:lnTo>
                      <a:lnTo>
                        <a:pt x="39" y="2"/>
                      </a:lnTo>
                      <a:lnTo>
                        <a:pt x="37" y="0"/>
                      </a:lnTo>
                      <a:lnTo>
                        <a:pt x="35" y="0"/>
                      </a:lnTo>
                      <a:lnTo>
                        <a:pt x="34" y="0"/>
                      </a:lnTo>
                      <a:lnTo>
                        <a:pt x="32" y="0"/>
                      </a:lnTo>
                      <a:lnTo>
                        <a:pt x="34" y="2"/>
                      </a:lnTo>
                      <a:lnTo>
                        <a:pt x="35" y="2"/>
                      </a:lnTo>
                      <a:close/>
                      <a:moveTo>
                        <a:pt x="35" y="31"/>
                      </a:moveTo>
                      <a:lnTo>
                        <a:pt x="34" y="28"/>
                      </a:lnTo>
                      <a:lnTo>
                        <a:pt x="30" y="26"/>
                      </a:lnTo>
                      <a:lnTo>
                        <a:pt x="27" y="26"/>
                      </a:lnTo>
                      <a:lnTo>
                        <a:pt x="25" y="26"/>
                      </a:lnTo>
                      <a:lnTo>
                        <a:pt x="30" y="30"/>
                      </a:lnTo>
                      <a:lnTo>
                        <a:pt x="35" y="3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13" name="Freeform 296">
                  <a:extLst>
                    <a:ext uri="{FF2B5EF4-FFF2-40B4-BE49-F238E27FC236}">
                      <a16:creationId xmlns:a16="http://schemas.microsoft.com/office/drawing/2014/main" id="{D057B87C-E521-8524-2EF7-3E0F21BD4854}"/>
                    </a:ext>
                  </a:extLst>
                </p:cNvPr>
                <p:cNvSpPr>
                  <a:spLocks noEditPoints="1"/>
                </p:cNvSpPr>
                <p:nvPr/>
              </p:nvSpPr>
              <p:spPr bwMode="auto">
                <a:xfrm>
                  <a:off x="-1706" y="-3007"/>
                  <a:ext cx="7" cy="5"/>
                </a:xfrm>
                <a:custGeom>
                  <a:avLst/>
                  <a:gdLst>
                    <a:gd name="T0" fmla="*/ 6 w 7"/>
                    <a:gd name="T1" fmla="*/ 5 h 5"/>
                    <a:gd name="T2" fmla="*/ 6 w 7"/>
                    <a:gd name="T3" fmla="*/ 4 h 5"/>
                    <a:gd name="T4" fmla="*/ 7 w 7"/>
                    <a:gd name="T5" fmla="*/ 5 h 5"/>
                    <a:gd name="T6" fmla="*/ 6 w 7"/>
                    <a:gd name="T7" fmla="*/ 5 h 5"/>
                    <a:gd name="T8" fmla="*/ 6 w 7"/>
                    <a:gd name="T9" fmla="*/ 5 h 5"/>
                    <a:gd name="T10" fmla="*/ 0 w 7"/>
                    <a:gd name="T11" fmla="*/ 2 h 5"/>
                    <a:gd name="T12" fmla="*/ 6 w 7"/>
                    <a:gd name="T13" fmla="*/ 4 h 5"/>
                    <a:gd name="T14" fmla="*/ 2 w 7"/>
                    <a:gd name="T15" fmla="*/ 0 h 5"/>
                    <a:gd name="T16" fmla="*/ 0 w 7"/>
                    <a:gd name="T17" fmla="*/ 0 h 5"/>
                    <a:gd name="T18" fmla="*/ 0 w 7"/>
                    <a:gd name="T1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6" y="5"/>
                      </a:moveTo>
                      <a:lnTo>
                        <a:pt x="6" y="4"/>
                      </a:lnTo>
                      <a:lnTo>
                        <a:pt x="7" y="5"/>
                      </a:lnTo>
                      <a:lnTo>
                        <a:pt x="6" y="5"/>
                      </a:lnTo>
                      <a:lnTo>
                        <a:pt x="6" y="5"/>
                      </a:lnTo>
                      <a:close/>
                      <a:moveTo>
                        <a:pt x="0" y="2"/>
                      </a:moveTo>
                      <a:lnTo>
                        <a:pt x="6" y="4"/>
                      </a:lnTo>
                      <a:lnTo>
                        <a:pt x="2" y="0"/>
                      </a:lnTo>
                      <a:lnTo>
                        <a:pt x="0" y="0"/>
                      </a:lnTo>
                      <a:lnTo>
                        <a:pt x="0"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14" name="Freeform 297">
                  <a:extLst>
                    <a:ext uri="{FF2B5EF4-FFF2-40B4-BE49-F238E27FC236}">
                      <a16:creationId xmlns:a16="http://schemas.microsoft.com/office/drawing/2014/main" id="{EED83AC1-5620-272E-1D3C-1ACEC287E5A7}"/>
                    </a:ext>
                  </a:extLst>
                </p:cNvPr>
                <p:cNvSpPr>
                  <a:spLocks/>
                </p:cNvSpPr>
                <p:nvPr/>
              </p:nvSpPr>
              <p:spPr bwMode="auto">
                <a:xfrm>
                  <a:off x="-1713" y="-3026"/>
                  <a:ext cx="4" cy="2"/>
                </a:xfrm>
                <a:custGeom>
                  <a:avLst/>
                  <a:gdLst>
                    <a:gd name="T0" fmla="*/ 4 w 4"/>
                    <a:gd name="T1" fmla="*/ 0 h 2"/>
                    <a:gd name="T2" fmla="*/ 4 w 4"/>
                    <a:gd name="T3" fmla="*/ 0 h 2"/>
                    <a:gd name="T4" fmla="*/ 2 w 4"/>
                    <a:gd name="T5" fmla="*/ 0 h 2"/>
                    <a:gd name="T6" fmla="*/ 0 w 4"/>
                    <a:gd name="T7" fmla="*/ 0 h 2"/>
                    <a:gd name="T8" fmla="*/ 0 w 4"/>
                    <a:gd name="T9" fmla="*/ 2 h 2"/>
                    <a:gd name="T10" fmla="*/ 2 w 4"/>
                    <a:gd name="T11" fmla="*/ 2 h 2"/>
                    <a:gd name="T12" fmla="*/ 2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2" y="0"/>
                      </a:lnTo>
                      <a:lnTo>
                        <a:pt x="0" y="0"/>
                      </a:lnTo>
                      <a:lnTo>
                        <a:pt x="0" y="2"/>
                      </a:lnTo>
                      <a:lnTo>
                        <a:pt x="2" y="2"/>
                      </a:lnTo>
                      <a:lnTo>
                        <a:pt x="2" y="0"/>
                      </a:lnTo>
                      <a:lnTo>
                        <a:pt x="4" y="0"/>
                      </a:lnTo>
                      <a:lnTo>
                        <a:pt x="4"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15" name="Freeform 298">
                  <a:extLst>
                    <a:ext uri="{FF2B5EF4-FFF2-40B4-BE49-F238E27FC236}">
                      <a16:creationId xmlns:a16="http://schemas.microsoft.com/office/drawing/2014/main" id="{23D04ACE-31B0-97E9-6EFF-9D1153F052E0}"/>
                    </a:ext>
                  </a:extLst>
                </p:cNvPr>
                <p:cNvSpPr>
                  <a:spLocks/>
                </p:cNvSpPr>
                <p:nvPr/>
              </p:nvSpPr>
              <p:spPr bwMode="auto">
                <a:xfrm>
                  <a:off x="-1706" y="-3019"/>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16" name="Freeform 299">
                  <a:extLst>
                    <a:ext uri="{FF2B5EF4-FFF2-40B4-BE49-F238E27FC236}">
                      <a16:creationId xmlns:a16="http://schemas.microsoft.com/office/drawing/2014/main" id="{84BB1365-C392-F548-32E3-080474696D6C}"/>
                    </a:ext>
                  </a:extLst>
                </p:cNvPr>
                <p:cNvSpPr>
                  <a:spLocks/>
                </p:cNvSpPr>
                <p:nvPr/>
              </p:nvSpPr>
              <p:spPr bwMode="auto">
                <a:xfrm>
                  <a:off x="-1711" y="-3023"/>
                  <a:ext cx="2" cy="0"/>
                </a:xfrm>
                <a:custGeom>
                  <a:avLst/>
                  <a:gdLst>
                    <a:gd name="T0" fmla="*/ 0 w 2"/>
                    <a:gd name="T1" fmla="*/ 2 w 2"/>
                    <a:gd name="T2" fmla="*/ 2 w 2"/>
                    <a:gd name="T3" fmla="*/ 2 w 2"/>
                    <a:gd name="T4" fmla="*/ 0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2" y="0"/>
                      </a:lnTo>
                      <a:lnTo>
                        <a:pt x="2" y="0"/>
                      </a:lnTo>
                      <a:lnTo>
                        <a:pt x="2" y="0"/>
                      </a:lnTo>
                      <a:lnTo>
                        <a:pt x="0" y="0"/>
                      </a:lnTo>
                      <a:lnTo>
                        <a:pt x="0"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17" name="Freeform 300">
                  <a:extLst>
                    <a:ext uri="{FF2B5EF4-FFF2-40B4-BE49-F238E27FC236}">
                      <a16:creationId xmlns:a16="http://schemas.microsoft.com/office/drawing/2014/main" id="{57998F04-EFA0-F5B0-DFA9-FE0AF0815177}"/>
                    </a:ext>
                  </a:extLst>
                </p:cNvPr>
                <p:cNvSpPr>
                  <a:spLocks/>
                </p:cNvSpPr>
                <p:nvPr/>
              </p:nvSpPr>
              <p:spPr bwMode="auto">
                <a:xfrm>
                  <a:off x="-1692" y="-2995"/>
                  <a:ext cx="0" cy="4"/>
                </a:xfrm>
                <a:custGeom>
                  <a:avLst/>
                  <a:gdLst>
                    <a:gd name="T0" fmla="*/ 2 h 4"/>
                    <a:gd name="T1" fmla="*/ 2 h 4"/>
                    <a:gd name="T2" fmla="*/ 4 h 4"/>
                    <a:gd name="T3" fmla="*/ 2 h 4"/>
                    <a:gd name="T4" fmla="*/ 0 h 4"/>
                    <a:gd name="T5" fmla="*/ 2 h 4"/>
                    <a:gd name="T6" fmla="*/ 2 h 4"/>
                  </a:gdLst>
                  <a:ahLst/>
                  <a:cxnLst>
                    <a:cxn ang="0">
                      <a:pos x="0" y="T0"/>
                    </a:cxn>
                    <a:cxn ang="0">
                      <a:pos x="0" y="T1"/>
                    </a:cxn>
                    <a:cxn ang="0">
                      <a:pos x="0" y="T2"/>
                    </a:cxn>
                    <a:cxn ang="0">
                      <a:pos x="0" y="T3"/>
                    </a:cxn>
                    <a:cxn ang="0">
                      <a:pos x="0" y="T4"/>
                    </a:cxn>
                    <a:cxn ang="0">
                      <a:pos x="0" y="T5"/>
                    </a:cxn>
                    <a:cxn ang="0">
                      <a:pos x="0" y="T6"/>
                    </a:cxn>
                  </a:cxnLst>
                  <a:rect l="0" t="0" r="r" b="b"/>
                  <a:pathLst>
                    <a:path h="4">
                      <a:moveTo>
                        <a:pt x="0" y="2"/>
                      </a:moveTo>
                      <a:lnTo>
                        <a:pt x="0" y="2"/>
                      </a:lnTo>
                      <a:lnTo>
                        <a:pt x="0" y="4"/>
                      </a:lnTo>
                      <a:lnTo>
                        <a:pt x="0" y="2"/>
                      </a:lnTo>
                      <a:lnTo>
                        <a:pt x="0" y="0"/>
                      </a:lnTo>
                      <a:lnTo>
                        <a:pt x="0" y="2"/>
                      </a:lnTo>
                      <a:lnTo>
                        <a:pt x="0"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18" name="Freeform 301">
                  <a:extLst>
                    <a:ext uri="{FF2B5EF4-FFF2-40B4-BE49-F238E27FC236}">
                      <a16:creationId xmlns:a16="http://schemas.microsoft.com/office/drawing/2014/main" id="{D431AA38-1A2D-B69D-4A00-F8E2794FC259}"/>
                    </a:ext>
                  </a:extLst>
                </p:cNvPr>
                <p:cNvSpPr>
                  <a:spLocks noEditPoints="1"/>
                </p:cNvSpPr>
                <p:nvPr/>
              </p:nvSpPr>
              <p:spPr bwMode="auto">
                <a:xfrm>
                  <a:off x="-1753" y="-3030"/>
                  <a:ext cx="11" cy="16"/>
                </a:xfrm>
                <a:custGeom>
                  <a:avLst/>
                  <a:gdLst>
                    <a:gd name="T0" fmla="*/ 7 w 11"/>
                    <a:gd name="T1" fmla="*/ 0 h 16"/>
                    <a:gd name="T2" fmla="*/ 7 w 11"/>
                    <a:gd name="T3" fmla="*/ 0 h 16"/>
                    <a:gd name="T4" fmla="*/ 9 w 11"/>
                    <a:gd name="T5" fmla="*/ 0 h 16"/>
                    <a:gd name="T6" fmla="*/ 7 w 11"/>
                    <a:gd name="T7" fmla="*/ 2 h 16"/>
                    <a:gd name="T8" fmla="*/ 7 w 11"/>
                    <a:gd name="T9" fmla="*/ 2 h 16"/>
                    <a:gd name="T10" fmla="*/ 6 w 11"/>
                    <a:gd name="T11" fmla="*/ 2 h 16"/>
                    <a:gd name="T12" fmla="*/ 7 w 11"/>
                    <a:gd name="T13" fmla="*/ 0 h 16"/>
                    <a:gd name="T14" fmla="*/ 7 w 11"/>
                    <a:gd name="T15" fmla="*/ 0 h 16"/>
                    <a:gd name="T16" fmla="*/ 2 w 11"/>
                    <a:gd name="T17" fmla="*/ 0 h 16"/>
                    <a:gd name="T18" fmla="*/ 2 w 11"/>
                    <a:gd name="T19" fmla="*/ 0 h 16"/>
                    <a:gd name="T20" fmla="*/ 0 w 11"/>
                    <a:gd name="T21" fmla="*/ 0 h 16"/>
                    <a:gd name="T22" fmla="*/ 2 w 11"/>
                    <a:gd name="T23" fmla="*/ 0 h 16"/>
                    <a:gd name="T24" fmla="*/ 2 w 11"/>
                    <a:gd name="T25" fmla="*/ 2 h 16"/>
                    <a:gd name="T26" fmla="*/ 4 w 11"/>
                    <a:gd name="T27" fmla="*/ 2 h 16"/>
                    <a:gd name="T28" fmla="*/ 4 w 11"/>
                    <a:gd name="T29" fmla="*/ 2 h 16"/>
                    <a:gd name="T30" fmla="*/ 4 w 11"/>
                    <a:gd name="T31" fmla="*/ 0 h 16"/>
                    <a:gd name="T32" fmla="*/ 2 w 11"/>
                    <a:gd name="T33" fmla="*/ 0 h 16"/>
                    <a:gd name="T34" fmla="*/ 7 w 11"/>
                    <a:gd name="T35" fmla="*/ 16 h 16"/>
                    <a:gd name="T36" fmla="*/ 9 w 11"/>
                    <a:gd name="T37" fmla="*/ 16 h 16"/>
                    <a:gd name="T38" fmla="*/ 11 w 11"/>
                    <a:gd name="T39" fmla="*/ 14 h 16"/>
                    <a:gd name="T40" fmla="*/ 6 w 11"/>
                    <a:gd name="T41" fmla="*/ 14 h 16"/>
                    <a:gd name="T42" fmla="*/ 4 w 11"/>
                    <a:gd name="T43" fmla="*/ 14 h 16"/>
                    <a:gd name="T44" fmla="*/ 4 w 11"/>
                    <a:gd name="T45" fmla="*/ 16 h 16"/>
                    <a:gd name="T46" fmla="*/ 6 w 11"/>
                    <a:gd name="T47" fmla="*/ 16 h 16"/>
                    <a:gd name="T48" fmla="*/ 7 w 11"/>
                    <a:gd name="T4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 h="16">
                      <a:moveTo>
                        <a:pt x="7" y="0"/>
                      </a:moveTo>
                      <a:lnTo>
                        <a:pt x="7" y="0"/>
                      </a:lnTo>
                      <a:lnTo>
                        <a:pt x="9" y="0"/>
                      </a:lnTo>
                      <a:lnTo>
                        <a:pt x="7" y="2"/>
                      </a:lnTo>
                      <a:lnTo>
                        <a:pt x="7" y="2"/>
                      </a:lnTo>
                      <a:lnTo>
                        <a:pt x="6" y="2"/>
                      </a:lnTo>
                      <a:lnTo>
                        <a:pt x="7" y="0"/>
                      </a:lnTo>
                      <a:lnTo>
                        <a:pt x="7" y="0"/>
                      </a:lnTo>
                      <a:close/>
                      <a:moveTo>
                        <a:pt x="2" y="0"/>
                      </a:moveTo>
                      <a:lnTo>
                        <a:pt x="2" y="0"/>
                      </a:lnTo>
                      <a:lnTo>
                        <a:pt x="0" y="0"/>
                      </a:lnTo>
                      <a:lnTo>
                        <a:pt x="2" y="0"/>
                      </a:lnTo>
                      <a:lnTo>
                        <a:pt x="2" y="2"/>
                      </a:lnTo>
                      <a:lnTo>
                        <a:pt x="4" y="2"/>
                      </a:lnTo>
                      <a:lnTo>
                        <a:pt x="4" y="2"/>
                      </a:lnTo>
                      <a:lnTo>
                        <a:pt x="4" y="0"/>
                      </a:lnTo>
                      <a:lnTo>
                        <a:pt x="2" y="0"/>
                      </a:lnTo>
                      <a:close/>
                      <a:moveTo>
                        <a:pt x="7" y="16"/>
                      </a:moveTo>
                      <a:lnTo>
                        <a:pt x="9" y="16"/>
                      </a:lnTo>
                      <a:lnTo>
                        <a:pt x="11" y="14"/>
                      </a:lnTo>
                      <a:lnTo>
                        <a:pt x="6" y="14"/>
                      </a:lnTo>
                      <a:lnTo>
                        <a:pt x="4" y="14"/>
                      </a:lnTo>
                      <a:lnTo>
                        <a:pt x="4" y="16"/>
                      </a:lnTo>
                      <a:lnTo>
                        <a:pt x="6" y="16"/>
                      </a:lnTo>
                      <a:lnTo>
                        <a:pt x="7" y="1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19" name="Freeform 302">
                  <a:extLst>
                    <a:ext uri="{FF2B5EF4-FFF2-40B4-BE49-F238E27FC236}">
                      <a16:creationId xmlns:a16="http://schemas.microsoft.com/office/drawing/2014/main" id="{DD797E12-424C-1526-87AB-56DD49B1BD2E}"/>
                    </a:ext>
                  </a:extLst>
                </p:cNvPr>
                <p:cNvSpPr>
                  <a:spLocks/>
                </p:cNvSpPr>
                <p:nvPr/>
              </p:nvSpPr>
              <p:spPr bwMode="auto">
                <a:xfrm>
                  <a:off x="-1709" y="-3010"/>
                  <a:ext cx="2" cy="1"/>
                </a:xfrm>
                <a:custGeom>
                  <a:avLst/>
                  <a:gdLst>
                    <a:gd name="T0" fmla="*/ 0 w 2"/>
                    <a:gd name="T1" fmla="*/ 1 h 1"/>
                    <a:gd name="T2" fmla="*/ 0 w 2"/>
                    <a:gd name="T3" fmla="*/ 0 h 1"/>
                    <a:gd name="T4" fmla="*/ 2 w 2"/>
                    <a:gd name="T5" fmla="*/ 0 h 1"/>
                    <a:gd name="T6" fmla="*/ 2 w 2"/>
                    <a:gd name="T7" fmla="*/ 0 h 1"/>
                    <a:gd name="T8" fmla="*/ 0 w 2"/>
                    <a:gd name="T9" fmla="*/ 0 h 1"/>
                    <a:gd name="T10" fmla="*/ 0 w 2"/>
                    <a:gd name="T11" fmla="*/ 0 h 1"/>
                    <a:gd name="T12" fmla="*/ 0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1"/>
                      </a:moveTo>
                      <a:lnTo>
                        <a:pt x="0" y="0"/>
                      </a:lnTo>
                      <a:lnTo>
                        <a:pt x="2" y="0"/>
                      </a:lnTo>
                      <a:lnTo>
                        <a:pt x="2" y="0"/>
                      </a:lnTo>
                      <a:lnTo>
                        <a:pt x="0" y="0"/>
                      </a:lnTo>
                      <a:lnTo>
                        <a:pt x="0" y="0"/>
                      </a:lnTo>
                      <a:lnTo>
                        <a:pt x="0" y="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20" name="Freeform 303">
                  <a:extLst>
                    <a:ext uri="{FF2B5EF4-FFF2-40B4-BE49-F238E27FC236}">
                      <a16:creationId xmlns:a16="http://schemas.microsoft.com/office/drawing/2014/main" id="{BDF5A03D-6B12-C143-09CB-65E06D6B9155}"/>
                    </a:ext>
                  </a:extLst>
                </p:cNvPr>
                <p:cNvSpPr>
                  <a:spLocks noEditPoints="1"/>
                </p:cNvSpPr>
                <p:nvPr/>
              </p:nvSpPr>
              <p:spPr bwMode="auto">
                <a:xfrm>
                  <a:off x="-1746" y="-3038"/>
                  <a:ext cx="9" cy="8"/>
                </a:xfrm>
                <a:custGeom>
                  <a:avLst/>
                  <a:gdLst>
                    <a:gd name="T0" fmla="*/ 4 w 9"/>
                    <a:gd name="T1" fmla="*/ 7 h 8"/>
                    <a:gd name="T2" fmla="*/ 2 w 9"/>
                    <a:gd name="T3" fmla="*/ 8 h 8"/>
                    <a:gd name="T4" fmla="*/ 2 w 9"/>
                    <a:gd name="T5" fmla="*/ 8 h 8"/>
                    <a:gd name="T6" fmla="*/ 0 w 9"/>
                    <a:gd name="T7" fmla="*/ 8 h 8"/>
                    <a:gd name="T8" fmla="*/ 2 w 9"/>
                    <a:gd name="T9" fmla="*/ 7 h 8"/>
                    <a:gd name="T10" fmla="*/ 2 w 9"/>
                    <a:gd name="T11" fmla="*/ 7 h 8"/>
                    <a:gd name="T12" fmla="*/ 4 w 9"/>
                    <a:gd name="T13" fmla="*/ 7 h 8"/>
                    <a:gd name="T14" fmla="*/ 9 w 9"/>
                    <a:gd name="T15" fmla="*/ 0 h 8"/>
                    <a:gd name="T16" fmla="*/ 7 w 9"/>
                    <a:gd name="T17" fmla="*/ 0 h 8"/>
                    <a:gd name="T18" fmla="*/ 7 w 9"/>
                    <a:gd name="T19" fmla="*/ 0 h 8"/>
                    <a:gd name="T20" fmla="*/ 9 w 9"/>
                    <a:gd name="T21" fmla="*/ 1 h 8"/>
                    <a:gd name="T22" fmla="*/ 9 w 9"/>
                    <a:gd name="T23" fmla="*/ 1 h 8"/>
                    <a:gd name="T24" fmla="*/ 9 w 9"/>
                    <a:gd name="T25" fmla="*/ 0 h 8"/>
                    <a:gd name="T26" fmla="*/ 7 w 9"/>
                    <a:gd name="T27" fmla="*/ 5 h 8"/>
                    <a:gd name="T28" fmla="*/ 5 w 9"/>
                    <a:gd name="T29" fmla="*/ 7 h 8"/>
                    <a:gd name="T30" fmla="*/ 5 w 9"/>
                    <a:gd name="T31" fmla="*/ 7 h 8"/>
                    <a:gd name="T32" fmla="*/ 7 w 9"/>
                    <a:gd name="T33" fmla="*/ 7 h 8"/>
                    <a:gd name="T34" fmla="*/ 7 w 9"/>
                    <a:gd name="T35" fmla="*/ 7 h 8"/>
                    <a:gd name="T36" fmla="*/ 9 w 9"/>
                    <a:gd name="T37" fmla="*/ 5 h 8"/>
                    <a:gd name="T38" fmla="*/ 7 w 9"/>
                    <a:gd name="T39" fmla="*/ 5 h 8"/>
                    <a:gd name="T40" fmla="*/ 7 w 9"/>
                    <a:gd name="T41"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8">
                      <a:moveTo>
                        <a:pt x="4" y="7"/>
                      </a:moveTo>
                      <a:lnTo>
                        <a:pt x="2" y="8"/>
                      </a:lnTo>
                      <a:lnTo>
                        <a:pt x="2" y="8"/>
                      </a:lnTo>
                      <a:lnTo>
                        <a:pt x="0" y="8"/>
                      </a:lnTo>
                      <a:lnTo>
                        <a:pt x="2" y="7"/>
                      </a:lnTo>
                      <a:lnTo>
                        <a:pt x="2" y="7"/>
                      </a:lnTo>
                      <a:lnTo>
                        <a:pt x="4" y="7"/>
                      </a:lnTo>
                      <a:close/>
                      <a:moveTo>
                        <a:pt x="9" y="0"/>
                      </a:moveTo>
                      <a:lnTo>
                        <a:pt x="7" y="0"/>
                      </a:lnTo>
                      <a:lnTo>
                        <a:pt x="7" y="0"/>
                      </a:lnTo>
                      <a:lnTo>
                        <a:pt x="9" y="1"/>
                      </a:lnTo>
                      <a:lnTo>
                        <a:pt x="9" y="1"/>
                      </a:lnTo>
                      <a:lnTo>
                        <a:pt x="9" y="0"/>
                      </a:lnTo>
                      <a:close/>
                      <a:moveTo>
                        <a:pt x="7" y="5"/>
                      </a:moveTo>
                      <a:lnTo>
                        <a:pt x="5" y="7"/>
                      </a:lnTo>
                      <a:lnTo>
                        <a:pt x="5" y="7"/>
                      </a:lnTo>
                      <a:lnTo>
                        <a:pt x="7" y="7"/>
                      </a:lnTo>
                      <a:lnTo>
                        <a:pt x="7" y="7"/>
                      </a:lnTo>
                      <a:lnTo>
                        <a:pt x="9" y="5"/>
                      </a:lnTo>
                      <a:lnTo>
                        <a:pt x="7" y="5"/>
                      </a:lnTo>
                      <a:lnTo>
                        <a:pt x="7" y="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21" name="Freeform 304">
                  <a:extLst>
                    <a:ext uri="{FF2B5EF4-FFF2-40B4-BE49-F238E27FC236}">
                      <a16:creationId xmlns:a16="http://schemas.microsoft.com/office/drawing/2014/main" id="{CC92E619-64D8-1F0D-FF92-EF45237DB6D3}"/>
                    </a:ext>
                  </a:extLst>
                </p:cNvPr>
                <p:cNvSpPr>
                  <a:spLocks/>
                </p:cNvSpPr>
                <p:nvPr/>
              </p:nvSpPr>
              <p:spPr bwMode="auto">
                <a:xfrm>
                  <a:off x="-1683" y="-2892"/>
                  <a:ext cx="4" cy="4"/>
                </a:xfrm>
                <a:custGeom>
                  <a:avLst/>
                  <a:gdLst>
                    <a:gd name="T0" fmla="*/ 0 w 4"/>
                    <a:gd name="T1" fmla="*/ 4 h 4"/>
                    <a:gd name="T2" fmla="*/ 4 w 4"/>
                    <a:gd name="T3" fmla="*/ 2 h 4"/>
                    <a:gd name="T4" fmla="*/ 4 w 4"/>
                    <a:gd name="T5" fmla="*/ 0 h 4"/>
                    <a:gd name="T6" fmla="*/ 2 w 4"/>
                    <a:gd name="T7" fmla="*/ 0 h 4"/>
                    <a:gd name="T8" fmla="*/ 0 w 4"/>
                    <a:gd name="T9" fmla="*/ 4 h 4"/>
                  </a:gdLst>
                  <a:ahLst/>
                  <a:cxnLst>
                    <a:cxn ang="0">
                      <a:pos x="T0" y="T1"/>
                    </a:cxn>
                    <a:cxn ang="0">
                      <a:pos x="T2" y="T3"/>
                    </a:cxn>
                    <a:cxn ang="0">
                      <a:pos x="T4" y="T5"/>
                    </a:cxn>
                    <a:cxn ang="0">
                      <a:pos x="T6" y="T7"/>
                    </a:cxn>
                    <a:cxn ang="0">
                      <a:pos x="T8" y="T9"/>
                    </a:cxn>
                  </a:cxnLst>
                  <a:rect l="0" t="0" r="r" b="b"/>
                  <a:pathLst>
                    <a:path w="4" h="4">
                      <a:moveTo>
                        <a:pt x="0" y="4"/>
                      </a:moveTo>
                      <a:lnTo>
                        <a:pt x="4" y="2"/>
                      </a:lnTo>
                      <a:lnTo>
                        <a:pt x="4" y="0"/>
                      </a:lnTo>
                      <a:lnTo>
                        <a:pt x="2" y="0"/>
                      </a:lnTo>
                      <a:lnTo>
                        <a:pt x="0" y="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22" name="Freeform 305">
                  <a:extLst>
                    <a:ext uri="{FF2B5EF4-FFF2-40B4-BE49-F238E27FC236}">
                      <a16:creationId xmlns:a16="http://schemas.microsoft.com/office/drawing/2014/main" id="{FF4F1DE1-B6EE-A4D2-8224-D8A0426CD8CA}"/>
                    </a:ext>
                  </a:extLst>
                </p:cNvPr>
                <p:cNvSpPr>
                  <a:spLocks/>
                </p:cNvSpPr>
                <p:nvPr/>
              </p:nvSpPr>
              <p:spPr bwMode="auto">
                <a:xfrm>
                  <a:off x="-1676" y="-2968"/>
                  <a:ext cx="4" cy="8"/>
                </a:xfrm>
                <a:custGeom>
                  <a:avLst/>
                  <a:gdLst>
                    <a:gd name="T0" fmla="*/ 4 w 4"/>
                    <a:gd name="T1" fmla="*/ 7 h 8"/>
                    <a:gd name="T2" fmla="*/ 4 w 4"/>
                    <a:gd name="T3" fmla="*/ 3 h 8"/>
                    <a:gd name="T4" fmla="*/ 4 w 4"/>
                    <a:gd name="T5" fmla="*/ 1 h 8"/>
                    <a:gd name="T6" fmla="*/ 2 w 4"/>
                    <a:gd name="T7" fmla="*/ 1 h 8"/>
                    <a:gd name="T8" fmla="*/ 0 w 4"/>
                    <a:gd name="T9" fmla="*/ 0 h 8"/>
                    <a:gd name="T10" fmla="*/ 0 w 4"/>
                    <a:gd name="T11" fmla="*/ 1 h 8"/>
                    <a:gd name="T12" fmla="*/ 0 w 4"/>
                    <a:gd name="T13" fmla="*/ 5 h 8"/>
                    <a:gd name="T14" fmla="*/ 2 w 4"/>
                    <a:gd name="T15" fmla="*/ 7 h 8"/>
                    <a:gd name="T16" fmla="*/ 2 w 4"/>
                    <a:gd name="T17" fmla="*/ 8 h 8"/>
                    <a:gd name="T18" fmla="*/ 4 w 4"/>
                    <a:gd name="T19" fmla="*/ 8 h 8"/>
                    <a:gd name="T20" fmla="*/ 4 w 4"/>
                    <a:gd name="T21"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8">
                      <a:moveTo>
                        <a:pt x="4" y="7"/>
                      </a:moveTo>
                      <a:lnTo>
                        <a:pt x="4" y="3"/>
                      </a:lnTo>
                      <a:lnTo>
                        <a:pt x="4" y="1"/>
                      </a:lnTo>
                      <a:lnTo>
                        <a:pt x="2" y="1"/>
                      </a:lnTo>
                      <a:lnTo>
                        <a:pt x="0" y="0"/>
                      </a:lnTo>
                      <a:lnTo>
                        <a:pt x="0" y="1"/>
                      </a:lnTo>
                      <a:lnTo>
                        <a:pt x="0" y="5"/>
                      </a:lnTo>
                      <a:lnTo>
                        <a:pt x="2" y="7"/>
                      </a:lnTo>
                      <a:lnTo>
                        <a:pt x="2" y="8"/>
                      </a:lnTo>
                      <a:lnTo>
                        <a:pt x="4" y="8"/>
                      </a:lnTo>
                      <a:lnTo>
                        <a:pt x="4" y="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23" name="Freeform 306">
                  <a:extLst>
                    <a:ext uri="{FF2B5EF4-FFF2-40B4-BE49-F238E27FC236}">
                      <a16:creationId xmlns:a16="http://schemas.microsoft.com/office/drawing/2014/main" id="{61509BD7-B824-A6B0-3064-B3CB8F4551F9}"/>
                    </a:ext>
                  </a:extLst>
                </p:cNvPr>
                <p:cNvSpPr>
                  <a:spLocks noEditPoints="1"/>
                </p:cNvSpPr>
                <p:nvPr/>
              </p:nvSpPr>
              <p:spPr bwMode="auto">
                <a:xfrm>
                  <a:off x="-1685" y="-3014"/>
                  <a:ext cx="4" cy="16"/>
                </a:xfrm>
                <a:custGeom>
                  <a:avLst/>
                  <a:gdLst>
                    <a:gd name="T0" fmla="*/ 2 w 4"/>
                    <a:gd name="T1" fmla="*/ 0 h 16"/>
                    <a:gd name="T2" fmla="*/ 2 w 4"/>
                    <a:gd name="T3" fmla="*/ 2 h 16"/>
                    <a:gd name="T4" fmla="*/ 2 w 4"/>
                    <a:gd name="T5" fmla="*/ 2 h 16"/>
                    <a:gd name="T6" fmla="*/ 0 w 4"/>
                    <a:gd name="T7" fmla="*/ 0 h 16"/>
                    <a:gd name="T8" fmla="*/ 2 w 4"/>
                    <a:gd name="T9" fmla="*/ 0 h 16"/>
                    <a:gd name="T10" fmla="*/ 0 w 4"/>
                    <a:gd name="T11" fmla="*/ 14 h 16"/>
                    <a:gd name="T12" fmla="*/ 2 w 4"/>
                    <a:gd name="T13" fmla="*/ 16 h 16"/>
                    <a:gd name="T14" fmla="*/ 4 w 4"/>
                    <a:gd name="T15" fmla="*/ 12 h 16"/>
                    <a:gd name="T16" fmla="*/ 0 w 4"/>
                    <a:gd name="T17" fmla="*/ 11 h 16"/>
                    <a:gd name="T18" fmla="*/ 0 w 4"/>
                    <a:gd name="T19"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6">
                      <a:moveTo>
                        <a:pt x="2" y="0"/>
                      </a:moveTo>
                      <a:lnTo>
                        <a:pt x="2" y="2"/>
                      </a:lnTo>
                      <a:lnTo>
                        <a:pt x="2" y="2"/>
                      </a:lnTo>
                      <a:lnTo>
                        <a:pt x="0" y="0"/>
                      </a:lnTo>
                      <a:lnTo>
                        <a:pt x="2" y="0"/>
                      </a:lnTo>
                      <a:close/>
                      <a:moveTo>
                        <a:pt x="0" y="14"/>
                      </a:moveTo>
                      <a:lnTo>
                        <a:pt x="2" y="16"/>
                      </a:lnTo>
                      <a:lnTo>
                        <a:pt x="4" y="12"/>
                      </a:lnTo>
                      <a:lnTo>
                        <a:pt x="0" y="11"/>
                      </a:lnTo>
                      <a:lnTo>
                        <a:pt x="0" y="1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24" name="Freeform 307">
                  <a:extLst>
                    <a:ext uri="{FF2B5EF4-FFF2-40B4-BE49-F238E27FC236}">
                      <a16:creationId xmlns:a16="http://schemas.microsoft.com/office/drawing/2014/main" id="{CDDA29FB-D5BC-659A-9D7E-4DC75025273C}"/>
                    </a:ext>
                  </a:extLst>
                </p:cNvPr>
                <p:cNvSpPr>
                  <a:spLocks noEditPoints="1"/>
                </p:cNvSpPr>
                <p:nvPr/>
              </p:nvSpPr>
              <p:spPr bwMode="auto">
                <a:xfrm>
                  <a:off x="-1674" y="-2918"/>
                  <a:ext cx="5" cy="14"/>
                </a:xfrm>
                <a:custGeom>
                  <a:avLst/>
                  <a:gdLst>
                    <a:gd name="T0" fmla="*/ 0 w 5"/>
                    <a:gd name="T1" fmla="*/ 14 h 14"/>
                    <a:gd name="T2" fmla="*/ 0 w 5"/>
                    <a:gd name="T3" fmla="*/ 14 h 14"/>
                    <a:gd name="T4" fmla="*/ 2 w 5"/>
                    <a:gd name="T5" fmla="*/ 14 h 14"/>
                    <a:gd name="T6" fmla="*/ 2 w 5"/>
                    <a:gd name="T7" fmla="*/ 14 h 14"/>
                    <a:gd name="T8" fmla="*/ 0 w 5"/>
                    <a:gd name="T9" fmla="*/ 14 h 14"/>
                    <a:gd name="T10" fmla="*/ 0 w 5"/>
                    <a:gd name="T11" fmla="*/ 14 h 14"/>
                    <a:gd name="T12" fmla="*/ 0 w 5"/>
                    <a:gd name="T13" fmla="*/ 14 h 14"/>
                    <a:gd name="T14" fmla="*/ 0 w 5"/>
                    <a:gd name="T15" fmla="*/ 14 h 14"/>
                    <a:gd name="T16" fmla="*/ 5 w 5"/>
                    <a:gd name="T17" fmla="*/ 2 h 14"/>
                    <a:gd name="T18" fmla="*/ 3 w 5"/>
                    <a:gd name="T19" fmla="*/ 0 h 14"/>
                    <a:gd name="T20" fmla="*/ 3 w 5"/>
                    <a:gd name="T21" fmla="*/ 0 h 14"/>
                    <a:gd name="T22" fmla="*/ 2 w 5"/>
                    <a:gd name="T23" fmla="*/ 0 h 14"/>
                    <a:gd name="T24" fmla="*/ 2 w 5"/>
                    <a:gd name="T25" fmla="*/ 2 h 14"/>
                    <a:gd name="T26" fmla="*/ 2 w 5"/>
                    <a:gd name="T27" fmla="*/ 4 h 14"/>
                    <a:gd name="T28" fmla="*/ 3 w 5"/>
                    <a:gd name="T29" fmla="*/ 4 h 14"/>
                    <a:gd name="T30" fmla="*/ 5 w 5"/>
                    <a:gd name="T31" fmla="*/ 4 h 14"/>
                    <a:gd name="T32" fmla="*/ 5 w 5"/>
                    <a:gd name="T33" fmla="*/ 2 h 14"/>
                    <a:gd name="T34" fmla="*/ 3 w 5"/>
                    <a:gd name="T35" fmla="*/ 7 h 14"/>
                    <a:gd name="T36" fmla="*/ 3 w 5"/>
                    <a:gd name="T37" fmla="*/ 7 h 14"/>
                    <a:gd name="T38" fmla="*/ 3 w 5"/>
                    <a:gd name="T39" fmla="*/ 7 h 14"/>
                    <a:gd name="T40" fmla="*/ 2 w 5"/>
                    <a:gd name="T41" fmla="*/ 9 h 14"/>
                    <a:gd name="T42" fmla="*/ 2 w 5"/>
                    <a:gd name="T43" fmla="*/ 9 h 14"/>
                    <a:gd name="T44" fmla="*/ 3 w 5"/>
                    <a:gd name="T45" fmla="*/ 9 h 14"/>
                    <a:gd name="T46" fmla="*/ 3 w 5"/>
                    <a:gd name="T47" fmla="*/ 7 h 14"/>
                    <a:gd name="T48" fmla="*/ 3 w 5"/>
                    <a:gd name="T49" fmla="*/ 7 h 14"/>
                    <a:gd name="T50" fmla="*/ 3 w 5"/>
                    <a:gd name="T51" fmla="*/ 7 h 14"/>
                    <a:gd name="T52" fmla="*/ 3 w 5"/>
                    <a:gd name="T53" fmla="*/ 7 h 14"/>
                    <a:gd name="T54" fmla="*/ 3 w 5"/>
                    <a:gd name="T55"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14">
                      <a:moveTo>
                        <a:pt x="0" y="14"/>
                      </a:moveTo>
                      <a:lnTo>
                        <a:pt x="0" y="14"/>
                      </a:lnTo>
                      <a:lnTo>
                        <a:pt x="2" y="14"/>
                      </a:lnTo>
                      <a:lnTo>
                        <a:pt x="2" y="14"/>
                      </a:lnTo>
                      <a:lnTo>
                        <a:pt x="0" y="14"/>
                      </a:lnTo>
                      <a:lnTo>
                        <a:pt x="0" y="14"/>
                      </a:lnTo>
                      <a:lnTo>
                        <a:pt x="0" y="14"/>
                      </a:lnTo>
                      <a:lnTo>
                        <a:pt x="0" y="14"/>
                      </a:lnTo>
                      <a:close/>
                      <a:moveTo>
                        <a:pt x="5" y="2"/>
                      </a:moveTo>
                      <a:lnTo>
                        <a:pt x="3" y="0"/>
                      </a:lnTo>
                      <a:lnTo>
                        <a:pt x="3" y="0"/>
                      </a:lnTo>
                      <a:lnTo>
                        <a:pt x="2" y="0"/>
                      </a:lnTo>
                      <a:lnTo>
                        <a:pt x="2" y="2"/>
                      </a:lnTo>
                      <a:lnTo>
                        <a:pt x="2" y="4"/>
                      </a:lnTo>
                      <a:lnTo>
                        <a:pt x="3" y="4"/>
                      </a:lnTo>
                      <a:lnTo>
                        <a:pt x="5" y="4"/>
                      </a:lnTo>
                      <a:lnTo>
                        <a:pt x="5" y="2"/>
                      </a:lnTo>
                      <a:close/>
                      <a:moveTo>
                        <a:pt x="3" y="7"/>
                      </a:moveTo>
                      <a:lnTo>
                        <a:pt x="3" y="7"/>
                      </a:lnTo>
                      <a:lnTo>
                        <a:pt x="3" y="7"/>
                      </a:lnTo>
                      <a:lnTo>
                        <a:pt x="2" y="9"/>
                      </a:lnTo>
                      <a:lnTo>
                        <a:pt x="2" y="9"/>
                      </a:lnTo>
                      <a:lnTo>
                        <a:pt x="3" y="9"/>
                      </a:lnTo>
                      <a:lnTo>
                        <a:pt x="3" y="7"/>
                      </a:lnTo>
                      <a:lnTo>
                        <a:pt x="3" y="7"/>
                      </a:lnTo>
                      <a:lnTo>
                        <a:pt x="3" y="7"/>
                      </a:lnTo>
                      <a:lnTo>
                        <a:pt x="3" y="7"/>
                      </a:lnTo>
                      <a:lnTo>
                        <a:pt x="3" y="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25" name="Freeform 308">
                  <a:extLst>
                    <a:ext uri="{FF2B5EF4-FFF2-40B4-BE49-F238E27FC236}">
                      <a16:creationId xmlns:a16="http://schemas.microsoft.com/office/drawing/2014/main" id="{EE4D3BBB-4081-4D0B-3B10-742AE6D240A2}"/>
                    </a:ext>
                  </a:extLst>
                </p:cNvPr>
                <p:cNvSpPr>
                  <a:spLocks/>
                </p:cNvSpPr>
                <p:nvPr/>
              </p:nvSpPr>
              <p:spPr bwMode="auto">
                <a:xfrm>
                  <a:off x="-1667" y="-2933"/>
                  <a:ext cx="3" cy="7"/>
                </a:xfrm>
                <a:custGeom>
                  <a:avLst/>
                  <a:gdLst>
                    <a:gd name="T0" fmla="*/ 3 w 3"/>
                    <a:gd name="T1" fmla="*/ 3 h 7"/>
                    <a:gd name="T2" fmla="*/ 3 w 3"/>
                    <a:gd name="T3" fmla="*/ 1 h 7"/>
                    <a:gd name="T4" fmla="*/ 3 w 3"/>
                    <a:gd name="T5" fmla="*/ 1 h 7"/>
                    <a:gd name="T6" fmla="*/ 3 w 3"/>
                    <a:gd name="T7" fmla="*/ 0 h 7"/>
                    <a:gd name="T8" fmla="*/ 0 w 3"/>
                    <a:gd name="T9" fmla="*/ 1 h 7"/>
                    <a:gd name="T10" fmla="*/ 0 w 3"/>
                    <a:gd name="T11" fmla="*/ 3 h 7"/>
                    <a:gd name="T12" fmla="*/ 0 w 3"/>
                    <a:gd name="T13" fmla="*/ 5 h 7"/>
                    <a:gd name="T14" fmla="*/ 2 w 3"/>
                    <a:gd name="T15" fmla="*/ 7 h 7"/>
                    <a:gd name="T16" fmla="*/ 3 w 3"/>
                    <a:gd name="T17" fmla="*/ 5 h 7"/>
                    <a:gd name="T18" fmla="*/ 3 w 3"/>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3" y="3"/>
                      </a:moveTo>
                      <a:lnTo>
                        <a:pt x="3" y="1"/>
                      </a:lnTo>
                      <a:lnTo>
                        <a:pt x="3" y="1"/>
                      </a:lnTo>
                      <a:lnTo>
                        <a:pt x="3" y="0"/>
                      </a:lnTo>
                      <a:lnTo>
                        <a:pt x="0" y="1"/>
                      </a:lnTo>
                      <a:lnTo>
                        <a:pt x="0" y="3"/>
                      </a:lnTo>
                      <a:lnTo>
                        <a:pt x="0" y="5"/>
                      </a:lnTo>
                      <a:lnTo>
                        <a:pt x="2" y="7"/>
                      </a:lnTo>
                      <a:lnTo>
                        <a:pt x="3" y="5"/>
                      </a:lnTo>
                      <a:lnTo>
                        <a:pt x="3" y="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26" name="Freeform 309">
                  <a:extLst>
                    <a:ext uri="{FF2B5EF4-FFF2-40B4-BE49-F238E27FC236}">
                      <a16:creationId xmlns:a16="http://schemas.microsoft.com/office/drawing/2014/main" id="{CBC0A14C-F4F3-E2AD-AC51-AD5272241E83}"/>
                    </a:ext>
                  </a:extLst>
                </p:cNvPr>
                <p:cNvSpPr>
                  <a:spLocks noEditPoints="1"/>
                </p:cNvSpPr>
                <p:nvPr/>
              </p:nvSpPr>
              <p:spPr bwMode="auto">
                <a:xfrm>
                  <a:off x="-1685" y="-2986"/>
                  <a:ext cx="14" cy="12"/>
                </a:xfrm>
                <a:custGeom>
                  <a:avLst/>
                  <a:gdLst>
                    <a:gd name="T0" fmla="*/ 6 w 14"/>
                    <a:gd name="T1" fmla="*/ 9 h 12"/>
                    <a:gd name="T2" fmla="*/ 4 w 14"/>
                    <a:gd name="T3" fmla="*/ 11 h 12"/>
                    <a:gd name="T4" fmla="*/ 2 w 14"/>
                    <a:gd name="T5" fmla="*/ 9 h 12"/>
                    <a:gd name="T6" fmla="*/ 0 w 14"/>
                    <a:gd name="T7" fmla="*/ 5 h 12"/>
                    <a:gd name="T8" fmla="*/ 2 w 14"/>
                    <a:gd name="T9" fmla="*/ 4 h 12"/>
                    <a:gd name="T10" fmla="*/ 4 w 14"/>
                    <a:gd name="T11" fmla="*/ 2 h 12"/>
                    <a:gd name="T12" fmla="*/ 7 w 14"/>
                    <a:gd name="T13" fmla="*/ 4 h 12"/>
                    <a:gd name="T14" fmla="*/ 6 w 14"/>
                    <a:gd name="T15" fmla="*/ 9 h 12"/>
                    <a:gd name="T16" fmla="*/ 13 w 14"/>
                    <a:gd name="T17" fmla="*/ 2 h 12"/>
                    <a:gd name="T18" fmla="*/ 11 w 14"/>
                    <a:gd name="T19" fmla="*/ 0 h 12"/>
                    <a:gd name="T20" fmla="*/ 9 w 14"/>
                    <a:gd name="T21" fmla="*/ 0 h 12"/>
                    <a:gd name="T22" fmla="*/ 7 w 14"/>
                    <a:gd name="T23" fmla="*/ 0 h 12"/>
                    <a:gd name="T24" fmla="*/ 7 w 14"/>
                    <a:gd name="T25" fmla="*/ 4 h 12"/>
                    <a:gd name="T26" fmla="*/ 7 w 14"/>
                    <a:gd name="T27" fmla="*/ 5 h 12"/>
                    <a:gd name="T28" fmla="*/ 9 w 14"/>
                    <a:gd name="T29" fmla="*/ 5 h 12"/>
                    <a:gd name="T30" fmla="*/ 11 w 14"/>
                    <a:gd name="T31" fmla="*/ 5 h 12"/>
                    <a:gd name="T32" fmla="*/ 14 w 14"/>
                    <a:gd name="T33" fmla="*/ 4 h 12"/>
                    <a:gd name="T34" fmla="*/ 13 w 14"/>
                    <a:gd name="T35" fmla="*/ 2 h 12"/>
                    <a:gd name="T36" fmla="*/ 13 w 14"/>
                    <a:gd name="T37" fmla="*/ 11 h 12"/>
                    <a:gd name="T38" fmla="*/ 13 w 14"/>
                    <a:gd name="T39" fmla="*/ 12 h 12"/>
                    <a:gd name="T40" fmla="*/ 14 w 14"/>
                    <a:gd name="T41" fmla="*/ 12 h 12"/>
                    <a:gd name="T42" fmla="*/ 13 w 14"/>
                    <a:gd name="T43" fmla="*/ 11 h 12"/>
                    <a:gd name="T44" fmla="*/ 13 w 14"/>
                    <a:gd name="T45"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12">
                      <a:moveTo>
                        <a:pt x="6" y="9"/>
                      </a:moveTo>
                      <a:lnTo>
                        <a:pt x="4" y="11"/>
                      </a:lnTo>
                      <a:lnTo>
                        <a:pt x="2" y="9"/>
                      </a:lnTo>
                      <a:lnTo>
                        <a:pt x="0" y="5"/>
                      </a:lnTo>
                      <a:lnTo>
                        <a:pt x="2" y="4"/>
                      </a:lnTo>
                      <a:lnTo>
                        <a:pt x="4" y="2"/>
                      </a:lnTo>
                      <a:lnTo>
                        <a:pt x="7" y="4"/>
                      </a:lnTo>
                      <a:lnTo>
                        <a:pt x="6" y="9"/>
                      </a:lnTo>
                      <a:close/>
                      <a:moveTo>
                        <a:pt x="13" y="2"/>
                      </a:moveTo>
                      <a:lnTo>
                        <a:pt x="11" y="0"/>
                      </a:lnTo>
                      <a:lnTo>
                        <a:pt x="9" y="0"/>
                      </a:lnTo>
                      <a:lnTo>
                        <a:pt x="7" y="0"/>
                      </a:lnTo>
                      <a:lnTo>
                        <a:pt x="7" y="4"/>
                      </a:lnTo>
                      <a:lnTo>
                        <a:pt x="7" y="5"/>
                      </a:lnTo>
                      <a:lnTo>
                        <a:pt x="9" y="5"/>
                      </a:lnTo>
                      <a:lnTo>
                        <a:pt x="11" y="5"/>
                      </a:lnTo>
                      <a:lnTo>
                        <a:pt x="14" y="4"/>
                      </a:lnTo>
                      <a:lnTo>
                        <a:pt x="13" y="2"/>
                      </a:lnTo>
                      <a:close/>
                      <a:moveTo>
                        <a:pt x="13" y="11"/>
                      </a:moveTo>
                      <a:lnTo>
                        <a:pt x="13" y="12"/>
                      </a:lnTo>
                      <a:lnTo>
                        <a:pt x="14" y="12"/>
                      </a:lnTo>
                      <a:lnTo>
                        <a:pt x="13" y="11"/>
                      </a:lnTo>
                      <a:lnTo>
                        <a:pt x="13" y="1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27" name="Freeform 310">
                  <a:extLst>
                    <a:ext uri="{FF2B5EF4-FFF2-40B4-BE49-F238E27FC236}">
                      <a16:creationId xmlns:a16="http://schemas.microsoft.com/office/drawing/2014/main" id="{A56EEAC6-E9B4-2D4A-3D8B-3D240CE230C5}"/>
                    </a:ext>
                  </a:extLst>
                </p:cNvPr>
                <p:cNvSpPr>
                  <a:spLocks/>
                </p:cNvSpPr>
                <p:nvPr/>
              </p:nvSpPr>
              <p:spPr bwMode="auto">
                <a:xfrm>
                  <a:off x="-1671" y="-2951"/>
                  <a:ext cx="9" cy="9"/>
                </a:xfrm>
                <a:custGeom>
                  <a:avLst/>
                  <a:gdLst>
                    <a:gd name="T0" fmla="*/ 7 w 9"/>
                    <a:gd name="T1" fmla="*/ 9 h 9"/>
                    <a:gd name="T2" fmla="*/ 9 w 9"/>
                    <a:gd name="T3" fmla="*/ 9 h 9"/>
                    <a:gd name="T4" fmla="*/ 9 w 9"/>
                    <a:gd name="T5" fmla="*/ 9 h 9"/>
                    <a:gd name="T6" fmla="*/ 7 w 9"/>
                    <a:gd name="T7" fmla="*/ 5 h 9"/>
                    <a:gd name="T8" fmla="*/ 7 w 9"/>
                    <a:gd name="T9" fmla="*/ 4 h 9"/>
                    <a:gd name="T10" fmla="*/ 6 w 9"/>
                    <a:gd name="T11" fmla="*/ 2 h 9"/>
                    <a:gd name="T12" fmla="*/ 4 w 9"/>
                    <a:gd name="T13" fmla="*/ 0 h 9"/>
                    <a:gd name="T14" fmla="*/ 0 w 9"/>
                    <a:gd name="T15" fmla="*/ 0 h 9"/>
                    <a:gd name="T16" fmla="*/ 0 w 9"/>
                    <a:gd name="T17" fmla="*/ 2 h 9"/>
                    <a:gd name="T18" fmla="*/ 2 w 9"/>
                    <a:gd name="T19" fmla="*/ 5 h 9"/>
                    <a:gd name="T20" fmla="*/ 4 w 9"/>
                    <a:gd name="T21" fmla="*/ 5 h 9"/>
                    <a:gd name="T22" fmla="*/ 4 w 9"/>
                    <a:gd name="T23" fmla="*/ 7 h 9"/>
                    <a:gd name="T24" fmla="*/ 4 w 9"/>
                    <a:gd name="T25" fmla="*/ 9 h 9"/>
                    <a:gd name="T26" fmla="*/ 6 w 9"/>
                    <a:gd name="T27" fmla="*/ 9 h 9"/>
                    <a:gd name="T28" fmla="*/ 7 w 9"/>
                    <a:gd name="T29" fmla="*/ 9 h 9"/>
                    <a:gd name="T30" fmla="*/ 7 w 9"/>
                    <a:gd name="T3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9">
                      <a:moveTo>
                        <a:pt x="7" y="9"/>
                      </a:moveTo>
                      <a:lnTo>
                        <a:pt x="9" y="9"/>
                      </a:lnTo>
                      <a:lnTo>
                        <a:pt x="9" y="9"/>
                      </a:lnTo>
                      <a:lnTo>
                        <a:pt x="7" y="5"/>
                      </a:lnTo>
                      <a:lnTo>
                        <a:pt x="7" y="4"/>
                      </a:lnTo>
                      <a:lnTo>
                        <a:pt x="6" y="2"/>
                      </a:lnTo>
                      <a:lnTo>
                        <a:pt x="4" y="0"/>
                      </a:lnTo>
                      <a:lnTo>
                        <a:pt x="0" y="0"/>
                      </a:lnTo>
                      <a:lnTo>
                        <a:pt x="0" y="2"/>
                      </a:lnTo>
                      <a:lnTo>
                        <a:pt x="2" y="5"/>
                      </a:lnTo>
                      <a:lnTo>
                        <a:pt x="4" y="5"/>
                      </a:lnTo>
                      <a:lnTo>
                        <a:pt x="4" y="7"/>
                      </a:lnTo>
                      <a:lnTo>
                        <a:pt x="4" y="9"/>
                      </a:lnTo>
                      <a:lnTo>
                        <a:pt x="6" y="9"/>
                      </a:lnTo>
                      <a:lnTo>
                        <a:pt x="7" y="9"/>
                      </a:lnTo>
                      <a:lnTo>
                        <a:pt x="7" y="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28" name="Freeform 311">
                  <a:extLst>
                    <a:ext uri="{FF2B5EF4-FFF2-40B4-BE49-F238E27FC236}">
                      <a16:creationId xmlns:a16="http://schemas.microsoft.com/office/drawing/2014/main" id="{6130B6D8-7500-D0A6-AFEA-4196023B216B}"/>
                    </a:ext>
                  </a:extLst>
                </p:cNvPr>
                <p:cNvSpPr>
                  <a:spLocks noEditPoints="1"/>
                </p:cNvSpPr>
                <p:nvPr/>
              </p:nvSpPr>
              <p:spPr bwMode="auto">
                <a:xfrm>
                  <a:off x="-2051" y="-3227"/>
                  <a:ext cx="134" cy="140"/>
                </a:xfrm>
                <a:custGeom>
                  <a:avLst/>
                  <a:gdLst>
                    <a:gd name="T0" fmla="*/ 117 w 134"/>
                    <a:gd name="T1" fmla="*/ 135 h 140"/>
                    <a:gd name="T2" fmla="*/ 122 w 134"/>
                    <a:gd name="T3" fmla="*/ 135 h 140"/>
                    <a:gd name="T4" fmla="*/ 127 w 134"/>
                    <a:gd name="T5" fmla="*/ 133 h 140"/>
                    <a:gd name="T6" fmla="*/ 113 w 134"/>
                    <a:gd name="T7" fmla="*/ 138 h 140"/>
                    <a:gd name="T8" fmla="*/ 129 w 134"/>
                    <a:gd name="T9" fmla="*/ 126 h 140"/>
                    <a:gd name="T10" fmla="*/ 129 w 134"/>
                    <a:gd name="T11" fmla="*/ 126 h 140"/>
                    <a:gd name="T12" fmla="*/ 129 w 134"/>
                    <a:gd name="T13" fmla="*/ 105 h 140"/>
                    <a:gd name="T14" fmla="*/ 134 w 134"/>
                    <a:gd name="T15" fmla="*/ 107 h 140"/>
                    <a:gd name="T16" fmla="*/ 106 w 134"/>
                    <a:gd name="T17" fmla="*/ 98 h 140"/>
                    <a:gd name="T18" fmla="*/ 106 w 134"/>
                    <a:gd name="T19" fmla="*/ 107 h 140"/>
                    <a:gd name="T20" fmla="*/ 104 w 134"/>
                    <a:gd name="T21" fmla="*/ 108 h 140"/>
                    <a:gd name="T22" fmla="*/ 110 w 134"/>
                    <a:gd name="T23" fmla="*/ 101 h 140"/>
                    <a:gd name="T24" fmla="*/ 108 w 134"/>
                    <a:gd name="T25" fmla="*/ 100 h 140"/>
                    <a:gd name="T26" fmla="*/ 97 w 134"/>
                    <a:gd name="T27" fmla="*/ 68 h 140"/>
                    <a:gd name="T28" fmla="*/ 96 w 134"/>
                    <a:gd name="T29" fmla="*/ 68 h 140"/>
                    <a:gd name="T30" fmla="*/ 97 w 134"/>
                    <a:gd name="T31" fmla="*/ 68 h 140"/>
                    <a:gd name="T32" fmla="*/ 21 w 134"/>
                    <a:gd name="T33" fmla="*/ 63 h 140"/>
                    <a:gd name="T34" fmla="*/ 26 w 134"/>
                    <a:gd name="T35" fmla="*/ 65 h 140"/>
                    <a:gd name="T36" fmla="*/ 31 w 134"/>
                    <a:gd name="T37" fmla="*/ 66 h 140"/>
                    <a:gd name="T38" fmla="*/ 31 w 134"/>
                    <a:gd name="T39" fmla="*/ 45 h 140"/>
                    <a:gd name="T40" fmla="*/ 35 w 134"/>
                    <a:gd name="T41" fmla="*/ 44 h 140"/>
                    <a:gd name="T42" fmla="*/ 35 w 134"/>
                    <a:gd name="T43" fmla="*/ 45 h 140"/>
                    <a:gd name="T44" fmla="*/ 19 w 134"/>
                    <a:gd name="T45" fmla="*/ 42 h 140"/>
                    <a:gd name="T46" fmla="*/ 28 w 134"/>
                    <a:gd name="T47" fmla="*/ 56 h 140"/>
                    <a:gd name="T48" fmla="*/ 19 w 134"/>
                    <a:gd name="T49" fmla="*/ 61 h 140"/>
                    <a:gd name="T50" fmla="*/ 17 w 134"/>
                    <a:gd name="T51" fmla="*/ 58 h 140"/>
                    <a:gd name="T52" fmla="*/ 15 w 134"/>
                    <a:gd name="T53" fmla="*/ 56 h 140"/>
                    <a:gd name="T54" fmla="*/ 14 w 134"/>
                    <a:gd name="T55" fmla="*/ 54 h 140"/>
                    <a:gd name="T56" fmla="*/ 15 w 134"/>
                    <a:gd name="T57" fmla="*/ 54 h 140"/>
                    <a:gd name="T58" fmla="*/ 17 w 134"/>
                    <a:gd name="T59" fmla="*/ 45 h 140"/>
                    <a:gd name="T60" fmla="*/ 38 w 134"/>
                    <a:gd name="T61" fmla="*/ 24 h 140"/>
                    <a:gd name="T62" fmla="*/ 38 w 134"/>
                    <a:gd name="T63" fmla="*/ 16 h 140"/>
                    <a:gd name="T64" fmla="*/ 31 w 134"/>
                    <a:gd name="T65" fmla="*/ 2 h 140"/>
                    <a:gd name="T66" fmla="*/ 35 w 134"/>
                    <a:gd name="T67" fmla="*/ 2 h 140"/>
                    <a:gd name="T68" fmla="*/ 38 w 134"/>
                    <a:gd name="T69" fmla="*/ 17 h 140"/>
                    <a:gd name="T70" fmla="*/ 82 w 134"/>
                    <a:gd name="T71" fmla="*/ 86 h 140"/>
                    <a:gd name="T72" fmla="*/ 80 w 134"/>
                    <a:gd name="T73" fmla="*/ 79 h 140"/>
                    <a:gd name="T74" fmla="*/ 89 w 134"/>
                    <a:gd name="T75" fmla="*/ 93 h 140"/>
                    <a:gd name="T76" fmla="*/ 80 w 134"/>
                    <a:gd name="T77" fmla="*/ 87 h 140"/>
                    <a:gd name="T78" fmla="*/ 75 w 134"/>
                    <a:gd name="T79" fmla="*/ 65 h 140"/>
                    <a:gd name="T80" fmla="*/ 70 w 134"/>
                    <a:gd name="T81" fmla="*/ 52 h 140"/>
                    <a:gd name="T82" fmla="*/ 76 w 134"/>
                    <a:gd name="T83" fmla="*/ 61 h 140"/>
                    <a:gd name="T84" fmla="*/ 17 w 134"/>
                    <a:gd name="T85" fmla="*/ 7 h 140"/>
                    <a:gd name="T86" fmla="*/ 0 w 134"/>
                    <a:gd name="T87" fmla="*/ 5 h 140"/>
                    <a:gd name="T88" fmla="*/ 8 w 134"/>
                    <a:gd name="T89" fmla="*/ 2 h 140"/>
                    <a:gd name="T90" fmla="*/ 64 w 134"/>
                    <a:gd name="T91" fmla="*/ 77 h 140"/>
                    <a:gd name="T92" fmla="*/ 70 w 134"/>
                    <a:gd name="T93" fmla="*/ 80 h 140"/>
                    <a:gd name="T94" fmla="*/ 63 w 134"/>
                    <a:gd name="T95" fmla="*/ 77 h 140"/>
                    <a:gd name="T96" fmla="*/ 59 w 134"/>
                    <a:gd name="T97" fmla="*/ 40 h 140"/>
                    <a:gd name="T98" fmla="*/ 59 w 134"/>
                    <a:gd name="T99" fmla="*/ 52 h 140"/>
                    <a:gd name="T100" fmla="*/ 59 w 134"/>
                    <a:gd name="T101" fmla="*/ 49 h 140"/>
                    <a:gd name="T102" fmla="*/ 56 w 134"/>
                    <a:gd name="T103" fmla="*/ 37 h 140"/>
                    <a:gd name="T104" fmla="*/ 47 w 134"/>
                    <a:gd name="T105" fmla="*/ 3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4" h="140">
                      <a:moveTo>
                        <a:pt x="113" y="136"/>
                      </a:moveTo>
                      <a:lnTo>
                        <a:pt x="113" y="136"/>
                      </a:lnTo>
                      <a:lnTo>
                        <a:pt x="113" y="136"/>
                      </a:lnTo>
                      <a:lnTo>
                        <a:pt x="117" y="135"/>
                      </a:lnTo>
                      <a:lnTo>
                        <a:pt x="118" y="133"/>
                      </a:lnTo>
                      <a:lnTo>
                        <a:pt x="118" y="133"/>
                      </a:lnTo>
                      <a:lnTo>
                        <a:pt x="122" y="135"/>
                      </a:lnTo>
                      <a:lnTo>
                        <a:pt x="122" y="135"/>
                      </a:lnTo>
                      <a:lnTo>
                        <a:pt x="124" y="133"/>
                      </a:lnTo>
                      <a:lnTo>
                        <a:pt x="125" y="133"/>
                      </a:lnTo>
                      <a:lnTo>
                        <a:pt x="127" y="131"/>
                      </a:lnTo>
                      <a:lnTo>
                        <a:pt x="127" y="133"/>
                      </a:lnTo>
                      <a:lnTo>
                        <a:pt x="125" y="136"/>
                      </a:lnTo>
                      <a:lnTo>
                        <a:pt x="122" y="140"/>
                      </a:lnTo>
                      <a:lnTo>
                        <a:pt x="117" y="140"/>
                      </a:lnTo>
                      <a:lnTo>
                        <a:pt x="113" y="138"/>
                      </a:lnTo>
                      <a:lnTo>
                        <a:pt x="113" y="136"/>
                      </a:lnTo>
                      <a:lnTo>
                        <a:pt x="113" y="136"/>
                      </a:lnTo>
                      <a:close/>
                      <a:moveTo>
                        <a:pt x="131" y="126"/>
                      </a:moveTo>
                      <a:lnTo>
                        <a:pt x="129" y="126"/>
                      </a:lnTo>
                      <a:lnTo>
                        <a:pt x="127" y="126"/>
                      </a:lnTo>
                      <a:lnTo>
                        <a:pt x="127" y="126"/>
                      </a:lnTo>
                      <a:lnTo>
                        <a:pt x="127" y="128"/>
                      </a:lnTo>
                      <a:lnTo>
                        <a:pt x="129" y="126"/>
                      </a:lnTo>
                      <a:lnTo>
                        <a:pt x="131" y="126"/>
                      </a:lnTo>
                      <a:close/>
                      <a:moveTo>
                        <a:pt x="134" y="107"/>
                      </a:moveTo>
                      <a:lnTo>
                        <a:pt x="131" y="107"/>
                      </a:lnTo>
                      <a:lnTo>
                        <a:pt x="129" y="105"/>
                      </a:lnTo>
                      <a:lnTo>
                        <a:pt x="125" y="105"/>
                      </a:lnTo>
                      <a:lnTo>
                        <a:pt x="125" y="107"/>
                      </a:lnTo>
                      <a:lnTo>
                        <a:pt x="132" y="108"/>
                      </a:lnTo>
                      <a:lnTo>
                        <a:pt x="134" y="107"/>
                      </a:lnTo>
                      <a:close/>
                      <a:moveTo>
                        <a:pt x="101" y="98"/>
                      </a:moveTo>
                      <a:lnTo>
                        <a:pt x="103" y="100"/>
                      </a:lnTo>
                      <a:lnTo>
                        <a:pt x="104" y="100"/>
                      </a:lnTo>
                      <a:lnTo>
                        <a:pt x="106" y="98"/>
                      </a:lnTo>
                      <a:lnTo>
                        <a:pt x="103" y="98"/>
                      </a:lnTo>
                      <a:lnTo>
                        <a:pt x="101" y="96"/>
                      </a:lnTo>
                      <a:lnTo>
                        <a:pt x="101" y="98"/>
                      </a:lnTo>
                      <a:close/>
                      <a:moveTo>
                        <a:pt x="106" y="107"/>
                      </a:moveTo>
                      <a:lnTo>
                        <a:pt x="103" y="108"/>
                      </a:lnTo>
                      <a:lnTo>
                        <a:pt x="101" y="110"/>
                      </a:lnTo>
                      <a:lnTo>
                        <a:pt x="103" y="110"/>
                      </a:lnTo>
                      <a:lnTo>
                        <a:pt x="104" y="108"/>
                      </a:lnTo>
                      <a:lnTo>
                        <a:pt x="106" y="108"/>
                      </a:lnTo>
                      <a:lnTo>
                        <a:pt x="108" y="107"/>
                      </a:lnTo>
                      <a:lnTo>
                        <a:pt x="110" y="105"/>
                      </a:lnTo>
                      <a:lnTo>
                        <a:pt x="110" y="101"/>
                      </a:lnTo>
                      <a:lnTo>
                        <a:pt x="110" y="100"/>
                      </a:lnTo>
                      <a:lnTo>
                        <a:pt x="110" y="98"/>
                      </a:lnTo>
                      <a:lnTo>
                        <a:pt x="108" y="98"/>
                      </a:lnTo>
                      <a:lnTo>
                        <a:pt x="108" y="100"/>
                      </a:lnTo>
                      <a:lnTo>
                        <a:pt x="108" y="103"/>
                      </a:lnTo>
                      <a:lnTo>
                        <a:pt x="108" y="105"/>
                      </a:lnTo>
                      <a:lnTo>
                        <a:pt x="106" y="107"/>
                      </a:lnTo>
                      <a:close/>
                      <a:moveTo>
                        <a:pt x="97" y="68"/>
                      </a:moveTo>
                      <a:lnTo>
                        <a:pt x="97" y="66"/>
                      </a:lnTo>
                      <a:lnTo>
                        <a:pt x="96" y="66"/>
                      </a:lnTo>
                      <a:lnTo>
                        <a:pt x="96" y="66"/>
                      </a:lnTo>
                      <a:lnTo>
                        <a:pt x="96" y="68"/>
                      </a:lnTo>
                      <a:lnTo>
                        <a:pt x="96" y="70"/>
                      </a:lnTo>
                      <a:lnTo>
                        <a:pt x="96" y="70"/>
                      </a:lnTo>
                      <a:lnTo>
                        <a:pt x="96" y="68"/>
                      </a:lnTo>
                      <a:lnTo>
                        <a:pt x="97" y="68"/>
                      </a:lnTo>
                      <a:close/>
                      <a:moveTo>
                        <a:pt x="31" y="75"/>
                      </a:moveTo>
                      <a:lnTo>
                        <a:pt x="28" y="75"/>
                      </a:lnTo>
                      <a:lnTo>
                        <a:pt x="28" y="73"/>
                      </a:lnTo>
                      <a:lnTo>
                        <a:pt x="21" y="63"/>
                      </a:lnTo>
                      <a:lnTo>
                        <a:pt x="24" y="63"/>
                      </a:lnTo>
                      <a:lnTo>
                        <a:pt x="26" y="63"/>
                      </a:lnTo>
                      <a:lnTo>
                        <a:pt x="28" y="63"/>
                      </a:lnTo>
                      <a:lnTo>
                        <a:pt x="26" y="65"/>
                      </a:lnTo>
                      <a:lnTo>
                        <a:pt x="28" y="66"/>
                      </a:lnTo>
                      <a:lnTo>
                        <a:pt x="28" y="65"/>
                      </a:lnTo>
                      <a:lnTo>
                        <a:pt x="29" y="63"/>
                      </a:lnTo>
                      <a:lnTo>
                        <a:pt x="31" y="66"/>
                      </a:lnTo>
                      <a:lnTo>
                        <a:pt x="31" y="68"/>
                      </a:lnTo>
                      <a:lnTo>
                        <a:pt x="31" y="72"/>
                      </a:lnTo>
                      <a:lnTo>
                        <a:pt x="31" y="75"/>
                      </a:lnTo>
                      <a:close/>
                      <a:moveTo>
                        <a:pt x="31" y="45"/>
                      </a:moveTo>
                      <a:lnTo>
                        <a:pt x="31" y="44"/>
                      </a:lnTo>
                      <a:lnTo>
                        <a:pt x="31" y="44"/>
                      </a:lnTo>
                      <a:lnTo>
                        <a:pt x="33" y="44"/>
                      </a:lnTo>
                      <a:lnTo>
                        <a:pt x="35" y="44"/>
                      </a:lnTo>
                      <a:lnTo>
                        <a:pt x="35" y="44"/>
                      </a:lnTo>
                      <a:lnTo>
                        <a:pt x="36" y="44"/>
                      </a:lnTo>
                      <a:lnTo>
                        <a:pt x="36" y="44"/>
                      </a:lnTo>
                      <a:lnTo>
                        <a:pt x="35" y="45"/>
                      </a:lnTo>
                      <a:lnTo>
                        <a:pt x="35" y="45"/>
                      </a:lnTo>
                      <a:lnTo>
                        <a:pt x="33" y="45"/>
                      </a:lnTo>
                      <a:lnTo>
                        <a:pt x="31" y="45"/>
                      </a:lnTo>
                      <a:close/>
                      <a:moveTo>
                        <a:pt x="19" y="42"/>
                      </a:moveTo>
                      <a:lnTo>
                        <a:pt x="22" y="44"/>
                      </a:lnTo>
                      <a:lnTo>
                        <a:pt x="24" y="49"/>
                      </a:lnTo>
                      <a:lnTo>
                        <a:pt x="26" y="52"/>
                      </a:lnTo>
                      <a:lnTo>
                        <a:pt x="28" y="56"/>
                      </a:lnTo>
                      <a:lnTo>
                        <a:pt x="26" y="58"/>
                      </a:lnTo>
                      <a:lnTo>
                        <a:pt x="24" y="59"/>
                      </a:lnTo>
                      <a:lnTo>
                        <a:pt x="21" y="61"/>
                      </a:lnTo>
                      <a:lnTo>
                        <a:pt x="19" y="61"/>
                      </a:lnTo>
                      <a:lnTo>
                        <a:pt x="19" y="59"/>
                      </a:lnTo>
                      <a:lnTo>
                        <a:pt x="19" y="58"/>
                      </a:lnTo>
                      <a:lnTo>
                        <a:pt x="19" y="58"/>
                      </a:lnTo>
                      <a:lnTo>
                        <a:pt x="17" y="58"/>
                      </a:lnTo>
                      <a:lnTo>
                        <a:pt x="17" y="58"/>
                      </a:lnTo>
                      <a:lnTo>
                        <a:pt x="17" y="58"/>
                      </a:lnTo>
                      <a:lnTo>
                        <a:pt x="15" y="58"/>
                      </a:lnTo>
                      <a:lnTo>
                        <a:pt x="15" y="56"/>
                      </a:lnTo>
                      <a:lnTo>
                        <a:pt x="14" y="56"/>
                      </a:lnTo>
                      <a:lnTo>
                        <a:pt x="12" y="54"/>
                      </a:lnTo>
                      <a:lnTo>
                        <a:pt x="12" y="54"/>
                      </a:lnTo>
                      <a:lnTo>
                        <a:pt x="14" y="54"/>
                      </a:lnTo>
                      <a:lnTo>
                        <a:pt x="14" y="54"/>
                      </a:lnTo>
                      <a:lnTo>
                        <a:pt x="14" y="54"/>
                      </a:lnTo>
                      <a:lnTo>
                        <a:pt x="14" y="54"/>
                      </a:lnTo>
                      <a:lnTo>
                        <a:pt x="15" y="54"/>
                      </a:lnTo>
                      <a:lnTo>
                        <a:pt x="15" y="52"/>
                      </a:lnTo>
                      <a:lnTo>
                        <a:pt x="15" y="51"/>
                      </a:lnTo>
                      <a:lnTo>
                        <a:pt x="15" y="49"/>
                      </a:lnTo>
                      <a:lnTo>
                        <a:pt x="17" y="45"/>
                      </a:lnTo>
                      <a:lnTo>
                        <a:pt x="17" y="44"/>
                      </a:lnTo>
                      <a:lnTo>
                        <a:pt x="17" y="40"/>
                      </a:lnTo>
                      <a:lnTo>
                        <a:pt x="19" y="42"/>
                      </a:lnTo>
                      <a:close/>
                      <a:moveTo>
                        <a:pt x="38" y="24"/>
                      </a:moveTo>
                      <a:lnTo>
                        <a:pt x="35" y="21"/>
                      </a:lnTo>
                      <a:lnTo>
                        <a:pt x="35" y="21"/>
                      </a:lnTo>
                      <a:lnTo>
                        <a:pt x="36" y="19"/>
                      </a:lnTo>
                      <a:lnTo>
                        <a:pt x="38" y="16"/>
                      </a:lnTo>
                      <a:lnTo>
                        <a:pt x="38" y="12"/>
                      </a:lnTo>
                      <a:lnTo>
                        <a:pt x="38" y="9"/>
                      </a:lnTo>
                      <a:lnTo>
                        <a:pt x="35" y="5"/>
                      </a:lnTo>
                      <a:lnTo>
                        <a:pt x="31" y="2"/>
                      </a:lnTo>
                      <a:lnTo>
                        <a:pt x="28" y="0"/>
                      </a:lnTo>
                      <a:lnTo>
                        <a:pt x="22" y="0"/>
                      </a:lnTo>
                      <a:lnTo>
                        <a:pt x="28" y="0"/>
                      </a:lnTo>
                      <a:lnTo>
                        <a:pt x="35" y="2"/>
                      </a:lnTo>
                      <a:lnTo>
                        <a:pt x="40" y="7"/>
                      </a:lnTo>
                      <a:lnTo>
                        <a:pt x="42" y="14"/>
                      </a:lnTo>
                      <a:lnTo>
                        <a:pt x="40" y="16"/>
                      </a:lnTo>
                      <a:lnTo>
                        <a:pt x="38" y="17"/>
                      </a:lnTo>
                      <a:lnTo>
                        <a:pt x="38" y="21"/>
                      </a:lnTo>
                      <a:lnTo>
                        <a:pt x="38" y="24"/>
                      </a:lnTo>
                      <a:close/>
                      <a:moveTo>
                        <a:pt x="80" y="87"/>
                      </a:moveTo>
                      <a:lnTo>
                        <a:pt x="82" y="86"/>
                      </a:lnTo>
                      <a:lnTo>
                        <a:pt x="82" y="82"/>
                      </a:lnTo>
                      <a:lnTo>
                        <a:pt x="80" y="79"/>
                      </a:lnTo>
                      <a:lnTo>
                        <a:pt x="78" y="77"/>
                      </a:lnTo>
                      <a:lnTo>
                        <a:pt x="80" y="79"/>
                      </a:lnTo>
                      <a:lnTo>
                        <a:pt x="83" y="86"/>
                      </a:lnTo>
                      <a:lnTo>
                        <a:pt x="85" y="87"/>
                      </a:lnTo>
                      <a:lnTo>
                        <a:pt x="87" y="89"/>
                      </a:lnTo>
                      <a:lnTo>
                        <a:pt x="89" y="93"/>
                      </a:lnTo>
                      <a:lnTo>
                        <a:pt x="89" y="94"/>
                      </a:lnTo>
                      <a:lnTo>
                        <a:pt x="89" y="93"/>
                      </a:lnTo>
                      <a:lnTo>
                        <a:pt x="85" y="91"/>
                      </a:lnTo>
                      <a:lnTo>
                        <a:pt x="80" y="87"/>
                      </a:lnTo>
                      <a:close/>
                      <a:moveTo>
                        <a:pt x="76" y="61"/>
                      </a:moveTo>
                      <a:lnTo>
                        <a:pt x="78" y="63"/>
                      </a:lnTo>
                      <a:lnTo>
                        <a:pt x="78" y="65"/>
                      </a:lnTo>
                      <a:lnTo>
                        <a:pt x="75" y="65"/>
                      </a:lnTo>
                      <a:lnTo>
                        <a:pt x="76" y="63"/>
                      </a:lnTo>
                      <a:lnTo>
                        <a:pt x="75" y="61"/>
                      </a:lnTo>
                      <a:lnTo>
                        <a:pt x="71" y="56"/>
                      </a:lnTo>
                      <a:lnTo>
                        <a:pt x="70" y="52"/>
                      </a:lnTo>
                      <a:lnTo>
                        <a:pt x="71" y="52"/>
                      </a:lnTo>
                      <a:lnTo>
                        <a:pt x="73" y="56"/>
                      </a:lnTo>
                      <a:lnTo>
                        <a:pt x="75" y="58"/>
                      </a:lnTo>
                      <a:lnTo>
                        <a:pt x="76" y="61"/>
                      </a:lnTo>
                      <a:close/>
                      <a:moveTo>
                        <a:pt x="19" y="4"/>
                      </a:moveTo>
                      <a:lnTo>
                        <a:pt x="22" y="4"/>
                      </a:lnTo>
                      <a:lnTo>
                        <a:pt x="21" y="5"/>
                      </a:lnTo>
                      <a:lnTo>
                        <a:pt x="17" y="7"/>
                      </a:lnTo>
                      <a:lnTo>
                        <a:pt x="7" y="9"/>
                      </a:lnTo>
                      <a:lnTo>
                        <a:pt x="5" y="9"/>
                      </a:lnTo>
                      <a:lnTo>
                        <a:pt x="3" y="7"/>
                      </a:lnTo>
                      <a:lnTo>
                        <a:pt x="0" y="5"/>
                      </a:lnTo>
                      <a:lnTo>
                        <a:pt x="3" y="7"/>
                      </a:lnTo>
                      <a:lnTo>
                        <a:pt x="5" y="7"/>
                      </a:lnTo>
                      <a:lnTo>
                        <a:pt x="8" y="5"/>
                      </a:lnTo>
                      <a:lnTo>
                        <a:pt x="8" y="2"/>
                      </a:lnTo>
                      <a:lnTo>
                        <a:pt x="12" y="4"/>
                      </a:lnTo>
                      <a:lnTo>
                        <a:pt x="15" y="5"/>
                      </a:lnTo>
                      <a:lnTo>
                        <a:pt x="19" y="4"/>
                      </a:lnTo>
                      <a:close/>
                      <a:moveTo>
                        <a:pt x="64" y="77"/>
                      </a:moveTo>
                      <a:lnTo>
                        <a:pt x="66" y="77"/>
                      </a:lnTo>
                      <a:lnTo>
                        <a:pt x="66" y="79"/>
                      </a:lnTo>
                      <a:lnTo>
                        <a:pt x="68" y="79"/>
                      </a:lnTo>
                      <a:lnTo>
                        <a:pt x="70" y="80"/>
                      </a:lnTo>
                      <a:lnTo>
                        <a:pt x="71" y="82"/>
                      </a:lnTo>
                      <a:lnTo>
                        <a:pt x="70" y="80"/>
                      </a:lnTo>
                      <a:lnTo>
                        <a:pt x="66" y="79"/>
                      </a:lnTo>
                      <a:lnTo>
                        <a:pt x="63" y="77"/>
                      </a:lnTo>
                      <a:lnTo>
                        <a:pt x="64" y="77"/>
                      </a:lnTo>
                      <a:close/>
                      <a:moveTo>
                        <a:pt x="49" y="31"/>
                      </a:moveTo>
                      <a:lnTo>
                        <a:pt x="52" y="35"/>
                      </a:lnTo>
                      <a:lnTo>
                        <a:pt x="59" y="40"/>
                      </a:lnTo>
                      <a:lnTo>
                        <a:pt x="61" y="42"/>
                      </a:lnTo>
                      <a:lnTo>
                        <a:pt x="61" y="51"/>
                      </a:lnTo>
                      <a:lnTo>
                        <a:pt x="61" y="52"/>
                      </a:lnTo>
                      <a:lnTo>
                        <a:pt x="59" y="52"/>
                      </a:lnTo>
                      <a:lnTo>
                        <a:pt x="59" y="51"/>
                      </a:lnTo>
                      <a:lnTo>
                        <a:pt x="57" y="51"/>
                      </a:lnTo>
                      <a:lnTo>
                        <a:pt x="57" y="49"/>
                      </a:lnTo>
                      <a:lnTo>
                        <a:pt x="59" y="49"/>
                      </a:lnTo>
                      <a:lnTo>
                        <a:pt x="61" y="45"/>
                      </a:lnTo>
                      <a:lnTo>
                        <a:pt x="59" y="42"/>
                      </a:lnTo>
                      <a:lnTo>
                        <a:pt x="57" y="38"/>
                      </a:lnTo>
                      <a:lnTo>
                        <a:pt x="56" y="37"/>
                      </a:lnTo>
                      <a:lnTo>
                        <a:pt x="52" y="35"/>
                      </a:lnTo>
                      <a:lnTo>
                        <a:pt x="50" y="35"/>
                      </a:lnTo>
                      <a:lnTo>
                        <a:pt x="47" y="35"/>
                      </a:lnTo>
                      <a:lnTo>
                        <a:pt x="47" y="33"/>
                      </a:lnTo>
                      <a:lnTo>
                        <a:pt x="49" y="33"/>
                      </a:lnTo>
                      <a:lnTo>
                        <a:pt x="49" y="3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29" name="Freeform 312">
                  <a:extLst>
                    <a:ext uri="{FF2B5EF4-FFF2-40B4-BE49-F238E27FC236}">
                      <a16:creationId xmlns:a16="http://schemas.microsoft.com/office/drawing/2014/main" id="{91FFF89C-B6CC-3EE6-4C0A-524C8B2D5B41}"/>
                    </a:ext>
                  </a:extLst>
                </p:cNvPr>
                <p:cNvSpPr>
                  <a:spLocks/>
                </p:cNvSpPr>
                <p:nvPr/>
              </p:nvSpPr>
              <p:spPr bwMode="auto">
                <a:xfrm>
                  <a:off x="-2037" y="-3031"/>
                  <a:ext cx="45" cy="17"/>
                </a:xfrm>
                <a:custGeom>
                  <a:avLst/>
                  <a:gdLst>
                    <a:gd name="T0" fmla="*/ 40 w 45"/>
                    <a:gd name="T1" fmla="*/ 12 h 17"/>
                    <a:gd name="T2" fmla="*/ 42 w 45"/>
                    <a:gd name="T3" fmla="*/ 14 h 17"/>
                    <a:gd name="T4" fmla="*/ 45 w 45"/>
                    <a:gd name="T5" fmla="*/ 12 h 17"/>
                    <a:gd name="T6" fmla="*/ 43 w 45"/>
                    <a:gd name="T7" fmla="*/ 8 h 17"/>
                    <a:gd name="T8" fmla="*/ 38 w 45"/>
                    <a:gd name="T9" fmla="*/ 5 h 17"/>
                    <a:gd name="T10" fmla="*/ 33 w 45"/>
                    <a:gd name="T11" fmla="*/ 3 h 17"/>
                    <a:gd name="T12" fmla="*/ 29 w 45"/>
                    <a:gd name="T13" fmla="*/ 1 h 17"/>
                    <a:gd name="T14" fmla="*/ 24 w 45"/>
                    <a:gd name="T15" fmla="*/ 0 h 17"/>
                    <a:gd name="T16" fmla="*/ 19 w 45"/>
                    <a:gd name="T17" fmla="*/ 0 h 17"/>
                    <a:gd name="T18" fmla="*/ 14 w 45"/>
                    <a:gd name="T19" fmla="*/ 0 h 17"/>
                    <a:gd name="T20" fmla="*/ 7 w 45"/>
                    <a:gd name="T21" fmla="*/ 0 h 17"/>
                    <a:gd name="T22" fmla="*/ 3 w 45"/>
                    <a:gd name="T23" fmla="*/ 0 h 17"/>
                    <a:gd name="T24" fmla="*/ 1 w 45"/>
                    <a:gd name="T25" fmla="*/ 1 h 17"/>
                    <a:gd name="T26" fmla="*/ 0 w 45"/>
                    <a:gd name="T27" fmla="*/ 3 h 17"/>
                    <a:gd name="T28" fmla="*/ 1 w 45"/>
                    <a:gd name="T29" fmla="*/ 5 h 17"/>
                    <a:gd name="T30" fmla="*/ 3 w 45"/>
                    <a:gd name="T31" fmla="*/ 5 h 17"/>
                    <a:gd name="T32" fmla="*/ 5 w 45"/>
                    <a:gd name="T33" fmla="*/ 7 h 17"/>
                    <a:gd name="T34" fmla="*/ 7 w 45"/>
                    <a:gd name="T35" fmla="*/ 7 h 17"/>
                    <a:gd name="T36" fmla="*/ 8 w 45"/>
                    <a:gd name="T37" fmla="*/ 8 h 17"/>
                    <a:gd name="T38" fmla="*/ 12 w 45"/>
                    <a:gd name="T39" fmla="*/ 12 h 17"/>
                    <a:gd name="T40" fmla="*/ 14 w 45"/>
                    <a:gd name="T41" fmla="*/ 14 h 17"/>
                    <a:gd name="T42" fmla="*/ 17 w 45"/>
                    <a:gd name="T43" fmla="*/ 14 h 17"/>
                    <a:gd name="T44" fmla="*/ 19 w 45"/>
                    <a:gd name="T45" fmla="*/ 14 h 17"/>
                    <a:gd name="T46" fmla="*/ 22 w 45"/>
                    <a:gd name="T47" fmla="*/ 14 h 17"/>
                    <a:gd name="T48" fmla="*/ 24 w 45"/>
                    <a:gd name="T49" fmla="*/ 17 h 17"/>
                    <a:gd name="T50" fmla="*/ 24 w 45"/>
                    <a:gd name="T51" fmla="*/ 14 h 17"/>
                    <a:gd name="T52" fmla="*/ 26 w 45"/>
                    <a:gd name="T53" fmla="*/ 14 h 17"/>
                    <a:gd name="T54" fmla="*/ 28 w 45"/>
                    <a:gd name="T55" fmla="*/ 14 h 17"/>
                    <a:gd name="T56" fmla="*/ 28 w 45"/>
                    <a:gd name="T57" fmla="*/ 14 h 17"/>
                    <a:gd name="T58" fmla="*/ 31 w 45"/>
                    <a:gd name="T59" fmla="*/ 12 h 17"/>
                    <a:gd name="T60" fmla="*/ 33 w 45"/>
                    <a:gd name="T61" fmla="*/ 10 h 17"/>
                    <a:gd name="T62" fmla="*/ 35 w 45"/>
                    <a:gd name="T63" fmla="*/ 10 h 17"/>
                    <a:gd name="T64" fmla="*/ 33 w 45"/>
                    <a:gd name="T65" fmla="*/ 12 h 17"/>
                    <a:gd name="T66" fmla="*/ 40 w 45"/>
                    <a:gd name="T6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17">
                      <a:moveTo>
                        <a:pt x="40" y="12"/>
                      </a:moveTo>
                      <a:lnTo>
                        <a:pt x="42" y="14"/>
                      </a:lnTo>
                      <a:lnTo>
                        <a:pt x="45" y="12"/>
                      </a:lnTo>
                      <a:lnTo>
                        <a:pt x="43" y="8"/>
                      </a:lnTo>
                      <a:lnTo>
                        <a:pt x="38" y="5"/>
                      </a:lnTo>
                      <a:lnTo>
                        <a:pt x="33" y="3"/>
                      </a:lnTo>
                      <a:lnTo>
                        <a:pt x="29" y="1"/>
                      </a:lnTo>
                      <a:lnTo>
                        <a:pt x="24" y="0"/>
                      </a:lnTo>
                      <a:lnTo>
                        <a:pt x="19" y="0"/>
                      </a:lnTo>
                      <a:lnTo>
                        <a:pt x="14" y="0"/>
                      </a:lnTo>
                      <a:lnTo>
                        <a:pt x="7" y="0"/>
                      </a:lnTo>
                      <a:lnTo>
                        <a:pt x="3" y="0"/>
                      </a:lnTo>
                      <a:lnTo>
                        <a:pt x="1" y="1"/>
                      </a:lnTo>
                      <a:lnTo>
                        <a:pt x="0" y="3"/>
                      </a:lnTo>
                      <a:lnTo>
                        <a:pt x="1" y="5"/>
                      </a:lnTo>
                      <a:lnTo>
                        <a:pt x="3" y="5"/>
                      </a:lnTo>
                      <a:lnTo>
                        <a:pt x="5" y="7"/>
                      </a:lnTo>
                      <a:lnTo>
                        <a:pt x="7" y="7"/>
                      </a:lnTo>
                      <a:lnTo>
                        <a:pt x="8" y="8"/>
                      </a:lnTo>
                      <a:lnTo>
                        <a:pt x="12" y="12"/>
                      </a:lnTo>
                      <a:lnTo>
                        <a:pt x="14" y="14"/>
                      </a:lnTo>
                      <a:lnTo>
                        <a:pt x="17" y="14"/>
                      </a:lnTo>
                      <a:lnTo>
                        <a:pt x="19" y="14"/>
                      </a:lnTo>
                      <a:lnTo>
                        <a:pt x="22" y="14"/>
                      </a:lnTo>
                      <a:lnTo>
                        <a:pt x="24" y="17"/>
                      </a:lnTo>
                      <a:lnTo>
                        <a:pt x="24" y="14"/>
                      </a:lnTo>
                      <a:lnTo>
                        <a:pt x="26" y="14"/>
                      </a:lnTo>
                      <a:lnTo>
                        <a:pt x="28" y="14"/>
                      </a:lnTo>
                      <a:lnTo>
                        <a:pt x="28" y="14"/>
                      </a:lnTo>
                      <a:lnTo>
                        <a:pt x="31" y="12"/>
                      </a:lnTo>
                      <a:lnTo>
                        <a:pt x="33" y="10"/>
                      </a:lnTo>
                      <a:lnTo>
                        <a:pt x="35" y="10"/>
                      </a:lnTo>
                      <a:lnTo>
                        <a:pt x="33" y="12"/>
                      </a:lnTo>
                      <a:lnTo>
                        <a:pt x="40" y="1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30" name="Freeform 313">
                  <a:extLst>
                    <a:ext uri="{FF2B5EF4-FFF2-40B4-BE49-F238E27FC236}">
                      <a16:creationId xmlns:a16="http://schemas.microsoft.com/office/drawing/2014/main" id="{6C735648-CD84-61F2-9F2E-1DBC62B70E55}"/>
                    </a:ext>
                  </a:extLst>
                </p:cNvPr>
                <p:cNvSpPr>
                  <a:spLocks noEditPoints="1"/>
                </p:cNvSpPr>
                <p:nvPr/>
              </p:nvSpPr>
              <p:spPr bwMode="auto">
                <a:xfrm>
                  <a:off x="-1814" y="-3033"/>
                  <a:ext cx="56" cy="14"/>
                </a:xfrm>
                <a:custGeom>
                  <a:avLst/>
                  <a:gdLst>
                    <a:gd name="T0" fmla="*/ 56 w 56"/>
                    <a:gd name="T1" fmla="*/ 9 h 14"/>
                    <a:gd name="T2" fmla="*/ 54 w 56"/>
                    <a:gd name="T3" fmla="*/ 9 h 14"/>
                    <a:gd name="T4" fmla="*/ 53 w 56"/>
                    <a:gd name="T5" fmla="*/ 10 h 14"/>
                    <a:gd name="T6" fmla="*/ 51 w 56"/>
                    <a:gd name="T7" fmla="*/ 10 h 14"/>
                    <a:gd name="T8" fmla="*/ 51 w 56"/>
                    <a:gd name="T9" fmla="*/ 9 h 14"/>
                    <a:gd name="T10" fmla="*/ 51 w 56"/>
                    <a:gd name="T11" fmla="*/ 9 h 14"/>
                    <a:gd name="T12" fmla="*/ 53 w 56"/>
                    <a:gd name="T13" fmla="*/ 9 h 14"/>
                    <a:gd name="T14" fmla="*/ 54 w 56"/>
                    <a:gd name="T15" fmla="*/ 9 h 14"/>
                    <a:gd name="T16" fmla="*/ 56 w 56"/>
                    <a:gd name="T17" fmla="*/ 9 h 14"/>
                    <a:gd name="T18" fmla="*/ 18 w 56"/>
                    <a:gd name="T19" fmla="*/ 0 h 14"/>
                    <a:gd name="T20" fmla="*/ 16 w 56"/>
                    <a:gd name="T21" fmla="*/ 2 h 14"/>
                    <a:gd name="T22" fmla="*/ 14 w 56"/>
                    <a:gd name="T23" fmla="*/ 2 h 14"/>
                    <a:gd name="T24" fmla="*/ 14 w 56"/>
                    <a:gd name="T25" fmla="*/ 3 h 14"/>
                    <a:gd name="T26" fmla="*/ 14 w 56"/>
                    <a:gd name="T27" fmla="*/ 5 h 14"/>
                    <a:gd name="T28" fmla="*/ 16 w 56"/>
                    <a:gd name="T29" fmla="*/ 10 h 14"/>
                    <a:gd name="T30" fmla="*/ 16 w 56"/>
                    <a:gd name="T31" fmla="*/ 10 h 14"/>
                    <a:gd name="T32" fmla="*/ 18 w 56"/>
                    <a:gd name="T33" fmla="*/ 12 h 14"/>
                    <a:gd name="T34" fmla="*/ 23 w 56"/>
                    <a:gd name="T35" fmla="*/ 14 h 14"/>
                    <a:gd name="T36" fmla="*/ 32 w 56"/>
                    <a:gd name="T37" fmla="*/ 12 h 14"/>
                    <a:gd name="T38" fmla="*/ 35 w 56"/>
                    <a:gd name="T39" fmla="*/ 14 h 14"/>
                    <a:gd name="T40" fmla="*/ 37 w 56"/>
                    <a:gd name="T41" fmla="*/ 14 h 14"/>
                    <a:gd name="T42" fmla="*/ 40 w 56"/>
                    <a:gd name="T43" fmla="*/ 12 h 14"/>
                    <a:gd name="T44" fmla="*/ 42 w 56"/>
                    <a:gd name="T45" fmla="*/ 12 h 14"/>
                    <a:gd name="T46" fmla="*/ 47 w 56"/>
                    <a:gd name="T47" fmla="*/ 9 h 14"/>
                    <a:gd name="T48" fmla="*/ 49 w 56"/>
                    <a:gd name="T49" fmla="*/ 7 h 14"/>
                    <a:gd name="T50" fmla="*/ 49 w 56"/>
                    <a:gd name="T51" fmla="*/ 3 h 14"/>
                    <a:gd name="T52" fmla="*/ 46 w 56"/>
                    <a:gd name="T53" fmla="*/ 2 h 14"/>
                    <a:gd name="T54" fmla="*/ 42 w 56"/>
                    <a:gd name="T55" fmla="*/ 2 h 14"/>
                    <a:gd name="T56" fmla="*/ 39 w 56"/>
                    <a:gd name="T57" fmla="*/ 2 h 14"/>
                    <a:gd name="T58" fmla="*/ 39 w 56"/>
                    <a:gd name="T59" fmla="*/ 2 h 14"/>
                    <a:gd name="T60" fmla="*/ 35 w 56"/>
                    <a:gd name="T61" fmla="*/ 2 h 14"/>
                    <a:gd name="T62" fmla="*/ 30 w 56"/>
                    <a:gd name="T63" fmla="*/ 0 h 14"/>
                    <a:gd name="T64" fmla="*/ 23 w 56"/>
                    <a:gd name="T65" fmla="*/ 0 h 14"/>
                    <a:gd name="T66" fmla="*/ 19 w 56"/>
                    <a:gd name="T67" fmla="*/ 0 h 14"/>
                    <a:gd name="T68" fmla="*/ 18 w 56"/>
                    <a:gd name="T69" fmla="*/ 0 h 14"/>
                    <a:gd name="T70" fmla="*/ 0 w 56"/>
                    <a:gd name="T71" fmla="*/ 9 h 14"/>
                    <a:gd name="T72" fmla="*/ 2 w 56"/>
                    <a:gd name="T73" fmla="*/ 10 h 14"/>
                    <a:gd name="T74" fmla="*/ 0 w 56"/>
                    <a:gd name="T75" fmla="*/ 10 h 14"/>
                    <a:gd name="T76" fmla="*/ 0 w 56"/>
                    <a:gd name="T77" fmla="*/ 10 h 14"/>
                    <a:gd name="T78" fmla="*/ 0 w 56"/>
                    <a:gd name="T7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14">
                      <a:moveTo>
                        <a:pt x="56" y="9"/>
                      </a:moveTo>
                      <a:lnTo>
                        <a:pt x="54" y="9"/>
                      </a:lnTo>
                      <a:lnTo>
                        <a:pt x="53" y="10"/>
                      </a:lnTo>
                      <a:lnTo>
                        <a:pt x="51" y="10"/>
                      </a:lnTo>
                      <a:lnTo>
                        <a:pt x="51" y="9"/>
                      </a:lnTo>
                      <a:lnTo>
                        <a:pt x="51" y="9"/>
                      </a:lnTo>
                      <a:lnTo>
                        <a:pt x="53" y="9"/>
                      </a:lnTo>
                      <a:lnTo>
                        <a:pt x="54" y="9"/>
                      </a:lnTo>
                      <a:lnTo>
                        <a:pt x="56" y="9"/>
                      </a:lnTo>
                      <a:close/>
                      <a:moveTo>
                        <a:pt x="18" y="0"/>
                      </a:moveTo>
                      <a:lnTo>
                        <a:pt x="16" y="2"/>
                      </a:lnTo>
                      <a:lnTo>
                        <a:pt x="14" y="2"/>
                      </a:lnTo>
                      <a:lnTo>
                        <a:pt x="14" y="3"/>
                      </a:lnTo>
                      <a:lnTo>
                        <a:pt x="14" y="5"/>
                      </a:lnTo>
                      <a:lnTo>
                        <a:pt x="16" y="10"/>
                      </a:lnTo>
                      <a:lnTo>
                        <a:pt x="16" y="10"/>
                      </a:lnTo>
                      <a:lnTo>
                        <a:pt x="18" y="12"/>
                      </a:lnTo>
                      <a:lnTo>
                        <a:pt x="23" y="14"/>
                      </a:lnTo>
                      <a:lnTo>
                        <a:pt x="32" y="12"/>
                      </a:lnTo>
                      <a:lnTo>
                        <a:pt x="35" y="14"/>
                      </a:lnTo>
                      <a:lnTo>
                        <a:pt x="37" y="14"/>
                      </a:lnTo>
                      <a:lnTo>
                        <a:pt x="40" y="12"/>
                      </a:lnTo>
                      <a:lnTo>
                        <a:pt x="42" y="12"/>
                      </a:lnTo>
                      <a:lnTo>
                        <a:pt x="47" y="9"/>
                      </a:lnTo>
                      <a:lnTo>
                        <a:pt x="49" y="7"/>
                      </a:lnTo>
                      <a:lnTo>
                        <a:pt x="49" y="3"/>
                      </a:lnTo>
                      <a:lnTo>
                        <a:pt x="46" y="2"/>
                      </a:lnTo>
                      <a:lnTo>
                        <a:pt x="42" y="2"/>
                      </a:lnTo>
                      <a:lnTo>
                        <a:pt x="39" y="2"/>
                      </a:lnTo>
                      <a:lnTo>
                        <a:pt x="39" y="2"/>
                      </a:lnTo>
                      <a:lnTo>
                        <a:pt x="35" y="2"/>
                      </a:lnTo>
                      <a:lnTo>
                        <a:pt x="30" y="0"/>
                      </a:lnTo>
                      <a:lnTo>
                        <a:pt x="23" y="0"/>
                      </a:lnTo>
                      <a:lnTo>
                        <a:pt x="19" y="0"/>
                      </a:lnTo>
                      <a:lnTo>
                        <a:pt x="18" y="0"/>
                      </a:lnTo>
                      <a:close/>
                      <a:moveTo>
                        <a:pt x="0" y="9"/>
                      </a:moveTo>
                      <a:lnTo>
                        <a:pt x="2" y="10"/>
                      </a:lnTo>
                      <a:lnTo>
                        <a:pt x="0" y="10"/>
                      </a:lnTo>
                      <a:lnTo>
                        <a:pt x="0" y="10"/>
                      </a:lnTo>
                      <a:lnTo>
                        <a:pt x="0" y="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31" name="Freeform 314">
                  <a:extLst>
                    <a:ext uri="{FF2B5EF4-FFF2-40B4-BE49-F238E27FC236}">
                      <a16:creationId xmlns:a16="http://schemas.microsoft.com/office/drawing/2014/main" id="{9A70C6DA-DD18-708D-DC90-418AB3D140B2}"/>
                    </a:ext>
                  </a:extLst>
                </p:cNvPr>
                <p:cNvSpPr>
                  <a:spLocks noEditPoints="1"/>
                </p:cNvSpPr>
                <p:nvPr/>
              </p:nvSpPr>
              <p:spPr bwMode="auto">
                <a:xfrm>
                  <a:off x="-2104" y="-3061"/>
                  <a:ext cx="37" cy="10"/>
                </a:xfrm>
                <a:custGeom>
                  <a:avLst/>
                  <a:gdLst>
                    <a:gd name="T0" fmla="*/ 4 w 37"/>
                    <a:gd name="T1" fmla="*/ 9 h 10"/>
                    <a:gd name="T2" fmla="*/ 6 w 37"/>
                    <a:gd name="T3" fmla="*/ 9 h 10"/>
                    <a:gd name="T4" fmla="*/ 7 w 37"/>
                    <a:gd name="T5" fmla="*/ 10 h 10"/>
                    <a:gd name="T6" fmla="*/ 4 w 37"/>
                    <a:gd name="T7" fmla="*/ 10 h 10"/>
                    <a:gd name="T8" fmla="*/ 2 w 37"/>
                    <a:gd name="T9" fmla="*/ 10 h 10"/>
                    <a:gd name="T10" fmla="*/ 0 w 37"/>
                    <a:gd name="T11" fmla="*/ 9 h 10"/>
                    <a:gd name="T12" fmla="*/ 2 w 37"/>
                    <a:gd name="T13" fmla="*/ 9 h 10"/>
                    <a:gd name="T14" fmla="*/ 4 w 37"/>
                    <a:gd name="T15" fmla="*/ 9 h 10"/>
                    <a:gd name="T16" fmla="*/ 35 w 37"/>
                    <a:gd name="T17" fmla="*/ 2 h 10"/>
                    <a:gd name="T18" fmla="*/ 33 w 37"/>
                    <a:gd name="T19" fmla="*/ 2 h 10"/>
                    <a:gd name="T20" fmla="*/ 35 w 37"/>
                    <a:gd name="T21" fmla="*/ 2 h 10"/>
                    <a:gd name="T22" fmla="*/ 35 w 37"/>
                    <a:gd name="T23" fmla="*/ 2 h 10"/>
                    <a:gd name="T24" fmla="*/ 37 w 37"/>
                    <a:gd name="T25" fmla="*/ 0 h 10"/>
                    <a:gd name="T26" fmla="*/ 37 w 37"/>
                    <a:gd name="T27" fmla="*/ 0 h 10"/>
                    <a:gd name="T28" fmla="*/ 35 w 37"/>
                    <a:gd name="T29" fmla="*/ 0 h 10"/>
                    <a:gd name="T30" fmla="*/ 35 w 37"/>
                    <a:gd name="T31" fmla="*/ 0 h 10"/>
                    <a:gd name="T32" fmla="*/ 35 w 37"/>
                    <a:gd name="T33" fmla="*/ 2 h 10"/>
                    <a:gd name="T34" fmla="*/ 28 w 37"/>
                    <a:gd name="T35" fmla="*/ 2 h 10"/>
                    <a:gd name="T36" fmla="*/ 32 w 37"/>
                    <a:gd name="T37" fmla="*/ 2 h 10"/>
                    <a:gd name="T38" fmla="*/ 30 w 37"/>
                    <a:gd name="T39" fmla="*/ 2 h 10"/>
                    <a:gd name="T40" fmla="*/ 30 w 37"/>
                    <a:gd name="T41" fmla="*/ 2 h 10"/>
                    <a:gd name="T42" fmla="*/ 28 w 37"/>
                    <a:gd name="T4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0">
                      <a:moveTo>
                        <a:pt x="4" y="9"/>
                      </a:moveTo>
                      <a:lnTo>
                        <a:pt x="6" y="9"/>
                      </a:lnTo>
                      <a:lnTo>
                        <a:pt x="7" y="10"/>
                      </a:lnTo>
                      <a:lnTo>
                        <a:pt x="4" y="10"/>
                      </a:lnTo>
                      <a:lnTo>
                        <a:pt x="2" y="10"/>
                      </a:lnTo>
                      <a:lnTo>
                        <a:pt x="0" y="9"/>
                      </a:lnTo>
                      <a:lnTo>
                        <a:pt x="2" y="9"/>
                      </a:lnTo>
                      <a:lnTo>
                        <a:pt x="4" y="9"/>
                      </a:lnTo>
                      <a:close/>
                      <a:moveTo>
                        <a:pt x="35" y="2"/>
                      </a:moveTo>
                      <a:lnTo>
                        <a:pt x="33" y="2"/>
                      </a:lnTo>
                      <a:lnTo>
                        <a:pt x="35" y="2"/>
                      </a:lnTo>
                      <a:lnTo>
                        <a:pt x="35" y="2"/>
                      </a:lnTo>
                      <a:lnTo>
                        <a:pt x="37" y="0"/>
                      </a:lnTo>
                      <a:lnTo>
                        <a:pt x="37" y="0"/>
                      </a:lnTo>
                      <a:lnTo>
                        <a:pt x="35" y="0"/>
                      </a:lnTo>
                      <a:lnTo>
                        <a:pt x="35" y="0"/>
                      </a:lnTo>
                      <a:lnTo>
                        <a:pt x="35" y="2"/>
                      </a:lnTo>
                      <a:close/>
                      <a:moveTo>
                        <a:pt x="28" y="2"/>
                      </a:moveTo>
                      <a:lnTo>
                        <a:pt x="32" y="2"/>
                      </a:lnTo>
                      <a:lnTo>
                        <a:pt x="30" y="2"/>
                      </a:lnTo>
                      <a:lnTo>
                        <a:pt x="30" y="2"/>
                      </a:lnTo>
                      <a:lnTo>
                        <a:pt x="28"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32" name="Freeform 315">
                  <a:extLst>
                    <a:ext uri="{FF2B5EF4-FFF2-40B4-BE49-F238E27FC236}">
                      <a16:creationId xmlns:a16="http://schemas.microsoft.com/office/drawing/2014/main" id="{8450E0EB-75DF-0A5A-11A8-2561045E27DE}"/>
                    </a:ext>
                  </a:extLst>
                </p:cNvPr>
                <p:cNvSpPr>
                  <a:spLocks noEditPoints="1"/>
                </p:cNvSpPr>
                <p:nvPr/>
              </p:nvSpPr>
              <p:spPr bwMode="auto">
                <a:xfrm>
                  <a:off x="-2137" y="-2836"/>
                  <a:ext cx="124" cy="51"/>
                </a:xfrm>
                <a:custGeom>
                  <a:avLst/>
                  <a:gdLst>
                    <a:gd name="T0" fmla="*/ 84 w 124"/>
                    <a:gd name="T1" fmla="*/ 30 h 51"/>
                    <a:gd name="T2" fmla="*/ 84 w 124"/>
                    <a:gd name="T3" fmla="*/ 28 h 51"/>
                    <a:gd name="T4" fmla="*/ 84 w 124"/>
                    <a:gd name="T5" fmla="*/ 30 h 51"/>
                    <a:gd name="T6" fmla="*/ 87 w 124"/>
                    <a:gd name="T7" fmla="*/ 25 h 51"/>
                    <a:gd name="T8" fmla="*/ 87 w 124"/>
                    <a:gd name="T9" fmla="*/ 30 h 51"/>
                    <a:gd name="T10" fmla="*/ 112 w 124"/>
                    <a:gd name="T11" fmla="*/ 41 h 51"/>
                    <a:gd name="T12" fmla="*/ 117 w 124"/>
                    <a:gd name="T13" fmla="*/ 44 h 51"/>
                    <a:gd name="T14" fmla="*/ 124 w 124"/>
                    <a:gd name="T15" fmla="*/ 35 h 51"/>
                    <a:gd name="T16" fmla="*/ 122 w 124"/>
                    <a:gd name="T17" fmla="*/ 30 h 51"/>
                    <a:gd name="T18" fmla="*/ 121 w 124"/>
                    <a:gd name="T19" fmla="*/ 21 h 51"/>
                    <a:gd name="T20" fmla="*/ 96 w 124"/>
                    <a:gd name="T21" fmla="*/ 4 h 51"/>
                    <a:gd name="T22" fmla="*/ 87 w 124"/>
                    <a:gd name="T23" fmla="*/ 4 h 51"/>
                    <a:gd name="T24" fmla="*/ 84 w 124"/>
                    <a:gd name="T25" fmla="*/ 2 h 51"/>
                    <a:gd name="T26" fmla="*/ 73 w 124"/>
                    <a:gd name="T27" fmla="*/ 2 h 51"/>
                    <a:gd name="T28" fmla="*/ 63 w 124"/>
                    <a:gd name="T29" fmla="*/ 7 h 51"/>
                    <a:gd name="T30" fmla="*/ 40 w 124"/>
                    <a:gd name="T31" fmla="*/ 18 h 51"/>
                    <a:gd name="T32" fmla="*/ 32 w 124"/>
                    <a:gd name="T33" fmla="*/ 16 h 51"/>
                    <a:gd name="T34" fmla="*/ 26 w 124"/>
                    <a:gd name="T35" fmla="*/ 14 h 51"/>
                    <a:gd name="T36" fmla="*/ 18 w 124"/>
                    <a:gd name="T37" fmla="*/ 13 h 51"/>
                    <a:gd name="T38" fmla="*/ 14 w 124"/>
                    <a:gd name="T39" fmla="*/ 9 h 51"/>
                    <a:gd name="T40" fmla="*/ 12 w 124"/>
                    <a:gd name="T41" fmla="*/ 4 h 51"/>
                    <a:gd name="T42" fmla="*/ 9 w 124"/>
                    <a:gd name="T43" fmla="*/ 2 h 51"/>
                    <a:gd name="T44" fmla="*/ 2 w 124"/>
                    <a:gd name="T45" fmla="*/ 4 h 51"/>
                    <a:gd name="T46" fmla="*/ 2 w 124"/>
                    <a:gd name="T47" fmla="*/ 11 h 51"/>
                    <a:gd name="T48" fmla="*/ 4 w 124"/>
                    <a:gd name="T49" fmla="*/ 13 h 51"/>
                    <a:gd name="T50" fmla="*/ 5 w 124"/>
                    <a:gd name="T51" fmla="*/ 16 h 51"/>
                    <a:gd name="T52" fmla="*/ 4 w 124"/>
                    <a:gd name="T53" fmla="*/ 18 h 51"/>
                    <a:gd name="T54" fmla="*/ 4 w 124"/>
                    <a:gd name="T55" fmla="*/ 25 h 51"/>
                    <a:gd name="T56" fmla="*/ 0 w 124"/>
                    <a:gd name="T57" fmla="*/ 28 h 51"/>
                    <a:gd name="T58" fmla="*/ 4 w 124"/>
                    <a:gd name="T59" fmla="*/ 34 h 51"/>
                    <a:gd name="T60" fmla="*/ 12 w 124"/>
                    <a:gd name="T61" fmla="*/ 28 h 51"/>
                    <a:gd name="T62" fmla="*/ 19 w 124"/>
                    <a:gd name="T63" fmla="*/ 30 h 51"/>
                    <a:gd name="T64" fmla="*/ 26 w 124"/>
                    <a:gd name="T65" fmla="*/ 34 h 51"/>
                    <a:gd name="T66" fmla="*/ 32 w 124"/>
                    <a:gd name="T67" fmla="*/ 39 h 51"/>
                    <a:gd name="T68" fmla="*/ 37 w 124"/>
                    <a:gd name="T69" fmla="*/ 42 h 51"/>
                    <a:gd name="T70" fmla="*/ 40 w 124"/>
                    <a:gd name="T71" fmla="*/ 41 h 51"/>
                    <a:gd name="T72" fmla="*/ 42 w 124"/>
                    <a:gd name="T73" fmla="*/ 41 h 51"/>
                    <a:gd name="T74" fmla="*/ 47 w 124"/>
                    <a:gd name="T75" fmla="*/ 51 h 51"/>
                    <a:gd name="T76" fmla="*/ 54 w 124"/>
                    <a:gd name="T77" fmla="*/ 51 h 51"/>
                    <a:gd name="T78" fmla="*/ 58 w 124"/>
                    <a:gd name="T79" fmla="*/ 48 h 51"/>
                    <a:gd name="T80" fmla="*/ 63 w 124"/>
                    <a:gd name="T81" fmla="*/ 46 h 51"/>
                    <a:gd name="T82" fmla="*/ 56 w 124"/>
                    <a:gd name="T83" fmla="*/ 34 h 51"/>
                    <a:gd name="T84" fmla="*/ 58 w 124"/>
                    <a:gd name="T85" fmla="*/ 28 h 51"/>
                    <a:gd name="T86" fmla="*/ 70 w 124"/>
                    <a:gd name="T87" fmla="*/ 21 h 51"/>
                    <a:gd name="T88" fmla="*/ 75 w 124"/>
                    <a:gd name="T89" fmla="*/ 14 h 51"/>
                    <a:gd name="T90" fmla="*/ 87 w 124"/>
                    <a:gd name="T91" fmla="*/ 14 h 51"/>
                    <a:gd name="T92" fmla="*/ 94 w 124"/>
                    <a:gd name="T93" fmla="*/ 21 h 51"/>
                    <a:gd name="T94" fmla="*/ 98 w 124"/>
                    <a:gd name="T95" fmla="*/ 27 h 51"/>
                    <a:gd name="T96" fmla="*/ 98 w 124"/>
                    <a:gd name="T97" fmla="*/ 25 h 51"/>
                    <a:gd name="T98" fmla="*/ 105 w 124"/>
                    <a:gd name="T99" fmla="*/ 25 h 51"/>
                    <a:gd name="T100" fmla="*/ 112 w 124"/>
                    <a:gd name="T101" fmla="*/ 32 h 51"/>
                    <a:gd name="T102" fmla="*/ 105 w 124"/>
                    <a:gd name="T103" fmla="*/ 28 h 51"/>
                    <a:gd name="T104" fmla="*/ 101 w 124"/>
                    <a:gd name="T105" fmla="*/ 32 h 51"/>
                    <a:gd name="T106" fmla="*/ 100 w 124"/>
                    <a:gd name="T107" fmla="*/ 39 h 51"/>
                    <a:gd name="T108" fmla="*/ 110 w 124"/>
                    <a:gd name="T109" fmla="*/ 51 h 51"/>
                    <a:gd name="T110" fmla="*/ 30 w 124"/>
                    <a:gd name="T111" fmla="*/ 48 h 51"/>
                    <a:gd name="T112" fmla="*/ 26 w 124"/>
                    <a:gd name="T113" fmla="*/ 49 h 51"/>
                    <a:gd name="T114" fmla="*/ 26 w 124"/>
                    <a:gd name="T115" fmla="*/ 44 h 51"/>
                    <a:gd name="T116" fmla="*/ 16 w 124"/>
                    <a:gd name="T117" fmla="*/ 4 h 51"/>
                    <a:gd name="T118" fmla="*/ 16 w 124"/>
                    <a:gd name="T119" fmla="*/ 6 h 51"/>
                    <a:gd name="T120" fmla="*/ 16 w 124"/>
                    <a:gd name="T121"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4" h="51">
                      <a:moveTo>
                        <a:pt x="84" y="30"/>
                      </a:moveTo>
                      <a:lnTo>
                        <a:pt x="84" y="30"/>
                      </a:lnTo>
                      <a:lnTo>
                        <a:pt x="84" y="30"/>
                      </a:lnTo>
                      <a:lnTo>
                        <a:pt x="84" y="28"/>
                      </a:lnTo>
                      <a:lnTo>
                        <a:pt x="84" y="28"/>
                      </a:lnTo>
                      <a:lnTo>
                        <a:pt x="84" y="28"/>
                      </a:lnTo>
                      <a:lnTo>
                        <a:pt x="84" y="30"/>
                      </a:lnTo>
                      <a:lnTo>
                        <a:pt x="84" y="30"/>
                      </a:lnTo>
                      <a:lnTo>
                        <a:pt x="84" y="30"/>
                      </a:lnTo>
                      <a:close/>
                      <a:moveTo>
                        <a:pt x="89" y="28"/>
                      </a:moveTo>
                      <a:lnTo>
                        <a:pt x="89" y="27"/>
                      </a:lnTo>
                      <a:lnTo>
                        <a:pt x="87" y="25"/>
                      </a:lnTo>
                      <a:lnTo>
                        <a:pt x="87" y="25"/>
                      </a:lnTo>
                      <a:lnTo>
                        <a:pt x="87" y="28"/>
                      </a:lnTo>
                      <a:lnTo>
                        <a:pt x="87" y="30"/>
                      </a:lnTo>
                      <a:lnTo>
                        <a:pt x="89" y="28"/>
                      </a:lnTo>
                      <a:lnTo>
                        <a:pt x="89" y="28"/>
                      </a:lnTo>
                      <a:close/>
                      <a:moveTo>
                        <a:pt x="112" y="41"/>
                      </a:moveTo>
                      <a:lnTo>
                        <a:pt x="115" y="42"/>
                      </a:lnTo>
                      <a:lnTo>
                        <a:pt x="115" y="44"/>
                      </a:lnTo>
                      <a:lnTo>
                        <a:pt x="117" y="44"/>
                      </a:lnTo>
                      <a:lnTo>
                        <a:pt x="121" y="42"/>
                      </a:lnTo>
                      <a:lnTo>
                        <a:pt x="124" y="35"/>
                      </a:lnTo>
                      <a:lnTo>
                        <a:pt x="124" y="35"/>
                      </a:lnTo>
                      <a:lnTo>
                        <a:pt x="124" y="34"/>
                      </a:lnTo>
                      <a:lnTo>
                        <a:pt x="124" y="32"/>
                      </a:lnTo>
                      <a:lnTo>
                        <a:pt x="122" y="30"/>
                      </a:lnTo>
                      <a:lnTo>
                        <a:pt x="121" y="27"/>
                      </a:lnTo>
                      <a:lnTo>
                        <a:pt x="119" y="23"/>
                      </a:lnTo>
                      <a:lnTo>
                        <a:pt x="121" y="21"/>
                      </a:lnTo>
                      <a:lnTo>
                        <a:pt x="108" y="11"/>
                      </a:lnTo>
                      <a:lnTo>
                        <a:pt x="103" y="7"/>
                      </a:lnTo>
                      <a:lnTo>
                        <a:pt x="96" y="4"/>
                      </a:lnTo>
                      <a:lnTo>
                        <a:pt x="94" y="4"/>
                      </a:lnTo>
                      <a:lnTo>
                        <a:pt x="89" y="4"/>
                      </a:lnTo>
                      <a:lnTo>
                        <a:pt x="87" y="4"/>
                      </a:lnTo>
                      <a:lnTo>
                        <a:pt x="87" y="4"/>
                      </a:lnTo>
                      <a:lnTo>
                        <a:pt x="84" y="2"/>
                      </a:lnTo>
                      <a:lnTo>
                        <a:pt x="84" y="2"/>
                      </a:lnTo>
                      <a:lnTo>
                        <a:pt x="80" y="0"/>
                      </a:lnTo>
                      <a:lnTo>
                        <a:pt x="77" y="0"/>
                      </a:lnTo>
                      <a:lnTo>
                        <a:pt x="73" y="2"/>
                      </a:lnTo>
                      <a:lnTo>
                        <a:pt x="70" y="2"/>
                      </a:lnTo>
                      <a:lnTo>
                        <a:pt x="68" y="4"/>
                      </a:lnTo>
                      <a:lnTo>
                        <a:pt x="63" y="7"/>
                      </a:lnTo>
                      <a:lnTo>
                        <a:pt x="61" y="9"/>
                      </a:lnTo>
                      <a:lnTo>
                        <a:pt x="44" y="16"/>
                      </a:lnTo>
                      <a:lnTo>
                        <a:pt x="40" y="18"/>
                      </a:lnTo>
                      <a:lnTo>
                        <a:pt x="37" y="18"/>
                      </a:lnTo>
                      <a:lnTo>
                        <a:pt x="33" y="18"/>
                      </a:lnTo>
                      <a:lnTo>
                        <a:pt x="32" y="16"/>
                      </a:lnTo>
                      <a:lnTo>
                        <a:pt x="26" y="13"/>
                      </a:lnTo>
                      <a:lnTo>
                        <a:pt x="25" y="11"/>
                      </a:lnTo>
                      <a:lnTo>
                        <a:pt x="26" y="14"/>
                      </a:lnTo>
                      <a:lnTo>
                        <a:pt x="23" y="14"/>
                      </a:lnTo>
                      <a:lnTo>
                        <a:pt x="19" y="14"/>
                      </a:lnTo>
                      <a:lnTo>
                        <a:pt x="18" y="13"/>
                      </a:lnTo>
                      <a:lnTo>
                        <a:pt x="18" y="9"/>
                      </a:lnTo>
                      <a:lnTo>
                        <a:pt x="16" y="9"/>
                      </a:lnTo>
                      <a:lnTo>
                        <a:pt x="14" y="9"/>
                      </a:lnTo>
                      <a:lnTo>
                        <a:pt x="14" y="7"/>
                      </a:lnTo>
                      <a:lnTo>
                        <a:pt x="14" y="6"/>
                      </a:lnTo>
                      <a:lnTo>
                        <a:pt x="12" y="4"/>
                      </a:lnTo>
                      <a:lnTo>
                        <a:pt x="11" y="2"/>
                      </a:lnTo>
                      <a:lnTo>
                        <a:pt x="9" y="0"/>
                      </a:lnTo>
                      <a:lnTo>
                        <a:pt x="9" y="2"/>
                      </a:lnTo>
                      <a:lnTo>
                        <a:pt x="5" y="2"/>
                      </a:lnTo>
                      <a:lnTo>
                        <a:pt x="2" y="2"/>
                      </a:lnTo>
                      <a:lnTo>
                        <a:pt x="2" y="4"/>
                      </a:lnTo>
                      <a:lnTo>
                        <a:pt x="2" y="6"/>
                      </a:lnTo>
                      <a:lnTo>
                        <a:pt x="2" y="7"/>
                      </a:lnTo>
                      <a:lnTo>
                        <a:pt x="2" y="11"/>
                      </a:lnTo>
                      <a:lnTo>
                        <a:pt x="2" y="13"/>
                      </a:lnTo>
                      <a:lnTo>
                        <a:pt x="4" y="13"/>
                      </a:lnTo>
                      <a:lnTo>
                        <a:pt x="4" y="13"/>
                      </a:lnTo>
                      <a:lnTo>
                        <a:pt x="5" y="13"/>
                      </a:lnTo>
                      <a:lnTo>
                        <a:pt x="5" y="14"/>
                      </a:lnTo>
                      <a:lnTo>
                        <a:pt x="5" y="16"/>
                      </a:lnTo>
                      <a:lnTo>
                        <a:pt x="5" y="16"/>
                      </a:lnTo>
                      <a:lnTo>
                        <a:pt x="4" y="16"/>
                      </a:lnTo>
                      <a:lnTo>
                        <a:pt x="4" y="18"/>
                      </a:lnTo>
                      <a:lnTo>
                        <a:pt x="4" y="20"/>
                      </a:lnTo>
                      <a:lnTo>
                        <a:pt x="4" y="23"/>
                      </a:lnTo>
                      <a:lnTo>
                        <a:pt x="4" y="25"/>
                      </a:lnTo>
                      <a:lnTo>
                        <a:pt x="4" y="25"/>
                      </a:lnTo>
                      <a:lnTo>
                        <a:pt x="0" y="27"/>
                      </a:lnTo>
                      <a:lnTo>
                        <a:pt x="0" y="28"/>
                      </a:lnTo>
                      <a:lnTo>
                        <a:pt x="2" y="30"/>
                      </a:lnTo>
                      <a:lnTo>
                        <a:pt x="2" y="32"/>
                      </a:lnTo>
                      <a:lnTo>
                        <a:pt x="4" y="34"/>
                      </a:lnTo>
                      <a:lnTo>
                        <a:pt x="5" y="28"/>
                      </a:lnTo>
                      <a:lnTo>
                        <a:pt x="7" y="28"/>
                      </a:lnTo>
                      <a:lnTo>
                        <a:pt x="12" y="28"/>
                      </a:lnTo>
                      <a:lnTo>
                        <a:pt x="16" y="28"/>
                      </a:lnTo>
                      <a:lnTo>
                        <a:pt x="18" y="30"/>
                      </a:lnTo>
                      <a:lnTo>
                        <a:pt x="19" y="30"/>
                      </a:lnTo>
                      <a:lnTo>
                        <a:pt x="23" y="30"/>
                      </a:lnTo>
                      <a:lnTo>
                        <a:pt x="25" y="32"/>
                      </a:lnTo>
                      <a:lnTo>
                        <a:pt x="26" y="34"/>
                      </a:lnTo>
                      <a:lnTo>
                        <a:pt x="28" y="34"/>
                      </a:lnTo>
                      <a:lnTo>
                        <a:pt x="30" y="35"/>
                      </a:lnTo>
                      <a:lnTo>
                        <a:pt x="32" y="39"/>
                      </a:lnTo>
                      <a:lnTo>
                        <a:pt x="33" y="41"/>
                      </a:lnTo>
                      <a:lnTo>
                        <a:pt x="35" y="42"/>
                      </a:lnTo>
                      <a:lnTo>
                        <a:pt x="37" y="42"/>
                      </a:lnTo>
                      <a:lnTo>
                        <a:pt x="39" y="42"/>
                      </a:lnTo>
                      <a:lnTo>
                        <a:pt x="40" y="41"/>
                      </a:lnTo>
                      <a:lnTo>
                        <a:pt x="40" y="41"/>
                      </a:lnTo>
                      <a:lnTo>
                        <a:pt x="40" y="39"/>
                      </a:lnTo>
                      <a:lnTo>
                        <a:pt x="42" y="37"/>
                      </a:lnTo>
                      <a:lnTo>
                        <a:pt x="42" y="41"/>
                      </a:lnTo>
                      <a:lnTo>
                        <a:pt x="42" y="42"/>
                      </a:lnTo>
                      <a:lnTo>
                        <a:pt x="45" y="49"/>
                      </a:lnTo>
                      <a:lnTo>
                        <a:pt x="47" y="51"/>
                      </a:lnTo>
                      <a:lnTo>
                        <a:pt x="47" y="51"/>
                      </a:lnTo>
                      <a:lnTo>
                        <a:pt x="51" y="51"/>
                      </a:lnTo>
                      <a:lnTo>
                        <a:pt x="54" y="51"/>
                      </a:lnTo>
                      <a:lnTo>
                        <a:pt x="56" y="49"/>
                      </a:lnTo>
                      <a:lnTo>
                        <a:pt x="56" y="49"/>
                      </a:lnTo>
                      <a:lnTo>
                        <a:pt x="58" y="48"/>
                      </a:lnTo>
                      <a:lnTo>
                        <a:pt x="61" y="48"/>
                      </a:lnTo>
                      <a:lnTo>
                        <a:pt x="63" y="48"/>
                      </a:lnTo>
                      <a:lnTo>
                        <a:pt x="63" y="46"/>
                      </a:lnTo>
                      <a:lnTo>
                        <a:pt x="63" y="44"/>
                      </a:lnTo>
                      <a:lnTo>
                        <a:pt x="61" y="41"/>
                      </a:lnTo>
                      <a:lnTo>
                        <a:pt x="56" y="34"/>
                      </a:lnTo>
                      <a:lnTo>
                        <a:pt x="54" y="30"/>
                      </a:lnTo>
                      <a:lnTo>
                        <a:pt x="56" y="30"/>
                      </a:lnTo>
                      <a:lnTo>
                        <a:pt x="58" y="28"/>
                      </a:lnTo>
                      <a:lnTo>
                        <a:pt x="61" y="28"/>
                      </a:lnTo>
                      <a:lnTo>
                        <a:pt x="63" y="27"/>
                      </a:lnTo>
                      <a:lnTo>
                        <a:pt x="70" y="21"/>
                      </a:lnTo>
                      <a:lnTo>
                        <a:pt x="68" y="21"/>
                      </a:lnTo>
                      <a:lnTo>
                        <a:pt x="72" y="18"/>
                      </a:lnTo>
                      <a:lnTo>
                        <a:pt x="75" y="14"/>
                      </a:lnTo>
                      <a:lnTo>
                        <a:pt x="80" y="13"/>
                      </a:lnTo>
                      <a:lnTo>
                        <a:pt x="86" y="14"/>
                      </a:lnTo>
                      <a:lnTo>
                        <a:pt x="87" y="14"/>
                      </a:lnTo>
                      <a:lnTo>
                        <a:pt x="89" y="16"/>
                      </a:lnTo>
                      <a:lnTo>
                        <a:pt x="93" y="20"/>
                      </a:lnTo>
                      <a:lnTo>
                        <a:pt x="94" y="21"/>
                      </a:lnTo>
                      <a:lnTo>
                        <a:pt x="96" y="23"/>
                      </a:lnTo>
                      <a:lnTo>
                        <a:pt x="98" y="25"/>
                      </a:lnTo>
                      <a:lnTo>
                        <a:pt x="98" y="27"/>
                      </a:lnTo>
                      <a:lnTo>
                        <a:pt x="100" y="27"/>
                      </a:lnTo>
                      <a:lnTo>
                        <a:pt x="100" y="25"/>
                      </a:lnTo>
                      <a:lnTo>
                        <a:pt x="98" y="25"/>
                      </a:lnTo>
                      <a:lnTo>
                        <a:pt x="101" y="27"/>
                      </a:lnTo>
                      <a:lnTo>
                        <a:pt x="103" y="25"/>
                      </a:lnTo>
                      <a:lnTo>
                        <a:pt x="105" y="25"/>
                      </a:lnTo>
                      <a:lnTo>
                        <a:pt x="107" y="27"/>
                      </a:lnTo>
                      <a:lnTo>
                        <a:pt x="108" y="28"/>
                      </a:lnTo>
                      <a:lnTo>
                        <a:pt x="112" y="32"/>
                      </a:lnTo>
                      <a:lnTo>
                        <a:pt x="110" y="30"/>
                      </a:lnTo>
                      <a:lnTo>
                        <a:pt x="107" y="28"/>
                      </a:lnTo>
                      <a:lnTo>
                        <a:pt x="105" y="28"/>
                      </a:lnTo>
                      <a:lnTo>
                        <a:pt x="103" y="28"/>
                      </a:lnTo>
                      <a:lnTo>
                        <a:pt x="101" y="30"/>
                      </a:lnTo>
                      <a:lnTo>
                        <a:pt x="101" y="32"/>
                      </a:lnTo>
                      <a:lnTo>
                        <a:pt x="101" y="34"/>
                      </a:lnTo>
                      <a:lnTo>
                        <a:pt x="98" y="34"/>
                      </a:lnTo>
                      <a:lnTo>
                        <a:pt x="100" y="39"/>
                      </a:lnTo>
                      <a:lnTo>
                        <a:pt x="103" y="44"/>
                      </a:lnTo>
                      <a:lnTo>
                        <a:pt x="107" y="48"/>
                      </a:lnTo>
                      <a:lnTo>
                        <a:pt x="110" y="51"/>
                      </a:lnTo>
                      <a:lnTo>
                        <a:pt x="112" y="42"/>
                      </a:lnTo>
                      <a:lnTo>
                        <a:pt x="112" y="41"/>
                      </a:lnTo>
                      <a:close/>
                      <a:moveTo>
                        <a:pt x="30" y="48"/>
                      </a:moveTo>
                      <a:lnTo>
                        <a:pt x="30" y="49"/>
                      </a:lnTo>
                      <a:lnTo>
                        <a:pt x="28" y="49"/>
                      </a:lnTo>
                      <a:lnTo>
                        <a:pt x="26" y="49"/>
                      </a:lnTo>
                      <a:lnTo>
                        <a:pt x="26" y="48"/>
                      </a:lnTo>
                      <a:lnTo>
                        <a:pt x="25" y="46"/>
                      </a:lnTo>
                      <a:lnTo>
                        <a:pt x="26" y="44"/>
                      </a:lnTo>
                      <a:lnTo>
                        <a:pt x="28" y="44"/>
                      </a:lnTo>
                      <a:lnTo>
                        <a:pt x="30" y="48"/>
                      </a:lnTo>
                      <a:close/>
                      <a:moveTo>
                        <a:pt x="16" y="4"/>
                      </a:moveTo>
                      <a:lnTo>
                        <a:pt x="16" y="4"/>
                      </a:lnTo>
                      <a:lnTo>
                        <a:pt x="18" y="6"/>
                      </a:lnTo>
                      <a:lnTo>
                        <a:pt x="16" y="6"/>
                      </a:lnTo>
                      <a:lnTo>
                        <a:pt x="16" y="6"/>
                      </a:lnTo>
                      <a:lnTo>
                        <a:pt x="14" y="4"/>
                      </a:lnTo>
                      <a:lnTo>
                        <a:pt x="16" y="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33" name="Freeform 316">
                  <a:extLst>
                    <a:ext uri="{FF2B5EF4-FFF2-40B4-BE49-F238E27FC236}">
                      <a16:creationId xmlns:a16="http://schemas.microsoft.com/office/drawing/2014/main" id="{20FBBA15-7F79-8194-76E0-3BA62D403EAA}"/>
                    </a:ext>
                  </a:extLst>
                </p:cNvPr>
                <p:cNvSpPr>
                  <a:spLocks noEditPoints="1"/>
                </p:cNvSpPr>
                <p:nvPr/>
              </p:nvSpPr>
              <p:spPr bwMode="auto">
                <a:xfrm>
                  <a:off x="-2177" y="-3140"/>
                  <a:ext cx="230" cy="77"/>
                </a:xfrm>
                <a:custGeom>
                  <a:avLst/>
                  <a:gdLst>
                    <a:gd name="T0" fmla="*/ 154 w 230"/>
                    <a:gd name="T1" fmla="*/ 28 h 77"/>
                    <a:gd name="T2" fmla="*/ 150 w 230"/>
                    <a:gd name="T3" fmla="*/ 25 h 77"/>
                    <a:gd name="T4" fmla="*/ 147 w 230"/>
                    <a:gd name="T5" fmla="*/ 23 h 77"/>
                    <a:gd name="T6" fmla="*/ 147 w 230"/>
                    <a:gd name="T7" fmla="*/ 20 h 77"/>
                    <a:gd name="T8" fmla="*/ 143 w 230"/>
                    <a:gd name="T9" fmla="*/ 20 h 77"/>
                    <a:gd name="T10" fmla="*/ 147 w 230"/>
                    <a:gd name="T11" fmla="*/ 20 h 77"/>
                    <a:gd name="T12" fmla="*/ 134 w 230"/>
                    <a:gd name="T13" fmla="*/ 16 h 77"/>
                    <a:gd name="T14" fmla="*/ 140 w 230"/>
                    <a:gd name="T15" fmla="*/ 16 h 77"/>
                    <a:gd name="T16" fmla="*/ 117 w 230"/>
                    <a:gd name="T17" fmla="*/ 13 h 77"/>
                    <a:gd name="T18" fmla="*/ 113 w 230"/>
                    <a:gd name="T19" fmla="*/ 11 h 77"/>
                    <a:gd name="T20" fmla="*/ 208 w 230"/>
                    <a:gd name="T21" fmla="*/ 74 h 77"/>
                    <a:gd name="T22" fmla="*/ 211 w 230"/>
                    <a:gd name="T23" fmla="*/ 76 h 77"/>
                    <a:gd name="T24" fmla="*/ 227 w 230"/>
                    <a:gd name="T25" fmla="*/ 72 h 77"/>
                    <a:gd name="T26" fmla="*/ 215 w 230"/>
                    <a:gd name="T27" fmla="*/ 60 h 77"/>
                    <a:gd name="T28" fmla="*/ 196 w 230"/>
                    <a:gd name="T29" fmla="*/ 58 h 77"/>
                    <a:gd name="T30" fmla="*/ 199 w 230"/>
                    <a:gd name="T31" fmla="*/ 55 h 77"/>
                    <a:gd name="T32" fmla="*/ 197 w 230"/>
                    <a:gd name="T33" fmla="*/ 49 h 77"/>
                    <a:gd name="T34" fmla="*/ 176 w 230"/>
                    <a:gd name="T35" fmla="*/ 44 h 77"/>
                    <a:gd name="T36" fmla="*/ 171 w 230"/>
                    <a:gd name="T37" fmla="*/ 42 h 77"/>
                    <a:gd name="T38" fmla="*/ 164 w 230"/>
                    <a:gd name="T39" fmla="*/ 39 h 77"/>
                    <a:gd name="T40" fmla="*/ 164 w 230"/>
                    <a:gd name="T41" fmla="*/ 37 h 77"/>
                    <a:gd name="T42" fmla="*/ 159 w 230"/>
                    <a:gd name="T43" fmla="*/ 32 h 77"/>
                    <a:gd name="T44" fmla="*/ 159 w 230"/>
                    <a:gd name="T45" fmla="*/ 34 h 77"/>
                    <a:gd name="T46" fmla="*/ 140 w 230"/>
                    <a:gd name="T47" fmla="*/ 23 h 77"/>
                    <a:gd name="T48" fmla="*/ 122 w 230"/>
                    <a:gd name="T49" fmla="*/ 18 h 77"/>
                    <a:gd name="T50" fmla="*/ 110 w 230"/>
                    <a:gd name="T51" fmla="*/ 9 h 77"/>
                    <a:gd name="T52" fmla="*/ 101 w 230"/>
                    <a:gd name="T53" fmla="*/ 6 h 77"/>
                    <a:gd name="T54" fmla="*/ 84 w 230"/>
                    <a:gd name="T55" fmla="*/ 4 h 77"/>
                    <a:gd name="T56" fmla="*/ 70 w 230"/>
                    <a:gd name="T57" fmla="*/ 2 h 77"/>
                    <a:gd name="T58" fmla="*/ 26 w 230"/>
                    <a:gd name="T59" fmla="*/ 9 h 77"/>
                    <a:gd name="T60" fmla="*/ 12 w 230"/>
                    <a:gd name="T61" fmla="*/ 18 h 77"/>
                    <a:gd name="T62" fmla="*/ 12 w 230"/>
                    <a:gd name="T63" fmla="*/ 27 h 77"/>
                    <a:gd name="T64" fmla="*/ 9 w 230"/>
                    <a:gd name="T65" fmla="*/ 27 h 77"/>
                    <a:gd name="T66" fmla="*/ 7 w 230"/>
                    <a:gd name="T67" fmla="*/ 30 h 77"/>
                    <a:gd name="T68" fmla="*/ 14 w 230"/>
                    <a:gd name="T69" fmla="*/ 30 h 77"/>
                    <a:gd name="T70" fmla="*/ 19 w 230"/>
                    <a:gd name="T71" fmla="*/ 28 h 77"/>
                    <a:gd name="T72" fmla="*/ 23 w 230"/>
                    <a:gd name="T73" fmla="*/ 23 h 77"/>
                    <a:gd name="T74" fmla="*/ 42 w 230"/>
                    <a:gd name="T75" fmla="*/ 14 h 77"/>
                    <a:gd name="T76" fmla="*/ 65 w 230"/>
                    <a:gd name="T77" fmla="*/ 13 h 77"/>
                    <a:gd name="T78" fmla="*/ 68 w 230"/>
                    <a:gd name="T79" fmla="*/ 16 h 77"/>
                    <a:gd name="T80" fmla="*/ 63 w 230"/>
                    <a:gd name="T81" fmla="*/ 21 h 77"/>
                    <a:gd name="T82" fmla="*/ 79 w 230"/>
                    <a:gd name="T83" fmla="*/ 25 h 77"/>
                    <a:gd name="T84" fmla="*/ 91 w 230"/>
                    <a:gd name="T85" fmla="*/ 28 h 77"/>
                    <a:gd name="T86" fmla="*/ 112 w 230"/>
                    <a:gd name="T87" fmla="*/ 37 h 77"/>
                    <a:gd name="T88" fmla="*/ 131 w 230"/>
                    <a:gd name="T89" fmla="*/ 37 h 77"/>
                    <a:gd name="T90" fmla="*/ 138 w 230"/>
                    <a:gd name="T91" fmla="*/ 51 h 77"/>
                    <a:gd name="T92" fmla="*/ 148 w 230"/>
                    <a:gd name="T93" fmla="*/ 58 h 77"/>
                    <a:gd name="T94" fmla="*/ 164 w 230"/>
                    <a:gd name="T95" fmla="*/ 60 h 77"/>
                    <a:gd name="T96" fmla="*/ 164 w 230"/>
                    <a:gd name="T97" fmla="*/ 67 h 77"/>
                    <a:gd name="T98" fmla="*/ 183 w 230"/>
                    <a:gd name="T99" fmla="*/ 74 h 77"/>
                    <a:gd name="T100" fmla="*/ 37 w 230"/>
                    <a:gd name="T101" fmla="*/ 37 h 77"/>
                    <a:gd name="T102" fmla="*/ 47 w 230"/>
                    <a:gd name="T103" fmla="*/ 39 h 77"/>
                    <a:gd name="T104" fmla="*/ 44 w 230"/>
                    <a:gd name="T105" fmla="*/ 28 h 77"/>
                    <a:gd name="T106" fmla="*/ 40 w 230"/>
                    <a:gd name="T107" fmla="*/ 3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0" h="77">
                      <a:moveTo>
                        <a:pt x="152" y="28"/>
                      </a:moveTo>
                      <a:lnTo>
                        <a:pt x="148" y="27"/>
                      </a:lnTo>
                      <a:lnTo>
                        <a:pt x="154" y="27"/>
                      </a:lnTo>
                      <a:lnTo>
                        <a:pt x="154" y="28"/>
                      </a:lnTo>
                      <a:lnTo>
                        <a:pt x="152" y="28"/>
                      </a:lnTo>
                      <a:close/>
                      <a:moveTo>
                        <a:pt x="148" y="25"/>
                      </a:moveTo>
                      <a:lnTo>
                        <a:pt x="150" y="25"/>
                      </a:lnTo>
                      <a:lnTo>
                        <a:pt x="150" y="25"/>
                      </a:lnTo>
                      <a:lnTo>
                        <a:pt x="148" y="23"/>
                      </a:lnTo>
                      <a:lnTo>
                        <a:pt x="148" y="21"/>
                      </a:lnTo>
                      <a:lnTo>
                        <a:pt x="148" y="21"/>
                      </a:lnTo>
                      <a:lnTo>
                        <a:pt x="147" y="23"/>
                      </a:lnTo>
                      <a:lnTo>
                        <a:pt x="147" y="23"/>
                      </a:lnTo>
                      <a:lnTo>
                        <a:pt x="147" y="25"/>
                      </a:lnTo>
                      <a:lnTo>
                        <a:pt x="148" y="25"/>
                      </a:lnTo>
                      <a:close/>
                      <a:moveTo>
                        <a:pt x="147" y="20"/>
                      </a:moveTo>
                      <a:lnTo>
                        <a:pt x="145" y="18"/>
                      </a:lnTo>
                      <a:lnTo>
                        <a:pt x="143" y="18"/>
                      </a:lnTo>
                      <a:lnTo>
                        <a:pt x="141" y="18"/>
                      </a:lnTo>
                      <a:lnTo>
                        <a:pt x="143" y="20"/>
                      </a:lnTo>
                      <a:lnTo>
                        <a:pt x="143" y="20"/>
                      </a:lnTo>
                      <a:lnTo>
                        <a:pt x="145" y="21"/>
                      </a:lnTo>
                      <a:lnTo>
                        <a:pt x="147" y="21"/>
                      </a:lnTo>
                      <a:lnTo>
                        <a:pt x="147" y="20"/>
                      </a:lnTo>
                      <a:close/>
                      <a:moveTo>
                        <a:pt x="138" y="14"/>
                      </a:moveTo>
                      <a:lnTo>
                        <a:pt x="134" y="16"/>
                      </a:lnTo>
                      <a:lnTo>
                        <a:pt x="133" y="16"/>
                      </a:lnTo>
                      <a:lnTo>
                        <a:pt x="134" y="16"/>
                      </a:lnTo>
                      <a:lnTo>
                        <a:pt x="136" y="18"/>
                      </a:lnTo>
                      <a:lnTo>
                        <a:pt x="140" y="18"/>
                      </a:lnTo>
                      <a:lnTo>
                        <a:pt x="141" y="18"/>
                      </a:lnTo>
                      <a:lnTo>
                        <a:pt x="140" y="16"/>
                      </a:lnTo>
                      <a:lnTo>
                        <a:pt x="138" y="14"/>
                      </a:lnTo>
                      <a:close/>
                      <a:moveTo>
                        <a:pt x="117" y="13"/>
                      </a:moveTo>
                      <a:lnTo>
                        <a:pt x="119" y="13"/>
                      </a:lnTo>
                      <a:lnTo>
                        <a:pt x="117" y="13"/>
                      </a:lnTo>
                      <a:lnTo>
                        <a:pt x="115" y="11"/>
                      </a:lnTo>
                      <a:lnTo>
                        <a:pt x="113" y="9"/>
                      </a:lnTo>
                      <a:lnTo>
                        <a:pt x="112" y="9"/>
                      </a:lnTo>
                      <a:lnTo>
                        <a:pt x="113" y="11"/>
                      </a:lnTo>
                      <a:lnTo>
                        <a:pt x="115" y="11"/>
                      </a:lnTo>
                      <a:lnTo>
                        <a:pt x="117" y="13"/>
                      </a:lnTo>
                      <a:close/>
                      <a:moveTo>
                        <a:pt x="204" y="76"/>
                      </a:moveTo>
                      <a:lnTo>
                        <a:pt x="208" y="74"/>
                      </a:lnTo>
                      <a:lnTo>
                        <a:pt x="208" y="74"/>
                      </a:lnTo>
                      <a:lnTo>
                        <a:pt x="209" y="76"/>
                      </a:lnTo>
                      <a:lnTo>
                        <a:pt x="209" y="76"/>
                      </a:lnTo>
                      <a:lnTo>
                        <a:pt x="211" y="76"/>
                      </a:lnTo>
                      <a:lnTo>
                        <a:pt x="215" y="74"/>
                      </a:lnTo>
                      <a:lnTo>
                        <a:pt x="218" y="72"/>
                      </a:lnTo>
                      <a:lnTo>
                        <a:pt x="225" y="72"/>
                      </a:lnTo>
                      <a:lnTo>
                        <a:pt x="227" y="72"/>
                      </a:lnTo>
                      <a:lnTo>
                        <a:pt x="230" y="69"/>
                      </a:lnTo>
                      <a:lnTo>
                        <a:pt x="229" y="67"/>
                      </a:lnTo>
                      <a:lnTo>
                        <a:pt x="222" y="65"/>
                      </a:lnTo>
                      <a:lnTo>
                        <a:pt x="215" y="60"/>
                      </a:lnTo>
                      <a:lnTo>
                        <a:pt x="211" y="58"/>
                      </a:lnTo>
                      <a:lnTo>
                        <a:pt x="206" y="58"/>
                      </a:lnTo>
                      <a:lnTo>
                        <a:pt x="197" y="58"/>
                      </a:lnTo>
                      <a:lnTo>
                        <a:pt x="196" y="58"/>
                      </a:lnTo>
                      <a:lnTo>
                        <a:pt x="196" y="56"/>
                      </a:lnTo>
                      <a:lnTo>
                        <a:pt x="196" y="55"/>
                      </a:lnTo>
                      <a:lnTo>
                        <a:pt x="197" y="55"/>
                      </a:lnTo>
                      <a:lnTo>
                        <a:pt x="199" y="55"/>
                      </a:lnTo>
                      <a:lnTo>
                        <a:pt x="197" y="53"/>
                      </a:lnTo>
                      <a:lnTo>
                        <a:pt x="197" y="51"/>
                      </a:lnTo>
                      <a:lnTo>
                        <a:pt x="197" y="51"/>
                      </a:lnTo>
                      <a:lnTo>
                        <a:pt x="197" y="49"/>
                      </a:lnTo>
                      <a:lnTo>
                        <a:pt x="196" y="48"/>
                      </a:lnTo>
                      <a:lnTo>
                        <a:pt x="187" y="48"/>
                      </a:lnTo>
                      <a:lnTo>
                        <a:pt x="178" y="44"/>
                      </a:lnTo>
                      <a:lnTo>
                        <a:pt x="176" y="44"/>
                      </a:lnTo>
                      <a:lnTo>
                        <a:pt x="175" y="42"/>
                      </a:lnTo>
                      <a:lnTo>
                        <a:pt x="173" y="42"/>
                      </a:lnTo>
                      <a:lnTo>
                        <a:pt x="171" y="44"/>
                      </a:lnTo>
                      <a:lnTo>
                        <a:pt x="171" y="42"/>
                      </a:lnTo>
                      <a:lnTo>
                        <a:pt x="169" y="41"/>
                      </a:lnTo>
                      <a:lnTo>
                        <a:pt x="166" y="37"/>
                      </a:lnTo>
                      <a:lnTo>
                        <a:pt x="166" y="39"/>
                      </a:lnTo>
                      <a:lnTo>
                        <a:pt x="164" y="39"/>
                      </a:lnTo>
                      <a:lnTo>
                        <a:pt x="162" y="39"/>
                      </a:lnTo>
                      <a:lnTo>
                        <a:pt x="161" y="37"/>
                      </a:lnTo>
                      <a:lnTo>
                        <a:pt x="162" y="37"/>
                      </a:lnTo>
                      <a:lnTo>
                        <a:pt x="164" y="37"/>
                      </a:lnTo>
                      <a:lnTo>
                        <a:pt x="164" y="37"/>
                      </a:lnTo>
                      <a:lnTo>
                        <a:pt x="166" y="35"/>
                      </a:lnTo>
                      <a:lnTo>
                        <a:pt x="162" y="35"/>
                      </a:lnTo>
                      <a:lnTo>
                        <a:pt x="159" y="32"/>
                      </a:lnTo>
                      <a:lnTo>
                        <a:pt x="155" y="30"/>
                      </a:lnTo>
                      <a:lnTo>
                        <a:pt x="157" y="32"/>
                      </a:lnTo>
                      <a:lnTo>
                        <a:pt x="157" y="32"/>
                      </a:lnTo>
                      <a:lnTo>
                        <a:pt x="159" y="34"/>
                      </a:lnTo>
                      <a:lnTo>
                        <a:pt x="155" y="32"/>
                      </a:lnTo>
                      <a:lnTo>
                        <a:pt x="152" y="32"/>
                      </a:lnTo>
                      <a:lnTo>
                        <a:pt x="147" y="27"/>
                      </a:lnTo>
                      <a:lnTo>
                        <a:pt x="140" y="23"/>
                      </a:lnTo>
                      <a:lnTo>
                        <a:pt x="136" y="21"/>
                      </a:lnTo>
                      <a:lnTo>
                        <a:pt x="131" y="20"/>
                      </a:lnTo>
                      <a:lnTo>
                        <a:pt x="127" y="20"/>
                      </a:lnTo>
                      <a:lnTo>
                        <a:pt x="122" y="18"/>
                      </a:lnTo>
                      <a:lnTo>
                        <a:pt x="119" y="18"/>
                      </a:lnTo>
                      <a:lnTo>
                        <a:pt x="115" y="16"/>
                      </a:lnTo>
                      <a:lnTo>
                        <a:pt x="112" y="13"/>
                      </a:lnTo>
                      <a:lnTo>
                        <a:pt x="110" y="9"/>
                      </a:lnTo>
                      <a:lnTo>
                        <a:pt x="108" y="7"/>
                      </a:lnTo>
                      <a:lnTo>
                        <a:pt x="106" y="7"/>
                      </a:lnTo>
                      <a:lnTo>
                        <a:pt x="105" y="7"/>
                      </a:lnTo>
                      <a:lnTo>
                        <a:pt x="101" y="6"/>
                      </a:lnTo>
                      <a:lnTo>
                        <a:pt x="96" y="6"/>
                      </a:lnTo>
                      <a:lnTo>
                        <a:pt x="92" y="4"/>
                      </a:lnTo>
                      <a:lnTo>
                        <a:pt x="89" y="4"/>
                      </a:lnTo>
                      <a:lnTo>
                        <a:pt x="84" y="4"/>
                      </a:lnTo>
                      <a:lnTo>
                        <a:pt x="80" y="2"/>
                      </a:lnTo>
                      <a:lnTo>
                        <a:pt x="77" y="0"/>
                      </a:lnTo>
                      <a:lnTo>
                        <a:pt x="73" y="2"/>
                      </a:lnTo>
                      <a:lnTo>
                        <a:pt x="70" y="2"/>
                      </a:lnTo>
                      <a:lnTo>
                        <a:pt x="63" y="0"/>
                      </a:lnTo>
                      <a:lnTo>
                        <a:pt x="59" y="0"/>
                      </a:lnTo>
                      <a:lnTo>
                        <a:pt x="56" y="2"/>
                      </a:lnTo>
                      <a:lnTo>
                        <a:pt x="26" y="9"/>
                      </a:lnTo>
                      <a:lnTo>
                        <a:pt x="19" y="13"/>
                      </a:lnTo>
                      <a:lnTo>
                        <a:pt x="17" y="14"/>
                      </a:lnTo>
                      <a:lnTo>
                        <a:pt x="14" y="16"/>
                      </a:lnTo>
                      <a:lnTo>
                        <a:pt x="12" y="18"/>
                      </a:lnTo>
                      <a:lnTo>
                        <a:pt x="10" y="20"/>
                      </a:lnTo>
                      <a:lnTo>
                        <a:pt x="10" y="21"/>
                      </a:lnTo>
                      <a:lnTo>
                        <a:pt x="12" y="25"/>
                      </a:lnTo>
                      <a:lnTo>
                        <a:pt x="12" y="27"/>
                      </a:lnTo>
                      <a:lnTo>
                        <a:pt x="10" y="27"/>
                      </a:lnTo>
                      <a:lnTo>
                        <a:pt x="10" y="27"/>
                      </a:lnTo>
                      <a:lnTo>
                        <a:pt x="9" y="27"/>
                      </a:lnTo>
                      <a:lnTo>
                        <a:pt x="9" y="27"/>
                      </a:lnTo>
                      <a:lnTo>
                        <a:pt x="2" y="30"/>
                      </a:lnTo>
                      <a:lnTo>
                        <a:pt x="0" y="32"/>
                      </a:lnTo>
                      <a:lnTo>
                        <a:pt x="2" y="32"/>
                      </a:lnTo>
                      <a:lnTo>
                        <a:pt x="7" y="30"/>
                      </a:lnTo>
                      <a:lnTo>
                        <a:pt x="9" y="30"/>
                      </a:lnTo>
                      <a:lnTo>
                        <a:pt x="9" y="34"/>
                      </a:lnTo>
                      <a:lnTo>
                        <a:pt x="12" y="32"/>
                      </a:lnTo>
                      <a:lnTo>
                        <a:pt x="14" y="30"/>
                      </a:lnTo>
                      <a:lnTo>
                        <a:pt x="16" y="30"/>
                      </a:lnTo>
                      <a:lnTo>
                        <a:pt x="17" y="30"/>
                      </a:lnTo>
                      <a:lnTo>
                        <a:pt x="17" y="28"/>
                      </a:lnTo>
                      <a:lnTo>
                        <a:pt x="19" y="28"/>
                      </a:lnTo>
                      <a:lnTo>
                        <a:pt x="19" y="28"/>
                      </a:lnTo>
                      <a:lnTo>
                        <a:pt x="19" y="25"/>
                      </a:lnTo>
                      <a:lnTo>
                        <a:pt x="21" y="25"/>
                      </a:lnTo>
                      <a:lnTo>
                        <a:pt x="23" y="23"/>
                      </a:lnTo>
                      <a:lnTo>
                        <a:pt x="30" y="23"/>
                      </a:lnTo>
                      <a:lnTo>
                        <a:pt x="31" y="23"/>
                      </a:lnTo>
                      <a:lnTo>
                        <a:pt x="35" y="21"/>
                      </a:lnTo>
                      <a:lnTo>
                        <a:pt x="42" y="14"/>
                      </a:lnTo>
                      <a:lnTo>
                        <a:pt x="45" y="13"/>
                      </a:lnTo>
                      <a:lnTo>
                        <a:pt x="49" y="11"/>
                      </a:lnTo>
                      <a:lnTo>
                        <a:pt x="54" y="11"/>
                      </a:lnTo>
                      <a:lnTo>
                        <a:pt x="65" y="13"/>
                      </a:lnTo>
                      <a:lnTo>
                        <a:pt x="65" y="13"/>
                      </a:lnTo>
                      <a:lnTo>
                        <a:pt x="66" y="13"/>
                      </a:lnTo>
                      <a:lnTo>
                        <a:pt x="68" y="14"/>
                      </a:lnTo>
                      <a:lnTo>
                        <a:pt x="68" y="16"/>
                      </a:lnTo>
                      <a:lnTo>
                        <a:pt x="68" y="18"/>
                      </a:lnTo>
                      <a:lnTo>
                        <a:pt x="65" y="18"/>
                      </a:lnTo>
                      <a:lnTo>
                        <a:pt x="59" y="20"/>
                      </a:lnTo>
                      <a:lnTo>
                        <a:pt x="63" y="21"/>
                      </a:lnTo>
                      <a:lnTo>
                        <a:pt x="65" y="23"/>
                      </a:lnTo>
                      <a:lnTo>
                        <a:pt x="72" y="23"/>
                      </a:lnTo>
                      <a:lnTo>
                        <a:pt x="77" y="25"/>
                      </a:lnTo>
                      <a:lnTo>
                        <a:pt x="79" y="25"/>
                      </a:lnTo>
                      <a:lnTo>
                        <a:pt x="79" y="21"/>
                      </a:lnTo>
                      <a:lnTo>
                        <a:pt x="82" y="25"/>
                      </a:lnTo>
                      <a:lnTo>
                        <a:pt x="87" y="27"/>
                      </a:lnTo>
                      <a:lnTo>
                        <a:pt x="91" y="28"/>
                      </a:lnTo>
                      <a:lnTo>
                        <a:pt x="94" y="25"/>
                      </a:lnTo>
                      <a:lnTo>
                        <a:pt x="99" y="30"/>
                      </a:lnTo>
                      <a:lnTo>
                        <a:pt x="106" y="34"/>
                      </a:lnTo>
                      <a:lnTo>
                        <a:pt x="112" y="37"/>
                      </a:lnTo>
                      <a:lnTo>
                        <a:pt x="119" y="37"/>
                      </a:lnTo>
                      <a:lnTo>
                        <a:pt x="124" y="37"/>
                      </a:lnTo>
                      <a:lnTo>
                        <a:pt x="127" y="37"/>
                      </a:lnTo>
                      <a:lnTo>
                        <a:pt x="131" y="37"/>
                      </a:lnTo>
                      <a:lnTo>
                        <a:pt x="134" y="39"/>
                      </a:lnTo>
                      <a:lnTo>
                        <a:pt x="134" y="42"/>
                      </a:lnTo>
                      <a:lnTo>
                        <a:pt x="136" y="48"/>
                      </a:lnTo>
                      <a:lnTo>
                        <a:pt x="138" y="51"/>
                      </a:lnTo>
                      <a:lnTo>
                        <a:pt x="140" y="53"/>
                      </a:lnTo>
                      <a:lnTo>
                        <a:pt x="143" y="55"/>
                      </a:lnTo>
                      <a:lnTo>
                        <a:pt x="147" y="56"/>
                      </a:lnTo>
                      <a:lnTo>
                        <a:pt x="148" y="58"/>
                      </a:lnTo>
                      <a:lnTo>
                        <a:pt x="152" y="58"/>
                      </a:lnTo>
                      <a:lnTo>
                        <a:pt x="157" y="58"/>
                      </a:lnTo>
                      <a:lnTo>
                        <a:pt x="161" y="58"/>
                      </a:lnTo>
                      <a:lnTo>
                        <a:pt x="164" y="60"/>
                      </a:lnTo>
                      <a:lnTo>
                        <a:pt x="166" y="62"/>
                      </a:lnTo>
                      <a:lnTo>
                        <a:pt x="166" y="63"/>
                      </a:lnTo>
                      <a:lnTo>
                        <a:pt x="166" y="65"/>
                      </a:lnTo>
                      <a:lnTo>
                        <a:pt x="164" y="67"/>
                      </a:lnTo>
                      <a:lnTo>
                        <a:pt x="162" y="69"/>
                      </a:lnTo>
                      <a:lnTo>
                        <a:pt x="155" y="74"/>
                      </a:lnTo>
                      <a:lnTo>
                        <a:pt x="154" y="77"/>
                      </a:lnTo>
                      <a:lnTo>
                        <a:pt x="183" y="74"/>
                      </a:lnTo>
                      <a:lnTo>
                        <a:pt x="197" y="76"/>
                      </a:lnTo>
                      <a:lnTo>
                        <a:pt x="204" y="76"/>
                      </a:lnTo>
                      <a:close/>
                      <a:moveTo>
                        <a:pt x="38" y="39"/>
                      </a:moveTo>
                      <a:lnTo>
                        <a:pt x="37" y="37"/>
                      </a:lnTo>
                      <a:lnTo>
                        <a:pt x="37" y="37"/>
                      </a:lnTo>
                      <a:lnTo>
                        <a:pt x="38" y="41"/>
                      </a:lnTo>
                      <a:lnTo>
                        <a:pt x="42" y="41"/>
                      </a:lnTo>
                      <a:lnTo>
                        <a:pt x="47" y="39"/>
                      </a:lnTo>
                      <a:lnTo>
                        <a:pt x="49" y="37"/>
                      </a:lnTo>
                      <a:lnTo>
                        <a:pt x="49" y="34"/>
                      </a:lnTo>
                      <a:lnTo>
                        <a:pt x="47" y="32"/>
                      </a:lnTo>
                      <a:lnTo>
                        <a:pt x="44" y="28"/>
                      </a:lnTo>
                      <a:lnTo>
                        <a:pt x="40" y="30"/>
                      </a:lnTo>
                      <a:lnTo>
                        <a:pt x="38" y="32"/>
                      </a:lnTo>
                      <a:lnTo>
                        <a:pt x="40" y="34"/>
                      </a:lnTo>
                      <a:lnTo>
                        <a:pt x="40" y="35"/>
                      </a:lnTo>
                      <a:lnTo>
                        <a:pt x="40" y="37"/>
                      </a:lnTo>
                      <a:lnTo>
                        <a:pt x="40" y="39"/>
                      </a:lnTo>
                      <a:lnTo>
                        <a:pt x="38" y="3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34" name="Freeform 317">
                  <a:extLst>
                    <a:ext uri="{FF2B5EF4-FFF2-40B4-BE49-F238E27FC236}">
                      <a16:creationId xmlns:a16="http://schemas.microsoft.com/office/drawing/2014/main" id="{0DA830F2-244B-548F-FA94-BC9662B8B3A1}"/>
                    </a:ext>
                  </a:extLst>
                </p:cNvPr>
                <p:cNvSpPr>
                  <a:spLocks noEditPoints="1"/>
                </p:cNvSpPr>
                <p:nvPr/>
              </p:nvSpPr>
              <p:spPr bwMode="auto">
                <a:xfrm>
                  <a:off x="-1919" y="-5147"/>
                  <a:ext cx="1312" cy="1025"/>
                </a:xfrm>
                <a:custGeom>
                  <a:avLst/>
                  <a:gdLst>
                    <a:gd name="T0" fmla="*/ 388 w 1312"/>
                    <a:gd name="T1" fmla="*/ 655 h 1025"/>
                    <a:gd name="T2" fmla="*/ 392 w 1312"/>
                    <a:gd name="T3" fmla="*/ 671 h 1025"/>
                    <a:gd name="T4" fmla="*/ 406 w 1312"/>
                    <a:gd name="T5" fmla="*/ 615 h 1025"/>
                    <a:gd name="T6" fmla="*/ 1003 w 1312"/>
                    <a:gd name="T7" fmla="*/ 617 h 1025"/>
                    <a:gd name="T8" fmla="*/ 463 w 1312"/>
                    <a:gd name="T9" fmla="*/ 658 h 1025"/>
                    <a:gd name="T10" fmla="*/ 1172 w 1312"/>
                    <a:gd name="T11" fmla="*/ 321 h 1025"/>
                    <a:gd name="T12" fmla="*/ 1162 w 1312"/>
                    <a:gd name="T13" fmla="*/ 204 h 1025"/>
                    <a:gd name="T14" fmla="*/ 907 w 1312"/>
                    <a:gd name="T15" fmla="*/ 713 h 1025"/>
                    <a:gd name="T16" fmla="*/ 791 w 1312"/>
                    <a:gd name="T17" fmla="*/ 781 h 1025"/>
                    <a:gd name="T18" fmla="*/ 748 w 1312"/>
                    <a:gd name="T19" fmla="*/ 802 h 1025"/>
                    <a:gd name="T20" fmla="*/ 708 w 1312"/>
                    <a:gd name="T21" fmla="*/ 826 h 1025"/>
                    <a:gd name="T22" fmla="*/ 688 w 1312"/>
                    <a:gd name="T23" fmla="*/ 870 h 1025"/>
                    <a:gd name="T24" fmla="*/ 680 w 1312"/>
                    <a:gd name="T25" fmla="*/ 903 h 1025"/>
                    <a:gd name="T26" fmla="*/ 653 w 1312"/>
                    <a:gd name="T27" fmla="*/ 945 h 1025"/>
                    <a:gd name="T28" fmla="*/ 634 w 1312"/>
                    <a:gd name="T29" fmla="*/ 1015 h 1025"/>
                    <a:gd name="T30" fmla="*/ 594 w 1312"/>
                    <a:gd name="T31" fmla="*/ 1003 h 1025"/>
                    <a:gd name="T32" fmla="*/ 529 w 1312"/>
                    <a:gd name="T33" fmla="*/ 996 h 1025"/>
                    <a:gd name="T34" fmla="*/ 496 w 1312"/>
                    <a:gd name="T35" fmla="*/ 950 h 1025"/>
                    <a:gd name="T36" fmla="*/ 456 w 1312"/>
                    <a:gd name="T37" fmla="*/ 879 h 1025"/>
                    <a:gd name="T38" fmla="*/ 461 w 1312"/>
                    <a:gd name="T39" fmla="*/ 858 h 1025"/>
                    <a:gd name="T40" fmla="*/ 433 w 1312"/>
                    <a:gd name="T41" fmla="*/ 821 h 1025"/>
                    <a:gd name="T42" fmla="*/ 412 w 1312"/>
                    <a:gd name="T43" fmla="*/ 790 h 1025"/>
                    <a:gd name="T44" fmla="*/ 461 w 1312"/>
                    <a:gd name="T45" fmla="*/ 730 h 1025"/>
                    <a:gd name="T46" fmla="*/ 423 w 1312"/>
                    <a:gd name="T47" fmla="*/ 711 h 1025"/>
                    <a:gd name="T48" fmla="*/ 451 w 1312"/>
                    <a:gd name="T49" fmla="*/ 699 h 1025"/>
                    <a:gd name="T50" fmla="*/ 479 w 1312"/>
                    <a:gd name="T51" fmla="*/ 653 h 1025"/>
                    <a:gd name="T52" fmla="*/ 461 w 1312"/>
                    <a:gd name="T53" fmla="*/ 632 h 1025"/>
                    <a:gd name="T54" fmla="*/ 439 w 1312"/>
                    <a:gd name="T55" fmla="*/ 592 h 1025"/>
                    <a:gd name="T56" fmla="*/ 383 w 1312"/>
                    <a:gd name="T57" fmla="*/ 603 h 1025"/>
                    <a:gd name="T58" fmla="*/ 379 w 1312"/>
                    <a:gd name="T59" fmla="*/ 536 h 1025"/>
                    <a:gd name="T60" fmla="*/ 346 w 1312"/>
                    <a:gd name="T61" fmla="*/ 480 h 1025"/>
                    <a:gd name="T62" fmla="*/ 213 w 1312"/>
                    <a:gd name="T63" fmla="*/ 375 h 1025"/>
                    <a:gd name="T64" fmla="*/ 98 w 1312"/>
                    <a:gd name="T65" fmla="*/ 384 h 1025"/>
                    <a:gd name="T66" fmla="*/ 48 w 1312"/>
                    <a:gd name="T67" fmla="*/ 337 h 1025"/>
                    <a:gd name="T68" fmla="*/ 58 w 1312"/>
                    <a:gd name="T69" fmla="*/ 323 h 1025"/>
                    <a:gd name="T70" fmla="*/ 4 w 1312"/>
                    <a:gd name="T71" fmla="*/ 285 h 1025"/>
                    <a:gd name="T72" fmla="*/ 168 w 1312"/>
                    <a:gd name="T73" fmla="*/ 201 h 1025"/>
                    <a:gd name="T74" fmla="*/ 205 w 1312"/>
                    <a:gd name="T75" fmla="*/ 143 h 1025"/>
                    <a:gd name="T76" fmla="*/ 330 w 1312"/>
                    <a:gd name="T77" fmla="*/ 105 h 1025"/>
                    <a:gd name="T78" fmla="*/ 460 w 1312"/>
                    <a:gd name="T79" fmla="*/ 77 h 1025"/>
                    <a:gd name="T80" fmla="*/ 606 w 1312"/>
                    <a:gd name="T81" fmla="*/ 52 h 1025"/>
                    <a:gd name="T82" fmla="*/ 667 w 1312"/>
                    <a:gd name="T83" fmla="*/ 17 h 1025"/>
                    <a:gd name="T84" fmla="*/ 776 w 1312"/>
                    <a:gd name="T85" fmla="*/ 2 h 1025"/>
                    <a:gd name="T86" fmla="*/ 1050 w 1312"/>
                    <a:gd name="T87" fmla="*/ 33 h 1025"/>
                    <a:gd name="T88" fmla="*/ 1036 w 1312"/>
                    <a:gd name="T89" fmla="*/ 92 h 1025"/>
                    <a:gd name="T90" fmla="*/ 1108 w 1312"/>
                    <a:gd name="T91" fmla="*/ 129 h 1025"/>
                    <a:gd name="T92" fmla="*/ 1277 w 1312"/>
                    <a:gd name="T93" fmla="*/ 141 h 1025"/>
                    <a:gd name="T94" fmla="*/ 1167 w 1312"/>
                    <a:gd name="T95" fmla="*/ 194 h 1025"/>
                    <a:gd name="T96" fmla="*/ 1132 w 1312"/>
                    <a:gd name="T97" fmla="*/ 262 h 1025"/>
                    <a:gd name="T98" fmla="*/ 1139 w 1312"/>
                    <a:gd name="T99" fmla="*/ 323 h 1025"/>
                    <a:gd name="T100" fmla="*/ 1095 w 1312"/>
                    <a:gd name="T101" fmla="*/ 354 h 1025"/>
                    <a:gd name="T102" fmla="*/ 1141 w 1312"/>
                    <a:gd name="T103" fmla="*/ 407 h 1025"/>
                    <a:gd name="T104" fmla="*/ 1113 w 1312"/>
                    <a:gd name="T105" fmla="*/ 451 h 1025"/>
                    <a:gd name="T106" fmla="*/ 1087 w 1312"/>
                    <a:gd name="T107" fmla="*/ 470 h 1025"/>
                    <a:gd name="T108" fmla="*/ 1041 w 1312"/>
                    <a:gd name="T109" fmla="*/ 505 h 1025"/>
                    <a:gd name="T110" fmla="*/ 978 w 1312"/>
                    <a:gd name="T111" fmla="*/ 531 h 1025"/>
                    <a:gd name="T112" fmla="*/ 1076 w 1312"/>
                    <a:gd name="T113" fmla="*/ 573 h 1025"/>
                    <a:gd name="T114" fmla="*/ 1018 w 1312"/>
                    <a:gd name="T115" fmla="*/ 564 h 1025"/>
                    <a:gd name="T116" fmla="*/ 1094 w 1312"/>
                    <a:gd name="T117" fmla="*/ 638 h 1025"/>
                    <a:gd name="T118" fmla="*/ 1006 w 1312"/>
                    <a:gd name="T119" fmla="*/ 601 h 1025"/>
                    <a:gd name="T120" fmla="*/ 989 w 1312"/>
                    <a:gd name="T121" fmla="*/ 638 h 1025"/>
                    <a:gd name="T122" fmla="*/ 1046 w 1312"/>
                    <a:gd name="T123" fmla="*/ 665 h 1025"/>
                    <a:gd name="T124" fmla="*/ 552 w 1312"/>
                    <a:gd name="T125" fmla="*/ 43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2" h="1025">
                      <a:moveTo>
                        <a:pt x="559" y="994"/>
                      </a:moveTo>
                      <a:lnTo>
                        <a:pt x="557" y="994"/>
                      </a:lnTo>
                      <a:lnTo>
                        <a:pt x="559" y="992"/>
                      </a:lnTo>
                      <a:lnTo>
                        <a:pt x="563" y="990"/>
                      </a:lnTo>
                      <a:lnTo>
                        <a:pt x="566" y="989"/>
                      </a:lnTo>
                      <a:lnTo>
                        <a:pt x="570" y="989"/>
                      </a:lnTo>
                      <a:lnTo>
                        <a:pt x="568" y="992"/>
                      </a:lnTo>
                      <a:lnTo>
                        <a:pt x="568" y="996"/>
                      </a:lnTo>
                      <a:lnTo>
                        <a:pt x="566" y="997"/>
                      </a:lnTo>
                      <a:lnTo>
                        <a:pt x="564" y="997"/>
                      </a:lnTo>
                      <a:lnTo>
                        <a:pt x="559" y="994"/>
                      </a:lnTo>
                      <a:close/>
                      <a:moveTo>
                        <a:pt x="763" y="819"/>
                      </a:moveTo>
                      <a:lnTo>
                        <a:pt x="765" y="819"/>
                      </a:lnTo>
                      <a:lnTo>
                        <a:pt x="767" y="816"/>
                      </a:lnTo>
                      <a:lnTo>
                        <a:pt x="767" y="814"/>
                      </a:lnTo>
                      <a:lnTo>
                        <a:pt x="765" y="811"/>
                      </a:lnTo>
                      <a:lnTo>
                        <a:pt x="762" y="812"/>
                      </a:lnTo>
                      <a:lnTo>
                        <a:pt x="760" y="814"/>
                      </a:lnTo>
                      <a:lnTo>
                        <a:pt x="762" y="817"/>
                      </a:lnTo>
                      <a:lnTo>
                        <a:pt x="763" y="819"/>
                      </a:lnTo>
                      <a:close/>
                      <a:moveTo>
                        <a:pt x="25" y="332"/>
                      </a:moveTo>
                      <a:lnTo>
                        <a:pt x="30" y="330"/>
                      </a:lnTo>
                      <a:lnTo>
                        <a:pt x="18" y="328"/>
                      </a:lnTo>
                      <a:lnTo>
                        <a:pt x="11" y="327"/>
                      </a:lnTo>
                      <a:lnTo>
                        <a:pt x="7" y="328"/>
                      </a:lnTo>
                      <a:lnTo>
                        <a:pt x="11" y="332"/>
                      </a:lnTo>
                      <a:lnTo>
                        <a:pt x="18" y="332"/>
                      </a:lnTo>
                      <a:lnTo>
                        <a:pt x="25" y="332"/>
                      </a:lnTo>
                      <a:close/>
                      <a:moveTo>
                        <a:pt x="393" y="658"/>
                      </a:moveTo>
                      <a:lnTo>
                        <a:pt x="395" y="658"/>
                      </a:lnTo>
                      <a:lnTo>
                        <a:pt x="392" y="657"/>
                      </a:lnTo>
                      <a:lnTo>
                        <a:pt x="388" y="655"/>
                      </a:lnTo>
                      <a:lnTo>
                        <a:pt x="385" y="651"/>
                      </a:lnTo>
                      <a:lnTo>
                        <a:pt x="385" y="648"/>
                      </a:lnTo>
                      <a:lnTo>
                        <a:pt x="386" y="645"/>
                      </a:lnTo>
                      <a:lnTo>
                        <a:pt x="392" y="643"/>
                      </a:lnTo>
                      <a:lnTo>
                        <a:pt x="395" y="643"/>
                      </a:lnTo>
                      <a:lnTo>
                        <a:pt x="399" y="643"/>
                      </a:lnTo>
                      <a:lnTo>
                        <a:pt x="404" y="645"/>
                      </a:lnTo>
                      <a:lnTo>
                        <a:pt x="412" y="646"/>
                      </a:lnTo>
                      <a:lnTo>
                        <a:pt x="418" y="646"/>
                      </a:lnTo>
                      <a:lnTo>
                        <a:pt x="421" y="650"/>
                      </a:lnTo>
                      <a:lnTo>
                        <a:pt x="426" y="655"/>
                      </a:lnTo>
                      <a:lnTo>
                        <a:pt x="430" y="658"/>
                      </a:lnTo>
                      <a:lnTo>
                        <a:pt x="435" y="660"/>
                      </a:lnTo>
                      <a:lnTo>
                        <a:pt x="439" y="662"/>
                      </a:lnTo>
                      <a:lnTo>
                        <a:pt x="442" y="664"/>
                      </a:lnTo>
                      <a:lnTo>
                        <a:pt x="446" y="665"/>
                      </a:lnTo>
                      <a:lnTo>
                        <a:pt x="446" y="669"/>
                      </a:lnTo>
                      <a:lnTo>
                        <a:pt x="446" y="671"/>
                      </a:lnTo>
                      <a:lnTo>
                        <a:pt x="444" y="671"/>
                      </a:lnTo>
                      <a:lnTo>
                        <a:pt x="442" y="672"/>
                      </a:lnTo>
                      <a:lnTo>
                        <a:pt x="437" y="674"/>
                      </a:lnTo>
                      <a:lnTo>
                        <a:pt x="412" y="679"/>
                      </a:lnTo>
                      <a:lnTo>
                        <a:pt x="409" y="679"/>
                      </a:lnTo>
                      <a:lnTo>
                        <a:pt x="404" y="678"/>
                      </a:lnTo>
                      <a:lnTo>
                        <a:pt x="402" y="678"/>
                      </a:lnTo>
                      <a:lnTo>
                        <a:pt x="402" y="676"/>
                      </a:lnTo>
                      <a:lnTo>
                        <a:pt x="400" y="676"/>
                      </a:lnTo>
                      <a:lnTo>
                        <a:pt x="399" y="674"/>
                      </a:lnTo>
                      <a:lnTo>
                        <a:pt x="400" y="674"/>
                      </a:lnTo>
                      <a:lnTo>
                        <a:pt x="409" y="672"/>
                      </a:lnTo>
                      <a:lnTo>
                        <a:pt x="404" y="671"/>
                      </a:lnTo>
                      <a:lnTo>
                        <a:pt x="392" y="671"/>
                      </a:lnTo>
                      <a:lnTo>
                        <a:pt x="386" y="669"/>
                      </a:lnTo>
                      <a:lnTo>
                        <a:pt x="385" y="667"/>
                      </a:lnTo>
                      <a:lnTo>
                        <a:pt x="383" y="665"/>
                      </a:lnTo>
                      <a:lnTo>
                        <a:pt x="383" y="662"/>
                      </a:lnTo>
                      <a:lnTo>
                        <a:pt x="385" y="660"/>
                      </a:lnTo>
                      <a:lnTo>
                        <a:pt x="386" y="657"/>
                      </a:lnTo>
                      <a:lnTo>
                        <a:pt x="390" y="658"/>
                      </a:lnTo>
                      <a:lnTo>
                        <a:pt x="393" y="658"/>
                      </a:lnTo>
                      <a:close/>
                      <a:moveTo>
                        <a:pt x="358" y="552"/>
                      </a:moveTo>
                      <a:lnTo>
                        <a:pt x="360" y="552"/>
                      </a:lnTo>
                      <a:lnTo>
                        <a:pt x="362" y="554"/>
                      </a:lnTo>
                      <a:lnTo>
                        <a:pt x="364" y="554"/>
                      </a:lnTo>
                      <a:lnTo>
                        <a:pt x="367" y="557"/>
                      </a:lnTo>
                      <a:lnTo>
                        <a:pt x="372" y="555"/>
                      </a:lnTo>
                      <a:lnTo>
                        <a:pt x="378" y="552"/>
                      </a:lnTo>
                      <a:lnTo>
                        <a:pt x="379" y="547"/>
                      </a:lnTo>
                      <a:lnTo>
                        <a:pt x="376" y="545"/>
                      </a:lnTo>
                      <a:lnTo>
                        <a:pt x="374" y="545"/>
                      </a:lnTo>
                      <a:lnTo>
                        <a:pt x="369" y="547"/>
                      </a:lnTo>
                      <a:lnTo>
                        <a:pt x="367" y="547"/>
                      </a:lnTo>
                      <a:lnTo>
                        <a:pt x="364" y="547"/>
                      </a:lnTo>
                      <a:lnTo>
                        <a:pt x="360" y="548"/>
                      </a:lnTo>
                      <a:lnTo>
                        <a:pt x="355" y="550"/>
                      </a:lnTo>
                      <a:lnTo>
                        <a:pt x="357" y="552"/>
                      </a:lnTo>
                      <a:lnTo>
                        <a:pt x="358" y="552"/>
                      </a:lnTo>
                      <a:close/>
                      <a:moveTo>
                        <a:pt x="412" y="615"/>
                      </a:moveTo>
                      <a:lnTo>
                        <a:pt x="414" y="611"/>
                      </a:lnTo>
                      <a:lnTo>
                        <a:pt x="414" y="608"/>
                      </a:lnTo>
                      <a:lnTo>
                        <a:pt x="411" y="606"/>
                      </a:lnTo>
                      <a:lnTo>
                        <a:pt x="406" y="608"/>
                      </a:lnTo>
                      <a:lnTo>
                        <a:pt x="404" y="611"/>
                      </a:lnTo>
                      <a:lnTo>
                        <a:pt x="406" y="615"/>
                      </a:lnTo>
                      <a:lnTo>
                        <a:pt x="409" y="615"/>
                      </a:lnTo>
                      <a:lnTo>
                        <a:pt x="412" y="615"/>
                      </a:lnTo>
                      <a:close/>
                      <a:moveTo>
                        <a:pt x="959" y="634"/>
                      </a:moveTo>
                      <a:lnTo>
                        <a:pt x="957" y="636"/>
                      </a:lnTo>
                      <a:lnTo>
                        <a:pt x="961" y="638"/>
                      </a:lnTo>
                      <a:lnTo>
                        <a:pt x="966" y="638"/>
                      </a:lnTo>
                      <a:lnTo>
                        <a:pt x="980" y="634"/>
                      </a:lnTo>
                      <a:lnTo>
                        <a:pt x="987" y="634"/>
                      </a:lnTo>
                      <a:lnTo>
                        <a:pt x="989" y="634"/>
                      </a:lnTo>
                      <a:lnTo>
                        <a:pt x="992" y="634"/>
                      </a:lnTo>
                      <a:lnTo>
                        <a:pt x="994" y="636"/>
                      </a:lnTo>
                      <a:lnTo>
                        <a:pt x="996" y="636"/>
                      </a:lnTo>
                      <a:lnTo>
                        <a:pt x="996" y="636"/>
                      </a:lnTo>
                      <a:lnTo>
                        <a:pt x="997" y="636"/>
                      </a:lnTo>
                      <a:lnTo>
                        <a:pt x="1001" y="636"/>
                      </a:lnTo>
                      <a:lnTo>
                        <a:pt x="1004" y="632"/>
                      </a:lnTo>
                      <a:lnTo>
                        <a:pt x="1006" y="632"/>
                      </a:lnTo>
                      <a:lnTo>
                        <a:pt x="1008" y="631"/>
                      </a:lnTo>
                      <a:lnTo>
                        <a:pt x="1011" y="631"/>
                      </a:lnTo>
                      <a:lnTo>
                        <a:pt x="1013" y="629"/>
                      </a:lnTo>
                      <a:lnTo>
                        <a:pt x="1015" y="629"/>
                      </a:lnTo>
                      <a:lnTo>
                        <a:pt x="1015" y="627"/>
                      </a:lnTo>
                      <a:lnTo>
                        <a:pt x="1015" y="625"/>
                      </a:lnTo>
                      <a:lnTo>
                        <a:pt x="1013" y="625"/>
                      </a:lnTo>
                      <a:lnTo>
                        <a:pt x="1013" y="625"/>
                      </a:lnTo>
                      <a:lnTo>
                        <a:pt x="1015" y="622"/>
                      </a:lnTo>
                      <a:lnTo>
                        <a:pt x="1013" y="620"/>
                      </a:lnTo>
                      <a:lnTo>
                        <a:pt x="1011" y="618"/>
                      </a:lnTo>
                      <a:lnTo>
                        <a:pt x="1006" y="617"/>
                      </a:lnTo>
                      <a:lnTo>
                        <a:pt x="1006" y="615"/>
                      </a:lnTo>
                      <a:lnTo>
                        <a:pt x="1004" y="615"/>
                      </a:lnTo>
                      <a:lnTo>
                        <a:pt x="1003" y="617"/>
                      </a:lnTo>
                      <a:lnTo>
                        <a:pt x="992" y="620"/>
                      </a:lnTo>
                      <a:lnTo>
                        <a:pt x="987" y="622"/>
                      </a:lnTo>
                      <a:lnTo>
                        <a:pt x="982" y="622"/>
                      </a:lnTo>
                      <a:lnTo>
                        <a:pt x="977" y="622"/>
                      </a:lnTo>
                      <a:lnTo>
                        <a:pt x="973" y="622"/>
                      </a:lnTo>
                      <a:lnTo>
                        <a:pt x="968" y="620"/>
                      </a:lnTo>
                      <a:lnTo>
                        <a:pt x="966" y="620"/>
                      </a:lnTo>
                      <a:lnTo>
                        <a:pt x="964" y="622"/>
                      </a:lnTo>
                      <a:lnTo>
                        <a:pt x="964" y="624"/>
                      </a:lnTo>
                      <a:lnTo>
                        <a:pt x="964" y="627"/>
                      </a:lnTo>
                      <a:lnTo>
                        <a:pt x="963" y="629"/>
                      </a:lnTo>
                      <a:lnTo>
                        <a:pt x="959" y="634"/>
                      </a:lnTo>
                      <a:close/>
                      <a:moveTo>
                        <a:pt x="451" y="622"/>
                      </a:moveTo>
                      <a:lnTo>
                        <a:pt x="454" y="622"/>
                      </a:lnTo>
                      <a:lnTo>
                        <a:pt x="451" y="620"/>
                      </a:lnTo>
                      <a:lnTo>
                        <a:pt x="447" y="618"/>
                      </a:lnTo>
                      <a:lnTo>
                        <a:pt x="444" y="618"/>
                      </a:lnTo>
                      <a:lnTo>
                        <a:pt x="442" y="620"/>
                      </a:lnTo>
                      <a:lnTo>
                        <a:pt x="444" y="622"/>
                      </a:lnTo>
                      <a:lnTo>
                        <a:pt x="447" y="622"/>
                      </a:lnTo>
                      <a:lnTo>
                        <a:pt x="451" y="622"/>
                      </a:lnTo>
                      <a:close/>
                      <a:moveTo>
                        <a:pt x="467" y="671"/>
                      </a:moveTo>
                      <a:lnTo>
                        <a:pt x="467" y="669"/>
                      </a:lnTo>
                      <a:lnTo>
                        <a:pt x="467" y="667"/>
                      </a:lnTo>
                      <a:lnTo>
                        <a:pt x="468" y="665"/>
                      </a:lnTo>
                      <a:lnTo>
                        <a:pt x="470" y="665"/>
                      </a:lnTo>
                      <a:lnTo>
                        <a:pt x="470" y="664"/>
                      </a:lnTo>
                      <a:lnTo>
                        <a:pt x="472" y="664"/>
                      </a:lnTo>
                      <a:lnTo>
                        <a:pt x="474" y="662"/>
                      </a:lnTo>
                      <a:lnTo>
                        <a:pt x="470" y="660"/>
                      </a:lnTo>
                      <a:lnTo>
                        <a:pt x="467" y="658"/>
                      </a:lnTo>
                      <a:lnTo>
                        <a:pt x="463" y="658"/>
                      </a:lnTo>
                      <a:lnTo>
                        <a:pt x="460" y="662"/>
                      </a:lnTo>
                      <a:lnTo>
                        <a:pt x="461" y="669"/>
                      </a:lnTo>
                      <a:lnTo>
                        <a:pt x="463" y="672"/>
                      </a:lnTo>
                      <a:lnTo>
                        <a:pt x="467" y="671"/>
                      </a:lnTo>
                      <a:close/>
                      <a:moveTo>
                        <a:pt x="1151" y="285"/>
                      </a:moveTo>
                      <a:lnTo>
                        <a:pt x="1149" y="285"/>
                      </a:lnTo>
                      <a:lnTo>
                        <a:pt x="1148" y="285"/>
                      </a:lnTo>
                      <a:lnTo>
                        <a:pt x="1146" y="286"/>
                      </a:lnTo>
                      <a:lnTo>
                        <a:pt x="1144" y="288"/>
                      </a:lnTo>
                      <a:lnTo>
                        <a:pt x="1144" y="292"/>
                      </a:lnTo>
                      <a:lnTo>
                        <a:pt x="1144" y="297"/>
                      </a:lnTo>
                      <a:lnTo>
                        <a:pt x="1148" y="307"/>
                      </a:lnTo>
                      <a:lnTo>
                        <a:pt x="1151" y="304"/>
                      </a:lnTo>
                      <a:lnTo>
                        <a:pt x="1153" y="300"/>
                      </a:lnTo>
                      <a:lnTo>
                        <a:pt x="1153" y="297"/>
                      </a:lnTo>
                      <a:lnTo>
                        <a:pt x="1151" y="293"/>
                      </a:lnTo>
                      <a:lnTo>
                        <a:pt x="1153" y="286"/>
                      </a:lnTo>
                      <a:lnTo>
                        <a:pt x="1151" y="285"/>
                      </a:lnTo>
                      <a:close/>
                      <a:moveTo>
                        <a:pt x="1156" y="388"/>
                      </a:moveTo>
                      <a:lnTo>
                        <a:pt x="1149" y="370"/>
                      </a:lnTo>
                      <a:lnTo>
                        <a:pt x="1148" y="361"/>
                      </a:lnTo>
                      <a:lnTo>
                        <a:pt x="1151" y="356"/>
                      </a:lnTo>
                      <a:lnTo>
                        <a:pt x="1156" y="360"/>
                      </a:lnTo>
                      <a:lnTo>
                        <a:pt x="1158" y="368"/>
                      </a:lnTo>
                      <a:lnTo>
                        <a:pt x="1160" y="386"/>
                      </a:lnTo>
                      <a:lnTo>
                        <a:pt x="1160" y="388"/>
                      </a:lnTo>
                      <a:lnTo>
                        <a:pt x="1156" y="388"/>
                      </a:lnTo>
                      <a:close/>
                      <a:moveTo>
                        <a:pt x="1176" y="311"/>
                      </a:moveTo>
                      <a:lnTo>
                        <a:pt x="1179" y="313"/>
                      </a:lnTo>
                      <a:lnTo>
                        <a:pt x="1179" y="316"/>
                      </a:lnTo>
                      <a:lnTo>
                        <a:pt x="1176" y="320"/>
                      </a:lnTo>
                      <a:lnTo>
                        <a:pt x="1172" y="321"/>
                      </a:lnTo>
                      <a:lnTo>
                        <a:pt x="1167" y="321"/>
                      </a:lnTo>
                      <a:lnTo>
                        <a:pt x="1169" y="318"/>
                      </a:lnTo>
                      <a:lnTo>
                        <a:pt x="1172" y="313"/>
                      </a:lnTo>
                      <a:lnTo>
                        <a:pt x="1176" y="311"/>
                      </a:lnTo>
                      <a:close/>
                      <a:moveTo>
                        <a:pt x="1153" y="444"/>
                      </a:moveTo>
                      <a:lnTo>
                        <a:pt x="1153" y="438"/>
                      </a:lnTo>
                      <a:lnTo>
                        <a:pt x="1153" y="433"/>
                      </a:lnTo>
                      <a:lnTo>
                        <a:pt x="1155" y="428"/>
                      </a:lnTo>
                      <a:lnTo>
                        <a:pt x="1158" y="426"/>
                      </a:lnTo>
                      <a:lnTo>
                        <a:pt x="1160" y="426"/>
                      </a:lnTo>
                      <a:lnTo>
                        <a:pt x="1162" y="428"/>
                      </a:lnTo>
                      <a:lnTo>
                        <a:pt x="1163" y="430"/>
                      </a:lnTo>
                      <a:lnTo>
                        <a:pt x="1165" y="428"/>
                      </a:lnTo>
                      <a:lnTo>
                        <a:pt x="1172" y="424"/>
                      </a:lnTo>
                      <a:lnTo>
                        <a:pt x="1174" y="433"/>
                      </a:lnTo>
                      <a:lnTo>
                        <a:pt x="1174" y="437"/>
                      </a:lnTo>
                      <a:lnTo>
                        <a:pt x="1176" y="440"/>
                      </a:lnTo>
                      <a:lnTo>
                        <a:pt x="1177" y="440"/>
                      </a:lnTo>
                      <a:lnTo>
                        <a:pt x="1181" y="440"/>
                      </a:lnTo>
                      <a:lnTo>
                        <a:pt x="1183" y="440"/>
                      </a:lnTo>
                      <a:lnTo>
                        <a:pt x="1184" y="442"/>
                      </a:lnTo>
                      <a:lnTo>
                        <a:pt x="1184" y="447"/>
                      </a:lnTo>
                      <a:lnTo>
                        <a:pt x="1177" y="449"/>
                      </a:lnTo>
                      <a:lnTo>
                        <a:pt x="1169" y="449"/>
                      </a:lnTo>
                      <a:lnTo>
                        <a:pt x="1158" y="447"/>
                      </a:lnTo>
                      <a:lnTo>
                        <a:pt x="1153" y="444"/>
                      </a:lnTo>
                      <a:close/>
                      <a:moveTo>
                        <a:pt x="1155" y="220"/>
                      </a:moveTo>
                      <a:lnTo>
                        <a:pt x="1149" y="218"/>
                      </a:lnTo>
                      <a:lnTo>
                        <a:pt x="1148" y="213"/>
                      </a:lnTo>
                      <a:lnTo>
                        <a:pt x="1151" y="209"/>
                      </a:lnTo>
                      <a:lnTo>
                        <a:pt x="1156" y="206"/>
                      </a:lnTo>
                      <a:lnTo>
                        <a:pt x="1162" y="204"/>
                      </a:lnTo>
                      <a:lnTo>
                        <a:pt x="1170" y="202"/>
                      </a:lnTo>
                      <a:lnTo>
                        <a:pt x="1172" y="202"/>
                      </a:lnTo>
                      <a:lnTo>
                        <a:pt x="1174" y="202"/>
                      </a:lnTo>
                      <a:lnTo>
                        <a:pt x="1181" y="202"/>
                      </a:lnTo>
                      <a:lnTo>
                        <a:pt x="1183" y="204"/>
                      </a:lnTo>
                      <a:lnTo>
                        <a:pt x="1184" y="206"/>
                      </a:lnTo>
                      <a:lnTo>
                        <a:pt x="1184" y="209"/>
                      </a:lnTo>
                      <a:lnTo>
                        <a:pt x="1181" y="213"/>
                      </a:lnTo>
                      <a:lnTo>
                        <a:pt x="1177" y="216"/>
                      </a:lnTo>
                      <a:lnTo>
                        <a:pt x="1172" y="220"/>
                      </a:lnTo>
                      <a:lnTo>
                        <a:pt x="1167" y="220"/>
                      </a:lnTo>
                      <a:lnTo>
                        <a:pt x="1162" y="220"/>
                      </a:lnTo>
                      <a:lnTo>
                        <a:pt x="1155" y="220"/>
                      </a:lnTo>
                      <a:close/>
                      <a:moveTo>
                        <a:pt x="1038" y="672"/>
                      </a:moveTo>
                      <a:lnTo>
                        <a:pt x="1032" y="676"/>
                      </a:lnTo>
                      <a:lnTo>
                        <a:pt x="1018" y="679"/>
                      </a:lnTo>
                      <a:lnTo>
                        <a:pt x="1020" y="681"/>
                      </a:lnTo>
                      <a:lnTo>
                        <a:pt x="1018" y="683"/>
                      </a:lnTo>
                      <a:lnTo>
                        <a:pt x="1010" y="686"/>
                      </a:lnTo>
                      <a:lnTo>
                        <a:pt x="1010" y="686"/>
                      </a:lnTo>
                      <a:lnTo>
                        <a:pt x="1008" y="688"/>
                      </a:lnTo>
                      <a:lnTo>
                        <a:pt x="1008" y="690"/>
                      </a:lnTo>
                      <a:lnTo>
                        <a:pt x="1006" y="690"/>
                      </a:lnTo>
                      <a:lnTo>
                        <a:pt x="992" y="695"/>
                      </a:lnTo>
                      <a:lnTo>
                        <a:pt x="935" y="707"/>
                      </a:lnTo>
                      <a:lnTo>
                        <a:pt x="929" y="707"/>
                      </a:lnTo>
                      <a:lnTo>
                        <a:pt x="921" y="707"/>
                      </a:lnTo>
                      <a:lnTo>
                        <a:pt x="917" y="707"/>
                      </a:lnTo>
                      <a:lnTo>
                        <a:pt x="915" y="709"/>
                      </a:lnTo>
                      <a:lnTo>
                        <a:pt x="912" y="711"/>
                      </a:lnTo>
                      <a:lnTo>
                        <a:pt x="910" y="713"/>
                      </a:lnTo>
                      <a:lnTo>
                        <a:pt x="907" y="713"/>
                      </a:lnTo>
                      <a:lnTo>
                        <a:pt x="900" y="709"/>
                      </a:lnTo>
                      <a:lnTo>
                        <a:pt x="901" y="714"/>
                      </a:lnTo>
                      <a:lnTo>
                        <a:pt x="898" y="716"/>
                      </a:lnTo>
                      <a:lnTo>
                        <a:pt x="893" y="716"/>
                      </a:lnTo>
                      <a:lnTo>
                        <a:pt x="887" y="714"/>
                      </a:lnTo>
                      <a:lnTo>
                        <a:pt x="882" y="713"/>
                      </a:lnTo>
                      <a:lnTo>
                        <a:pt x="872" y="706"/>
                      </a:lnTo>
                      <a:lnTo>
                        <a:pt x="867" y="704"/>
                      </a:lnTo>
                      <a:lnTo>
                        <a:pt x="867" y="707"/>
                      </a:lnTo>
                      <a:lnTo>
                        <a:pt x="868" y="709"/>
                      </a:lnTo>
                      <a:lnTo>
                        <a:pt x="868" y="711"/>
                      </a:lnTo>
                      <a:lnTo>
                        <a:pt x="865" y="711"/>
                      </a:lnTo>
                      <a:lnTo>
                        <a:pt x="868" y="718"/>
                      </a:lnTo>
                      <a:lnTo>
                        <a:pt x="865" y="723"/>
                      </a:lnTo>
                      <a:lnTo>
                        <a:pt x="849" y="730"/>
                      </a:lnTo>
                      <a:lnTo>
                        <a:pt x="844" y="735"/>
                      </a:lnTo>
                      <a:lnTo>
                        <a:pt x="828" y="765"/>
                      </a:lnTo>
                      <a:lnTo>
                        <a:pt x="826" y="769"/>
                      </a:lnTo>
                      <a:lnTo>
                        <a:pt x="825" y="769"/>
                      </a:lnTo>
                      <a:lnTo>
                        <a:pt x="821" y="770"/>
                      </a:lnTo>
                      <a:lnTo>
                        <a:pt x="821" y="770"/>
                      </a:lnTo>
                      <a:lnTo>
                        <a:pt x="819" y="772"/>
                      </a:lnTo>
                      <a:lnTo>
                        <a:pt x="818" y="776"/>
                      </a:lnTo>
                      <a:lnTo>
                        <a:pt x="818" y="777"/>
                      </a:lnTo>
                      <a:lnTo>
                        <a:pt x="814" y="779"/>
                      </a:lnTo>
                      <a:lnTo>
                        <a:pt x="811" y="783"/>
                      </a:lnTo>
                      <a:lnTo>
                        <a:pt x="807" y="784"/>
                      </a:lnTo>
                      <a:lnTo>
                        <a:pt x="804" y="786"/>
                      </a:lnTo>
                      <a:lnTo>
                        <a:pt x="800" y="784"/>
                      </a:lnTo>
                      <a:lnTo>
                        <a:pt x="797" y="783"/>
                      </a:lnTo>
                      <a:lnTo>
                        <a:pt x="790" y="777"/>
                      </a:lnTo>
                      <a:lnTo>
                        <a:pt x="791" y="781"/>
                      </a:lnTo>
                      <a:lnTo>
                        <a:pt x="793" y="784"/>
                      </a:lnTo>
                      <a:lnTo>
                        <a:pt x="795" y="788"/>
                      </a:lnTo>
                      <a:lnTo>
                        <a:pt x="793" y="793"/>
                      </a:lnTo>
                      <a:lnTo>
                        <a:pt x="791" y="795"/>
                      </a:lnTo>
                      <a:lnTo>
                        <a:pt x="786" y="798"/>
                      </a:lnTo>
                      <a:lnTo>
                        <a:pt x="781" y="804"/>
                      </a:lnTo>
                      <a:lnTo>
                        <a:pt x="779" y="805"/>
                      </a:lnTo>
                      <a:lnTo>
                        <a:pt x="779" y="800"/>
                      </a:lnTo>
                      <a:lnTo>
                        <a:pt x="777" y="798"/>
                      </a:lnTo>
                      <a:lnTo>
                        <a:pt x="776" y="797"/>
                      </a:lnTo>
                      <a:lnTo>
                        <a:pt x="776" y="804"/>
                      </a:lnTo>
                      <a:lnTo>
                        <a:pt x="772" y="807"/>
                      </a:lnTo>
                      <a:lnTo>
                        <a:pt x="769" y="807"/>
                      </a:lnTo>
                      <a:lnTo>
                        <a:pt x="765" y="804"/>
                      </a:lnTo>
                      <a:lnTo>
                        <a:pt x="760" y="807"/>
                      </a:lnTo>
                      <a:lnTo>
                        <a:pt x="760" y="807"/>
                      </a:lnTo>
                      <a:lnTo>
                        <a:pt x="760" y="809"/>
                      </a:lnTo>
                      <a:lnTo>
                        <a:pt x="758" y="811"/>
                      </a:lnTo>
                      <a:lnTo>
                        <a:pt x="758" y="811"/>
                      </a:lnTo>
                      <a:lnTo>
                        <a:pt x="757" y="814"/>
                      </a:lnTo>
                      <a:lnTo>
                        <a:pt x="755" y="814"/>
                      </a:lnTo>
                      <a:lnTo>
                        <a:pt x="753" y="816"/>
                      </a:lnTo>
                      <a:lnTo>
                        <a:pt x="751" y="816"/>
                      </a:lnTo>
                      <a:lnTo>
                        <a:pt x="748" y="816"/>
                      </a:lnTo>
                      <a:lnTo>
                        <a:pt x="746" y="816"/>
                      </a:lnTo>
                      <a:lnTo>
                        <a:pt x="744" y="814"/>
                      </a:lnTo>
                      <a:lnTo>
                        <a:pt x="744" y="811"/>
                      </a:lnTo>
                      <a:lnTo>
                        <a:pt x="746" y="809"/>
                      </a:lnTo>
                      <a:lnTo>
                        <a:pt x="748" y="807"/>
                      </a:lnTo>
                      <a:lnTo>
                        <a:pt x="748" y="805"/>
                      </a:lnTo>
                      <a:lnTo>
                        <a:pt x="748" y="805"/>
                      </a:lnTo>
                      <a:lnTo>
                        <a:pt x="748" y="802"/>
                      </a:lnTo>
                      <a:lnTo>
                        <a:pt x="748" y="802"/>
                      </a:lnTo>
                      <a:lnTo>
                        <a:pt x="750" y="798"/>
                      </a:lnTo>
                      <a:lnTo>
                        <a:pt x="751" y="797"/>
                      </a:lnTo>
                      <a:lnTo>
                        <a:pt x="753" y="791"/>
                      </a:lnTo>
                      <a:lnTo>
                        <a:pt x="758" y="784"/>
                      </a:lnTo>
                      <a:lnTo>
                        <a:pt x="760" y="783"/>
                      </a:lnTo>
                      <a:lnTo>
                        <a:pt x="757" y="781"/>
                      </a:lnTo>
                      <a:lnTo>
                        <a:pt x="751" y="781"/>
                      </a:lnTo>
                      <a:lnTo>
                        <a:pt x="744" y="779"/>
                      </a:lnTo>
                      <a:lnTo>
                        <a:pt x="741" y="779"/>
                      </a:lnTo>
                      <a:lnTo>
                        <a:pt x="743" y="781"/>
                      </a:lnTo>
                      <a:lnTo>
                        <a:pt x="750" y="786"/>
                      </a:lnTo>
                      <a:lnTo>
                        <a:pt x="746" y="790"/>
                      </a:lnTo>
                      <a:lnTo>
                        <a:pt x="744" y="793"/>
                      </a:lnTo>
                      <a:lnTo>
                        <a:pt x="743" y="798"/>
                      </a:lnTo>
                      <a:lnTo>
                        <a:pt x="741" y="802"/>
                      </a:lnTo>
                      <a:lnTo>
                        <a:pt x="736" y="798"/>
                      </a:lnTo>
                      <a:lnTo>
                        <a:pt x="734" y="797"/>
                      </a:lnTo>
                      <a:lnTo>
                        <a:pt x="736" y="800"/>
                      </a:lnTo>
                      <a:lnTo>
                        <a:pt x="739" y="805"/>
                      </a:lnTo>
                      <a:lnTo>
                        <a:pt x="741" y="809"/>
                      </a:lnTo>
                      <a:lnTo>
                        <a:pt x="739" y="811"/>
                      </a:lnTo>
                      <a:lnTo>
                        <a:pt x="737" y="812"/>
                      </a:lnTo>
                      <a:lnTo>
                        <a:pt x="734" y="814"/>
                      </a:lnTo>
                      <a:lnTo>
                        <a:pt x="730" y="816"/>
                      </a:lnTo>
                      <a:lnTo>
                        <a:pt x="723" y="816"/>
                      </a:lnTo>
                      <a:lnTo>
                        <a:pt x="708" y="817"/>
                      </a:lnTo>
                      <a:lnTo>
                        <a:pt x="701" y="817"/>
                      </a:lnTo>
                      <a:lnTo>
                        <a:pt x="699" y="821"/>
                      </a:lnTo>
                      <a:lnTo>
                        <a:pt x="701" y="823"/>
                      </a:lnTo>
                      <a:lnTo>
                        <a:pt x="704" y="824"/>
                      </a:lnTo>
                      <a:lnTo>
                        <a:pt x="708" y="826"/>
                      </a:lnTo>
                      <a:lnTo>
                        <a:pt x="709" y="826"/>
                      </a:lnTo>
                      <a:lnTo>
                        <a:pt x="709" y="828"/>
                      </a:lnTo>
                      <a:lnTo>
                        <a:pt x="709" y="828"/>
                      </a:lnTo>
                      <a:lnTo>
                        <a:pt x="709" y="830"/>
                      </a:lnTo>
                      <a:lnTo>
                        <a:pt x="709" y="831"/>
                      </a:lnTo>
                      <a:lnTo>
                        <a:pt x="706" y="833"/>
                      </a:lnTo>
                      <a:lnTo>
                        <a:pt x="702" y="837"/>
                      </a:lnTo>
                      <a:lnTo>
                        <a:pt x="701" y="838"/>
                      </a:lnTo>
                      <a:lnTo>
                        <a:pt x="697" y="840"/>
                      </a:lnTo>
                      <a:lnTo>
                        <a:pt x="681" y="838"/>
                      </a:lnTo>
                      <a:lnTo>
                        <a:pt x="678" y="838"/>
                      </a:lnTo>
                      <a:lnTo>
                        <a:pt x="678" y="840"/>
                      </a:lnTo>
                      <a:lnTo>
                        <a:pt x="680" y="844"/>
                      </a:lnTo>
                      <a:lnTo>
                        <a:pt x="680" y="845"/>
                      </a:lnTo>
                      <a:lnTo>
                        <a:pt x="681" y="847"/>
                      </a:lnTo>
                      <a:lnTo>
                        <a:pt x="683" y="847"/>
                      </a:lnTo>
                      <a:lnTo>
                        <a:pt x="687" y="847"/>
                      </a:lnTo>
                      <a:lnTo>
                        <a:pt x="688" y="847"/>
                      </a:lnTo>
                      <a:lnTo>
                        <a:pt x="690" y="849"/>
                      </a:lnTo>
                      <a:lnTo>
                        <a:pt x="690" y="851"/>
                      </a:lnTo>
                      <a:lnTo>
                        <a:pt x="692" y="854"/>
                      </a:lnTo>
                      <a:lnTo>
                        <a:pt x="692" y="856"/>
                      </a:lnTo>
                      <a:lnTo>
                        <a:pt x="694" y="858"/>
                      </a:lnTo>
                      <a:lnTo>
                        <a:pt x="695" y="859"/>
                      </a:lnTo>
                      <a:lnTo>
                        <a:pt x="697" y="861"/>
                      </a:lnTo>
                      <a:lnTo>
                        <a:pt x="697" y="863"/>
                      </a:lnTo>
                      <a:lnTo>
                        <a:pt x="697" y="865"/>
                      </a:lnTo>
                      <a:lnTo>
                        <a:pt x="695" y="866"/>
                      </a:lnTo>
                      <a:lnTo>
                        <a:pt x="694" y="868"/>
                      </a:lnTo>
                      <a:lnTo>
                        <a:pt x="692" y="868"/>
                      </a:lnTo>
                      <a:lnTo>
                        <a:pt x="692" y="870"/>
                      </a:lnTo>
                      <a:lnTo>
                        <a:pt x="688" y="870"/>
                      </a:lnTo>
                      <a:lnTo>
                        <a:pt x="687" y="870"/>
                      </a:lnTo>
                      <a:lnTo>
                        <a:pt x="687" y="870"/>
                      </a:lnTo>
                      <a:lnTo>
                        <a:pt x="687" y="872"/>
                      </a:lnTo>
                      <a:lnTo>
                        <a:pt x="687" y="873"/>
                      </a:lnTo>
                      <a:lnTo>
                        <a:pt x="687" y="873"/>
                      </a:lnTo>
                      <a:lnTo>
                        <a:pt x="681" y="873"/>
                      </a:lnTo>
                      <a:lnTo>
                        <a:pt x="667" y="872"/>
                      </a:lnTo>
                      <a:lnTo>
                        <a:pt x="678" y="877"/>
                      </a:lnTo>
                      <a:lnTo>
                        <a:pt x="680" y="877"/>
                      </a:lnTo>
                      <a:lnTo>
                        <a:pt x="681" y="877"/>
                      </a:lnTo>
                      <a:lnTo>
                        <a:pt x="683" y="877"/>
                      </a:lnTo>
                      <a:lnTo>
                        <a:pt x="685" y="877"/>
                      </a:lnTo>
                      <a:lnTo>
                        <a:pt x="687" y="877"/>
                      </a:lnTo>
                      <a:lnTo>
                        <a:pt x="688" y="879"/>
                      </a:lnTo>
                      <a:lnTo>
                        <a:pt x="688" y="879"/>
                      </a:lnTo>
                      <a:lnTo>
                        <a:pt x="688" y="880"/>
                      </a:lnTo>
                      <a:lnTo>
                        <a:pt x="688" y="882"/>
                      </a:lnTo>
                      <a:lnTo>
                        <a:pt x="688" y="889"/>
                      </a:lnTo>
                      <a:lnTo>
                        <a:pt x="688" y="891"/>
                      </a:lnTo>
                      <a:lnTo>
                        <a:pt x="688" y="894"/>
                      </a:lnTo>
                      <a:lnTo>
                        <a:pt x="688" y="894"/>
                      </a:lnTo>
                      <a:lnTo>
                        <a:pt x="687" y="896"/>
                      </a:lnTo>
                      <a:lnTo>
                        <a:pt x="685" y="896"/>
                      </a:lnTo>
                      <a:lnTo>
                        <a:pt x="685" y="898"/>
                      </a:lnTo>
                      <a:lnTo>
                        <a:pt x="685" y="900"/>
                      </a:lnTo>
                      <a:lnTo>
                        <a:pt x="685" y="900"/>
                      </a:lnTo>
                      <a:lnTo>
                        <a:pt x="683" y="900"/>
                      </a:lnTo>
                      <a:lnTo>
                        <a:pt x="681" y="901"/>
                      </a:lnTo>
                      <a:lnTo>
                        <a:pt x="681" y="901"/>
                      </a:lnTo>
                      <a:lnTo>
                        <a:pt x="680" y="901"/>
                      </a:lnTo>
                      <a:lnTo>
                        <a:pt x="680" y="903"/>
                      </a:lnTo>
                      <a:lnTo>
                        <a:pt x="680" y="903"/>
                      </a:lnTo>
                      <a:lnTo>
                        <a:pt x="678" y="905"/>
                      </a:lnTo>
                      <a:lnTo>
                        <a:pt x="678" y="907"/>
                      </a:lnTo>
                      <a:lnTo>
                        <a:pt x="678" y="907"/>
                      </a:lnTo>
                      <a:lnTo>
                        <a:pt x="678" y="908"/>
                      </a:lnTo>
                      <a:lnTo>
                        <a:pt x="678" y="908"/>
                      </a:lnTo>
                      <a:lnTo>
                        <a:pt x="676" y="910"/>
                      </a:lnTo>
                      <a:lnTo>
                        <a:pt x="676" y="912"/>
                      </a:lnTo>
                      <a:lnTo>
                        <a:pt x="674" y="914"/>
                      </a:lnTo>
                      <a:lnTo>
                        <a:pt x="673" y="915"/>
                      </a:lnTo>
                      <a:lnTo>
                        <a:pt x="667" y="917"/>
                      </a:lnTo>
                      <a:lnTo>
                        <a:pt x="664" y="915"/>
                      </a:lnTo>
                      <a:lnTo>
                        <a:pt x="655" y="912"/>
                      </a:lnTo>
                      <a:lnTo>
                        <a:pt x="657" y="914"/>
                      </a:lnTo>
                      <a:lnTo>
                        <a:pt x="659" y="915"/>
                      </a:lnTo>
                      <a:lnTo>
                        <a:pt x="666" y="919"/>
                      </a:lnTo>
                      <a:lnTo>
                        <a:pt x="666" y="921"/>
                      </a:lnTo>
                      <a:lnTo>
                        <a:pt x="666" y="922"/>
                      </a:lnTo>
                      <a:lnTo>
                        <a:pt x="666" y="922"/>
                      </a:lnTo>
                      <a:lnTo>
                        <a:pt x="664" y="924"/>
                      </a:lnTo>
                      <a:lnTo>
                        <a:pt x="660" y="928"/>
                      </a:lnTo>
                      <a:lnTo>
                        <a:pt x="657" y="929"/>
                      </a:lnTo>
                      <a:lnTo>
                        <a:pt x="650" y="929"/>
                      </a:lnTo>
                      <a:lnTo>
                        <a:pt x="640" y="928"/>
                      </a:lnTo>
                      <a:lnTo>
                        <a:pt x="641" y="929"/>
                      </a:lnTo>
                      <a:lnTo>
                        <a:pt x="645" y="931"/>
                      </a:lnTo>
                      <a:lnTo>
                        <a:pt x="648" y="931"/>
                      </a:lnTo>
                      <a:lnTo>
                        <a:pt x="655" y="933"/>
                      </a:lnTo>
                      <a:lnTo>
                        <a:pt x="655" y="933"/>
                      </a:lnTo>
                      <a:lnTo>
                        <a:pt x="655" y="933"/>
                      </a:lnTo>
                      <a:lnTo>
                        <a:pt x="655" y="936"/>
                      </a:lnTo>
                      <a:lnTo>
                        <a:pt x="655" y="936"/>
                      </a:lnTo>
                      <a:lnTo>
                        <a:pt x="653" y="945"/>
                      </a:lnTo>
                      <a:lnTo>
                        <a:pt x="653" y="947"/>
                      </a:lnTo>
                      <a:lnTo>
                        <a:pt x="653" y="949"/>
                      </a:lnTo>
                      <a:lnTo>
                        <a:pt x="653" y="950"/>
                      </a:lnTo>
                      <a:lnTo>
                        <a:pt x="655" y="950"/>
                      </a:lnTo>
                      <a:lnTo>
                        <a:pt x="655" y="952"/>
                      </a:lnTo>
                      <a:lnTo>
                        <a:pt x="655" y="954"/>
                      </a:lnTo>
                      <a:lnTo>
                        <a:pt x="655" y="957"/>
                      </a:lnTo>
                      <a:lnTo>
                        <a:pt x="653" y="959"/>
                      </a:lnTo>
                      <a:lnTo>
                        <a:pt x="650" y="959"/>
                      </a:lnTo>
                      <a:lnTo>
                        <a:pt x="646" y="961"/>
                      </a:lnTo>
                      <a:lnTo>
                        <a:pt x="650" y="961"/>
                      </a:lnTo>
                      <a:lnTo>
                        <a:pt x="652" y="963"/>
                      </a:lnTo>
                      <a:lnTo>
                        <a:pt x="652" y="964"/>
                      </a:lnTo>
                      <a:lnTo>
                        <a:pt x="652" y="966"/>
                      </a:lnTo>
                      <a:lnTo>
                        <a:pt x="648" y="973"/>
                      </a:lnTo>
                      <a:lnTo>
                        <a:pt x="645" y="983"/>
                      </a:lnTo>
                      <a:lnTo>
                        <a:pt x="643" y="990"/>
                      </a:lnTo>
                      <a:lnTo>
                        <a:pt x="643" y="996"/>
                      </a:lnTo>
                      <a:lnTo>
                        <a:pt x="640" y="999"/>
                      </a:lnTo>
                      <a:lnTo>
                        <a:pt x="636" y="1003"/>
                      </a:lnTo>
                      <a:lnTo>
                        <a:pt x="634" y="1003"/>
                      </a:lnTo>
                      <a:lnTo>
                        <a:pt x="631" y="1003"/>
                      </a:lnTo>
                      <a:lnTo>
                        <a:pt x="624" y="1001"/>
                      </a:lnTo>
                      <a:lnTo>
                        <a:pt x="620" y="1001"/>
                      </a:lnTo>
                      <a:lnTo>
                        <a:pt x="619" y="1001"/>
                      </a:lnTo>
                      <a:lnTo>
                        <a:pt x="619" y="1001"/>
                      </a:lnTo>
                      <a:lnTo>
                        <a:pt x="622" y="1003"/>
                      </a:lnTo>
                      <a:lnTo>
                        <a:pt x="629" y="1004"/>
                      </a:lnTo>
                      <a:lnTo>
                        <a:pt x="633" y="1006"/>
                      </a:lnTo>
                      <a:lnTo>
                        <a:pt x="634" y="1010"/>
                      </a:lnTo>
                      <a:lnTo>
                        <a:pt x="634" y="1013"/>
                      </a:lnTo>
                      <a:lnTo>
                        <a:pt x="634" y="1015"/>
                      </a:lnTo>
                      <a:lnTo>
                        <a:pt x="634" y="1018"/>
                      </a:lnTo>
                      <a:lnTo>
                        <a:pt x="633" y="1020"/>
                      </a:lnTo>
                      <a:lnTo>
                        <a:pt x="629" y="1022"/>
                      </a:lnTo>
                      <a:lnTo>
                        <a:pt x="626" y="1022"/>
                      </a:lnTo>
                      <a:lnTo>
                        <a:pt x="617" y="1020"/>
                      </a:lnTo>
                      <a:lnTo>
                        <a:pt x="619" y="1020"/>
                      </a:lnTo>
                      <a:lnTo>
                        <a:pt x="624" y="1025"/>
                      </a:lnTo>
                      <a:lnTo>
                        <a:pt x="619" y="1025"/>
                      </a:lnTo>
                      <a:lnTo>
                        <a:pt x="617" y="1025"/>
                      </a:lnTo>
                      <a:lnTo>
                        <a:pt x="613" y="1025"/>
                      </a:lnTo>
                      <a:lnTo>
                        <a:pt x="613" y="1025"/>
                      </a:lnTo>
                      <a:lnTo>
                        <a:pt x="615" y="1024"/>
                      </a:lnTo>
                      <a:lnTo>
                        <a:pt x="615" y="1022"/>
                      </a:lnTo>
                      <a:lnTo>
                        <a:pt x="610" y="1024"/>
                      </a:lnTo>
                      <a:lnTo>
                        <a:pt x="608" y="1022"/>
                      </a:lnTo>
                      <a:lnTo>
                        <a:pt x="608" y="1020"/>
                      </a:lnTo>
                      <a:lnTo>
                        <a:pt x="612" y="1011"/>
                      </a:lnTo>
                      <a:lnTo>
                        <a:pt x="610" y="1013"/>
                      </a:lnTo>
                      <a:lnTo>
                        <a:pt x="606" y="1017"/>
                      </a:lnTo>
                      <a:lnTo>
                        <a:pt x="603" y="1020"/>
                      </a:lnTo>
                      <a:lnTo>
                        <a:pt x="601" y="1020"/>
                      </a:lnTo>
                      <a:lnTo>
                        <a:pt x="598" y="1018"/>
                      </a:lnTo>
                      <a:lnTo>
                        <a:pt x="592" y="1017"/>
                      </a:lnTo>
                      <a:lnTo>
                        <a:pt x="591" y="1015"/>
                      </a:lnTo>
                      <a:lnTo>
                        <a:pt x="589" y="1013"/>
                      </a:lnTo>
                      <a:lnTo>
                        <a:pt x="587" y="1013"/>
                      </a:lnTo>
                      <a:lnTo>
                        <a:pt x="587" y="1010"/>
                      </a:lnTo>
                      <a:lnTo>
                        <a:pt x="589" y="1008"/>
                      </a:lnTo>
                      <a:lnTo>
                        <a:pt x="594" y="1004"/>
                      </a:lnTo>
                      <a:lnTo>
                        <a:pt x="598" y="1003"/>
                      </a:lnTo>
                      <a:lnTo>
                        <a:pt x="599" y="997"/>
                      </a:lnTo>
                      <a:lnTo>
                        <a:pt x="594" y="1003"/>
                      </a:lnTo>
                      <a:lnTo>
                        <a:pt x="591" y="1004"/>
                      </a:lnTo>
                      <a:lnTo>
                        <a:pt x="587" y="1004"/>
                      </a:lnTo>
                      <a:lnTo>
                        <a:pt x="585" y="1004"/>
                      </a:lnTo>
                      <a:lnTo>
                        <a:pt x="582" y="1003"/>
                      </a:lnTo>
                      <a:lnTo>
                        <a:pt x="575" y="1001"/>
                      </a:lnTo>
                      <a:lnTo>
                        <a:pt x="573" y="999"/>
                      </a:lnTo>
                      <a:lnTo>
                        <a:pt x="571" y="997"/>
                      </a:lnTo>
                      <a:lnTo>
                        <a:pt x="571" y="996"/>
                      </a:lnTo>
                      <a:lnTo>
                        <a:pt x="571" y="992"/>
                      </a:lnTo>
                      <a:lnTo>
                        <a:pt x="573" y="989"/>
                      </a:lnTo>
                      <a:lnTo>
                        <a:pt x="575" y="985"/>
                      </a:lnTo>
                      <a:lnTo>
                        <a:pt x="577" y="982"/>
                      </a:lnTo>
                      <a:lnTo>
                        <a:pt x="577" y="980"/>
                      </a:lnTo>
                      <a:lnTo>
                        <a:pt x="575" y="978"/>
                      </a:lnTo>
                      <a:lnTo>
                        <a:pt x="575" y="980"/>
                      </a:lnTo>
                      <a:lnTo>
                        <a:pt x="571" y="983"/>
                      </a:lnTo>
                      <a:lnTo>
                        <a:pt x="568" y="985"/>
                      </a:lnTo>
                      <a:lnTo>
                        <a:pt x="561" y="987"/>
                      </a:lnTo>
                      <a:lnTo>
                        <a:pt x="557" y="989"/>
                      </a:lnTo>
                      <a:lnTo>
                        <a:pt x="552" y="992"/>
                      </a:lnTo>
                      <a:lnTo>
                        <a:pt x="550" y="994"/>
                      </a:lnTo>
                      <a:lnTo>
                        <a:pt x="547" y="994"/>
                      </a:lnTo>
                      <a:lnTo>
                        <a:pt x="545" y="992"/>
                      </a:lnTo>
                      <a:lnTo>
                        <a:pt x="542" y="992"/>
                      </a:lnTo>
                      <a:lnTo>
                        <a:pt x="542" y="992"/>
                      </a:lnTo>
                      <a:lnTo>
                        <a:pt x="540" y="992"/>
                      </a:lnTo>
                      <a:lnTo>
                        <a:pt x="535" y="992"/>
                      </a:lnTo>
                      <a:lnTo>
                        <a:pt x="535" y="992"/>
                      </a:lnTo>
                      <a:lnTo>
                        <a:pt x="536" y="994"/>
                      </a:lnTo>
                      <a:lnTo>
                        <a:pt x="536" y="996"/>
                      </a:lnTo>
                      <a:lnTo>
                        <a:pt x="535" y="996"/>
                      </a:lnTo>
                      <a:lnTo>
                        <a:pt x="529" y="996"/>
                      </a:lnTo>
                      <a:lnTo>
                        <a:pt x="528" y="994"/>
                      </a:lnTo>
                      <a:lnTo>
                        <a:pt x="526" y="992"/>
                      </a:lnTo>
                      <a:lnTo>
                        <a:pt x="526" y="990"/>
                      </a:lnTo>
                      <a:lnTo>
                        <a:pt x="529" y="989"/>
                      </a:lnTo>
                      <a:lnTo>
                        <a:pt x="535" y="985"/>
                      </a:lnTo>
                      <a:lnTo>
                        <a:pt x="533" y="985"/>
                      </a:lnTo>
                      <a:lnTo>
                        <a:pt x="529" y="985"/>
                      </a:lnTo>
                      <a:lnTo>
                        <a:pt x="526" y="985"/>
                      </a:lnTo>
                      <a:lnTo>
                        <a:pt x="523" y="985"/>
                      </a:lnTo>
                      <a:lnTo>
                        <a:pt x="523" y="982"/>
                      </a:lnTo>
                      <a:lnTo>
                        <a:pt x="521" y="978"/>
                      </a:lnTo>
                      <a:lnTo>
                        <a:pt x="514" y="976"/>
                      </a:lnTo>
                      <a:lnTo>
                        <a:pt x="512" y="976"/>
                      </a:lnTo>
                      <a:lnTo>
                        <a:pt x="510" y="975"/>
                      </a:lnTo>
                      <a:lnTo>
                        <a:pt x="510" y="973"/>
                      </a:lnTo>
                      <a:lnTo>
                        <a:pt x="510" y="971"/>
                      </a:lnTo>
                      <a:lnTo>
                        <a:pt x="509" y="970"/>
                      </a:lnTo>
                      <a:lnTo>
                        <a:pt x="507" y="968"/>
                      </a:lnTo>
                      <a:lnTo>
                        <a:pt x="505" y="968"/>
                      </a:lnTo>
                      <a:lnTo>
                        <a:pt x="503" y="966"/>
                      </a:lnTo>
                      <a:lnTo>
                        <a:pt x="505" y="963"/>
                      </a:lnTo>
                      <a:lnTo>
                        <a:pt x="503" y="961"/>
                      </a:lnTo>
                      <a:lnTo>
                        <a:pt x="502" y="957"/>
                      </a:lnTo>
                      <a:lnTo>
                        <a:pt x="502" y="956"/>
                      </a:lnTo>
                      <a:lnTo>
                        <a:pt x="503" y="952"/>
                      </a:lnTo>
                      <a:lnTo>
                        <a:pt x="507" y="950"/>
                      </a:lnTo>
                      <a:lnTo>
                        <a:pt x="510" y="949"/>
                      </a:lnTo>
                      <a:lnTo>
                        <a:pt x="514" y="949"/>
                      </a:lnTo>
                      <a:lnTo>
                        <a:pt x="509" y="949"/>
                      </a:lnTo>
                      <a:lnTo>
                        <a:pt x="507" y="949"/>
                      </a:lnTo>
                      <a:lnTo>
                        <a:pt x="500" y="950"/>
                      </a:lnTo>
                      <a:lnTo>
                        <a:pt x="496" y="950"/>
                      </a:lnTo>
                      <a:lnTo>
                        <a:pt x="495" y="949"/>
                      </a:lnTo>
                      <a:lnTo>
                        <a:pt x="495" y="947"/>
                      </a:lnTo>
                      <a:lnTo>
                        <a:pt x="498" y="943"/>
                      </a:lnTo>
                      <a:lnTo>
                        <a:pt x="481" y="936"/>
                      </a:lnTo>
                      <a:lnTo>
                        <a:pt x="482" y="933"/>
                      </a:lnTo>
                      <a:lnTo>
                        <a:pt x="482" y="928"/>
                      </a:lnTo>
                      <a:lnTo>
                        <a:pt x="482" y="926"/>
                      </a:lnTo>
                      <a:lnTo>
                        <a:pt x="484" y="922"/>
                      </a:lnTo>
                      <a:lnTo>
                        <a:pt x="488" y="921"/>
                      </a:lnTo>
                      <a:lnTo>
                        <a:pt x="493" y="917"/>
                      </a:lnTo>
                      <a:lnTo>
                        <a:pt x="482" y="922"/>
                      </a:lnTo>
                      <a:lnTo>
                        <a:pt x="479" y="924"/>
                      </a:lnTo>
                      <a:lnTo>
                        <a:pt x="479" y="922"/>
                      </a:lnTo>
                      <a:lnTo>
                        <a:pt x="475" y="919"/>
                      </a:lnTo>
                      <a:lnTo>
                        <a:pt x="470" y="914"/>
                      </a:lnTo>
                      <a:lnTo>
                        <a:pt x="468" y="914"/>
                      </a:lnTo>
                      <a:lnTo>
                        <a:pt x="456" y="894"/>
                      </a:lnTo>
                      <a:lnTo>
                        <a:pt x="456" y="893"/>
                      </a:lnTo>
                      <a:lnTo>
                        <a:pt x="454" y="891"/>
                      </a:lnTo>
                      <a:lnTo>
                        <a:pt x="456" y="889"/>
                      </a:lnTo>
                      <a:lnTo>
                        <a:pt x="456" y="887"/>
                      </a:lnTo>
                      <a:lnTo>
                        <a:pt x="456" y="886"/>
                      </a:lnTo>
                      <a:lnTo>
                        <a:pt x="454" y="882"/>
                      </a:lnTo>
                      <a:lnTo>
                        <a:pt x="481" y="877"/>
                      </a:lnTo>
                      <a:lnTo>
                        <a:pt x="482" y="875"/>
                      </a:lnTo>
                      <a:lnTo>
                        <a:pt x="481" y="875"/>
                      </a:lnTo>
                      <a:lnTo>
                        <a:pt x="479" y="875"/>
                      </a:lnTo>
                      <a:lnTo>
                        <a:pt x="477" y="873"/>
                      </a:lnTo>
                      <a:lnTo>
                        <a:pt x="479" y="870"/>
                      </a:lnTo>
                      <a:lnTo>
                        <a:pt x="468" y="875"/>
                      </a:lnTo>
                      <a:lnTo>
                        <a:pt x="460" y="879"/>
                      </a:lnTo>
                      <a:lnTo>
                        <a:pt x="456" y="879"/>
                      </a:lnTo>
                      <a:lnTo>
                        <a:pt x="454" y="879"/>
                      </a:lnTo>
                      <a:lnTo>
                        <a:pt x="453" y="875"/>
                      </a:lnTo>
                      <a:lnTo>
                        <a:pt x="453" y="872"/>
                      </a:lnTo>
                      <a:lnTo>
                        <a:pt x="458" y="865"/>
                      </a:lnTo>
                      <a:lnTo>
                        <a:pt x="460" y="863"/>
                      </a:lnTo>
                      <a:lnTo>
                        <a:pt x="463" y="861"/>
                      </a:lnTo>
                      <a:lnTo>
                        <a:pt x="467" y="861"/>
                      </a:lnTo>
                      <a:lnTo>
                        <a:pt x="470" y="861"/>
                      </a:lnTo>
                      <a:lnTo>
                        <a:pt x="470" y="858"/>
                      </a:lnTo>
                      <a:lnTo>
                        <a:pt x="472" y="856"/>
                      </a:lnTo>
                      <a:lnTo>
                        <a:pt x="475" y="856"/>
                      </a:lnTo>
                      <a:lnTo>
                        <a:pt x="479" y="856"/>
                      </a:lnTo>
                      <a:lnTo>
                        <a:pt x="481" y="858"/>
                      </a:lnTo>
                      <a:lnTo>
                        <a:pt x="484" y="863"/>
                      </a:lnTo>
                      <a:lnTo>
                        <a:pt x="488" y="865"/>
                      </a:lnTo>
                      <a:lnTo>
                        <a:pt x="488" y="863"/>
                      </a:lnTo>
                      <a:lnTo>
                        <a:pt x="488" y="859"/>
                      </a:lnTo>
                      <a:lnTo>
                        <a:pt x="486" y="856"/>
                      </a:lnTo>
                      <a:lnTo>
                        <a:pt x="484" y="854"/>
                      </a:lnTo>
                      <a:lnTo>
                        <a:pt x="482" y="852"/>
                      </a:lnTo>
                      <a:lnTo>
                        <a:pt x="481" y="852"/>
                      </a:lnTo>
                      <a:lnTo>
                        <a:pt x="479" y="852"/>
                      </a:lnTo>
                      <a:lnTo>
                        <a:pt x="475" y="851"/>
                      </a:lnTo>
                      <a:lnTo>
                        <a:pt x="474" y="847"/>
                      </a:lnTo>
                      <a:lnTo>
                        <a:pt x="470" y="837"/>
                      </a:lnTo>
                      <a:lnTo>
                        <a:pt x="467" y="835"/>
                      </a:lnTo>
                      <a:lnTo>
                        <a:pt x="470" y="845"/>
                      </a:lnTo>
                      <a:lnTo>
                        <a:pt x="472" y="849"/>
                      </a:lnTo>
                      <a:lnTo>
                        <a:pt x="472" y="852"/>
                      </a:lnTo>
                      <a:lnTo>
                        <a:pt x="468" y="856"/>
                      </a:lnTo>
                      <a:lnTo>
                        <a:pt x="467" y="858"/>
                      </a:lnTo>
                      <a:lnTo>
                        <a:pt x="461" y="858"/>
                      </a:lnTo>
                      <a:lnTo>
                        <a:pt x="463" y="854"/>
                      </a:lnTo>
                      <a:lnTo>
                        <a:pt x="463" y="852"/>
                      </a:lnTo>
                      <a:lnTo>
                        <a:pt x="460" y="856"/>
                      </a:lnTo>
                      <a:lnTo>
                        <a:pt x="451" y="872"/>
                      </a:lnTo>
                      <a:lnTo>
                        <a:pt x="447" y="873"/>
                      </a:lnTo>
                      <a:lnTo>
                        <a:pt x="444" y="872"/>
                      </a:lnTo>
                      <a:lnTo>
                        <a:pt x="444" y="868"/>
                      </a:lnTo>
                      <a:lnTo>
                        <a:pt x="442" y="856"/>
                      </a:lnTo>
                      <a:lnTo>
                        <a:pt x="440" y="840"/>
                      </a:lnTo>
                      <a:lnTo>
                        <a:pt x="440" y="838"/>
                      </a:lnTo>
                      <a:lnTo>
                        <a:pt x="439" y="837"/>
                      </a:lnTo>
                      <a:lnTo>
                        <a:pt x="439" y="835"/>
                      </a:lnTo>
                      <a:lnTo>
                        <a:pt x="437" y="835"/>
                      </a:lnTo>
                      <a:lnTo>
                        <a:pt x="435" y="833"/>
                      </a:lnTo>
                      <a:lnTo>
                        <a:pt x="433" y="830"/>
                      </a:lnTo>
                      <a:lnTo>
                        <a:pt x="435" y="828"/>
                      </a:lnTo>
                      <a:lnTo>
                        <a:pt x="437" y="826"/>
                      </a:lnTo>
                      <a:lnTo>
                        <a:pt x="440" y="824"/>
                      </a:lnTo>
                      <a:lnTo>
                        <a:pt x="442" y="823"/>
                      </a:lnTo>
                      <a:lnTo>
                        <a:pt x="451" y="814"/>
                      </a:lnTo>
                      <a:lnTo>
                        <a:pt x="454" y="812"/>
                      </a:lnTo>
                      <a:lnTo>
                        <a:pt x="458" y="811"/>
                      </a:lnTo>
                      <a:lnTo>
                        <a:pt x="461" y="809"/>
                      </a:lnTo>
                      <a:lnTo>
                        <a:pt x="465" y="809"/>
                      </a:lnTo>
                      <a:lnTo>
                        <a:pt x="463" y="807"/>
                      </a:lnTo>
                      <a:lnTo>
                        <a:pt x="458" y="809"/>
                      </a:lnTo>
                      <a:lnTo>
                        <a:pt x="453" y="811"/>
                      </a:lnTo>
                      <a:lnTo>
                        <a:pt x="449" y="812"/>
                      </a:lnTo>
                      <a:lnTo>
                        <a:pt x="444" y="819"/>
                      </a:lnTo>
                      <a:lnTo>
                        <a:pt x="440" y="821"/>
                      </a:lnTo>
                      <a:lnTo>
                        <a:pt x="435" y="823"/>
                      </a:lnTo>
                      <a:lnTo>
                        <a:pt x="433" y="821"/>
                      </a:lnTo>
                      <a:lnTo>
                        <a:pt x="432" y="819"/>
                      </a:lnTo>
                      <a:lnTo>
                        <a:pt x="430" y="817"/>
                      </a:lnTo>
                      <a:lnTo>
                        <a:pt x="428" y="817"/>
                      </a:lnTo>
                      <a:lnTo>
                        <a:pt x="426" y="817"/>
                      </a:lnTo>
                      <a:lnTo>
                        <a:pt x="425" y="817"/>
                      </a:lnTo>
                      <a:lnTo>
                        <a:pt x="423" y="817"/>
                      </a:lnTo>
                      <a:lnTo>
                        <a:pt x="419" y="817"/>
                      </a:lnTo>
                      <a:lnTo>
                        <a:pt x="418" y="814"/>
                      </a:lnTo>
                      <a:lnTo>
                        <a:pt x="419" y="809"/>
                      </a:lnTo>
                      <a:lnTo>
                        <a:pt x="421" y="798"/>
                      </a:lnTo>
                      <a:lnTo>
                        <a:pt x="419" y="798"/>
                      </a:lnTo>
                      <a:lnTo>
                        <a:pt x="418" y="798"/>
                      </a:lnTo>
                      <a:lnTo>
                        <a:pt x="418" y="798"/>
                      </a:lnTo>
                      <a:lnTo>
                        <a:pt x="416" y="797"/>
                      </a:lnTo>
                      <a:lnTo>
                        <a:pt x="416" y="795"/>
                      </a:lnTo>
                      <a:lnTo>
                        <a:pt x="418" y="793"/>
                      </a:lnTo>
                      <a:lnTo>
                        <a:pt x="421" y="791"/>
                      </a:lnTo>
                      <a:lnTo>
                        <a:pt x="435" y="781"/>
                      </a:lnTo>
                      <a:lnTo>
                        <a:pt x="442" y="776"/>
                      </a:lnTo>
                      <a:lnTo>
                        <a:pt x="444" y="774"/>
                      </a:lnTo>
                      <a:lnTo>
                        <a:pt x="446" y="772"/>
                      </a:lnTo>
                      <a:lnTo>
                        <a:pt x="447" y="770"/>
                      </a:lnTo>
                      <a:lnTo>
                        <a:pt x="451" y="767"/>
                      </a:lnTo>
                      <a:lnTo>
                        <a:pt x="456" y="765"/>
                      </a:lnTo>
                      <a:lnTo>
                        <a:pt x="460" y="763"/>
                      </a:lnTo>
                      <a:lnTo>
                        <a:pt x="461" y="760"/>
                      </a:lnTo>
                      <a:lnTo>
                        <a:pt x="456" y="762"/>
                      </a:lnTo>
                      <a:lnTo>
                        <a:pt x="449" y="767"/>
                      </a:lnTo>
                      <a:lnTo>
                        <a:pt x="426" y="784"/>
                      </a:lnTo>
                      <a:lnTo>
                        <a:pt x="421" y="788"/>
                      </a:lnTo>
                      <a:lnTo>
                        <a:pt x="414" y="790"/>
                      </a:lnTo>
                      <a:lnTo>
                        <a:pt x="412" y="790"/>
                      </a:lnTo>
                      <a:lnTo>
                        <a:pt x="411" y="788"/>
                      </a:lnTo>
                      <a:lnTo>
                        <a:pt x="411" y="786"/>
                      </a:lnTo>
                      <a:lnTo>
                        <a:pt x="411" y="779"/>
                      </a:lnTo>
                      <a:lnTo>
                        <a:pt x="411" y="776"/>
                      </a:lnTo>
                      <a:lnTo>
                        <a:pt x="412" y="774"/>
                      </a:lnTo>
                      <a:lnTo>
                        <a:pt x="414" y="770"/>
                      </a:lnTo>
                      <a:lnTo>
                        <a:pt x="416" y="769"/>
                      </a:lnTo>
                      <a:lnTo>
                        <a:pt x="419" y="767"/>
                      </a:lnTo>
                      <a:lnTo>
                        <a:pt x="423" y="763"/>
                      </a:lnTo>
                      <a:lnTo>
                        <a:pt x="423" y="762"/>
                      </a:lnTo>
                      <a:lnTo>
                        <a:pt x="426" y="762"/>
                      </a:lnTo>
                      <a:lnTo>
                        <a:pt x="433" y="762"/>
                      </a:lnTo>
                      <a:lnTo>
                        <a:pt x="437" y="760"/>
                      </a:lnTo>
                      <a:lnTo>
                        <a:pt x="430" y="758"/>
                      </a:lnTo>
                      <a:lnTo>
                        <a:pt x="416" y="758"/>
                      </a:lnTo>
                      <a:lnTo>
                        <a:pt x="409" y="756"/>
                      </a:lnTo>
                      <a:lnTo>
                        <a:pt x="407" y="753"/>
                      </a:lnTo>
                      <a:lnTo>
                        <a:pt x="406" y="749"/>
                      </a:lnTo>
                      <a:lnTo>
                        <a:pt x="406" y="746"/>
                      </a:lnTo>
                      <a:lnTo>
                        <a:pt x="407" y="739"/>
                      </a:lnTo>
                      <a:lnTo>
                        <a:pt x="409" y="739"/>
                      </a:lnTo>
                      <a:lnTo>
                        <a:pt x="411" y="737"/>
                      </a:lnTo>
                      <a:lnTo>
                        <a:pt x="412" y="737"/>
                      </a:lnTo>
                      <a:lnTo>
                        <a:pt x="416" y="734"/>
                      </a:lnTo>
                      <a:lnTo>
                        <a:pt x="426" y="728"/>
                      </a:lnTo>
                      <a:lnTo>
                        <a:pt x="430" y="727"/>
                      </a:lnTo>
                      <a:lnTo>
                        <a:pt x="435" y="727"/>
                      </a:lnTo>
                      <a:lnTo>
                        <a:pt x="439" y="727"/>
                      </a:lnTo>
                      <a:lnTo>
                        <a:pt x="446" y="730"/>
                      </a:lnTo>
                      <a:lnTo>
                        <a:pt x="449" y="730"/>
                      </a:lnTo>
                      <a:lnTo>
                        <a:pt x="456" y="730"/>
                      </a:lnTo>
                      <a:lnTo>
                        <a:pt x="461" y="730"/>
                      </a:lnTo>
                      <a:lnTo>
                        <a:pt x="465" y="732"/>
                      </a:lnTo>
                      <a:lnTo>
                        <a:pt x="468" y="734"/>
                      </a:lnTo>
                      <a:lnTo>
                        <a:pt x="472" y="735"/>
                      </a:lnTo>
                      <a:lnTo>
                        <a:pt x="475" y="735"/>
                      </a:lnTo>
                      <a:lnTo>
                        <a:pt x="472" y="734"/>
                      </a:lnTo>
                      <a:lnTo>
                        <a:pt x="467" y="732"/>
                      </a:lnTo>
                      <a:lnTo>
                        <a:pt x="465" y="730"/>
                      </a:lnTo>
                      <a:lnTo>
                        <a:pt x="463" y="728"/>
                      </a:lnTo>
                      <a:lnTo>
                        <a:pt x="465" y="727"/>
                      </a:lnTo>
                      <a:lnTo>
                        <a:pt x="467" y="727"/>
                      </a:lnTo>
                      <a:lnTo>
                        <a:pt x="468" y="727"/>
                      </a:lnTo>
                      <a:lnTo>
                        <a:pt x="465" y="725"/>
                      </a:lnTo>
                      <a:lnTo>
                        <a:pt x="461" y="725"/>
                      </a:lnTo>
                      <a:lnTo>
                        <a:pt x="456" y="727"/>
                      </a:lnTo>
                      <a:lnTo>
                        <a:pt x="453" y="727"/>
                      </a:lnTo>
                      <a:lnTo>
                        <a:pt x="447" y="727"/>
                      </a:lnTo>
                      <a:lnTo>
                        <a:pt x="440" y="725"/>
                      </a:lnTo>
                      <a:lnTo>
                        <a:pt x="437" y="725"/>
                      </a:lnTo>
                      <a:lnTo>
                        <a:pt x="433" y="725"/>
                      </a:lnTo>
                      <a:lnTo>
                        <a:pt x="430" y="725"/>
                      </a:lnTo>
                      <a:lnTo>
                        <a:pt x="426" y="727"/>
                      </a:lnTo>
                      <a:lnTo>
                        <a:pt x="423" y="728"/>
                      </a:lnTo>
                      <a:lnTo>
                        <a:pt x="416" y="732"/>
                      </a:lnTo>
                      <a:lnTo>
                        <a:pt x="412" y="734"/>
                      </a:lnTo>
                      <a:lnTo>
                        <a:pt x="407" y="734"/>
                      </a:lnTo>
                      <a:lnTo>
                        <a:pt x="409" y="732"/>
                      </a:lnTo>
                      <a:lnTo>
                        <a:pt x="411" y="728"/>
                      </a:lnTo>
                      <a:lnTo>
                        <a:pt x="411" y="727"/>
                      </a:lnTo>
                      <a:lnTo>
                        <a:pt x="412" y="725"/>
                      </a:lnTo>
                      <a:lnTo>
                        <a:pt x="416" y="720"/>
                      </a:lnTo>
                      <a:lnTo>
                        <a:pt x="419" y="713"/>
                      </a:lnTo>
                      <a:lnTo>
                        <a:pt x="423" y="711"/>
                      </a:lnTo>
                      <a:lnTo>
                        <a:pt x="426" y="711"/>
                      </a:lnTo>
                      <a:lnTo>
                        <a:pt x="442" y="716"/>
                      </a:lnTo>
                      <a:lnTo>
                        <a:pt x="451" y="716"/>
                      </a:lnTo>
                      <a:lnTo>
                        <a:pt x="458" y="713"/>
                      </a:lnTo>
                      <a:lnTo>
                        <a:pt x="460" y="711"/>
                      </a:lnTo>
                      <a:lnTo>
                        <a:pt x="461" y="709"/>
                      </a:lnTo>
                      <a:lnTo>
                        <a:pt x="463" y="706"/>
                      </a:lnTo>
                      <a:lnTo>
                        <a:pt x="460" y="704"/>
                      </a:lnTo>
                      <a:lnTo>
                        <a:pt x="458" y="704"/>
                      </a:lnTo>
                      <a:lnTo>
                        <a:pt x="456" y="706"/>
                      </a:lnTo>
                      <a:lnTo>
                        <a:pt x="456" y="707"/>
                      </a:lnTo>
                      <a:lnTo>
                        <a:pt x="454" y="707"/>
                      </a:lnTo>
                      <a:lnTo>
                        <a:pt x="453" y="709"/>
                      </a:lnTo>
                      <a:lnTo>
                        <a:pt x="451" y="709"/>
                      </a:lnTo>
                      <a:lnTo>
                        <a:pt x="449" y="709"/>
                      </a:lnTo>
                      <a:lnTo>
                        <a:pt x="444" y="711"/>
                      </a:lnTo>
                      <a:lnTo>
                        <a:pt x="439" y="711"/>
                      </a:lnTo>
                      <a:lnTo>
                        <a:pt x="435" y="711"/>
                      </a:lnTo>
                      <a:lnTo>
                        <a:pt x="430" y="709"/>
                      </a:lnTo>
                      <a:lnTo>
                        <a:pt x="426" y="709"/>
                      </a:lnTo>
                      <a:lnTo>
                        <a:pt x="425" y="707"/>
                      </a:lnTo>
                      <a:lnTo>
                        <a:pt x="421" y="707"/>
                      </a:lnTo>
                      <a:lnTo>
                        <a:pt x="418" y="709"/>
                      </a:lnTo>
                      <a:lnTo>
                        <a:pt x="416" y="709"/>
                      </a:lnTo>
                      <a:lnTo>
                        <a:pt x="418" y="706"/>
                      </a:lnTo>
                      <a:lnTo>
                        <a:pt x="419" y="702"/>
                      </a:lnTo>
                      <a:lnTo>
                        <a:pt x="423" y="699"/>
                      </a:lnTo>
                      <a:lnTo>
                        <a:pt x="426" y="697"/>
                      </a:lnTo>
                      <a:lnTo>
                        <a:pt x="430" y="695"/>
                      </a:lnTo>
                      <a:lnTo>
                        <a:pt x="435" y="695"/>
                      </a:lnTo>
                      <a:lnTo>
                        <a:pt x="439" y="697"/>
                      </a:lnTo>
                      <a:lnTo>
                        <a:pt x="451" y="699"/>
                      </a:lnTo>
                      <a:lnTo>
                        <a:pt x="460" y="700"/>
                      </a:lnTo>
                      <a:lnTo>
                        <a:pt x="467" y="699"/>
                      </a:lnTo>
                      <a:lnTo>
                        <a:pt x="470" y="692"/>
                      </a:lnTo>
                      <a:lnTo>
                        <a:pt x="467" y="693"/>
                      </a:lnTo>
                      <a:lnTo>
                        <a:pt x="463" y="695"/>
                      </a:lnTo>
                      <a:lnTo>
                        <a:pt x="461" y="695"/>
                      </a:lnTo>
                      <a:lnTo>
                        <a:pt x="463" y="688"/>
                      </a:lnTo>
                      <a:lnTo>
                        <a:pt x="465" y="685"/>
                      </a:lnTo>
                      <a:lnTo>
                        <a:pt x="467" y="683"/>
                      </a:lnTo>
                      <a:lnTo>
                        <a:pt x="470" y="683"/>
                      </a:lnTo>
                      <a:lnTo>
                        <a:pt x="475" y="683"/>
                      </a:lnTo>
                      <a:lnTo>
                        <a:pt x="479" y="683"/>
                      </a:lnTo>
                      <a:lnTo>
                        <a:pt x="482" y="681"/>
                      </a:lnTo>
                      <a:lnTo>
                        <a:pt x="479" y="681"/>
                      </a:lnTo>
                      <a:lnTo>
                        <a:pt x="475" y="679"/>
                      </a:lnTo>
                      <a:lnTo>
                        <a:pt x="474" y="679"/>
                      </a:lnTo>
                      <a:lnTo>
                        <a:pt x="467" y="681"/>
                      </a:lnTo>
                      <a:lnTo>
                        <a:pt x="465" y="681"/>
                      </a:lnTo>
                      <a:lnTo>
                        <a:pt x="465" y="678"/>
                      </a:lnTo>
                      <a:lnTo>
                        <a:pt x="470" y="671"/>
                      </a:lnTo>
                      <a:lnTo>
                        <a:pt x="472" y="669"/>
                      </a:lnTo>
                      <a:lnTo>
                        <a:pt x="472" y="667"/>
                      </a:lnTo>
                      <a:lnTo>
                        <a:pt x="474" y="665"/>
                      </a:lnTo>
                      <a:lnTo>
                        <a:pt x="479" y="664"/>
                      </a:lnTo>
                      <a:lnTo>
                        <a:pt x="481" y="664"/>
                      </a:lnTo>
                      <a:lnTo>
                        <a:pt x="479" y="662"/>
                      </a:lnTo>
                      <a:lnTo>
                        <a:pt x="479" y="660"/>
                      </a:lnTo>
                      <a:lnTo>
                        <a:pt x="479" y="658"/>
                      </a:lnTo>
                      <a:lnTo>
                        <a:pt x="479" y="657"/>
                      </a:lnTo>
                      <a:lnTo>
                        <a:pt x="479" y="657"/>
                      </a:lnTo>
                      <a:lnTo>
                        <a:pt x="482" y="655"/>
                      </a:lnTo>
                      <a:lnTo>
                        <a:pt x="479" y="653"/>
                      </a:lnTo>
                      <a:lnTo>
                        <a:pt x="477" y="655"/>
                      </a:lnTo>
                      <a:lnTo>
                        <a:pt x="475" y="655"/>
                      </a:lnTo>
                      <a:lnTo>
                        <a:pt x="474" y="655"/>
                      </a:lnTo>
                      <a:lnTo>
                        <a:pt x="470" y="655"/>
                      </a:lnTo>
                      <a:lnTo>
                        <a:pt x="467" y="653"/>
                      </a:lnTo>
                      <a:lnTo>
                        <a:pt x="463" y="653"/>
                      </a:lnTo>
                      <a:lnTo>
                        <a:pt x="461" y="653"/>
                      </a:lnTo>
                      <a:lnTo>
                        <a:pt x="458" y="655"/>
                      </a:lnTo>
                      <a:lnTo>
                        <a:pt x="454" y="655"/>
                      </a:lnTo>
                      <a:lnTo>
                        <a:pt x="453" y="655"/>
                      </a:lnTo>
                      <a:lnTo>
                        <a:pt x="444" y="653"/>
                      </a:lnTo>
                      <a:lnTo>
                        <a:pt x="439" y="651"/>
                      </a:lnTo>
                      <a:lnTo>
                        <a:pt x="428" y="646"/>
                      </a:lnTo>
                      <a:lnTo>
                        <a:pt x="423" y="643"/>
                      </a:lnTo>
                      <a:lnTo>
                        <a:pt x="418" y="643"/>
                      </a:lnTo>
                      <a:lnTo>
                        <a:pt x="407" y="639"/>
                      </a:lnTo>
                      <a:lnTo>
                        <a:pt x="404" y="639"/>
                      </a:lnTo>
                      <a:lnTo>
                        <a:pt x="400" y="638"/>
                      </a:lnTo>
                      <a:lnTo>
                        <a:pt x="397" y="634"/>
                      </a:lnTo>
                      <a:lnTo>
                        <a:pt x="393" y="632"/>
                      </a:lnTo>
                      <a:lnTo>
                        <a:pt x="392" y="627"/>
                      </a:lnTo>
                      <a:lnTo>
                        <a:pt x="393" y="625"/>
                      </a:lnTo>
                      <a:lnTo>
                        <a:pt x="399" y="624"/>
                      </a:lnTo>
                      <a:lnTo>
                        <a:pt x="404" y="624"/>
                      </a:lnTo>
                      <a:lnTo>
                        <a:pt x="426" y="625"/>
                      </a:lnTo>
                      <a:lnTo>
                        <a:pt x="430" y="627"/>
                      </a:lnTo>
                      <a:lnTo>
                        <a:pt x="435" y="627"/>
                      </a:lnTo>
                      <a:lnTo>
                        <a:pt x="456" y="638"/>
                      </a:lnTo>
                      <a:lnTo>
                        <a:pt x="467" y="641"/>
                      </a:lnTo>
                      <a:lnTo>
                        <a:pt x="474" y="639"/>
                      </a:lnTo>
                      <a:lnTo>
                        <a:pt x="465" y="636"/>
                      </a:lnTo>
                      <a:lnTo>
                        <a:pt x="461" y="632"/>
                      </a:lnTo>
                      <a:lnTo>
                        <a:pt x="460" y="627"/>
                      </a:lnTo>
                      <a:lnTo>
                        <a:pt x="460" y="625"/>
                      </a:lnTo>
                      <a:lnTo>
                        <a:pt x="460" y="624"/>
                      </a:lnTo>
                      <a:lnTo>
                        <a:pt x="460" y="622"/>
                      </a:lnTo>
                      <a:lnTo>
                        <a:pt x="458" y="620"/>
                      </a:lnTo>
                      <a:lnTo>
                        <a:pt x="456" y="618"/>
                      </a:lnTo>
                      <a:lnTo>
                        <a:pt x="453" y="617"/>
                      </a:lnTo>
                      <a:lnTo>
                        <a:pt x="449" y="617"/>
                      </a:lnTo>
                      <a:lnTo>
                        <a:pt x="454" y="617"/>
                      </a:lnTo>
                      <a:lnTo>
                        <a:pt x="458" y="617"/>
                      </a:lnTo>
                      <a:lnTo>
                        <a:pt x="463" y="618"/>
                      </a:lnTo>
                      <a:lnTo>
                        <a:pt x="467" y="617"/>
                      </a:lnTo>
                      <a:lnTo>
                        <a:pt x="460" y="613"/>
                      </a:lnTo>
                      <a:lnTo>
                        <a:pt x="456" y="611"/>
                      </a:lnTo>
                      <a:lnTo>
                        <a:pt x="454" y="611"/>
                      </a:lnTo>
                      <a:lnTo>
                        <a:pt x="446" y="611"/>
                      </a:lnTo>
                      <a:lnTo>
                        <a:pt x="442" y="611"/>
                      </a:lnTo>
                      <a:lnTo>
                        <a:pt x="439" y="610"/>
                      </a:lnTo>
                      <a:lnTo>
                        <a:pt x="437" y="610"/>
                      </a:lnTo>
                      <a:lnTo>
                        <a:pt x="433" y="610"/>
                      </a:lnTo>
                      <a:lnTo>
                        <a:pt x="428" y="610"/>
                      </a:lnTo>
                      <a:lnTo>
                        <a:pt x="425" y="610"/>
                      </a:lnTo>
                      <a:lnTo>
                        <a:pt x="421" y="608"/>
                      </a:lnTo>
                      <a:lnTo>
                        <a:pt x="423" y="604"/>
                      </a:lnTo>
                      <a:lnTo>
                        <a:pt x="425" y="601"/>
                      </a:lnTo>
                      <a:lnTo>
                        <a:pt x="430" y="597"/>
                      </a:lnTo>
                      <a:lnTo>
                        <a:pt x="433" y="596"/>
                      </a:lnTo>
                      <a:lnTo>
                        <a:pt x="446" y="594"/>
                      </a:lnTo>
                      <a:lnTo>
                        <a:pt x="451" y="592"/>
                      </a:lnTo>
                      <a:lnTo>
                        <a:pt x="447" y="592"/>
                      </a:lnTo>
                      <a:lnTo>
                        <a:pt x="440" y="592"/>
                      </a:lnTo>
                      <a:lnTo>
                        <a:pt x="439" y="592"/>
                      </a:lnTo>
                      <a:lnTo>
                        <a:pt x="433" y="592"/>
                      </a:lnTo>
                      <a:lnTo>
                        <a:pt x="432" y="592"/>
                      </a:lnTo>
                      <a:lnTo>
                        <a:pt x="428" y="592"/>
                      </a:lnTo>
                      <a:lnTo>
                        <a:pt x="423" y="596"/>
                      </a:lnTo>
                      <a:lnTo>
                        <a:pt x="419" y="596"/>
                      </a:lnTo>
                      <a:lnTo>
                        <a:pt x="416" y="596"/>
                      </a:lnTo>
                      <a:lnTo>
                        <a:pt x="414" y="594"/>
                      </a:lnTo>
                      <a:lnTo>
                        <a:pt x="414" y="592"/>
                      </a:lnTo>
                      <a:lnTo>
                        <a:pt x="419" y="589"/>
                      </a:lnTo>
                      <a:lnTo>
                        <a:pt x="421" y="587"/>
                      </a:lnTo>
                      <a:lnTo>
                        <a:pt x="418" y="587"/>
                      </a:lnTo>
                      <a:lnTo>
                        <a:pt x="416" y="583"/>
                      </a:lnTo>
                      <a:lnTo>
                        <a:pt x="414" y="580"/>
                      </a:lnTo>
                      <a:lnTo>
                        <a:pt x="412" y="576"/>
                      </a:lnTo>
                      <a:lnTo>
                        <a:pt x="409" y="573"/>
                      </a:lnTo>
                      <a:lnTo>
                        <a:pt x="407" y="571"/>
                      </a:lnTo>
                      <a:lnTo>
                        <a:pt x="407" y="568"/>
                      </a:lnTo>
                      <a:lnTo>
                        <a:pt x="409" y="566"/>
                      </a:lnTo>
                      <a:lnTo>
                        <a:pt x="406" y="568"/>
                      </a:lnTo>
                      <a:lnTo>
                        <a:pt x="406" y="571"/>
                      </a:lnTo>
                      <a:lnTo>
                        <a:pt x="412" y="580"/>
                      </a:lnTo>
                      <a:lnTo>
                        <a:pt x="414" y="583"/>
                      </a:lnTo>
                      <a:lnTo>
                        <a:pt x="412" y="585"/>
                      </a:lnTo>
                      <a:lnTo>
                        <a:pt x="409" y="589"/>
                      </a:lnTo>
                      <a:lnTo>
                        <a:pt x="407" y="590"/>
                      </a:lnTo>
                      <a:lnTo>
                        <a:pt x="406" y="592"/>
                      </a:lnTo>
                      <a:lnTo>
                        <a:pt x="404" y="592"/>
                      </a:lnTo>
                      <a:lnTo>
                        <a:pt x="402" y="592"/>
                      </a:lnTo>
                      <a:lnTo>
                        <a:pt x="404" y="599"/>
                      </a:lnTo>
                      <a:lnTo>
                        <a:pt x="399" y="601"/>
                      </a:lnTo>
                      <a:lnTo>
                        <a:pt x="390" y="603"/>
                      </a:lnTo>
                      <a:lnTo>
                        <a:pt x="383" y="603"/>
                      </a:lnTo>
                      <a:lnTo>
                        <a:pt x="376" y="601"/>
                      </a:lnTo>
                      <a:lnTo>
                        <a:pt x="372" y="599"/>
                      </a:lnTo>
                      <a:lnTo>
                        <a:pt x="369" y="597"/>
                      </a:lnTo>
                      <a:lnTo>
                        <a:pt x="367" y="594"/>
                      </a:lnTo>
                      <a:lnTo>
                        <a:pt x="367" y="590"/>
                      </a:lnTo>
                      <a:lnTo>
                        <a:pt x="374" y="578"/>
                      </a:lnTo>
                      <a:lnTo>
                        <a:pt x="376" y="575"/>
                      </a:lnTo>
                      <a:lnTo>
                        <a:pt x="383" y="568"/>
                      </a:lnTo>
                      <a:lnTo>
                        <a:pt x="385" y="566"/>
                      </a:lnTo>
                      <a:lnTo>
                        <a:pt x="383" y="564"/>
                      </a:lnTo>
                      <a:lnTo>
                        <a:pt x="379" y="566"/>
                      </a:lnTo>
                      <a:lnTo>
                        <a:pt x="376" y="569"/>
                      </a:lnTo>
                      <a:lnTo>
                        <a:pt x="372" y="573"/>
                      </a:lnTo>
                      <a:lnTo>
                        <a:pt x="369" y="573"/>
                      </a:lnTo>
                      <a:lnTo>
                        <a:pt x="367" y="569"/>
                      </a:lnTo>
                      <a:lnTo>
                        <a:pt x="369" y="568"/>
                      </a:lnTo>
                      <a:lnTo>
                        <a:pt x="374" y="566"/>
                      </a:lnTo>
                      <a:lnTo>
                        <a:pt x="374" y="564"/>
                      </a:lnTo>
                      <a:lnTo>
                        <a:pt x="372" y="562"/>
                      </a:lnTo>
                      <a:lnTo>
                        <a:pt x="369" y="562"/>
                      </a:lnTo>
                      <a:lnTo>
                        <a:pt x="371" y="561"/>
                      </a:lnTo>
                      <a:lnTo>
                        <a:pt x="374" y="559"/>
                      </a:lnTo>
                      <a:lnTo>
                        <a:pt x="376" y="559"/>
                      </a:lnTo>
                      <a:lnTo>
                        <a:pt x="379" y="559"/>
                      </a:lnTo>
                      <a:lnTo>
                        <a:pt x="381" y="557"/>
                      </a:lnTo>
                      <a:lnTo>
                        <a:pt x="383" y="557"/>
                      </a:lnTo>
                      <a:lnTo>
                        <a:pt x="385" y="555"/>
                      </a:lnTo>
                      <a:lnTo>
                        <a:pt x="386" y="554"/>
                      </a:lnTo>
                      <a:lnTo>
                        <a:pt x="386" y="548"/>
                      </a:lnTo>
                      <a:lnTo>
                        <a:pt x="386" y="543"/>
                      </a:lnTo>
                      <a:lnTo>
                        <a:pt x="383" y="540"/>
                      </a:lnTo>
                      <a:lnTo>
                        <a:pt x="379" y="536"/>
                      </a:lnTo>
                      <a:lnTo>
                        <a:pt x="376" y="540"/>
                      </a:lnTo>
                      <a:lnTo>
                        <a:pt x="371" y="540"/>
                      </a:lnTo>
                      <a:lnTo>
                        <a:pt x="367" y="536"/>
                      </a:lnTo>
                      <a:lnTo>
                        <a:pt x="369" y="531"/>
                      </a:lnTo>
                      <a:lnTo>
                        <a:pt x="372" y="527"/>
                      </a:lnTo>
                      <a:lnTo>
                        <a:pt x="374" y="524"/>
                      </a:lnTo>
                      <a:lnTo>
                        <a:pt x="374" y="520"/>
                      </a:lnTo>
                      <a:lnTo>
                        <a:pt x="374" y="517"/>
                      </a:lnTo>
                      <a:lnTo>
                        <a:pt x="372" y="515"/>
                      </a:lnTo>
                      <a:lnTo>
                        <a:pt x="369" y="517"/>
                      </a:lnTo>
                      <a:lnTo>
                        <a:pt x="365" y="517"/>
                      </a:lnTo>
                      <a:lnTo>
                        <a:pt x="364" y="515"/>
                      </a:lnTo>
                      <a:lnTo>
                        <a:pt x="362" y="513"/>
                      </a:lnTo>
                      <a:lnTo>
                        <a:pt x="358" y="513"/>
                      </a:lnTo>
                      <a:lnTo>
                        <a:pt x="357" y="512"/>
                      </a:lnTo>
                      <a:lnTo>
                        <a:pt x="357" y="508"/>
                      </a:lnTo>
                      <a:lnTo>
                        <a:pt x="358" y="506"/>
                      </a:lnTo>
                      <a:lnTo>
                        <a:pt x="362" y="505"/>
                      </a:lnTo>
                      <a:lnTo>
                        <a:pt x="364" y="505"/>
                      </a:lnTo>
                      <a:lnTo>
                        <a:pt x="362" y="501"/>
                      </a:lnTo>
                      <a:lnTo>
                        <a:pt x="360" y="496"/>
                      </a:lnTo>
                      <a:lnTo>
                        <a:pt x="357" y="492"/>
                      </a:lnTo>
                      <a:lnTo>
                        <a:pt x="355" y="489"/>
                      </a:lnTo>
                      <a:lnTo>
                        <a:pt x="350" y="487"/>
                      </a:lnTo>
                      <a:lnTo>
                        <a:pt x="344" y="489"/>
                      </a:lnTo>
                      <a:lnTo>
                        <a:pt x="339" y="489"/>
                      </a:lnTo>
                      <a:lnTo>
                        <a:pt x="334" y="491"/>
                      </a:lnTo>
                      <a:lnTo>
                        <a:pt x="337" y="489"/>
                      </a:lnTo>
                      <a:lnTo>
                        <a:pt x="341" y="487"/>
                      </a:lnTo>
                      <a:lnTo>
                        <a:pt x="344" y="486"/>
                      </a:lnTo>
                      <a:lnTo>
                        <a:pt x="346" y="482"/>
                      </a:lnTo>
                      <a:lnTo>
                        <a:pt x="346" y="480"/>
                      </a:lnTo>
                      <a:lnTo>
                        <a:pt x="344" y="479"/>
                      </a:lnTo>
                      <a:lnTo>
                        <a:pt x="344" y="477"/>
                      </a:lnTo>
                      <a:lnTo>
                        <a:pt x="346" y="475"/>
                      </a:lnTo>
                      <a:lnTo>
                        <a:pt x="348" y="475"/>
                      </a:lnTo>
                      <a:lnTo>
                        <a:pt x="353" y="473"/>
                      </a:lnTo>
                      <a:lnTo>
                        <a:pt x="355" y="472"/>
                      </a:lnTo>
                      <a:lnTo>
                        <a:pt x="343" y="466"/>
                      </a:lnTo>
                      <a:lnTo>
                        <a:pt x="339" y="463"/>
                      </a:lnTo>
                      <a:lnTo>
                        <a:pt x="336" y="456"/>
                      </a:lnTo>
                      <a:lnTo>
                        <a:pt x="334" y="454"/>
                      </a:lnTo>
                      <a:lnTo>
                        <a:pt x="330" y="451"/>
                      </a:lnTo>
                      <a:lnTo>
                        <a:pt x="322" y="447"/>
                      </a:lnTo>
                      <a:lnTo>
                        <a:pt x="320" y="444"/>
                      </a:lnTo>
                      <a:lnTo>
                        <a:pt x="316" y="440"/>
                      </a:lnTo>
                      <a:lnTo>
                        <a:pt x="313" y="435"/>
                      </a:lnTo>
                      <a:lnTo>
                        <a:pt x="311" y="433"/>
                      </a:lnTo>
                      <a:lnTo>
                        <a:pt x="309" y="431"/>
                      </a:lnTo>
                      <a:lnTo>
                        <a:pt x="308" y="430"/>
                      </a:lnTo>
                      <a:lnTo>
                        <a:pt x="306" y="430"/>
                      </a:lnTo>
                      <a:lnTo>
                        <a:pt x="304" y="428"/>
                      </a:lnTo>
                      <a:lnTo>
                        <a:pt x="306" y="424"/>
                      </a:lnTo>
                      <a:lnTo>
                        <a:pt x="309" y="421"/>
                      </a:lnTo>
                      <a:lnTo>
                        <a:pt x="311" y="417"/>
                      </a:lnTo>
                      <a:lnTo>
                        <a:pt x="309" y="412"/>
                      </a:lnTo>
                      <a:lnTo>
                        <a:pt x="308" y="409"/>
                      </a:lnTo>
                      <a:lnTo>
                        <a:pt x="306" y="407"/>
                      </a:lnTo>
                      <a:lnTo>
                        <a:pt x="302" y="405"/>
                      </a:lnTo>
                      <a:lnTo>
                        <a:pt x="252" y="381"/>
                      </a:lnTo>
                      <a:lnTo>
                        <a:pt x="229" y="375"/>
                      </a:lnTo>
                      <a:lnTo>
                        <a:pt x="226" y="375"/>
                      </a:lnTo>
                      <a:lnTo>
                        <a:pt x="217" y="375"/>
                      </a:lnTo>
                      <a:lnTo>
                        <a:pt x="213" y="375"/>
                      </a:lnTo>
                      <a:lnTo>
                        <a:pt x="206" y="372"/>
                      </a:lnTo>
                      <a:lnTo>
                        <a:pt x="205" y="372"/>
                      </a:lnTo>
                      <a:lnTo>
                        <a:pt x="199" y="372"/>
                      </a:lnTo>
                      <a:lnTo>
                        <a:pt x="196" y="374"/>
                      </a:lnTo>
                      <a:lnTo>
                        <a:pt x="194" y="375"/>
                      </a:lnTo>
                      <a:lnTo>
                        <a:pt x="191" y="377"/>
                      </a:lnTo>
                      <a:lnTo>
                        <a:pt x="187" y="375"/>
                      </a:lnTo>
                      <a:lnTo>
                        <a:pt x="184" y="374"/>
                      </a:lnTo>
                      <a:lnTo>
                        <a:pt x="182" y="374"/>
                      </a:lnTo>
                      <a:lnTo>
                        <a:pt x="178" y="375"/>
                      </a:lnTo>
                      <a:lnTo>
                        <a:pt x="172" y="379"/>
                      </a:lnTo>
                      <a:lnTo>
                        <a:pt x="168" y="381"/>
                      </a:lnTo>
                      <a:lnTo>
                        <a:pt x="165" y="381"/>
                      </a:lnTo>
                      <a:lnTo>
                        <a:pt x="161" y="381"/>
                      </a:lnTo>
                      <a:lnTo>
                        <a:pt x="158" y="381"/>
                      </a:lnTo>
                      <a:lnTo>
                        <a:pt x="154" y="381"/>
                      </a:lnTo>
                      <a:lnTo>
                        <a:pt x="152" y="379"/>
                      </a:lnTo>
                      <a:lnTo>
                        <a:pt x="149" y="377"/>
                      </a:lnTo>
                      <a:lnTo>
                        <a:pt x="145" y="377"/>
                      </a:lnTo>
                      <a:lnTo>
                        <a:pt x="142" y="379"/>
                      </a:lnTo>
                      <a:lnTo>
                        <a:pt x="140" y="381"/>
                      </a:lnTo>
                      <a:lnTo>
                        <a:pt x="137" y="381"/>
                      </a:lnTo>
                      <a:lnTo>
                        <a:pt x="133" y="381"/>
                      </a:lnTo>
                      <a:lnTo>
                        <a:pt x="130" y="379"/>
                      </a:lnTo>
                      <a:lnTo>
                        <a:pt x="124" y="377"/>
                      </a:lnTo>
                      <a:lnTo>
                        <a:pt x="123" y="379"/>
                      </a:lnTo>
                      <a:lnTo>
                        <a:pt x="124" y="382"/>
                      </a:lnTo>
                      <a:lnTo>
                        <a:pt x="126" y="384"/>
                      </a:lnTo>
                      <a:lnTo>
                        <a:pt x="131" y="389"/>
                      </a:lnTo>
                      <a:lnTo>
                        <a:pt x="124" y="391"/>
                      </a:lnTo>
                      <a:lnTo>
                        <a:pt x="117" y="389"/>
                      </a:lnTo>
                      <a:lnTo>
                        <a:pt x="98" y="384"/>
                      </a:lnTo>
                      <a:lnTo>
                        <a:pt x="93" y="382"/>
                      </a:lnTo>
                      <a:lnTo>
                        <a:pt x="75" y="372"/>
                      </a:lnTo>
                      <a:lnTo>
                        <a:pt x="72" y="370"/>
                      </a:lnTo>
                      <a:lnTo>
                        <a:pt x="72" y="368"/>
                      </a:lnTo>
                      <a:lnTo>
                        <a:pt x="74" y="367"/>
                      </a:lnTo>
                      <a:lnTo>
                        <a:pt x="84" y="361"/>
                      </a:lnTo>
                      <a:lnTo>
                        <a:pt x="86" y="361"/>
                      </a:lnTo>
                      <a:lnTo>
                        <a:pt x="89" y="360"/>
                      </a:lnTo>
                      <a:lnTo>
                        <a:pt x="95" y="360"/>
                      </a:lnTo>
                      <a:lnTo>
                        <a:pt x="98" y="360"/>
                      </a:lnTo>
                      <a:lnTo>
                        <a:pt x="100" y="358"/>
                      </a:lnTo>
                      <a:lnTo>
                        <a:pt x="95" y="356"/>
                      </a:lnTo>
                      <a:lnTo>
                        <a:pt x="75" y="356"/>
                      </a:lnTo>
                      <a:lnTo>
                        <a:pt x="68" y="354"/>
                      </a:lnTo>
                      <a:lnTo>
                        <a:pt x="65" y="353"/>
                      </a:lnTo>
                      <a:lnTo>
                        <a:pt x="63" y="351"/>
                      </a:lnTo>
                      <a:lnTo>
                        <a:pt x="63" y="349"/>
                      </a:lnTo>
                      <a:lnTo>
                        <a:pt x="63" y="347"/>
                      </a:lnTo>
                      <a:lnTo>
                        <a:pt x="65" y="346"/>
                      </a:lnTo>
                      <a:lnTo>
                        <a:pt x="67" y="344"/>
                      </a:lnTo>
                      <a:lnTo>
                        <a:pt x="55" y="349"/>
                      </a:lnTo>
                      <a:lnTo>
                        <a:pt x="51" y="351"/>
                      </a:lnTo>
                      <a:lnTo>
                        <a:pt x="48" y="351"/>
                      </a:lnTo>
                      <a:lnTo>
                        <a:pt x="46" y="349"/>
                      </a:lnTo>
                      <a:lnTo>
                        <a:pt x="44" y="349"/>
                      </a:lnTo>
                      <a:lnTo>
                        <a:pt x="44" y="346"/>
                      </a:lnTo>
                      <a:lnTo>
                        <a:pt x="39" y="344"/>
                      </a:lnTo>
                      <a:lnTo>
                        <a:pt x="37" y="342"/>
                      </a:lnTo>
                      <a:lnTo>
                        <a:pt x="37" y="340"/>
                      </a:lnTo>
                      <a:lnTo>
                        <a:pt x="39" y="339"/>
                      </a:lnTo>
                      <a:lnTo>
                        <a:pt x="42" y="337"/>
                      </a:lnTo>
                      <a:lnTo>
                        <a:pt x="48" y="337"/>
                      </a:lnTo>
                      <a:lnTo>
                        <a:pt x="81" y="335"/>
                      </a:lnTo>
                      <a:lnTo>
                        <a:pt x="82" y="335"/>
                      </a:lnTo>
                      <a:lnTo>
                        <a:pt x="88" y="332"/>
                      </a:lnTo>
                      <a:lnTo>
                        <a:pt x="91" y="332"/>
                      </a:lnTo>
                      <a:lnTo>
                        <a:pt x="95" y="330"/>
                      </a:lnTo>
                      <a:lnTo>
                        <a:pt x="112" y="330"/>
                      </a:lnTo>
                      <a:lnTo>
                        <a:pt x="126" y="330"/>
                      </a:lnTo>
                      <a:lnTo>
                        <a:pt x="135" y="333"/>
                      </a:lnTo>
                      <a:lnTo>
                        <a:pt x="137" y="333"/>
                      </a:lnTo>
                      <a:lnTo>
                        <a:pt x="138" y="333"/>
                      </a:lnTo>
                      <a:lnTo>
                        <a:pt x="137" y="332"/>
                      </a:lnTo>
                      <a:lnTo>
                        <a:pt x="137" y="332"/>
                      </a:lnTo>
                      <a:lnTo>
                        <a:pt x="137" y="332"/>
                      </a:lnTo>
                      <a:lnTo>
                        <a:pt x="138" y="327"/>
                      </a:lnTo>
                      <a:lnTo>
                        <a:pt x="138" y="323"/>
                      </a:lnTo>
                      <a:lnTo>
                        <a:pt x="133" y="321"/>
                      </a:lnTo>
                      <a:lnTo>
                        <a:pt x="128" y="321"/>
                      </a:lnTo>
                      <a:lnTo>
                        <a:pt x="123" y="321"/>
                      </a:lnTo>
                      <a:lnTo>
                        <a:pt x="110" y="325"/>
                      </a:lnTo>
                      <a:lnTo>
                        <a:pt x="105" y="325"/>
                      </a:lnTo>
                      <a:lnTo>
                        <a:pt x="100" y="325"/>
                      </a:lnTo>
                      <a:lnTo>
                        <a:pt x="93" y="323"/>
                      </a:lnTo>
                      <a:lnTo>
                        <a:pt x="91" y="323"/>
                      </a:lnTo>
                      <a:lnTo>
                        <a:pt x="88" y="323"/>
                      </a:lnTo>
                      <a:lnTo>
                        <a:pt x="86" y="325"/>
                      </a:lnTo>
                      <a:lnTo>
                        <a:pt x="81" y="327"/>
                      </a:lnTo>
                      <a:lnTo>
                        <a:pt x="79" y="327"/>
                      </a:lnTo>
                      <a:lnTo>
                        <a:pt x="75" y="327"/>
                      </a:lnTo>
                      <a:lnTo>
                        <a:pt x="61" y="325"/>
                      </a:lnTo>
                      <a:lnTo>
                        <a:pt x="61" y="325"/>
                      </a:lnTo>
                      <a:lnTo>
                        <a:pt x="60" y="323"/>
                      </a:lnTo>
                      <a:lnTo>
                        <a:pt x="58" y="323"/>
                      </a:lnTo>
                      <a:lnTo>
                        <a:pt x="58" y="323"/>
                      </a:lnTo>
                      <a:lnTo>
                        <a:pt x="58" y="321"/>
                      </a:lnTo>
                      <a:lnTo>
                        <a:pt x="56" y="321"/>
                      </a:lnTo>
                      <a:lnTo>
                        <a:pt x="49" y="320"/>
                      </a:lnTo>
                      <a:lnTo>
                        <a:pt x="48" y="320"/>
                      </a:lnTo>
                      <a:lnTo>
                        <a:pt x="49" y="318"/>
                      </a:lnTo>
                      <a:lnTo>
                        <a:pt x="53" y="314"/>
                      </a:lnTo>
                      <a:lnTo>
                        <a:pt x="58" y="313"/>
                      </a:lnTo>
                      <a:lnTo>
                        <a:pt x="55" y="311"/>
                      </a:lnTo>
                      <a:lnTo>
                        <a:pt x="49" y="313"/>
                      </a:lnTo>
                      <a:lnTo>
                        <a:pt x="46" y="314"/>
                      </a:lnTo>
                      <a:lnTo>
                        <a:pt x="41" y="314"/>
                      </a:lnTo>
                      <a:lnTo>
                        <a:pt x="35" y="314"/>
                      </a:lnTo>
                      <a:lnTo>
                        <a:pt x="25" y="309"/>
                      </a:lnTo>
                      <a:lnTo>
                        <a:pt x="23" y="307"/>
                      </a:lnTo>
                      <a:lnTo>
                        <a:pt x="18" y="307"/>
                      </a:lnTo>
                      <a:lnTo>
                        <a:pt x="14" y="306"/>
                      </a:lnTo>
                      <a:lnTo>
                        <a:pt x="13" y="306"/>
                      </a:lnTo>
                      <a:lnTo>
                        <a:pt x="7" y="302"/>
                      </a:lnTo>
                      <a:lnTo>
                        <a:pt x="4" y="299"/>
                      </a:lnTo>
                      <a:lnTo>
                        <a:pt x="2" y="299"/>
                      </a:lnTo>
                      <a:lnTo>
                        <a:pt x="0" y="297"/>
                      </a:lnTo>
                      <a:lnTo>
                        <a:pt x="0" y="295"/>
                      </a:lnTo>
                      <a:lnTo>
                        <a:pt x="2" y="293"/>
                      </a:lnTo>
                      <a:lnTo>
                        <a:pt x="4" y="293"/>
                      </a:lnTo>
                      <a:lnTo>
                        <a:pt x="4" y="292"/>
                      </a:lnTo>
                      <a:lnTo>
                        <a:pt x="4" y="290"/>
                      </a:lnTo>
                      <a:lnTo>
                        <a:pt x="4" y="288"/>
                      </a:lnTo>
                      <a:lnTo>
                        <a:pt x="2" y="288"/>
                      </a:lnTo>
                      <a:lnTo>
                        <a:pt x="2" y="286"/>
                      </a:lnTo>
                      <a:lnTo>
                        <a:pt x="4" y="285"/>
                      </a:lnTo>
                      <a:lnTo>
                        <a:pt x="4" y="285"/>
                      </a:lnTo>
                      <a:lnTo>
                        <a:pt x="6" y="283"/>
                      </a:lnTo>
                      <a:lnTo>
                        <a:pt x="7" y="281"/>
                      </a:lnTo>
                      <a:lnTo>
                        <a:pt x="16" y="278"/>
                      </a:lnTo>
                      <a:lnTo>
                        <a:pt x="25" y="276"/>
                      </a:lnTo>
                      <a:lnTo>
                        <a:pt x="28" y="274"/>
                      </a:lnTo>
                      <a:lnTo>
                        <a:pt x="37" y="274"/>
                      </a:lnTo>
                      <a:lnTo>
                        <a:pt x="41" y="274"/>
                      </a:lnTo>
                      <a:lnTo>
                        <a:pt x="46" y="274"/>
                      </a:lnTo>
                      <a:lnTo>
                        <a:pt x="56" y="269"/>
                      </a:lnTo>
                      <a:lnTo>
                        <a:pt x="82" y="264"/>
                      </a:lnTo>
                      <a:lnTo>
                        <a:pt x="82" y="262"/>
                      </a:lnTo>
                      <a:lnTo>
                        <a:pt x="81" y="260"/>
                      </a:lnTo>
                      <a:lnTo>
                        <a:pt x="89" y="257"/>
                      </a:lnTo>
                      <a:lnTo>
                        <a:pt x="117" y="251"/>
                      </a:lnTo>
                      <a:lnTo>
                        <a:pt x="123" y="250"/>
                      </a:lnTo>
                      <a:lnTo>
                        <a:pt x="131" y="250"/>
                      </a:lnTo>
                      <a:lnTo>
                        <a:pt x="138" y="251"/>
                      </a:lnTo>
                      <a:lnTo>
                        <a:pt x="144" y="251"/>
                      </a:lnTo>
                      <a:lnTo>
                        <a:pt x="147" y="250"/>
                      </a:lnTo>
                      <a:lnTo>
                        <a:pt x="154" y="246"/>
                      </a:lnTo>
                      <a:lnTo>
                        <a:pt x="159" y="239"/>
                      </a:lnTo>
                      <a:lnTo>
                        <a:pt x="163" y="230"/>
                      </a:lnTo>
                      <a:lnTo>
                        <a:pt x="166" y="223"/>
                      </a:lnTo>
                      <a:lnTo>
                        <a:pt x="170" y="209"/>
                      </a:lnTo>
                      <a:lnTo>
                        <a:pt x="172" y="206"/>
                      </a:lnTo>
                      <a:lnTo>
                        <a:pt x="173" y="204"/>
                      </a:lnTo>
                      <a:lnTo>
                        <a:pt x="177" y="202"/>
                      </a:lnTo>
                      <a:lnTo>
                        <a:pt x="185" y="199"/>
                      </a:lnTo>
                      <a:lnTo>
                        <a:pt x="180" y="197"/>
                      </a:lnTo>
                      <a:lnTo>
                        <a:pt x="177" y="197"/>
                      </a:lnTo>
                      <a:lnTo>
                        <a:pt x="172" y="199"/>
                      </a:lnTo>
                      <a:lnTo>
                        <a:pt x="168" y="201"/>
                      </a:lnTo>
                      <a:lnTo>
                        <a:pt x="159" y="201"/>
                      </a:lnTo>
                      <a:lnTo>
                        <a:pt x="158" y="201"/>
                      </a:lnTo>
                      <a:lnTo>
                        <a:pt x="152" y="202"/>
                      </a:lnTo>
                      <a:lnTo>
                        <a:pt x="151" y="204"/>
                      </a:lnTo>
                      <a:lnTo>
                        <a:pt x="147" y="204"/>
                      </a:lnTo>
                      <a:lnTo>
                        <a:pt x="145" y="202"/>
                      </a:lnTo>
                      <a:lnTo>
                        <a:pt x="140" y="201"/>
                      </a:lnTo>
                      <a:lnTo>
                        <a:pt x="138" y="201"/>
                      </a:lnTo>
                      <a:lnTo>
                        <a:pt x="137" y="201"/>
                      </a:lnTo>
                      <a:lnTo>
                        <a:pt x="131" y="201"/>
                      </a:lnTo>
                      <a:lnTo>
                        <a:pt x="130" y="201"/>
                      </a:lnTo>
                      <a:lnTo>
                        <a:pt x="126" y="199"/>
                      </a:lnTo>
                      <a:lnTo>
                        <a:pt x="123" y="197"/>
                      </a:lnTo>
                      <a:lnTo>
                        <a:pt x="121" y="194"/>
                      </a:lnTo>
                      <a:lnTo>
                        <a:pt x="121" y="190"/>
                      </a:lnTo>
                      <a:lnTo>
                        <a:pt x="123" y="181"/>
                      </a:lnTo>
                      <a:lnTo>
                        <a:pt x="130" y="176"/>
                      </a:lnTo>
                      <a:lnTo>
                        <a:pt x="138" y="171"/>
                      </a:lnTo>
                      <a:lnTo>
                        <a:pt x="152" y="168"/>
                      </a:lnTo>
                      <a:lnTo>
                        <a:pt x="156" y="164"/>
                      </a:lnTo>
                      <a:lnTo>
                        <a:pt x="165" y="159"/>
                      </a:lnTo>
                      <a:lnTo>
                        <a:pt x="173" y="150"/>
                      </a:lnTo>
                      <a:lnTo>
                        <a:pt x="177" y="148"/>
                      </a:lnTo>
                      <a:lnTo>
                        <a:pt x="182" y="147"/>
                      </a:lnTo>
                      <a:lnTo>
                        <a:pt x="187" y="145"/>
                      </a:lnTo>
                      <a:lnTo>
                        <a:pt x="191" y="145"/>
                      </a:lnTo>
                      <a:lnTo>
                        <a:pt x="196" y="145"/>
                      </a:lnTo>
                      <a:lnTo>
                        <a:pt x="199" y="147"/>
                      </a:lnTo>
                      <a:lnTo>
                        <a:pt x="206" y="154"/>
                      </a:lnTo>
                      <a:lnTo>
                        <a:pt x="210" y="155"/>
                      </a:lnTo>
                      <a:lnTo>
                        <a:pt x="206" y="150"/>
                      </a:lnTo>
                      <a:lnTo>
                        <a:pt x="205" y="143"/>
                      </a:lnTo>
                      <a:lnTo>
                        <a:pt x="206" y="138"/>
                      </a:lnTo>
                      <a:lnTo>
                        <a:pt x="210" y="134"/>
                      </a:lnTo>
                      <a:lnTo>
                        <a:pt x="215" y="133"/>
                      </a:lnTo>
                      <a:lnTo>
                        <a:pt x="222" y="134"/>
                      </a:lnTo>
                      <a:lnTo>
                        <a:pt x="227" y="136"/>
                      </a:lnTo>
                      <a:lnTo>
                        <a:pt x="233" y="138"/>
                      </a:lnTo>
                      <a:lnTo>
                        <a:pt x="238" y="140"/>
                      </a:lnTo>
                      <a:lnTo>
                        <a:pt x="243" y="140"/>
                      </a:lnTo>
                      <a:lnTo>
                        <a:pt x="245" y="136"/>
                      </a:lnTo>
                      <a:lnTo>
                        <a:pt x="248" y="129"/>
                      </a:lnTo>
                      <a:lnTo>
                        <a:pt x="250" y="124"/>
                      </a:lnTo>
                      <a:lnTo>
                        <a:pt x="250" y="119"/>
                      </a:lnTo>
                      <a:lnTo>
                        <a:pt x="250" y="113"/>
                      </a:lnTo>
                      <a:lnTo>
                        <a:pt x="250" y="108"/>
                      </a:lnTo>
                      <a:lnTo>
                        <a:pt x="248" y="98"/>
                      </a:lnTo>
                      <a:lnTo>
                        <a:pt x="248" y="94"/>
                      </a:lnTo>
                      <a:lnTo>
                        <a:pt x="252" y="89"/>
                      </a:lnTo>
                      <a:lnTo>
                        <a:pt x="257" y="87"/>
                      </a:lnTo>
                      <a:lnTo>
                        <a:pt x="261" y="84"/>
                      </a:lnTo>
                      <a:lnTo>
                        <a:pt x="266" y="82"/>
                      </a:lnTo>
                      <a:lnTo>
                        <a:pt x="271" y="82"/>
                      </a:lnTo>
                      <a:lnTo>
                        <a:pt x="282" y="82"/>
                      </a:lnTo>
                      <a:lnTo>
                        <a:pt x="292" y="87"/>
                      </a:lnTo>
                      <a:lnTo>
                        <a:pt x="309" y="98"/>
                      </a:lnTo>
                      <a:lnTo>
                        <a:pt x="315" y="101"/>
                      </a:lnTo>
                      <a:lnTo>
                        <a:pt x="323" y="105"/>
                      </a:lnTo>
                      <a:lnTo>
                        <a:pt x="329" y="108"/>
                      </a:lnTo>
                      <a:lnTo>
                        <a:pt x="337" y="117"/>
                      </a:lnTo>
                      <a:lnTo>
                        <a:pt x="341" y="120"/>
                      </a:lnTo>
                      <a:lnTo>
                        <a:pt x="346" y="120"/>
                      </a:lnTo>
                      <a:lnTo>
                        <a:pt x="341" y="112"/>
                      </a:lnTo>
                      <a:lnTo>
                        <a:pt x="330" y="105"/>
                      </a:lnTo>
                      <a:lnTo>
                        <a:pt x="309" y="91"/>
                      </a:lnTo>
                      <a:lnTo>
                        <a:pt x="302" y="84"/>
                      </a:lnTo>
                      <a:lnTo>
                        <a:pt x="299" y="82"/>
                      </a:lnTo>
                      <a:lnTo>
                        <a:pt x="292" y="80"/>
                      </a:lnTo>
                      <a:lnTo>
                        <a:pt x="290" y="78"/>
                      </a:lnTo>
                      <a:lnTo>
                        <a:pt x="292" y="77"/>
                      </a:lnTo>
                      <a:lnTo>
                        <a:pt x="297" y="73"/>
                      </a:lnTo>
                      <a:lnTo>
                        <a:pt x="306" y="71"/>
                      </a:lnTo>
                      <a:lnTo>
                        <a:pt x="365" y="64"/>
                      </a:lnTo>
                      <a:lnTo>
                        <a:pt x="376" y="61"/>
                      </a:lnTo>
                      <a:lnTo>
                        <a:pt x="386" y="59"/>
                      </a:lnTo>
                      <a:lnTo>
                        <a:pt x="399" y="61"/>
                      </a:lnTo>
                      <a:lnTo>
                        <a:pt x="402" y="63"/>
                      </a:lnTo>
                      <a:lnTo>
                        <a:pt x="407" y="66"/>
                      </a:lnTo>
                      <a:lnTo>
                        <a:pt x="409" y="70"/>
                      </a:lnTo>
                      <a:lnTo>
                        <a:pt x="411" y="75"/>
                      </a:lnTo>
                      <a:lnTo>
                        <a:pt x="411" y="80"/>
                      </a:lnTo>
                      <a:lnTo>
                        <a:pt x="411" y="87"/>
                      </a:lnTo>
                      <a:lnTo>
                        <a:pt x="411" y="94"/>
                      </a:lnTo>
                      <a:lnTo>
                        <a:pt x="412" y="99"/>
                      </a:lnTo>
                      <a:lnTo>
                        <a:pt x="418" y="94"/>
                      </a:lnTo>
                      <a:lnTo>
                        <a:pt x="421" y="89"/>
                      </a:lnTo>
                      <a:lnTo>
                        <a:pt x="425" y="80"/>
                      </a:lnTo>
                      <a:lnTo>
                        <a:pt x="425" y="75"/>
                      </a:lnTo>
                      <a:lnTo>
                        <a:pt x="421" y="68"/>
                      </a:lnTo>
                      <a:lnTo>
                        <a:pt x="421" y="64"/>
                      </a:lnTo>
                      <a:lnTo>
                        <a:pt x="423" y="61"/>
                      </a:lnTo>
                      <a:lnTo>
                        <a:pt x="426" y="61"/>
                      </a:lnTo>
                      <a:lnTo>
                        <a:pt x="432" y="61"/>
                      </a:lnTo>
                      <a:lnTo>
                        <a:pt x="453" y="73"/>
                      </a:lnTo>
                      <a:lnTo>
                        <a:pt x="458" y="75"/>
                      </a:lnTo>
                      <a:lnTo>
                        <a:pt x="460" y="77"/>
                      </a:lnTo>
                      <a:lnTo>
                        <a:pt x="461" y="78"/>
                      </a:lnTo>
                      <a:lnTo>
                        <a:pt x="465" y="82"/>
                      </a:lnTo>
                      <a:lnTo>
                        <a:pt x="468" y="84"/>
                      </a:lnTo>
                      <a:lnTo>
                        <a:pt x="470" y="84"/>
                      </a:lnTo>
                      <a:lnTo>
                        <a:pt x="481" y="84"/>
                      </a:lnTo>
                      <a:lnTo>
                        <a:pt x="489" y="84"/>
                      </a:lnTo>
                      <a:lnTo>
                        <a:pt x="495" y="84"/>
                      </a:lnTo>
                      <a:lnTo>
                        <a:pt x="498" y="82"/>
                      </a:lnTo>
                      <a:lnTo>
                        <a:pt x="489" y="77"/>
                      </a:lnTo>
                      <a:lnTo>
                        <a:pt x="481" y="71"/>
                      </a:lnTo>
                      <a:lnTo>
                        <a:pt x="472" y="64"/>
                      </a:lnTo>
                      <a:lnTo>
                        <a:pt x="467" y="54"/>
                      </a:lnTo>
                      <a:lnTo>
                        <a:pt x="477" y="54"/>
                      </a:lnTo>
                      <a:lnTo>
                        <a:pt x="489" y="54"/>
                      </a:lnTo>
                      <a:lnTo>
                        <a:pt x="502" y="56"/>
                      </a:lnTo>
                      <a:lnTo>
                        <a:pt x="512" y="57"/>
                      </a:lnTo>
                      <a:lnTo>
                        <a:pt x="561" y="71"/>
                      </a:lnTo>
                      <a:lnTo>
                        <a:pt x="587" y="87"/>
                      </a:lnTo>
                      <a:lnTo>
                        <a:pt x="598" y="91"/>
                      </a:lnTo>
                      <a:lnTo>
                        <a:pt x="601" y="91"/>
                      </a:lnTo>
                      <a:lnTo>
                        <a:pt x="605" y="87"/>
                      </a:lnTo>
                      <a:lnTo>
                        <a:pt x="605" y="84"/>
                      </a:lnTo>
                      <a:lnTo>
                        <a:pt x="603" y="77"/>
                      </a:lnTo>
                      <a:lnTo>
                        <a:pt x="603" y="75"/>
                      </a:lnTo>
                      <a:lnTo>
                        <a:pt x="603" y="71"/>
                      </a:lnTo>
                      <a:lnTo>
                        <a:pt x="603" y="70"/>
                      </a:lnTo>
                      <a:lnTo>
                        <a:pt x="603" y="66"/>
                      </a:lnTo>
                      <a:lnTo>
                        <a:pt x="605" y="64"/>
                      </a:lnTo>
                      <a:lnTo>
                        <a:pt x="608" y="61"/>
                      </a:lnTo>
                      <a:lnTo>
                        <a:pt x="610" y="57"/>
                      </a:lnTo>
                      <a:lnTo>
                        <a:pt x="610" y="56"/>
                      </a:lnTo>
                      <a:lnTo>
                        <a:pt x="606" y="52"/>
                      </a:lnTo>
                      <a:lnTo>
                        <a:pt x="585" y="42"/>
                      </a:lnTo>
                      <a:lnTo>
                        <a:pt x="584" y="38"/>
                      </a:lnTo>
                      <a:lnTo>
                        <a:pt x="589" y="35"/>
                      </a:lnTo>
                      <a:lnTo>
                        <a:pt x="603" y="35"/>
                      </a:lnTo>
                      <a:lnTo>
                        <a:pt x="645" y="38"/>
                      </a:lnTo>
                      <a:lnTo>
                        <a:pt x="650" y="38"/>
                      </a:lnTo>
                      <a:lnTo>
                        <a:pt x="659" y="40"/>
                      </a:lnTo>
                      <a:lnTo>
                        <a:pt x="662" y="42"/>
                      </a:lnTo>
                      <a:lnTo>
                        <a:pt x="667" y="42"/>
                      </a:lnTo>
                      <a:lnTo>
                        <a:pt x="671" y="40"/>
                      </a:lnTo>
                      <a:lnTo>
                        <a:pt x="673" y="38"/>
                      </a:lnTo>
                      <a:lnTo>
                        <a:pt x="669" y="35"/>
                      </a:lnTo>
                      <a:lnTo>
                        <a:pt x="664" y="35"/>
                      </a:lnTo>
                      <a:lnTo>
                        <a:pt x="596" y="29"/>
                      </a:lnTo>
                      <a:lnTo>
                        <a:pt x="577" y="31"/>
                      </a:lnTo>
                      <a:lnTo>
                        <a:pt x="571" y="31"/>
                      </a:lnTo>
                      <a:lnTo>
                        <a:pt x="568" y="29"/>
                      </a:lnTo>
                      <a:lnTo>
                        <a:pt x="563" y="26"/>
                      </a:lnTo>
                      <a:lnTo>
                        <a:pt x="566" y="24"/>
                      </a:lnTo>
                      <a:lnTo>
                        <a:pt x="568" y="22"/>
                      </a:lnTo>
                      <a:lnTo>
                        <a:pt x="571" y="21"/>
                      </a:lnTo>
                      <a:lnTo>
                        <a:pt x="575" y="21"/>
                      </a:lnTo>
                      <a:lnTo>
                        <a:pt x="584" y="22"/>
                      </a:lnTo>
                      <a:lnTo>
                        <a:pt x="587" y="22"/>
                      </a:lnTo>
                      <a:lnTo>
                        <a:pt x="591" y="21"/>
                      </a:lnTo>
                      <a:lnTo>
                        <a:pt x="598" y="19"/>
                      </a:lnTo>
                      <a:lnTo>
                        <a:pt x="601" y="17"/>
                      </a:lnTo>
                      <a:lnTo>
                        <a:pt x="613" y="15"/>
                      </a:lnTo>
                      <a:lnTo>
                        <a:pt x="634" y="12"/>
                      </a:lnTo>
                      <a:lnTo>
                        <a:pt x="643" y="12"/>
                      </a:lnTo>
                      <a:lnTo>
                        <a:pt x="648" y="12"/>
                      </a:lnTo>
                      <a:lnTo>
                        <a:pt x="667" y="17"/>
                      </a:lnTo>
                      <a:lnTo>
                        <a:pt x="673" y="17"/>
                      </a:lnTo>
                      <a:lnTo>
                        <a:pt x="678" y="15"/>
                      </a:lnTo>
                      <a:lnTo>
                        <a:pt x="687" y="10"/>
                      </a:lnTo>
                      <a:lnTo>
                        <a:pt x="694" y="10"/>
                      </a:lnTo>
                      <a:lnTo>
                        <a:pt x="701" y="10"/>
                      </a:lnTo>
                      <a:lnTo>
                        <a:pt x="725" y="15"/>
                      </a:lnTo>
                      <a:lnTo>
                        <a:pt x="727" y="17"/>
                      </a:lnTo>
                      <a:lnTo>
                        <a:pt x="734" y="21"/>
                      </a:lnTo>
                      <a:lnTo>
                        <a:pt x="737" y="22"/>
                      </a:lnTo>
                      <a:lnTo>
                        <a:pt x="739" y="22"/>
                      </a:lnTo>
                      <a:lnTo>
                        <a:pt x="741" y="22"/>
                      </a:lnTo>
                      <a:lnTo>
                        <a:pt x="743" y="22"/>
                      </a:lnTo>
                      <a:lnTo>
                        <a:pt x="744" y="21"/>
                      </a:lnTo>
                      <a:lnTo>
                        <a:pt x="744" y="17"/>
                      </a:lnTo>
                      <a:lnTo>
                        <a:pt x="744" y="15"/>
                      </a:lnTo>
                      <a:lnTo>
                        <a:pt x="744" y="15"/>
                      </a:lnTo>
                      <a:lnTo>
                        <a:pt x="741" y="14"/>
                      </a:lnTo>
                      <a:lnTo>
                        <a:pt x="734" y="12"/>
                      </a:lnTo>
                      <a:lnTo>
                        <a:pt x="730" y="10"/>
                      </a:lnTo>
                      <a:lnTo>
                        <a:pt x="729" y="9"/>
                      </a:lnTo>
                      <a:lnTo>
                        <a:pt x="729" y="7"/>
                      </a:lnTo>
                      <a:lnTo>
                        <a:pt x="732" y="7"/>
                      </a:lnTo>
                      <a:lnTo>
                        <a:pt x="737" y="7"/>
                      </a:lnTo>
                      <a:lnTo>
                        <a:pt x="739" y="7"/>
                      </a:lnTo>
                      <a:lnTo>
                        <a:pt x="743" y="5"/>
                      </a:lnTo>
                      <a:lnTo>
                        <a:pt x="748" y="3"/>
                      </a:lnTo>
                      <a:lnTo>
                        <a:pt x="751" y="3"/>
                      </a:lnTo>
                      <a:lnTo>
                        <a:pt x="755" y="3"/>
                      </a:lnTo>
                      <a:lnTo>
                        <a:pt x="762" y="5"/>
                      </a:lnTo>
                      <a:lnTo>
                        <a:pt x="765" y="5"/>
                      </a:lnTo>
                      <a:lnTo>
                        <a:pt x="769" y="3"/>
                      </a:lnTo>
                      <a:lnTo>
                        <a:pt x="776" y="2"/>
                      </a:lnTo>
                      <a:lnTo>
                        <a:pt x="783" y="2"/>
                      </a:lnTo>
                      <a:lnTo>
                        <a:pt x="797" y="2"/>
                      </a:lnTo>
                      <a:lnTo>
                        <a:pt x="811" y="2"/>
                      </a:lnTo>
                      <a:lnTo>
                        <a:pt x="828" y="2"/>
                      </a:lnTo>
                      <a:lnTo>
                        <a:pt x="833" y="2"/>
                      </a:lnTo>
                      <a:lnTo>
                        <a:pt x="853" y="0"/>
                      </a:lnTo>
                      <a:lnTo>
                        <a:pt x="865" y="0"/>
                      </a:lnTo>
                      <a:lnTo>
                        <a:pt x="999" y="10"/>
                      </a:lnTo>
                      <a:lnTo>
                        <a:pt x="1006" y="12"/>
                      </a:lnTo>
                      <a:lnTo>
                        <a:pt x="997" y="14"/>
                      </a:lnTo>
                      <a:lnTo>
                        <a:pt x="875" y="19"/>
                      </a:lnTo>
                      <a:lnTo>
                        <a:pt x="874" y="21"/>
                      </a:lnTo>
                      <a:lnTo>
                        <a:pt x="872" y="24"/>
                      </a:lnTo>
                      <a:lnTo>
                        <a:pt x="879" y="24"/>
                      </a:lnTo>
                      <a:lnTo>
                        <a:pt x="884" y="24"/>
                      </a:lnTo>
                      <a:lnTo>
                        <a:pt x="896" y="21"/>
                      </a:lnTo>
                      <a:lnTo>
                        <a:pt x="908" y="19"/>
                      </a:lnTo>
                      <a:lnTo>
                        <a:pt x="922" y="19"/>
                      </a:lnTo>
                      <a:lnTo>
                        <a:pt x="961" y="21"/>
                      </a:lnTo>
                      <a:lnTo>
                        <a:pt x="1003" y="19"/>
                      </a:lnTo>
                      <a:lnTo>
                        <a:pt x="1017" y="15"/>
                      </a:lnTo>
                      <a:lnTo>
                        <a:pt x="1018" y="15"/>
                      </a:lnTo>
                      <a:lnTo>
                        <a:pt x="1020" y="17"/>
                      </a:lnTo>
                      <a:lnTo>
                        <a:pt x="1022" y="19"/>
                      </a:lnTo>
                      <a:lnTo>
                        <a:pt x="1029" y="28"/>
                      </a:lnTo>
                      <a:lnTo>
                        <a:pt x="1032" y="29"/>
                      </a:lnTo>
                      <a:lnTo>
                        <a:pt x="1034" y="29"/>
                      </a:lnTo>
                      <a:lnTo>
                        <a:pt x="1038" y="29"/>
                      </a:lnTo>
                      <a:lnTo>
                        <a:pt x="1039" y="29"/>
                      </a:lnTo>
                      <a:lnTo>
                        <a:pt x="1041" y="29"/>
                      </a:lnTo>
                      <a:lnTo>
                        <a:pt x="1045" y="31"/>
                      </a:lnTo>
                      <a:lnTo>
                        <a:pt x="1050" y="33"/>
                      </a:lnTo>
                      <a:lnTo>
                        <a:pt x="1052" y="33"/>
                      </a:lnTo>
                      <a:lnTo>
                        <a:pt x="1064" y="33"/>
                      </a:lnTo>
                      <a:lnTo>
                        <a:pt x="1076" y="35"/>
                      </a:lnTo>
                      <a:lnTo>
                        <a:pt x="1081" y="36"/>
                      </a:lnTo>
                      <a:lnTo>
                        <a:pt x="1088" y="40"/>
                      </a:lnTo>
                      <a:lnTo>
                        <a:pt x="1092" y="40"/>
                      </a:lnTo>
                      <a:lnTo>
                        <a:pt x="1094" y="42"/>
                      </a:lnTo>
                      <a:lnTo>
                        <a:pt x="1095" y="45"/>
                      </a:lnTo>
                      <a:lnTo>
                        <a:pt x="1097" y="47"/>
                      </a:lnTo>
                      <a:lnTo>
                        <a:pt x="1095" y="50"/>
                      </a:lnTo>
                      <a:lnTo>
                        <a:pt x="1094" y="52"/>
                      </a:lnTo>
                      <a:lnTo>
                        <a:pt x="1081" y="56"/>
                      </a:lnTo>
                      <a:lnTo>
                        <a:pt x="1069" y="59"/>
                      </a:lnTo>
                      <a:lnTo>
                        <a:pt x="1052" y="63"/>
                      </a:lnTo>
                      <a:lnTo>
                        <a:pt x="929" y="68"/>
                      </a:lnTo>
                      <a:lnTo>
                        <a:pt x="926" y="68"/>
                      </a:lnTo>
                      <a:lnTo>
                        <a:pt x="921" y="71"/>
                      </a:lnTo>
                      <a:lnTo>
                        <a:pt x="919" y="75"/>
                      </a:lnTo>
                      <a:lnTo>
                        <a:pt x="919" y="78"/>
                      </a:lnTo>
                      <a:lnTo>
                        <a:pt x="924" y="80"/>
                      </a:lnTo>
                      <a:lnTo>
                        <a:pt x="929" y="80"/>
                      </a:lnTo>
                      <a:lnTo>
                        <a:pt x="947" y="77"/>
                      </a:lnTo>
                      <a:lnTo>
                        <a:pt x="961" y="75"/>
                      </a:lnTo>
                      <a:lnTo>
                        <a:pt x="975" y="75"/>
                      </a:lnTo>
                      <a:lnTo>
                        <a:pt x="1013" y="77"/>
                      </a:lnTo>
                      <a:lnTo>
                        <a:pt x="1018" y="78"/>
                      </a:lnTo>
                      <a:lnTo>
                        <a:pt x="1024" y="80"/>
                      </a:lnTo>
                      <a:lnTo>
                        <a:pt x="1027" y="82"/>
                      </a:lnTo>
                      <a:lnTo>
                        <a:pt x="1031" y="84"/>
                      </a:lnTo>
                      <a:lnTo>
                        <a:pt x="1032" y="87"/>
                      </a:lnTo>
                      <a:lnTo>
                        <a:pt x="1034" y="89"/>
                      </a:lnTo>
                      <a:lnTo>
                        <a:pt x="1036" y="92"/>
                      </a:lnTo>
                      <a:lnTo>
                        <a:pt x="1038" y="94"/>
                      </a:lnTo>
                      <a:lnTo>
                        <a:pt x="1039" y="96"/>
                      </a:lnTo>
                      <a:lnTo>
                        <a:pt x="1041" y="96"/>
                      </a:lnTo>
                      <a:lnTo>
                        <a:pt x="1045" y="94"/>
                      </a:lnTo>
                      <a:lnTo>
                        <a:pt x="1048" y="94"/>
                      </a:lnTo>
                      <a:lnTo>
                        <a:pt x="1052" y="92"/>
                      </a:lnTo>
                      <a:lnTo>
                        <a:pt x="1055" y="91"/>
                      </a:lnTo>
                      <a:lnTo>
                        <a:pt x="1057" y="89"/>
                      </a:lnTo>
                      <a:lnTo>
                        <a:pt x="1057" y="85"/>
                      </a:lnTo>
                      <a:lnTo>
                        <a:pt x="1059" y="84"/>
                      </a:lnTo>
                      <a:lnTo>
                        <a:pt x="1060" y="80"/>
                      </a:lnTo>
                      <a:lnTo>
                        <a:pt x="1064" y="77"/>
                      </a:lnTo>
                      <a:lnTo>
                        <a:pt x="1069" y="75"/>
                      </a:lnTo>
                      <a:lnTo>
                        <a:pt x="1094" y="73"/>
                      </a:lnTo>
                      <a:lnTo>
                        <a:pt x="1101" y="75"/>
                      </a:lnTo>
                      <a:lnTo>
                        <a:pt x="1104" y="78"/>
                      </a:lnTo>
                      <a:lnTo>
                        <a:pt x="1106" y="91"/>
                      </a:lnTo>
                      <a:lnTo>
                        <a:pt x="1102" y="103"/>
                      </a:lnTo>
                      <a:lnTo>
                        <a:pt x="1097" y="115"/>
                      </a:lnTo>
                      <a:lnTo>
                        <a:pt x="1090" y="126"/>
                      </a:lnTo>
                      <a:lnTo>
                        <a:pt x="1066" y="152"/>
                      </a:lnTo>
                      <a:lnTo>
                        <a:pt x="1060" y="159"/>
                      </a:lnTo>
                      <a:lnTo>
                        <a:pt x="1062" y="162"/>
                      </a:lnTo>
                      <a:lnTo>
                        <a:pt x="1064" y="161"/>
                      </a:lnTo>
                      <a:lnTo>
                        <a:pt x="1066" y="159"/>
                      </a:lnTo>
                      <a:lnTo>
                        <a:pt x="1067" y="155"/>
                      </a:lnTo>
                      <a:lnTo>
                        <a:pt x="1069" y="154"/>
                      </a:lnTo>
                      <a:lnTo>
                        <a:pt x="1073" y="152"/>
                      </a:lnTo>
                      <a:lnTo>
                        <a:pt x="1083" y="148"/>
                      </a:lnTo>
                      <a:lnTo>
                        <a:pt x="1088" y="145"/>
                      </a:lnTo>
                      <a:lnTo>
                        <a:pt x="1097" y="138"/>
                      </a:lnTo>
                      <a:lnTo>
                        <a:pt x="1108" y="129"/>
                      </a:lnTo>
                      <a:lnTo>
                        <a:pt x="1113" y="126"/>
                      </a:lnTo>
                      <a:lnTo>
                        <a:pt x="1128" y="106"/>
                      </a:lnTo>
                      <a:lnTo>
                        <a:pt x="1134" y="103"/>
                      </a:lnTo>
                      <a:lnTo>
                        <a:pt x="1139" y="99"/>
                      </a:lnTo>
                      <a:lnTo>
                        <a:pt x="1144" y="99"/>
                      </a:lnTo>
                      <a:lnTo>
                        <a:pt x="1146" y="101"/>
                      </a:lnTo>
                      <a:lnTo>
                        <a:pt x="1146" y="105"/>
                      </a:lnTo>
                      <a:lnTo>
                        <a:pt x="1148" y="108"/>
                      </a:lnTo>
                      <a:lnTo>
                        <a:pt x="1149" y="110"/>
                      </a:lnTo>
                      <a:lnTo>
                        <a:pt x="1153" y="110"/>
                      </a:lnTo>
                      <a:lnTo>
                        <a:pt x="1163" y="112"/>
                      </a:lnTo>
                      <a:lnTo>
                        <a:pt x="1181" y="117"/>
                      </a:lnTo>
                      <a:lnTo>
                        <a:pt x="1183" y="117"/>
                      </a:lnTo>
                      <a:lnTo>
                        <a:pt x="1186" y="117"/>
                      </a:lnTo>
                      <a:lnTo>
                        <a:pt x="1188" y="115"/>
                      </a:lnTo>
                      <a:lnTo>
                        <a:pt x="1190" y="113"/>
                      </a:lnTo>
                      <a:lnTo>
                        <a:pt x="1195" y="106"/>
                      </a:lnTo>
                      <a:lnTo>
                        <a:pt x="1205" y="96"/>
                      </a:lnTo>
                      <a:lnTo>
                        <a:pt x="1211" y="92"/>
                      </a:lnTo>
                      <a:lnTo>
                        <a:pt x="1216" y="91"/>
                      </a:lnTo>
                      <a:lnTo>
                        <a:pt x="1228" y="89"/>
                      </a:lnTo>
                      <a:lnTo>
                        <a:pt x="1240" y="87"/>
                      </a:lnTo>
                      <a:lnTo>
                        <a:pt x="1254" y="89"/>
                      </a:lnTo>
                      <a:lnTo>
                        <a:pt x="1291" y="98"/>
                      </a:lnTo>
                      <a:lnTo>
                        <a:pt x="1298" y="101"/>
                      </a:lnTo>
                      <a:lnTo>
                        <a:pt x="1307" y="108"/>
                      </a:lnTo>
                      <a:lnTo>
                        <a:pt x="1312" y="112"/>
                      </a:lnTo>
                      <a:lnTo>
                        <a:pt x="1310" y="115"/>
                      </a:lnTo>
                      <a:lnTo>
                        <a:pt x="1307" y="119"/>
                      </a:lnTo>
                      <a:lnTo>
                        <a:pt x="1298" y="124"/>
                      </a:lnTo>
                      <a:lnTo>
                        <a:pt x="1287" y="133"/>
                      </a:lnTo>
                      <a:lnTo>
                        <a:pt x="1277" y="141"/>
                      </a:lnTo>
                      <a:lnTo>
                        <a:pt x="1273" y="145"/>
                      </a:lnTo>
                      <a:lnTo>
                        <a:pt x="1268" y="147"/>
                      </a:lnTo>
                      <a:lnTo>
                        <a:pt x="1265" y="147"/>
                      </a:lnTo>
                      <a:lnTo>
                        <a:pt x="1254" y="147"/>
                      </a:lnTo>
                      <a:lnTo>
                        <a:pt x="1251" y="148"/>
                      </a:lnTo>
                      <a:lnTo>
                        <a:pt x="1249" y="150"/>
                      </a:lnTo>
                      <a:lnTo>
                        <a:pt x="1252" y="155"/>
                      </a:lnTo>
                      <a:lnTo>
                        <a:pt x="1252" y="159"/>
                      </a:lnTo>
                      <a:lnTo>
                        <a:pt x="1249" y="162"/>
                      </a:lnTo>
                      <a:lnTo>
                        <a:pt x="1244" y="164"/>
                      </a:lnTo>
                      <a:lnTo>
                        <a:pt x="1233" y="164"/>
                      </a:lnTo>
                      <a:lnTo>
                        <a:pt x="1221" y="169"/>
                      </a:lnTo>
                      <a:lnTo>
                        <a:pt x="1207" y="169"/>
                      </a:lnTo>
                      <a:lnTo>
                        <a:pt x="1204" y="171"/>
                      </a:lnTo>
                      <a:lnTo>
                        <a:pt x="1198" y="173"/>
                      </a:lnTo>
                      <a:lnTo>
                        <a:pt x="1200" y="174"/>
                      </a:lnTo>
                      <a:lnTo>
                        <a:pt x="1204" y="176"/>
                      </a:lnTo>
                      <a:lnTo>
                        <a:pt x="1205" y="176"/>
                      </a:lnTo>
                      <a:lnTo>
                        <a:pt x="1207" y="178"/>
                      </a:lnTo>
                      <a:lnTo>
                        <a:pt x="1214" y="178"/>
                      </a:lnTo>
                      <a:lnTo>
                        <a:pt x="1216" y="180"/>
                      </a:lnTo>
                      <a:lnTo>
                        <a:pt x="1216" y="181"/>
                      </a:lnTo>
                      <a:lnTo>
                        <a:pt x="1214" y="183"/>
                      </a:lnTo>
                      <a:lnTo>
                        <a:pt x="1202" y="190"/>
                      </a:lnTo>
                      <a:lnTo>
                        <a:pt x="1198" y="192"/>
                      </a:lnTo>
                      <a:lnTo>
                        <a:pt x="1197" y="192"/>
                      </a:lnTo>
                      <a:lnTo>
                        <a:pt x="1193" y="192"/>
                      </a:lnTo>
                      <a:lnTo>
                        <a:pt x="1188" y="192"/>
                      </a:lnTo>
                      <a:lnTo>
                        <a:pt x="1186" y="192"/>
                      </a:lnTo>
                      <a:lnTo>
                        <a:pt x="1177" y="194"/>
                      </a:lnTo>
                      <a:lnTo>
                        <a:pt x="1174" y="194"/>
                      </a:lnTo>
                      <a:lnTo>
                        <a:pt x="1167" y="194"/>
                      </a:lnTo>
                      <a:lnTo>
                        <a:pt x="1162" y="192"/>
                      </a:lnTo>
                      <a:lnTo>
                        <a:pt x="1151" y="190"/>
                      </a:lnTo>
                      <a:lnTo>
                        <a:pt x="1146" y="188"/>
                      </a:lnTo>
                      <a:lnTo>
                        <a:pt x="1141" y="188"/>
                      </a:lnTo>
                      <a:lnTo>
                        <a:pt x="1137" y="192"/>
                      </a:lnTo>
                      <a:lnTo>
                        <a:pt x="1134" y="195"/>
                      </a:lnTo>
                      <a:lnTo>
                        <a:pt x="1130" y="199"/>
                      </a:lnTo>
                      <a:lnTo>
                        <a:pt x="1128" y="202"/>
                      </a:lnTo>
                      <a:lnTo>
                        <a:pt x="1127" y="206"/>
                      </a:lnTo>
                      <a:lnTo>
                        <a:pt x="1125" y="209"/>
                      </a:lnTo>
                      <a:lnTo>
                        <a:pt x="1127" y="215"/>
                      </a:lnTo>
                      <a:lnTo>
                        <a:pt x="1128" y="216"/>
                      </a:lnTo>
                      <a:lnTo>
                        <a:pt x="1132" y="218"/>
                      </a:lnTo>
                      <a:lnTo>
                        <a:pt x="1141" y="220"/>
                      </a:lnTo>
                      <a:lnTo>
                        <a:pt x="1144" y="220"/>
                      </a:lnTo>
                      <a:lnTo>
                        <a:pt x="1144" y="223"/>
                      </a:lnTo>
                      <a:lnTo>
                        <a:pt x="1141" y="234"/>
                      </a:lnTo>
                      <a:lnTo>
                        <a:pt x="1141" y="236"/>
                      </a:lnTo>
                      <a:lnTo>
                        <a:pt x="1142" y="239"/>
                      </a:lnTo>
                      <a:lnTo>
                        <a:pt x="1142" y="239"/>
                      </a:lnTo>
                      <a:lnTo>
                        <a:pt x="1146" y="239"/>
                      </a:lnTo>
                      <a:lnTo>
                        <a:pt x="1148" y="241"/>
                      </a:lnTo>
                      <a:lnTo>
                        <a:pt x="1151" y="244"/>
                      </a:lnTo>
                      <a:lnTo>
                        <a:pt x="1151" y="248"/>
                      </a:lnTo>
                      <a:lnTo>
                        <a:pt x="1148" y="250"/>
                      </a:lnTo>
                      <a:lnTo>
                        <a:pt x="1142" y="251"/>
                      </a:lnTo>
                      <a:lnTo>
                        <a:pt x="1137" y="253"/>
                      </a:lnTo>
                      <a:lnTo>
                        <a:pt x="1135" y="253"/>
                      </a:lnTo>
                      <a:lnTo>
                        <a:pt x="1134" y="255"/>
                      </a:lnTo>
                      <a:lnTo>
                        <a:pt x="1134" y="257"/>
                      </a:lnTo>
                      <a:lnTo>
                        <a:pt x="1132" y="260"/>
                      </a:lnTo>
                      <a:lnTo>
                        <a:pt x="1132" y="262"/>
                      </a:lnTo>
                      <a:lnTo>
                        <a:pt x="1130" y="264"/>
                      </a:lnTo>
                      <a:lnTo>
                        <a:pt x="1127" y="265"/>
                      </a:lnTo>
                      <a:lnTo>
                        <a:pt x="1118" y="267"/>
                      </a:lnTo>
                      <a:lnTo>
                        <a:pt x="1114" y="267"/>
                      </a:lnTo>
                      <a:lnTo>
                        <a:pt x="1109" y="271"/>
                      </a:lnTo>
                      <a:lnTo>
                        <a:pt x="1106" y="272"/>
                      </a:lnTo>
                      <a:lnTo>
                        <a:pt x="1106" y="274"/>
                      </a:lnTo>
                      <a:lnTo>
                        <a:pt x="1106" y="274"/>
                      </a:lnTo>
                      <a:lnTo>
                        <a:pt x="1108" y="276"/>
                      </a:lnTo>
                      <a:lnTo>
                        <a:pt x="1109" y="276"/>
                      </a:lnTo>
                      <a:lnTo>
                        <a:pt x="1109" y="278"/>
                      </a:lnTo>
                      <a:lnTo>
                        <a:pt x="1109" y="278"/>
                      </a:lnTo>
                      <a:lnTo>
                        <a:pt x="1109" y="279"/>
                      </a:lnTo>
                      <a:lnTo>
                        <a:pt x="1108" y="279"/>
                      </a:lnTo>
                      <a:lnTo>
                        <a:pt x="1108" y="283"/>
                      </a:lnTo>
                      <a:lnTo>
                        <a:pt x="1104" y="288"/>
                      </a:lnTo>
                      <a:lnTo>
                        <a:pt x="1102" y="290"/>
                      </a:lnTo>
                      <a:lnTo>
                        <a:pt x="1101" y="297"/>
                      </a:lnTo>
                      <a:lnTo>
                        <a:pt x="1099" y="300"/>
                      </a:lnTo>
                      <a:lnTo>
                        <a:pt x="1095" y="309"/>
                      </a:lnTo>
                      <a:lnTo>
                        <a:pt x="1092" y="313"/>
                      </a:lnTo>
                      <a:lnTo>
                        <a:pt x="1092" y="318"/>
                      </a:lnTo>
                      <a:lnTo>
                        <a:pt x="1095" y="321"/>
                      </a:lnTo>
                      <a:lnTo>
                        <a:pt x="1099" y="320"/>
                      </a:lnTo>
                      <a:lnTo>
                        <a:pt x="1106" y="313"/>
                      </a:lnTo>
                      <a:lnTo>
                        <a:pt x="1113" y="309"/>
                      </a:lnTo>
                      <a:lnTo>
                        <a:pt x="1123" y="311"/>
                      </a:lnTo>
                      <a:lnTo>
                        <a:pt x="1134" y="314"/>
                      </a:lnTo>
                      <a:lnTo>
                        <a:pt x="1141" y="320"/>
                      </a:lnTo>
                      <a:lnTo>
                        <a:pt x="1144" y="323"/>
                      </a:lnTo>
                      <a:lnTo>
                        <a:pt x="1142" y="323"/>
                      </a:lnTo>
                      <a:lnTo>
                        <a:pt x="1139" y="323"/>
                      </a:lnTo>
                      <a:lnTo>
                        <a:pt x="1128" y="321"/>
                      </a:lnTo>
                      <a:lnTo>
                        <a:pt x="1125" y="321"/>
                      </a:lnTo>
                      <a:lnTo>
                        <a:pt x="1120" y="321"/>
                      </a:lnTo>
                      <a:lnTo>
                        <a:pt x="1114" y="323"/>
                      </a:lnTo>
                      <a:lnTo>
                        <a:pt x="1120" y="327"/>
                      </a:lnTo>
                      <a:lnTo>
                        <a:pt x="1123" y="328"/>
                      </a:lnTo>
                      <a:lnTo>
                        <a:pt x="1127" y="330"/>
                      </a:lnTo>
                      <a:lnTo>
                        <a:pt x="1134" y="332"/>
                      </a:lnTo>
                      <a:lnTo>
                        <a:pt x="1135" y="332"/>
                      </a:lnTo>
                      <a:lnTo>
                        <a:pt x="1141" y="333"/>
                      </a:lnTo>
                      <a:lnTo>
                        <a:pt x="1142" y="335"/>
                      </a:lnTo>
                      <a:lnTo>
                        <a:pt x="1146" y="335"/>
                      </a:lnTo>
                      <a:lnTo>
                        <a:pt x="1148" y="335"/>
                      </a:lnTo>
                      <a:lnTo>
                        <a:pt x="1153" y="333"/>
                      </a:lnTo>
                      <a:lnTo>
                        <a:pt x="1158" y="333"/>
                      </a:lnTo>
                      <a:lnTo>
                        <a:pt x="1162" y="333"/>
                      </a:lnTo>
                      <a:lnTo>
                        <a:pt x="1165" y="337"/>
                      </a:lnTo>
                      <a:lnTo>
                        <a:pt x="1165" y="342"/>
                      </a:lnTo>
                      <a:lnTo>
                        <a:pt x="1165" y="347"/>
                      </a:lnTo>
                      <a:lnTo>
                        <a:pt x="1163" y="351"/>
                      </a:lnTo>
                      <a:lnTo>
                        <a:pt x="1160" y="353"/>
                      </a:lnTo>
                      <a:lnTo>
                        <a:pt x="1156" y="353"/>
                      </a:lnTo>
                      <a:lnTo>
                        <a:pt x="1128" y="347"/>
                      </a:lnTo>
                      <a:lnTo>
                        <a:pt x="1120" y="346"/>
                      </a:lnTo>
                      <a:lnTo>
                        <a:pt x="1111" y="347"/>
                      </a:lnTo>
                      <a:lnTo>
                        <a:pt x="1109" y="347"/>
                      </a:lnTo>
                      <a:lnTo>
                        <a:pt x="1109" y="347"/>
                      </a:lnTo>
                      <a:lnTo>
                        <a:pt x="1109" y="349"/>
                      </a:lnTo>
                      <a:lnTo>
                        <a:pt x="1109" y="349"/>
                      </a:lnTo>
                      <a:lnTo>
                        <a:pt x="1108" y="349"/>
                      </a:lnTo>
                      <a:lnTo>
                        <a:pt x="1099" y="354"/>
                      </a:lnTo>
                      <a:lnTo>
                        <a:pt x="1095" y="354"/>
                      </a:lnTo>
                      <a:lnTo>
                        <a:pt x="1092" y="354"/>
                      </a:lnTo>
                      <a:lnTo>
                        <a:pt x="1087" y="353"/>
                      </a:lnTo>
                      <a:lnTo>
                        <a:pt x="1083" y="353"/>
                      </a:lnTo>
                      <a:lnTo>
                        <a:pt x="1078" y="353"/>
                      </a:lnTo>
                      <a:lnTo>
                        <a:pt x="1074" y="353"/>
                      </a:lnTo>
                      <a:lnTo>
                        <a:pt x="1074" y="356"/>
                      </a:lnTo>
                      <a:lnTo>
                        <a:pt x="1078" y="360"/>
                      </a:lnTo>
                      <a:lnTo>
                        <a:pt x="1081" y="360"/>
                      </a:lnTo>
                      <a:lnTo>
                        <a:pt x="1087" y="360"/>
                      </a:lnTo>
                      <a:lnTo>
                        <a:pt x="1090" y="361"/>
                      </a:lnTo>
                      <a:lnTo>
                        <a:pt x="1092" y="365"/>
                      </a:lnTo>
                      <a:lnTo>
                        <a:pt x="1094" y="368"/>
                      </a:lnTo>
                      <a:lnTo>
                        <a:pt x="1095" y="372"/>
                      </a:lnTo>
                      <a:lnTo>
                        <a:pt x="1099" y="375"/>
                      </a:lnTo>
                      <a:lnTo>
                        <a:pt x="1102" y="375"/>
                      </a:lnTo>
                      <a:lnTo>
                        <a:pt x="1108" y="374"/>
                      </a:lnTo>
                      <a:lnTo>
                        <a:pt x="1109" y="374"/>
                      </a:lnTo>
                      <a:lnTo>
                        <a:pt x="1111" y="374"/>
                      </a:lnTo>
                      <a:lnTo>
                        <a:pt x="1114" y="375"/>
                      </a:lnTo>
                      <a:lnTo>
                        <a:pt x="1118" y="377"/>
                      </a:lnTo>
                      <a:lnTo>
                        <a:pt x="1127" y="377"/>
                      </a:lnTo>
                      <a:lnTo>
                        <a:pt x="1130" y="379"/>
                      </a:lnTo>
                      <a:lnTo>
                        <a:pt x="1132" y="382"/>
                      </a:lnTo>
                      <a:lnTo>
                        <a:pt x="1132" y="386"/>
                      </a:lnTo>
                      <a:lnTo>
                        <a:pt x="1132" y="388"/>
                      </a:lnTo>
                      <a:lnTo>
                        <a:pt x="1132" y="389"/>
                      </a:lnTo>
                      <a:lnTo>
                        <a:pt x="1132" y="391"/>
                      </a:lnTo>
                      <a:lnTo>
                        <a:pt x="1134" y="395"/>
                      </a:lnTo>
                      <a:lnTo>
                        <a:pt x="1137" y="398"/>
                      </a:lnTo>
                      <a:lnTo>
                        <a:pt x="1139" y="400"/>
                      </a:lnTo>
                      <a:lnTo>
                        <a:pt x="1139" y="403"/>
                      </a:lnTo>
                      <a:lnTo>
                        <a:pt x="1141" y="407"/>
                      </a:lnTo>
                      <a:lnTo>
                        <a:pt x="1142" y="424"/>
                      </a:lnTo>
                      <a:lnTo>
                        <a:pt x="1142" y="430"/>
                      </a:lnTo>
                      <a:lnTo>
                        <a:pt x="1142" y="435"/>
                      </a:lnTo>
                      <a:lnTo>
                        <a:pt x="1141" y="437"/>
                      </a:lnTo>
                      <a:lnTo>
                        <a:pt x="1139" y="438"/>
                      </a:lnTo>
                      <a:lnTo>
                        <a:pt x="1137" y="440"/>
                      </a:lnTo>
                      <a:lnTo>
                        <a:pt x="1135" y="440"/>
                      </a:lnTo>
                      <a:lnTo>
                        <a:pt x="1134" y="440"/>
                      </a:lnTo>
                      <a:lnTo>
                        <a:pt x="1132" y="438"/>
                      </a:lnTo>
                      <a:lnTo>
                        <a:pt x="1128" y="435"/>
                      </a:lnTo>
                      <a:lnTo>
                        <a:pt x="1125" y="431"/>
                      </a:lnTo>
                      <a:lnTo>
                        <a:pt x="1121" y="431"/>
                      </a:lnTo>
                      <a:lnTo>
                        <a:pt x="1118" y="431"/>
                      </a:lnTo>
                      <a:lnTo>
                        <a:pt x="1113" y="437"/>
                      </a:lnTo>
                      <a:lnTo>
                        <a:pt x="1111" y="438"/>
                      </a:lnTo>
                      <a:lnTo>
                        <a:pt x="1106" y="440"/>
                      </a:lnTo>
                      <a:lnTo>
                        <a:pt x="1104" y="442"/>
                      </a:lnTo>
                      <a:lnTo>
                        <a:pt x="1099" y="445"/>
                      </a:lnTo>
                      <a:lnTo>
                        <a:pt x="1094" y="447"/>
                      </a:lnTo>
                      <a:lnTo>
                        <a:pt x="1090" y="445"/>
                      </a:lnTo>
                      <a:lnTo>
                        <a:pt x="1087" y="444"/>
                      </a:lnTo>
                      <a:lnTo>
                        <a:pt x="1081" y="442"/>
                      </a:lnTo>
                      <a:lnTo>
                        <a:pt x="1085" y="445"/>
                      </a:lnTo>
                      <a:lnTo>
                        <a:pt x="1088" y="447"/>
                      </a:lnTo>
                      <a:lnTo>
                        <a:pt x="1092" y="449"/>
                      </a:lnTo>
                      <a:lnTo>
                        <a:pt x="1095" y="451"/>
                      </a:lnTo>
                      <a:lnTo>
                        <a:pt x="1099" y="449"/>
                      </a:lnTo>
                      <a:lnTo>
                        <a:pt x="1102" y="445"/>
                      </a:lnTo>
                      <a:lnTo>
                        <a:pt x="1106" y="444"/>
                      </a:lnTo>
                      <a:lnTo>
                        <a:pt x="1109" y="445"/>
                      </a:lnTo>
                      <a:lnTo>
                        <a:pt x="1111" y="447"/>
                      </a:lnTo>
                      <a:lnTo>
                        <a:pt x="1113" y="451"/>
                      </a:lnTo>
                      <a:lnTo>
                        <a:pt x="1113" y="456"/>
                      </a:lnTo>
                      <a:lnTo>
                        <a:pt x="1113" y="459"/>
                      </a:lnTo>
                      <a:lnTo>
                        <a:pt x="1111" y="461"/>
                      </a:lnTo>
                      <a:lnTo>
                        <a:pt x="1109" y="463"/>
                      </a:lnTo>
                      <a:lnTo>
                        <a:pt x="1108" y="465"/>
                      </a:lnTo>
                      <a:lnTo>
                        <a:pt x="1109" y="466"/>
                      </a:lnTo>
                      <a:lnTo>
                        <a:pt x="1114" y="465"/>
                      </a:lnTo>
                      <a:lnTo>
                        <a:pt x="1121" y="449"/>
                      </a:lnTo>
                      <a:lnTo>
                        <a:pt x="1128" y="449"/>
                      </a:lnTo>
                      <a:lnTo>
                        <a:pt x="1130" y="451"/>
                      </a:lnTo>
                      <a:lnTo>
                        <a:pt x="1134" y="454"/>
                      </a:lnTo>
                      <a:lnTo>
                        <a:pt x="1137" y="465"/>
                      </a:lnTo>
                      <a:lnTo>
                        <a:pt x="1139" y="466"/>
                      </a:lnTo>
                      <a:lnTo>
                        <a:pt x="1139" y="466"/>
                      </a:lnTo>
                      <a:lnTo>
                        <a:pt x="1141" y="468"/>
                      </a:lnTo>
                      <a:lnTo>
                        <a:pt x="1144" y="472"/>
                      </a:lnTo>
                      <a:lnTo>
                        <a:pt x="1144" y="472"/>
                      </a:lnTo>
                      <a:lnTo>
                        <a:pt x="1146" y="473"/>
                      </a:lnTo>
                      <a:lnTo>
                        <a:pt x="1144" y="482"/>
                      </a:lnTo>
                      <a:lnTo>
                        <a:pt x="1139" y="484"/>
                      </a:lnTo>
                      <a:lnTo>
                        <a:pt x="1123" y="484"/>
                      </a:lnTo>
                      <a:lnTo>
                        <a:pt x="1123" y="487"/>
                      </a:lnTo>
                      <a:lnTo>
                        <a:pt x="1118" y="489"/>
                      </a:lnTo>
                      <a:lnTo>
                        <a:pt x="1111" y="491"/>
                      </a:lnTo>
                      <a:lnTo>
                        <a:pt x="1108" y="491"/>
                      </a:lnTo>
                      <a:lnTo>
                        <a:pt x="1102" y="491"/>
                      </a:lnTo>
                      <a:lnTo>
                        <a:pt x="1097" y="489"/>
                      </a:lnTo>
                      <a:lnTo>
                        <a:pt x="1088" y="486"/>
                      </a:lnTo>
                      <a:lnTo>
                        <a:pt x="1090" y="480"/>
                      </a:lnTo>
                      <a:lnTo>
                        <a:pt x="1092" y="477"/>
                      </a:lnTo>
                      <a:lnTo>
                        <a:pt x="1090" y="473"/>
                      </a:lnTo>
                      <a:lnTo>
                        <a:pt x="1087" y="470"/>
                      </a:lnTo>
                      <a:lnTo>
                        <a:pt x="1088" y="475"/>
                      </a:lnTo>
                      <a:lnTo>
                        <a:pt x="1087" y="479"/>
                      </a:lnTo>
                      <a:lnTo>
                        <a:pt x="1083" y="480"/>
                      </a:lnTo>
                      <a:lnTo>
                        <a:pt x="1080" y="484"/>
                      </a:lnTo>
                      <a:lnTo>
                        <a:pt x="1081" y="486"/>
                      </a:lnTo>
                      <a:lnTo>
                        <a:pt x="1080" y="492"/>
                      </a:lnTo>
                      <a:lnTo>
                        <a:pt x="1083" y="494"/>
                      </a:lnTo>
                      <a:lnTo>
                        <a:pt x="1088" y="496"/>
                      </a:lnTo>
                      <a:lnTo>
                        <a:pt x="1104" y="496"/>
                      </a:lnTo>
                      <a:lnTo>
                        <a:pt x="1113" y="498"/>
                      </a:lnTo>
                      <a:lnTo>
                        <a:pt x="1118" y="499"/>
                      </a:lnTo>
                      <a:lnTo>
                        <a:pt x="1121" y="501"/>
                      </a:lnTo>
                      <a:lnTo>
                        <a:pt x="1121" y="503"/>
                      </a:lnTo>
                      <a:lnTo>
                        <a:pt x="1121" y="506"/>
                      </a:lnTo>
                      <a:lnTo>
                        <a:pt x="1118" y="513"/>
                      </a:lnTo>
                      <a:lnTo>
                        <a:pt x="1116" y="513"/>
                      </a:lnTo>
                      <a:lnTo>
                        <a:pt x="1114" y="515"/>
                      </a:lnTo>
                      <a:lnTo>
                        <a:pt x="1109" y="515"/>
                      </a:lnTo>
                      <a:lnTo>
                        <a:pt x="1099" y="515"/>
                      </a:lnTo>
                      <a:lnTo>
                        <a:pt x="1095" y="517"/>
                      </a:lnTo>
                      <a:lnTo>
                        <a:pt x="1090" y="519"/>
                      </a:lnTo>
                      <a:lnTo>
                        <a:pt x="1087" y="520"/>
                      </a:lnTo>
                      <a:lnTo>
                        <a:pt x="1083" y="522"/>
                      </a:lnTo>
                      <a:lnTo>
                        <a:pt x="1078" y="524"/>
                      </a:lnTo>
                      <a:lnTo>
                        <a:pt x="1074" y="522"/>
                      </a:lnTo>
                      <a:lnTo>
                        <a:pt x="1069" y="520"/>
                      </a:lnTo>
                      <a:lnTo>
                        <a:pt x="1052" y="513"/>
                      </a:lnTo>
                      <a:lnTo>
                        <a:pt x="1050" y="512"/>
                      </a:lnTo>
                      <a:lnTo>
                        <a:pt x="1048" y="512"/>
                      </a:lnTo>
                      <a:lnTo>
                        <a:pt x="1045" y="508"/>
                      </a:lnTo>
                      <a:lnTo>
                        <a:pt x="1043" y="506"/>
                      </a:lnTo>
                      <a:lnTo>
                        <a:pt x="1041" y="505"/>
                      </a:lnTo>
                      <a:lnTo>
                        <a:pt x="1039" y="505"/>
                      </a:lnTo>
                      <a:lnTo>
                        <a:pt x="1036" y="508"/>
                      </a:lnTo>
                      <a:lnTo>
                        <a:pt x="1034" y="508"/>
                      </a:lnTo>
                      <a:lnTo>
                        <a:pt x="1032" y="510"/>
                      </a:lnTo>
                      <a:lnTo>
                        <a:pt x="1031" y="510"/>
                      </a:lnTo>
                      <a:lnTo>
                        <a:pt x="1027" y="510"/>
                      </a:lnTo>
                      <a:lnTo>
                        <a:pt x="1024" y="508"/>
                      </a:lnTo>
                      <a:lnTo>
                        <a:pt x="1015" y="503"/>
                      </a:lnTo>
                      <a:lnTo>
                        <a:pt x="1011" y="501"/>
                      </a:lnTo>
                      <a:lnTo>
                        <a:pt x="1015" y="503"/>
                      </a:lnTo>
                      <a:lnTo>
                        <a:pt x="1024" y="510"/>
                      </a:lnTo>
                      <a:lnTo>
                        <a:pt x="1027" y="512"/>
                      </a:lnTo>
                      <a:lnTo>
                        <a:pt x="1025" y="513"/>
                      </a:lnTo>
                      <a:lnTo>
                        <a:pt x="1015" y="517"/>
                      </a:lnTo>
                      <a:lnTo>
                        <a:pt x="1011" y="519"/>
                      </a:lnTo>
                      <a:lnTo>
                        <a:pt x="1008" y="522"/>
                      </a:lnTo>
                      <a:lnTo>
                        <a:pt x="1003" y="524"/>
                      </a:lnTo>
                      <a:lnTo>
                        <a:pt x="999" y="524"/>
                      </a:lnTo>
                      <a:lnTo>
                        <a:pt x="973" y="515"/>
                      </a:lnTo>
                      <a:lnTo>
                        <a:pt x="978" y="519"/>
                      </a:lnTo>
                      <a:lnTo>
                        <a:pt x="985" y="522"/>
                      </a:lnTo>
                      <a:lnTo>
                        <a:pt x="989" y="526"/>
                      </a:lnTo>
                      <a:lnTo>
                        <a:pt x="985" y="529"/>
                      </a:lnTo>
                      <a:lnTo>
                        <a:pt x="982" y="529"/>
                      </a:lnTo>
                      <a:lnTo>
                        <a:pt x="975" y="529"/>
                      </a:lnTo>
                      <a:lnTo>
                        <a:pt x="970" y="529"/>
                      </a:lnTo>
                      <a:lnTo>
                        <a:pt x="970" y="533"/>
                      </a:lnTo>
                      <a:lnTo>
                        <a:pt x="971" y="534"/>
                      </a:lnTo>
                      <a:lnTo>
                        <a:pt x="973" y="533"/>
                      </a:lnTo>
                      <a:lnTo>
                        <a:pt x="975" y="533"/>
                      </a:lnTo>
                      <a:lnTo>
                        <a:pt x="975" y="531"/>
                      </a:lnTo>
                      <a:lnTo>
                        <a:pt x="978" y="531"/>
                      </a:lnTo>
                      <a:lnTo>
                        <a:pt x="984" y="531"/>
                      </a:lnTo>
                      <a:lnTo>
                        <a:pt x="985" y="531"/>
                      </a:lnTo>
                      <a:lnTo>
                        <a:pt x="987" y="531"/>
                      </a:lnTo>
                      <a:lnTo>
                        <a:pt x="994" y="529"/>
                      </a:lnTo>
                      <a:lnTo>
                        <a:pt x="1011" y="524"/>
                      </a:lnTo>
                      <a:lnTo>
                        <a:pt x="1013" y="524"/>
                      </a:lnTo>
                      <a:lnTo>
                        <a:pt x="1013" y="522"/>
                      </a:lnTo>
                      <a:lnTo>
                        <a:pt x="1015" y="520"/>
                      </a:lnTo>
                      <a:lnTo>
                        <a:pt x="1015" y="520"/>
                      </a:lnTo>
                      <a:lnTo>
                        <a:pt x="1017" y="519"/>
                      </a:lnTo>
                      <a:lnTo>
                        <a:pt x="1018" y="519"/>
                      </a:lnTo>
                      <a:lnTo>
                        <a:pt x="1020" y="517"/>
                      </a:lnTo>
                      <a:lnTo>
                        <a:pt x="1022" y="517"/>
                      </a:lnTo>
                      <a:lnTo>
                        <a:pt x="1034" y="515"/>
                      </a:lnTo>
                      <a:lnTo>
                        <a:pt x="1041" y="515"/>
                      </a:lnTo>
                      <a:lnTo>
                        <a:pt x="1046" y="517"/>
                      </a:lnTo>
                      <a:lnTo>
                        <a:pt x="1048" y="519"/>
                      </a:lnTo>
                      <a:lnTo>
                        <a:pt x="1055" y="524"/>
                      </a:lnTo>
                      <a:lnTo>
                        <a:pt x="1076" y="536"/>
                      </a:lnTo>
                      <a:lnTo>
                        <a:pt x="1081" y="538"/>
                      </a:lnTo>
                      <a:lnTo>
                        <a:pt x="1085" y="541"/>
                      </a:lnTo>
                      <a:lnTo>
                        <a:pt x="1087" y="545"/>
                      </a:lnTo>
                      <a:lnTo>
                        <a:pt x="1087" y="550"/>
                      </a:lnTo>
                      <a:lnTo>
                        <a:pt x="1085" y="562"/>
                      </a:lnTo>
                      <a:lnTo>
                        <a:pt x="1085" y="564"/>
                      </a:lnTo>
                      <a:lnTo>
                        <a:pt x="1085" y="564"/>
                      </a:lnTo>
                      <a:lnTo>
                        <a:pt x="1081" y="566"/>
                      </a:lnTo>
                      <a:lnTo>
                        <a:pt x="1081" y="566"/>
                      </a:lnTo>
                      <a:lnTo>
                        <a:pt x="1081" y="568"/>
                      </a:lnTo>
                      <a:lnTo>
                        <a:pt x="1081" y="573"/>
                      </a:lnTo>
                      <a:lnTo>
                        <a:pt x="1080" y="575"/>
                      </a:lnTo>
                      <a:lnTo>
                        <a:pt x="1076" y="573"/>
                      </a:lnTo>
                      <a:lnTo>
                        <a:pt x="1067" y="569"/>
                      </a:lnTo>
                      <a:lnTo>
                        <a:pt x="1052" y="564"/>
                      </a:lnTo>
                      <a:lnTo>
                        <a:pt x="1045" y="561"/>
                      </a:lnTo>
                      <a:lnTo>
                        <a:pt x="1041" y="557"/>
                      </a:lnTo>
                      <a:lnTo>
                        <a:pt x="1036" y="552"/>
                      </a:lnTo>
                      <a:lnTo>
                        <a:pt x="1034" y="545"/>
                      </a:lnTo>
                      <a:lnTo>
                        <a:pt x="1031" y="538"/>
                      </a:lnTo>
                      <a:lnTo>
                        <a:pt x="1031" y="536"/>
                      </a:lnTo>
                      <a:lnTo>
                        <a:pt x="1027" y="534"/>
                      </a:lnTo>
                      <a:lnTo>
                        <a:pt x="1024" y="536"/>
                      </a:lnTo>
                      <a:lnTo>
                        <a:pt x="1022" y="538"/>
                      </a:lnTo>
                      <a:lnTo>
                        <a:pt x="1018" y="540"/>
                      </a:lnTo>
                      <a:lnTo>
                        <a:pt x="1017" y="541"/>
                      </a:lnTo>
                      <a:lnTo>
                        <a:pt x="1010" y="543"/>
                      </a:lnTo>
                      <a:lnTo>
                        <a:pt x="987" y="550"/>
                      </a:lnTo>
                      <a:lnTo>
                        <a:pt x="992" y="552"/>
                      </a:lnTo>
                      <a:lnTo>
                        <a:pt x="996" y="552"/>
                      </a:lnTo>
                      <a:lnTo>
                        <a:pt x="1006" y="547"/>
                      </a:lnTo>
                      <a:lnTo>
                        <a:pt x="1008" y="547"/>
                      </a:lnTo>
                      <a:lnTo>
                        <a:pt x="1011" y="547"/>
                      </a:lnTo>
                      <a:lnTo>
                        <a:pt x="1015" y="547"/>
                      </a:lnTo>
                      <a:lnTo>
                        <a:pt x="1017" y="545"/>
                      </a:lnTo>
                      <a:lnTo>
                        <a:pt x="1020" y="543"/>
                      </a:lnTo>
                      <a:lnTo>
                        <a:pt x="1022" y="543"/>
                      </a:lnTo>
                      <a:lnTo>
                        <a:pt x="1025" y="543"/>
                      </a:lnTo>
                      <a:lnTo>
                        <a:pt x="1029" y="545"/>
                      </a:lnTo>
                      <a:lnTo>
                        <a:pt x="1029" y="548"/>
                      </a:lnTo>
                      <a:lnTo>
                        <a:pt x="1029" y="554"/>
                      </a:lnTo>
                      <a:lnTo>
                        <a:pt x="1029" y="559"/>
                      </a:lnTo>
                      <a:lnTo>
                        <a:pt x="1025" y="561"/>
                      </a:lnTo>
                      <a:lnTo>
                        <a:pt x="1022" y="562"/>
                      </a:lnTo>
                      <a:lnTo>
                        <a:pt x="1018" y="564"/>
                      </a:lnTo>
                      <a:lnTo>
                        <a:pt x="1020" y="566"/>
                      </a:lnTo>
                      <a:lnTo>
                        <a:pt x="1022" y="566"/>
                      </a:lnTo>
                      <a:lnTo>
                        <a:pt x="1027" y="564"/>
                      </a:lnTo>
                      <a:lnTo>
                        <a:pt x="1029" y="564"/>
                      </a:lnTo>
                      <a:lnTo>
                        <a:pt x="1031" y="564"/>
                      </a:lnTo>
                      <a:lnTo>
                        <a:pt x="1034" y="566"/>
                      </a:lnTo>
                      <a:lnTo>
                        <a:pt x="1053" y="575"/>
                      </a:lnTo>
                      <a:lnTo>
                        <a:pt x="1073" y="582"/>
                      </a:lnTo>
                      <a:lnTo>
                        <a:pt x="1074" y="583"/>
                      </a:lnTo>
                      <a:lnTo>
                        <a:pt x="1076" y="585"/>
                      </a:lnTo>
                      <a:lnTo>
                        <a:pt x="1076" y="585"/>
                      </a:lnTo>
                      <a:lnTo>
                        <a:pt x="1078" y="587"/>
                      </a:lnTo>
                      <a:lnTo>
                        <a:pt x="1080" y="589"/>
                      </a:lnTo>
                      <a:lnTo>
                        <a:pt x="1083" y="589"/>
                      </a:lnTo>
                      <a:lnTo>
                        <a:pt x="1088" y="589"/>
                      </a:lnTo>
                      <a:lnTo>
                        <a:pt x="1085" y="592"/>
                      </a:lnTo>
                      <a:lnTo>
                        <a:pt x="1083" y="594"/>
                      </a:lnTo>
                      <a:lnTo>
                        <a:pt x="1080" y="596"/>
                      </a:lnTo>
                      <a:lnTo>
                        <a:pt x="1076" y="597"/>
                      </a:lnTo>
                      <a:lnTo>
                        <a:pt x="1076" y="599"/>
                      </a:lnTo>
                      <a:lnTo>
                        <a:pt x="1076" y="603"/>
                      </a:lnTo>
                      <a:lnTo>
                        <a:pt x="1078" y="608"/>
                      </a:lnTo>
                      <a:lnTo>
                        <a:pt x="1080" y="603"/>
                      </a:lnTo>
                      <a:lnTo>
                        <a:pt x="1083" y="599"/>
                      </a:lnTo>
                      <a:lnTo>
                        <a:pt x="1087" y="597"/>
                      </a:lnTo>
                      <a:lnTo>
                        <a:pt x="1092" y="599"/>
                      </a:lnTo>
                      <a:lnTo>
                        <a:pt x="1094" y="603"/>
                      </a:lnTo>
                      <a:lnTo>
                        <a:pt x="1094" y="608"/>
                      </a:lnTo>
                      <a:lnTo>
                        <a:pt x="1094" y="617"/>
                      </a:lnTo>
                      <a:lnTo>
                        <a:pt x="1097" y="631"/>
                      </a:lnTo>
                      <a:lnTo>
                        <a:pt x="1097" y="634"/>
                      </a:lnTo>
                      <a:lnTo>
                        <a:pt x="1094" y="638"/>
                      </a:lnTo>
                      <a:lnTo>
                        <a:pt x="1088" y="638"/>
                      </a:lnTo>
                      <a:lnTo>
                        <a:pt x="1078" y="638"/>
                      </a:lnTo>
                      <a:lnTo>
                        <a:pt x="1078" y="622"/>
                      </a:lnTo>
                      <a:lnTo>
                        <a:pt x="1076" y="624"/>
                      </a:lnTo>
                      <a:lnTo>
                        <a:pt x="1074" y="627"/>
                      </a:lnTo>
                      <a:lnTo>
                        <a:pt x="1074" y="632"/>
                      </a:lnTo>
                      <a:lnTo>
                        <a:pt x="1073" y="636"/>
                      </a:lnTo>
                      <a:lnTo>
                        <a:pt x="1073" y="638"/>
                      </a:lnTo>
                      <a:lnTo>
                        <a:pt x="1069" y="638"/>
                      </a:lnTo>
                      <a:lnTo>
                        <a:pt x="1060" y="638"/>
                      </a:lnTo>
                      <a:lnTo>
                        <a:pt x="1053" y="636"/>
                      </a:lnTo>
                      <a:lnTo>
                        <a:pt x="1048" y="632"/>
                      </a:lnTo>
                      <a:lnTo>
                        <a:pt x="1043" y="627"/>
                      </a:lnTo>
                      <a:lnTo>
                        <a:pt x="1041" y="622"/>
                      </a:lnTo>
                      <a:lnTo>
                        <a:pt x="1039" y="617"/>
                      </a:lnTo>
                      <a:lnTo>
                        <a:pt x="1036" y="613"/>
                      </a:lnTo>
                      <a:lnTo>
                        <a:pt x="1032" y="608"/>
                      </a:lnTo>
                      <a:lnTo>
                        <a:pt x="1011" y="599"/>
                      </a:lnTo>
                      <a:lnTo>
                        <a:pt x="1006" y="596"/>
                      </a:lnTo>
                      <a:lnTo>
                        <a:pt x="999" y="596"/>
                      </a:lnTo>
                      <a:lnTo>
                        <a:pt x="987" y="596"/>
                      </a:lnTo>
                      <a:lnTo>
                        <a:pt x="985" y="594"/>
                      </a:lnTo>
                      <a:lnTo>
                        <a:pt x="982" y="594"/>
                      </a:lnTo>
                      <a:lnTo>
                        <a:pt x="980" y="594"/>
                      </a:lnTo>
                      <a:lnTo>
                        <a:pt x="978" y="594"/>
                      </a:lnTo>
                      <a:lnTo>
                        <a:pt x="977" y="596"/>
                      </a:lnTo>
                      <a:lnTo>
                        <a:pt x="978" y="596"/>
                      </a:lnTo>
                      <a:lnTo>
                        <a:pt x="980" y="597"/>
                      </a:lnTo>
                      <a:lnTo>
                        <a:pt x="984" y="597"/>
                      </a:lnTo>
                      <a:lnTo>
                        <a:pt x="996" y="597"/>
                      </a:lnTo>
                      <a:lnTo>
                        <a:pt x="1001" y="597"/>
                      </a:lnTo>
                      <a:lnTo>
                        <a:pt x="1006" y="601"/>
                      </a:lnTo>
                      <a:lnTo>
                        <a:pt x="1008" y="606"/>
                      </a:lnTo>
                      <a:lnTo>
                        <a:pt x="1006" y="610"/>
                      </a:lnTo>
                      <a:lnTo>
                        <a:pt x="1001" y="613"/>
                      </a:lnTo>
                      <a:lnTo>
                        <a:pt x="996" y="615"/>
                      </a:lnTo>
                      <a:lnTo>
                        <a:pt x="991" y="617"/>
                      </a:lnTo>
                      <a:lnTo>
                        <a:pt x="985" y="618"/>
                      </a:lnTo>
                      <a:lnTo>
                        <a:pt x="978" y="618"/>
                      </a:lnTo>
                      <a:lnTo>
                        <a:pt x="973" y="618"/>
                      </a:lnTo>
                      <a:lnTo>
                        <a:pt x="961" y="617"/>
                      </a:lnTo>
                      <a:lnTo>
                        <a:pt x="956" y="617"/>
                      </a:lnTo>
                      <a:lnTo>
                        <a:pt x="950" y="617"/>
                      </a:lnTo>
                      <a:lnTo>
                        <a:pt x="952" y="618"/>
                      </a:lnTo>
                      <a:lnTo>
                        <a:pt x="957" y="620"/>
                      </a:lnTo>
                      <a:lnTo>
                        <a:pt x="959" y="620"/>
                      </a:lnTo>
                      <a:lnTo>
                        <a:pt x="959" y="624"/>
                      </a:lnTo>
                      <a:lnTo>
                        <a:pt x="957" y="625"/>
                      </a:lnTo>
                      <a:lnTo>
                        <a:pt x="957" y="627"/>
                      </a:lnTo>
                      <a:lnTo>
                        <a:pt x="956" y="629"/>
                      </a:lnTo>
                      <a:lnTo>
                        <a:pt x="950" y="632"/>
                      </a:lnTo>
                      <a:lnTo>
                        <a:pt x="940" y="636"/>
                      </a:lnTo>
                      <a:lnTo>
                        <a:pt x="935" y="638"/>
                      </a:lnTo>
                      <a:lnTo>
                        <a:pt x="938" y="638"/>
                      </a:lnTo>
                      <a:lnTo>
                        <a:pt x="943" y="636"/>
                      </a:lnTo>
                      <a:lnTo>
                        <a:pt x="947" y="636"/>
                      </a:lnTo>
                      <a:lnTo>
                        <a:pt x="949" y="638"/>
                      </a:lnTo>
                      <a:lnTo>
                        <a:pt x="956" y="639"/>
                      </a:lnTo>
                      <a:lnTo>
                        <a:pt x="957" y="639"/>
                      </a:lnTo>
                      <a:lnTo>
                        <a:pt x="964" y="639"/>
                      </a:lnTo>
                      <a:lnTo>
                        <a:pt x="984" y="638"/>
                      </a:lnTo>
                      <a:lnTo>
                        <a:pt x="987" y="636"/>
                      </a:lnTo>
                      <a:lnTo>
                        <a:pt x="989" y="638"/>
                      </a:lnTo>
                      <a:lnTo>
                        <a:pt x="989" y="638"/>
                      </a:lnTo>
                      <a:lnTo>
                        <a:pt x="989" y="641"/>
                      </a:lnTo>
                      <a:lnTo>
                        <a:pt x="987" y="641"/>
                      </a:lnTo>
                      <a:lnTo>
                        <a:pt x="978" y="645"/>
                      </a:lnTo>
                      <a:lnTo>
                        <a:pt x="973" y="646"/>
                      </a:lnTo>
                      <a:lnTo>
                        <a:pt x="968" y="650"/>
                      </a:lnTo>
                      <a:lnTo>
                        <a:pt x="966" y="655"/>
                      </a:lnTo>
                      <a:lnTo>
                        <a:pt x="971" y="655"/>
                      </a:lnTo>
                      <a:lnTo>
                        <a:pt x="973" y="653"/>
                      </a:lnTo>
                      <a:lnTo>
                        <a:pt x="977" y="650"/>
                      </a:lnTo>
                      <a:lnTo>
                        <a:pt x="980" y="646"/>
                      </a:lnTo>
                      <a:lnTo>
                        <a:pt x="984" y="646"/>
                      </a:lnTo>
                      <a:lnTo>
                        <a:pt x="994" y="646"/>
                      </a:lnTo>
                      <a:lnTo>
                        <a:pt x="997" y="646"/>
                      </a:lnTo>
                      <a:lnTo>
                        <a:pt x="1006" y="643"/>
                      </a:lnTo>
                      <a:lnTo>
                        <a:pt x="1010" y="641"/>
                      </a:lnTo>
                      <a:lnTo>
                        <a:pt x="1015" y="641"/>
                      </a:lnTo>
                      <a:lnTo>
                        <a:pt x="1020" y="643"/>
                      </a:lnTo>
                      <a:lnTo>
                        <a:pt x="1046" y="648"/>
                      </a:lnTo>
                      <a:lnTo>
                        <a:pt x="1055" y="650"/>
                      </a:lnTo>
                      <a:lnTo>
                        <a:pt x="1076" y="650"/>
                      </a:lnTo>
                      <a:lnTo>
                        <a:pt x="1080" y="650"/>
                      </a:lnTo>
                      <a:lnTo>
                        <a:pt x="1081" y="651"/>
                      </a:lnTo>
                      <a:lnTo>
                        <a:pt x="1081" y="651"/>
                      </a:lnTo>
                      <a:lnTo>
                        <a:pt x="1081" y="653"/>
                      </a:lnTo>
                      <a:lnTo>
                        <a:pt x="1080" y="655"/>
                      </a:lnTo>
                      <a:lnTo>
                        <a:pt x="1078" y="655"/>
                      </a:lnTo>
                      <a:lnTo>
                        <a:pt x="1076" y="657"/>
                      </a:lnTo>
                      <a:lnTo>
                        <a:pt x="1067" y="658"/>
                      </a:lnTo>
                      <a:lnTo>
                        <a:pt x="1064" y="660"/>
                      </a:lnTo>
                      <a:lnTo>
                        <a:pt x="1066" y="664"/>
                      </a:lnTo>
                      <a:lnTo>
                        <a:pt x="1060" y="665"/>
                      </a:lnTo>
                      <a:lnTo>
                        <a:pt x="1046" y="665"/>
                      </a:lnTo>
                      <a:lnTo>
                        <a:pt x="1050" y="669"/>
                      </a:lnTo>
                      <a:lnTo>
                        <a:pt x="1046" y="669"/>
                      </a:lnTo>
                      <a:lnTo>
                        <a:pt x="1038" y="669"/>
                      </a:lnTo>
                      <a:lnTo>
                        <a:pt x="1038" y="672"/>
                      </a:lnTo>
                      <a:close/>
                      <a:moveTo>
                        <a:pt x="1139" y="78"/>
                      </a:moveTo>
                      <a:lnTo>
                        <a:pt x="1137" y="73"/>
                      </a:lnTo>
                      <a:lnTo>
                        <a:pt x="1142" y="70"/>
                      </a:lnTo>
                      <a:lnTo>
                        <a:pt x="1149" y="75"/>
                      </a:lnTo>
                      <a:lnTo>
                        <a:pt x="1155" y="82"/>
                      </a:lnTo>
                      <a:lnTo>
                        <a:pt x="1158" y="87"/>
                      </a:lnTo>
                      <a:lnTo>
                        <a:pt x="1153" y="89"/>
                      </a:lnTo>
                      <a:lnTo>
                        <a:pt x="1146" y="85"/>
                      </a:lnTo>
                      <a:lnTo>
                        <a:pt x="1139" y="78"/>
                      </a:lnTo>
                      <a:close/>
                      <a:moveTo>
                        <a:pt x="550" y="56"/>
                      </a:moveTo>
                      <a:lnTo>
                        <a:pt x="554" y="57"/>
                      </a:lnTo>
                      <a:lnTo>
                        <a:pt x="557" y="59"/>
                      </a:lnTo>
                      <a:lnTo>
                        <a:pt x="582" y="68"/>
                      </a:lnTo>
                      <a:lnTo>
                        <a:pt x="584" y="68"/>
                      </a:lnTo>
                      <a:lnTo>
                        <a:pt x="591" y="73"/>
                      </a:lnTo>
                      <a:lnTo>
                        <a:pt x="592" y="73"/>
                      </a:lnTo>
                      <a:lnTo>
                        <a:pt x="596" y="73"/>
                      </a:lnTo>
                      <a:lnTo>
                        <a:pt x="598" y="71"/>
                      </a:lnTo>
                      <a:lnTo>
                        <a:pt x="599" y="68"/>
                      </a:lnTo>
                      <a:lnTo>
                        <a:pt x="599" y="64"/>
                      </a:lnTo>
                      <a:lnTo>
                        <a:pt x="599" y="59"/>
                      </a:lnTo>
                      <a:lnTo>
                        <a:pt x="598" y="56"/>
                      </a:lnTo>
                      <a:lnTo>
                        <a:pt x="596" y="54"/>
                      </a:lnTo>
                      <a:lnTo>
                        <a:pt x="568" y="42"/>
                      </a:lnTo>
                      <a:lnTo>
                        <a:pt x="564" y="42"/>
                      </a:lnTo>
                      <a:lnTo>
                        <a:pt x="561" y="42"/>
                      </a:lnTo>
                      <a:lnTo>
                        <a:pt x="557" y="42"/>
                      </a:lnTo>
                      <a:lnTo>
                        <a:pt x="552" y="43"/>
                      </a:lnTo>
                      <a:lnTo>
                        <a:pt x="549" y="43"/>
                      </a:lnTo>
                      <a:lnTo>
                        <a:pt x="545" y="45"/>
                      </a:lnTo>
                      <a:lnTo>
                        <a:pt x="545" y="50"/>
                      </a:lnTo>
                      <a:lnTo>
                        <a:pt x="547" y="52"/>
                      </a:lnTo>
                      <a:lnTo>
                        <a:pt x="550" y="5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35" name="Freeform 318">
                  <a:extLst>
                    <a:ext uri="{FF2B5EF4-FFF2-40B4-BE49-F238E27FC236}">
                      <a16:creationId xmlns:a16="http://schemas.microsoft.com/office/drawing/2014/main" id="{A1AFEA68-0A83-4678-3167-49BABCCBDA59}"/>
                    </a:ext>
                  </a:extLst>
                </p:cNvPr>
                <p:cNvSpPr>
                  <a:spLocks noEditPoints="1"/>
                </p:cNvSpPr>
                <p:nvPr/>
              </p:nvSpPr>
              <p:spPr bwMode="auto">
                <a:xfrm>
                  <a:off x="-3976" y="-4544"/>
                  <a:ext cx="2181" cy="1500"/>
                </a:xfrm>
                <a:custGeom>
                  <a:avLst/>
                  <a:gdLst>
                    <a:gd name="T0" fmla="*/ 735 w 2181"/>
                    <a:gd name="T1" fmla="*/ 522 h 1500"/>
                    <a:gd name="T2" fmla="*/ 767 w 2181"/>
                    <a:gd name="T3" fmla="*/ 522 h 1500"/>
                    <a:gd name="T4" fmla="*/ 713 w 2181"/>
                    <a:gd name="T5" fmla="*/ 501 h 1500"/>
                    <a:gd name="T6" fmla="*/ 529 w 2181"/>
                    <a:gd name="T7" fmla="*/ 417 h 1500"/>
                    <a:gd name="T8" fmla="*/ 65 w 2181"/>
                    <a:gd name="T9" fmla="*/ 181 h 1500"/>
                    <a:gd name="T10" fmla="*/ 805 w 2181"/>
                    <a:gd name="T11" fmla="*/ 564 h 1500"/>
                    <a:gd name="T12" fmla="*/ 779 w 2181"/>
                    <a:gd name="T13" fmla="*/ 566 h 1500"/>
                    <a:gd name="T14" fmla="*/ 795 w 2181"/>
                    <a:gd name="T15" fmla="*/ 557 h 1500"/>
                    <a:gd name="T16" fmla="*/ 680 w 2181"/>
                    <a:gd name="T17" fmla="*/ 450 h 1500"/>
                    <a:gd name="T18" fmla="*/ 397 w 2181"/>
                    <a:gd name="T19" fmla="*/ 33 h 1500"/>
                    <a:gd name="T20" fmla="*/ 208 w 2181"/>
                    <a:gd name="T21" fmla="*/ 19 h 1500"/>
                    <a:gd name="T22" fmla="*/ 142 w 2181"/>
                    <a:gd name="T23" fmla="*/ 148 h 1500"/>
                    <a:gd name="T24" fmla="*/ 150 w 2181"/>
                    <a:gd name="T25" fmla="*/ 169 h 1500"/>
                    <a:gd name="T26" fmla="*/ 54 w 2181"/>
                    <a:gd name="T27" fmla="*/ 188 h 1500"/>
                    <a:gd name="T28" fmla="*/ 145 w 2181"/>
                    <a:gd name="T29" fmla="*/ 253 h 1500"/>
                    <a:gd name="T30" fmla="*/ 91 w 2181"/>
                    <a:gd name="T31" fmla="*/ 328 h 1500"/>
                    <a:gd name="T32" fmla="*/ 86 w 2181"/>
                    <a:gd name="T33" fmla="*/ 386 h 1500"/>
                    <a:gd name="T34" fmla="*/ 150 w 2181"/>
                    <a:gd name="T35" fmla="*/ 394 h 1500"/>
                    <a:gd name="T36" fmla="*/ 227 w 2181"/>
                    <a:gd name="T37" fmla="*/ 447 h 1500"/>
                    <a:gd name="T38" fmla="*/ 178 w 2181"/>
                    <a:gd name="T39" fmla="*/ 545 h 1500"/>
                    <a:gd name="T40" fmla="*/ 182 w 2181"/>
                    <a:gd name="T41" fmla="*/ 553 h 1500"/>
                    <a:gd name="T42" fmla="*/ 309 w 2181"/>
                    <a:gd name="T43" fmla="*/ 478 h 1500"/>
                    <a:gd name="T44" fmla="*/ 407 w 2181"/>
                    <a:gd name="T45" fmla="*/ 372 h 1500"/>
                    <a:gd name="T46" fmla="*/ 388 w 2181"/>
                    <a:gd name="T47" fmla="*/ 440 h 1500"/>
                    <a:gd name="T48" fmla="*/ 461 w 2181"/>
                    <a:gd name="T49" fmla="*/ 384 h 1500"/>
                    <a:gd name="T50" fmla="*/ 631 w 2181"/>
                    <a:gd name="T51" fmla="*/ 417 h 1500"/>
                    <a:gd name="T52" fmla="*/ 706 w 2181"/>
                    <a:gd name="T53" fmla="*/ 456 h 1500"/>
                    <a:gd name="T54" fmla="*/ 758 w 2181"/>
                    <a:gd name="T55" fmla="*/ 496 h 1500"/>
                    <a:gd name="T56" fmla="*/ 2 w 2181"/>
                    <a:gd name="T57" fmla="*/ 311 h 1500"/>
                    <a:gd name="T58" fmla="*/ 133 w 2181"/>
                    <a:gd name="T59" fmla="*/ 583 h 1500"/>
                    <a:gd name="T60" fmla="*/ 987 w 2181"/>
                    <a:gd name="T61" fmla="*/ 763 h 1500"/>
                    <a:gd name="T62" fmla="*/ 51 w 2181"/>
                    <a:gd name="T63" fmla="*/ 405 h 1500"/>
                    <a:gd name="T64" fmla="*/ 316 w 2181"/>
                    <a:gd name="T65" fmla="*/ 524 h 1500"/>
                    <a:gd name="T66" fmla="*/ 308 w 2181"/>
                    <a:gd name="T67" fmla="*/ 506 h 1500"/>
                    <a:gd name="T68" fmla="*/ 351 w 2181"/>
                    <a:gd name="T69" fmla="*/ 477 h 1500"/>
                    <a:gd name="T70" fmla="*/ 240 w 2181"/>
                    <a:gd name="T71" fmla="*/ 1443 h 1500"/>
                    <a:gd name="T72" fmla="*/ 205 w 2181"/>
                    <a:gd name="T73" fmla="*/ 1434 h 1500"/>
                    <a:gd name="T74" fmla="*/ 2138 w 2181"/>
                    <a:gd name="T75" fmla="*/ 798 h 1500"/>
                    <a:gd name="T76" fmla="*/ 1857 w 2181"/>
                    <a:gd name="T77" fmla="*/ 908 h 1500"/>
                    <a:gd name="T78" fmla="*/ 1623 w 2181"/>
                    <a:gd name="T79" fmla="*/ 761 h 1500"/>
                    <a:gd name="T80" fmla="*/ 985 w 2181"/>
                    <a:gd name="T81" fmla="*/ 802 h 1500"/>
                    <a:gd name="T82" fmla="*/ 964 w 2181"/>
                    <a:gd name="T83" fmla="*/ 819 h 1500"/>
                    <a:gd name="T84" fmla="*/ 985 w 2181"/>
                    <a:gd name="T85" fmla="*/ 1044 h 1500"/>
                    <a:gd name="T86" fmla="*/ 1081 w 2181"/>
                    <a:gd name="T87" fmla="*/ 1151 h 1500"/>
                    <a:gd name="T88" fmla="*/ 1471 w 2181"/>
                    <a:gd name="T89" fmla="*/ 1284 h 1500"/>
                    <a:gd name="T90" fmla="*/ 1546 w 2181"/>
                    <a:gd name="T91" fmla="*/ 1282 h 1500"/>
                    <a:gd name="T92" fmla="*/ 1654 w 2181"/>
                    <a:gd name="T93" fmla="*/ 1249 h 1500"/>
                    <a:gd name="T94" fmla="*/ 1680 w 2181"/>
                    <a:gd name="T95" fmla="*/ 1240 h 1500"/>
                    <a:gd name="T96" fmla="*/ 1788 w 2181"/>
                    <a:gd name="T97" fmla="*/ 1247 h 1500"/>
                    <a:gd name="T98" fmla="*/ 1879 w 2181"/>
                    <a:gd name="T99" fmla="*/ 1355 h 1500"/>
                    <a:gd name="T100" fmla="*/ 1886 w 2181"/>
                    <a:gd name="T101" fmla="*/ 1188 h 1500"/>
                    <a:gd name="T102" fmla="*/ 1972 w 2181"/>
                    <a:gd name="T103" fmla="*/ 1125 h 1500"/>
                    <a:gd name="T104" fmla="*/ 1981 w 2181"/>
                    <a:gd name="T105" fmla="*/ 1078 h 1500"/>
                    <a:gd name="T106" fmla="*/ 1970 w 2181"/>
                    <a:gd name="T107" fmla="*/ 1043 h 1500"/>
                    <a:gd name="T108" fmla="*/ 1991 w 2181"/>
                    <a:gd name="T109" fmla="*/ 1044 h 1500"/>
                    <a:gd name="T110" fmla="*/ 2033 w 2181"/>
                    <a:gd name="T111" fmla="*/ 992 h 1500"/>
                    <a:gd name="T112" fmla="*/ 2099 w 2181"/>
                    <a:gd name="T113" fmla="*/ 926 h 1500"/>
                    <a:gd name="T114" fmla="*/ 2166 w 2181"/>
                    <a:gd name="T115" fmla="*/ 877 h 1500"/>
                    <a:gd name="T116" fmla="*/ 1996 w 2181"/>
                    <a:gd name="T117" fmla="*/ 1102 h 1500"/>
                    <a:gd name="T118" fmla="*/ 1876 w 2181"/>
                    <a:gd name="T119" fmla="*/ 1369 h 1500"/>
                    <a:gd name="T120" fmla="*/ 1727 w 2181"/>
                    <a:gd name="T121" fmla="*/ 1238 h 1500"/>
                    <a:gd name="T122" fmla="*/ 2146 w 2181"/>
                    <a:gd name="T123" fmla="*/ 889 h 1500"/>
                    <a:gd name="T124" fmla="*/ 1993 w 2181"/>
                    <a:gd name="T125" fmla="*/ 1121 h 1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81" h="1500">
                      <a:moveTo>
                        <a:pt x="749" y="519"/>
                      </a:moveTo>
                      <a:lnTo>
                        <a:pt x="748" y="517"/>
                      </a:lnTo>
                      <a:lnTo>
                        <a:pt x="744" y="515"/>
                      </a:lnTo>
                      <a:lnTo>
                        <a:pt x="741" y="517"/>
                      </a:lnTo>
                      <a:lnTo>
                        <a:pt x="741" y="520"/>
                      </a:lnTo>
                      <a:lnTo>
                        <a:pt x="742" y="522"/>
                      </a:lnTo>
                      <a:lnTo>
                        <a:pt x="748" y="527"/>
                      </a:lnTo>
                      <a:lnTo>
                        <a:pt x="744" y="531"/>
                      </a:lnTo>
                      <a:lnTo>
                        <a:pt x="744" y="534"/>
                      </a:lnTo>
                      <a:lnTo>
                        <a:pt x="744" y="538"/>
                      </a:lnTo>
                      <a:lnTo>
                        <a:pt x="748" y="538"/>
                      </a:lnTo>
                      <a:lnTo>
                        <a:pt x="749" y="536"/>
                      </a:lnTo>
                      <a:lnTo>
                        <a:pt x="749" y="538"/>
                      </a:lnTo>
                      <a:lnTo>
                        <a:pt x="749" y="536"/>
                      </a:lnTo>
                      <a:lnTo>
                        <a:pt x="749" y="536"/>
                      </a:lnTo>
                      <a:lnTo>
                        <a:pt x="751" y="532"/>
                      </a:lnTo>
                      <a:lnTo>
                        <a:pt x="751" y="531"/>
                      </a:lnTo>
                      <a:lnTo>
                        <a:pt x="751" y="529"/>
                      </a:lnTo>
                      <a:lnTo>
                        <a:pt x="751" y="527"/>
                      </a:lnTo>
                      <a:lnTo>
                        <a:pt x="753" y="522"/>
                      </a:lnTo>
                      <a:lnTo>
                        <a:pt x="753" y="520"/>
                      </a:lnTo>
                      <a:lnTo>
                        <a:pt x="749" y="519"/>
                      </a:lnTo>
                      <a:close/>
                      <a:moveTo>
                        <a:pt x="735" y="522"/>
                      </a:moveTo>
                      <a:lnTo>
                        <a:pt x="734" y="519"/>
                      </a:lnTo>
                      <a:lnTo>
                        <a:pt x="732" y="513"/>
                      </a:lnTo>
                      <a:lnTo>
                        <a:pt x="730" y="508"/>
                      </a:lnTo>
                      <a:lnTo>
                        <a:pt x="728" y="503"/>
                      </a:lnTo>
                      <a:lnTo>
                        <a:pt x="725" y="499"/>
                      </a:lnTo>
                      <a:lnTo>
                        <a:pt x="721" y="498"/>
                      </a:lnTo>
                      <a:lnTo>
                        <a:pt x="720" y="498"/>
                      </a:lnTo>
                      <a:lnTo>
                        <a:pt x="718" y="498"/>
                      </a:lnTo>
                      <a:lnTo>
                        <a:pt x="709" y="505"/>
                      </a:lnTo>
                      <a:lnTo>
                        <a:pt x="711" y="508"/>
                      </a:lnTo>
                      <a:lnTo>
                        <a:pt x="711" y="510"/>
                      </a:lnTo>
                      <a:lnTo>
                        <a:pt x="711" y="512"/>
                      </a:lnTo>
                      <a:lnTo>
                        <a:pt x="709" y="513"/>
                      </a:lnTo>
                      <a:lnTo>
                        <a:pt x="713" y="512"/>
                      </a:lnTo>
                      <a:lnTo>
                        <a:pt x="714" y="510"/>
                      </a:lnTo>
                      <a:lnTo>
                        <a:pt x="716" y="508"/>
                      </a:lnTo>
                      <a:lnTo>
                        <a:pt x="718" y="506"/>
                      </a:lnTo>
                      <a:lnTo>
                        <a:pt x="718" y="508"/>
                      </a:lnTo>
                      <a:lnTo>
                        <a:pt x="721" y="512"/>
                      </a:lnTo>
                      <a:lnTo>
                        <a:pt x="723" y="513"/>
                      </a:lnTo>
                      <a:lnTo>
                        <a:pt x="721" y="513"/>
                      </a:lnTo>
                      <a:lnTo>
                        <a:pt x="721" y="515"/>
                      </a:lnTo>
                      <a:lnTo>
                        <a:pt x="720" y="517"/>
                      </a:lnTo>
                      <a:lnTo>
                        <a:pt x="720" y="517"/>
                      </a:lnTo>
                      <a:lnTo>
                        <a:pt x="721" y="519"/>
                      </a:lnTo>
                      <a:lnTo>
                        <a:pt x="721" y="519"/>
                      </a:lnTo>
                      <a:lnTo>
                        <a:pt x="723" y="519"/>
                      </a:lnTo>
                      <a:lnTo>
                        <a:pt x="723" y="519"/>
                      </a:lnTo>
                      <a:lnTo>
                        <a:pt x="725" y="519"/>
                      </a:lnTo>
                      <a:lnTo>
                        <a:pt x="725" y="520"/>
                      </a:lnTo>
                      <a:lnTo>
                        <a:pt x="725" y="520"/>
                      </a:lnTo>
                      <a:lnTo>
                        <a:pt x="725" y="522"/>
                      </a:lnTo>
                      <a:lnTo>
                        <a:pt x="727" y="522"/>
                      </a:lnTo>
                      <a:lnTo>
                        <a:pt x="728" y="522"/>
                      </a:lnTo>
                      <a:lnTo>
                        <a:pt x="728" y="522"/>
                      </a:lnTo>
                      <a:lnTo>
                        <a:pt x="730" y="522"/>
                      </a:lnTo>
                      <a:lnTo>
                        <a:pt x="728" y="526"/>
                      </a:lnTo>
                      <a:lnTo>
                        <a:pt x="730" y="531"/>
                      </a:lnTo>
                      <a:lnTo>
                        <a:pt x="732" y="534"/>
                      </a:lnTo>
                      <a:lnTo>
                        <a:pt x="735" y="534"/>
                      </a:lnTo>
                      <a:lnTo>
                        <a:pt x="735" y="532"/>
                      </a:lnTo>
                      <a:lnTo>
                        <a:pt x="735" y="527"/>
                      </a:lnTo>
                      <a:lnTo>
                        <a:pt x="735" y="522"/>
                      </a:lnTo>
                      <a:close/>
                      <a:moveTo>
                        <a:pt x="365" y="403"/>
                      </a:moveTo>
                      <a:lnTo>
                        <a:pt x="367" y="401"/>
                      </a:lnTo>
                      <a:lnTo>
                        <a:pt x="365" y="400"/>
                      </a:lnTo>
                      <a:lnTo>
                        <a:pt x="365" y="400"/>
                      </a:lnTo>
                      <a:lnTo>
                        <a:pt x="365" y="400"/>
                      </a:lnTo>
                      <a:lnTo>
                        <a:pt x="365" y="401"/>
                      </a:lnTo>
                      <a:lnTo>
                        <a:pt x="363" y="403"/>
                      </a:lnTo>
                      <a:lnTo>
                        <a:pt x="363" y="405"/>
                      </a:lnTo>
                      <a:lnTo>
                        <a:pt x="362" y="405"/>
                      </a:lnTo>
                      <a:lnTo>
                        <a:pt x="363" y="405"/>
                      </a:lnTo>
                      <a:lnTo>
                        <a:pt x="365" y="403"/>
                      </a:lnTo>
                      <a:lnTo>
                        <a:pt x="365" y="403"/>
                      </a:lnTo>
                      <a:close/>
                      <a:moveTo>
                        <a:pt x="742" y="510"/>
                      </a:moveTo>
                      <a:lnTo>
                        <a:pt x="742" y="510"/>
                      </a:lnTo>
                      <a:lnTo>
                        <a:pt x="744" y="508"/>
                      </a:lnTo>
                      <a:lnTo>
                        <a:pt x="744" y="506"/>
                      </a:lnTo>
                      <a:lnTo>
                        <a:pt x="749" y="505"/>
                      </a:lnTo>
                      <a:lnTo>
                        <a:pt x="751" y="501"/>
                      </a:lnTo>
                      <a:lnTo>
                        <a:pt x="749" y="498"/>
                      </a:lnTo>
                      <a:lnTo>
                        <a:pt x="749" y="494"/>
                      </a:lnTo>
                      <a:lnTo>
                        <a:pt x="746" y="489"/>
                      </a:lnTo>
                      <a:lnTo>
                        <a:pt x="744" y="484"/>
                      </a:lnTo>
                      <a:lnTo>
                        <a:pt x="742" y="482"/>
                      </a:lnTo>
                      <a:lnTo>
                        <a:pt x="744" y="482"/>
                      </a:lnTo>
                      <a:lnTo>
                        <a:pt x="748" y="484"/>
                      </a:lnTo>
                      <a:lnTo>
                        <a:pt x="749" y="492"/>
                      </a:lnTo>
                      <a:lnTo>
                        <a:pt x="753" y="494"/>
                      </a:lnTo>
                      <a:lnTo>
                        <a:pt x="751" y="491"/>
                      </a:lnTo>
                      <a:lnTo>
                        <a:pt x="749" y="487"/>
                      </a:lnTo>
                      <a:lnTo>
                        <a:pt x="748" y="482"/>
                      </a:lnTo>
                      <a:lnTo>
                        <a:pt x="744" y="480"/>
                      </a:lnTo>
                      <a:lnTo>
                        <a:pt x="742" y="478"/>
                      </a:lnTo>
                      <a:lnTo>
                        <a:pt x="741" y="478"/>
                      </a:lnTo>
                      <a:lnTo>
                        <a:pt x="739" y="478"/>
                      </a:lnTo>
                      <a:lnTo>
                        <a:pt x="735" y="477"/>
                      </a:lnTo>
                      <a:lnTo>
                        <a:pt x="734" y="477"/>
                      </a:lnTo>
                      <a:lnTo>
                        <a:pt x="732" y="473"/>
                      </a:lnTo>
                      <a:lnTo>
                        <a:pt x="728" y="471"/>
                      </a:lnTo>
                      <a:lnTo>
                        <a:pt x="728" y="473"/>
                      </a:lnTo>
                      <a:lnTo>
                        <a:pt x="732" y="480"/>
                      </a:lnTo>
                      <a:lnTo>
                        <a:pt x="732" y="482"/>
                      </a:lnTo>
                      <a:lnTo>
                        <a:pt x="734" y="489"/>
                      </a:lnTo>
                      <a:lnTo>
                        <a:pt x="734" y="491"/>
                      </a:lnTo>
                      <a:lnTo>
                        <a:pt x="735" y="494"/>
                      </a:lnTo>
                      <a:lnTo>
                        <a:pt x="737" y="499"/>
                      </a:lnTo>
                      <a:lnTo>
                        <a:pt x="739" y="501"/>
                      </a:lnTo>
                      <a:lnTo>
                        <a:pt x="737" y="505"/>
                      </a:lnTo>
                      <a:lnTo>
                        <a:pt x="737" y="506"/>
                      </a:lnTo>
                      <a:lnTo>
                        <a:pt x="735" y="508"/>
                      </a:lnTo>
                      <a:lnTo>
                        <a:pt x="735" y="512"/>
                      </a:lnTo>
                      <a:lnTo>
                        <a:pt x="737" y="512"/>
                      </a:lnTo>
                      <a:lnTo>
                        <a:pt x="739" y="512"/>
                      </a:lnTo>
                      <a:lnTo>
                        <a:pt x="741" y="512"/>
                      </a:lnTo>
                      <a:lnTo>
                        <a:pt x="742" y="510"/>
                      </a:lnTo>
                      <a:close/>
                      <a:moveTo>
                        <a:pt x="755" y="519"/>
                      </a:moveTo>
                      <a:lnTo>
                        <a:pt x="756" y="520"/>
                      </a:lnTo>
                      <a:lnTo>
                        <a:pt x="756" y="522"/>
                      </a:lnTo>
                      <a:lnTo>
                        <a:pt x="756" y="524"/>
                      </a:lnTo>
                      <a:lnTo>
                        <a:pt x="756" y="526"/>
                      </a:lnTo>
                      <a:lnTo>
                        <a:pt x="756" y="527"/>
                      </a:lnTo>
                      <a:lnTo>
                        <a:pt x="758" y="527"/>
                      </a:lnTo>
                      <a:lnTo>
                        <a:pt x="762" y="529"/>
                      </a:lnTo>
                      <a:lnTo>
                        <a:pt x="765" y="527"/>
                      </a:lnTo>
                      <a:lnTo>
                        <a:pt x="767" y="527"/>
                      </a:lnTo>
                      <a:lnTo>
                        <a:pt x="767" y="526"/>
                      </a:lnTo>
                      <a:lnTo>
                        <a:pt x="767" y="522"/>
                      </a:lnTo>
                      <a:lnTo>
                        <a:pt x="763" y="519"/>
                      </a:lnTo>
                      <a:lnTo>
                        <a:pt x="767" y="520"/>
                      </a:lnTo>
                      <a:lnTo>
                        <a:pt x="769" y="522"/>
                      </a:lnTo>
                      <a:lnTo>
                        <a:pt x="770" y="522"/>
                      </a:lnTo>
                      <a:lnTo>
                        <a:pt x="772" y="517"/>
                      </a:lnTo>
                      <a:lnTo>
                        <a:pt x="769" y="515"/>
                      </a:lnTo>
                      <a:lnTo>
                        <a:pt x="765" y="513"/>
                      </a:lnTo>
                      <a:lnTo>
                        <a:pt x="753" y="512"/>
                      </a:lnTo>
                      <a:lnTo>
                        <a:pt x="751" y="512"/>
                      </a:lnTo>
                      <a:lnTo>
                        <a:pt x="749" y="513"/>
                      </a:lnTo>
                      <a:lnTo>
                        <a:pt x="749" y="513"/>
                      </a:lnTo>
                      <a:lnTo>
                        <a:pt x="751" y="515"/>
                      </a:lnTo>
                      <a:lnTo>
                        <a:pt x="753" y="515"/>
                      </a:lnTo>
                      <a:lnTo>
                        <a:pt x="753" y="515"/>
                      </a:lnTo>
                      <a:lnTo>
                        <a:pt x="755" y="517"/>
                      </a:lnTo>
                      <a:lnTo>
                        <a:pt x="755" y="519"/>
                      </a:lnTo>
                      <a:lnTo>
                        <a:pt x="755" y="519"/>
                      </a:lnTo>
                      <a:close/>
                      <a:moveTo>
                        <a:pt x="713" y="501"/>
                      </a:moveTo>
                      <a:lnTo>
                        <a:pt x="714" y="499"/>
                      </a:lnTo>
                      <a:lnTo>
                        <a:pt x="714" y="498"/>
                      </a:lnTo>
                      <a:lnTo>
                        <a:pt x="714" y="496"/>
                      </a:lnTo>
                      <a:lnTo>
                        <a:pt x="714" y="494"/>
                      </a:lnTo>
                      <a:lnTo>
                        <a:pt x="718" y="492"/>
                      </a:lnTo>
                      <a:lnTo>
                        <a:pt x="725" y="498"/>
                      </a:lnTo>
                      <a:lnTo>
                        <a:pt x="728" y="499"/>
                      </a:lnTo>
                      <a:lnTo>
                        <a:pt x="730" y="498"/>
                      </a:lnTo>
                      <a:lnTo>
                        <a:pt x="730" y="496"/>
                      </a:lnTo>
                      <a:lnTo>
                        <a:pt x="730" y="492"/>
                      </a:lnTo>
                      <a:lnTo>
                        <a:pt x="728" y="492"/>
                      </a:lnTo>
                      <a:lnTo>
                        <a:pt x="727" y="491"/>
                      </a:lnTo>
                      <a:lnTo>
                        <a:pt x="721" y="491"/>
                      </a:lnTo>
                      <a:lnTo>
                        <a:pt x="720" y="489"/>
                      </a:lnTo>
                      <a:lnTo>
                        <a:pt x="721" y="489"/>
                      </a:lnTo>
                      <a:lnTo>
                        <a:pt x="723" y="489"/>
                      </a:lnTo>
                      <a:lnTo>
                        <a:pt x="725" y="489"/>
                      </a:lnTo>
                      <a:lnTo>
                        <a:pt x="727" y="489"/>
                      </a:lnTo>
                      <a:lnTo>
                        <a:pt x="728" y="487"/>
                      </a:lnTo>
                      <a:lnTo>
                        <a:pt x="728" y="484"/>
                      </a:lnTo>
                      <a:lnTo>
                        <a:pt x="728" y="482"/>
                      </a:lnTo>
                      <a:lnTo>
                        <a:pt x="727" y="480"/>
                      </a:lnTo>
                      <a:lnTo>
                        <a:pt x="723" y="478"/>
                      </a:lnTo>
                      <a:lnTo>
                        <a:pt x="718" y="480"/>
                      </a:lnTo>
                      <a:lnTo>
                        <a:pt x="714" y="482"/>
                      </a:lnTo>
                      <a:lnTo>
                        <a:pt x="713" y="480"/>
                      </a:lnTo>
                      <a:lnTo>
                        <a:pt x="714" y="480"/>
                      </a:lnTo>
                      <a:lnTo>
                        <a:pt x="714" y="477"/>
                      </a:lnTo>
                      <a:lnTo>
                        <a:pt x="713" y="475"/>
                      </a:lnTo>
                      <a:lnTo>
                        <a:pt x="711" y="473"/>
                      </a:lnTo>
                      <a:lnTo>
                        <a:pt x="709" y="475"/>
                      </a:lnTo>
                      <a:lnTo>
                        <a:pt x="706" y="475"/>
                      </a:lnTo>
                      <a:lnTo>
                        <a:pt x="704" y="477"/>
                      </a:lnTo>
                      <a:lnTo>
                        <a:pt x="702" y="478"/>
                      </a:lnTo>
                      <a:lnTo>
                        <a:pt x="701" y="477"/>
                      </a:lnTo>
                      <a:lnTo>
                        <a:pt x="701" y="477"/>
                      </a:lnTo>
                      <a:lnTo>
                        <a:pt x="699" y="475"/>
                      </a:lnTo>
                      <a:lnTo>
                        <a:pt x="699" y="477"/>
                      </a:lnTo>
                      <a:lnTo>
                        <a:pt x="695" y="480"/>
                      </a:lnTo>
                      <a:lnTo>
                        <a:pt x="694" y="484"/>
                      </a:lnTo>
                      <a:lnTo>
                        <a:pt x="695" y="485"/>
                      </a:lnTo>
                      <a:lnTo>
                        <a:pt x="697" y="487"/>
                      </a:lnTo>
                      <a:lnTo>
                        <a:pt x="702" y="491"/>
                      </a:lnTo>
                      <a:lnTo>
                        <a:pt x="704" y="492"/>
                      </a:lnTo>
                      <a:lnTo>
                        <a:pt x="708" y="498"/>
                      </a:lnTo>
                      <a:lnTo>
                        <a:pt x="709" y="499"/>
                      </a:lnTo>
                      <a:lnTo>
                        <a:pt x="711" y="501"/>
                      </a:lnTo>
                      <a:lnTo>
                        <a:pt x="713" y="501"/>
                      </a:lnTo>
                      <a:close/>
                      <a:moveTo>
                        <a:pt x="777" y="536"/>
                      </a:moveTo>
                      <a:lnTo>
                        <a:pt x="779" y="539"/>
                      </a:lnTo>
                      <a:lnTo>
                        <a:pt x="783" y="539"/>
                      </a:lnTo>
                      <a:lnTo>
                        <a:pt x="783" y="541"/>
                      </a:lnTo>
                      <a:lnTo>
                        <a:pt x="784" y="541"/>
                      </a:lnTo>
                      <a:lnTo>
                        <a:pt x="784" y="543"/>
                      </a:lnTo>
                      <a:lnTo>
                        <a:pt x="786" y="543"/>
                      </a:lnTo>
                      <a:lnTo>
                        <a:pt x="786" y="543"/>
                      </a:lnTo>
                      <a:lnTo>
                        <a:pt x="788" y="541"/>
                      </a:lnTo>
                      <a:lnTo>
                        <a:pt x="788" y="541"/>
                      </a:lnTo>
                      <a:lnTo>
                        <a:pt x="790" y="541"/>
                      </a:lnTo>
                      <a:lnTo>
                        <a:pt x="790" y="536"/>
                      </a:lnTo>
                      <a:lnTo>
                        <a:pt x="790" y="532"/>
                      </a:lnTo>
                      <a:lnTo>
                        <a:pt x="786" y="529"/>
                      </a:lnTo>
                      <a:lnTo>
                        <a:pt x="784" y="527"/>
                      </a:lnTo>
                      <a:lnTo>
                        <a:pt x="783" y="529"/>
                      </a:lnTo>
                      <a:lnTo>
                        <a:pt x="781" y="531"/>
                      </a:lnTo>
                      <a:lnTo>
                        <a:pt x="779" y="532"/>
                      </a:lnTo>
                      <a:lnTo>
                        <a:pt x="777" y="536"/>
                      </a:lnTo>
                      <a:lnTo>
                        <a:pt x="777" y="536"/>
                      </a:lnTo>
                      <a:close/>
                      <a:moveTo>
                        <a:pt x="777" y="522"/>
                      </a:moveTo>
                      <a:lnTo>
                        <a:pt x="774" y="519"/>
                      </a:lnTo>
                      <a:lnTo>
                        <a:pt x="774" y="520"/>
                      </a:lnTo>
                      <a:lnTo>
                        <a:pt x="772" y="522"/>
                      </a:lnTo>
                      <a:lnTo>
                        <a:pt x="772" y="526"/>
                      </a:lnTo>
                      <a:lnTo>
                        <a:pt x="772" y="526"/>
                      </a:lnTo>
                      <a:lnTo>
                        <a:pt x="774" y="527"/>
                      </a:lnTo>
                      <a:lnTo>
                        <a:pt x="776" y="527"/>
                      </a:lnTo>
                      <a:lnTo>
                        <a:pt x="779" y="526"/>
                      </a:lnTo>
                      <a:lnTo>
                        <a:pt x="779" y="524"/>
                      </a:lnTo>
                      <a:lnTo>
                        <a:pt x="777" y="522"/>
                      </a:lnTo>
                      <a:close/>
                      <a:moveTo>
                        <a:pt x="447" y="412"/>
                      </a:moveTo>
                      <a:lnTo>
                        <a:pt x="446" y="414"/>
                      </a:lnTo>
                      <a:lnTo>
                        <a:pt x="444" y="415"/>
                      </a:lnTo>
                      <a:lnTo>
                        <a:pt x="446" y="415"/>
                      </a:lnTo>
                      <a:lnTo>
                        <a:pt x="447" y="415"/>
                      </a:lnTo>
                      <a:lnTo>
                        <a:pt x="449" y="415"/>
                      </a:lnTo>
                      <a:lnTo>
                        <a:pt x="451" y="414"/>
                      </a:lnTo>
                      <a:lnTo>
                        <a:pt x="449" y="414"/>
                      </a:lnTo>
                      <a:lnTo>
                        <a:pt x="447" y="412"/>
                      </a:lnTo>
                      <a:close/>
                      <a:moveTo>
                        <a:pt x="454" y="410"/>
                      </a:moveTo>
                      <a:lnTo>
                        <a:pt x="454" y="410"/>
                      </a:lnTo>
                      <a:lnTo>
                        <a:pt x="454" y="410"/>
                      </a:lnTo>
                      <a:lnTo>
                        <a:pt x="456" y="408"/>
                      </a:lnTo>
                      <a:lnTo>
                        <a:pt x="456" y="407"/>
                      </a:lnTo>
                      <a:lnTo>
                        <a:pt x="456" y="405"/>
                      </a:lnTo>
                      <a:lnTo>
                        <a:pt x="456" y="403"/>
                      </a:lnTo>
                      <a:lnTo>
                        <a:pt x="456" y="401"/>
                      </a:lnTo>
                      <a:lnTo>
                        <a:pt x="456" y="401"/>
                      </a:lnTo>
                      <a:lnTo>
                        <a:pt x="454" y="401"/>
                      </a:lnTo>
                      <a:lnTo>
                        <a:pt x="454" y="403"/>
                      </a:lnTo>
                      <a:lnTo>
                        <a:pt x="454" y="401"/>
                      </a:lnTo>
                      <a:lnTo>
                        <a:pt x="454" y="401"/>
                      </a:lnTo>
                      <a:lnTo>
                        <a:pt x="453" y="405"/>
                      </a:lnTo>
                      <a:lnTo>
                        <a:pt x="453" y="407"/>
                      </a:lnTo>
                      <a:lnTo>
                        <a:pt x="453" y="408"/>
                      </a:lnTo>
                      <a:lnTo>
                        <a:pt x="453" y="408"/>
                      </a:lnTo>
                      <a:lnTo>
                        <a:pt x="453" y="410"/>
                      </a:lnTo>
                      <a:lnTo>
                        <a:pt x="454" y="410"/>
                      </a:lnTo>
                      <a:close/>
                      <a:moveTo>
                        <a:pt x="526" y="419"/>
                      </a:moveTo>
                      <a:lnTo>
                        <a:pt x="524" y="421"/>
                      </a:lnTo>
                      <a:lnTo>
                        <a:pt x="522" y="424"/>
                      </a:lnTo>
                      <a:lnTo>
                        <a:pt x="524" y="422"/>
                      </a:lnTo>
                      <a:lnTo>
                        <a:pt x="526" y="421"/>
                      </a:lnTo>
                      <a:lnTo>
                        <a:pt x="529" y="419"/>
                      </a:lnTo>
                      <a:lnTo>
                        <a:pt x="529" y="417"/>
                      </a:lnTo>
                      <a:lnTo>
                        <a:pt x="528" y="417"/>
                      </a:lnTo>
                      <a:lnTo>
                        <a:pt x="526" y="419"/>
                      </a:lnTo>
                      <a:close/>
                      <a:moveTo>
                        <a:pt x="770" y="532"/>
                      </a:moveTo>
                      <a:lnTo>
                        <a:pt x="772" y="534"/>
                      </a:lnTo>
                      <a:lnTo>
                        <a:pt x="776" y="532"/>
                      </a:lnTo>
                      <a:lnTo>
                        <a:pt x="777" y="531"/>
                      </a:lnTo>
                      <a:lnTo>
                        <a:pt x="777" y="529"/>
                      </a:lnTo>
                      <a:lnTo>
                        <a:pt x="776" y="527"/>
                      </a:lnTo>
                      <a:lnTo>
                        <a:pt x="772" y="529"/>
                      </a:lnTo>
                      <a:lnTo>
                        <a:pt x="770" y="529"/>
                      </a:lnTo>
                      <a:lnTo>
                        <a:pt x="770" y="532"/>
                      </a:lnTo>
                      <a:close/>
                      <a:moveTo>
                        <a:pt x="454" y="401"/>
                      </a:moveTo>
                      <a:lnTo>
                        <a:pt x="454" y="401"/>
                      </a:lnTo>
                      <a:lnTo>
                        <a:pt x="454" y="401"/>
                      </a:lnTo>
                      <a:lnTo>
                        <a:pt x="454" y="401"/>
                      </a:lnTo>
                      <a:close/>
                      <a:moveTo>
                        <a:pt x="510" y="403"/>
                      </a:moveTo>
                      <a:lnTo>
                        <a:pt x="508" y="405"/>
                      </a:lnTo>
                      <a:lnTo>
                        <a:pt x="508" y="405"/>
                      </a:lnTo>
                      <a:lnTo>
                        <a:pt x="508" y="407"/>
                      </a:lnTo>
                      <a:lnTo>
                        <a:pt x="510" y="407"/>
                      </a:lnTo>
                      <a:lnTo>
                        <a:pt x="510" y="407"/>
                      </a:lnTo>
                      <a:lnTo>
                        <a:pt x="512" y="405"/>
                      </a:lnTo>
                      <a:lnTo>
                        <a:pt x="512" y="403"/>
                      </a:lnTo>
                      <a:lnTo>
                        <a:pt x="510" y="403"/>
                      </a:lnTo>
                      <a:close/>
                      <a:moveTo>
                        <a:pt x="482" y="401"/>
                      </a:moveTo>
                      <a:lnTo>
                        <a:pt x="479" y="401"/>
                      </a:lnTo>
                      <a:lnTo>
                        <a:pt x="477" y="405"/>
                      </a:lnTo>
                      <a:lnTo>
                        <a:pt x="480" y="407"/>
                      </a:lnTo>
                      <a:lnTo>
                        <a:pt x="484" y="407"/>
                      </a:lnTo>
                      <a:lnTo>
                        <a:pt x="487" y="405"/>
                      </a:lnTo>
                      <a:lnTo>
                        <a:pt x="489" y="403"/>
                      </a:lnTo>
                      <a:lnTo>
                        <a:pt x="487" y="403"/>
                      </a:lnTo>
                      <a:lnTo>
                        <a:pt x="482" y="401"/>
                      </a:lnTo>
                      <a:close/>
                      <a:moveTo>
                        <a:pt x="470" y="405"/>
                      </a:moveTo>
                      <a:lnTo>
                        <a:pt x="468" y="405"/>
                      </a:lnTo>
                      <a:lnTo>
                        <a:pt x="467" y="407"/>
                      </a:lnTo>
                      <a:lnTo>
                        <a:pt x="463" y="412"/>
                      </a:lnTo>
                      <a:lnTo>
                        <a:pt x="460" y="414"/>
                      </a:lnTo>
                      <a:lnTo>
                        <a:pt x="458" y="417"/>
                      </a:lnTo>
                      <a:lnTo>
                        <a:pt x="454" y="419"/>
                      </a:lnTo>
                      <a:lnTo>
                        <a:pt x="453" y="422"/>
                      </a:lnTo>
                      <a:lnTo>
                        <a:pt x="454" y="424"/>
                      </a:lnTo>
                      <a:lnTo>
                        <a:pt x="456" y="422"/>
                      </a:lnTo>
                      <a:lnTo>
                        <a:pt x="460" y="421"/>
                      </a:lnTo>
                      <a:lnTo>
                        <a:pt x="470" y="412"/>
                      </a:lnTo>
                      <a:lnTo>
                        <a:pt x="470" y="408"/>
                      </a:lnTo>
                      <a:lnTo>
                        <a:pt x="472" y="408"/>
                      </a:lnTo>
                      <a:lnTo>
                        <a:pt x="470" y="407"/>
                      </a:lnTo>
                      <a:lnTo>
                        <a:pt x="470" y="405"/>
                      </a:lnTo>
                      <a:close/>
                      <a:moveTo>
                        <a:pt x="741" y="475"/>
                      </a:moveTo>
                      <a:lnTo>
                        <a:pt x="742" y="475"/>
                      </a:lnTo>
                      <a:lnTo>
                        <a:pt x="741" y="473"/>
                      </a:lnTo>
                      <a:lnTo>
                        <a:pt x="737" y="471"/>
                      </a:lnTo>
                      <a:lnTo>
                        <a:pt x="735" y="471"/>
                      </a:lnTo>
                      <a:lnTo>
                        <a:pt x="735" y="473"/>
                      </a:lnTo>
                      <a:lnTo>
                        <a:pt x="735" y="475"/>
                      </a:lnTo>
                      <a:lnTo>
                        <a:pt x="739" y="475"/>
                      </a:lnTo>
                      <a:lnTo>
                        <a:pt x="741" y="475"/>
                      </a:lnTo>
                      <a:close/>
                      <a:moveTo>
                        <a:pt x="1043" y="1149"/>
                      </a:moveTo>
                      <a:lnTo>
                        <a:pt x="1045" y="1151"/>
                      </a:lnTo>
                      <a:lnTo>
                        <a:pt x="1048" y="1151"/>
                      </a:lnTo>
                      <a:lnTo>
                        <a:pt x="1048" y="1149"/>
                      </a:lnTo>
                      <a:lnTo>
                        <a:pt x="1043" y="1149"/>
                      </a:lnTo>
                      <a:close/>
                      <a:moveTo>
                        <a:pt x="67" y="181"/>
                      </a:moveTo>
                      <a:lnTo>
                        <a:pt x="68" y="180"/>
                      </a:lnTo>
                      <a:lnTo>
                        <a:pt x="65" y="181"/>
                      </a:lnTo>
                      <a:lnTo>
                        <a:pt x="63" y="183"/>
                      </a:lnTo>
                      <a:lnTo>
                        <a:pt x="61" y="185"/>
                      </a:lnTo>
                      <a:lnTo>
                        <a:pt x="63" y="183"/>
                      </a:lnTo>
                      <a:lnTo>
                        <a:pt x="65" y="181"/>
                      </a:lnTo>
                      <a:lnTo>
                        <a:pt x="67" y="181"/>
                      </a:lnTo>
                      <a:close/>
                      <a:moveTo>
                        <a:pt x="1039" y="1148"/>
                      </a:moveTo>
                      <a:lnTo>
                        <a:pt x="1039" y="1149"/>
                      </a:lnTo>
                      <a:lnTo>
                        <a:pt x="1039" y="1149"/>
                      </a:lnTo>
                      <a:lnTo>
                        <a:pt x="1041" y="1149"/>
                      </a:lnTo>
                      <a:lnTo>
                        <a:pt x="1041" y="1148"/>
                      </a:lnTo>
                      <a:lnTo>
                        <a:pt x="1039" y="1148"/>
                      </a:lnTo>
                      <a:close/>
                      <a:moveTo>
                        <a:pt x="1052" y="1148"/>
                      </a:moveTo>
                      <a:lnTo>
                        <a:pt x="1050" y="1148"/>
                      </a:lnTo>
                      <a:lnTo>
                        <a:pt x="1052" y="1149"/>
                      </a:lnTo>
                      <a:lnTo>
                        <a:pt x="1053" y="1151"/>
                      </a:lnTo>
                      <a:lnTo>
                        <a:pt x="1055" y="1149"/>
                      </a:lnTo>
                      <a:lnTo>
                        <a:pt x="1059" y="1149"/>
                      </a:lnTo>
                      <a:lnTo>
                        <a:pt x="1052" y="1148"/>
                      </a:lnTo>
                      <a:close/>
                      <a:moveTo>
                        <a:pt x="1083" y="1163"/>
                      </a:moveTo>
                      <a:lnTo>
                        <a:pt x="1081" y="1163"/>
                      </a:lnTo>
                      <a:lnTo>
                        <a:pt x="1079" y="1162"/>
                      </a:lnTo>
                      <a:lnTo>
                        <a:pt x="1079" y="1163"/>
                      </a:lnTo>
                      <a:lnTo>
                        <a:pt x="1081" y="1165"/>
                      </a:lnTo>
                      <a:lnTo>
                        <a:pt x="1083" y="1167"/>
                      </a:lnTo>
                      <a:lnTo>
                        <a:pt x="1085" y="1167"/>
                      </a:lnTo>
                      <a:lnTo>
                        <a:pt x="1083" y="1165"/>
                      </a:lnTo>
                      <a:lnTo>
                        <a:pt x="1083" y="1163"/>
                      </a:lnTo>
                      <a:close/>
                      <a:moveTo>
                        <a:pt x="1059" y="1167"/>
                      </a:moveTo>
                      <a:lnTo>
                        <a:pt x="1059" y="1167"/>
                      </a:lnTo>
                      <a:lnTo>
                        <a:pt x="1057" y="1167"/>
                      </a:lnTo>
                      <a:lnTo>
                        <a:pt x="1059" y="1168"/>
                      </a:lnTo>
                      <a:lnTo>
                        <a:pt x="1059" y="1168"/>
                      </a:lnTo>
                      <a:lnTo>
                        <a:pt x="1059" y="1168"/>
                      </a:lnTo>
                      <a:lnTo>
                        <a:pt x="1060" y="1168"/>
                      </a:lnTo>
                      <a:lnTo>
                        <a:pt x="1060" y="1168"/>
                      </a:lnTo>
                      <a:lnTo>
                        <a:pt x="1059" y="1167"/>
                      </a:lnTo>
                      <a:close/>
                      <a:moveTo>
                        <a:pt x="1078" y="1174"/>
                      </a:moveTo>
                      <a:lnTo>
                        <a:pt x="1079" y="1175"/>
                      </a:lnTo>
                      <a:lnTo>
                        <a:pt x="1079" y="1177"/>
                      </a:lnTo>
                      <a:lnTo>
                        <a:pt x="1081" y="1177"/>
                      </a:lnTo>
                      <a:lnTo>
                        <a:pt x="1083" y="1177"/>
                      </a:lnTo>
                      <a:lnTo>
                        <a:pt x="1079" y="1174"/>
                      </a:lnTo>
                      <a:lnTo>
                        <a:pt x="1078" y="1174"/>
                      </a:lnTo>
                      <a:close/>
                      <a:moveTo>
                        <a:pt x="173" y="463"/>
                      </a:moveTo>
                      <a:lnTo>
                        <a:pt x="177" y="459"/>
                      </a:lnTo>
                      <a:lnTo>
                        <a:pt x="178" y="457"/>
                      </a:lnTo>
                      <a:lnTo>
                        <a:pt x="175" y="457"/>
                      </a:lnTo>
                      <a:lnTo>
                        <a:pt x="173" y="459"/>
                      </a:lnTo>
                      <a:lnTo>
                        <a:pt x="171" y="459"/>
                      </a:lnTo>
                      <a:lnTo>
                        <a:pt x="168" y="461"/>
                      </a:lnTo>
                      <a:lnTo>
                        <a:pt x="170" y="464"/>
                      </a:lnTo>
                      <a:lnTo>
                        <a:pt x="173" y="463"/>
                      </a:lnTo>
                      <a:close/>
                      <a:moveTo>
                        <a:pt x="805" y="564"/>
                      </a:moveTo>
                      <a:lnTo>
                        <a:pt x="804" y="562"/>
                      </a:lnTo>
                      <a:lnTo>
                        <a:pt x="802" y="560"/>
                      </a:lnTo>
                      <a:lnTo>
                        <a:pt x="800" y="560"/>
                      </a:lnTo>
                      <a:lnTo>
                        <a:pt x="800" y="562"/>
                      </a:lnTo>
                      <a:lnTo>
                        <a:pt x="800" y="564"/>
                      </a:lnTo>
                      <a:lnTo>
                        <a:pt x="800" y="566"/>
                      </a:lnTo>
                      <a:lnTo>
                        <a:pt x="800" y="567"/>
                      </a:lnTo>
                      <a:lnTo>
                        <a:pt x="802" y="567"/>
                      </a:lnTo>
                      <a:lnTo>
                        <a:pt x="805" y="569"/>
                      </a:lnTo>
                      <a:lnTo>
                        <a:pt x="807" y="571"/>
                      </a:lnTo>
                      <a:lnTo>
                        <a:pt x="807" y="569"/>
                      </a:lnTo>
                      <a:lnTo>
                        <a:pt x="807" y="567"/>
                      </a:lnTo>
                      <a:lnTo>
                        <a:pt x="805" y="564"/>
                      </a:lnTo>
                      <a:close/>
                      <a:moveTo>
                        <a:pt x="791" y="562"/>
                      </a:moveTo>
                      <a:lnTo>
                        <a:pt x="790" y="562"/>
                      </a:lnTo>
                      <a:lnTo>
                        <a:pt x="788" y="562"/>
                      </a:lnTo>
                      <a:lnTo>
                        <a:pt x="788" y="559"/>
                      </a:lnTo>
                      <a:lnTo>
                        <a:pt x="786" y="557"/>
                      </a:lnTo>
                      <a:lnTo>
                        <a:pt x="781" y="555"/>
                      </a:lnTo>
                      <a:lnTo>
                        <a:pt x="777" y="555"/>
                      </a:lnTo>
                      <a:lnTo>
                        <a:pt x="781" y="552"/>
                      </a:lnTo>
                      <a:lnTo>
                        <a:pt x="783" y="552"/>
                      </a:lnTo>
                      <a:lnTo>
                        <a:pt x="784" y="553"/>
                      </a:lnTo>
                      <a:lnTo>
                        <a:pt x="788" y="555"/>
                      </a:lnTo>
                      <a:lnTo>
                        <a:pt x="786" y="552"/>
                      </a:lnTo>
                      <a:lnTo>
                        <a:pt x="781" y="546"/>
                      </a:lnTo>
                      <a:lnTo>
                        <a:pt x="779" y="543"/>
                      </a:lnTo>
                      <a:lnTo>
                        <a:pt x="777" y="541"/>
                      </a:lnTo>
                      <a:lnTo>
                        <a:pt x="772" y="539"/>
                      </a:lnTo>
                      <a:lnTo>
                        <a:pt x="770" y="538"/>
                      </a:lnTo>
                      <a:lnTo>
                        <a:pt x="769" y="538"/>
                      </a:lnTo>
                      <a:lnTo>
                        <a:pt x="769" y="538"/>
                      </a:lnTo>
                      <a:lnTo>
                        <a:pt x="769" y="536"/>
                      </a:lnTo>
                      <a:lnTo>
                        <a:pt x="769" y="536"/>
                      </a:lnTo>
                      <a:lnTo>
                        <a:pt x="769" y="534"/>
                      </a:lnTo>
                      <a:lnTo>
                        <a:pt x="767" y="532"/>
                      </a:lnTo>
                      <a:lnTo>
                        <a:pt x="767" y="532"/>
                      </a:lnTo>
                      <a:lnTo>
                        <a:pt x="765" y="532"/>
                      </a:lnTo>
                      <a:lnTo>
                        <a:pt x="763" y="531"/>
                      </a:lnTo>
                      <a:lnTo>
                        <a:pt x="760" y="531"/>
                      </a:lnTo>
                      <a:lnTo>
                        <a:pt x="758" y="531"/>
                      </a:lnTo>
                      <a:lnTo>
                        <a:pt x="758" y="532"/>
                      </a:lnTo>
                      <a:lnTo>
                        <a:pt x="758" y="534"/>
                      </a:lnTo>
                      <a:lnTo>
                        <a:pt x="758" y="534"/>
                      </a:lnTo>
                      <a:lnTo>
                        <a:pt x="758" y="536"/>
                      </a:lnTo>
                      <a:lnTo>
                        <a:pt x="758" y="538"/>
                      </a:lnTo>
                      <a:lnTo>
                        <a:pt x="756" y="538"/>
                      </a:lnTo>
                      <a:lnTo>
                        <a:pt x="756" y="539"/>
                      </a:lnTo>
                      <a:lnTo>
                        <a:pt x="755" y="541"/>
                      </a:lnTo>
                      <a:lnTo>
                        <a:pt x="756" y="541"/>
                      </a:lnTo>
                      <a:lnTo>
                        <a:pt x="762" y="539"/>
                      </a:lnTo>
                      <a:lnTo>
                        <a:pt x="765" y="541"/>
                      </a:lnTo>
                      <a:lnTo>
                        <a:pt x="765" y="543"/>
                      </a:lnTo>
                      <a:lnTo>
                        <a:pt x="763" y="545"/>
                      </a:lnTo>
                      <a:lnTo>
                        <a:pt x="760" y="545"/>
                      </a:lnTo>
                      <a:lnTo>
                        <a:pt x="756" y="546"/>
                      </a:lnTo>
                      <a:lnTo>
                        <a:pt x="756" y="546"/>
                      </a:lnTo>
                      <a:lnTo>
                        <a:pt x="763" y="550"/>
                      </a:lnTo>
                      <a:lnTo>
                        <a:pt x="770" y="552"/>
                      </a:lnTo>
                      <a:lnTo>
                        <a:pt x="769" y="553"/>
                      </a:lnTo>
                      <a:lnTo>
                        <a:pt x="769" y="553"/>
                      </a:lnTo>
                      <a:lnTo>
                        <a:pt x="770" y="555"/>
                      </a:lnTo>
                      <a:lnTo>
                        <a:pt x="770" y="555"/>
                      </a:lnTo>
                      <a:lnTo>
                        <a:pt x="770" y="555"/>
                      </a:lnTo>
                      <a:lnTo>
                        <a:pt x="770" y="557"/>
                      </a:lnTo>
                      <a:lnTo>
                        <a:pt x="770" y="557"/>
                      </a:lnTo>
                      <a:lnTo>
                        <a:pt x="770" y="557"/>
                      </a:lnTo>
                      <a:lnTo>
                        <a:pt x="769" y="557"/>
                      </a:lnTo>
                      <a:lnTo>
                        <a:pt x="769" y="557"/>
                      </a:lnTo>
                      <a:lnTo>
                        <a:pt x="769" y="559"/>
                      </a:lnTo>
                      <a:lnTo>
                        <a:pt x="769" y="559"/>
                      </a:lnTo>
                      <a:lnTo>
                        <a:pt x="769" y="559"/>
                      </a:lnTo>
                      <a:lnTo>
                        <a:pt x="770" y="560"/>
                      </a:lnTo>
                      <a:lnTo>
                        <a:pt x="774" y="564"/>
                      </a:lnTo>
                      <a:lnTo>
                        <a:pt x="776" y="566"/>
                      </a:lnTo>
                      <a:lnTo>
                        <a:pt x="777" y="566"/>
                      </a:lnTo>
                      <a:lnTo>
                        <a:pt x="777" y="564"/>
                      </a:lnTo>
                      <a:lnTo>
                        <a:pt x="777" y="564"/>
                      </a:lnTo>
                      <a:lnTo>
                        <a:pt x="779" y="566"/>
                      </a:lnTo>
                      <a:lnTo>
                        <a:pt x="779" y="567"/>
                      </a:lnTo>
                      <a:lnTo>
                        <a:pt x="781" y="569"/>
                      </a:lnTo>
                      <a:lnTo>
                        <a:pt x="781" y="569"/>
                      </a:lnTo>
                      <a:lnTo>
                        <a:pt x="783" y="569"/>
                      </a:lnTo>
                      <a:lnTo>
                        <a:pt x="784" y="571"/>
                      </a:lnTo>
                      <a:lnTo>
                        <a:pt x="784" y="571"/>
                      </a:lnTo>
                      <a:lnTo>
                        <a:pt x="786" y="574"/>
                      </a:lnTo>
                      <a:lnTo>
                        <a:pt x="788" y="574"/>
                      </a:lnTo>
                      <a:lnTo>
                        <a:pt x="790" y="576"/>
                      </a:lnTo>
                      <a:lnTo>
                        <a:pt x="790" y="576"/>
                      </a:lnTo>
                      <a:lnTo>
                        <a:pt x="791" y="574"/>
                      </a:lnTo>
                      <a:lnTo>
                        <a:pt x="791" y="573"/>
                      </a:lnTo>
                      <a:lnTo>
                        <a:pt x="791" y="571"/>
                      </a:lnTo>
                      <a:lnTo>
                        <a:pt x="791" y="562"/>
                      </a:lnTo>
                      <a:lnTo>
                        <a:pt x="791" y="562"/>
                      </a:lnTo>
                      <a:close/>
                      <a:moveTo>
                        <a:pt x="763" y="555"/>
                      </a:moveTo>
                      <a:lnTo>
                        <a:pt x="763" y="553"/>
                      </a:lnTo>
                      <a:lnTo>
                        <a:pt x="763" y="553"/>
                      </a:lnTo>
                      <a:lnTo>
                        <a:pt x="760" y="553"/>
                      </a:lnTo>
                      <a:lnTo>
                        <a:pt x="756" y="553"/>
                      </a:lnTo>
                      <a:lnTo>
                        <a:pt x="755" y="553"/>
                      </a:lnTo>
                      <a:lnTo>
                        <a:pt x="756" y="555"/>
                      </a:lnTo>
                      <a:lnTo>
                        <a:pt x="756" y="557"/>
                      </a:lnTo>
                      <a:lnTo>
                        <a:pt x="756" y="559"/>
                      </a:lnTo>
                      <a:lnTo>
                        <a:pt x="756" y="560"/>
                      </a:lnTo>
                      <a:lnTo>
                        <a:pt x="763" y="555"/>
                      </a:lnTo>
                      <a:close/>
                      <a:moveTo>
                        <a:pt x="777" y="571"/>
                      </a:moveTo>
                      <a:lnTo>
                        <a:pt x="777" y="571"/>
                      </a:lnTo>
                      <a:lnTo>
                        <a:pt x="776" y="571"/>
                      </a:lnTo>
                      <a:lnTo>
                        <a:pt x="774" y="571"/>
                      </a:lnTo>
                      <a:lnTo>
                        <a:pt x="774" y="569"/>
                      </a:lnTo>
                      <a:lnTo>
                        <a:pt x="772" y="569"/>
                      </a:lnTo>
                      <a:lnTo>
                        <a:pt x="770" y="567"/>
                      </a:lnTo>
                      <a:lnTo>
                        <a:pt x="769" y="564"/>
                      </a:lnTo>
                      <a:lnTo>
                        <a:pt x="767" y="560"/>
                      </a:lnTo>
                      <a:lnTo>
                        <a:pt x="763" y="559"/>
                      </a:lnTo>
                      <a:lnTo>
                        <a:pt x="760" y="560"/>
                      </a:lnTo>
                      <a:lnTo>
                        <a:pt x="762" y="562"/>
                      </a:lnTo>
                      <a:lnTo>
                        <a:pt x="762" y="562"/>
                      </a:lnTo>
                      <a:lnTo>
                        <a:pt x="762" y="562"/>
                      </a:lnTo>
                      <a:lnTo>
                        <a:pt x="763" y="562"/>
                      </a:lnTo>
                      <a:lnTo>
                        <a:pt x="765" y="564"/>
                      </a:lnTo>
                      <a:lnTo>
                        <a:pt x="765" y="566"/>
                      </a:lnTo>
                      <a:lnTo>
                        <a:pt x="767" y="567"/>
                      </a:lnTo>
                      <a:lnTo>
                        <a:pt x="769" y="569"/>
                      </a:lnTo>
                      <a:lnTo>
                        <a:pt x="770" y="573"/>
                      </a:lnTo>
                      <a:lnTo>
                        <a:pt x="772" y="574"/>
                      </a:lnTo>
                      <a:lnTo>
                        <a:pt x="774" y="576"/>
                      </a:lnTo>
                      <a:lnTo>
                        <a:pt x="776" y="576"/>
                      </a:lnTo>
                      <a:lnTo>
                        <a:pt x="777" y="576"/>
                      </a:lnTo>
                      <a:lnTo>
                        <a:pt x="777" y="574"/>
                      </a:lnTo>
                      <a:lnTo>
                        <a:pt x="779" y="573"/>
                      </a:lnTo>
                      <a:lnTo>
                        <a:pt x="779" y="571"/>
                      </a:lnTo>
                      <a:lnTo>
                        <a:pt x="777" y="571"/>
                      </a:lnTo>
                      <a:close/>
                      <a:moveTo>
                        <a:pt x="447" y="387"/>
                      </a:moveTo>
                      <a:lnTo>
                        <a:pt x="447" y="389"/>
                      </a:lnTo>
                      <a:lnTo>
                        <a:pt x="451" y="389"/>
                      </a:lnTo>
                      <a:lnTo>
                        <a:pt x="449" y="386"/>
                      </a:lnTo>
                      <a:lnTo>
                        <a:pt x="447" y="387"/>
                      </a:lnTo>
                      <a:close/>
                      <a:moveTo>
                        <a:pt x="814" y="550"/>
                      </a:moveTo>
                      <a:lnTo>
                        <a:pt x="811" y="545"/>
                      </a:lnTo>
                      <a:lnTo>
                        <a:pt x="807" y="541"/>
                      </a:lnTo>
                      <a:lnTo>
                        <a:pt x="802" y="543"/>
                      </a:lnTo>
                      <a:lnTo>
                        <a:pt x="800" y="545"/>
                      </a:lnTo>
                      <a:lnTo>
                        <a:pt x="798" y="552"/>
                      </a:lnTo>
                      <a:lnTo>
                        <a:pt x="795" y="557"/>
                      </a:lnTo>
                      <a:lnTo>
                        <a:pt x="795" y="560"/>
                      </a:lnTo>
                      <a:lnTo>
                        <a:pt x="797" y="564"/>
                      </a:lnTo>
                      <a:lnTo>
                        <a:pt x="798" y="560"/>
                      </a:lnTo>
                      <a:lnTo>
                        <a:pt x="802" y="559"/>
                      </a:lnTo>
                      <a:lnTo>
                        <a:pt x="804" y="557"/>
                      </a:lnTo>
                      <a:lnTo>
                        <a:pt x="804" y="559"/>
                      </a:lnTo>
                      <a:lnTo>
                        <a:pt x="805" y="560"/>
                      </a:lnTo>
                      <a:lnTo>
                        <a:pt x="809" y="562"/>
                      </a:lnTo>
                      <a:lnTo>
                        <a:pt x="811" y="560"/>
                      </a:lnTo>
                      <a:lnTo>
                        <a:pt x="812" y="555"/>
                      </a:lnTo>
                      <a:lnTo>
                        <a:pt x="814" y="550"/>
                      </a:lnTo>
                      <a:close/>
                      <a:moveTo>
                        <a:pt x="828" y="538"/>
                      </a:moveTo>
                      <a:lnTo>
                        <a:pt x="825" y="536"/>
                      </a:lnTo>
                      <a:lnTo>
                        <a:pt x="825" y="536"/>
                      </a:lnTo>
                      <a:lnTo>
                        <a:pt x="825" y="534"/>
                      </a:lnTo>
                      <a:lnTo>
                        <a:pt x="823" y="534"/>
                      </a:lnTo>
                      <a:lnTo>
                        <a:pt x="798" y="524"/>
                      </a:lnTo>
                      <a:lnTo>
                        <a:pt x="798" y="524"/>
                      </a:lnTo>
                      <a:lnTo>
                        <a:pt x="797" y="526"/>
                      </a:lnTo>
                      <a:lnTo>
                        <a:pt x="795" y="524"/>
                      </a:lnTo>
                      <a:lnTo>
                        <a:pt x="795" y="524"/>
                      </a:lnTo>
                      <a:lnTo>
                        <a:pt x="795" y="522"/>
                      </a:lnTo>
                      <a:lnTo>
                        <a:pt x="795" y="520"/>
                      </a:lnTo>
                      <a:lnTo>
                        <a:pt x="793" y="520"/>
                      </a:lnTo>
                      <a:lnTo>
                        <a:pt x="793" y="519"/>
                      </a:lnTo>
                      <a:lnTo>
                        <a:pt x="791" y="519"/>
                      </a:lnTo>
                      <a:lnTo>
                        <a:pt x="790" y="517"/>
                      </a:lnTo>
                      <a:lnTo>
                        <a:pt x="790" y="517"/>
                      </a:lnTo>
                      <a:lnTo>
                        <a:pt x="791" y="513"/>
                      </a:lnTo>
                      <a:lnTo>
                        <a:pt x="791" y="513"/>
                      </a:lnTo>
                      <a:lnTo>
                        <a:pt x="784" y="512"/>
                      </a:lnTo>
                      <a:lnTo>
                        <a:pt x="786" y="508"/>
                      </a:lnTo>
                      <a:lnTo>
                        <a:pt x="784" y="505"/>
                      </a:lnTo>
                      <a:lnTo>
                        <a:pt x="779" y="496"/>
                      </a:lnTo>
                      <a:lnTo>
                        <a:pt x="758" y="466"/>
                      </a:lnTo>
                      <a:lnTo>
                        <a:pt x="755" y="463"/>
                      </a:lnTo>
                      <a:lnTo>
                        <a:pt x="744" y="456"/>
                      </a:lnTo>
                      <a:lnTo>
                        <a:pt x="742" y="452"/>
                      </a:lnTo>
                      <a:lnTo>
                        <a:pt x="739" y="447"/>
                      </a:lnTo>
                      <a:lnTo>
                        <a:pt x="735" y="445"/>
                      </a:lnTo>
                      <a:lnTo>
                        <a:pt x="730" y="442"/>
                      </a:lnTo>
                      <a:lnTo>
                        <a:pt x="728" y="438"/>
                      </a:lnTo>
                      <a:lnTo>
                        <a:pt x="727" y="435"/>
                      </a:lnTo>
                      <a:lnTo>
                        <a:pt x="725" y="433"/>
                      </a:lnTo>
                      <a:lnTo>
                        <a:pt x="725" y="431"/>
                      </a:lnTo>
                      <a:lnTo>
                        <a:pt x="725" y="431"/>
                      </a:lnTo>
                      <a:lnTo>
                        <a:pt x="723" y="429"/>
                      </a:lnTo>
                      <a:lnTo>
                        <a:pt x="720" y="426"/>
                      </a:lnTo>
                      <a:lnTo>
                        <a:pt x="718" y="424"/>
                      </a:lnTo>
                      <a:lnTo>
                        <a:pt x="718" y="424"/>
                      </a:lnTo>
                      <a:lnTo>
                        <a:pt x="714" y="424"/>
                      </a:lnTo>
                      <a:lnTo>
                        <a:pt x="708" y="428"/>
                      </a:lnTo>
                      <a:lnTo>
                        <a:pt x="699" y="431"/>
                      </a:lnTo>
                      <a:lnTo>
                        <a:pt x="701" y="433"/>
                      </a:lnTo>
                      <a:lnTo>
                        <a:pt x="701" y="435"/>
                      </a:lnTo>
                      <a:lnTo>
                        <a:pt x="699" y="435"/>
                      </a:lnTo>
                      <a:lnTo>
                        <a:pt x="695" y="435"/>
                      </a:lnTo>
                      <a:lnTo>
                        <a:pt x="697" y="440"/>
                      </a:lnTo>
                      <a:lnTo>
                        <a:pt x="695" y="442"/>
                      </a:lnTo>
                      <a:lnTo>
                        <a:pt x="695" y="443"/>
                      </a:lnTo>
                      <a:lnTo>
                        <a:pt x="694" y="445"/>
                      </a:lnTo>
                      <a:lnTo>
                        <a:pt x="692" y="445"/>
                      </a:lnTo>
                      <a:lnTo>
                        <a:pt x="690" y="445"/>
                      </a:lnTo>
                      <a:lnTo>
                        <a:pt x="687" y="445"/>
                      </a:lnTo>
                      <a:lnTo>
                        <a:pt x="685" y="447"/>
                      </a:lnTo>
                      <a:lnTo>
                        <a:pt x="680" y="450"/>
                      </a:lnTo>
                      <a:lnTo>
                        <a:pt x="676" y="452"/>
                      </a:lnTo>
                      <a:lnTo>
                        <a:pt x="674" y="452"/>
                      </a:lnTo>
                      <a:lnTo>
                        <a:pt x="673" y="445"/>
                      </a:lnTo>
                      <a:lnTo>
                        <a:pt x="667" y="438"/>
                      </a:lnTo>
                      <a:lnTo>
                        <a:pt x="655" y="428"/>
                      </a:lnTo>
                      <a:lnTo>
                        <a:pt x="653" y="428"/>
                      </a:lnTo>
                      <a:lnTo>
                        <a:pt x="650" y="422"/>
                      </a:lnTo>
                      <a:lnTo>
                        <a:pt x="648" y="421"/>
                      </a:lnTo>
                      <a:lnTo>
                        <a:pt x="646" y="421"/>
                      </a:lnTo>
                      <a:lnTo>
                        <a:pt x="643" y="419"/>
                      </a:lnTo>
                      <a:lnTo>
                        <a:pt x="639" y="415"/>
                      </a:lnTo>
                      <a:lnTo>
                        <a:pt x="639" y="414"/>
                      </a:lnTo>
                      <a:lnTo>
                        <a:pt x="639" y="410"/>
                      </a:lnTo>
                      <a:lnTo>
                        <a:pt x="639" y="405"/>
                      </a:lnTo>
                      <a:lnTo>
                        <a:pt x="632" y="405"/>
                      </a:lnTo>
                      <a:lnTo>
                        <a:pt x="629" y="407"/>
                      </a:lnTo>
                      <a:lnTo>
                        <a:pt x="627" y="407"/>
                      </a:lnTo>
                      <a:lnTo>
                        <a:pt x="624" y="410"/>
                      </a:lnTo>
                      <a:lnTo>
                        <a:pt x="622" y="410"/>
                      </a:lnTo>
                      <a:lnTo>
                        <a:pt x="618" y="410"/>
                      </a:lnTo>
                      <a:lnTo>
                        <a:pt x="613" y="408"/>
                      </a:lnTo>
                      <a:lnTo>
                        <a:pt x="611" y="407"/>
                      </a:lnTo>
                      <a:lnTo>
                        <a:pt x="611" y="408"/>
                      </a:lnTo>
                      <a:lnTo>
                        <a:pt x="610" y="408"/>
                      </a:lnTo>
                      <a:lnTo>
                        <a:pt x="610" y="410"/>
                      </a:lnTo>
                      <a:lnTo>
                        <a:pt x="610" y="410"/>
                      </a:lnTo>
                      <a:lnTo>
                        <a:pt x="599" y="407"/>
                      </a:lnTo>
                      <a:lnTo>
                        <a:pt x="599" y="64"/>
                      </a:lnTo>
                      <a:lnTo>
                        <a:pt x="597" y="64"/>
                      </a:lnTo>
                      <a:lnTo>
                        <a:pt x="592" y="66"/>
                      </a:lnTo>
                      <a:lnTo>
                        <a:pt x="591" y="64"/>
                      </a:lnTo>
                      <a:lnTo>
                        <a:pt x="587" y="64"/>
                      </a:lnTo>
                      <a:lnTo>
                        <a:pt x="571" y="57"/>
                      </a:lnTo>
                      <a:lnTo>
                        <a:pt x="561" y="50"/>
                      </a:lnTo>
                      <a:lnTo>
                        <a:pt x="554" y="48"/>
                      </a:lnTo>
                      <a:lnTo>
                        <a:pt x="549" y="48"/>
                      </a:lnTo>
                      <a:lnTo>
                        <a:pt x="543" y="48"/>
                      </a:lnTo>
                      <a:lnTo>
                        <a:pt x="533" y="50"/>
                      </a:lnTo>
                      <a:lnTo>
                        <a:pt x="521" y="54"/>
                      </a:lnTo>
                      <a:lnTo>
                        <a:pt x="519" y="54"/>
                      </a:lnTo>
                      <a:lnTo>
                        <a:pt x="515" y="54"/>
                      </a:lnTo>
                      <a:lnTo>
                        <a:pt x="507" y="50"/>
                      </a:lnTo>
                      <a:lnTo>
                        <a:pt x="498" y="47"/>
                      </a:lnTo>
                      <a:lnTo>
                        <a:pt x="494" y="47"/>
                      </a:lnTo>
                      <a:lnTo>
                        <a:pt x="479" y="45"/>
                      </a:lnTo>
                      <a:lnTo>
                        <a:pt x="467" y="45"/>
                      </a:lnTo>
                      <a:lnTo>
                        <a:pt x="460" y="43"/>
                      </a:lnTo>
                      <a:lnTo>
                        <a:pt x="456" y="43"/>
                      </a:lnTo>
                      <a:lnTo>
                        <a:pt x="454" y="43"/>
                      </a:lnTo>
                      <a:lnTo>
                        <a:pt x="451" y="40"/>
                      </a:lnTo>
                      <a:lnTo>
                        <a:pt x="447" y="38"/>
                      </a:lnTo>
                      <a:lnTo>
                        <a:pt x="446" y="38"/>
                      </a:lnTo>
                      <a:lnTo>
                        <a:pt x="442" y="40"/>
                      </a:lnTo>
                      <a:lnTo>
                        <a:pt x="440" y="40"/>
                      </a:lnTo>
                      <a:lnTo>
                        <a:pt x="439" y="40"/>
                      </a:lnTo>
                      <a:lnTo>
                        <a:pt x="433" y="36"/>
                      </a:lnTo>
                      <a:lnTo>
                        <a:pt x="432" y="35"/>
                      </a:lnTo>
                      <a:lnTo>
                        <a:pt x="425" y="33"/>
                      </a:lnTo>
                      <a:lnTo>
                        <a:pt x="419" y="33"/>
                      </a:lnTo>
                      <a:lnTo>
                        <a:pt x="416" y="33"/>
                      </a:lnTo>
                      <a:lnTo>
                        <a:pt x="412" y="33"/>
                      </a:lnTo>
                      <a:lnTo>
                        <a:pt x="409" y="33"/>
                      </a:lnTo>
                      <a:lnTo>
                        <a:pt x="405" y="35"/>
                      </a:lnTo>
                      <a:lnTo>
                        <a:pt x="402" y="35"/>
                      </a:lnTo>
                      <a:lnTo>
                        <a:pt x="398" y="35"/>
                      </a:lnTo>
                      <a:lnTo>
                        <a:pt x="397" y="33"/>
                      </a:lnTo>
                      <a:lnTo>
                        <a:pt x="393" y="33"/>
                      </a:lnTo>
                      <a:lnTo>
                        <a:pt x="390" y="33"/>
                      </a:lnTo>
                      <a:lnTo>
                        <a:pt x="384" y="35"/>
                      </a:lnTo>
                      <a:lnTo>
                        <a:pt x="381" y="36"/>
                      </a:lnTo>
                      <a:lnTo>
                        <a:pt x="377" y="36"/>
                      </a:lnTo>
                      <a:lnTo>
                        <a:pt x="365" y="35"/>
                      </a:lnTo>
                      <a:lnTo>
                        <a:pt x="367" y="33"/>
                      </a:lnTo>
                      <a:lnTo>
                        <a:pt x="367" y="33"/>
                      </a:lnTo>
                      <a:lnTo>
                        <a:pt x="369" y="31"/>
                      </a:lnTo>
                      <a:lnTo>
                        <a:pt x="369" y="29"/>
                      </a:lnTo>
                      <a:lnTo>
                        <a:pt x="363" y="29"/>
                      </a:lnTo>
                      <a:lnTo>
                        <a:pt x="357" y="28"/>
                      </a:lnTo>
                      <a:lnTo>
                        <a:pt x="355" y="26"/>
                      </a:lnTo>
                      <a:lnTo>
                        <a:pt x="358" y="21"/>
                      </a:lnTo>
                      <a:lnTo>
                        <a:pt x="357" y="19"/>
                      </a:lnTo>
                      <a:lnTo>
                        <a:pt x="353" y="19"/>
                      </a:lnTo>
                      <a:lnTo>
                        <a:pt x="346" y="19"/>
                      </a:lnTo>
                      <a:lnTo>
                        <a:pt x="344" y="17"/>
                      </a:lnTo>
                      <a:lnTo>
                        <a:pt x="341" y="17"/>
                      </a:lnTo>
                      <a:lnTo>
                        <a:pt x="337" y="15"/>
                      </a:lnTo>
                      <a:lnTo>
                        <a:pt x="337" y="17"/>
                      </a:lnTo>
                      <a:lnTo>
                        <a:pt x="334" y="17"/>
                      </a:lnTo>
                      <a:lnTo>
                        <a:pt x="318" y="21"/>
                      </a:lnTo>
                      <a:lnTo>
                        <a:pt x="311" y="21"/>
                      </a:lnTo>
                      <a:lnTo>
                        <a:pt x="304" y="17"/>
                      </a:lnTo>
                      <a:lnTo>
                        <a:pt x="306" y="15"/>
                      </a:lnTo>
                      <a:lnTo>
                        <a:pt x="306" y="14"/>
                      </a:lnTo>
                      <a:lnTo>
                        <a:pt x="304" y="12"/>
                      </a:lnTo>
                      <a:lnTo>
                        <a:pt x="302" y="10"/>
                      </a:lnTo>
                      <a:lnTo>
                        <a:pt x="299" y="10"/>
                      </a:lnTo>
                      <a:lnTo>
                        <a:pt x="297" y="10"/>
                      </a:lnTo>
                      <a:lnTo>
                        <a:pt x="295" y="12"/>
                      </a:lnTo>
                      <a:lnTo>
                        <a:pt x="287" y="17"/>
                      </a:lnTo>
                      <a:lnTo>
                        <a:pt x="285" y="19"/>
                      </a:lnTo>
                      <a:lnTo>
                        <a:pt x="281" y="19"/>
                      </a:lnTo>
                      <a:lnTo>
                        <a:pt x="280" y="19"/>
                      </a:lnTo>
                      <a:lnTo>
                        <a:pt x="278" y="17"/>
                      </a:lnTo>
                      <a:lnTo>
                        <a:pt x="276" y="15"/>
                      </a:lnTo>
                      <a:lnTo>
                        <a:pt x="280" y="15"/>
                      </a:lnTo>
                      <a:lnTo>
                        <a:pt x="285" y="12"/>
                      </a:lnTo>
                      <a:lnTo>
                        <a:pt x="287" y="10"/>
                      </a:lnTo>
                      <a:lnTo>
                        <a:pt x="285" y="7"/>
                      </a:lnTo>
                      <a:lnTo>
                        <a:pt x="280" y="5"/>
                      </a:lnTo>
                      <a:lnTo>
                        <a:pt x="274" y="5"/>
                      </a:lnTo>
                      <a:lnTo>
                        <a:pt x="271" y="3"/>
                      </a:lnTo>
                      <a:lnTo>
                        <a:pt x="266" y="1"/>
                      </a:lnTo>
                      <a:lnTo>
                        <a:pt x="267" y="0"/>
                      </a:lnTo>
                      <a:lnTo>
                        <a:pt x="269" y="0"/>
                      </a:lnTo>
                      <a:lnTo>
                        <a:pt x="269" y="0"/>
                      </a:lnTo>
                      <a:lnTo>
                        <a:pt x="264" y="0"/>
                      </a:lnTo>
                      <a:lnTo>
                        <a:pt x="259" y="3"/>
                      </a:lnTo>
                      <a:lnTo>
                        <a:pt x="250" y="12"/>
                      </a:lnTo>
                      <a:lnTo>
                        <a:pt x="245" y="15"/>
                      </a:lnTo>
                      <a:lnTo>
                        <a:pt x="241" y="17"/>
                      </a:lnTo>
                      <a:lnTo>
                        <a:pt x="238" y="19"/>
                      </a:lnTo>
                      <a:lnTo>
                        <a:pt x="234" y="19"/>
                      </a:lnTo>
                      <a:lnTo>
                        <a:pt x="229" y="19"/>
                      </a:lnTo>
                      <a:lnTo>
                        <a:pt x="213" y="22"/>
                      </a:lnTo>
                      <a:lnTo>
                        <a:pt x="212" y="22"/>
                      </a:lnTo>
                      <a:lnTo>
                        <a:pt x="210" y="22"/>
                      </a:lnTo>
                      <a:lnTo>
                        <a:pt x="208" y="22"/>
                      </a:lnTo>
                      <a:lnTo>
                        <a:pt x="208" y="22"/>
                      </a:lnTo>
                      <a:lnTo>
                        <a:pt x="208" y="21"/>
                      </a:lnTo>
                      <a:lnTo>
                        <a:pt x="210" y="21"/>
                      </a:lnTo>
                      <a:lnTo>
                        <a:pt x="210" y="21"/>
                      </a:lnTo>
                      <a:lnTo>
                        <a:pt x="208" y="19"/>
                      </a:lnTo>
                      <a:lnTo>
                        <a:pt x="208" y="19"/>
                      </a:lnTo>
                      <a:lnTo>
                        <a:pt x="206" y="19"/>
                      </a:lnTo>
                      <a:lnTo>
                        <a:pt x="199" y="22"/>
                      </a:lnTo>
                      <a:lnTo>
                        <a:pt x="191" y="28"/>
                      </a:lnTo>
                      <a:lnTo>
                        <a:pt x="194" y="28"/>
                      </a:lnTo>
                      <a:lnTo>
                        <a:pt x="194" y="29"/>
                      </a:lnTo>
                      <a:lnTo>
                        <a:pt x="196" y="29"/>
                      </a:lnTo>
                      <a:lnTo>
                        <a:pt x="198" y="31"/>
                      </a:lnTo>
                      <a:lnTo>
                        <a:pt x="199" y="31"/>
                      </a:lnTo>
                      <a:lnTo>
                        <a:pt x="206" y="31"/>
                      </a:lnTo>
                      <a:lnTo>
                        <a:pt x="198" y="33"/>
                      </a:lnTo>
                      <a:lnTo>
                        <a:pt x="196" y="35"/>
                      </a:lnTo>
                      <a:lnTo>
                        <a:pt x="196" y="36"/>
                      </a:lnTo>
                      <a:lnTo>
                        <a:pt x="196" y="42"/>
                      </a:lnTo>
                      <a:lnTo>
                        <a:pt x="196" y="40"/>
                      </a:lnTo>
                      <a:lnTo>
                        <a:pt x="194" y="40"/>
                      </a:lnTo>
                      <a:lnTo>
                        <a:pt x="192" y="38"/>
                      </a:lnTo>
                      <a:lnTo>
                        <a:pt x="191" y="40"/>
                      </a:lnTo>
                      <a:lnTo>
                        <a:pt x="192" y="36"/>
                      </a:lnTo>
                      <a:lnTo>
                        <a:pt x="192" y="35"/>
                      </a:lnTo>
                      <a:lnTo>
                        <a:pt x="191" y="33"/>
                      </a:lnTo>
                      <a:lnTo>
                        <a:pt x="191" y="33"/>
                      </a:lnTo>
                      <a:lnTo>
                        <a:pt x="192" y="31"/>
                      </a:lnTo>
                      <a:lnTo>
                        <a:pt x="194" y="29"/>
                      </a:lnTo>
                      <a:lnTo>
                        <a:pt x="189" y="29"/>
                      </a:lnTo>
                      <a:lnTo>
                        <a:pt x="184" y="33"/>
                      </a:lnTo>
                      <a:lnTo>
                        <a:pt x="177" y="36"/>
                      </a:lnTo>
                      <a:lnTo>
                        <a:pt x="173" y="40"/>
                      </a:lnTo>
                      <a:lnTo>
                        <a:pt x="170" y="40"/>
                      </a:lnTo>
                      <a:lnTo>
                        <a:pt x="159" y="43"/>
                      </a:lnTo>
                      <a:lnTo>
                        <a:pt x="152" y="45"/>
                      </a:lnTo>
                      <a:lnTo>
                        <a:pt x="149" y="45"/>
                      </a:lnTo>
                      <a:lnTo>
                        <a:pt x="156" y="42"/>
                      </a:lnTo>
                      <a:lnTo>
                        <a:pt x="154" y="40"/>
                      </a:lnTo>
                      <a:lnTo>
                        <a:pt x="152" y="40"/>
                      </a:lnTo>
                      <a:lnTo>
                        <a:pt x="131" y="61"/>
                      </a:lnTo>
                      <a:lnTo>
                        <a:pt x="128" y="64"/>
                      </a:lnTo>
                      <a:lnTo>
                        <a:pt x="126" y="68"/>
                      </a:lnTo>
                      <a:lnTo>
                        <a:pt x="126" y="71"/>
                      </a:lnTo>
                      <a:lnTo>
                        <a:pt x="124" y="73"/>
                      </a:lnTo>
                      <a:lnTo>
                        <a:pt x="123" y="75"/>
                      </a:lnTo>
                      <a:lnTo>
                        <a:pt x="119" y="76"/>
                      </a:lnTo>
                      <a:lnTo>
                        <a:pt x="105" y="83"/>
                      </a:lnTo>
                      <a:lnTo>
                        <a:pt x="91" y="87"/>
                      </a:lnTo>
                      <a:lnTo>
                        <a:pt x="60" y="87"/>
                      </a:lnTo>
                      <a:lnTo>
                        <a:pt x="60" y="92"/>
                      </a:lnTo>
                      <a:lnTo>
                        <a:pt x="58" y="97"/>
                      </a:lnTo>
                      <a:lnTo>
                        <a:pt x="56" y="103"/>
                      </a:lnTo>
                      <a:lnTo>
                        <a:pt x="51" y="103"/>
                      </a:lnTo>
                      <a:lnTo>
                        <a:pt x="53" y="101"/>
                      </a:lnTo>
                      <a:lnTo>
                        <a:pt x="51" y="101"/>
                      </a:lnTo>
                      <a:lnTo>
                        <a:pt x="51" y="103"/>
                      </a:lnTo>
                      <a:lnTo>
                        <a:pt x="49" y="103"/>
                      </a:lnTo>
                      <a:lnTo>
                        <a:pt x="47" y="103"/>
                      </a:lnTo>
                      <a:lnTo>
                        <a:pt x="58" y="106"/>
                      </a:lnTo>
                      <a:lnTo>
                        <a:pt x="60" y="106"/>
                      </a:lnTo>
                      <a:lnTo>
                        <a:pt x="70" y="111"/>
                      </a:lnTo>
                      <a:lnTo>
                        <a:pt x="81" y="115"/>
                      </a:lnTo>
                      <a:lnTo>
                        <a:pt x="102" y="127"/>
                      </a:lnTo>
                      <a:lnTo>
                        <a:pt x="107" y="132"/>
                      </a:lnTo>
                      <a:lnTo>
                        <a:pt x="112" y="141"/>
                      </a:lnTo>
                      <a:lnTo>
                        <a:pt x="116" y="146"/>
                      </a:lnTo>
                      <a:lnTo>
                        <a:pt x="121" y="150"/>
                      </a:lnTo>
                      <a:lnTo>
                        <a:pt x="128" y="152"/>
                      </a:lnTo>
                      <a:lnTo>
                        <a:pt x="136" y="150"/>
                      </a:lnTo>
                      <a:lnTo>
                        <a:pt x="142" y="148"/>
                      </a:lnTo>
                      <a:lnTo>
                        <a:pt x="143" y="150"/>
                      </a:lnTo>
                      <a:lnTo>
                        <a:pt x="154" y="152"/>
                      </a:lnTo>
                      <a:lnTo>
                        <a:pt x="157" y="153"/>
                      </a:lnTo>
                      <a:lnTo>
                        <a:pt x="156" y="155"/>
                      </a:lnTo>
                      <a:lnTo>
                        <a:pt x="154" y="159"/>
                      </a:lnTo>
                      <a:lnTo>
                        <a:pt x="154" y="162"/>
                      </a:lnTo>
                      <a:lnTo>
                        <a:pt x="156" y="166"/>
                      </a:lnTo>
                      <a:lnTo>
                        <a:pt x="157" y="167"/>
                      </a:lnTo>
                      <a:lnTo>
                        <a:pt x="159" y="167"/>
                      </a:lnTo>
                      <a:lnTo>
                        <a:pt x="161" y="169"/>
                      </a:lnTo>
                      <a:lnTo>
                        <a:pt x="163" y="169"/>
                      </a:lnTo>
                      <a:lnTo>
                        <a:pt x="164" y="169"/>
                      </a:lnTo>
                      <a:lnTo>
                        <a:pt x="166" y="169"/>
                      </a:lnTo>
                      <a:lnTo>
                        <a:pt x="168" y="167"/>
                      </a:lnTo>
                      <a:lnTo>
                        <a:pt x="170" y="166"/>
                      </a:lnTo>
                      <a:lnTo>
                        <a:pt x="171" y="166"/>
                      </a:lnTo>
                      <a:lnTo>
                        <a:pt x="173" y="166"/>
                      </a:lnTo>
                      <a:lnTo>
                        <a:pt x="175" y="166"/>
                      </a:lnTo>
                      <a:lnTo>
                        <a:pt x="177" y="166"/>
                      </a:lnTo>
                      <a:lnTo>
                        <a:pt x="177" y="166"/>
                      </a:lnTo>
                      <a:lnTo>
                        <a:pt x="178" y="167"/>
                      </a:lnTo>
                      <a:lnTo>
                        <a:pt x="180" y="167"/>
                      </a:lnTo>
                      <a:lnTo>
                        <a:pt x="180" y="167"/>
                      </a:lnTo>
                      <a:lnTo>
                        <a:pt x="184" y="167"/>
                      </a:lnTo>
                      <a:lnTo>
                        <a:pt x="185" y="167"/>
                      </a:lnTo>
                      <a:lnTo>
                        <a:pt x="187" y="169"/>
                      </a:lnTo>
                      <a:lnTo>
                        <a:pt x="187" y="169"/>
                      </a:lnTo>
                      <a:lnTo>
                        <a:pt x="189" y="171"/>
                      </a:lnTo>
                      <a:lnTo>
                        <a:pt x="189" y="174"/>
                      </a:lnTo>
                      <a:lnTo>
                        <a:pt x="187" y="176"/>
                      </a:lnTo>
                      <a:lnTo>
                        <a:pt x="185" y="176"/>
                      </a:lnTo>
                      <a:lnTo>
                        <a:pt x="182" y="178"/>
                      </a:lnTo>
                      <a:lnTo>
                        <a:pt x="180" y="178"/>
                      </a:lnTo>
                      <a:lnTo>
                        <a:pt x="175" y="176"/>
                      </a:lnTo>
                      <a:lnTo>
                        <a:pt x="170" y="173"/>
                      </a:lnTo>
                      <a:lnTo>
                        <a:pt x="164" y="173"/>
                      </a:lnTo>
                      <a:lnTo>
                        <a:pt x="163" y="173"/>
                      </a:lnTo>
                      <a:lnTo>
                        <a:pt x="161" y="173"/>
                      </a:lnTo>
                      <a:lnTo>
                        <a:pt x="159" y="173"/>
                      </a:lnTo>
                      <a:lnTo>
                        <a:pt x="157" y="173"/>
                      </a:lnTo>
                      <a:lnTo>
                        <a:pt x="156" y="173"/>
                      </a:lnTo>
                      <a:lnTo>
                        <a:pt x="152" y="171"/>
                      </a:lnTo>
                      <a:lnTo>
                        <a:pt x="150" y="167"/>
                      </a:lnTo>
                      <a:lnTo>
                        <a:pt x="149" y="166"/>
                      </a:lnTo>
                      <a:lnTo>
                        <a:pt x="149" y="166"/>
                      </a:lnTo>
                      <a:lnTo>
                        <a:pt x="150" y="162"/>
                      </a:lnTo>
                      <a:lnTo>
                        <a:pt x="149" y="162"/>
                      </a:lnTo>
                      <a:lnTo>
                        <a:pt x="149" y="160"/>
                      </a:lnTo>
                      <a:lnTo>
                        <a:pt x="149" y="160"/>
                      </a:lnTo>
                      <a:lnTo>
                        <a:pt x="149" y="160"/>
                      </a:lnTo>
                      <a:lnTo>
                        <a:pt x="147" y="160"/>
                      </a:lnTo>
                      <a:lnTo>
                        <a:pt x="147" y="157"/>
                      </a:lnTo>
                      <a:lnTo>
                        <a:pt x="145" y="155"/>
                      </a:lnTo>
                      <a:lnTo>
                        <a:pt x="143" y="155"/>
                      </a:lnTo>
                      <a:lnTo>
                        <a:pt x="140" y="155"/>
                      </a:lnTo>
                      <a:lnTo>
                        <a:pt x="138" y="155"/>
                      </a:lnTo>
                      <a:lnTo>
                        <a:pt x="138" y="157"/>
                      </a:lnTo>
                      <a:lnTo>
                        <a:pt x="138" y="159"/>
                      </a:lnTo>
                      <a:lnTo>
                        <a:pt x="138" y="160"/>
                      </a:lnTo>
                      <a:lnTo>
                        <a:pt x="140" y="162"/>
                      </a:lnTo>
                      <a:lnTo>
                        <a:pt x="142" y="162"/>
                      </a:lnTo>
                      <a:lnTo>
                        <a:pt x="143" y="162"/>
                      </a:lnTo>
                      <a:lnTo>
                        <a:pt x="145" y="164"/>
                      </a:lnTo>
                      <a:lnTo>
                        <a:pt x="147" y="166"/>
                      </a:lnTo>
                      <a:lnTo>
                        <a:pt x="149" y="167"/>
                      </a:lnTo>
                      <a:lnTo>
                        <a:pt x="150" y="169"/>
                      </a:lnTo>
                      <a:lnTo>
                        <a:pt x="152" y="173"/>
                      </a:lnTo>
                      <a:lnTo>
                        <a:pt x="152" y="174"/>
                      </a:lnTo>
                      <a:lnTo>
                        <a:pt x="152" y="176"/>
                      </a:lnTo>
                      <a:lnTo>
                        <a:pt x="154" y="176"/>
                      </a:lnTo>
                      <a:lnTo>
                        <a:pt x="156" y="178"/>
                      </a:lnTo>
                      <a:lnTo>
                        <a:pt x="159" y="178"/>
                      </a:lnTo>
                      <a:lnTo>
                        <a:pt x="161" y="176"/>
                      </a:lnTo>
                      <a:lnTo>
                        <a:pt x="164" y="178"/>
                      </a:lnTo>
                      <a:lnTo>
                        <a:pt x="166" y="178"/>
                      </a:lnTo>
                      <a:lnTo>
                        <a:pt x="168" y="180"/>
                      </a:lnTo>
                      <a:lnTo>
                        <a:pt x="170" y="181"/>
                      </a:lnTo>
                      <a:lnTo>
                        <a:pt x="170" y="183"/>
                      </a:lnTo>
                      <a:lnTo>
                        <a:pt x="171" y="185"/>
                      </a:lnTo>
                      <a:lnTo>
                        <a:pt x="170" y="185"/>
                      </a:lnTo>
                      <a:lnTo>
                        <a:pt x="168" y="183"/>
                      </a:lnTo>
                      <a:lnTo>
                        <a:pt x="164" y="181"/>
                      </a:lnTo>
                      <a:lnTo>
                        <a:pt x="163" y="181"/>
                      </a:lnTo>
                      <a:lnTo>
                        <a:pt x="159" y="183"/>
                      </a:lnTo>
                      <a:lnTo>
                        <a:pt x="157" y="185"/>
                      </a:lnTo>
                      <a:lnTo>
                        <a:pt x="157" y="188"/>
                      </a:lnTo>
                      <a:lnTo>
                        <a:pt x="154" y="190"/>
                      </a:lnTo>
                      <a:lnTo>
                        <a:pt x="152" y="192"/>
                      </a:lnTo>
                      <a:lnTo>
                        <a:pt x="150" y="192"/>
                      </a:lnTo>
                      <a:lnTo>
                        <a:pt x="145" y="192"/>
                      </a:lnTo>
                      <a:lnTo>
                        <a:pt x="143" y="192"/>
                      </a:lnTo>
                      <a:lnTo>
                        <a:pt x="140" y="192"/>
                      </a:lnTo>
                      <a:lnTo>
                        <a:pt x="138" y="192"/>
                      </a:lnTo>
                      <a:lnTo>
                        <a:pt x="136" y="192"/>
                      </a:lnTo>
                      <a:lnTo>
                        <a:pt x="133" y="190"/>
                      </a:lnTo>
                      <a:lnTo>
                        <a:pt x="133" y="190"/>
                      </a:lnTo>
                      <a:lnTo>
                        <a:pt x="126" y="190"/>
                      </a:lnTo>
                      <a:lnTo>
                        <a:pt x="121" y="190"/>
                      </a:lnTo>
                      <a:lnTo>
                        <a:pt x="116" y="190"/>
                      </a:lnTo>
                      <a:lnTo>
                        <a:pt x="110" y="187"/>
                      </a:lnTo>
                      <a:lnTo>
                        <a:pt x="109" y="185"/>
                      </a:lnTo>
                      <a:lnTo>
                        <a:pt x="109" y="185"/>
                      </a:lnTo>
                      <a:lnTo>
                        <a:pt x="109" y="183"/>
                      </a:lnTo>
                      <a:lnTo>
                        <a:pt x="109" y="183"/>
                      </a:lnTo>
                      <a:lnTo>
                        <a:pt x="109" y="181"/>
                      </a:lnTo>
                      <a:lnTo>
                        <a:pt x="110" y="181"/>
                      </a:lnTo>
                      <a:lnTo>
                        <a:pt x="110" y="180"/>
                      </a:lnTo>
                      <a:lnTo>
                        <a:pt x="110" y="178"/>
                      </a:lnTo>
                      <a:lnTo>
                        <a:pt x="110" y="178"/>
                      </a:lnTo>
                      <a:lnTo>
                        <a:pt x="112" y="173"/>
                      </a:lnTo>
                      <a:lnTo>
                        <a:pt x="112" y="171"/>
                      </a:lnTo>
                      <a:lnTo>
                        <a:pt x="110" y="169"/>
                      </a:lnTo>
                      <a:lnTo>
                        <a:pt x="110" y="169"/>
                      </a:lnTo>
                      <a:lnTo>
                        <a:pt x="112" y="169"/>
                      </a:lnTo>
                      <a:lnTo>
                        <a:pt x="114" y="169"/>
                      </a:lnTo>
                      <a:lnTo>
                        <a:pt x="116" y="169"/>
                      </a:lnTo>
                      <a:lnTo>
                        <a:pt x="109" y="166"/>
                      </a:lnTo>
                      <a:lnTo>
                        <a:pt x="100" y="167"/>
                      </a:lnTo>
                      <a:lnTo>
                        <a:pt x="86" y="174"/>
                      </a:lnTo>
                      <a:lnTo>
                        <a:pt x="75" y="176"/>
                      </a:lnTo>
                      <a:lnTo>
                        <a:pt x="74" y="178"/>
                      </a:lnTo>
                      <a:lnTo>
                        <a:pt x="70" y="180"/>
                      </a:lnTo>
                      <a:lnTo>
                        <a:pt x="68" y="183"/>
                      </a:lnTo>
                      <a:lnTo>
                        <a:pt x="70" y="185"/>
                      </a:lnTo>
                      <a:lnTo>
                        <a:pt x="74" y="187"/>
                      </a:lnTo>
                      <a:lnTo>
                        <a:pt x="72" y="188"/>
                      </a:lnTo>
                      <a:lnTo>
                        <a:pt x="68" y="188"/>
                      </a:lnTo>
                      <a:lnTo>
                        <a:pt x="65" y="188"/>
                      </a:lnTo>
                      <a:lnTo>
                        <a:pt x="60" y="187"/>
                      </a:lnTo>
                      <a:lnTo>
                        <a:pt x="58" y="187"/>
                      </a:lnTo>
                      <a:lnTo>
                        <a:pt x="56" y="188"/>
                      </a:lnTo>
                      <a:lnTo>
                        <a:pt x="54" y="188"/>
                      </a:lnTo>
                      <a:lnTo>
                        <a:pt x="51" y="192"/>
                      </a:lnTo>
                      <a:lnTo>
                        <a:pt x="49" y="192"/>
                      </a:lnTo>
                      <a:lnTo>
                        <a:pt x="47" y="194"/>
                      </a:lnTo>
                      <a:lnTo>
                        <a:pt x="46" y="197"/>
                      </a:lnTo>
                      <a:lnTo>
                        <a:pt x="44" y="197"/>
                      </a:lnTo>
                      <a:lnTo>
                        <a:pt x="42" y="199"/>
                      </a:lnTo>
                      <a:lnTo>
                        <a:pt x="42" y="201"/>
                      </a:lnTo>
                      <a:lnTo>
                        <a:pt x="39" y="201"/>
                      </a:lnTo>
                      <a:lnTo>
                        <a:pt x="35" y="202"/>
                      </a:lnTo>
                      <a:lnTo>
                        <a:pt x="35" y="202"/>
                      </a:lnTo>
                      <a:lnTo>
                        <a:pt x="32" y="206"/>
                      </a:lnTo>
                      <a:lnTo>
                        <a:pt x="30" y="208"/>
                      </a:lnTo>
                      <a:lnTo>
                        <a:pt x="23" y="209"/>
                      </a:lnTo>
                      <a:lnTo>
                        <a:pt x="23" y="209"/>
                      </a:lnTo>
                      <a:lnTo>
                        <a:pt x="23" y="208"/>
                      </a:lnTo>
                      <a:lnTo>
                        <a:pt x="23" y="206"/>
                      </a:lnTo>
                      <a:lnTo>
                        <a:pt x="21" y="211"/>
                      </a:lnTo>
                      <a:lnTo>
                        <a:pt x="25" y="216"/>
                      </a:lnTo>
                      <a:lnTo>
                        <a:pt x="30" y="220"/>
                      </a:lnTo>
                      <a:lnTo>
                        <a:pt x="37" y="221"/>
                      </a:lnTo>
                      <a:lnTo>
                        <a:pt x="44" y="223"/>
                      </a:lnTo>
                      <a:lnTo>
                        <a:pt x="58" y="225"/>
                      </a:lnTo>
                      <a:lnTo>
                        <a:pt x="60" y="227"/>
                      </a:lnTo>
                      <a:lnTo>
                        <a:pt x="61" y="228"/>
                      </a:lnTo>
                      <a:lnTo>
                        <a:pt x="61" y="228"/>
                      </a:lnTo>
                      <a:lnTo>
                        <a:pt x="60" y="228"/>
                      </a:lnTo>
                      <a:lnTo>
                        <a:pt x="58" y="228"/>
                      </a:lnTo>
                      <a:lnTo>
                        <a:pt x="56" y="228"/>
                      </a:lnTo>
                      <a:lnTo>
                        <a:pt x="56" y="230"/>
                      </a:lnTo>
                      <a:lnTo>
                        <a:pt x="54" y="230"/>
                      </a:lnTo>
                      <a:lnTo>
                        <a:pt x="54" y="232"/>
                      </a:lnTo>
                      <a:lnTo>
                        <a:pt x="53" y="232"/>
                      </a:lnTo>
                      <a:lnTo>
                        <a:pt x="51" y="234"/>
                      </a:lnTo>
                      <a:lnTo>
                        <a:pt x="49" y="234"/>
                      </a:lnTo>
                      <a:lnTo>
                        <a:pt x="47" y="234"/>
                      </a:lnTo>
                      <a:lnTo>
                        <a:pt x="46" y="234"/>
                      </a:lnTo>
                      <a:lnTo>
                        <a:pt x="47" y="235"/>
                      </a:lnTo>
                      <a:lnTo>
                        <a:pt x="53" y="241"/>
                      </a:lnTo>
                      <a:lnTo>
                        <a:pt x="54" y="242"/>
                      </a:lnTo>
                      <a:lnTo>
                        <a:pt x="56" y="244"/>
                      </a:lnTo>
                      <a:lnTo>
                        <a:pt x="54" y="248"/>
                      </a:lnTo>
                      <a:lnTo>
                        <a:pt x="54" y="249"/>
                      </a:lnTo>
                      <a:lnTo>
                        <a:pt x="54" y="251"/>
                      </a:lnTo>
                      <a:lnTo>
                        <a:pt x="60" y="256"/>
                      </a:lnTo>
                      <a:lnTo>
                        <a:pt x="67" y="258"/>
                      </a:lnTo>
                      <a:lnTo>
                        <a:pt x="81" y="262"/>
                      </a:lnTo>
                      <a:lnTo>
                        <a:pt x="86" y="262"/>
                      </a:lnTo>
                      <a:lnTo>
                        <a:pt x="91" y="260"/>
                      </a:lnTo>
                      <a:lnTo>
                        <a:pt x="95" y="258"/>
                      </a:lnTo>
                      <a:lnTo>
                        <a:pt x="100" y="256"/>
                      </a:lnTo>
                      <a:lnTo>
                        <a:pt x="107" y="256"/>
                      </a:lnTo>
                      <a:lnTo>
                        <a:pt x="114" y="256"/>
                      </a:lnTo>
                      <a:lnTo>
                        <a:pt x="121" y="260"/>
                      </a:lnTo>
                      <a:lnTo>
                        <a:pt x="126" y="263"/>
                      </a:lnTo>
                      <a:lnTo>
                        <a:pt x="126" y="262"/>
                      </a:lnTo>
                      <a:lnTo>
                        <a:pt x="128" y="260"/>
                      </a:lnTo>
                      <a:lnTo>
                        <a:pt x="124" y="258"/>
                      </a:lnTo>
                      <a:lnTo>
                        <a:pt x="123" y="256"/>
                      </a:lnTo>
                      <a:lnTo>
                        <a:pt x="124" y="255"/>
                      </a:lnTo>
                      <a:lnTo>
                        <a:pt x="126" y="256"/>
                      </a:lnTo>
                      <a:lnTo>
                        <a:pt x="129" y="258"/>
                      </a:lnTo>
                      <a:lnTo>
                        <a:pt x="133" y="263"/>
                      </a:lnTo>
                      <a:lnTo>
                        <a:pt x="135" y="265"/>
                      </a:lnTo>
                      <a:lnTo>
                        <a:pt x="136" y="263"/>
                      </a:lnTo>
                      <a:lnTo>
                        <a:pt x="143" y="255"/>
                      </a:lnTo>
                      <a:lnTo>
                        <a:pt x="145" y="253"/>
                      </a:lnTo>
                      <a:lnTo>
                        <a:pt x="149" y="253"/>
                      </a:lnTo>
                      <a:lnTo>
                        <a:pt x="154" y="249"/>
                      </a:lnTo>
                      <a:lnTo>
                        <a:pt x="154" y="248"/>
                      </a:lnTo>
                      <a:lnTo>
                        <a:pt x="156" y="248"/>
                      </a:lnTo>
                      <a:lnTo>
                        <a:pt x="159" y="248"/>
                      </a:lnTo>
                      <a:lnTo>
                        <a:pt x="159" y="248"/>
                      </a:lnTo>
                      <a:lnTo>
                        <a:pt x="161" y="248"/>
                      </a:lnTo>
                      <a:lnTo>
                        <a:pt x="163" y="246"/>
                      </a:lnTo>
                      <a:lnTo>
                        <a:pt x="164" y="246"/>
                      </a:lnTo>
                      <a:lnTo>
                        <a:pt x="166" y="244"/>
                      </a:lnTo>
                      <a:lnTo>
                        <a:pt x="168" y="244"/>
                      </a:lnTo>
                      <a:lnTo>
                        <a:pt x="171" y="244"/>
                      </a:lnTo>
                      <a:lnTo>
                        <a:pt x="173" y="246"/>
                      </a:lnTo>
                      <a:lnTo>
                        <a:pt x="173" y="248"/>
                      </a:lnTo>
                      <a:lnTo>
                        <a:pt x="175" y="255"/>
                      </a:lnTo>
                      <a:lnTo>
                        <a:pt x="170" y="258"/>
                      </a:lnTo>
                      <a:lnTo>
                        <a:pt x="164" y="260"/>
                      </a:lnTo>
                      <a:lnTo>
                        <a:pt x="161" y="263"/>
                      </a:lnTo>
                      <a:lnTo>
                        <a:pt x="164" y="263"/>
                      </a:lnTo>
                      <a:lnTo>
                        <a:pt x="168" y="265"/>
                      </a:lnTo>
                      <a:lnTo>
                        <a:pt x="170" y="267"/>
                      </a:lnTo>
                      <a:lnTo>
                        <a:pt x="171" y="270"/>
                      </a:lnTo>
                      <a:lnTo>
                        <a:pt x="173" y="274"/>
                      </a:lnTo>
                      <a:lnTo>
                        <a:pt x="175" y="283"/>
                      </a:lnTo>
                      <a:lnTo>
                        <a:pt x="177" y="286"/>
                      </a:lnTo>
                      <a:lnTo>
                        <a:pt x="173" y="291"/>
                      </a:lnTo>
                      <a:lnTo>
                        <a:pt x="168" y="297"/>
                      </a:lnTo>
                      <a:lnTo>
                        <a:pt x="161" y="298"/>
                      </a:lnTo>
                      <a:lnTo>
                        <a:pt x="156" y="300"/>
                      </a:lnTo>
                      <a:lnTo>
                        <a:pt x="152" y="300"/>
                      </a:lnTo>
                      <a:lnTo>
                        <a:pt x="150" y="300"/>
                      </a:lnTo>
                      <a:lnTo>
                        <a:pt x="149" y="298"/>
                      </a:lnTo>
                      <a:lnTo>
                        <a:pt x="149" y="298"/>
                      </a:lnTo>
                      <a:lnTo>
                        <a:pt x="147" y="297"/>
                      </a:lnTo>
                      <a:lnTo>
                        <a:pt x="147" y="297"/>
                      </a:lnTo>
                      <a:lnTo>
                        <a:pt x="143" y="297"/>
                      </a:lnTo>
                      <a:lnTo>
                        <a:pt x="142" y="298"/>
                      </a:lnTo>
                      <a:lnTo>
                        <a:pt x="136" y="305"/>
                      </a:lnTo>
                      <a:lnTo>
                        <a:pt x="135" y="307"/>
                      </a:lnTo>
                      <a:lnTo>
                        <a:pt x="129" y="312"/>
                      </a:lnTo>
                      <a:lnTo>
                        <a:pt x="126" y="312"/>
                      </a:lnTo>
                      <a:lnTo>
                        <a:pt x="124" y="314"/>
                      </a:lnTo>
                      <a:lnTo>
                        <a:pt x="121" y="314"/>
                      </a:lnTo>
                      <a:lnTo>
                        <a:pt x="119" y="312"/>
                      </a:lnTo>
                      <a:lnTo>
                        <a:pt x="116" y="312"/>
                      </a:lnTo>
                      <a:lnTo>
                        <a:pt x="114" y="314"/>
                      </a:lnTo>
                      <a:lnTo>
                        <a:pt x="114" y="314"/>
                      </a:lnTo>
                      <a:lnTo>
                        <a:pt x="116" y="312"/>
                      </a:lnTo>
                      <a:lnTo>
                        <a:pt x="116" y="312"/>
                      </a:lnTo>
                      <a:lnTo>
                        <a:pt x="114" y="311"/>
                      </a:lnTo>
                      <a:lnTo>
                        <a:pt x="112" y="309"/>
                      </a:lnTo>
                      <a:lnTo>
                        <a:pt x="110" y="307"/>
                      </a:lnTo>
                      <a:lnTo>
                        <a:pt x="109" y="307"/>
                      </a:lnTo>
                      <a:lnTo>
                        <a:pt x="105" y="307"/>
                      </a:lnTo>
                      <a:lnTo>
                        <a:pt x="103" y="307"/>
                      </a:lnTo>
                      <a:lnTo>
                        <a:pt x="100" y="307"/>
                      </a:lnTo>
                      <a:lnTo>
                        <a:pt x="98" y="309"/>
                      </a:lnTo>
                      <a:lnTo>
                        <a:pt x="96" y="311"/>
                      </a:lnTo>
                      <a:lnTo>
                        <a:pt x="98" y="312"/>
                      </a:lnTo>
                      <a:lnTo>
                        <a:pt x="98" y="312"/>
                      </a:lnTo>
                      <a:lnTo>
                        <a:pt x="100" y="314"/>
                      </a:lnTo>
                      <a:lnTo>
                        <a:pt x="95" y="314"/>
                      </a:lnTo>
                      <a:lnTo>
                        <a:pt x="91" y="318"/>
                      </a:lnTo>
                      <a:lnTo>
                        <a:pt x="89" y="323"/>
                      </a:lnTo>
                      <a:lnTo>
                        <a:pt x="91" y="328"/>
                      </a:lnTo>
                      <a:lnTo>
                        <a:pt x="91" y="328"/>
                      </a:lnTo>
                      <a:lnTo>
                        <a:pt x="93" y="326"/>
                      </a:lnTo>
                      <a:lnTo>
                        <a:pt x="93" y="326"/>
                      </a:lnTo>
                      <a:lnTo>
                        <a:pt x="95" y="325"/>
                      </a:lnTo>
                      <a:lnTo>
                        <a:pt x="95" y="326"/>
                      </a:lnTo>
                      <a:lnTo>
                        <a:pt x="93" y="328"/>
                      </a:lnTo>
                      <a:lnTo>
                        <a:pt x="91" y="330"/>
                      </a:lnTo>
                      <a:lnTo>
                        <a:pt x="89" y="330"/>
                      </a:lnTo>
                      <a:lnTo>
                        <a:pt x="89" y="330"/>
                      </a:lnTo>
                      <a:lnTo>
                        <a:pt x="89" y="332"/>
                      </a:lnTo>
                      <a:lnTo>
                        <a:pt x="91" y="332"/>
                      </a:lnTo>
                      <a:lnTo>
                        <a:pt x="91" y="332"/>
                      </a:lnTo>
                      <a:lnTo>
                        <a:pt x="91" y="333"/>
                      </a:lnTo>
                      <a:lnTo>
                        <a:pt x="84" y="333"/>
                      </a:lnTo>
                      <a:lnTo>
                        <a:pt x="75" y="339"/>
                      </a:lnTo>
                      <a:lnTo>
                        <a:pt x="70" y="346"/>
                      </a:lnTo>
                      <a:lnTo>
                        <a:pt x="74" y="353"/>
                      </a:lnTo>
                      <a:lnTo>
                        <a:pt x="65" y="354"/>
                      </a:lnTo>
                      <a:lnTo>
                        <a:pt x="63" y="354"/>
                      </a:lnTo>
                      <a:lnTo>
                        <a:pt x="65" y="356"/>
                      </a:lnTo>
                      <a:lnTo>
                        <a:pt x="65" y="358"/>
                      </a:lnTo>
                      <a:lnTo>
                        <a:pt x="68" y="358"/>
                      </a:lnTo>
                      <a:lnTo>
                        <a:pt x="67" y="360"/>
                      </a:lnTo>
                      <a:lnTo>
                        <a:pt x="63" y="360"/>
                      </a:lnTo>
                      <a:lnTo>
                        <a:pt x="61" y="361"/>
                      </a:lnTo>
                      <a:lnTo>
                        <a:pt x="61" y="363"/>
                      </a:lnTo>
                      <a:lnTo>
                        <a:pt x="61" y="365"/>
                      </a:lnTo>
                      <a:lnTo>
                        <a:pt x="63" y="365"/>
                      </a:lnTo>
                      <a:lnTo>
                        <a:pt x="63" y="365"/>
                      </a:lnTo>
                      <a:lnTo>
                        <a:pt x="65" y="365"/>
                      </a:lnTo>
                      <a:lnTo>
                        <a:pt x="67" y="365"/>
                      </a:lnTo>
                      <a:lnTo>
                        <a:pt x="67" y="365"/>
                      </a:lnTo>
                      <a:lnTo>
                        <a:pt x="68" y="365"/>
                      </a:lnTo>
                      <a:lnTo>
                        <a:pt x="68" y="365"/>
                      </a:lnTo>
                      <a:lnTo>
                        <a:pt x="68" y="367"/>
                      </a:lnTo>
                      <a:lnTo>
                        <a:pt x="68" y="367"/>
                      </a:lnTo>
                      <a:lnTo>
                        <a:pt x="68" y="367"/>
                      </a:lnTo>
                      <a:lnTo>
                        <a:pt x="68" y="368"/>
                      </a:lnTo>
                      <a:lnTo>
                        <a:pt x="67" y="368"/>
                      </a:lnTo>
                      <a:lnTo>
                        <a:pt x="67" y="370"/>
                      </a:lnTo>
                      <a:lnTo>
                        <a:pt x="67" y="370"/>
                      </a:lnTo>
                      <a:lnTo>
                        <a:pt x="68" y="372"/>
                      </a:lnTo>
                      <a:lnTo>
                        <a:pt x="70" y="372"/>
                      </a:lnTo>
                      <a:lnTo>
                        <a:pt x="72" y="372"/>
                      </a:lnTo>
                      <a:lnTo>
                        <a:pt x="72" y="373"/>
                      </a:lnTo>
                      <a:lnTo>
                        <a:pt x="72" y="377"/>
                      </a:lnTo>
                      <a:lnTo>
                        <a:pt x="74" y="379"/>
                      </a:lnTo>
                      <a:lnTo>
                        <a:pt x="74" y="379"/>
                      </a:lnTo>
                      <a:lnTo>
                        <a:pt x="77" y="380"/>
                      </a:lnTo>
                      <a:lnTo>
                        <a:pt x="77" y="377"/>
                      </a:lnTo>
                      <a:lnTo>
                        <a:pt x="79" y="375"/>
                      </a:lnTo>
                      <a:lnTo>
                        <a:pt x="81" y="373"/>
                      </a:lnTo>
                      <a:lnTo>
                        <a:pt x="81" y="373"/>
                      </a:lnTo>
                      <a:lnTo>
                        <a:pt x="79" y="375"/>
                      </a:lnTo>
                      <a:lnTo>
                        <a:pt x="79" y="375"/>
                      </a:lnTo>
                      <a:lnTo>
                        <a:pt x="81" y="377"/>
                      </a:lnTo>
                      <a:lnTo>
                        <a:pt x="81" y="377"/>
                      </a:lnTo>
                      <a:lnTo>
                        <a:pt x="82" y="377"/>
                      </a:lnTo>
                      <a:lnTo>
                        <a:pt x="84" y="377"/>
                      </a:lnTo>
                      <a:lnTo>
                        <a:pt x="84" y="379"/>
                      </a:lnTo>
                      <a:lnTo>
                        <a:pt x="84" y="379"/>
                      </a:lnTo>
                      <a:lnTo>
                        <a:pt x="86" y="379"/>
                      </a:lnTo>
                      <a:lnTo>
                        <a:pt x="89" y="379"/>
                      </a:lnTo>
                      <a:lnTo>
                        <a:pt x="88" y="380"/>
                      </a:lnTo>
                      <a:lnTo>
                        <a:pt x="82" y="384"/>
                      </a:lnTo>
                      <a:lnTo>
                        <a:pt x="84" y="386"/>
                      </a:lnTo>
                      <a:lnTo>
                        <a:pt x="86" y="386"/>
                      </a:lnTo>
                      <a:lnTo>
                        <a:pt x="88" y="386"/>
                      </a:lnTo>
                      <a:lnTo>
                        <a:pt x="91" y="386"/>
                      </a:lnTo>
                      <a:lnTo>
                        <a:pt x="93" y="386"/>
                      </a:lnTo>
                      <a:lnTo>
                        <a:pt x="96" y="387"/>
                      </a:lnTo>
                      <a:lnTo>
                        <a:pt x="98" y="387"/>
                      </a:lnTo>
                      <a:lnTo>
                        <a:pt x="102" y="387"/>
                      </a:lnTo>
                      <a:lnTo>
                        <a:pt x="103" y="387"/>
                      </a:lnTo>
                      <a:lnTo>
                        <a:pt x="105" y="387"/>
                      </a:lnTo>
                      <a:lnTo>
                        <a:pt x="109" y="387"/>
                      </a:lnTo>
                      <a:lnTo>
                        <a:pt x="110" y="386"/>
                      </a:lnTo>
                      <a:lnTo>
                        <a:pt x="112" y="384"/>
                      </a:lnTo>
                      <a:lnTo>
                        <a:pt x="114" y="384"/>
                      </a:lnTo>
                      <a:lnTo>
                        <a:pt x="116" y="386"/>
                      </a:lnTo>
                      <a:lnTo>
                        <a:pt x="114" y="387"/>
                      </a:lnTo>
                      <a:lnTo>
                        <a:pt x="110" y="387"/>
                      </a:lnTo>
                      <a:lnTo>
                        <a:pt x="110" y="387"/>
                      </a:lnTo>
                      <a:lnTo>
                        <a:pt x="116" y="389"/>
                      </a:lnTo>
                      <a:lnTo>
                        <a:pt x="117" y="389"/>
                      </a:lnTo>
                      <a:lnTo>
                        <a:pt x="119" y="391"/>
                      </a:lnTo>
                      <a:lnTo>
                        <a:pt x="119" y="393"/>
                      </a:lnTo>
                      <a:lnTo>
                        <a:pt x="117" y="394"/>
                      </a:lnTo>
                      <a:lnTo>
                        <a:pt x="114" y="396"/>
                      </a:lnTo>
                      <a:lnTo>
                        <a:pt x="112" y="396"/>
                      </a:lnTo>
                      <a:lnTo>
                        <a:pt x="110" y="394"/>
                      </a:lnTo>
                      <a:lnTo>
                        <a:pt x="110" y="393"/>
                      </a:lnTo>
                      <a:lnTo>
                        <a:pt x="109" y="391"/>
                      </a:lnTo>
                      <a:lnTo>
                        <a:pt x="107" y="391"/>
                      </a:lnTo>
                      <a:lnTo>
                        <a:pt x="105" y="393"/>
                      </a:lnTo>
                      <a:lnTo>
                        <a:pt x="102" y="396"/>
                      </a:lnTo>
                      <a:lnTo>
                        <a:pt x="100" y="398"/>
                      </a:lnTo>
                      <a:lnTo>
                        <a:pt x="102" y="393"/>
                      </a:lnTo>
                      <a:lnTo>
                        <a:pt x="100" y="391"/>
                      </a:lnTo>
                      <a:lnTo>
                        <a:pt x="96" y="389"/>
                      </a:lnTo>
                      <a:lnTo>
                        <a:pt x="93" y="387"/>
                      </a:lnTo>
                      <a:lnTo>
                        <a:pt x="89" y="387"/>
                      </a:lnTo>
                      <a:lnTo>
                        <a:pt x="86" y="391"/>
                      </a:lnTo>
                      <a:lnTo>
                        <a:pt x="79" y="400"/>
                      </a:lnTo>
                      <a:lnTo>
                        <a:pt x="79" y="400"/>
                      </a:lnTo>
                      <a:lnTo>
                        <a:pt x="82" y="400"/>
                      </a:lnTo>
                      <a:lnTo>
                        <a:pt x="84" y="400"/>
                      </a:lnTo>
                      <a:lnTo>
                        <a:pt x="84" y="400"/>
                      </a:lnTo>
                      <a:lnTo>
                        <a:pt x="84" y="401"/>
                      </a:lnTo>
                      <a:lnTo>
                        <a:pt x="84" y="401"/>
                      </a:lnTo>
                      <a:lnTo>
                        <a:pt x="84" y="401"/>
                      </a:lnTo>
                      <a:lnTo>
                        <a:pt x="86" y="403"/>
                      </a:lnTo>
                      <a:lnTo>
                        <a:pt x="88" y="405"/>
                      </a:lnTo>
                      <a:lnTo>
                        <a:pt x="93" y="407"/>
                      </a:lnTo>
                      <a:lnTo>
                        <a:pt x="95" y="408"/>
                      </a:lnTo>
                      <a:lnTo>
                        <a:pt x="102" y="415"/>
                      </a:lnTo>
                      <a:lnTo>
                        <a:pt x="103" y="417"/>
                      </a:lnTo>
                      <a:lnTo>
                        <a:pt x="105" y="421"/>
                      </a:lnTo>
                      <a:lnTo>
                        <a:pt x="107" y="422"/>
                      </a:lnTo>
                      <a:lnTo>
                        <a:pt x="112" y="424"/>
                      </a:lnTo>
                      <a:lnTo>
                        <a:pt x="119" y="424"/>
                      </a:lnTo>
                      <a:lnTo>
                        <a:pt x="124" y="422"/>
                      </a:lnTo>
                      <a:lnTo>
                        <a:pt x="135" y="419"/>
                      </a:lnTo>
                      <a:lnTo>
                        <a:pt x="136" y="417"/>
                      </a:lnTo>
                      <a:lnTo>
                        <a:pt x="138" y="415"/>
                      </a:lnTo>
                      <a:lnTo>
                        <a:pt x="140" y="414"/>
                      </a:lnTo>
                      <a:lnTo>
                        <a:pt x="140" y="412"/>
                      </a:lnTo>
                      <a:lnTo>
                        <a:pt x="138" y="408"/>
                      </a:lnTo>
                      <a:lnTo>
                        <a:pt x="135" y="408"/>
                      </a:lnTo>
                      <a:lnTo>
                        <a:pt x="140" y="405"/>
                      </a:lnTo>
                      <a:lnTo>
                        <a:pt x="143" y="400"/>
                      </a:lnTo>
                      <a:lnTo>
                        <a:pt x="147" y="394"/>
                      </a:lnTo>
                      <a:lnTo>
                        <a:pt x="150" y="394"/>
                      </a:lnTo>
                      <a:lnTo>
                        <a:pt x="149" y="396"/>
                      </a:lnTo>
                      <a:lnTo>
                        <a:pt x="145" y="400"/>
                      </a:lnTo>
                      <a:lnTo>
                        <a:pt x="142" y="405"/>
                      </a:lnTo>
                      <a:lnTo>
                        <a:pt x="142" y="408"/>
                      </a:lnTo>
                      <a:lnTo>
                        <a:pt x="142" y="408"/>
                      </a:lnTo>
                      <a:lnTo>
                        <a:pt x="143" y="410"/>
                      </a:lnTo>
                      <a:lnTo>
                        <a:pt x="145" y="412"/>
                      </a:lnTo>
                      <a:lnTo>
                        <a:pt x="145" y="412"/>
                      </a:lnTo>
                      <a:lnTo>
                        <a:pt x="147" y="415"/>
                      </a:lnTo>
                      <a:lnTo>
                        <a:pt x="152" y="428"/>
                      </a:lnTo>
                      <a:lnTo>
                        <a:pt x="154" y="431"/>
                      </a:lnTo>
                      <a:lnTo>
                        <a:pt x="152" y="435"/>
                      </a:lnTo>
                      <a:lnTo>
                        <a:pt x="152" y="438"/>
                      </a:lnTo>
                      <a:lnTo>
                        <a:pt x="150" y="442"/>
                      </a:lnTo>
                      <a:lnTo>
                        <a:pt x="150" y="443"/>
                      </a:lnTo>
                      <a:lnTo>
                        <a:pt x="150" y="445"/>
                      </a:lnTo>
                      <a:lnTo>
                        <a:pt x="152" y="447"/>
                      </a:lnTo>
                      <a:lnTo>
                        <a:pt x="154" y="447"/>
                      </a:lnTo>
                      <a:lnTo>
                        <a:pt x="156" y="447"/>
                      </a:lnTo>
                      <a:lnTo>
                        <a:pt x="157" y="447"/>
                      </a:lnTo>
                      <a:lnTo>
                        <a:pt x="156" y="449"/>
                      </a:lnTo>
                      <a:lnTo>
                        <a:pt x="156" y="450"/>
                      </a:lnTo>
                      <a:lnTo>
                        <a:pt x="156" y="454"/>
                      </a:lnTo>
                      <a:lnTo>
                        <a:pt x="156" y="456"/>
                      </a:lnTo>
                      <a:lnTo>
                        <a:pt x="154" y="457"/>
                      </a:lnTo>
                      <a:lnTo>
                        <a:pt x="152" y="459"/>
                      </a:lnTo>
                      <a:lnTo>
                        <a:pt x="147" y="461"/>
                      </a:lnTo>
                      <a:lnTo>
                        <a:pt x="154" y="463"/>
                      </a:lnTo>
                      <a:lnTo>
                        <a:pt x="157" y="463"/>
                      </a:lnTo>
                      <a:lnTo>
                        <a:pt x="161" y="461"/>
                      </a:lnTo>
                      <a:lnTo>
                        <a:pt x="163" y="459"/>
                      </a:lnTo>
                      <a:lnTo>
                        <a:pt x="166" y="457"/>
                      </a:lnTo>
                      <a:lnTo>
                        <a:pt x="170" y="456"/>
                      </a:lnTo>
                      <a:lnTo>
                        <a:pt x="171" y="456"/>
                      </a:lnTo>
                      <a:lnTo>
                        <a:pt x="175" y="454"/>
                      </a:lnTo>
                      <a:lnTo>
                        <a:pt x="177" y="454"/>
                      </a:lnTo>
                      <a:lnTo>
                        <a:pt x="177" y="452"/>
                      </a:lnTo>
                      <a:lnTo>
                        <a:pt x="180" y="450"/>
                      </a:lnTo>
                      <a:lnTo>
                        <a:pt x="182" y="450"/>
                      </a:lnTo>
                      <a:lnTo>
                        <a:pt x="185" y="449"/>
                      </a:lnTo>
                      <a:lnTo>
                        <a:pt x="187" y="450"/>
                      </a:lnTo>
                      <a:lnTo>
                        <a:pt x="189" y="452"/>
                      </a:lnTo>
                      <a:lnTo>
                        <a:pt x="191" y="454"/>
                      </a:lnTo>
                      <a:lnTo>
                        <a:pt x="194" y="456"/>
                      </a:lnTo>
                      <a:lnTo>
                        <a:pt x="196" y="454"/>
                      </a:lnTo>
                      <a:lnTo>
                        <a:pt x="198" y="454"/>
                      </a:lnTo>
                      <a:lnTo>
                        <a:pt x="201" y="454"/>
                      </a:lnTo>
                      <a:lnTo>
                        <a:pt x="203" y="456"/>
                      </a:lnTo>
                      <a:lnTo>
                        <a:pt x="206" y="457"/>
                      </a:lnTo>
                      <a:lnTo>
                        <a:pt x="210" y="464"/>
                      </a:lnTo>
                      <a:lnTo>
                        <a:pt x="213" y="466"/>
                      </a:lnTo>
                      <a:lnTo>
                        <a:pt x="215" y="468"/>
                      </a:lnTo>
                      <a:lnTo>
                        <a:pt x="219" y="468"/>
                      </a:lnTo>
                      <a:lnTo>
                        <a:pt x="219" y="466"/>
                      </a:lnTo>
                      <a:lnTo>
                        <a:pt x="219" y="464"/>
                      </a:lnTo>
                      <a:lnTo>
                        <a:pt x="219" y="459"/>
                      </a:lnTo>
                      <a:lnTo>
                        <a:pt x="217" y="457"/>
                      </a:lnTo>
                      <a:lnTo>
                        <a:pt x="219" y="456"/>
                      </a:lnTo>
                      <a:lnTo>
                        <a:pt x="219" y="454"/>
                      </a:lnTo>
                      <a:lnTo>
                        <a:pt x="219" y="452"/>
                      </a:lnTo>
                      <a:lnTo>
                        <a:pt x="219" y="450"/>
                      </a:lnTo>
                      <a:lnTo>
                        <a:pt x="220" y="452"/>
                      </a:lnTo>
                      <a:lnTo>
                        <a:pt x="222" y="452"/>
                      </a:lnTo>
                      <a:lnTo>
                        <a:pt x="224" y="449"/>
                      </a:lnTo>
                      <a:lnTo>
                        <a:pt x="224" y="449"/>
                      </a:lnTo>
                      <a:lnTo>
                        <a:pt x="227" y="447"/>
                      </a:lnTo>
                      <a:lnTo>
                        <a:pt x="229" y="449"/>
                      </a:lnTo>
                      <a:lnTo>
                        <a:pt x="233" y="449"/>
                      </a:lnTo>
                      <a:lnTo>
                        <a:pt x="234" y="450"/>
                      </a:lnTo>
                      <a:lnTo>
                        <a:pt x="227" y="450"/>
                      </a:lnTo>
                      <a:lnTo>
                        <a:pt x="226" y="452"/>
                      </a:lnTo>
                      <a:lnTo>
                        <a:pt x="226" y="456"/>
                      </a:lnTo>
                      <a:lnTo>
                        <a:pt x="226" y="459"/>
                      </a:lnTo>
                      <a:lnTo>
                        <a:pt x="229" y="461"/>
                      </a:lnTo>
                      <a:lnTo>
                        <a:pt x="233" y="461"/>
                      </a:lnTo>
                      <a:lnTo>
                        <a:pt x="236" y="461"/>
                      </a:lnTo>
                      <a:lnTo>
                        <a:pt x="243" y="459"/>
                      </a:lnTo>
                      <a:lnTo>
                        <a:pt x="250" y="456"/>
                      </a:lnTo>
                      <a:lnTo>
                        <a:pt x="255" y="452"/>
                      </a:lnTo>
                      <a:lnTo>
                        <a:pt x="260" y="445"/>
                      </a:lnTo>
                      <a:lnTo>
                        <a:pt x="257" y="452"/>
                      </a:lnTo>
                      <a:lnTo>
                        <a:pt x="257" y="456"/>
                      </a:lnTo>
                      <a:lnTo>
                        <a:pt x="257" y="459"/>
                      </a:lnTo>
                      <a:lnTo>
                        <a:pt x="252" y="463"/>
                      </a:lnTo>
                      <a:lnTo>
                        <a:pt x="248" y="464"/>
                      </a:lnTo>
                      <a:lnTo>
                        <a:pt x="246" y="468"/>
                      </a:lnTo>
                      <a:lnTo>
                        <a:pt x="246" y="471"/>
                      </a:lnTo>
                      <a:lnTo>
                        <a:pt x="248" y="473"/>
                      </a:lnTo>
                      <a:lnTo>
                        <a:pt x="253" y="477"/>
                      </a:lnTo>
                      <a:lnTo>
                        <a:pt x="248" y="477"/>
                      </a:lnTo>
                      <a:lnTo>
                        <a:pt x="245" y="480"/>
                      </a:lnTo>
                      <a:lnTo>
                        <a:pt x="245" y="484"/>
                      </a:lnTo>
                      <a:lnTo>
                        <a:pt x="243" y="491"/>
                      </a:lnTo>
                      <a:lnTo>
                        <a:pt x="243" y="494"/>
                      </a:lnTo>
                      <a:lnTo>
                        <a:pt x="245" y="496"/>
                      </a:lnTo>
                      <a:lnTo>
                        <a:pt x="246" y="498"/>
                      </a:lnTo>
                      <a:lnTo>
                        <a:pt x="245" y="499"/>
                      </a:lnTo>
                      <a:lnTo>
                        <a:pt x="241" y="498"/>
                      </a:lnTo>
                      <a:lnTo>
                        <a:pt x="238" y="498"/>
                      </a:lnTo>
                      <a:lnTo>
                        <a:pt x="236" y="499"/>
                      </a:lnTo>
                      <a:lnTo>
                        <a:pt x="224" y="510"/>
                      </a:lnTo>
                      <a:lnTo>
                        <a:pt x="222" y="512"/>
                      </a:lnTo>
                      <a:lnTo>
                        <a:pt x="222" y="513"/>
                      </a:lnTo>
                      <a:lnTo>
                        <a:pt x="222" y="513"/>
                      </a:lnTo>
                      <a:lnTo>
                        <a:pt x="222" y="517"/>
                      </a:lnTo>
                      <a:lnTo>
                        <a:pt x="222" y="517"/>
                      </a:lnTo>
                      <a:lnTo>
                        <a:pt x="220" y="519"/>
                      </a:lnTo>
                      <a:lnTo>
                        <a:pt x="220" y="519"/>
                      </a:lnTo>
                      <a:lnTo>
                        <a:pt x="220" y="519"/>
                      </a:lnTo>
                      <a:lnTo>
                        <a:pt x="220" y="519"/>
                      </a:lnTo>
                      <a:lnTo>
                        <a:pt x="219" y="519"/>
                      </a:lnTo>
                      <a:lnTo>
                        <a:pt x="217" y="519"/>
                      </a:lnTo>
                      <a:lnTo>
                        <a:pt x="217" y="519"/>
                      </a:lnTo>
                      <a:lnTo>
                        <a:pt x="217" y="517"/>
                      </a:lnTo>
                      <a:lnTo>
                        <a:pt x="213" y="519"/>
                      </a:lnTo>
                      <a:lnTo>
                        <a:pt x="208" y="520"/>
                      </a:lnTo>
                      <a:lnTo>
                        <a:pt x="206" y="522"/>
                      </a:lnTo>
                      <a:lnTo>
                        <a:pt x="196" y="527"/>
                      </a:lnTo>
                      <a:lnTo>
                        <a:pt x="189" y="531"/>
                      </a:lnTo>
                      <a:lnTo>
                        <a:pt x="187" y="532"/>
                      </a:lnTo>
                      <a:lnTo>
                        <a:pt x="184" y="534"/>
                      </a:lnTo>
                      <a:lnTo>
                        <a:pt x="182" y="538"/>
                      </a:lnTo>
                      <a:lnTo>
                        <a:pt x="182" y="541"/>
                      </a:lnTo>
                      <a:lnTo>
                        <a:pt x="184" y="541"/>
                      </a:lnTo>
                      <a:lnTo>
                        <a:pt x="185" y="543"/>
                      </a:lnTo>
                      <a:lnTo>
                        <a:pt x="187" y="545"/>
                      </a:lnTo>
                      <a:lnTo>
                        <a:pt x="187" y="546"/>
                      </a:lnTo>
                      <a:lnTo>
                        <a:pt x="185" y="546"/>
                      </a:lnTo>
                      <a:lnTo>
                        <a:pt x="182" y="545"/>
                      </a:lnTo>
                      <a:lnTo>
                        <a:pt x="180" y="545"/>
                      </a:lnTo>
                      <a:lnTo>
                        <a:pt x="178" y="545"/>
                      </a:lnTo>
                      <a:lnTo>
                        <a:pt x="178" y="545"/>
                      </a:lnTo>
                      <a:lnTo>
                        <a:pt x="177" y="545"/>
                      </a:lnTo>
                      <a:lnTo>
                        <a:pt x="177" y="546"/>
                      </a:lnTo>
                      <a:lnTo>
                        <a:pt x="177" y="546"/>
                      </a:lnTo>
                      <a:lnTo>
                        <a:pt x="175" y="546"/>
                      </a:lnTo>
                      <a:lnTo>
                        <a:pt x="173" y="546"/>
                      </a:lnTo>
                      <a:lnTo>
                        <a:pt x="173" y="545"/>
                      </a:lnTo>
                      <a:lnTo>
                        <a:pt x="171" y="545"/>
                      </a:lnTo>
                      <a:lnTo>
                        <a:pt x="171" y="543"/>
                      </a:lnTo>
                      <a:lnTo>
                        <a:pt x="173" y="543"/>
                      </a:lnTo>
                      <a:lnTo>
                        <a:pt x="173" y="541"/>
                      </a:lnTo>
                      <a:lnTo>
                        <a:pt x="173" y="541"/>
                      </a:lnTo>
                      <a:lnTo>
                        <a:pt x="173" y="541"/>
                      </a:lnTo>
                      <a:lnTo>
                        <a:pt x="170" y="541"/>
                      </a:lnTo>
                      <a:lnTo>
                        <a:pt x="166" y="541"/>
                      </a:lnTo>
                      <a:lnTo>
                        <a:pt x="168" y="539"/>
                      </a:lnTo>
                      <a:lnTo>
                        <a:pt x="159" y="541"/>
                      </a:lnTo>
                      <a:lnTo>
                        <a:pt x="150" y="546"/>
                      </a:lnTo>
                      <a:lnTo>
                        <a:pt x="133" y="562"/>
                      </a:lnTo>
                      <a:lnTo>
                        <a:pt x="131" y="562"/>
                      </a:lnTo>
                      <a:lnTo>
                        <a:pt x="129" y="562"/>
                      </a:lnTo>
                      <a:lnTo>
                        <a:pt x="128" y="562"/>
                      </a:lnTo>
                      <a:lnTo>
                        <a:pt x="128" y="562"/>
                      </a:lnTo>
                      <a:lnTo>
                        <a:pt x="124" y="564"/>
                      </a:lnTo>
                      <a:lnTo>
                        <a:pt x="123" y="566"/>
                      </a:lnTo>
                      <a:lnTo>
                        <a:pt x="121" y="573"/>
                      </a:lnTo>
                      <a:lnTo>
                        <a:pt x="124" y="571"/>
                      </a:lnTo>
                      <a:lnTo>
                        <a:pt x="126" y="571"/>
                      </a:lnTo>
                      <a:lnTo>
                        <a:pt x="126" y="569"/>
                      </a:lnTo>
                      <a:lnTo>
                        <a:pt x="126" y="566"/>
                      </a:lnTo>
                      <a:lnTo>
                        <a:pt x="128" y="567"/>
                      </a:lnTo>
                      <a:lnTo>
                        <a:pt x="131" y="569"/>
                      </a:lnTo>
                      <a:lnTo>
                        <a:pt x="133" y="569"/>
                      </a:lnTo>
                      <a:lnTo>
                        <a:pt x="135" y="567"/>
                      </a:lnTo>
                      <a:lnTo>
                        <a:pt x="136" y="567"/>
                      </a:lnTo>
                      <a:lnTo>
                        <a:pt x="136" y="566"/>
                      </a:lnTo>
                      <a:lnTo>
                        <a:pt x="136" y="564"/>
                      </a:lnTo>
                      <a:lnTo>
                        <a:pt x="136" y="564"/>
                      </a:lnTo>
                      <a:lnTo>
                        <a:pt x="136" y="562"/>
                      </a:lnTo>
                      <a:lnTo>
                        <a:pt x="136" y="560"/>
                      </a:lnTo>
                      <a:lnTo>
                        <a:pt x="138" y="562"/>
                      </a:lnTo>
                      <a:lnTo>
                        <a:pt x="140" y="562"/>
                      </a:lnTo>
                      <a:lnTo>
                        <a:pt x="142" y="564"/>
                      </a:lnTo>
                      <a:lnTo>
                        <a:pt x="142" y="564"/>
                      </a:lnTo>
                      <a:lnTo>
                        <a:pt x="140" y="566"/>
                      </a:lnTo>
                      <a:lnTo>
                        <a:pt x="143" y="566"/>
                      </a:lnTo>
                      <a:lnTo>
                        <a:pt x="149" y="564"/>
                      </a:lnTo>
                      <a:lnTo>
                        <a:pt x="152" y="560"/>
                      </a:lnTo>
                      <a:lnTo>
                        <a:pt x="156" y="557"/>
                      </a:lnTo>
                      <a:lnTo>
                        <a:pt x="157" y="553"/>
                      </a:lnTo>
                      <a:lnTo>
                        <a:pt x="159" y="552"/>
                      </a:lnTo>
                      <a:lnTo>
                        <a:pt x="163" y="550"/>
                      </a:lnTo>
                      <a:lnTo>
                        <a:pt x="168" y="553"/>
                      </a:lnTo>
                      <a:lnTo>
                        <a:pt x="164" y="553"/>
                      </a:lnTo>
                      <a:lnTo>
                        <a:pt x="161" y="555"/>
                      </a:lnTo>
                      <a:lnTo>
                        <a:pt x="163" y="557"/>
                      </a:lnTo>
                      <a:lnTo>
                        <a:pt x="168" y="557"/>
                      </a:lnTo>
                      <a:lnTo>
                        <a:pt x="170" y="557"/>
                      </a:lnTo>
                      <a:lnTo>
                        <a:pt x="171" y="555"/>
                      </a:lnTo>
                      <a:lnTo>
                        <a:pt x="173" y="553"/>
                      </a:lnTo>
                      <a:lnTo>
                        <a:pt x="175" y="553"/>
                      </a:lnTo>
                      <a:lnTo>
                        <a:pt x="177" y="553"/>
                      </a:lnTo>
                      <a:lnTo>
                        <a:pt x="177" y="553"/>
                      </a:lnTo>
                      <a:lnTo>
                        <a:pt x="180" y="553"/>
                      </a:lnTo>
                      <a:lnTo>
                        <a:pt x="180" y="553"/>
                      </a:lnTo>
                      <a:lnTo>
                        <a:pt x="182" y="553"/>
                      </a:lnTo>
                      <a:lnTo>
                        <a:pt x="182" y="553"/>
                      </a:lnTo>
                      <a:lnTo>
                        <a:pt x="184" y="552"/>
                      </a:lnTo>
                      <a:lnTo>
                        <a:pt x="184" y="552"/>
                      </a:lnTo>
                      <a:lnTo>
                        <a:pt x="185" y="550"/>
                      </a:lnTo>
                      <a:lnTo>
                        <a:pt x="194" y="546"/>
                      </a:lnTo>
                      <a:lnTo>
                        <a:pt x="196" y="545"/>
                      </a:lnTo>
                      <a:lnTo>
                        <a:pt x="199" y="545"/>
                      </a:lnTo>
                      <a:lnTo>
                        <a:pt x="199" y="546"/>
                      </a:lnTo>
                      <a:lnTo>
                        <a:pt x="201" y="550"/>
                      </a:lnTo>
                      <a:lnTo>
                        <a:pt x="201" y="550"/>
                      </a:lnTo>
                      <a:lnTo>
                        <a:pt x="205" y="546"/>
                      </a:lnTo>
                      <a:lnTo>
                        <a:pt x="205" y="545"/>
                      </a:lnTo>
                      <a:lnTo>
                        <a:pt x="208" y="543"/>
                      </a:lnTo>
                      <a:lnTo>
                        <a:pt x="215" y="543"/>
                      </a:lnTo>
                      <a:lnTo>
                        <a:pt x="219" y="541"/>
                      </a:lnTo>
                      <a:lnTo>
                        <a:pt x="220" y="539"/>
                      </a:lnTo>
                      <a:lnTo>
                        <a:pt x="222" y="536"/>
                      </a:lnTo>
                      <a:lnTo>
                        <a:pt x="224" y="536"/>
                      </a:lnTo>
                      <a:lnTo>
                        <a:pt x="224" y="536"/>
                      </a:lnTo>
                      <a:lnTo>
                        <a:pt x="224" y="538"/>
                      </a:lnTo>
                      <a:lnTo>
                        <a:pt x="226" y="538"/>
                      </a:lnTo>
                      <a:lnTo>
                        <a:pt x="226" y="538"/>
                      </a:lnTo>
                      <a:lnTo>
                        <a:pt x="227" y="538"/>
                      </a:lnTo>
                      <a:lnTo>
                        <a:pt x="229" y="536"/>
                      </a:lnTo>
                      <a:lnTo>
                        <a:pt x="229" y="534"/>
                      </a:lnTo>
                      <a:lnTo>
                        <a:pt x="227" y="532"/>
                      </a:lnTo>
                      <a:lnTo>
                        <a:pt x="226" y="532"/>
                      </a:lnTo>
                      <a:lnTo>
                        <a:pt x="224" y="532"/>
                      </a:lnTo>
                      <a:lnTo>
                        <a:pt x="227" y="529"/>
                      </a:lnTo>
                      <a:lnTo>
                        <a:pt x="231" y="527"/>
                      </a:lnTo>
                      <a:lnTo>
                        <a:pt x="238" y="526"/>
                      </a:lnTo>
                      <a:lnTo>
                        <a:pt x="234" y="526"/>
                      </a:lnTo>
                      <a:lnTo>
                        <a:pt x="236" y="524"/>
                      </a:lnTo>
                      <a:lnTo>
                        <a:pt x="238" y="524"/>
                      </a:lnTo>
                      <a:lnTo>
                        <a:pt x="240" y="524"/>
                      </a:lnTo>
                      <a:lnTo>
                        <a:pt x="241" y="524"/>
                      </a:lnTo>
                      <a:lnTo>
                        <a:pt x="245" y="522"/>
                      </a:lnTo>
                      <a:lnTo>
                        <a:pt x="248" y="520"/>
                      </a:lnTo>
                      <a:lnTo>
                        <a:pt x="264" y="513"/>
                      </a:lnTo>
                      <a:lnTo>
                        <a:pt x="267" y="512"/>
                      </a:lnTo>
                      <a:lnTo>
                        <a:pt x="269" y="510"/>
                      </a:lnTo>
                      <a:lnTo>
                        <a:pt x="269" y="506"/>
                      </a:lnTo>
                      <a:lnTo>
                        <a:pt x="269" y="505"/>
                      </a:lnTo>
                      <a:lnTo>
                        <a:pt x="269" y="503"/>
                      </a:lnTo>
                      <a:lnTo>
                        <a:pt x="271" y="501"/>
                      </a:lnTo>
                      <a:lnTo>
                        <a:pt x="273" y="501"/>
                      </a:lnTo>
                      <a:lnTo>
                        <a:pt x="274" y="501"/>
                      </a:lnTo>
                      <a:lnTo>
                        <a:pt x="276" y="499"/>
                      </a:lnTo>
                      <a:lnTo>
                        <a:pt x="276" y="499"/>
                      </a:lnTo>
                      <a:lnTo>
                        <a:pt x="278" y="498"/>
                      </a:lnTo>
                      <a:lnTo>
                        <a:pt x="278" y="498"/>
                      </a:lnTo>
                      <a:lnTo>
                        <a:pt x="278" y="498"/>
                      </a:lnTo>
                      <a:lnTo>
                        <a:pt x="281" y="498"/>
                      </a:lnTo>
                      <a:lnTo>
                        <a:pt x="281" y="496"/>
                      </a:lnTo>
                      <a:lnTo>
                        <a:pt x="288" y="491"/>
                      </a:lnTo>
                      <a:lnTo>
                        <a:pt x="294" y="487"/>
                      </a:lnTo>
                      <a:lnTo>
                        <a:pt x="299" y="484"/>
                      </a:lnTo>
                      <a:lnTo>
                        <a:pt x="301" y="482"/>
                      </a:lnTo>
                      <a:lnTo>
                        <a:pt x="301" y="482"/>
                      </a:lnTo>
                      <a:lnTo>
                        <a:pt x="301" y="482"/>
                      </a:lnTo>
                      <a:lnTo>
                        <a:pt x="302" y="482"/>
                      </a:lnTo>
                      <a:lnTo>
                        <a:pt x="306" y="480"/>
                      </a:lnTo>
                      <a:lnTo>
                        <a:pt x="308" y="480"/>
                      </a:lnTo>
                      <a:lnTo>
                        <a:pt x="309" y="480"/>
                      </a:lnTo>
                      <a:lnTo>
                        <a:pt x="309" y="478"/>
                      </a:lnTo>
                      <a:lnTo>
                        <a:pt x="309" y="478"/>
                      </a:lnTo>
                      <a:lnTo>
                        <a:pt x="309" y="478"/>
                      </a:lnTo>
                      <a:lnTo>
                        <a:pt x="313" y="478"/>
                      </a:lnTo>
                      <a:lnTo>
                        <a:pt x="313" y="477"/>
                      </a:lnTo>
                      <a:lnTo>
                        <a:pt x="316" y="477"/>
                      </a:lnTo>
                      <a:lnTo>
                        <a:pt x="316" y="475"/>
                      </a:lnTo>
                      <a:lnTo>
                        <a:pt x="316" y="473"/>
                      </a:lnTo>
                      <a:lnTo>
                        <a:pt x="316" y="473"/>
                      </a:lnTo>
                      <a:lnTo>
                        <a:pt x="315" y="473"/>
                      </a:lnTo>
                      <a:lnTo>
                        <a:pt x="318" y="470"/>
                      </a:lnTo>
                      <a:lnTo>
                        <a:pt x="323" y="464"/>
                      </a:lnTo>
                      <a:lnTo>
                        <a:pt x="327" y="463"/>
                      </a:lnTo>
                      <a:lnTo>
                        <a:pt x="330" y="461"/>
                      </a:lnTo>
                      <a:lnTo>
                        <a:pt x="334" y="457"/>
                      </a:lnTo>
                      <a:lnTo>
                        <a:pt x="336" y="454"/>
                      </a:lnTo>
                      <a:lnTo>
                        <a:pt x="334" y="450"/>
                      </a:lnTo>
                      <a:lnTo>
                        <a:pt x="330" y="450"/>
                      </a:lnTo>
                      <a:lnTo>
                        <a:pt x="329" y="449"/>
                      </a:lnTo>
                      <a:lnTo>
                        <a:pt x="322" y="447"/>
                      </a:lnTo>
                      <a:lnTo>
                        <a:pt x="320" y="447"/>
                      </a:lnTo>
                      <a:lnTo>
                        <a:pt x="318" y="445"/>
                      </a:lnTo>
                      <a:lnTo>
                        <a:pt x="318" y="443"/>
                      </a:lnTo>
                      <a:lnTo>
                        <a:pt x="320" y="438"/>
                      </a:lnTo>
                      <a:lnTo>
                        <a:pt x="323" y="436"/>
                      </a:lnTo>
                      <a:lnTo>
                        <a:pt x="330" y="429"/>
                      </a:lnTo>
                      <a:lnTo>
                        <a:pt x="329" y="429"/>
                      </a:lnTo>
                      <a:lnTo>
                        <a:pt x="330" y="428"/>
                      </a:lnTo>
                      <a:lnTo>
                        <a:pt x="332" y="426"/>
                      </a:lnTo>
                      <a:lnTo>
                        <a:pt x="334" y="426"/>
                      </a:lnTo>
                      <a:lnTo>
                        <a:pt x="334" y="428"/>
                      </a:lnTo>
                      <a:lnTo>
                        <a:pt x="339" y="428"/>
                      </a:lnTo>
                      <a:lnTo>
                        <a:pt x="341" y="426"/>
                      </a:lnTo>
                      <a:lnTo>
                        <a:pt x="341" y="424"/>
                      </a:lnTo>
                      <a:lnTo>
                        <a:pt x="337" y="422"/>
                      </a:lnTo>
                      <a:lnTo>
                        <a:pt x="341" y="421"/>
                      </a:lnTo>
                      <a:lnTo>
                        <a:pt x="344" y="421"/>
                      </a:lnTo>
                      <a:lnTo>
                        <a:pt x="348" y="419"/>
                      </a:lnTo>
                      <a:lnTo>
                        <a:pt x="350" y="417"/>
                      </a:lnTo>
                      <a:lnTo>
                        <a:pt x="350" y="414"/>
                      </a:lnTo>
                      <a:lnTo>
                        <a:pt x="348" y="412"/>
                      </a:lnTo>
                      <a:lnTo>
                        <a:pt x="344" y="408"/>
                      </a:lnTo>
                      <a:lnTo>
                        <a:pt x="343" y="407"/>
                      </a:lnTo>
                      <a:lnTo>
                        <a:pt x="344" y="407"/>
                      </a:lnTo>
                      <a:lnTo>
                        <a:pt x="348" y="408"/>
                      </a:lnTo>
                      <a:lnTo>
                        <a:pt x="350" y="408"/>
                      </a:lnTo>
                      <a:lnTo>
                        <a:pt x="353" y="408"/>
                      </a:lnTo>
                      <a:lnTo>
                        <a:pt x="357" y="407"/>
                      </a:lnTo>
                      <a:lnTo>
                        <a:pt x="357" y="403"/>
                      </a:lnTo>
                      <a:lnTo>
                        <a:pt x="358" y="401"/>
                      </a:lnTo>
                      <a:lnTo>
                        <a:pt x="358" y="400"/>
                      </a:lnTo>
                      <a:lnTo>
                        <a:pt x="360" y="396"/>
                      </a:lnTo>
                      <a:lnTo>
                        <a:pt x="367" y="393"/>
                      </a:lnTo>
                      <a:lnTo>
                        <a:pt x="369" y="391"/>
                      </a:lnTo>
                      <a:lnTo>
                        <a:pt x="369" y="391"/>
                      </a:lnTo>
                      <a:lnTo>
                        <a:pt x="369" y="387"/>
                      </a:lnTo>
                      <a:lnTo>
                        <a:pt x="369" y="386"/>
                      </a:lnTo>
                      <a:lnTo>
                        <a:pt x="370" y="386"/>
                      </a:lnTo>
                      <a:lnTo>
                        <a:pt x="372" y="384"/>
                      </a:lnTo>
                      <a:lnTo>
                        <a:pt x="381" y="379"/>
                      </a:lnTo>
                      <a:lnTo>
                        <a:pt x="390" y="373"/>
                      </a:lnTo>
                      <a:lnTo>
                        <a:pt x="393" y="373"/>
                      </a:lnTo>
                      <a:lnTo>
                        <a:pt x="395" y="372"/>
                      </a:lnTo>
                      <a:lnTo>
                        <a:pt x="395" y="372"/>
                      </a:lnTo>
                      <a:lnTo>
                        <a:pt x="397" y="373"/>
                      </a:lnTo>
                      <a:lnTo>
                        <a:pt x="397" y="373"/>
                      </a:lnTo>
                      <a:lnTo>
                        <a:pt x="402" y="373"/>
                      </a:lnTo>
                      <a:lnTo>
                        <a:pt x="404" y="373"/>
                      </a:lnTo>
                      <a:lnTo>
                        <a:pt x="407" y="372"/>
                      </a:lnTo>
                      <a:lnTo>
                        <a:pt x="412" y="368"/>
                      </a:lnTo>
                      <a:lnTo>
                        <a:pt x="414" y="367"/>
                      </a:lnTo>
                      <a:lnTo>
                        <a:pt x="418" y="365"/>
                      </a:lnTo>
                      <a:lnTo>
                        <a:pt x="421" y="365"/>
                      </a:lnTo>
                      <a:lnTo>
                        <a:pt x="416" y="368"/>
                      </a:lnTo>
                      <a:lnTo>
                        <a:pt x="412" y="370"/>
                      </a:lnTo>
                      <a:lnTo>
                        <a:pt x="411" y="372"/>
                      </a:lnTo>
                      <a:lnTo>
                        <a:pt x="409" y="373"/>
                      </a:lnTo>
                      <a:lnTo>
                        <a:pt x="409" y="375"/>
                      </a:lnTo>
                      <a:lnTo>
                        <a:pt x="407" y="375"/>
                      </a:lnTo>
                      <a:lnTo>
                        <a:pt x="405" y="377"/>
                      </a:lnTo>
                      <a:lnTo>
                        <a:pt x="407" y="379"/>
                      </a:lnTo>
                      <a:lnTo>
                        <a:pt x="411" y="380"/>
                      </a:lnTo>
                      <a:lnTo>
                        <a:pt x="414" y="382"/>
                      </a:lnTo>
                      <a:lnTo>
                        <a:pt x="418" y="384"/>
                      </a:lnTo>
                      <a:lnTo>
                        <a:pt x="423" y="384"/>
                      </a:lnTo>
                      <a:lnTo>
                        <a:pt x="425" y="386"/>
                      </a:lnTo>
                      <a:lnTo>
                        <a:pt x="426" y="387"/>
                      </a:lnTo>
                      <a:lnTo>
                        <a:pt x="423" y="387"/>
                      </a:lnTo>
                      <a:lnTo>
                        <a:pt x="416" y="384"/>
                      </a:lnTo>
                      <a:lnTo>
                        <a:pt x="411" y="384"/>
                      </a:lnTo>
                      <a:lnTo>
                        <a:pt x="409" y="384"/>
                      </a:lnTo>
                      <a:lnTo>
                        <a:pt x="405" y="386"/>
                      </a:lnTo>
                      <a:lnTo>
                        <a:pt x="404" y="386"/>
                      </a:lnTo>
                      <a:lnTo>
                        <a:pt x="404" y="384"/>
                      </a:lnTo>
                      <a:lnTo>
                        <a:pt x="400" y="382"/>
                      </a:lnTo>
                      <a:lnTo>
                        <a:pt x="398" y="382"/>
                      </a:lnTo>
                      <a:lnTo>
                        <a:pt x="397" y="382"/>
                      </a:lnTo>
                      <a:lnTo>
                        <a:pt x="393" y="384"/>
                      </a:lnTo>
                      <a:lnTo>
                        <a:pt x="386" y="387"/>
                      </a:lnTo>
                      <a:lnTo>
                        <a:pt x="381" y="391"/>
                      </a:lnTo>
                      <a:lnTo>
                        <a:pt x="379" y="393"/>
                      </a:lnTo>
                      <a:lnTo>
                        <a:pt x="377" y="394"/>
                      </a:lnTo>
                      <a:lnTo>
                        <a:pt x="377" y="400"/>
                      </a:lnTo>
                      <a:lnTo>
                        <a:pt x="377" y="401"/>
                      </a:lnTo>
                      <a:lnTo>
                        <a:pt x="377" y="405"/>
                      </a:lnTo>
                      <a:lnTo>
                        <a:pt x="376" y="408"/>
                      </a:lnTo>
                      <a:lnTo>
                        <a:pt x="374" y="412"/>
                      </a:lnTo>
                      <a:lnTo>
                        <a:pt x="370" y="417"/>
                      </a:lnTo>
                      <a:lnTo>
                        <a:pt x="369" y="421"/>
                      </a:lnTo>
                      <a:lnTo>
                        <a:pt x="367" y="424"/>
                      </a:lnTo>
                      <a:lnTo>
                        <a:pt x="369" y="426"/>
                      </a:lnTo>
                      <a:lnTo>
                        <a:pt x="370" y="428"/>
                      </a:lnTo>
                      <a:lnTo>
                        <a:pt x="374" y="429"/>
                      </a:lnTo>
                      <a:lnTo>
                        <a:pt x="377" y="428"/>
                      </a:lnTo>
                      <a:lnTo>
                        <a:pt x="383" y="424"/>
                      </a:lnTo>
                      <a:lnTo>
                        <a:pt x="384" y="424"/>
                      </a:lnTo>
                      <a:lnTo>
                        <a:pt x="383" y="428"/>
                      </a:lnTo>
                      <a:lnTo>
                        <a:pt x="379" y="431"/>
                      </a:lnTo>
                      <a:lnTo>
                        <a:pt x="377" y="433"/>
                      </a:lnTo>
                      <a:lnTo>
                        <a:pt x="374" y="435"/>
                      </a:lnTo>
                      <a:lnTo>
                        <a:pt x="369" y="436"/>
                      </a:lnTo>
                      <a:lnTo>
                        <a:pt x="365" y="438"/>
                      </a:lnTo>
                      <a:lnTo>
                        <a:pt x="365" y="442"/>
                      </a:lnTo>
                      <a:lnTo>
                        <a:pt x="367" y="443"/>
                      </a:lnTo>
                      <a:lnTo>
                        <a:pt x="369" y="443"/>
                      </a:lnTo>
                      <a:lnTo>
                        <a:pt x="372" y="443"/>
                      </a:lnTo>
                      <a:lnTo>
                        <a:pt x="374" y="443"/>
                      </a:lnTo>
                      <a:lnTo>
                        <a:pt x="379" y="443"/>
                      </a:lnTo>
                      <a:lnTo>
                        <a:pt x="381" y="442"/>
                      </a:lnTo>
                      <a:lnTo>
                        <a:pt x="381" y="440"/>
                      </a:lnTo>
                      <a:lnTo>
                        <a:pt x="383" y="442"/>
                      </a:lnTo>
                      <a:lnTo>
                        <a:pt x="386" y="442"/>
                      </a:lnTo>
                      <a:lnTo>
                        <a:pt x="386" y="442"/>
                      </a:lnTo>
                      <a:lnTo>
                        <a:pt x="386" y="442"/>
                      </a:lnTo>
                      <a:lnTo>
                        <a:pt x="388" y="440"/>
                      </a:lnTo>
                      <a:lnTo>
                        <a:pt x="390" y="438"/>
                      </a:lnTo>
                      <a:lnTo>
                        <a:pt x="391" y="436"/>
                      </a:lnTo>
                      <a:lnTo>
                        <a:pt x="393" y="433"/>
                      </a:lnTo>
                      <a:lnTo>
                        <a:pt x="395" y="431"/>
                      </a:lnTo>
                      <a:lnTo>
                        <a:pt x="404" y="431"/>
                      </a:lnTo>
                      <a:lnTo>
                        <a:pt x="407" y="428"/>
                      </a:lnTo>
                      <a:lnTo>
                        <a:pt x="407" y="424"/>
                      </a:lnTo>
                      <a:lnTo>
                        <a:pt x="407" y="424"/>
                      </a:lnTo>
                      <a:lnTo>
                        <a:pt x="411" y="426"/>
                      </a:lnTo>
                      <a:lnTo>
                        <a:pt x="411" y="426"/>
                      </a:lnTo>
                      <a:lnTo>
                        <a:pt x="411" y="424"/>
                      </a:lnTo>
                      <a:lnTo>
                        <a:pt x="412" y="422"/>
                      </a:lnTo>
                      <a:lnTo>
                        <a:pt x="412" y="421"/>
                      </a:lnTo>
                      <a:lnTo>
                        <a:pt x="412" y="421"/>
                      </a:lnTo>
                      <a:lnTo>
                        <a:pt x="414" y="421"/>
                      </a:lnTo>
                      <a:lnTo>
                        <a:pt x="416" y="424"/>
                      </a:lnTo>
                      <a:lnTo>
                        <a:pt x="419" y="417"/>
                      </a:lnTo>
                      <a:lnTo>
                        <a:pt x="419" y="414"/>
                      </a:lnTo>
                      <a:lnTo>
                        <a:pt x="421" y="415"/>
                      </a:lnTo>
                      <a:lnTo>
                        <a:pt x="423" y="417"/>
                      </a:lnTo>
                      <a:lnTo>
                        <a:pt x="426" y="417"/>
                      </a:lnTo>
                      <a:lnTo>
                        <a:pt x="433" y="419"/>
                      </a:lnTo>
                      <a:lnTo>
                        <a:pt x="435" y="419"/>
                      </a:lnTo>
                      <a:lnTo>
                        <a:pt x="440" y="417"/>
                      </a:lnTo>
                      <a:lnTo>
                        <a:pt x="444" y="412"/>
                      </a:lnTo>
                      <a:lnTo>
                        <a:pt x="446" y="410"/>
                      </a:lnTo>
                      <a:lnTo>
                        <a:pt x="444" y="407"/>
                      </a:lnTo>
                      <a:lnTo>
                        <a:pt x="446" y="405"/>
                      </a:lnTo>
                      <a:lnTo>
                        <a:pt x="446" y="405"/>
                      </a:lnTo>
                      <a:lnTo>
                        <a:pt x="449" y="403"/>
                      </a:lnTo>
                      <a:lnTo>
                        <a:pt x="451" y="401"/>
                      </a:lnTo>
                      <a:lnTo>
                        <a:pt x="449" y="398"/>
                      </a:lnTo>
                      <a:lnTo>
                        <a:pt x="444" y="398"/>
                      </a:lnTo>
                      <a:lnTo>
                        <a:pt x="439" y="400"/>
                      </a:lnTo>
                      <a:lnTo>
                        <a:pt x="435" y="401"/>
                      </a:lnTo>
                      <a:lnTo>
                        <a:pt x="437" y="400"/>
                      </a:lnTo>
                      <a:lnTo>
                        <a:pt x="440" y="398"/>
                      </a:lnTo>
                      <a:lnTo>
                        <a:pt x="442" y="398"/>
                      </a:lnTo>
                      <a:lnTo>
                        <a:pt x="444" y="398"/>
                      </a:lnTo>
                      <a:lnTo>
                        <a:pt x="444" y="394"/>
                      </a:lnTo>
                      <a:lnTo>
                        <a:pt x="444" y="394"/>
                      </a:lnTo>
                      <a:lnTo>
                        <a:pt x="442" y="393"/>
                      </a:lnTo>
                      <a:lnTo>
                        <a:pt x="440" y="391"/>
                      </a:lnTo>
                      <a:lnTo>
                        <a:pt x="439" y="389"/>
                      </a:lnTo>
                      <a:lnTo>
                        <a:pt x="439" y="389"/>
                      </a:lnTo>
                      <a:lnTo>
                        <a:pt x="440" y="389"/>
                      </a:lnTo>
                      <a:lnTo>
                        <a:pt x="442" y="387"/>
                      </a:lnTo>
                      <a:lnTo>
                        <a:pt x="444" y="386"/>
                      </a:lnTo>
                      <a:lnTo>
                        <a:pt x="444" y="382"/>
                      </a:lnTo>
                      <a:lnTo>
                        <a:pt x="444" y="382"/>
                      </a:lnTo>
                      <a:lnTo>
                        <a:pt x="440" y="382"/>
                      </a:lnTo>
                      <a:lnTo>
                        <a:pt x="442" y="380"/>
                      </a:lnTo>
                      <a:lnTo>
                        <a:pt x="444" y="380"/>
                      </a:lnTo>
                      <a:lnTo>
                        <a:pt x="446" y="380"/>
                      </a:lnTo>
                      <a:lnTo>
                        <a:pt x="447" y="380"/>
                      </a:lnTo>
                      <a:lnTo>
                        <a:pt x="449" y="379"/>
                      </a:lnTo>
                      <a:lnTo>
                        <a:pt x="453" y="377"/>
                      </a:lnTo>
                      <a:lnTo>
                        <a:pt x="454" y="375"/>
                      </a:lnTo>
                      <a:lnTo>
                        <a:pt x="451" y="380"/>
                      </a:lnTo>
                      <a:lnTo>
                        <a:pt x="449" y="384"/>
                      </a:lnTo>
                      <a:lnTo>
                        <a:pt x="451" y="386"/>
                      </a:lnTo>
                      <a:lnTo>
                        <a:pt x="453" y="387"/>
                      </a:lnTo>
                      <a:lnTo>
                        <a:pt x="456" y="387"/>
                      </a:lnTo>
                      <a:lnTo>
                        <a:pt x="458" y="386"/>
                      </a:lnTo>
                      <a:lnTo>
                        <a:pt x="460" y="384"/>
                      </a:lnTo>
                      <a:lnTo>
                        <a:pt x="461" y="384"/>
                      </a:lnTo>
                      <a:lnTo>
                        <a:pt x="465" y="384"/>
                      </a:lnTo>
                      <a:lnTo>
                        <a:pt x="470" y="382"/>
                      </a:lnTo>
                      <a:lnTo>
                        <a:pt x="474" y="382"/>
                      </a:lnTo>
                      <a:lnTo>
                        <a:pt x="475" y="382"/>
                      </a:lnTo>
                      <a:lnTo>
                        <a:pt x="479" y="379"/>
                      </a:lnTo>
                      <a:lnTo>
                        <a:pt x="480" y="379"/>
                      </a:lnTo>
                      <a:lnTo>
                        <a:pt x="484" y="379"/>
                      </a:lnTo>
                      <a:lnTo>
                        <a:pt x="486" y="379"/>
                      </a:lnTo>
                      <a:lnTo>
                        <a:pt x="480" y="380"/>
                      </a:lnTo>
                      <a:lnTo>
                        <a:pt x="479" y="382"/>
                      </a:lnTo>
                      <a:lnTo>
                        <a:pt x="479" y="384"/>
                      </a:lnTo>
                      <a:lnTo>
                        <a:pt x="479" y="386"/>
                      </a:lnTo>
                      <a:lnTo>
                        <a:pt x="480" y="387"/>
                      </a:lnTo>
                      <a:lnTo>
                        <a:pt x="482" y="389"/>
                      </a:lnTo>
                      <a:lnTo>
                        <a:pt x="484" y="389"/>
                      </a:lnTo>
                      <a:lnTo>
                        <a:pt x="482" y="391"/>
                      </a:lnTo>
                      <a:lnTo>
                        <a:pt x="480" y="391"/>
                      </a:lnTo>
                      <a:lnTo>
                        <a:pt x="480" y="393"/>
                      </a:lnTo>
                      <a:lnTo>
                        <a:pt x="482" y="393"/>
                      </a:lnTo>
                      <a:lnTo>
                        <a:pt x="482" y="393"/>
                      </a:lnTo>
                      <a:lnTo>
                        <a:pt x="484" y="393"/>
                      </a:lnTo>
                      <a:lnTo>
                        <a:pt x="486" y="393"/>
                      </a:lnTo>
                      <a:lnTo>
                        <a:pt x="487" y="393"/>
                      </a:lnTo>
                      <a:lnTo>
                        <a:pt x="489" y="393"/>
                      </a:lnTo>
                      <a:lnTo>
                        <a:pt x="489" y="394"/>
                      </a:lnTo>
                      <a:lnTo>
                        <a:pt x="489" y="394"/>
                      </a:lnTo>
                      <a:lnTo>
                        <a:pt x="491" y="394"/>
                      </a:lnTo>
                      <a:lnTo>
                        <a:pt x="493" y="394"/>
                      </a:lnTo>
                      <a:lnTo>
                        <a:pt x="500" y="394"/>
                      </a:lnTo>
                      <a:lnTo>
                        <a:pt x="498" y="396"/>
                      </a:lnTo>
                      <a:lnTo>
                        <a:pt x="498" y="398"/>
                      </a:lnTo>
                      <a:lnTo>
                        <a:pt x="496" y="400"/>
                      </a:lnTo>
                      <a:lnTo>
                        <a:pt x="494" y="401"/>
                      </a:lnTo>
                      <a:lnTo>
                        <a:pt x="498" y="401"/>
                      </a:lnTo>
                      <a:lnTo>
                        <a:pt x="505" y="405"/>
                      </a:lnTo>
                      <a:lnTo>
                        <a:pt x="508" y="405"/>
                      </a:lnTo>
                      <a:lnTo>
                        <a:pt x="512" y="403"/>
                      </a:lnTo>
                      <a:lnTo>
                        <a:pt x="517" y="396"/>
                      </a:lnTo>
                      <a:lnTo>
                        <a:pt x="521" y="394"/>
                      </a:lnTo>
                      <a:lnTo>
                        <a:pt x="517" y="398"/>
                      </a:lnTo>
                      <a:lnTo>
                        <a:pt x="515" y="403"/>
                      </a:lnTo>
                      <a:lnTo>
                        <a:pt x="517" y="407"/>
                      </a:lnTo>
                      <a:lnTo>
                        <a:pt x="521" y="408"/>
                      </a:lnTo>
                      <a:lnTo>
                        <a:pt x="529" y="412"/>
                      </a:lnTo>
                      <a:lnTo>
                        <a:pt x="533" y="414"/>
                      </a:lnTo>
                      <a:lnTo>
                        <a:pt x="531" y="415"/>
                      </a:lnTo>
                      <a:lnTo>
                        <a:pt x="535" y="417"/>
                      </a:lnTo>
                      <a:lnTo>
                        <a:pt x="538" y="417"/>
                      </a:lnTo>
                      <a:lnTo>
                        <a:pt x="547" y="415"/>
                      </a:lnTo>
                      <a:lnTo>
                        <a:pt x="556" y="414"/>
                      </a:lnTo>
                      <a:lnTo>
                        <a:pt x="561" y="414"/>
                      </a:lnTo>
                      <a:lnTo>
                        <a:pt x="566" y="414"/>
                      </a:lnTo>
                      <a:lnTo>
                        <a:pt x="580" y="417"/>
                      </a:lnTo>
                      <a:lnTo>
                        <a:pt x="587" y="417"/>
                      </a:lnTo>
                      <a:lnTo>
                        <a:pt x="591" y="414"/>
                      </a:lnTo>
                      <a:lnTo>
                        <a:pt x="592" y="415"/>
                      </a:lnTo>
                      <a:lnTo>
                        <a:pt x="592" y="417"/>
                      </a:lnTo>
                      <a:lnTo>
                        <a:pt x="592" y="419"/>
                      </a:lnTo>
                      <a:lnTo>
                        <a:pt x="591" y="421"/>
                      </a:lnTo>
                      <a:lnTo>
                        <a:pt x="597" y="424"/>
                      </a:lnTo>
                      <a:lnTo>
                        <a:pt x="604" y="426"/>
                      </a:lnTo>
                      <a:lnTo>
                        <a:pt x="611" y="426"/>
                      </a:lnTo>
                      <a:lnTo>
                        <a:pt x="618" y="424"/>
                      </a:lnTo>
                      <a:lnTo>
                        <a:pt x="622" y="422"/>
                      </a:lnTo>
                      <a:lnTo>
                        <a:pt x="629" y="417"/>
                      </a:lnTo>
                      <a:lnTo>
                        <a:pt x="631" y="417"/>
                      </a:lnTo>
                      <a:lnTo>
                        <a:pt x="632" y="417"/>
                      </a:lnTo>
                      <a:lnTo>
                        <a:pt x="632" y="417"/>
                      </a:lnTo>
                      <a:lnTo>
                        <a:pt x="634" y="419"/>
                      </a:lnTo>
                      <a:lnTo>
                        <a:pt x="636" y="419"/>
                      </a:lnTo>
                      <a:lnTo>
                        <a:pt x="639" y="422"/>
                      </a:lnTo>
                      <a:lnTo>
                        <a:pt x="643" y="422"/>
                      </a:lnTo>
                      <a:lnTo>
                        <a:pt x="639" y="422"/>
                      </a:lnTo>
                      <a:lnTo>
                        <a:pt x="638" y="424"/>
                      </a:lnTo>
                      <a:lnTo>
                        <a:pt x="636" y="429"/>
                      </a:lnTo>
                      <a:lnTo>
                        <a:pt x="634" y="422"/>
                      </a:lnTo>
                      <a:lnTo>
                        <a:pt x="632" y="419"/>
                      </a:lnTo>
                      <a:lnTo>
                        <a:pt x="631" y="421"/>
                      </a:lnTo>
                      <a:lnTo>
                        <a:pt x="629" y="422"/>
                      </a:lnTo>
                      <a:lnTo>
                        <a:pt x="631" y="424"/>
                      </a:lnTo>
                      <a:lnTo>
                        <a:pt x="631" y="426"/>
                      </a:lnTo>
                      <a:lnTo>
                        <a:pt x="631" y="426"/>
                      </a:lnTo>
                      <a:lnTo>
                        <a:pt x="631" y="429"/>
                      </a:lnTo>
                      <a:lnTo>
                        <a:pt x="629" y="429"/>
                      </a:lnTo>
                      <a:lnTo>
                        <a:pt x="627" y="431"/>
                      </a:lnTo>
                      <a:lnTo>
                        <a:pt x="625" y="433"/>
                      </a:lnTo>
                      <a:lnTo>
                        <a:pt x="631" y="436"/>
                      </a:lnTo>
                      <a:lnTo>
                        <a:pt x="638" y="440"/>
                      </a:lnTo>
                      <a:lnTo>
                        <a:pt x="645" y="443"/>
                      </a:lnTo>
                      <a:lnTo>
                        <a:pt x="652" y="445"/>
                      </a:lnTo>
                      <a:lnTo>
                        <a:pt x="652" y="445"/>
                      </a:lnTo>
                      <a:lnTo>
                        <a:pt x="652" y="445"/>
                      </a:lnTo>
                      <a:lnTo>
                        <a:pt x="660" y="450"/>
                      </a:lnTo>
                      <a:lnTo>
                        <a:pt x="674" y="463"/>
                      </a:lnTo>
                      <a:lnTo>
                        <a:pt x="681" y="470"/>
                      </a:lnTo>
                      <a:lnTo>
                        <a:pt x="688" y="473"/>
                      </a:lnTo>
                      <a:lnTo>
                        <a:pt x="690" y="473"/>
                      </a:lnTo>
                      <a:lnTo>
                        <a:pt x="694" y="473"/>
                      </a:lnTo>
                      <a:lnTo>
                        <a:pt x="695" y="473"/>
                      </a:lnTo>
                      <a:lnTo>
                        <a:pt x="697" y="473"/>
                      </a:lnTo>
                      <a:lnTo>
                        <a:pt x="699" y="471"/>
                      </a:lnTo>
                      <a:lnTo>
                        <a:pt x="704" y="471"/>
                      </a:lnTo>
                      <a:lnTo>
                        <a:pt x="704" y="470"/>
                      </a:lnTo>
                      <a:lnTo>
                        <a:pt x="704" y="468"/>
                      </a:lnTo>
                      <a:lnTo>
                        <a:pt x="704" y="464"/>
                      </a:lnTo>
                      <a:lnTo>
                        <a:pt x="702" y="463"/>
                      </a:lnTo>
                      <a:lnTo>
                        <a:pt x="699" y="463"/>
                      </a:lnTo>
                      <a:lnTo>
                        <a:pt x="695" y="463"/>
                      </a:lnTo>
                      <a:lnTo>
                        <a:pt x="697" y="459"/>
                      </a:lnTo>
                      <a:lnTo>
                        <a:pt x="694" y="456"/>
                      </a:lnTo>
                      <a:lnTo>
                        <a:pt x="688" y="454"/>
                      </a:lnTo>
                      <a:lnTo>
                        <a:pt x="683" y="454"/>
                      </a:lnTo>
                      <a:lnTo>
                        <a:pt x="685" y="454"/>
                      </a:lnTo>
                      <a:lnTo>
                        <a:pt x="685" y="452"/>
                      </a:lnTo>
                      <a:lnTo>
                        <a:pt x="685" y="450"/>
                      </a:lnTo>
                      <a:lnTo>
                        <a:pt x="685" y="449"/>
                      </a:lnTo>
                      <a:lnTo>
                        <a:pt x="687" y="450"/>
                      </a:lnTo>
                      <a:lnTo>
                        <a:pt x="692" y="452"/>
                      </a:lnTo>
                      <a:lnTo>
                        <a:pt x="694" y="452"/>
                      </a:lnTo>
                      <a:lnTo>
                        <a:pt x="695" y="454"/>
                      </a:lnTo>
                      <a:lnTo>
                        <a:pt x="697" y="454"/>
                      </a:lnTo>
                      <a:lnTo>
                        <a:pt x="697" y="456"/>
                      </a:lnTo>
                      <a:lnTo>
                        <a:pt x="699" y="457"/>
                      </a:lnTo>
                      <a:lnTo>
                        <a:pt x="702" y="457"/>
                      </a:lnTo>
                      <a:lnTo>
                        <a:pt x="704" y="456"/>
                      </a:lnTo>
                      <a:lnTo>
                        <a:pt x="702" y="452"/>
                      </a:lnTo>
                      <a:lnTo>
                        <a:pt x="702" y="449"/>
                      </a:lnTo>
                      <a:lnTo>
                        <a:pt x="706" y="452"/>
                      </a:lnTo>
                      <a:lnTo>
                        <a:pt x="708" y="454"/>
                      </a:lnTo>
                      <a:lnTo>
                        <a:pt x="709" y="454"/>
                      </a:lnTo>
                      <a:lnTo>
                        <a:pt x="708" y="456"/>
                      </a:lnTo>
                      <a:lnTo>
                        <a:pt x="706" y="456"/>
                      </a:lnTo>
                      <a:lnTo>
                        <a:pt x="706" y="457"/>
                      </a:lnTo>
                      <a:lnTo>
                        <a:pt x="708" y="459"/>
                      </a:lnTo>
                      <a:lnTo>
                        <a:pt x="708" y="461"/>
                      </a:lnTo>
                      <a:lnTo>
                        <a:pt x="709" y="463"/>
                      </a:lnTo>
                      <a:lnTo>
                        <a:pt x="709" y="463"/>
                      </a:lnTo>
                      <a:lnTo>
                        <a:pt x="709" y="464"/>
                      </a:lnTo>
                      <a:lnTo>
                        <a:pt x="708" y="468"/>
                      </a:lnTo>
                      <a:lnTo>
                        <a:pt x="708" y="468"/>
                      </a:lnTo>
                      <a:lnTo>
                        <a:pt x="709" y="470"/>
                      </a:lnTo>
                      <a:lnTo>
                        <a:pt x="711" y="470"/>
                      </a:lnTo>
                      <a:lnTo>
                        <a:pt x="714" y="470"/>
                      </a:lnTo>
                      <a:lnTo>
                        <a:pt x="716" y="470"/>
                      </a:lnTo>
                      <a:lnTo>
                        <a:pt x="718" y="471"/>
                      </a:lnTo>
                      <a:lnTo>
                        <a:pt x="720" y="473"/>
                      </a:lnTo>
                      <a:lnTo>
                        <a:pt x="721" y="475"/>
                      </a:lnTo>
                      <a:lnTo>
                        <a:pt x="723" y="475"/>
                      </a:lnTo>
                      <a:lnTo>
                        <a:pt x="727" y="473"/>
                      </a:lnTo>
                      <a:lnTo>
                        <a:pt x="727" y="470"/>
                      </a:lnTo>
                      <a:lnTo>
                        <a:pt x="723" y="463"/>
                      </a:lnTo>
                      <a:lnTo>
                        <a:pt x="721" y="452"/>
                      </a:lnTo>
                      <a:lnTo>
                        <a:pt x="720" y="447"/>
                      </a:lnTo>
                      <a:lnTo>
                        <a:pt x="716" y="443"/>
                      </a:lnTo>
                      <a:lnTo>
                        <a:pt x="718" y="443"/>
                      </a:lnTo>
                      <a:lnTo>
                        <a:pt x="720" y="443"/>
                      </a:lnTo>
                      <a:lnTo>
                        <a:pt x="718" y="442"/>
                      </a:lnTo>
                      <a:lnTo>
                        <a:pt x="718" y="440"/>
                      </a:lnTo>
                      <a:lnTo>
                        <a:pt x="718" y="440"/>
                      </a:lnTo>
                      <a:lnTo>
                        <a:pt x="718" y="440"/>
                      </a:lnTo>
                      <a:lnTo>
                        <a:pt x="720" y="438"/>
                      </a:lnTo>
                      <a:lnTo>
                        <a:pt x="720" y="438"/>
                      </a:lnTo>
                      <a:lnTo>
                        <a:pt x="720" y="436"/>
                      </a:lnTo>
                      <a:lnTo>
                        <a:pt x="721" y="443"/>
                      </a:lnTo>
                      <a:lnTo>
                        <a:pt x="723" y="450"/>
                      </a:lnTo>
                      <a:lnTo>
                        <a:pt x="732" y="466"/>
                      </a:lnTo>
                      <a:lnTo>
                        <a:pt x="732" y="468"/>
                      </a:lnTo>
                      <a:lnTo>
                        <a:pt x="734" y="470"/>
                      </a:lnTo>
                      <a:lnTo>
                        <a:pt x="735" y="470"/>
                      </a:lnTo>
                      <a:lnTo>
                        <a:pt x="744" y="475"/>
                      </a:lnTo>
                      <a:lnTo>
                        <a:pt x="746" y="473"/>
                      </a:lnTo>
                      <a:lnTo>
                        <a:pt x="749" y="468"/>
                      </a:lnTo>
                      <a:lnTo>
                        <a:pt x="751" y="466"/>
                      </a:lnTo>
                      <a:lnTo>
                        <a:pt x="749" y="470"/>
                      </a:lnTo>
                      <a:lnTo>
                        <a:pt x="748" y="475"/>
                      </a:lnTo>
                      <a:lnTo>
                        <a:pt x="749" y="478"/>
                      </a:lnTo>
                      <a:lnTo>
                        <a:pt x="751" y="484"/>
                      </a:lnTo>
                      <a:lnTo>
                        <a:pt x="755" y="485"/>
                      </a:lnTo>
                      <a:lnTo>
                        <a:pt x="755" y="487"/>
                      </a:lnTo>
                      <a:lnTo>
                        <a:pt x="756" y="487"/>
                      </a:lnTo>
                      <a:lnTo>
                        <a:pt x="756" y="487"/>
                      </a:lnTo>
                      <a:lnTo>
                        <a:pt x="758" y="485"/>
                      </a:lnTo>
                      <a:lnTo>
                        <a:pt x="758" y="485"/>
                      </a:lnTo>
                      <a:lnTo>
                        <a:pt x="760" y="485"/>
                      </a:lnTo>
                      <a:lnTo>
                        <a:pt x="762" y="485"/>
                      </a:lnTo>
                      <a:lnTo>
                        <a:pt x="767" y="485"/>
                      </a:lnTo>
                      <a:lnTo>
                        <a:pt x="763" y="485"/>
                      </a:lnTo>
                      <a:lnTo>
                        <a:pt x="762" y="485"/>
                      </a:lnTo>
                      <a:lnTo>
                        <a:pt x="760" y="487"/>
                      </a:lnTo>
                      <a:lnTo>
                        <a:pt x="758" y="489"/>
                      </a:lnTo>
                      <a:lnTo>
                        <a:pt x="760" y="491"/>
                      </a:lnTo>
                      <a:lnTo>
                        <a:pt x="762" y="492"/>
                      </a:lnTo>
                      <a:lnTo>
                        <a:pt x="767" y="496"/>
                      </a:lnTo>
                      <a:lnTo>
                        <a:pt x="765" y="496"/>
                      </a:lnTo>
                      <a:lnTo>
                        <a:pt x="760" y="492"/>
                      </a:lnTo>
                      <a:lnTo>
                        <a:pt x="758" y="492"/>
                      </a:lnTo>
                      <a:lnTo>
                        <a:pt x="756" y="494"/>
                      </a:lnTo>
                      <a:lnTo>
                        <a:pt x="758" y="496"/>
                      </a:lnTo>
                      <a:lnTo>
                        <a:pt x="760" y="499"/>
                      </a:lnTo>
                      <a:lnTo>
                        <a:pt x="760" y="501"/>
                      </a:lnTo>
                      <a:lnTo>
                        <a:pt x="762" y="508"/>
                      </a:lnTo>
                      <a:lnTo>
                        <a:pt x="762" y="510"/>
                      </a:lnTo>
                      <a:lnTo>
                        <a:pt x="767" y="510"/>
                      </a:lnTo>
                      <a:lnTo>
                        <a:pt x="772" y="512"/>
                      </a:lnTo>
                      <a:lnTo>
                        <a:pt x="774" y="512"/>
                      </a:lnTo>
                      <a:lnTo>
                        <a:pt x="774" y="513"/>
                      </a:lnTo>
                      <a:lnTo>
                        <a:pt x="774" y="515"/>
                      </a:lnTo>
                      <a:lnTo>
                        <a:pt x="774" y="515"/>
                      </a:lnTo>
                      <a:lnTo>
                        <a:pt x="776" y="517"/>
                      </a:lnTo>
                      <a:lnTo>
                        <a:pt x="777" y="519"/>
                      </a:lnTo>
                      <a:lnTo>
                        <a:pt x="779" y="519"/>
                      </a:lnTo>
                      <a:lnTo>
                        <a:pt x="781" y="520"/>
                      </a:lnTo>
                      <a:lnTo>
                        <a:pt x="781" y="520"/>
                      </a:lnTo>
                      <a:lnTo>
                        <a:pt x="784" y="526"/>
                      </a:lnTo>
                      <a:lnTo>
                        <a:pt x="788" y="529"/>
                      </a:lnTo>
                      <a:lnTo>
                        <a:pt x="791" y="532"/>
                      </a:lnTo>
                      <a:lnTo>
                        <a:pt x="797" y="534"/>
                      </a:lnTo>
                      <a:lnTo>
                        <a:pt x="802" y="534"/>
                      </a:lnTo>
                      <a:lnTo>
                        <a:pt x="797" y="536"/>
                      </a:lnTo>
                      <a:lnTo>
                        <a:pt x="795" y="538"/>
                      </a:lnTo>
                      <a:lnTo>
                        <a:pt x="793" y="539"/>
                      </a:lnTo>
                      <a:lnTo>
                        <a:pt x="790" y="545"/>
                      </a:lnTo>
                      <a:lnTo>
                        <a:pt x="790" y="546"/>
                      </a:lnTo>
                      <a:lnTo>
                        <a:pt x="788" y="546"/>
                      </a:lnTo>
                      <a:lnTo>
                        <a:pt x="788" y="548"/>
                      </a:lnTo>
                      <a:lnTo>
                        <a:pt x="788" y="548"/>
                      </a:lnTo>
                      <a:lnTo>
                        <a:pt x="788" y="550"/>
                      </a:lnTo>
                      <a:lnTo>
                        <a:pt x="790" y="552"/>
                      </a:lnTo>
                      <a:lnTo>
                        <a:pt x="790" y="553"/>
                      </a:lnTo>
                      <a:lnTo>
                        <a:pt x="791" y="553"/>
                      </a:lnTo>
                      <a:lnTo>
                        <a:pt x="795" y="552"/>
                      </a:lnTo>
                      <a:lnTo>
                        <a:pt x="795" y="548"/>
                      </a:lnTo>
                      <a:lnTo>
                        <a:pt x="795" y="546"/>
                      </a:lnTo>
                      <a:lnTo>
                        <a:pt x="797" y="545"/>
                      </a:lnTo>
                      <a:lnTo>
                        <a:pt x="798" y="541"/>
                      </a:lnTo>
                      <a:lnTo>
                        <a:pt x="812" y="538"/>
                      </a:lnTo>
                      <a:lnTo>
                        <a:pt x="811" y="541"/>
                      </a:lnTo>
                      <a:lnTo>
                        <a:pt x="811" y="543"/>
                      </a:lnTo>
                      <a:lnTo>
                        <a:pt x="814" y="546"/>
                      </a:lnTo>
                      <a:lnTo>
                        <a:pt x="816" y="548"/>
                      </a:lnTo>
                      <a:lnTo>
                        <a:pt x="816" y="552"/>
                      </a:lnTo>
                      <a:lnTo>
                        <a:pt x="816" y="555"/>
                      </a:lnTo>
                      <a:lnTo>
                        <a:pt x="816" y="557"/>
                      </a:lnTo>
                      <a:lnTo>
                        <a:pt x="818" y="559"/>
                      </a:lnTo>
                      <a:lnTo>
                        <a:pt x="816" y="560"/>
                      </a:lnTo>
                      <a:lnTo>
                        <a:pt x="814" y="562"/>
                      </a:lnTo>
                      <a:lnTo>
                        <a:pt x="812" y="564"/>
                      </a:lnTo>
                      <a:lnTo>
                        <a:pt x="814" y="567"/>
                      </a:lnTo>
                      <a:lnTo>
                        <a:pt x="816" y="571"/>
                      </a:lnTo>
                      <a:lnTo>
                        <a:pt x="818" y="573"/>
                      </a:lnTo>
                      <a:lnTo>
                        <a:pt x="823" y="574"/>
                      </a:lnTo>
                      <a:lnTo>
                        <a:pt x="830" y="567"/>
                      </a:lnTo>
                      <a:lnTo>
                        <a:pt x="831" y="564"/>
                      </a:lnTo>
                      <a:lnTo>
                        <a:pt x="831" y="560"/>
                      </a:lnTo>
                      <a:lnTo>
                        <a:pt x="833" y="559"/>
                      </a:lnTo>
                      <a:lnTo>
                        <a:pt x="833" y="555"/>
                      </a:lnTo>
                      <a:lnTo>
                        <a:pt x="831" y="552"/>
                      </a:lnTo>
                      <a:lnTo>
                        <a:pt x="831" y="548"/>
                      </a:lnTo>
                      <a:lnTo>
                        <a:pt x="831" y="546"/>
                      </a:lnTo>
                      <a:lnTo>
                        <a:pt x="833" y="543"/>
                      </a:lnTo>
                      <a:lnTo>
                        <a:pt x="833" y="539"/>
                      </a:lnTo>
                      <a:lnTo>
                        <a:pt x="831" y="538"/>
                      </a:lnTo>
                      <a:lnTo>
                        <a:pt x="828" y="538"/>
                      </a:lnTo>
                      <a:close/>
                      <a:moveTo>
                        <a:pt x="2" y="311"/>
                      </a:moveTo>
                      <a:lnTo>
                        <a:pt x="4" y="309"/>
                      </a:lnTo>
                      <a:lnTo>
                        <a:pt x="6" y="307"/>
                      </a:lnTo>
                      <a:lnTo>
                        <a:pt x="7" y="304"/>
                      </a:lnTo>
                      <a:lnTo>
                        <a:pt x="0" y="304"/>
                      </a:lnTo>
                      <a:lnTo>
                        <a:pt x="0" y="309"/>
                      </a:lnTo>
                      <a:lnTo>
                        <a:pt x="2" y="311"/>
                      </a:lnTo>
                      <a:lnTo>
                        <a:pt x="2" y="311"/>
                      </a:lnTo>
                      <a:close/>
                      <a:moveTo>
                        <a:pt x="124" y="576"/>
                      </a:moveTo>
                      <a:lnTo>
                        <a:pt x="124" y="574"/>
                      </a:lnTo>
                      <a:lnTo>
                        <a:pt x="123" y="574"/>
                      </a:lnTo>
                      <a:lnTo>
                        <a:pt x="123" y="573"/>
                      </a:lnTo>
                      <a:lnTo>
                        <a:pt x="119" y="569"/>
                      </a:lnTo>
                      <a:lnTo>
                        <a:pt x="117" y="567"/>
                      </a:lnTo>
                      <a:lnTo>
                        <a:pt x="116" y="566"/>
                      </a:lnTo>
                      <a:lnTo>
                        <a:pt x="112" y="566"/>
                      </a:lnTo>
                      <a:lnTo>
                        <a:pt x="110" y="567"/>
                      </a:lnTo>
                      <a:lnTo>
                        <a:pt x="109" y="567"/>
                      </a:lnTo>
                      <a:lnTo>
                        <a:pt x="105" y="569"/>
                      </a:lnTo>
                      <a:lnTo>
                        <a:pt x="102" y="571"/>
                      </a:lnTo>
                      <a:lnTo>
                        <a:pt x="102" y="571"/>
                      </a:lnTo>
                      <a:lnTo>
                        <a:pt x="98" y="571"/>
                      </a:lnTo>
                      <a:lnTo>
                        <a:pt x="96" y="571"/>
                      </a:lnTo>
                      <a:lnTo>
                        <a:pt x="95" y="573"/>
                      </a:lnTo>
                      <a:lnTo>
                        <a:pt x="89" y="578"/>
                      </a:lnTo>
                      <a:lnTo>
                        <a:pt x="88" y="581"/>
                      </a:lnTo>
                      <a:lnTo>
                        <a:pt x="91" y="585"/>
                      </a:lnTo>
                      <a:lnTo>
                        <a:pt x="95" y="585"/>
                      </a:lnTo>
                      <a:lnTo>
                        <a:pt x="103" y="580"/>
                      </a:lnTo>
                      <a:lnTo>
                        <a:pt x="107" y="578"/>
                      </a:lnTo>
                      <a:lnTo>
                        <a:pt x="114" y="578"/>
                      </a:lnTo>
                      <a:lnTo>
                        <a:pt x="116" y="578"/>
                      </a:lnTo>
                      <a:lnTo>
                        <a:pt x="121" y="576"/>
                      </a:lnTo>
                      <a:lnTo>
                        <a:pt x="124" y="576"/>
                      </a:lnTo>
                      <a:lnTo>
                        <a:pt x="128" y="578"/>
                      </a:lnTo>
                      <a:lnTo>
                        <a:pt x="126" y="576"/>
                      </a:lnTo>
                      <a:lnTo>
                        <a:pt x="124" y="576"/>
                      </a:lnTo>
                      <a:close/>
                      <a:moveTo>
                        <a:pt x="65" y="590"/>
                      </a:moveTo>
                      <a:lnTo>
                        <a:pt x="63" y="592"/>
                      </a:lnTo>
                      <a:lnTo>
                        <a:pt x="63" y="595"/>
                      </a:lnTo>
                      <a:lnTo>
                        <a:pt x="65" y="595"/>
                      </a:lnTo>
                      <a:lnTo>
                        <a:pt x="67" y="594"/>
                      </a:lnTo>
                      <a:lnTo>
                        <a:pt x="72" y="594"/>
                      </a:lnTo>
                      <a:lnTo>
                        <a:pt x="68" y="592"/>
                      </a:lnTo>
                      <a:lnTo>
                        <a:pt x="65" y="590"/>
                      </a:lnTo>
                      <a:close/>
                      <a:moveTo>
                        <a:pt x="75" y="588"/>
                      </a:moveTo>
                      <a:lnTo>
                        <a:pt x="74" y="588"/>
                      </a:lnTo>
                      <a:lnTo>
                        <a:pt x="72" y="588"/>
                      </a:lnTo>
                      <a:lnTo>
                        <a:pt x="72" y="592"/>
                      </a:lnTo>
                      <a:lnTo>
                        <a:pt x="74" y="592"/>
                      </a:lnTo>
                      <a:lnTo>
                        <a:pt x="75" y="592"/>
                      </a:lnTo>
                      <a:lnTo>
                        <a:pt x="77" y="590"/>
                      </a:lnTo>
                      <a:lnTo>
                        <a:pt x="75" y="590"/>
                      </a:lnTo>
                      <a:lnTo>
                        <a:pt x="75" y="588"/>
                      </a:lnTo>
                      <a:close/>
                      <a:moveTo>
                        <a:pt x="143" y="569"/>
                      </a:moveTo>
                      <a:lnTo>
                        <a:pt x="142" y="569"/>
                      </a:lnTo>
                      <a:lnTo>
                        <a:pt x="142" y="571"/>
                      </a:lnTo>
                      <a:lnTo>
                        <a:pt x="142" y="573"/>
                      </a:lnTo>
                      <a:lnTo>
                        <a:pt x="143" y="573"/>
                      </a:lnTo>
                      <a:lnTo>
                        <a:pt x="145" y="571"/>
                      </a:lnTo>
                      <a:lnTo>
                        <a:pt x="145" y="569"/>
                      </a:lnTo>
                      <a:lnTo>
                        <a:pt x="143" y="569"/>
                      </a:lnTo>
                      <a:lnTo>
                        <a:pt x="143" y="569"/>
                      </a:lnTo>
                      <a:close/>
                      <a:moveTo>
                        <a:pt x="136" y="583"/>
                      </a:moveTo>
                      <a:lnTo>
                        <a:pt x="135" y="581"/>
                      </a:lnTo>
                      <a:lnTo>
                        <a:pt x="133" y="581"/>
                      </a:lnTo>
                      <a:lnTo>
                        <a:pt x="133" y="583"/>
                      </a:lnTo>
                      <a:lnTo>
                        <a:pt x="135" y="585"/>
                      </a:lnTo>
                      <a:lnTo>
                        <a:pt x="136" y="585"/>
                      </a:lnTo>
                      <a:lnTo>
                        <a:pt x="138" y="585"/>
                      </a:lnTo>
                      <a:lnTo>
                        <a:pt x="136" y="583"/>
                      </a:lnTo>
                      <a:lnTo>
                        <a:pt x="136" y="583"/>
                      </a:lnTo>
                      <a:close/>
                      <a:moveTo>
                        <a:pt x="353" y="466"/>
                      </a:moveTo>
                      <a:lnTo>
                        <a:pt x="355" y="464"/>
                      </a:lnTo>
                      <a:lnTo>
                        <a:pt x="357" y="463"/>
                      </a:lnTo>
                      <a:lnTo>
                        <a:pt x="355" y="463"/>
                      </a:lnTo>
                      <a:lnTo>
                        <a:pt x="353" y="463"/>
                      </a:lnTo>
                      <a:lnTo>
                        <a:pt x="351" y="464"/>
                      </a:lnTo>
                      <a:lnTo>
                        <a:pt x="351" y="466"/>
                      </a:lnTo>
                      <a:lnTo>
                        <a:pt x="351" y="466"/>
                      </a:lnTo>
                      <a:lnTo>
                        <a:pt x="353" y="466"/>
                      </a:lnTo>
                      <a:close/>
                      <a:moveTo>
                        <a:pt x="180" y="559"/>
                      </a:moveTo>
                      <a:lnTo>
                        <a:pt x="180" y="559"/>
                      </a:lnTo>
                      <a:lnTo>
                        <a:pt x="182" y="557"/>
                      </a:lnTo>
                      <a:lnTo>
                        <a:pt x="180" y="559"/>
                      </a:lnTo>
                      <a:lnTo>
                        <a:pt x="178" y="559"/>
                      </a:lnTo>
                      <a:lnTo>
                        <a:pt x="178" y="557"/>
                      </a:lnTo>
                      <a:lnTo>
                        <a:pt x="177" y="559"/>
                      </a:lnTo>
                      <a:lnTo>
                        <a:pt x="175" y="560"/>
                      </a:lnTo>
                      <a:lnTo>
                        <a:pt x="177" y="564"/>
                      </a:lnTo>
                      <a:lnTo>
                        <a:pt x="178" y="564"/>
                      </a:lnTo>
                      <a:lnTo>
                        <a:pt x="180" y="564"/>
                      </a:lnTo>
                      <a:lnTo>
                        <a:pt x="182" y="562"/>
                      </a:lnTo>
                      <a:lnTo>
                        <a:pt x="182" y="562"/>
                      </a:lnTo>
                      <a:lnTo>
                        <a:pt x="180" y="559"/>
                      </a:lnTo>
                      <a:close/>
                      <a:moveTo>
                        <a:pt x="184" y="559"/>
                      </a:moveTo>
                      <a:lnTo>
                        <a:pt x="184" y="559"/>
                      </a:lnTo>
                      <a:lnTo>
                        <a:pt x="182" y="559"/>
                      </a:lnTo>
                      <a:lnTo>
                        <a:pt x="182" y="559"/>
                      </a:lnTo>
                      <a:lnTo>
                        <a:pt x="184" y="560"/>
                      </a:lnTo>
                      <a:lnTo>
                        <a:pt x="185" y="560"/>
                      </a:lnTo>
                      <a:lnTo>
                        <a:pt x="185" y="560"/>
                      </a:lnTo>
                      <a:lnTo>
                        <a:pt x="185" y="559"/>
                      </a:lnTo>
                      <a:lnTo>
                        <a:pt x="185" y="559"/>
                      </a:lnTo>
                      <a:lnTo>
                        <a:pt x="184" y="559"/>
                      </a:lnTo>
                      <a:close/>
                      <a:moveTo>
                        <a:pt x="21" y="609"/>
                      </a:moveTo>
                      <a:lnTo>
                        <a:pt x="18" y="609"/>
                      </a:lnTo>
                      <a:lnTo>
                        <a:pt x="16" y="611"/>
                      </a:lnTo>
                      <a:lnTo>
                        <a:pt x="12" y="616"/>
                      </a:lnTo>
                      <a:lnTo>
                        <a:pt x="12" y="616"/>
                      </a:lnTo>
                      <a:lnTo>
                        <a:pt x="12" y="616"/>
                      </a:lnTo>
                      <a:lnTo>
                        <a:pt x="12" y="618"/>
                      </a:lnTo>
                      <a:lnTo>
                        <a:pt x="11" y="618"/>
                      </a:lnTo>
                      <a:lnTo>
                        <a:pt x="9" y="618"/>
                      </a:lnTo>
                      <a:lnTo>
                        <a:pt x="7" y="618"/>
                      </a:lnTo>
                      <a:lnTo>
                        <a:pt x="7" y="620"/>
                      </a:lnTo>
                      <a:lnTo>
                        <a:pt x="6" y="622"/>
                      </a:lnTo>
                      <a:lnTo>
                        <a:pt x="4" y="623"/>
                      </a:lnTo>
                      <a:lnTo>
                        <a:pt x="2" y="627"/>
                      </a:lnTo>
                      <a:lnTo>
                        <a:pt x="0" y="629"/>
                      </a:lnTo>
                      <a:lnTo>
                        <a:pt x="4" y="627"/>
                      </a:lnTo>
                      <a:lnTo>
                        <a:pt x="23" y="615"/>
                      </a:lnTo>
                      <a:lnTo>
                        <a:pt x="25" y="611"/>
                      </a:lnTo>
                      <a:lnTo>
                        <a:pt x="25" y="609"/>
                      </a:lnTo>
                      <a:lnTo>
                        <a:pt x="21" y="609"/>
                      </a:lnTo>
                      <a:close/>
                      <a:moveTo>
                        <a:pt x="987" y="765"/>
                      </a:moveTo>
                      <a:lnTo>
                        <a:pt x="985" y="765"/>
                      </a:lnTo>
                      <a:lnTo>
                        <a:pt x="985" y="765"/>
                      </a:lnTo>
                      <a:lnTo>
                        <a:pt x="985" y="767"/>
                      </a:lnTo>
                      <a:lnTo>
                        <a:pt x="987" y="767"/>
                      </a:lnTo>
                      <a:lnTo>
                        <a:pt x="987" y="767"/>
                      </a:lnTo>
                      <a:lnTo>
                        <a:pt x="987" y="767"/>
                      </a:lnTo>
                      <a:lnTo>
                        <a:pt x="987" y="763"/>
                      </a:lnTo>
                      <a:lnTo>
                        <a:pt x="987" y="765"/>
                      </a:lnTo>
                      <a:close/>
                      <a:moveTo>
                        <a:pt x="987" y="760"/>
                      </a:moveTo>
                      <a:lnTo>
                        <a:pt x="987" y="761"/>
                      </a:lnTo>
                      <a:lnTo>
                        <a:pt x="989" y="761"/>
                      </a:lnTo>
                      <a:lnTo>
                        <a:pt x="989" y="761"/>
                      </a:lnTo>
                      <a:lnTo>
                        <a:pt x="989" y="760"/>
                      </a:lnTo>
                      <a:lnTo>
                        <a:pt x="987" y="760"/>
                      </a:lnTo>
                      <a:lnTo>
                        <a:pt x="985" y="760"/>
                      </a:lnTo>
                      <a:lnTo>
                        <a:pt x="985" y="761"/>
                      </a:lnTo>
                      <a:lnTo>
                        <a:pt x="987" y="763"/>
                      </a:lnTo>
                      <a:lnTo>
                        <a:pt x="987" y="760"/>
                      </a:lnTo>
                      <a:close/>
                      <a:moveTo>
                        <a:pt x="1535" y="1298"/>
                      </a:moveTo>
                      <a:lnTo>
                        <a:pt x="1533" y="1301"/>
                      </a:lnTo>
                      <a:lnTo>
                        <a:pt x="1532" y="1305"/>
                      </a:lnTo>
                      <a:lnTo>
                        <a:pt x="1532" y="1308"/>
                      </a:lnTo>
                      <a:lnTo>
                        <a:pt x="1539" y="1294"/>
                      </a:lnTo>
                      <a:lnTo>
                        <a:pt x="1535" y="1298"/>
                      </a:lnTo>
                      <a:close/>
                      <a:moveTo>
                        <a:pt x="196" y="562"/>
                      </a:moveTo>
                      <a:lnTo>
                        <a:pt x="196" y="562"/>
                      </a:lnTo>
                      <a:lnTo>
                        <a:pt x="196" y="560"/>
                      </a:lnTo>
                      <a:lnTo>
                        <a:pt x="194" y="562"/>
                      </a:lnTo>
                      <a:lnTo>
                        <a:pt x="191" y="564"/>
                      </a:lnTo>
                      <a:lnTo>
                        <a:pt x="189" y="564"/>
                      </a:lnTo>
                      <a:lnTo>
                        <a:pt x="189" y="566"/>
                      </a:lnTo>
                      <a:lnTo>
                        <a:pt x="189" y="567"/>
                      </a:lnTo>
                      <a:lnTo>
                        <a:pt x="189" y="569"/>
                      </a:lnTo>
                      <a:lnTo>
                        <a:pt x="189" y="569"/>
                      </a:lnTo>
                      <a:lnTo>
                        <a:pt x="191" y="569"/>
                      </a:lnTo>
                      <a:lnTo>
                        <a:pt x="192" y="567"/>
                      </a:lnTo>
                      <a:lnTo>
                        <a:pt x="194" y="564"/>
                      </a:lnTo>
                      <a:lnTo>
                        <a:pt x="196" y="562"/>
                      </a:lnTo>
                      <a:lnTo>
                        <a:pt x="196" y="562"/>
                      </a:lnTo>
                      <a:lnTo>
                        <a:pt x="196" y="562"/>
                      </a:lnTo>
                      <a:close/>
                      <a:moveTo>
                        <a:pt x="61" y="601"/>
                      </a:moveTo>
                      <a:lnTo>
                        <a:pt x="60" y="602"/>
                      </a:lnTo>
                      <a:lnTo>
                        <a:pt x="60" y="602"/>
                      </a:lnTo>
                      <a:lnTo>
                        <a:pt x="60" y="602"/>
                      </a:lnTo>
                      <a:lnTo>
                        <a:pt x="60" y="604"/>
                      </a:lnTo>
                      <a:lnTo>
                        <a:pt x="60" y="604"/>
                      </a:lnTo>
                      <a:lnTo>
                        <a:pt x="60" y="604"/>
                      </a:lnTo>
                      <a:lnTo>
                        <a:pt x="61" y="604"/>
                      </a:lnTo>
                      <a:lnTo>
                        <a:pt x="61" y="602"/>
                      </a:lnTo>
                      <a:lnTo>
                        <a:pt x="61" y="602"/>
                      </a:lnTo>
                      <a:lnTo>
                        <a:pt x="61" y="601"/>
                      </a:lnTo>
                      <a:lnTo>
                        <a:pt x="61" y="601"/>
                      </a:lnTo>
                      <a:lnTo>
                        <a:pt x="61" y="601"/>
                      </a:lnTo>
                      <a:close/>
                      <a:moveTo>
                        <a:pt x="67" y="421"/>
                      </a:moveTo>
                      <a:lnTo>
                        <a:pt x="74" y="421"/>
                      </a:lnTo>
                      <a:lnTo>
                        <a:pt x="74" y="419"/>
                      </a:lnTo>
                      <a:lnTo>
                        <a:pt x="72" y="417"/>
                      </a:lnTo>
                      <a:lnTo>
                        <a:pt x="72" y="415"/>
                      </a:lnTo>
                      <a:lnTo>
                        <a:pt x="70" y="414"/>
                      </a:lnTo>
                      <a:lnTo>
                        <a:pt x="70" y="412"/>
                      </a:lnTo>
                      <a:lnTo>
                        <a:pt x="72" y="410"/>
                      </a:lnTo>
                      <a:lnTo>
                        <a:pt x="72" y="408"/>
                      </a:lnTo>
                      <a:lnTo>
                        <a:pt x="70" y="407"/>
                      </a:lnTo>
                      <a:lnTo>
                        <a:pt x="70" y="407"/>
                      </a:lnTo>
                      <a:lnTo>
                        <a:pt x="68" y="407"/>
                      </a:lnTo>
                      <a:lnTo>
                        <a:pt x="67" y="407"/>
                      </a:lnTo>
                      <a:lnTo>
                        <a:pt x="65" y="407"/>
                      </a:lnTo>
                      <a:lnTo>
                        <a:pt x="65" y="405"/>
                      </a:lnTo>
                      <a:lnTo>
                        <a:pt x="61" y="405"/>
                      </a:lnTo>
                      <a:lnTo>
                        <a:pt x="60" y="403"/>
                      </a:lnTo>
                      <a:lnTo>
                        <a:pt x="58" y="403"/>
                      </a:lnTo>
                      <a:lnTo>
                        <a:pt x="54" y="405"/>
                      </a:lnTo>
                      <a:lnTo>
                        <a:pt x="51" y="405"/>
                      </a:lnTo>
                      <a:lnTo>
                        <a:pt x="49" y="407"/>
                      </a:lnTo>
                      <a:lnTo>
                        <a:pt x="47" y="408"/>
                      </a:lnTo>
                      <a:lnTo>
                        <a:pt x="46" y="408"/>
                      </a:lnTo>
                      <a:lnTo>
                        <a:pt x="46" y="410"/>
                      </a:lnTo>
                      <a:lnTo>
                        <a:pt x="44" y="410"/>
                      </a:lnTo>
                      <a:lnTo>
                        <a:pt x="40" y="410"/>
                      </a:lnTo>
                      <a:lnTo>
                        <a:pt x="39" y="410"/>
                      </a:lnTo>
                      <a:lnTo>
                        <a:pt x="37" y="410"/>
                      </a:lnTo>
                      <a:lnTo>
                        <a:pt x="33" y="410"/>
                      </a:lnTo>
                      <a:lnTo>
                        <a:pt x="37" y="414"/>
                      </a:lnTo>
                      <a:lnTo>
                        <a:pt x="40" y="417"/>
                      </a:lnTo>
                      <a:lnTo>
                        <a:pt x="44" y="419"/>
                      </a:lnTo>
                      <a:lnTo>
                        <a:pt x="56" y="422"/>
                      </a:lnTo>
                      <a:lnTo>
                        <a:pt x="60" y="424"/>
                      </a:lnTo>
                      <a:lnTo>
                        <a:pt x="63" y="424"/>
                      </a:lnTo>
                      <a:lnTo>
                        <a:pt x="63" y="422"/>
                      </a:lnTo>
                      <a:lnTo>
                        <a:pt x="67" y="421"/>
                      </a:lnTo>
                      <a:close/>
                      <a:moveTo>
                        <a:pt x="56" y="604"/>
                      </a:moveTo>
                      <a:lnTo>
                        <a:pt x="54" y="604"/>
                      </a:lnTo>
                      <a:lnTo>
                        <a:pt x="53" y="604"/>
                      </a:lnTo>
                      <a:lnTo>
                        <a:pt x="54" y="602"/>
                      </a:lnTo>
                      <a:lnTo>
                        <a:pt x="56" y="601"/>
                      </a:lnTo>
                      <a:lnTo>
                        <a:pt x="60" y="599"/>
                      </a:lnTo>
                      <a:lnTo>
                        <a:pt x="58" y="597"/>
                      </a:lnTo>
                      <a:lnTo>
                        <a:pt x="56" y="597"/>
                      </a:lnTo>
                      <a:lnTo>
                        <a:pt x="54" y="599"/>
                      </a:lnTo>
                      <a:lnTo>
                        <a:pt x="53" y="601"/>
                      </a:lnTo>
                      <a:lnTo>
                        <a:pt x="51" y="599"/>
                      </a:lnTo>
                      <a:lnTo>
                        <a:pt x="51" y="597"/>
                      </a:lnTo>
                      <a:lnTo>
                        <a:pt x="49" y="597"/>
                      </a:lnTo>
                      <a:lnTo>
                        <a:pt x="46" y="597"/>
                      </a:lnTo>
                      <a:lnTo>
                        <a:pt x="44" y="597"/>
                      </a:lnTo>
                      <a:lnTo>
                        <a:pt x="42" y="599"/>
                      </a:lnTo>
                      <a:lnTo>
                        <a:pt x="40" y="599"/>
                      </a:lnTo>
                      <a:lnTo>
                        <a:pt x="40" y="601"/>
                      </a:lnTo>
                      <a:lnTo>
                        <a:pt x="42" y="602"/>
                      </a:lnTo>
                      <a:lnTo>
                        <a:pt x="44" y="604"/>
                      </a:lnTo>
                      <a:lnTo>
                        <a:pt x="47" y="604"/>
                      </a:lnTo>
                      <a:lnTo>
                        <a:pt x="49" y="604"/>
                      </a:lnTo>
                      <a:lnTo>
                        <a:pt x="47" y="606"/>
                      </a:lnTo>
                      <a:lnTo>
                        <a:pt x="44" y="604"/>
                      </a:lnTo>
                      <a:lnTo>
                        <a:pt x="42" y="606"/>
                      </a:lnTo>
                      <a:lnTo>
                        <a:pt x="40" y="609"/>
                      </a:lnTo>
                      <a:lnTo>
                        <a:pt x="39" y="611"/>
                      </a:lnTo>
                      <a:lnTo>
                        <a:pt x="35" y="613"/>
                      </a:lnTo>
                      <a:lnTo>
                        <a:pt x="32" y="615"/>
                      </a:lnTo>
                      <a:lnTo>
                        <a:pt x="28" y="615"/>
                      </a:lnTo>
                      <a:lnTo>
                        <a:pt x="26" y="616"/>
                      </a:lnTo>
                      <a:lnTo>
                        <a:pt x="32" y="616"/>
                      </a:lnTo>
                      <a:lnTo>
                        <a:pt x="42" y="613"/>
                      </a:lnTo>
                      <a:lnTo>
                        <a:pt x="58" y="604"/>
                      </a:lnTo>
                      <a:lnTo>
                        <a:pt x="56" y="604"/>
                      </a:lnTo>
                      <a:lnTo>
                        <a:pt x="56" y="604"/>
                      </a:lnTo>
                      <a:close/>
                      <a:moveTo>
                        <a:pt x="189" y="1432"/>
                      </a:moveTo>
                      <a:lnTo>
                        <a:pt x="189" y="1434"/>
                      </a:lnTo>
                      <a:lnTo>
                        <a:pt x="187" y="1436"/>
                      </a:lnTo>
                      <a:lnTo>
                        <a:pt x="189" y="1436"/>
                      </a:lnTo>
                      <a:lnTo>
                        <a:pt x="191" y="1436"/>
                      </a:lnTo>
                      <a:lnTo>
                        <a:pt x="191" y="1434"/>
                      </a:lnTo>
                      <a:lnTo>
                        <a:pt x="192" y="1432"/>
                      </a:lnTo>
                      <a:lnTo>
                        <a:pt x="191" y="1432"/>
                      </a:lnTo>
                      <a:lnTo>
                        <a:pt x="189" y="1432"/>
                      </a:lnTo>
                      <a:close/>
                      <a:moveTo>
                        <a:pt x="315" y="526"/>
                      </a:moveTo>
                      <a:lnTo>
                        <a:pt x="318" y="527"/>
                      </a:lnTo>
                      <a:lnTo>
                        <a:pt x="318" y="526"/>
                      </a:lnTo>
                      <a:lnTo>
                        <a:pt x="316" y="524"/>
                      </a:lnTo>
                      <a:lnTo>
                        <a:pt x="315" y="526"/>
                      </a:lnTo>
                      <a:close/>
                      <a:moveTo>
                        <a:pt x="339" y="508"/>
                      </a:moveTo>
                      <a:lnTo>
                        <a:pt x="336" y="510"/>
                      </a:lnTo>
                      <a:lnTo>
                        <a:pt x="334" y="512"/>
                      </a:lnTo>
                      <a:lnTo>
                        <a:pt x="337" y="513"/>
                      </a:lnTo>
                      <a:lnTo>
                        <a:pt x="339" y="512"/>
                      </a:lnTo>
                      <a:lnTo>
                        <a:pt x="343" y="512"/>
                      </a:lnTo>
                      <a:lnTo>
                        <a:pt x="344" y="510"/>
                      </a:lnTo>
                      <a:lnTo>
                        <a:pt x="343" y="508"/>
                      </a:lnTo>
                      <a:lnTo>
                        <a:pt x="339" y="508"/>
                      </a:lnTo>
                      <a:close/>
                      <a:moveTo>
                        <a:pt x="308" y="526"/>
                      </a:moveTo>
                      <a:lnTo>
                        <a:pt x="306" y="527"/>
                      </a:lnTo>
                      <a:lnTo>
                        <a:pt x="304" y="529"/>
                      </a:lnTo>
                      <a:lnTo>
                        <a:pt x="306" y="529"/>
                      </a:lnTo>
                      <a:lnTo>
                        <a:pt x="309" y="527"/>
                      </a:lnTo>
                      <a:lnTo>
                        <a:pt x="311" y="526"/>
                      </a:lnTo>
                      <a:lnTo>
                        <a:pt x="311" y="524"/>
                      </a:lnTo>
                      <a:lnTo>
                        <a:pt x="309" y="524"/>
                      </a:lnTo>
                      <a:lnTo>
                        <a:pt x="308" y="526"/>
                      </a:lnTo>
                      <a:close/>
                      <a:moveTo>
                        <a:pt x="357" y="494"/>
                      </a:moveTo>
                      <a:lnTo>
                        <a:pt x="355" y="492"/>
                      </a:lnTo>
                      <a:lnTo>
                        <a:pt x="353" y="491"/>
                      </a:lnTo>
                      <a:lnTo>
                        <a:pt x="353" y="491"/>
                      </a:lnTo>
                      <a:lnTo>
                        <a:pt x="355" y="491"/>
                      </a:lnTo>
                      <a:lnTo>
                        <a:pt x="355" y="489"/>
                      </a:lnTo>
                      <a:lnTo>
                        <a:pt x="355" y="489"/>
                      </a:lnTo>
                      <a:lnTo>
                        <a:pt x="353" y="487"/>
                      </a:lnTo>
                      <a:lnTo>
                        <a:pt x="350" y="487"/>
                      </a:lnTo>
                      <a:lnTo>
                        <a:pt x="344" y="489"/>
                      </a:lnTo>
                      <a:lnTo>
                        <a:pt x="346" y="487"/>
                      </a:lnTo>
                      <a:lnTo>
                        <a:pt x="344" y="485"/>
                      </a:lnTo>
                      <a:lnTo>
                        <a:pt x="344" y="484"/>
                      </a:lnTo>
                      <a:lnTo>
                        <a:pt x="343" y="484"/>
                      </a:lnTo>
                      <a:lnTo>
                        <a:pt x="341" y="484"/>
                      </a:lnTo>
                      <a:lnTo>
                        <a:pt x="339" y="484"/>
                      </a:lnTo>
                      <a:lnTo>
                        <a:pt x="337" y="484"/>
                      </a:lnTo>
                      <a:lnTo>
                        <a:pt x="339" y="485"/>
                      </a:lnTo>
                      <a:lnTo>
                        <a:pt x="339" y="487"/>
                      </a:lnTo>
                      <a:lnTo>
                        <a:pt x="337" y="487"/>
                      </a:lnTo>
                      <a:lnTo>
                        <a:pt x="337" y="489"/>
                      </a:lnTo>
                      <a:lnTo>
                        <a:pt x="336" y="489"/>
                      </a:lnTo>
                      <a:lnTo>
                        <a:pt x="332" y="491"/>
                      </a:lnTo>
                      <a:lnTo>
                        <a:pt x="330" y="491"/>
                      </a:lnTo>
                      <a:lnTo>
                        <a:pt x="330" y="489"/>
                      </a:lnTo>
                      <a:lnTo>
                        <a:pt x="329" y="487"/>
                      </a:lnTo>
                      <a:lnTo>
                        <a:pt x="327" y="485"/>
                      </a:lnTo>
                      <a:lnTo>
                        <a:pt x="325" y="487"/>
                      </a:lnTo>
                      <a:lnTo>
                        <a:pt x="323" y="489"/>
                      </a:lnTo>
                      <a:lnTo>
                        <a:pt x="325" y="491"/>
                      </a:lnTo>
                      <a:lnTo>
                        <a:pt x="329" y="494"/>
                      </a:lnTo>
                      <a:lnTo>
                        <a:pt x="327" y="494"/>
                      </a:lnTo>
                      <a:lnTo>
                        <a:pt x="327" y="494"/>
                      </a:lnTo>
                      <a:lnTo>
                        <a:pt x="325" y="494"/>
                      </a:lnTo>
                      <a:lnTo>
                        <a:pt x="325" y="494"/>
                      </a:lnTo>
                      <a:lnTo>
                        <a:pt x="325" y="499"/>
                      </a:lnTo>
                      <a:lnTo>
                        <a:pt x="327" y="503"/>
                      </a:lnTo>
                      <a:lnTo>
                        <a:pt x="329" y="505"/>
                      </a:lnTo>
                      <a:lnTo>
                        <a:pt x="323" y="501"/>
                      </a:lnTo>
                      <a:lnTo>
                        <a:pt x="322" y="498"/>
                      </a:lnTo>
                      <a:lnTo>
                        <a:pt x="320" y="494"/>
                      </a:lnTo>
                      <a:lnTo>
                        <a:pt x="313" y="494"/>
                      </a:lnTo>
                      <a:lnTo>
                        <a:pt x="311" y="496"/>
                      </a:lnTo>
                      <a:lnTo>
                        <a:pt x="308" y="498"/>
                      </a:lnTo>
                      <a:lnTo>
                        <a:pt x="306" y="499"/>
                      </a:lnTo>
                      <a:lnTo>
                        <a:pt x="306" y="503"/>
                      </a:lnTo>
                      <a:lnTo>
                        <a:pt x="308" y="506"/>
                      </a:lnTo>
                      <a:lnTo>
                        <a:pt x="309" y="510"/>
                      </a:lnTo>
                      <a:lnTo>
                        <a:pt x="311" y="513"/>
                      </a:lnTo>
                      <a:lnTo>
                        <a:pt x="315" y="515"/>
                      </a:lnTo>
                      <a:lnTo>
                        <a:pt x="316" y="515"/>
                      </a:lnTo>
                      <a:lnTo>
                        <a:pt x="316" y="513"/>
                      </a:lnTo>
                      <a:lnTo>
                        <a:pt x="316" y="512"/>
                      </a:lnTo>
                      <a:lnTo>
                        <a:pt x="313" y="512"/>
                      </a:lnTo>
                      <a:lnTo>
                        <a:pt x="315" y="510"/>
                      </a:lnTo>
                      <a:lnTo>
                        <a:pt x="316" y="510"/>
                      </a:lnTo>
                      <a:lnTo>
                        <a:pt x="318" y="510"/>
                      </a:lnTo>
                      <a:lnTo>
                        <a:pt x="320" y="510"/>
                      </a:lnTo>
                      <a:lnTo>
                        <a:pt x="320" y="512"/>
                      </a:lnTo>
                      <a:lnTo>
                        <a:pt x="320" y="513"/>
                      </a:lnTo>
                      <a:lnTo>
                        <a:pt x="320" y="513"/>
                      </a:lnTo>
                      <a:lnTo>
                        <a:pt x="320" y="513"/>
                      </a:lnTo>
                      <a:lnTo>
                        <a:pt x="322" y="513"/>
                      </a:lnTo>
                      <a:lnTo>
                        <a:pt x="325" y="513"/>
                      </a:lnTo>
                      <a:lnTo>
                        <a:pt x="320" y="519"/>
                      </a:lnTo>
                      <a:lnTo>
                        <a:pt x="323" y="519"/>
                      </a:lnTo>
                      <a:lnTo>
                        <a:pt x="329" y="515"/>
                      </a:lnTo>
                      <a:lnTo>
                        <a:pt x="327" y="512"/>
                      </a:lnTo>
                      <a:lnTo>
                        <a:pt x="330" y="512"/>
                      </a:lnTo>
                      <a:lnTo>
                        <a:pt x="343" y="505"/>
                      </a:lnTo>
                      <a:lnTo>
                        <a:pt x="346" y="505"/>
                      </a:lnTo>
                      <a:lnTo>
                        <a:pt x="348" y="503"/>
                      </a:lnTo>
                      <a:lnTo>
                        <a:pt x="350" y="503"/>
                      </a:lnTo>
                      <a:lnTo>
                        <a:pt x="350" y="501"/>
                      </a:lnTo>
                      <a:lnTo>
                        <a:pt x="346" y="499"/>
                      </a:lnTo>
                      <a:lnTo>
                        <a:pt x="344" y="499"/>
                      </a:lnTo>
                      <a:lnTo>
                        <a:pt x="343" y="499"/>
                      </a:lnTo>
                      <a:lnTo>
                        <a:pt x="346" y="499"/>
                      </a:lnTo>
                      <a:lnTo>
                        <a:pt x="353" y="499"/>
                      </a:lnTo>
                      <a:lnTo>
                        <a:pt x="358" y="498"/>
                      </a:lnTo>
                      <a:lnTo>
                        <a:pt x="358" y="494"/>
                      </a:lnTo>
                      <a:lnTo>
                        <a:pt x="358" y="494"/>
                      </a:lnTo>
                      <a:lnTo>
                        <a:pt x="357" y="494"/>
                      </a:lnTo>
                      <a:close/>
                      <a:moveTo>
                        <a:pt x="287" y="545"/>
                      </a:moveTo>
                      <a:lnTo>
                        <a:pt x="288" y="543"/>
                      </a:lnTo>
                      <a:lnTo>
                        <a:pt x="287" y="543"/>
                      </a:lnTo>
                      <a:lnTo>
                        <a:pt x="285" y="543"/>
                      </a:lnTo>
                      <a:lnTo>
                        <a:pt x="285" y="545"/>
                      </a:lnTo>
                      <a:lnTo>
                        <a:pt x="285" y="546"/>
                      </a:lnTo>
                      <a:lnTo>
                        <a:pt x="285" y="546"/>
                      </a:lnTo>
                      <a:lnTo>
                        <a:pt x="287" y="546"/>
                      </a:lnTo>
                      <a:lnTo>
                        <a:pt x="287" y="545"/>
                      </a:lnTo>
                      <a:close/>
                      <a:moveTo>
                        <a:pt x="360" y="470"/>
                      </a:moveTo>
                      <a:lnTo>
                        <a:pt x="357" y="470"/>
                      </a:lnTo>
                      <a:lnTo>
                        <a:pt x="357" y="471"/>
                      </a:lnTo>
                      <a:lnTo>
                        <a:pt x="353" y="470"/>
                      </a:lnTo>
                      <a:lnTo>
                        <a:pt x="353" y="468"/>
                      </a:lnTo>
                      <a:lnTo>
                        <a:pt x="351" y="468"/>
                      </a:lnTo>
                      <a:lnTo>
                        <a:pt x="348" y="468"/>
                      </a:lnTo>
                      <a:lnTo>
                        <a:pt x="348" y="470"/>
                      </a:lnTo>
                      <a:lnTo>
                        <a:pt x="348" y="471"/>
                      </a:lnTo>
                      <a:lnTo>
                        <a:pt x="348" y="471"/>
                      </a:lnTo>
                      <a:lnTo>
                        <a:pt x="346" y="473"/>
                      </a:lnTo>
                      <a:lnTo>
                        <a:pt x="346" y="473"/>
                      </a:lnTo>
                      <a:lnTo>
                        <a:pt x="344" y="473"/>
                      </a:lnTo>
                      <a:lnTo>
                        <a:pt x="343" y="473"/>
                      </a:lnTo>
                      <a:lnTo>
                        <a:pt x="341" y="475"/>
                      </a:lnTo>
                      <a:lnTo>
                        <a:pt x="339" y="477"/>
                      </a:lnTo>
                      <a:lnTo>
                        <a:pt x="334" y="480"/>
                      </a:lnTo>
                      <a:lnTo>
                        <a:pt x="339" y="482"/>
                      </a:lnTo>
                      <a:lnTo>
                        <a:pt x="344" y="482"/>
                      </a:lnTo>
                      <a:lnTo>
                        <a:pt x="348" y="480"/>
                      </a:lnTo>
                      <a:lnTo>
                        <a:pt x="351" y="477"/>
                      </a:lnTo>
                      <a:lnTo>
                        <a:pt x="353" y="478"/>
                      </a:lnTo>
                      <a:lnTo>
                        <a:pt x="355" y="478"/>
                      </a:lnTo>
                      <a:lnTo>
                        <a:pt x="357" y="478"/>
                      </a:lnTo>
                      <a:lnTo>
                        <a:pt x="358" y="477"/>
                      </a:lnTo>
                      <a:lnTo>
                        <a:pt x="358" y="477"/>
                      </a:lnTo>
                      <a:lnTo>
                        <a:pt x="358" y="475"/>
                      </a:lnTo>
                      <a:lnTo>
                        <a:pt x="358" y="475"/>
                      </a:lnTo>
                      <a:lnTo>
                        <a:pt x="360" y="477"/>
                      </a:lnTo>
                      <a:lnTo>
                        <a:pt x="362" y="477"/>
                      </a:lnTo>
                      <a:lnTo>
                        <a:pt x="363" y="477"/>
                      </a:lnTo>
                      <a:lnTo>
                        <a:pt x="363" y="475"/>
                      </a:lnTo>
                      <a:lnTo>
                        <a:pt x="365" y="473"/>
                      </a:lnTo>
                      <a:lnTo>
                        <a:pt x="362" y="471"/>
                      </a:lnTo>
                      <a:lnTo>
                        <a:pt x="360" y="470"/>
                      </a:lnTo>
                      <a:close/>
                      <a:moveTo>
                        <a:pt x="337" y="487"/>
                      </a:moveTo>
                      <a:lnTo>
                        <a:pt x="336" y="485"/>
                      </a:lnTo>
                      <a:lnTo>
                        <a:pt x="334" y="484"/>
                      </a:lnTo>
                      <a:lnTo>
                        <a:pt x="332" y="484"/>
                      </a:lnTo>
                      <a:lnTo>
                        <a:pt x="332" y="485"/>
                      </a:lnTo>
                      <a:lnTo>
                        <a:pt x="334" y="485"/>
                      </a:lnTo>
                      <a:lnTo>
                        <a:pt x="337" y="487"/>
                      </a:lnTo>
                      <a:lnTo>
                        <a:pt x="337" y="487"/>
                      </a:lnTo>
                      <a:close/>
                      <a:moveTo>
                        <a:pt x="255" y="1457"/>
                      </a:moveTo>
                      <a:lnTo>
                        <a:pt x="259" y="1460"/>
                      </a:lnTo>
                      <a:lnTo>
                        <a:pt x="260" y="1459"/>
                      </a:lnTo>
                      <a:lnTo>
                        <a:pt x="259" y="1457"/>
                      </a:lnTo>
                      <a:lnTo>
                        <a:pt x="255" y="1457"/>
                      </a:lnTo>
                      <a:close/>
                      <a:moveTo>
                        <a:pt x="299" y="1481"/>
                      </a:moveTo>
                      <a:lnTo>
                        <a:pt x="295" y="1480"/>
                      </a:lnTo>
                      <a:lnTo>
                        <a:pt x="294" y="1478"/>
                      </a:lnTo>
                      <a:lnTo>
                        <a:pt x="292" y="1476"/>
                      </a:lnTo>
                      <a:lnTo>
                        <a:pt x="288" y="1474"/>
                      </a:lnTo>
                      <a:lnTo>
                        <a:pt x="285" y="1473"/>
                      </a:lnTo>
                      <a:lnTo>
                        <a:pt x="283" y="1473"/>
                      </a:lnTo>
                      <a:lnTo>
                        <a:pt x="281" y="1474"/>
                      </a:lnTo>
                      <a:lnTo>
                        <a:pt x="281" y="1474"/>
                      </a:lnTo>
                      <a:lnTo>
                        <a:pt x="281" y="1478"/>
                      </a:lnTo>
                      <a:lnTo>
                        <a:pt x="281" y="1480"/>
                      </a:lnTo>
                      <a:lnTo>
                        <a:pt x="281" y="1480"/>
                      </a:lnTo>
                      <a:lnTo>
                        <a:pt x="278" y="1483"/>
                      </a:lnTo>
                      <a:lnTo>
                        <a:pt x="278" y="1487"/>
                      </a:lnTo>
                      <a:lnTo>
                        <a:pt x="281" y="1497"/>
                      </a:lnTo>
                      <a:lnTo>
                        <a:pt x="281" y="1500"/>
                      </a:lnTo>
                      <a:lnTo>
                        <a:pt x="283" y="1500"/>
                      </a:lnTo>
                      <a:lnTo>
                        <a:pt x="287" y="1500"/>
                      </a:lnTo>
                      <a:lnTo>
                        <a:pt x="288" y="1500"/>
                      </a:lnTo>
                      <a:lnTo>
                        <a:pt x="292" y="1495"/>
                      </a:lnTo>
                      <a:lnTo>
                        <a:pt x="294" y="1495"/>
                      </a:lnTo>
                      <a:lnTo>
                        <a:pt x="301" y="1492"/>
                      </a:lnTo>
                      <a:lnTo>
                        <a:pt x="302" y="1490"/>
                      </a:lnTo>
                      <a:lnTo>
                        <a:pt x="304" y="1488"/>
                      </a:lnTo>
                      <a:lnTo>
                        <a:pt x="302" y="1487"/>
                      </a:lnTo>
                      <a:lnTo>
                        <a:pt x="299" y="1481"/>
                      </a:lnTo>
                      <a:close/>
                      <a:moveTo>
                        <a:pt x="203" y="566"/>
                      </a:moveTo>
                      <a:lnTo>
                        <a:pt x="203" y="566"/>
                      </a:lnTo>
                      <a:lnTo>
                        <a:pt x="203" y="564"/>
                      </a:lnTo>
                      <a:lnTo>
                        <a:pt x="203" y="564"/>
                      </a:lnTo>
                      <a:lnTo>
                        <a:pt x="203" y="562"/>
                      </a:lnTo>
                      <a:lnTo>
                        <a:pt x="201" y="564"/>
                      </a:lnTo>
                      <a:lnTo>
                        <a:pt x="201" y="566"/>
                      </a:lnTo>
                      <a:lnTo>
                        <a:pt x="201" y="566"/>
                      </a:lnTo>
                      <a:lnTo>
                        <a:pt x="203" y="566"/>
                      </a:lnTo>
                      <a:lnTo>
                        <a:pt x="203" y="566"/>
                      </a:lnTo>
                      <a:close/>
                      <a:moveTo>
                        <a:pt x="241" y="1445"/>
                      </a:moveTo>
                      <a:lnTo>
                        <a:pt x="240" y="1445"/>
                      </a:lnTo>
                      <a:lnTo>
                        <a:pt x="240" y="1443"/>
                      </a:lnTo>
                      <a:lnTo>
                        <a:pt x="238" y="1443"/>
                      </a:lnTo>
                      <a:lnTo>
                        <a:pt x="238" y="1441"/>
                      </a:lnTo>
                      <a:lnTo>
                        <a:pt x="238" y="1439"/>
                      </a:lnTo>
                      <a:lnTo>
                        <a:pt x="236" y="1439"/>
                      </a:lnTo>
                      <a:lnTo>
                        <a:pt x="234" y="1439"/>
                      </a:lnTo>
                      <a:lnTo>
                        <a:pt x="231" y="1441"/>
                      </a:lnTo>
                      <a:lnTo>
                        <a:pt x="229" y="1441"/>
                      </a:lnTo>
                      <a:lnTo>
                        <a:pt x="231" y="1445"/>
                      </a:lnTo>
                      <a:lnTo>
                        <a:pt x="233" y="1446"/>
                      </a:lnTo>
                      <a:lnTo>
                        <a:pt x="234" y="1448"/>
                      </a:lnTo>
                      <a:lnTo>
                        <a:pt x="236" y="1448"/>
                      </a:lnTo>
                      <a:lnTo>
                        <a:pt x="236" y="1446"/>
                      </a:lnTo>
                      <a:lnTo>
                        <a:pt x="236" y="1446"/>
                      </a:lnTo>
                      <a:lnTo>
                        <a:pt x="238" y="1448"/>
                      </a:lnTo>
                      <a:lnTo>
                        <a:pt x="240" y="1448"/>
                      </a:lnTo>
                      <a:lnTo>
                        <a:pt x="241" y="1448"/>
                      </a:lnTo>
                      <a:lnTo>
                        <a:pt x="243" y="1448"/>
                      </a:lnTo>
                      <a:lnTo>
                        <a:pt x="243" y="1446"/>
                      </a:lnTo>
                      <a:lnTo>
                        <a:pt x="241" y="1445"/>
                      </a:lnTo>
                      <a:close/>
                      <a:moveTo>
                        <a:pt x="206" y="569"/>
                      </a:moveTo>
                      <a:lnTo>
                        <a:pt x="206" y="569"/>
                      </a:lnTo>
                      <a:lnTo>
                        <a:pt x="206" y="567"/>
                      </a:lnTo>
                      <a:lnTo>
                        <a:pt x="206" y="566"/>
                      </a:lnTo>
                      <a:lnTo>
                        <a:pt x="205" y="566"/>
                      </a:lnTo>
                      <a:lnTo>
                        <a:pt x="205" y="567"/>
                      </a:lnTo>
                      <a:lnTo>
                        <a:pt x="205" y="567"/>
                      </a:lnTo>
                      <a:lnTo>
                        <a:pt x="206" y="569"/>
                      </a:lnTo>
                      <a:close/>
                      <a:moveTo>
                        <a:pt x="278" y="1459"/>
                      </a:moveTo>
                      <a:lnTo>
                        <a:pt x="276" y="1459"/>
                      </a:lnTo>
                      <a:lnTo>
                        <a:pt x="271" y="1457"/>
                      </a:lnTo>
                      <a:lnTo>
                        <a:pt x="267" y="1455"/>
                      </a:lnTo>
                      <a:lnTo>
                        <a:pt x="266" y="1455"/>
                      </a:lnTo>
                      <a:lnTo>
                        <a:pt x="266" y="1455"/>
                      </a:lnTo>
                      <a:lnTo>
                        <a:pt x="264" y="1455"/>
                      </a:lnTo>
                      <a:lnTo>
                        <a:pt x="264" y="1457"/>
                      </a:lnTo>
                      <a:lnTo>
                        <a:pt x="264" y="1457"/>
                      </a:lnTo>
                      <a:lnTo>
                        <a:pt x="266" y="1459"/>
                      </a:lnTo>
                      <a:lnTo>
                        <a:pt x="266" y="1459"/>
                      </a:lnTo>
                      <a:lnTo>
                        <a:pt x="267" y="1460"/>
                      </a:lnTo>
                      <a:lnTo>
                        <a:pt x="267" y="1460"/>
                      </a:lnTo>
                      <a:lnTo>
                        <a:pt x="269" y="1460"/>
                      </a:lnTo>
                      <a:lnTo>
                        <a:pt x="269" y="1460"/>
                      </a:lnTo>
                      <a:lnTo>
                        <a:pt x="269" y="1462"/>
                      </a:lnTo>
                      <a:lnTo>
                        <a:pt x="269" y="1464"/>
                      </a:lnTo>
                      <a:lnTo>
                        <a:pt x="269" y="1464"/>
                      </a:lnTo>
                      <a:lnTo>
                        <a:pt x="271" y="1464"/>
                      </a:lnTo>
                      <a:lnTo>
                        <a:pt x="274" y="1464"/>
                      </a:lnTo>
                      <a:lnTo>
                        <a:pt x="276" y="1462"/>
                      </a:lnTo>
                      <a:lnTo>
                        <a:pt x="278" y="1460"/>
                      </a:lnTo>
                      <a:lnTo>
                        <a:pt x="278" y="1459"/>
                      </a:lnTo>
                      <a:close/>
                      <a:moveTo>
                        <a:pt x="252" y="1450"/>
                      </a:moveTo>
                      <a:lnTo>
                        <a:pt x="252" y="1450"/>
                      </a:lnTo>
                      <a:lnTo>
                        <a:pt x="252" y="1452"/>
                      </a:lnTo>
                      <a:lnTo>
                        <a:pt x="252" y="1452"/>
                      </a:lnTo>
                      <a:lnTo>
                        <a:pt x="257" y="1453"/>
                      </a:lnTo>
                      <a:lnTo>
                        <a:pt x="259" y="1453"/>
                      </a:lnTo>
                      <a:lnTo>
                        <a:pt x="260" y="1453"/>
                      </a:lnTo>
                      <a:lnTo>
                        <a:pt x="262" y="1453"/>
                      </a:lnTo>
                      <a:lnTo>
                        <a:pt x="264" y="1452"/>
                      </a:lnTo>
                      <a:lnTo>
                        <a:pt x="255" y="1450"/>
                      </a:lnTo>
                      <a:lnTo>
                        <a:pt x="252" y="1450"/>
                      </a:lnTo>
                      <a:close/>
                      <a:moveTo>
                        <a:pt x="201" y="1427"/>
                      </a:moveTo>
                      <a:lnTo>
                        <a:pt x="199" y="1429"/>
                      </a:lnTo>
                      <a:lnTo>
                        <a:pt x="199" y="1432"/>
                      </a:lnTo>
                      <a:lnTo>
                        <a:pt x="201" y="1434"/>
                      </a:lnTo>
                      <a:lnTo>
                        <a:pt x="205" y="1434"/>
                      </a:lnTo>
                      <a:lnTo>
                        <a:pt x="206" y="1432"/>
                      </a:lnTo>
                      <a:lnTo>
                        <a:pt x="208" y="1429"/>
                      </a:lnTo>
                      <a:lnTo>
                        <a:pt x="206" y="1427"/>
                      </a:lnTo>
                      <a:lnTo>
                        <a:pt x="201" y="1427"/>
                      </a:lnTo>
                      <a:close/>
                      <a:moveTo>
                        <a:pt x="982" y="767"/>
                      </a:moveTo>
                      <a:lnTo>
                        <a:pt x="983" y="767"/>
                      </a:lnTo>
                      <a:lnTo>
                        <a:pt x="983" y="765"/>
                      </a:lnTo>
                      <a:lnTo>
                        <a:pt x="983" y="763"/>
                      </a:lnTo>
                      <a:lnTo>
                        <a:pt x="982" y="763"/>
                      </a:lnTo>
                      <a:lnTo>
                        <a:pt x="980" y="761"/>
                      </a:lnTo>
                      <a:lnTo>
                        <a:pt x="980" y="763"/>
                      </a:lnTo>
                      <a:lnTo>
                        <a:pt x="982" y="765"/>
                      </a:lnTo>
                      <a:lnTo>
                        <a:pt x="982" y="767"/>
                      </a:lnTo>
                      <a:close/>
                      <a:moveTo>
                        <a:pt x="987" y="803"/>
                      </a:moveTo>
                      <a:lnTo>
                        <a:pt x="987" y="803"/>
                      </a:lnTo>
                      <a:lnTo>
                        <a:pt x="987" y="803"/>
                      </a:lnTo>
                      <a:lnTo>
                        <a:pt x="987" y="803"/>
                      </a:lnTo>
                      <a:lnTo>
                        <a:pt x="987" y="803"/>
                      </a:lnTo>
                      <a:lnTo>
                        <a:pt x="987" y="803"/>
                      </a:lnTo>
                      <a:lnTo>
                        <a:pt x="987" y="803"/>
                      </a:lnTo>
                      <a:lnTo>
                        <a:pt x="987" y="802"/>
                      </a:lnTo>
                      <a:lnTo>
                        <a:pt x="987" y="802"/>
                      </a:lnTo>
                      <a:lnTo>
                        <a:pt x="987" y="803"/>
                      </a:lnTo>
                      <a:close/>
                      <a:moveTo>
                        <a:pt x="2028" y="985"/>
                      </a:moveTo>
                      <a:lnTo>
                        <a:pt x="2026" y="987"/>
                      </a:lnTo>
                      <a:lnTo>
                        <a:pt x="2028" y="987"/>
                      </a:lnTo>
                      <a:lnTo>
                        <a:pt x="2029" y="987"/>
                      </a:lnTo>
                      <a:lnTo>
                        <a:pt x="2029" y="985"/>
                      </a:lnTo>
                      <a:lnTo>
                        <a:pt x="2029" y="985"/>
                      </a:lnTo>
                      <a:lnTo>
                        <a:pt x="2029" y="983"/>
                      </a:lnTo>
                      <a:lnTo>
                        <a:pt x="2028" y="983"/>
                      </a:lnTo>
                      <a:lnTo>
                        <a:pt x="2028" y="985"/>
                      </a:lnTo>
                      <a:close/>
                      <a:moveTo>
                        <a:pt x="2181" y="870"/>
                      </a:moveTo>
                      <a:lnTo>
                        <a:pt x="2180" y="870"/>
                      </a:lnTo>
                      <a:lnTo>
                        <a:pt x="2180" y="861"/>
                      </a:lnTo>
                      <a:lnTo>
                        <a:pt x="2176" y="861"/>
                      </a:lnTo>
                      <a:lnTo>
                        <a:pt x="2176" y="861"/>
                      </a:lnTo>
                      <a:lnTo>
                        <a:pt x="2174" y="861"/>
                      </a:lnTo>
                      <a:lnTo>
                        <a:pt x="2173" y="859"/>
                      </a:lnTo>
                      <a:lnTo>
                        <a:pt x="2173" y="857"/>
                      </a:lnTo>
                      <a:lnTo>
                        <a:pt x="2171" y="856"/>
                      </a:lnTo>
                      <a:lnTo>
                        <a:pt x="2171" y="854"/>
                      </a:lnTo>
                      <a:lnTo>
                        <a:pt x="2171" y="852"/>
                      </a:lnTo>
                      <a:lnTo>
                        <a:pt x="2171" y="850"/>
                      </a:lnTo>
                      <a:lnTo>
                        <a:pt x="2173" y="850"/>
                      </a:lnTo>
                      <a:lnTo>
                        <a:pt x="2171" y="849"/>
                      </a:lnTo>
                      <a:lnTo>
                        <a:pt x="2171" y="849"/>
                      </a:lnTo>
                      <a:lnTo>
                        <a:pt x="2169" y="847"/>
                      </a:lnTo>
                      <a:lnTo>
                        <a:pt x="2167" y="847"/>
                      </a:lnTo>
                      <a:lnTo>
                        <a:pt x="2166" y="845"/>
                      </a:lnTo>
                      <a:lnTo>
                        <a:pt x="2164" y="844"/>
                      </a:lnTo>
                      <a:lnTo>
                        <a:pt x="2164" y="842"/>
                      </a:lnTo>
                      <a:lnTo>
                        <a:pt x="2164" y="837"/>
                      </a:lnTo>
                      <a:lnTo>
                        <a:pt x="2164" y="812"/>
                      </a:lnTo>
                      <a:lnTo>
                        <a:pt x="2164" y="809"/>
                      </a:lnTo>
                      <a:lnTo>
                        <a:pt x="2162" y="805"/>
                      </a:lnTo>
                      <a:lnTo>
                        <a:pt x="2159" y="802"/>
                      </a:lnTo>
                      <a:lnTo>
                        <a:pt x="2157" y="800"/>
                      </a:lnTo>
                      <a:lnTo>
                        <a:pt x="2153" y="800"/>
                      </a:lnTo>
                      <a:lnTo>
                        <a:pt x="2152" y="800"/>
                      </a:lnTo>
                      <a:lnTo>
                        <a:pt x="2145" y="803"/>
                      </a:lnTo>
                      <a:lnTo>
                        <a:pt x="2141" y="803"/>
                      </a:lnTo>
                      <a:lnTo>
                        <a:pt x="2138" y="802"/>
                      </a:lnTo>
                      <a:lnTo>
                        <a:pt x="2138" y="800"/>
                      </a:lnTo>
                      <a:lnTo>
                        <a:pt x="2138" y="800"/>
                      </a:lnTo>
                      <a:lnTo>
                        <a:pt x="2138" y="798"/>
                      </a:lnTo>
                      <a:lnTo>
                        <a:pt x="2136" y="796"/>
                      </a:lnTo>
                      <a:lnTo>
                        <a:pt x="2134" y="796"/>
                      </a:lnTo>
                      <a:lnTo>
                        <a:pt x="2132" y="796"/>
                      </a:lnTo>
                      <a:lnTo>
                        <a:pt x="2118" y="816"/>
                      </a:lnTo>
                      <a:lnTo>
                        <a:pt x="2118" y="817"/>
                      </a:lnTo>
                      <a:lnTo>
                        <a:pt x="2117" y="821"/>
                      </a:lnTo>
                      <a:lnTo>
                        <a:pt x="2115" y="824"/>
                      </a:lnTo>
                      <a:lnTo>
                        <a:pt x="2113" y="830"/>
                      </a:lnTo>
                      <a:lnTo>
                        <a:pt x="2112" y="831"/>
                      </a:lnTo>
                      <a:lnTo>
                        <a:pt x="2112" y="838"/>
                      </a:lnTo>
                      <a:lnTo>
                        <a:pt x="2110" y="842"/>
                      </a:lnTo>
                      <a:lnTo>
                        <a:pt x="2110" y="842"/>
                      </a:lnTo>
                      <a:lnTo>
                        <a:pt x="2108" y="844"/>
                      </a:lnTo>
                      <a:lnTo>
                        <a:pt x="2105" y="847"/>
                      </a:lnTo>
                      <a:lnTo>
                        <a:pt x="2099" y="857"/>
                      </a:lnTo>
                      <a:lnTo>
                        <a:pt x="2099" y="857"/>
                      </a:lnTo>
                      <a:lnTo>
                        <a:pt x="2098" y="857"/>
                      </a:lnTo>
                      <a:lnTo>
                        <a:pt x="2098" y="857"/>
                      </a:lnTo>
                      <a:lnTo>
                        <a:pt x="2098" y="856"/>
                      </a:lnTo>
                      <a:lnTo>
                        <a:pt x="2096" y="856"/>
                      </a:lnTo>
                      <a:lnTo>
                        <a:pt x="2096" y="857"/>
                      </a:lnTo>
                      <a:lnTo>
                        <a:pt x="2092" y="857"/>
                      </a:lnTo>
                      <a:lnTo>
                        <a:pt x="2091" y="859"/>
                      </a:lnTo>
                      <a:lnTo>
                        <a:pt x="2089" y="857"/>
                      </a:lnTo>
                      <a:lnTo>
                        <a:pt x="2089" y="857"/>
                      </a:lnTo>
                      <a:lnTo>
                        <a:pt x="2087" y="859"/>
                      </a:lnTo>
                      <a:lnTo>
                        <a:pt x="2087" y="859"/>
                      </a:lnTo>
                      <a:lnTo>
                        <a:pt x="2087" y="861"/>
                      </a:lnTo>
                      <a:lnTo>
                        <a:pt x="2087" y="863"/>
                      </a:lnTo>
                      <a:lnTo>
                        <a:pt x="2084" y="864"/>
                      </a:lnTo>
                      <a:lnTo>
                        <a:pt x="2084" y="864"/>
                      </a:lnTo>
                      <a:lnTo>
                        <a:pt x="2080" y="866"/>
                      </a:lnTo>
                      <a:lnTo>
                        <a:pt x="2017" y="866"/>
                      </a:lnTo>
                      <a:lnTo>
                        <a:pt x="2010" y="866"/>
                      </a:lnTo>
                      <a:lnTo>
                        <a:pt x="2003" y="870"/>
                      </a:lnTo>
                      <a:lnTo>
                        <a:pt x="1979" y="892"/>
                      </a:lnTo>
                      <a:lnTo>
                        <a:pt x="1974" y="901"/>
                      </a:lnTo>
                      <a:lnTo>
                        <a:pt x="1972" y="903"/>
                      </a:lnTo>
                      <a:lnTo>
                        <a:pt x="1968" y="903"/>
                      </a:lnTo>
                      <a:lnTo>
                        <a:pt x="1935" y="905"/>
                      </a:lnTo>
                      <a:lnTo>
                        <a:pt x="1928" y="905"/>
                      </a:lnTo>
                      <a:lnTo>
                        <a:pt x="1921" y="908"/>
                      </a:lnTo>
                      <a:lnTo>
                        <a:pt x="1923" y="912"/>
                      </a:lnTo>
                      <a:lnTo>
                        <a:pt x="1925" y="919"/>
                      </a:lnTo>
                      <a:lnTo>
                        <a:pt x="1925" y="920"/>
                      </a:lnTo>
                      <a:lnTo>
                        <a:pt x="1926" y="922"/>
                      </a:lnTo>
                      <a:lnTo>
                        <a:pt x="1926" y="922"/>
                      </a:lnTo>
                      <a:lnTo>
                        <a:pt x="1926" y="924"/>
                      </a:lnTo>
                      <a:lnTo>
                        <a:pt x="1925" y="927"/>
                      </a:lnTo>
                      <a:lnTo>
                        <a:pt x="1898" y="938"/>
                      </a:lnTo>
                      <a:lnTo>
                        <a:pt x="1876" y="943"/>
                      </a:lnTo>
                      <a:lnTo>
                        <a:pt x="1869" y="947"/>
                      </a:lnTo>
                      <a:lnTo>
                        <a:pt x="1857" y="954"/>
                      </a:lnTo>
                      <a:lnTo>
                        <a:pt x="1850" y="955"/>
                      </a:lnTo>
                      <a:lnTo>
                        <a:pt x="1843" y="954"/>
                      </a:lnTo>
                      <a:lnTo>
                        <a:pt x="1839" y="952"/>
                      </a:lnTo>
                      <a:lnTo>
                        <a:pt x="1837" y="950"/>
                      </a:lnTo>
                      <a:lnTo>
                        <a:pt x="1836" y="947"/>
                      </a:lnTo>
                      <a:lnTo>
                        <a:pt x="1836" y="945"/>
                      </a:lnTo>
                      <a:lnTo>
                        <a:pt x="1837" y="941"/>
                      </a:lnTo>
                      <a:lnTo>
                        <a:pt x="1839" y="940"/>
                      </a:lnTo>
                      <a:lnTo>
                        <a:pt x="1843" y="936"/>
                      </a:lnTo>
                      <a:lnTo>
                        <a:pt x="1848" y="933"/>
                      </a:lnTo>
                      <a:lnTo>
                        <a:pt x="1850" y="926"/>
                      </a:lnTo>
                      <a:lnTo>
                        <a:pt x="1855" y="913"/>
                      </a:lnTo>
                      <a:lnTo>
                        <a:pt x="1857" y="908"/>
                      </a:lnTo>
                      <a:lnTo>
                        <a:pt x="1857" y="905"/>
                      </a:lnTo>
                      <a:lnTo>
                        <a:pt x="1857" y="901"/>
                      </a:lnTo>
                      <a:lnTo>
                        <a:pt x="1850" y="861"/>
                      </a:lnTo>
                      <a:lnTo>
                        <a:pt x="1850" y="857"/>
                      </a:lnTo>
                      <a:lnTo>
                        <a:pt x="1848" y="856"/>
                      </a:lnTo>
                      <a:lnTo>
                        <a:pt x="1844" y="854"/>
                      </a:lnTo>
                      <a:lnTo>
                        <a:pt x="1830" y="845"/>
                      </a:lnTo>
                      <a:lnTo>
                        <a:pt x="1829" y="842"/>
                      </a:lnTo>
                      <a:lnTo>
                        <a:pt x="1829" y="840"/>
                      </a:lnTo>
                      <a:lnTo>
                        <a:pt x="1829" y="838"/>
                      </a:lnTo>
                      <a:lnTo>
                        <a:pt x="1829" y="837"/>
                      </a:lnTo>
                      <a:lnTo>
                        <a:pt x="1827" y="835"/>
                      </a:lnTo>
                      <a:lnTo>
                        <a:pt x="1823" y="835"/>
                      </a:lnTo>
                      <a:lnTo>
                        <a:pt x="1822" y="835"/>
                      </a:lnTo>
                      <a:lnTo>
                        <a:pt x="1820" y="835"/>
                      </a:lnTo>
                      <a:lnTo>
                        <a:pt x="1816" y="831"/>
                      </a:lnTo>
                      <a:lnTo>
                        <a:pt x="1816" y="828"/>
                      </a:lnTo>
                      <a:lnTo>
                        <a:pt x="1815" y="824"/>
                      </a:lnTo>
                      <a:lnTo>
                        <a:pt x="1811" y="823"/>
                      </a:lnTo>
                      <a:lnTo>
                        <a:pt x="1806" y="824"/>
                      </a:lnTo>
                      <a:lnTo>
                        <a:pt x="1806" y="823"/>
                      </a:lnTo>
                      <a:lnTo>
                        <a:pt x="1802" y="821"/>
                      </a:lnTo>
                      <a:lnTo>
                        <a:pt x="1801" y="819"/>
                      </a:lnTo>
                      <a:lnTo>
                        <a:pt x="1799" y="814"/>
                      </a:lnTo>
                      <a:lnTo>
                        <a:pt x="1797" y="810"/>
                      </a:lnTo>
                      <a:lnTo>
                        <a:pt x="1792" y="807"/>
                      </a:lnTo>
                      <a:lnTo>
                        <a:pt x="1729" y="774"/>
                      </a:lnTo>
                      <a:lnTo>
                        <a:pt x="1722" y="772"/>
                      </a:lnTo>
                      <a:lnTo>
                        <a:pt x="1715" y="775"/>
                      </a:lnTo>
                      <a:lnTo>
                        <a:pt x="1710" y="777"/>
                      </a:lnTo>
                      <a:lnTo>
                        <a:pt x="1703" y="781"/>
                      </a:lnTo>
                      <a:lnTo>
                        <a:pt x="1696" y="781"/>
                      </a:lnTo>
                      <a:lnTo>
                        <a:pt x="1692" y="781"/>
                      </a:lnTo>
                      <a:lnTo>
                        <a:pt x="1691" y="781"/>
                      </a:lnTo>
                      <a:lnTo>
                        <a:pt x="1689" y="779"/>
                      </a:lnTo>
                      <a:lnTo>
                        <a:pt x="1687" y="777"/>
                      </a:lnTo>
                      <a:lnTo>
                        <a:pt x="1687" y="777"/>
                      </a:lnTo>
                      <a:lnTo>
                        <a:pt x="1685" y="777"/>
                      </a:lnTo>
                      <a:lnTo>
                        <a:pt x="1678" y="777"/>
                      </a:lnTo>
                      <a:lnTo>
                        <a:pt x="1675" y="777"/>
                      </a:lnTo>
                      <a:lnTo>
                        <a:pt x="1673" y="777"/>
                      </a:lnTo>
                      <a:lnTo>
                        <a:pt x="1671" y="775"/>
                      </a:lnTo>
                      <a:lnTo>
                        <a:pt x="1671" y="775"/>
                      </a:lnTo>
                      <a:lnTo>
                        <a:pt x="1671" y="775"/>
                      </a:lnTo>
                      <a:lnTo>
                        <a:pt x="1670" y="774"/>
                      </a:lnTo>
                      <a:lnTo>
                        <a:pt x="1668" y="775"/>
                      </a:lnTo>
                      <a:lnTo>
                        <a:pt x="1663" y="777"/>
                      </a:lnTo>
                      <a:lnTo>
                        <a:pt x="1659" y="779"/>
                      </a:lnTo>
                      <a:lnTo>
                        <a:pt x="1656" y="777"/>
                      </a:lnTo>
                      <a:lnTo>
                        <a:pt x="1652" y="775"/>
                      </a:lnTo>
                      <a:lnTo>
                        <a:pt x="1650" y="774"/>
                      </a:lnTo>
                      <a:lnTo>
                        <a:pt x="1647" y="772"/>
                      </a:lnTo>
                      <a:lnTo>
                        <a:pt x="1647" y="772"/>
                      </a:lnTo>
                      <a:lnTo>
                        <a:pt x="1645" y="770"/>
                      </a:lnTo>
                      <a:lnTo>
                        <a:pt x="1644" y="770"/>
                      </a:lnTo>
                      <a:lnTo>
                        <a:pt x="1642" y="770"/>
                      </a:lnTo>
                      <a:lnTo>
                        <a:pt x="1642" y="770"/>
                      </a:lnTo>
                      <a:lnTo>
                        <a:pt x="1638" y="772"/>
                      </a:lnTo>
                      <a:lnTo>
                        <a:pt x="1638" y="772"/>
                      </a:lnTo>
                      <a:lnTo>
                        <a:pt x="1638" y="772"/>
                      </a:lnTo>
                      <a:lnTo>
                        <a:pt x="1637" y="768"/>
                      </a:lnTo>
                      <a:lnTo>
                        <a:pt x="1635" y="767"/>
                      </a:lnTo>
                      <a:lnTo>
                        <a:pt x="1635" y="767"/>
                      </a:lnTo>
                      <a:lnTo>
                        <a:pt x="1633" y="765"/>
                      </a:lnTo>
                      <a:lnTo>
                        <a:pt x="1626" y="763"/>
                      </a:lnTo>
                      <a:lnTo>
                        <a:pt x="1623" y="761"/>
                      </a:lnTo>
                      <a:lnTo>
                        <a:pt x="1621" y="761"/>
                      </a:lnTo>
                      <a:lnTo>
                        <a:pt x="1617" y="761"/>
                      </a:lnTo>
                      <a:lnTo>
                        <a:pt x="1617" y="761"/>
                      </a:lnTo>
                      <a:lnTo>
                        <a:pt x="1614" y="765"/>
                      </a:lnTo>
                      <a:lnTo>
                        <a:pt x="1610" y="765"/>
                      </a:lnTo>
                      <a:lnTo>
                        <a:pt x="1609" y="763"/>
                      </a:lnTo>
                      <a:lnTo>
                        <a:pt x="1605" y="761"/>
                      </a:lnTo>
                      <a:lnTo>
                        <a:pt x="1602" y="760"/>
                      </a:lnTo>
                      <a:lnTo>
                        <a:pt x="1593" y="760"/>
                      </a:lnTo>
                      <a:lnTo>
                        <a:pt x="1591" y="758"/>
                      </a:lnTo>
                      <a:lnTo>
                        <a:pt x="1588" y="753"/>
                      </a:lnTo>
                      <a:lnTo>
                        <a:pt x="1586" y="746"/>
                      </a:lnTo>
                      <a:lnTo>
                        <a:pt x="1584" y="742"/>
                      </a:lnTo>
                      <a:lnTo>
                        <a:pt x="1579" y="739"/>
                      </a:lnTo>
                      <a:lnTo>
                        <a:pt x="1579" y="751"/>
                      </a:lnTo>
                      <a:lnTo>
                        <a:pt x="989" y="751"/>
                      </a:lnTo>
                      <a:lnTo>
                        <a:pt x="990" y="754"/>
                      </a:lnTo>
                      <a:lnTo>
                        <a:pt x="990" y="756"/>
                      </a:lnTo>
                      <a:lnTo>
                        <a:pt x="990" y="756"/>
                      </a:lnTo>
                      <a:lnTo>
                        <a:pt x="992" y="756"/>
                      </a:lnTo>
                      <a:lnTo>
                        <a:pt x="992" y="758"/>
                      </a:lnTo>
                      <a:lnTo>
                        <a:pt x="992" y="758"/>
                      </a:lnTo>
                      <a:lnTo>
                        <a:pt x="994" y="758"/>
                      </a:lnTo>
                      <a:lnTo>
                        <a:pt x="994" y="761"/>
                      </a:lnTo>
                      <a:lnTo>
                        <a:pt x="996" y="763"/>
                      </a:lnTo>
                      <a:lnTo>
                        <a:pt x="994" y="765"/>
                      </a:lnTo>
                      <a:lnTo>
                        <a:pt x="994" y="765"/>
                      </a:lnTo>
                      <a:lnTo>
                        <a:pt x="992" y="765"/>
                      </a:lnTo>
                      <a:lnTo>
                        <a:pt x="992" y="767"/>
                      </a:lnTo>
                      <a:lnTo>
                        <a:pt x="992" y="767"/>
                      </a:lnTo>
                      <a:lnTo>
                        <a:pt x="996" y="770"/>
                      </a:lnTo>
                      <a:lnTo>
                        <a:pt x="997" y="772"/>
                      </a:lnTo>
                      <a:lnTo>
                        <a:pt x="994" y="774"/>
                      </a:lnTo>
                      <a:lnTo>
                        <a:pt x="994" y="775"/>
                      </a:lnTo>
                      <a:lnTo>
                        <a:pt x="996" y="777"/>
                      </a:lnTo>
                      <a:lnTo>
                        <a:pt x="997" y="777"/>
                      </a:lnTo>
                      <a:lnTo>
                        <a:pt x="997" y="775"/>
                      </a:lnTo>
                      <a:lnTo>
                        <a:pt x="999" y="779"/>
                      </a:lnTo>
                      <a:lnTo>
                        <a:pt x="999" y="779"/>
                      </a:lnTo>
                      <a:lnTo>
                        <a:pt x="999" y="781"/>
                      </a:lnTo>
                      <a:lnTo>
                        <a:pt x="999" y="781"/>
                      </a:lnTo>
                      <a:lnTo>
                        <a:pt x="999" y="782"/>
                      </a:lnTo>
                      <a:lnTo>
                        <a:pt x="999" y="782"/>
                      </a:lnTo>
                      <a:lnTo>
                        <a:pt x="997" y="788"/>
                      </a:lnTo>
                      <a:lnTo>
                        <a:pt x="997" y="789"/>
                      </a:lnTo>
                      <a:lnTo>
                        <a:pt x="997" y="795"/>
                      </a:lnTo>
                      <a:lnTo>
                        <a:pt x="997" y="798"/>
                      </a:lnTo>
                      <a:lnTo>
                        <a:pt x="997" y="798"/>
                      </a:lnTo>
                      <a:lnTo>
                        <a:pt x="997" y="798"/>
                      </a:lnTo>
                      <a:lnTo>
                        <a:pt x="996" y="796"/>
                      </a:lnTo>
                      <a:lnTo>
                        <a:pt x="996" y="795"/>
                      </a:lnTo>
                      <a:lnTo>
                        <a:pt x="996" y="796"/>
                      </a:lnTo>
                      <a:lnTo>
                        <a:pt x="994" y="796"/>
                      </a:lnTo>
                      <a:lnTo>
                        <a:pt x="994" y="798"/>
                      </a:lnTo>
                      <a:lnTo>
                        <a:pt x="994" y="798"/>
                      </a:lnTo>
                      <a:lnTo>
                        <a:pt x="996" y="798"/>
                      </a:lnTo>
                      <a:lnTo>
                        <a:pt x="996" y="798"/>
                      </a:lnTo>
                      <a:lnTo>
                        <a:pt x="996" y="798"/>
                      </a:lnTo>
                      <a:lnTo>
                        <a:pt x="994" y="802"/>
                      </a:lnTo>
                      <a:lnTo>
                        <a:pt x="994" y="802"/>
                      </a:lnTo>
                      <a:lnTo>
                        <a:pt x="992" y="803"/>
                      </a:lnTo>
                      <a:lnTo>
                        <a:pt x="992" y="805"/>
                      </a:lnTo>
                      <a:lnTo>
                        <a:pt x="990" y="805"/>
                      </a:lnTo>
                      <a:lnTo>
                        <a:pt x="990" y="805"/>
                      </a:lnTo>
                      <a:lnTo>
                        <a:pt x="983" y="805"/>
                      </a:lnTo>
                      <a:lnTo>
                        <a:pt x="985" y="802"/>
                      </a:lnTo>
                      <a:lnTo>
                        <a:pt x="987" y="800"/>
                      </a:lnTo>
                      <a:lnTo>
                        <a:pt x="987" y="800"/>
                      </a:lnTo>
                      <a:lnTo>
                        <a:pt x="989" y="800"/>
                      </a:lnTo>
                      <a:lnTo>
                        <a:pt x="989" y="802"/>
                      </a:lnTo>
                      <a:lnTo>
                        <a:pt x="989" y="803"/>
                      </a:lnTo>
                      <a:lnTo>
                        <a:pt x="989" y="802"/>
                      </a:lnTo>
                      <a:lnTo>
                        <a:pt x="990" y="802"/>
                      </a:lnTo>
                      <a:lnTo>
                        <a:pt x="990" y="800"/>
                      </a:lnTo>
                      <a:lnTo>
                        <a:pt x="992" y="802"/>
                      </a:lnTo>
                      <a:lnTo>
                        <a:pt x="994" y="798"/>
                      </a:lnTo>
                      <a:lnTo>
                        <a:pt x="992" y="795"/>
                      </a:lnTo>
                      <a:lnTo>
                        <a:pt x="990" y="791"/>
                      </a:lnTo>
                      <a:lnTo>
                        <a:pt x="992" y="789"/>
                      </a:lnTo>
                      <a:lnTo>
                        <a:pt x="994" y="788"/>
                      </a:lnTo>
                      <a:lnTo>
                        <a:pt x="994" y="784"/>
                      </a:lnTo>
                      <a:lnTo>
                        <a:pt x="992" y="782"/>
                      </a:lnTo>
                      <a:lnTo>
                        <a:pt x="992" y="786"/>
                      </a:lnTo>
                      <a:lnTo>
                        <a:pt x="985" y="793"/>
                      </a:lnTo>
                      <a:lnTo>
                        <a:pt x="983" y="798"/>
                      </a:lnTo>
                      <a:lnTo>
                        <a:pt x="985" y="798"/>
                      </a:lnTo>
                      <a:lnTo>
                        <a:pt x="985" y="796"/>
                      </a:lnTo>
                      <a:lnTo>
                        <a:pt x="983" y="798"/>
                      </a:lnTo>
                      <a:lnTo>
                        <a:pt x="983" y="800"/>
                      </a:lnTo>
                      <a:lnTo>
                        <a:pt x="982" y="798"/>
                      </a:lnTo>
                      <a:lnTo>
                        <a:pt x="982" y="796"/>
                      </a:lnTo>
                      <a:lnTo>
                        <a:pt x="982" y="795"/>
                      </a:lnTo>
                      <a:lnTo>
                        <a:pt x="983" y="791"/>
                      </a:lnTo>
                      <a:lnTo>
                        <a:pt x="989" y="786"/>
                      </a:lnTo>
                      <a:lnTo>
                        <a:pt x="989" y="788"/>
                      </a:lnTo>
                      <a:lnTo>
                        <a:pt x="989" y="788"/>
                      </a:lnTo>
                      <a:lnTo>
                        <a:pt x="989" y="788"/>
                      </a:lnTo>
                      <a:lnTo>
                        <a:pt x="990" y="786"/>
                      </a:lnTo>
                      <a:lnTo>
                        <a:pt x="990" y="782"/>
                      </a:lnTo>
                      <a:lnTo>
                        <a:pt x="990" y="779"/>
                      </a:lnTo>
                      <a:lnTo>
                        <a:pt x="989" y="775"/>
                      </a:lnTo>
                      <a:lnTo>
                        <a:pt x="987" y="777"/>
                      </a:lnTo>
                      <a:lnTo>
                        <a:pt x="985" y="777"/>
                      </a:lnTo>
                      <a:lnTo>
                        <a:pt x="983" y="777"/>
                      </a:lnTo>
                      <a:lnTo>
                        <a:pt x="982" y="775"/>
                      </a:lnTo>
                      <a:lnTo>
                        <a:pt x="980" y="775"/>
                      </a:lnTo>
                      <a:lnTo>
                        <a:pt x="975" y="775"/>
                      </a:lnTo>
                      <a:lnTo>
                        <a:pt x="971" y="775"/>
                      </a:lnTo>
                      <a:lnTo>
                        <a:pt x="968" y="775"/>
                      </a:lnTo>
                      <a:lnTo>
                        <a:pt x="964" y="775"/>
                      </a:lnTo>
                      <a:lnTo>
                        <a:pt x="962" y="774"/>
                      </a:lnTo>
                      <a:lnTo>
                        <a:pt x="950" y="770"/>
                      </a:lnTo>
                      <a:lnTo>
                        <a:pt x="947" y="768"/>
                      </a:lnTo>
                      <a:lnTo>
                        <a:pt x="948" y="772"/>
                      </a:lnTo>
                      <a:lnTo>
                        <a:pt x="948" y="777"/>
                      </a:lnTo>
                      <a:lnTo>
                        <a:pt x="948" y="781"/>
                      </a:lnTo>
                      <a:lnTo>
                        <a:pt x="950" y="782"/>
                      </a:lnTo>
                      <a:lnTo>
                        <a:pt x="954" y="788"/>
                      </a:lnTo>
                      <a:lnTo>
                        <a:pt x="954" y="789"/>
                      </a:lnTo>
                      <a:lnTo>
                        <a:pt x="955" y="795"/>
                      </a:lnTo>
                      <a:lnTo>
                        <a:pt x="959" y="810"/>
                      </a:lnTo>
                      <a:lnTo>
                        <a:pt x="961" y="809"/>
                      </a:lnTo>
                      <a:lnTo>
                        <a:pt x="962" y="809"/>
                      </a:lnTo>
                      <a:lnTo>
                        <a:pt x="964" y="810"/>
                      </a:lnTo>
                      <a:lnTo>
                        <a:pt x="966" y="810"/>
                      </a:lnTo>
                      <a:lnTo>
                        <a:pt x="962" y="812"/>
                      </a:lnTo>
                      <a:lnTo>
                        <a:pt x="961" y="812"/>
                      </a:lnTo>
                      <a:lnTo>
                        <a:pt x="961" y="814"/>
                      </a:lnTo>
                      <a:lnTo>
                        <a:pt x="962" y="817"/>
                      </a:lnTo>
                      <a:lnTo>
                        <a:pt x="962" y="817"/>
                      </a:lnTo>
                      <a:lnTo>
                        <a:pt x="964" y="817"/>
                      </a:lnTo>
                      <a:lnTo>
                        <a:pt x="964" y="819"/>
                      </a:lnTo>
                      <a:lnTo>
                        <a:pt x="964" y="819"/>
                      </a:lnTo>
                      <a:lnTo>
                        <a:pt x="964" y="821"/>
                      </a:lnTo>
                      <a:lnTo>
                        <a:pt x="964" y="823"/>
                      </a:lnTo>
                      <a:lnTo>
                        <a:pt x="964" y="824"/>
                      </a:lnTo>
                      <a:lnTo>
                        <a:pt x="962" y="824"/>
                      </a:lnTo>
                      <a:lnTo>
                        <a:pt x="962" y="823"/>
                      </a:lnTo>
                      <a:lnTo>
                        <a:pt x="962" y="821"/>
                      </a:lnTo>
                      <a:lnTo>
                        <a:pt x="962" y="821"/>
                      </a:lnTo>
                      <a:lnTo>
                        <a:pt x="961" y="828"/>
                      </a:lnTo>
                      <a:lnTo>
                        <a:pt x="961" y="830"/>
                      </a:lnTo>
                      <a:lnTo>
                        <a:pt x="966" y="830"/>
                      </a:lnTo>
                      <a:lnTo>
                        <a:pt x="971" y="830"/>
                      </a:lnTo>
                      <a:lnTo>
                        <a:pt x="973" y="830"/>
                      </a:lnTo>
                      <a:lnTo>
                        <a:pt x="976" y="831"/>
                      </a:lnTo>
                      <a:lnTo>
                        <a:pt x="980" y="833"/>
                      </a:lnTo>
                      <a:lnTo>
                        <a:pt x="976" y="833"/>
                      </a:lnTo>
                      <a:lnTo>
                        <a:pt x="975" y="833"/>
                      </a:lnTo>
                      <a:lnTo>
                        <a:pt x="975" y="831"/>
                      </a:lnTo>
                      <a:lnTo>
                        <a:pt x="971" y="831"/>
                      </a:lnTo>
                      <a:lnTo>
                        <a:pt x="969" y="831"/>
                      </a:lnTo>
                      <a:lnTo>
                        <a:pt x="968" y="831"/>
                      </a:lnTo>
                      <a:lnTo>
                        <a:pt x="966" y="831"/>
                      </a:lnTo>
                      <a:lnTo>
                        <a:pt x="962" y="831"/>
                      </a:lnTo>
                      <a:lnTo>
                        <a:pt x="964" y="835"/>
                      </a:lnTo>
                      <a:lnTo>
                        <a:pt x="964" y="840"/>
                      </a:lnTo>
                      <a:lnTo>
                        <a:pt x="964" y="854"/>
                      </a:lnTo>
                      <a:lnTo>
                        <a:pt x="959" y="896"/>
                      </a:lnTo>
                      <a:lnTo>
                        <a:pt x="957" y="910"/>
                      </a:lnTo>
                      <a:lnTo>
                        <a:pt x="957" y="910"/>
                      </a:lnTo>
                      <a:lnTo>
                        <a:pt x="959" y="910"/>
                      </a:lnTo>
                      <a:lnTo>
                        <a:pt x="955" y="912"/>
                      </a:lnTo>
                      <a:lnTo>
                        <a:pt x="954" y="917"/>
                      </a:lnTo>
                      <a:lnTo>
                        <a:pt x="952" y="922"/>
                      </a:lnTo>
                      <a:lnTo>
                        <a:pt x="952" y="926"/>
                      </a:lnTo>
                      <a:lnTo>
                        <a:pt x="952" y="927"/>
                      </a:lnTo>
                      <a:lnTo>
                        <a:pt x="954" y="931"/>
                      </a:lnTo>
                      <a:lnTo>
                        <a:pt x="954" y="933"/>
                      </a:lnTo>
                      <a:lnTo>
                        <a:pt x="954" y="933"/>
                      </a:lnTo>
                      <a:lnTo>
                        <a:pt x="954" y="936"/>
                      </a:lnTo>
                      <a:lnTo>
                        <a:pt x="954" y="938"/>
                      </a:lnTo>
                      <a:lnTo>
                        <a:pt x="954" y="941"/>
                      </a:lnTo>
                      <a:lnTo>
                        <a:pt x="955" y="943"/>
                      </a:lnTo>
                      <a:lnTo>
                        <a:pt x="957" y="945"/>
                      </a:lnTo>
                      <a:lnTo>
                        <a:pt x="957" y="948"/>
                      </a:lnTo>
                      <a:lnTo>
                        <a:pt x="957" y="948"/>
                      </a:lnTo>
                      <a:lnTo>
                        <a:pt x="957" y="952"/>
                      </a:lnTo>
                      <a:lnTo>
                        <a:pt x="957" y="954"/>
                      </a:lnTo>
                      <a:lnTo>
                        <a:pt x="957" y="954"/>
                      </a:lnTo>
                      <a:lnTo>
                        <a:pt x="961" y="957"/>
                      </a:lnTo>
                      <a:lnTo>
                        <a:pt x="961" y="961"/>
                      </a:lnTo>
                      <a:lnTo>
                        <a:pt x="961" y="962"/>
                      </a:lnTo>
                      <a:lnTo>
                        <a:pt x="957" y="982"/>
                      </a:lnTo>
                      <a:lnTo>
                        <a:pt x="957" y="982"/>
                      </a:lnTo>
                      <a:lnTo>
                        <a:pt x="957" y="982"/>
                      </a:lnTo>
                      <a:lnTo>
                        <a:pt x="955" y="985"/>
                      </a:lnTo>
                      <a:lnTo>
                        <a:pt x="955" y="990"/>
                      </a:lnTo>
                      <a:lnTo>
                        <a:pt x="957" y="994"/>
                      </a:lnTo>
                      <a:lnTo>
                        <a:pt x="962" y="1001"/>
                      </a:lnTo>
                      <a:lnTo>
                        <a:pt x="966" y="1006"/>
                      </a:lnTo>
                      <a:lnTo>
                        <a:pt x="966" y="1009"/>
                      </a:lnTo>
                      <a:lnTo>
                        <a:pt x="968" y="1018"/>
                      </a:lnTo>
                      <a:lnTo>
                        <a:pt x="969" y="1029"/>
                      </a:lnTo>
                      <a:lnTo>
                        <a:pt x="971" y="1030"/>
                      </a:lnTo>
                      <a:lnTo>
                        <a:pt x="975" y="1034"/>
                      </a:lnTo>
                      <a:lnTo>
                        <a:pt x="982" y="1041"/>
                      </a:lnTo>
                      <a:lnTo>
                        <a:pt x="985" y="1044"/>
                      </a:lnTo>
                      <a:lnTo>
                        <a:pt x="987" y="1048"/>
                      </a:lnTo>
                      <a:lnTo>
                        <a:pt x="987" y="1048"/>
                      </a:lnTo>
                      <a:lnTo>
                        <a:pt x="985" y="1046"/>
                      </a:lnTo>
                      <a:lnTo>
                        <a:pt x="985" y="1048"/>
                      </a:lnTo>
                      <a:lnTo>
                        <a:pt x="985" y="1048"/>
                      </a:lnTo>
                      <a:lnTo>
                        <a:pt x="985" y="1050"/>
                      </a:lnTo>
                      <a:lnTo>
                        <a:pt x="983" y="1051"/>
                      </a:lnTo>
                      <a:lnTo>
                        <a:pt x="987" y="1051"/>
                      </a:lnTo>
                      <a:lnTo>
                        <a:pt x="989" y="1053"/>
                      </a:lnTo>
                      <a:lnTo>
                        <a:pt x="992" y="1055"/>
                      </a:lnTo>
                      <a:lnTo>
                        <a:pt x="996" y="1055"/>
                      </a:lnTo>
                      <a:lnTo>
                        <a:pt x="996" y="1051"/>
                      </a:lnTo>
                      <a:lnTo>
                        <a:pt x="996" y="1050"/>
                      </a:lnTo>
                      <a:lnTo>
                        <a:pt x="999" y="1048"/>
                      </a:lnTo>
                      <a:lnTo>
                        <a:pt x="1013" y="1050"/>
                      </a:lnTo>
                      <a:lnTo>
                        <a:pt x="1015" y="1050"/>
                      </a:lnTo>
                      <a:lnTo>
                        <a:pt x="1006" y="1050"/>
                      </a:lnTo>
                      <a:lnTo>
                        <a:pt x="1001" y="1050"/>
                      </a:lnTo>
                      <a:lnTo>
                        <a:pt x="997" y="1051"/>
                      </a:lnTo>
                      <a:lnTo>
                        <a:pt x="997" y="1055"/>
                      </a:lnTo>
                      <a:lnTo>
                        <a:pt x="999" y="1058"/>
                      </a:lnTo>
                      <a:lnTo>
                        <a:pt x="1004" y="1064"/>
                      </a:lnTo>
                      <a:lnTo>
                        <a:pt x="1001" y="1062"/>
                      </a:lnTo>
                      <a:lnTo>
                        <a:pt x="997" y="1058"/>
                      </a:lnTo>
                      <a:lnTo>
                        <a:pt x="996" y="1057"/>
                      </a:lnTo>
                      <a:lnTo>
                        <a:pt x="994" y="1058"/>
                      </a:lnTo>
                      <a:lnTo>
                        <a:pt x="994" y="1064"/>
                      </a:lnTo>
                      <a:lnTo>
                        <a:pt x="996" y="1069"/>
                      </a:lnTo>
                      <a:lnTo>
                        <a:pt x="999" y="1074"/>
                      </a:lnTo>
                      <a:lnTo>
                        <a:pt x="1003" y="1076"/>
                      </a:lnTo>
                      <a:lnTo>
                        <a:pt x="1008" y="1078"/>
                      </a:lnTo>
                      <a:lnTo>
                        <a:pt x="1010" y="1079"/>
                      </a:lnTo>
                      <a:lnTo>
                        <a:pt x="1010" y="1081"/>
                      </a:lnTo>
                      <a:lnTo>
                        <a:pt x="1010" y="1085"/>
                      </a:lnTo>
                      <a:lnTo>
                        <a:pt x="1008" y="1086"/>
                      </a:lnTo>
                      <a:lnTo>
                        <a:pt x="1008" y="1088"/>
                      </a:lnTo>
                      <a:lnTo>
                        <a:pt x="1008" y="1092"/>
                      </a:lnTo>
                      <a:lnTo>
                        <a:pt x="1010" y="1093"/>
                      </a:lnTo>
                      <a:lnTo>
                        <a:pt x="1017" y="1100"/>
                      </a:lnTo>
                      <a:lnTo>
                        <a:pt x="1020" y="1107"/>
                      </a:lnTo>
                      <a:lnTo>
                        <a:pt x="1022" y="1109"/>
                      </a:lnTo>
                      <a:lnTo>
                        <a:pt x="1024" y="1111"/>
                      </a:lnTo>
                      <a:lnTo>
                        <a:pt x="1027" y="1114"/>
                      </a:lnTo>
                      <a:lnTo>
                        <a:pt x="1029" y="1116"/>
                      </a:lnTo>
                      <a:lnTo>
                        <a:pt x="1029" y="1116"/>
                      </a:lnTo>
                      <a:lnTo>
                        <a:pt x="1029" y="1120"/>
                      </a:lnTo>
                      <a:lnTo>
                        <a:pt x="1031" y="1120"/>
                      </a:lnTo>
                      <a:lnTo>
                        <a:pt x="1031" y="1121"/>
                      </a:lnTo>
                      <a:lnTo>
                        <a:pt x="1034" y="1121"/>
                      </a:lnTo>
                      <a:lnTo>
                        <a:pt x="1034" y="1121"/>
                      </a:lnTo>
                      <a:lnTo>
                        <a:pt x="1036" y="1127"/>
                      </a:lnTo>
                      <a:lnTo>
                        <a:pt x="1034" y="1132"/>
                      </a:lnTo>
                      <a:lnTo>
                        <a:pt x="1036" y="1135"/>
                      </a:lnTo>
                      <a:lnTo>
                        <a:pt x="1039" y="1139"/>
                      </a:lnTo>
                      <a:lnTo>
                        <a:pt x="1045" y="1139"/>
                      </a:lnTo>
                      <a:lnTo>
                        <a:pt x="1050" y="1139"/>
                      </a:lnTo>
                      <a:lnTo>
                        <a:pt x="1055" y="1139"/>
                      </a:lnTo>
                      <a:lnTo>
                        <a:pt x="1060" y="1141"/>
                      </a:lnTo>
                      <a:lnTo>
                        <a:pt x="1062" y="1142"/>
                      </a:lnTo>
                      <a:lnTo>
                        <a:pt x="1065" y="1146"/>
                      </a:lnTo>
                      <a:lnTo>
                        <a:pt x="1069" y="1148"/>
                      </a:lnTo>
                      <a:lnTo>
                        <a:pt x="1071" y="1148"/>
                      </a:lnTo>
                      <a:lnTo>
                        <a:pt x="1078" y="1148"/>
                      </a:lnTo>
                      <a:lnTo>
                        <a:pt x="1079" y="1149"/>
                      </a:lnTo>
                      <a:lnTo>
                        <a:pt x="1081" y="1151"/>
                      </a:lnTo>
                      <a:lnTo>
                        <a:pt x="1081" y="1151"/>
                      </a:lnTo>
                      <a:lnTo>
                        <a:pt x="1081" y="1153"/>
                      </a:lnTo>
                      <a:lnTo>
                        <a:pt x="1083" y="1155"/>
                      </a:lnTo>
                      <a:lnTo>
                        <a:pt x="1083" y="1155"/>
                      </a:lnTo>
                      <a:lnTo>
                        <a:pt x="1085" y="1156"/>
                      </a:lnTo>
                      <a:lnTo>
                        <a:pt x="1085" y="1155"/>
                      </a:lnTo>
                      <a:lnTo>
                        <a:pt x="1085" y="1155"/>
                      </a:lnTo>
                      <a:lnTo>
                        <a:pt x="1088" y="1156"/>
                      </a:lnTo>
                      <a:lnTo>
                        <a:pt x="1090" y="1158"/>
                      </a:lnTo>
                      <a:lnTo>
                        <a:pt x="1093" y="1160"/>
                      </a:lnTo>
                      <a:lnTo>
                        <a:pt x="1099" y="1163"/>
                      </a:lnTo>
                      <a:lnTo>
                        <a:pt x="1102" y="1165"/>
                      </a:lnTo>
                      <a:lnTo>
                        <a:pt x="1104" y="1168"/>
                      </a:lnTo>
                      <a:lnTo>
                        <a:pt x="1106" y="1172"/>
                      </a:lnTo>
                      <a:lnTo>
                        <a:pt x="1106" y="1174"/>
                      </a:lnTo>
                      <a:lnTo>
                        <a:pt x="1107" y="1179"/>
                      </a:lnTo>
                      <a:lnTo>
                        <a:pt x="1107" y="1182"/>
                      </a:lnTo>
                      <a:lnTo>
                        <a:pt x="1109" y="1181"/>
                      </a:lnTo>
                      <a:lnTo>
                        <a:pt x="1109" y="1182"/>
                      </a:lnTo>
                      <a:lnTo>
                        <a:pt x="1109" y="1182"/>
                      </a:lnTo>
                      <a:lnTo>
                        <a:pt x="1109" y="1184"/>
                      </a:lnTo>
                      <a:lnTo>
                        <a:pt x="1162" y="1181"/>
                      </a:lnTo>
                      <a:lnTo>
                        <a:pt x="1160" y="1182"/>
                      </a:lnTo>
                      <a:lnTo>
                        <a:pt x="1160" y="1182"/>
                      </a:lnTo>
                      <a:lnTo>
                        <a:pt x="1160" y="1184"/>
                      </a:lnTo>
                      <a:lnTo>
                        <a:pt x="1158" y="1186"/>
                      </a:lnTo>
                      <a:lnTo>
                        <a:pt x="1235" y="1210"/>
                      </a:lnTo>
                      <a:lnTo>
                        <a:pt x="1240" y="1212"/>
                      </a:lnTo>
                      <a:lnTo>
                        <a:pt x="1299" y="1212"/>
                      </a:lnTo>
                      <a:lnTo>
                        <a:pt x="1299" y="1202"/>
                      </a:lnTo>
                      <a:lnTo>
                        <a:pt x="1334" y="1202"/>
                      </a:lnTo>
                      <a:lnTo>
                        <a:pt x="1338" y="1203"/>
                      </a:lnTo>
                      <a:lnTo>
                        <a:pt x="1340" y="1203"/>
                      </a:lnTo>
                      <a:lnTo>
                        <a:pt x="1343" y="1209"/>
                      </a:lnTo>
                      <a:lnTo>
                        <a:pt x="1345" y="1210"/>
                      </a:lnTo>
                      <a:lnTo>
                        <a:pt x="1350" y="1214"/>
                      </a:lnTo>
                      <a:lnTo>
                        <a:pt x="1369" y="1228"/>
                      </a:lnTo>
                      <a:lnTo>
                        <a:pt x="1371" y="1231"/>
                      </a:lnTo>
                      <a:lnTo>
                        <a:pt x="1373" y="1235"/>
                      </a:lnTo>
                      <a:lnTo>
                        <a:pt x="1376" y="1244"/>
                      </a:lnTo>
                      <a:lnTo>
                        <a:pt x="1378" y="1247"/>
                      </a:lnTo>
                      <a:lnTo>
                        <a:pt x="1380" y="1251"/>
                      </a:lnTo>
                      <a:lnTo>
                        <a:pt x="1383" y="1254"/>
                      </a:lnTo>
                      <a:lnTo>
                        <a:pt x="1394" y="1261"/>
                      </a:lnTo>
                      <a:lnTo>
                        <a:pt x="1401" y="1265"/>
                      </a:lnTo>
                      <a:lnTo>
                        <a:pt x="1408" y="1265"/>
                      </a:lnTo>
                      <a:lnTo>
                        <a:pt x="1415" y="1261"/>
                      </a:lnTo>
                      <a:lnTo>
                        <a:pt x="1416" y="1258"/>
                      </a:lnTo>
                      <a:lnTo>
                        <a:pt x="1416" y="1254"/>
                      </a:lnTo>
                      <a:lnTo>
                        <a:pt x="1418" y="1251"/>
                      </a:lnTo>
                      <a:lnTo>
                        <a:pt x="1422" y="1249"/>
                      </a:lnTo>
                      <a:lnTo>
                        <a:pt x="1425" y="1247"/>
                      </a:lnTo>
                      <a:lnTo>
                        <a:pt x="1430" y="1247"/>
                      </a:lnTo>
                      <a:lnTo>
                        <a:pt x="1434" y="1247"/>
                      </a:lnTo>
                      <a:lnTo>
                        <a:pt x="1437" y="1249"/>
                      </a:lnTo>
                      <a:lnTo>
                        <a:pt x="1441" y="1249"/>
                      </a:lnTo>
                      <a:lnTo>
                        <a:pt x="1443" y="1249"/>
                      </a:lnTo>
                      <a:lnTo>
                        <a:pt x="1444" y="1249"/>
                      </a:lnTo>
                      <a:lnTo>
                        <a:pt x="1448" y="1251"/>
                      </a:lnTo>
                      <a:lnTo>
                        <a:pt x="1450" y="1252"/>
                      </a:lnTo>
                      <a:lnTo>
                        <a:pt x="1460" y="1265"/>
                      </a:lnTo>
                      <a:lnTo>
                        <a:pt x="1464" y="1268"/>
                      </a:lnTo>
                      <a:lnTo>
                        <a:pt x="1467" y="1275"/>
                      </a:lnTo>
                      <a:lnTo>
                        <a:pt x="1467" y="1277"/>
                      </a:lnTo>
                      <a:lnTo>
                        <a:pt x="1469" y="1280"/>
                      </a:lnTo>
                      <a:lnTo>
                        <a:pt x="1469" y="1282"/>
                      </a:lnTo>
                      <a:lnTo>
                        <a:pt x="1471" y="1284"/>
                      </a:lnTo>
                      <a:lnTo>
                        <a:pt x="1474" y="1287"/>
                      </a:lnTo>
                      <a:lnTo>
                        <a:pt x="1476" y="1289"/>
                      </a:lnTo>
                      <a:lnTo>
                        <a:pt x="1479" y="1294"/>
                      </a:lnTo>
                      <a:lnTo>
                        <a:pt x="1481" y="1296"/>
                      </a:lnTo>
                      <a:lnTo>
                        <a:pt x="1483" y="1298"/>
                      </a:lnTo>
                      <a:lnTo>
                        <a:pt x="1483" y="1298"/>
                      </a:lnTo>
                      <a:lnTo>
                        <a:pt x="1485" y="1300"/>
                      </a:lnTo>
                      <a:lnTo>
                        <a:pt x="1486" y="1301"/>
                      </a:lnTo>
                      <a:lnTo>
                        <a:pt x="1486" y="1303"/>
                      </a:lnTo>
                      <a:lnTo>
                        <a:pt x="1486" y="1310"/>
                      </a:lnTo>
                      <a:lnTo>
                        <a:pt x="1488" y="1314"/>
                      </a:lnTo>
                      <a:lnTo>
                        <a:pt x="1488" y="1315"/>
                      </a:lnTo>
                      <a:lnTo>
                        <a:pt x="1492" y="1317"/>
                      </a:lnTo>
                      <a:lnTo>
                        <a:pt x="1492" y="1319"/>
                      </a:lnTo>
                      <a:lnTo>
                        <a:pt x="1492" y="1321"/>
                      </a:lnTo>
                      <a:lnTo>
                        <a:pt x="1493" y="1324"/>
                      </a:lnTo>
                      <a:lnTo>
                        <a:pt x="1493" y="1326"/>
                      </a:lnTo>
                      <a:lnTo>
                        <a:pt x="1497" y="1327"/>
                      </a:lnTo>
                      <a:lnTo>
                        <a:pt x="1500" y="1331"/>
                      </a:lnTo>
                      <a:lnTo>
                        <a:pt x="1513" y="1334"/>
                      </a:lnTo>
                      <a:lnTo>
                        <a:pt x="1525" y="1338"/>
                      </a:lnTo>
                      <a:lnTo>
                        <a:pt x="1527" y="1338"/>
                      </a:lnTo>
                      <a:lnTo>
                        <a:pt x="1530" y="1341"/>
                      </a:lnTo>
                      <a:lnTo>
                        <a:pt x="1532" y="1341"/>
                      </a:lnTo>
                      <a:lnTo>
                        <a:pt x="1533" y="1341"/>
                      </a:lnTo>
                      <a:lnTo>
                        <a:pt x="1533" y="1340"/>
                      </a:lnTo>
                      <a:lnTo>
                        <a:pt x="1535" y="1340"/>
                      </a:lnTo>
                      <a:lnTo>
                        <a:pt x="1537" y="1340"/>
                      </a:lnTo>
                      <a:lnTo>
                        <a:pt x="1537" y="1338"/>
                      </a:lnTo>
                      <a:lnTo>
                        <a:pt x="1535" y="1334"/>
                      </a:lnTo>
                      <a:lnTo>
                        <a:pt x="1533" y="1333"/>
                      </a:lnTo>
                      <a:lnTo>
                        <a:pt x="1532" y="1331"/>
                      </a:lnTo>
                      <a:lnTo>
                        <a:pt x="1532" y="1329"/>
                      </a:lnTo>
                      <a:lnTo>
                        <a:pt x="1528" y="1317"/>
                      </a:lnTo>
                      <a:lnTo>
                        <a:pt x="1528" y="1315"/>
                      </a:lnTo>
                      <a:lnTo>
                        <a:pt x="1528" y="1314"/>
                      </a:lnTo>
                      <a:lnTo>
                        <a:pt x="1530" y="1312"/>
                      </a:lnTo>
                      <a:lnTo>
                        <a:pt x="1530" y="1310"/>
                      </a:lnTo>
                      <a:lnTo>
                        <a:pt x="1528" y="1308"/>
                      </a:lnTo>
                      <a:lnTo>
                        <a:pt x="1525" y="1307"/>
                      </a:lnTo>
                      <a:lnTo>
                        <a:pt x="1523" y="1303"/>
                      </a:lnTo>
                      <a:lnTo>
                        <a:pt x="1528" y="1307"/>
                      </a:lnTo>
                      <a:lnTo>
                        <a:pt x="1530" y="1307"/>
                      </a:lnTo>
                      <a:lnTo>
                        <a:pt x="1532" y="1303"/>
                      </a:lnTo>
                      <a:lnTo>
                        <a:pt x="1533" y="1298"/>
                      </a:lnTo>
                      <a:lnTo>
                        <a:pt x="1533" y="1296"/>
                      </a:lnTo>
                      <a:lnTo>
                        <a:pt x="1532" y="1296"/>
                      </a:lnTo>
                      <a:lnTo>
                        <a:pt x="1532" y="1294"/>
                      </a:lnTo>
                      <a:lnTo>
                        <a:pt x="1532" y="1294"/>
                      </a:lnTo>
                      <a:lnTo>
                        <a:pt x="1532" y="1294"/>
                      </a:lnTo>
                      <a:lnTo>
                        <a:pt x="1532" y="1294"/>
                      </a:lnTo>
                      <a:lnTo>
                        <a:pt x="1533" y="1294"/>
                      </a:lnTo>
                      <a:lnTo>
                        <a:pt x="1533" y="1294"/>
                      </a:lnTo>
                      <a:lnTo>
                        <a:pt x="1535" y="1293"/>
                      </a:lnTo>
                      <a:lnTo>
                        <a:pt x="1537" y="1293"/>
                      </a:lnTo>
                      <a:lnTo>
                        <a:pt x="1539" y="1291"/>
                      </a:lnTo>
                      <a:lnTo>
                        <a:pt x="1539" y="1287"/>
                      </a:lnTo>
                      <a:lnTo>
                        <a:pt x="1537" y="1289"/>
                      </a:lnTo>
                      <a:lnTo>
                        <a:pt x="1537" y="1287"/>
                      </a:lnTo>
                      <a:lnTo>
                        <a:pt x="1539" y="1286"/>
                      </a:lnTo>
                      <a:lnTo>
                        <a:pt x="1540" y="1286"/>
                      </a:lnTo>
                      <a:lnTo>
                        <a:pt x="1542" y="1286"/>
                      </a:lnTo>
                      <a:lnTo>
                        <a:pt x="1542" y="1286"/>
                      </a:lnTo>
                      <a:lnTo>
                        <a:pt x="1544" y="1284"/>
                      </a:lnTo>
                      <a:lnTo>
                        <a:pt x="1544" y="1280"/>
                      </a:lnTo>
                      <a:lnTo>
                        <a:pt x="1546" y="1282"/>
                      </a:lnTo>
                      <a:lnTo>
                        <a:pt x="1549" y="1282"/>
                      </a:lnTo>
                      <a:lnTo>
                        <a:pt x="1551" y="1280"/>
                      </a:lnTo>
                      <a:lnTo>
                        <a:pt x="1553" y="1279"/>
                      </a:lnTo>
                      <a:lnTo>
                        <a:pt x="1551" y="1279"/>
                      </a:lnTo>
                      <a:lnTo>
                        <a:pt x="1549" y="1277"/>
                      </a:lnTo>
                      <a:lnTo>
                        <a:pt x="1547" y="1273"/>
                      </a:lnTo>
                      <a:lnTo>
                        <a:pt x="1549" y="1273"/>
                      </a:lnTo>
                      <a:lnTo>
                        <a:pt x="1551" y="1275"/>
                      </a:lnTo>
                      <a:lnTo>
                        <a:pt x="1551" y="1275"/>
                      </a:lnTo>
                      <a:lnTo>
                        <a:pt x="1553" y="1275"/>
                      </a:lnTo>
                      <a:lnTo>
                        <a:pt x="1554" y="1275"/>
                      </a:lnTo>
                      <a:lnTo>
                        <a:pt x="1554" y="1275"/>
                      </a:lnTo>
                      <a:lnTo>
                        <a:pt x="1556" y="1275"/>
                      </a:lnTo>
                      <a:lnTo>
                        <a:pt x="1560" y="1275"/>
                      </a:lnTo>
                      <a:lnTo>
                        <a:pt x="1561" y="1275"/>
                      </a:lnTo>
                      <a:lnTo>
                        <a:pt x="1558" y="1277"/>
                      </a:lnTo>
                      <a:lnTo>
                        <a:pt x="1556" y="1279"/>
                      </a:lnTo>
                      <a:lnTo>
                        <a:pt x="1561" y="1277"/>
                      </a:lnTo>
                      <a:lnTo>
                        <a:pt x="1567" y="1273"/>
                      </a:lnTo>
                      <a:lnTo>
                        <a:pt x="1575" y="1268"/>
                      </a:lnTo>
                      <a:lnTo>
                        <a:pt x="1577" y="1266"/>
                      </a:lnTo>
                      <a:lnTo>
                        <a:pt x="1579" y="1265"/>
                      </a:lnTo>
                      <a:lnTo>
                        <a:pt x="1582" y="1259"/>
                      </a:lnTo>
                      <a:lnTo>
                        <a:pt x="1584" y="1259"/>
                      </a:lnTo>
                      <a:lnTo>
                        <a:pt x="1584" y="1258"/>
                      </a:lnTo>
                      <a:lnTo>
                        <a:pt x="1584" y="1256"/>
                      </a:lnTo>
                      <a:lnTo>
                        <a:pt x="1584" y="1254"/>
                      </a:lnTo>
                      <a:lnTo>
                        <a:pt x="1582" y="1252"/>
                      </a:lnTo>
                      <a:lnTo>
                        <a:pt x="1582" y="1251"/>
                      </a:lnTo>
                      <a:lnTo>
                        <a:pt x="1584" y="1251"/>
                      </a:lnTo>
                      <a:lnTo>
                        <a:pt x="1588" y="1249"/>
                      </a:lnTo>
                      <a:lnTo>
                        <a:pt x="1589" y="1251"/>
                      </a:lnTo>
                      <a:lnTo>
                        <a:pt x="1588" y="1254"/>
                      </a:lnTo>
                      <a:lnTo>
                        <a:pt x="1589" y="1254"/>
                      </a:lnTo>
                      <a:lnTo>
                        <a:pt x="1591" y="1254"/>
                      </a:lnTo>
                      <a:lnTo>
                        <a:pt x="1593" y="1254"/>
                      </a:lnTo>
                      <a:lnTo>
                        <a:pt x="1589" y="1256"/>
                      </a:lnTo>
                      <a:lnTo>
                        <a:pt x="1589" y="1256"/>
                      </a:lnTo>
                      <a:lnTo>
                        <a:pt x="1588" y="1258"/>
                      </a:lnTo>
                      <a:lnTo>
                        <a:pt x="1593" y="1254"/>
                      </a:lnTo>
                      <a:lnTo>
                        <a:pt x="1598" y="1252"/>
                      </a:lnTo>
                      <a:lnTo>
                        <a:pt x="1605" y="1251"/>
                      </a:lnTo>
                      <a:lnTo>
                        <a:pt x="1607" y="1249"/>
                      </a:lnTo>
                      <a:lnTo>
                        <a:pt x="1607" y="1249"/>
                      </a:lnTo>
                      <a:lnTo>
                        <a:pt x="1607" y="1245"/>
                      </a:lnTo>
                      <a:lnTo>
                        <a:pt x="1607" y="1244"/>
                      </a:lnTo>
                      <a:lnTo>
                        <a:pt x="1609" y="1244"/>
                      </a:lnTo>
                      <a:lnTo>
                        <a:pt x="1609" y="1245"/>
                      </a:lnTo>
                      <a:lnTo>
                        <a:pt x="1609" y="1247"/>
                      </a:lnTo>
                      <a:lnTo>
                        <a:pt x="1607" y="1247"/>
                      </a:lnTo>
                      <a:lnTo>
                        <a:pt x="1607" y="1249"/>
                      </a:lnTo>
                      <a:lnTo>
                        <a:pt x="1609" y="1249"/>
                      </a:lnTo>
                      <a:lnTo>
                        <a:pt x="1621" y="1249"/>
                      </a:lnTo>
                      <a:lnTo>
                        <a:pt x="1624" y="1249"/>
                      </a:lnTo>
                      <a:lnTo>
                        <a:pt x="1635" y="1252"/>
                      </a:lnTo>
                      <a:lnTo>
                        <a:pt x="1640" y="1254"/>
                      </a:lnTo>
                      <a:lnTo>
                        <a:pt x="1645" y="1252"/>
                      </a:lnTo>
                      <a:lnTo>
                        <a:pt x="1645" y="1251"/>
                      </a:lnTo>
                      <a:lnTo>
                        <a:pt x="1644" y="1251"/>
                      </a:lnTo>
                      <a:lnTo>
                        <a:pt x="1645" y="1249"/>
                      </a:lnTo>
                      <a:lnTo>
                        <a:pt x="1645" y="1249"/>
                      </a:lnTo>
                      <a:lnTo>
                        <a:pt x="1647" y="1247"/>
                      </a:lnTo>
                      <a:lnTo>
                        <a:pt x="1649" y="1247"/>
                      </a:lnTo>
                      <a:lnTo>
                        <a:pt x="1650" y="1249"/>
                      </a:lnTo>
                      <a:lnTo>
                        <a:pt x="1652" y="1249"/>
                      </a:lnTo>
                      <a:lnTo>
                        <a:pt x="1654" y="1249"/>
                      </a:lnTo>
                      <a:lnTo>
                        <a:pt x="1654" y="1251"/>
                      </a:lnTo>
                      <a:lnTo>
                        <a:pt x="1656" y="1251"/>
                      </a:lnTo>
                      <a:lnTo>
                        <a:pt x="1656" y="1252"/>
                      </a:lnTo>
                      <a:lnTo>
                        <a:pt x="1657" y="1252"/>
                      </a:lnTo>
                      <a:lnTo>
                        <a:pt x="1657" y="1254"/>
                      </a:lnTo>
                      <a:lnTo>
                        <a:pt x="1659" y="1254"/>
                      </a:lnTo>
                      <a:lnTo>
                        <a:pt x="1661" y="1254"/>
                      </a:lnTo>
                      <a:lnTo>
                        <a:pt x="1663" y="1254"/>
                      </a:lnTo>
                      <a:lnTo>
                        <a:pt x="1663" y="1254"/>
                      </a:lnTo>
                      <a:lnTo>
                        <a:pt x="1663" y="1256"/>
                      </a:lnTo>
                      <a:lnTo>
                        <a:pt x="1664" y="1259"/>
                      </a:lnTo>
                      <a:lnTo>
                        <a:pt x="1664" y="1259"/>
                      </a:lnTo>
                      <a:lnTo>
                        <a:pt x="1663" y="1259"/>
                      </a:lnTo>
                      <a:lnTo>
                        <a:pt x="1663" y="1259"/>
                      </a:lnTo>
                      <a:lnTo>
                        <a:pt x="1663" y="1259"/>
                      </a:lnTo>
                      <a:lnTo>
                        <a:pt x="1668" y="1263"/>
                      </a:lnTo>
                      <a:lnTo>
                        <a:pt x="1671" y="1263"/>
                      </a:lnTo>
                      <a:lnTo>
                        <a:pt x="1675" y="1263"/>
                      </a:lnTo>
                      <a:lnTo>
                        <a:pt x="1677" y="1263"/>
                      </a:lnTo>
                      <a:lnTo>
                        <a:pt x="1677" y="1259"/>
                      </a:lnTo>
                      <a:lnTo>
                        <a:pt x="1678" y="1259"/>
                      </a:lnTo>
                      <a:lnTo>
                        <a:pt x="1680" y="1259"/>
                      </a:lnTo>
                      <a:lnTo>
                        <a:pt x="1682" y="1261"/>
                      </a:lnTo>
                      <a:lnTo>
                        <a:pt x="1684" y="1261"/>
                      </a:lnTo>
                      <a:lnTo>
                        <a:pt x="1684" y="1263"/>
                      </a:lnTo>
                      <a:lnTo>
                        <a:pt x="1687" y="1263"/>
                      </a:lnTo>
                      <a:lnTo>
                        <a:pt x="1689" y="1259"/>
                      </a:lnTo>
                      <a:lnTo>
                        <a:pt x="1687" y="1258"/>
                      </a:lnTo>
                      <a:lnTo>
                        <a:pt x="1685" y="1254"/>
                      </a:lnTo>
                      <a:lnTo>
                        <a:pt x="1689" y="1256"/>
                      </a:lnTo>
                      <a:lnTo>
                        <a:pt x="1692" y="1256"/>
                      </a:lnTo>
                      <a:lnTo>
                        <a:pt x="1701" y="1261"/>
                      </a:lnTo>
                      <a:lnTo>
                        <a:pt x="1703" y="1265"/>
                      </a:lnTo>
                      <a:lnTo>
                        <a:pt x="1703" y="1266"/>
                      </a:lnTo>
                      <a:lnTo>
                        <a:pt x="1705" y="1266"/>
                      </a:lnTo>
                      <a:lnTo>
                        <a:pt x="1705" y="1265"/>
                      </a:lnTo>
                      <a:lnTo>
                        <a:pt x="1706" y="1265"/>
                      </a:lnTo>
                      <a:lnTo>
                        <a:pt x="1708" y="1266"/>
                      </a:lnTo>
                      <a:lnTo>
                        <a:pt x="1708" y="1265"/>
                      </a:lnTo>
                      <a:lnTo>
                        <a:pt x="1710" y="1263"/>
                      </a:lnTo>
                      <a:lnTo>
                        <a:pt x="1710" y="1263"/>
                      </a:lnTo>
                      <a:lnTo>
                        <a:pt x="1710" y="1261"/>
                      </a:lnTo>
                      <a:lnTo>
                        <a:pt x="1710" y="1259"/>
                      </a:lnTo>
                      <a:lnTo>
                        <a:pt x="1708" y="1259"/>
                      </a:lnTo>
                      <a:lnTo>
                        <a:pt x="1703" y="1258"/>
                      </a:lnTo>
                      <a:lnTo>
                        <a:pt x="1701" y="1256"/>
                      </a:lnTo>
                      <a:lnTo>
                        <a:pt x="1698" y="1254"/>
                      </a:lnTo>
                      <a:lnTo>
                        <a:pt x="1696" y="1251"/>
                      </a:lnTo>
                      <a:lnTo>
                        <a:pt x="1699" y="1251"/>
                      </a:lnTo>
                      <a:lnTo>
                        <a:pt x="1699" y="1249"/>
                      </a:lnTo>
                      <a:lnTo>
                        <a:pt x="1701" y="1249"/>
                      </a:lnTo>
                      <a:lnTo>
                        <a:pt x="1703" y="1249"/>
                      </a:lnTo>
                      <a:lnTo>
                        <a:pt x="1703" y="1247"/>
                      </a:lnTo>
                      <a:lnTo>
                        <a:pt x="1703" y="1245"/>
                      </a:lnTo>
                      <a:lnTo>
                        <a:pt x="1703" y="1242"/>
                      </a:lnTo>
                      <a:lnTo>
                        <a:pt x="1701" y="1244"/>
                      </a:lnTo>
                      <a:lnTo>
                        <a:pt x="1698" y="1245"/>
                      </a:lnTo>
                      <a:lnTo>
                        <a:pt x="1696" y="1245"/>
                      </a:lnTo>
                      <a:lnTo>
                        <a:pt x="1694" y="1244"/>
                      </a:lnTo>
                      <a:lnTo>
                        <a:pt x="1694" y="1242"/>
                      </a:lnTo>
                      <a:lnTo>
                        <a:pt x="1696" y="1240"/>
                      </a:lnTo>
                      <a:lnTo>
                        <a:pt x="1696" y="1240"/>
                      </a:lnTo>
                      <a:lnTo>
                        <a:pt x="1694" y="1240"/>
                      </a:lnTo>
                      <a:lnTo>
                        <a:pt x="1687" y="1242"/>
                      </a:lnTo>
                      <a:lnTo>
                        <a:pt x="1684" y="1242"/>
                      </a:lnTo>
                      <a:lnTo>
                        <a:pt x="1680" y="1240"/>
                      </a:lnTo>
                      <a:lnTo>
                        <a:pt x="1682" y="1238"/>
                      </a:lnTo>
                      <a:lnTo>
                        <a:pt x="1682" y="1237"/>
                      </a:lnTo>
                      <a:lnTo>
                        <a:pt x="1684" y="1235"/>
                      </a:lnTo>
                      <a:lnTo>
                        <a:pt x="1685" y="1235"/>
                      </a:lnTo>
                      <a:lnTo>
                        <a:pt x="1687" y="1235"/>
                      </a:lnTo>
                      <a:lnTo>
                        <a:pt x="1687" y="1235"/>
                      </a:lnTo>
                      <a:lnTo>
                        <a:pt x="1689" y="1237"/>
                      </a:lnTo>
                      <a:lnTo>
                        <a:pt x="1691" y="1237"/>
                      </a:lnTo>
                      <a:lnTo>
                        <a:pt x="1694" y="1238"/>
                      </a:lnTo>
                      <a:lnTo>
                        <a:pt x="1698" y="1238"/>
                      </a:lnTo>
                      <a:lnTo>
                        <a:pt x="1699" y="1237"/>
                      </a:lnTo>
                      <a:lnTo>
                        <a:pt x="1703" y="1237"/>
                      </a:lnTo>
                      <a:lnTo>
                        <a:pt x="1708" y="1235"/>
                      </a:lnTo>
                      <a:lnTo>
                        <a:pt x="1712" y="1233"/>
                      </a:lnTo>
                      <a:lnTo>
                        <a:pt x="1713" y="1233"/>
                      </a:lnTo>
                      <a:lnTo>
                        <a:pt x="1722" y="1235"/>
                      </a:lnTo>
                      <a:lnTo>
                        <a:pt x="1727" y="1235"/>
                      </a:lnTo>
                      <a:lnTo>
                        <a:pt x="1729" y="1235"/>
                      </a:lnTo>
                      <a:lnTo>
                        <a:pt x="1729" y="1233"/>
                      </a:lnTo>
                      <a:lnTo>
                        <a:pt x="1731" y="1233"/>
                      </a:lnTo>
                      <a:lnTo>
                        <a:pt x="1731" y="1228"/>
                      </a:lnTo>
                      <a:lnTo>
                        <a:pt x="1733" y="1228"/>
                      </a:lnTo>
                      <a:lnTo>
                        <a:pt x="1733" y="1228"/>
                      </a:lnTo>
                      <a:lnTo>
                        <a:pt x="1734" y="1230"/>
                      </a:lnTo>
                      <a:lnTo>
                        <a:pt x="1734" y="1231"/>
                      </a:lnTo>
                      <a:lnTo>
                        <a:pt x="1734" y="1233"/>
                      </a:lnTo>
                      <a:lnTo>
                        <a:pt x="1734" y="1233"/>
                      </a:lnTo>
                      <a:lnTo>
                        <a:pt x="1736" y="1235"/>
                      </a:lnTo>
                      <a:lnTo>
                        <a:pt x="1736" y="1237"/>
                      </a:lnTo>
                      <a:lnTo>
                        <a:pt x="1734" y="1237"/>
                      </a:lnTo>
                      <a:lnTo>
                        <a:pt x="1733" y="1238"/>
                      </a:lnTo>
                      <a:lnTo>
                        <a:pt x="1738" y="1238"/>
                      </a:lnTo>
                      <a:lnTo>
                        <a:pt x="1740" y="1237"/>
                      </a:lnTo>
                      <a:lnTo>
                        <a:pt x="1741" y="1237"/>
                      </a:lnTo>
                      <a:lnTo>
                        <a:pt x="1743" y="1235"/>
                      </a:lnTo>
                      <a:lnTo>
                        <a:pt x="1745" y="1235"/>
                      </a:lnTo>
                      <a:lnTo>
                        <a:pt x="1743" y="1237"/>
                      </a:lnTo>
                      <a:lnTo>
                        <a:pt x="1747" y="1235"/>
                      </a:lnTo>
                      <a:lnTo>
                        <a:pt x="1750" y="1231"/>
                      </a:lnTo>
                      <a:lnTo>
                        <a:pt x="1752" y="1231"/>
                      </a:lnTo>
                      <a:lnTo>
                        <a:pt x="1754" y="1231"/>
                      </a:lnTo>
                      <a:lnTo>
                        <a:pt x="1754" y="1230"/>
                      </a:lnTo>
                      <a:lnTo>
                        <a:pt x="1754" y="1230"/>
                      </a:lnTo>
                      <a:lnTo>
                        <a:pt x="1754" y="1231"/>
                      </a:lnTo>
                      <a:lnTo>
                        <a:pt x="1754" y="1233"/>
                      </a:lnTo>
                      <a:lnTo>
                        <a:pt x="1752" y="1235"/>
                      </a:lnTo>
                      <a:lnTo>
                        <a:pt x="1750" y="1235"/>
                      </a:lnTo>
                      <a:lnTo>
                        <a:pt x="1762" y="1233"/>
                      </a:lnTo>
                      <a:lnTo>
                        <a:pt x="1769" y="1231"/>
                      </a:lnTo>
                      <a:lnTo>
                        <a:pt x="1773" y="1233"/>
                      </a:lnTo>
                      <a:lnTo>
                        <a:pt x="1771" y="1233"/>
                      </a:lnTo>
                      <a:lnTo>
                        <a:pt x="1769" y="1233"/>
                      </a:lnTo>
                      <a:lnTo>
                        <a:pt x="1767" y="1233"/>
                      </a:lnTo>
                      <a:lnTo>
                        <a:pt x="1766" y="1233"/>
                      </a:lnTo>
                      <a:lnTo>
                        <a:pt x="1776" y="1238"/>
                      </a:lnTo>
                      <a:lnTo>
                        <a:pt x="1778" y="1238"/>
                      </a:lnTo>
                      <a:lnTo>
                        <a:pt x="1781" y="1238"/>
                      </a:lnTo>
                      <a:lnTo>
                        <a:pt x="1781" y="1237"/>
                      </a:lnTo>
                      <a:lnTo>
                        <a:pt x="1783" y="1237"/>
                      </a:lnTo>
                      <a:lnTo>
                        <a:pt x="1783" y="1237"/>
                      </a:lnTo>
                      <a:lnTo>
                        <a:pt x="1783" y="1238"/>
                      </a:lnTo>
                      <a:lnTo>
                        <a:pt x="1783" y="1238"/>
                      </a:lnTo>
                      <a:lnTo>
                        <a:pt x="1783" y="1240"/>
                      </a:lnTo>
                      <a:lnTo>
                        <a:pt x="1781" y="1240"/>
                      </a:lnTo>
                      <a:lnTo>
                        <a:pt x="1787" y="1244"/>
                      </a:lnTo>
                      <a:lnTo>
                        <a:pt x="1788" y="1247"/>
                      </a:lnTo>
                      <a:lnTo>
                        <a:pt x="1788" y="1249"/>
                      </a:lnTo>
                      <a:lnTo>
                        <a:pt x="1790" y="1251"/>
                      </a:lnTo>
                      <a:lnTo>
                        <a:pt x="1797" y="1249"/>
                      </a:lnTo>
                      <a:lnTo>
                        <a:pt x="1806" y="1247"/>
                      </a:lnTo>
                      <a:lnTo>
                        <a:pt x="1809" y="1245"/>
                      </a:lnTo>
                      <a:lnTo>
                        <a:pt x="1809" y="1244"/>
                      </a:lnTo>
                      <a:lnTo>
                        <a:pt x="1811" y="1244"/>
                      </a:lnTo>
                      <a:lnTo>
                        <a:pt x="1811" y="1242"/>
                      </a:lnTo>
                      <a:lnTo>
                        <a:pt x="1811" y="1242"/>
                      </a:lnTo>
                      <a:lnTo>
                        <a:pt x="1815" y="1240"/>
                      </a:lnTo>
                      <a:lnTo>
                        <a:pt x="1816" y="1240"/>
                      </a:lnTo>
                      <a:lnTo>
                        <a:pt x="1818" y="1242"/>
                      </a:lnTo>
                      <a:lnTo>
                        <a:pt x="1820" y="1242"/>
                      </a:lnTo>
                      <a:lnTo>
                        <a:pt x="1823" y="1245"/>
                      </a:lnTo>
                      <a:lnTo>
                        <a:pt x="1827" y="1249"/>
                      </a:lnTo>
                      <a:lnTo>
                        <a:pt x="1834" y="1256"/>
                      </a:lnTo>
                      <a:lnTo>
                        <a:pt x="1836" y="1259"/>
                      </a:lnTo>
                      <a:lnTo>
                        <a:pt x="1841" y="1261"/>
                      </a:lnTo>
                      <a:lnTo>
                        <a:pt x="1844" y="1265"/>
                      </a:lnTo>
                      <a:lnTo>
                        <a:pt x="1846" y="1268"/>
                      </a:lnTo>
                      <a:lnTo>
                        <a:pt x="1848" y="1272"/>
                      </a:lnTo>
                      <a:lnTo>
                        <a:pt x="1846" y="1277"/>
                      </a:lnTo>
                      <a:lnTo>
                        <a:pt x="1843" y="1291"/>
                      </a:lnTo>
                      <a:lnTo>
                        <a:pt x="1843" y="1294"/>
                      </a:lnTo>
                      <a:lnTo>
                        <a:pt x="1844" y="1298"/>
                      </a:lnTo>
                      <a:lnTo>
                        <a:pt x="1846" y="1298"/>
                      </a:lnTo>
                      <a:lnTo>
                        <a:pt x="1848" y="1296"/>
                      </a:lnTo>
                      <a:lnTo>
                        <a:pt x="1848" y="1293"/>
                      </a:lnTo>
                      <a:lnTo>
                        <a:pt x="1846" y="1291"/>
                      </a:lnTo>
                      <a:lnTo>
                        <a:pt x="1848" y="1291"/>
                      </a:lnTo>
                      <a:lnTo>
                        <a:pt x="1850" y="1293"/>
                      </a:lnTo>
                      <a:lnTo>
                        <a:pt x="1851" y="1294"/>
                      </a:lnTo>
                      <a:lnTo>
                        <a:pt x="1851" y="1294"/>
                      </a:lnTo>
                      <a:lnTo>
                        <a:pt x="1851" y="1296"/>
                      </a:lnTo>
                      <a:lnTo>
                        <a:pt x="1850" y="1300"/>
                      </a:lnTo>
                      <a:lnTo>
                        <a:pt x="1848" y="1301"/>
                      </a:lnTo>
                      <a:lnTo>
                        <a:pt x="1846" y="1303"/>
                      </a:lnTo>
                      <a:lnTo>
                        <a:pt x="1848" y="1305"/>
                      </a:lnTo>
                      <a:lnTo>
                        <a:pt x="1851" y="1314"/>
                      </a:lnTo>
                      <a:lnTo>
                        <a:pt x="1853" y="1315"/>
                      </a:lnTo>
                      <a:lnTo>
                        <a:pt x="1855" y="1317"/>
                      </a:lnTo>
                      <a:lnTo>
                        <a:pt x="1857" y="1317"/>
                      </a:lnTo>
                      <a:lnTo>
                        <a:pt x="1858" y="1315"/>
                      </a:lnTo>
                      <a:lnTo>
                        <a:pt x="1860" y="1315"/>
                      </a:lnTo>
                      <a:lnTo>
                        <a:pt x="1860" y="1317"/>
                      </a:lnTo>
                      <a:lnTo>
                        <a:pt x="1858" y="1321"/>
                      </a:lnTo>
                      <a:lnTo>
                        <a:pt x="1858" y="1324"/>
                      </a:lnTo>
                      <a:lnTo>
                        <a:pt x="1860" y="1326"/>
                      </a:lnTo>
                      <a:lnTo>
                        <a:pt x="1862" y="1326"/>
                      </a:lnTo>
                      <a:lnTo>
                        <a:pt x="1862" y="1324"/>
                      </a:lnTo>
                      <a:lnTo>
                        <a:pt x="1864" y="1322"/>
                      </a:lnTo>
                      <a:lnTo>
                        <a:pt x="1864" y="1322"/>
                      </a:lnTo>
                      <a:lnTo>
                        <a:pt x="1864" y="1324"/>
                      </a:lnTo>
                      <a:lnTo>
                        <a:pt x="1862" y="1326"/>
                      </a:lnTo>
                      <a:lnTo>
                        <a:pt x="1864" y="1329"/>
                      </a:lnTo>
                      <a:lnTo>
                        <a:pt x="1865" y="1336"/>
                      </a:lnTo>
                      <a:lnTo>
                        <a:pt x="1867" y="1338"/>
                      </a:lnTo>
                      <a:lnTo>
                        <a:pt x="1871" y="1341"/>
                      </a:lnTo>
                      <a:lnTo>
                        <a:pt x="1872" y="1343"/>
                      </a:lnTo>
                      <a:lnTo>
                        <a:pt x="1874" y="1343"/>
                      </a:lnTo>
                      <a:lnTo>
                        <a:pt x="1876" y="1345"/>
                      </a:lnTo>
                      <a:lnTo>
                        <a:pt x="1878" y="1348"/>
                      </a:lnTo>
                      <a:lnTo>
                        <a:pt x="1883" y="1355"/>
                      </a:lnTo>
                      <a:lnTo>
                        <a:pt x="1883" y="1357"/>
                      </a:lnTo>
                      <a:lnTo>
                        <a:pt x="1881" y="1355"/>
                      </a:lnTo>
                      <a:lnTo>
                        <a:pt x="1879" y="1355"/>
                      </a:lnTo>
                      <a:lnTo>
                        <a:pt x="1879" y="1355"/>
                      </a:lnTo>
                      <a:lnTo>
                        <a:pt x="1879" y="1357"/>
                      </a:lnTo>
                      <a:lnTo>
                        <a:pt x="1881" y="1359"/>
                      </a:lnTo>
                      <a:lnTo>
                        <a:pt x="1883" y="1359"/>
                      </a:lnTo>
                      <a:lnTo>
                        <a:pt x="1886" y="1359"/>
                      </a:lnTo>
                      <a:lnTo>
                        <a:pt x="1888" y="1357"/>
                      </a:lnTo>
                      <a:lnTo>
                        <a:pt x="1893" y="1355"/>
                      </a:lnTo>
                      <a:lnTo>
                        <a:pt x="1897" y="1352"/>
                      </a:lnTo>
                      <a:lnTo>
                        <a:pt x="1898" y="1347"/>
                      </a:lnTo>
                      <a:lnTo>
                        <a:pt x="1900" y="1341"/>
                      </a:lnTo>
                      <a:lnTo>
                        <a:pt x="1900" y="1341"/>
                      </a:lnTo>
                      <a:lnTo>
                        <a:pt x="1902" y="1324"/>
                      </a:lnTo>
                      <a:lnTo>
                        <a:pt x="1902" y="1317"/>
                      </a:lnTo>
                      <a:lnTo>
                        <a:pt x="1898" y="1308"/>
                      </a:lnTo>
                      <a:lnTo>
                        <a:pt x="1890" y="1291"/>
                      </a:lnTo>
                      <a:lnTo>
                        <a:pt x="1888" y="1280"/>
                      </a:lnTo>
                      <a:lnTo>
                        <a:pt x="1886" y="1272"/>
                      </a:lnTo>
                      <a:lnTo>
                        <a:pt x="1888" y="1273"/>
                      </a:lnTo>
                      <a:lnTo>
                        <a:pt x="1888" y="1277"/>
                      </a:lnTo>
                      <a:lnTo>
                        <a:pt x="1888" y="1279"/>
                      </a:lnTo>
                      <a:lnTo>
                        <a:pt x="1888" y="1282"/>
                      </a:lnTo>
                      <a:lnTo>
                        <a:pt x="1890" y="1280"/>
                      </a:lnTo>
                      <a:lnTo>
                        <a:pt x="1890" y="1277"/>
                      </a:lnTo>
                      <a:lnTo>
                        <a:pt x="1890" y="1282"/>
                      </a:lnTo>
                      <a:lnTo>
                        <a:pt x="1890" y="1286"/>
                      </a:lnTo>
                      <a:lnTo>
                        <a:pt x="1891" y="1289"/>
                      </a:lnTo>
                      <a:lnTo>
                        <a:pt x="1893" y="1293"/>
                      </a:lnTo>
                      <a:lnTo>
                        <a:pt x="1893" y="1287"/>
                      </a:lnTo>
                      <a:lnTo>
                        <a:pt x="1891" y="1280"/>
                      </a:lnTo>
                      <a:lnTo>
                        <a:pt x="1891" y="1275"/>
                      </a:lnTo>
                      <a:lnTo>
                        <a:pt x="1888" y="1270"/>
                      </a:lnTo>
                      <a:lnTo>
                        <a:pt x="1879" y="1254"/>
                      </a:lnTo>
                      <a:lnTo>
                        <a:pt x="1876" y="1244"/>
                      </a:lnTo>
                      <a:lnTo>
                        <a:pt x="1872" y="1228"/>
                      </a:lnTo>
                      <a:lnTo>
                        <a:pt x="1871" y="1224"/>
                      </a:lnTo>
                      <a:lnTo>
                        <a:pt x="1872" y="1216"/>
                      </a:lnTo>
                      <a:lnTo>
                        <a:pt x="1874" y="1216"/>
                      </a:lnTo>
                      <a:lnTo>
                        <a:pt x="1876" y="1214"/>
                      </a:lnTo>
                      <a:lnTo>
                        <a:pt x="1876" y="1214"/>
                      </a:lnTo>
                      <a:lnTo>
                        <a:pt x="1874" y="1212"/>
                      </a:lnTo>
                      <a:lnTo>
                        <a:pt x="1876" y="1210"/>
                      </a:lnTo>
                      <a:lnTo>
                        <a:pt x="1876" y="1210"/>
                      </a:lnTo>
                      <a:lnTo>
                        <a:pt x="1878" y="1209"/>
                      </a:lnTo>
                      <a:lnTo>
                        <a:pt x="1878" y="1207"/>
                      </a:lnTo>
                      <a:lnTo>
                        <a:pt x="1876" y="1207"/>
                      </a:lnTo>
                      <a:lnTo>
                        <a:pt x="1878" y="1207"/>
                      </a:lnTo>
                      <a:lnTo>
                        <a:pt x="1878" y="1205"/>
                      </a:lnTo>
                      <a:lnTo>
                        <a:pt x="1878" y="1205"/>
                      </a:lnTo>
                      <a:lnTo>
                        <a:pt x="1878" y="1203"/>
                      </a:lnTo>
                      <a:lnTo>
                        <a:pt x="1879" y="1202"/>
                      </a:lnTo>
                      <a:lnTo>
                        <a:pt x="1879" y="1202"/>
                      </a:lnTo>
                      <a:lnTo>
                        <a:pt x="1881" y="1202"/>
                      </a:lnTo>
                      <a:lnTo>
                        <a:pt x="1879" y="1200"/>
                      </a:lnTo>
                      <a:lnTo>
                        <a:pt x="1883" y="1198"/>
                      </a:lnTo>
                      <a:lnTo>
                        <a:pt x="1884" y="1198"/>
                      </a:lnTo>
                      <a:lnTo>
                        <a:pt x="1884" y="1196"/>
                      </a:lnTo>
                      <a:lnTo>
                        <a:pt x="1886" y="1195"/>
                      </a:lnTo>
                      <a:lnTo>
                        <a:pt x="1886" y="1193"/>
                      </a:lnTo>
                      <a:lnTo>
                        <a:pt x="1888" y="1193"/>
                      </a:lnTo>
                      <a:lnTo>
                        <a:pt x="1888" y="1191"/>
                      </a:lnTo>
                      <a:lnTo>
                        <a:pt x="1888" y="1191"/>
                      </a:lnTo>
                      <a:lnTo>
                        <a:pt x="1888" y="1191"/>
                      </a:lnTo>
                      <a:lnTo>
                        <a:pt x="1888" y="1189"/>
                      </a:lnTo>
                      <a:lnTo>
                        <a:pt x="1886" y="1188"/>
                      </a:lnTo>
                      <a:lnTo>
                        <a:pt x="1886" y="1186"/>
                      </a:lnTo>
                      <a:lnTo>
                        <a:pt x="1886" y="1188"/>
                      </a:lnTo>
                      <a:lnTo>
                        <a:pt x="1888" y="1188"/>
                      </a:lnTo>
                      <a:lnTo>
                        <a:pt x="1888" y="1189"/>
                      </a:lnTo>
                      <a:lnTo>
                        <a:pt x="1888" y="1189"/>
                      </a:lnTo>
                      <a:lnTo>
                        <a:pt x="1890" y="1188"/>
                      </a:lnTo>
                      <a:lnTo>
                        <a:pt x="1890" y="1188"/>
                      </a:lnTo>
                      <a:lnTo>
                        <a:pt x="1891" y="1189"/>
                      </a:lnTo>
                      <a:lnTo>
                        <a:pt x="1893" y="1189"/>
                      </a:lnTo>
                      <a:lnTo>
                        <a:pt x="1893" y="1186"/>
                      </a:lnTo>
                      <a:lnTo>
                        <a:pt x="1890" y="1186"/>
                      </a:lnTo>
                      <a:lnTo>
                        <a:pt x="1900" y="1184"/>
                      </a:lnTo>
                      <a:lnTo>
                        <a:pt x="1904" y="1182"/>
                      </a:lnTo>
                      <a:lnTo>
                        <a:pt x="1905" y="1179"/>
                      </a:lnTo>
                      <a:lnTo>
                        <a:pt x="1907" y="1179"/>
                      </a:lnTo>
                      <a:lnTo>
                        <a:pt x="1911" y="1177"/>
                      </a:lnTo>
                      <a:lnTo>
                        <a:pt x="1914" y="1174"/>
                      </a:lnTo>
                      <a:lnTo>
                        <a:pt x="1916" y="1172"/>
                      </a:lnTo>
                      <a:lnTo>
                        <a:pt x="1918" y="1172"/>
                      </a:lnTo>
                      <a:lnTo>
                        <a:pt x="1918" y="1172"/>
                      </a:lnTo>
                      <a:lnTo>
                        <a:pt x="1919" y="1170"/>
                      </a:lnTo>
                      <a:lnTo>
                        <a:pt x="1919" y="1168"/>
                      </a:lnTo>
                      <a:lnTo>
                        <a:pt x="1919" y="1167"/>
                      </a:lnTo>
                      <a:lnTo>
                        <a:pt x="1919" y="1165"/>
                      </a:lnTo>
                      <a:lnTo>
                        <a:pt x="1919" y="1163"/>
                      </a:lnTo>
                      <a:lnTo>
                        <a:pt x="1919" y="1165"/>
                      </a:lnTo>
                      <a:lnTo>
                        <a:pt x="1919" y="1167"/>
                      </a:lnTo>
                      <a:lnTo>
                        <a:pt x="1921" y="1168"/>
                      </a:lnTo>
                      <a:lnTo>
                        <a:pt x="1923" y="1163"/>
                      </a:lnTo>
                      <a:lnTo>
                        <a:pt x="1925" y="1160"/>
                      </a:lnTo>
                      <a:lnTo>
                        <a:pt x="1930" y="1155"/>
                      </a:lnTo>
                      <a:lnTo>
                        <a:pt x="1933" y="1153"/>
                      </a:lnTo>
                      <a:lnTo>
                        <a:pt x="1939" y="1151"/>
                      </a:lnTo>
                      <a:lnTo>
                        <a:pt x="1942" y="1151"/>
                      </a:lnTo>
                      <a:lnTo>
                        <a:pt x="1946" y="1151"/>
                      </a:lnTo>
                      <a:lnTo>
                        <a:pt x="1947" y="1146"/>
                      </a:lnTo>
                      <a:lnTo>
                        <a:pt x="1947" y="1148"/>
                      </a:lnTo>
                      <a:lnTo>
                        <a:pt x="1947" y="1148"/>
                      </a:lnTo>
                      <a:lnTo>
                        <a:pt x="1947" y="1149"/>
                      </a:lnTo>
                      <a:lnTo>
                        <a:pt x="1947" y="1151"/>
                      </a:lnTo>
                      <a:lnTo>
                        <a:pt x="1949" y="1146"/>
                      </a:lnTo>
                      <a:lnTo>
                        <a:pt x="1953" y="1142"/>
                      </a:lnTo>
                      <a:lnTo>
                        <a:pt x="1956" y="1139"/>
                      </a:lnTo>
                      <a:lnTo>
                        <a:pt x="1960" y="1137"/>
                      </a:lnTo>
                      <a:lnTo>
                        <a:pt x="1960" y="1135"/>
                      </a:lnTo>
                      <a:lnTo>
                        <a:pt x="1958" y="1134"/>
                      </a:lnTo>
                      <a:lnTo>
                        <a:pt x="1958" y="1134"/>
                      </a:lnTo>
                      <a:lnTo>
                        <a:pt x="1960" y="1132"/>
                      </a:lnTo>
                      <a:lnTo>
                        <a:pt x="1960" y="1134"/>
                      </a:lnTo>
                      <a:lnTo>
                        <a:pt x="1960" y="1134"/>
                      </a:lnTo>
                      <a:lnTo>
                        <a:pt x="1961" y="1134"/>
                      </a:lnTo>
                      <a:lnTo>
                        <a:pt x="1963" y="1135"/>
                      </a:lnTo>
                      <a:lnTo>
                        <a:pt x="1963" y="1134"/>
                      </a:lnTo>
                      <a:lnTo>
                        <a:pt x="1965" y="1134"/>
                      </a:lnTo>
                      <a:lnTo>
                        <a:pt x="1965" y="1132"/>
                      </a:lnTo>
                      <a:lnTo>
                        <a:pt x="1967" y="1132"/>
                      </a:lnTo>
                      <a:lnTo>
                        <a:pt x="1968" y="1132"/>
                      </a:lnTo>
                      <a:lnTo>
                        <a:pt x="1970" y="1132"/>
                      </a:lnTo>
                      <a:lnTo>
                        <a:pt x="1974" y="1132"/>
                      </a:lnTo>
                      <a:lnTo>
                        <a:pt x="1975" y="1132"/>
                      </a:lnTo>
                      <a:lnTo>
                        <a:pt x="1979" y="1130"/>
                      </a:lnTo>
                      <a:lnTo>
                        <a:pt x="1981" y="1127"/>
                      </a:lnTo>
                      <a:lnTo>
                        <a:pt x="1977" y="1125"/>
                      </a:lnTo>
                      <a:lnTo>
                        <a:pt x="1974" y="1127"/>
                      </a:lnTo>
                      <a:lnTo>
                        <a:pt x="1970" y="1125"/>
                      </a:lnTo>
                      <a:lnTo>
                        <a:pt x="1967" y="1121"/>
                      </a:lnTo>
                      <a:lnTo>
                        <a:pt x="1970" y="1123"/>
                      </a:lnTo>
                      <a:lnTo>
                        <a:pt x="1972" y="1125"/>
                      </a:lnTo>
                      <a:lnTo>
                        <a:pt x="1975" y="1123"/>
                      </a:lnTo>
                      <a:lnTo>
                        <a:pt x="1977" y="1120"/>
                      </a:lnTo>
                      <a:lnTo>
                        <a:pt x="1977" y="1118"/>
                      </a:lnTo>
                      <a:lnTo>
                        <a:pt x="1975" y="1116"/>
                      </a:lnTo>
                      <a:lnTo>
                        <a:pt x="1974" y="1116"/>
                      </a:lnTo>
                      <a:lnTo>
                        <a:pt x="1968" y="1114"/>
                      </a:lnTo>
                      <a:lnTo>
                        <a:pt x="1967" y="1113"/>
                      </a:lnTo>
                      <a:lnTo>
                        <a:pt x="1968" y="1113"/>
                      </a:lnTo>
                      <a:lnTo>
                        <a:pt x="1970" y="1114"/>
                      </a:lnTo>
                      <a:lnTo>
                        <a:pt x="1974" y="1114"/>
                      </a:lnTo>
                      <a:lnTo>
                        <a:pt x="1975" y="1114"/>
                      </a:lnTo>
                      <a:lnTo>
                        <a:pt x="1975" y="1114"/>
                      </a:lnTo>
                      <a:lnTo>
                        <a:pt x="1975" y="1113"/>
                      </a:lnTo>
                      <a:lnTo>
                        <a:pt x="1977" y="1113"/>
                      </a:lnTo>
                      <a:lnTo>
                        <a:pt x="1977" y="1113"/>
                      </a:lnTo>
                      <a:lnTo>
                        <a:pt x="1977" y="1113"/>
                      </a:lnTo>
                      <a:lnTo>
                        <a:pt x="1977" y="1113"/>
                      </a:lnTo>
                      <a:lnTo>
                        <a:pt x="1977" y="1114"/>
                      </a:lnTo>
                      <a:lnTo>
                        <a:pt x="1979" y="1114"/>
                      </a:lnTo>
                      <a:lnTo>
                        <a:pt x="1981" y="1116"/>
                      </a:lnTo>
                      <a:lnTo>
                        <a:pt x="1982" y="1116"/>
                      </a:lnTo>
                      <a:lnTo>
                        <a:pt x="1984" y="1116"/>
                      </a:lnTo>
                      <a:lnTo>
                        <a:pt x="1986" y="1116"/>
                      </a:lnTo>
                      <a:lnTo>
                        <a:pt x="1988" y="1116"/>
                      </a:lnTo>
                      <a:lnTo>
                        <a:pt x="1989" y="1113"/>
                      </a:lnTo>
                      <a:lnTo>
                        <a:pt x="1993" y="1111"/>
                      </a:lnTo>
                      <a:lnTo>
                        <a:pt x="1995" y="1106"/>
                      </a:lnTo>
                      <a:lnTo>
                        <a:pt x="1995" y="1104"/>
                      </a:lnTo>
                      <a:lnTo>
                        <a:pt x="1991" y="1102"/>
                      </a:lnTo>
                      <a:lnTo>
                        <a:pt x="1989" y="1104"/>
                      </a:lnTo>
                      <a:lnTo>
                        <a:pt x="1989" y="1107"/>
                      </a:lnTo>
                      <a:lnTo>
                        <a:pt x="1988" y="1109"/>
                      </a:lnTo>
                      <a:lnTo>
                        <a:pt x="1988" y="1104"/>
                      </a:lnTo>
                      <a:lnTo>
                        <a:pt x="1988" y="1102"/>
                      </a:lnTo>
                      <a:lnTo>
                        <a:pt x="1986" y="1102"/>
                      </a:lnTo>
                      <a:lnTo>
                        <a:pt x="1977" y="1102"/>
                      </a:lnTo>
                      <a:lnTo>
                        <a:pt x="1975" y="1102"/>
                      </a:lnTo>
                      <a:lnTo>
                        <a:pt x="1974" y="1099"/>
                      </a:lnTo>
                      <a:lnTo>
                        <a:pt x="1974" y="1095"/>
                      </a:lnTo>
                      <a:lnTo>
                        <a:pt x="1975" y="1099"/>
                      </a:lnTo>
                      <a:lnTo>
                        <a:pt x="1977" y="1099"/>
                      </a:lnTo>
                      <a:lnTo>
                        <a:pt x="1981" y="1099"/>
                      </a:lnTo>
                      <a:lnTo>
                        <a:pt x="1984" y="1099"/>
                      </a:lnTo>
                      <a:lnTo>
                        <a:pt x="1984" y="1097"/>
                      </a:lnTo>
                      <a:lnTo>
                        <a:pt x="1984" y="1097"/>
                      </a:lnTo>
                      <a:lnTo>
                        <a:pt x="1986" y="1097"/>
                      </a:lnTo>
                      <a:lnTo>
                        <a:pt x="1986" y="1097"/>
                      </a:lnTo>
                      <a:lnTo>
                        <a:pt x="1986" y="1095"/>
                      </a:lnTo>
                      <a:lnTo>
                        <a:pt x="1986" y="1093"/>
                      </a:lnTo>
                      <a:lnTo>
                        <a:pt x="1989" y="1095"/>
                      </a:lnTo>
                      <a:lnTo>
                        <a:pt x="1991" y="1097"/>
                      </a:lnTo>
                      <a:lnTo>
                        <a:pt x="1993" y="1099"/>
                      </a:lnTo>
                      <a:lnTo>
                        <a:pt x="1991" y="1095"/>
                      </a:lnTo>
                      <a:lnTo>
                        <a:pt x="1991" y="1092"/>
                      </a:lnTo>
                      <a:lnTo>
                        <a:pt x="1989" y="1088"/>
                      </a:lnTo>
                      <a:lnTo>
                        <a:pt x="1989" y="1085"/>
                      </a:lnTo>
                      <a:lnTo>
                        <a:pt x="1993" y="1090"/>
                      </a:lnTo>
                      <a:lnTo>
                        <a:pt x="1996" y="1100"/>
                      </a:lnTo>
                      <a:lnTo>
                        <a:pt x="2000" y="1106"/>
                      </a:lnTo>
                      <a:lnTo>
                        <a:pt x="1995" y="1093"/>
                      </a:lnTo>
                      <a:lnTo>
                        <a:pt x="1991" y="1081"/>
                      </a:lnTo>
                      <a:lnTo>
                        <a:pt x="1989" y="1079"/>
                      </a:lnTo>
                      <a:lnTo>
                        <a:pt x="1986" y="1078"/>
                      </a:lnTo>
                      <a:lnTo>
                        <a:pt x="1984" y="1078"/>
                      </a:lnTo>
                      <a:lnTo>
                        <a:pt x="1982" y="1078"/>
                      </a:lnTo>
                      <a:lnTo>
                        <a:pt x="1981" y="1078"/>
                      </a:lnTo>
                      <a:lnTo>
                        <a:pt x="1979" y="1078"/>
                      </a:lnTo>
                      <a:lnTo>
                        <a:pt x="1977" y="1076"/>
                      </a:lnTo>
                      <a:lnTo>
                        <a:pt x="1975" y="1072"/>
                      </a:lnTo>
                      <a:lnTo>
                        <a:pt x="1975" y="1072"/>
                      </a:lnTo>
                      <a:lnTo>
                        <a:pt x="1972" y="1071"/>
                      </a:lnTo>
                      <a:lnTo>
                        <a:pt x="1965" y="1069"/>
                      </a:lnTo>
                      <a:lnTo>
                        <a:pt x="1963" y="1069"/>
                      </a:lnTo>
                      <a:lnTo>
                        <a:pt x="1968" y="1069"/>
                      </a:lnTo>
                      <a:lnTo>
                        <a:pt x="1972" y="1069"/>
                      </a:lnTo>
                      <a:lnTo>
                        <a:pt x="1974" y="1071"/>
                      </a:lnTo>
                      <a:lnTo>
                        <a:pt x="1977" y="1074"/>
                      </a:lnTo>
                      <a:lnTo>
                        <a:pt x="1979" y="1076"/>
                      </a:lnTo>
                      <a:lnTo>
                        <a:pt x="1981" y="1076"/>
                      </a:lnTo>
                      <a:lnTo>
                        <a:pt x="1982" y="1074"/>
                      </a:lnTo>
                      <a:lnTo>
                        <a:pt x="1979" y="1071"/>
                      </a:lnTo>
                      <a:lnTo>
                        <a:pt x="1975" y="1067"/>
                      </a:lnTo>
                      <a:lnTo>
                        <a:pt x="1974" y="1064"/>
                      </a:lnTo>
                      <a:lnTo>
                        <a:pt x="1975" y="1065"/>
                      </a:lnTo>
                      <a:lnTo>
                        <a:pt x="1977" y="1069"/>
                      </a:lnTo>
                      <a:lnTo>
                        <a:pt x="1981" y="1069"/>
                      </a:lnTo>
                      <a:lnTo>
                        <a:pt x="1981" y="1067"/>
                      </a:lnTo>
                      <a:lnTo>
                        <a:pt x="1981" y="1067"/>
                      </a:lnTo>
                      <a:lnTo>
                        <a:pt x="1982" y="1067"/>
                      </a:lnTo>
                      <a:lnTo>
                        <a:pt x="1984" y="1067"/>
                      </a:lnTo>
                      <a:lnTo>
                        <a:pt x="1984" y="1065"/>
                      </a:lnTo>
                      <a:lnTo>
                        <a:pt x="1984" y="1065"/>
                      </a:lnTo>
                      <a:lnTo>
                        <a:pt x="1982" y="1064"/>
                      </a:lnTo>
                      <a:lnTo>
                        <a:pt x="1981" y="1064"/>
                      </a:lnTo>
                      <a:lnTo>
                        <a:pt x="1982" y="1062"/>
                      </a:lnTo>
                      <a:lnTo>
                        <a:pt x="1977" y="1060"/>
                      </a:lnTo>
                      <a:lnTo>
                        <a:pt x="1974" y="1055"/>
                      </a:lnTo>
                      <a:lnTo>
                        <a:pt x="1965" y="1048"/>
                      </a:lnTo>
                      <a:lnTo>
                        <a:pt x="1968" y="1050"/>
                      </a:lnTo>
                      <a:lnTo>
                        <a:pt x="1975" y="1057"/>
                      </a:lnTo>
                      <a:lnTo>
                        <a:pt x="1979" y="1060"/>
                      </a:lnTo>
                      <a:lnTo>
                        <a:pt x="1981" y="1060"/>
                      </a:lnTo>
                      <a:lnTo>
                        <a:pt x="1982" y="1058"/>
                      </a:lnTo>
                      <a:lnTo>
                        <a:pt x="1982" y="1058"/>
                      </a:lnTo>
                      <a:lnTo>
                        <a:pt x="1982" y="1057"/>
                      </a:lnTo>
                      <a:lnTo>
                        <a:pt x="1982" y="1053"/>
                      </a:lnTo>
                      <a:lnTo>
                        <a:pt x="1982" y="1053"/>
                      </a:lnTo>
                      <a:lnTo>
                        <a:pt x="1981" y="1051"/>
                      </a:lnTo>
                      <a:lnTo>
                        <a:pt x="1979" y="1050"/>
                      </a:lnTo>
                      <a:lnTo>
                        <a:pt x="1975" y="1050"/>
                      </a:lnTo>
                      <a:lnTo>
                        <a:pt x="1972" y="1048"/>
                      </a:lnTo>
                      <a:lnTo>
                        <a:pt x="1970" y="1046"/>
                      </a:lnTo>
                      <a:lnTo>
                        <a:pt x="1968" y="1044"/>
                      </a:lnTo>
                      <a:lnTo>
                        <a:pt x="1967" y="1043"/>
                      </a:lnTo>
                      <a:lnTo>
                        <a:pt x="1967" y="1043"/>
                      </a:lnTo>
                      <a:lnTo>
                        <a:pt x="1965" y="1043"/>
                      </a:lnTo>
                      <a:lnTo>
                        <a:pt x="1963" y="1043"/>
                      </a:lnTo>
                      <a:lnTo>
                        <a:pt x="1963" y="1043"/>
                      </a:lnTo>
                      <a:lnTo>
                        <a:pt x="1961" y="1039"/>
                      </a:lnTo>
                      <a:lnTo>
                        <a:pt x="1963" y="1036"/>
                      </a:lnTo>
                      <a:lnTo>
                        <a:pt x="1965" y="1032"/>
                      </a:lnTo>
                      <a:lnTo>
                        <a:pt x="1967" y="1029"/>
                      </a:lnTo>
                      <a:lnTo>
                        <a:pt x="1967" y="1032"/>
                      </a:lnTo>
                      <a:lnTo>
                        <a:pt x="1963" y="1037"/>
                      </a:lnTo>
                      <a:lnTo>
                        <a:pt x="1963" y="1041"/>
                      </a:lnTo>
                      <a:lnTo>
                        <a:pt x="1963" y="1041"/>
                      </a:lnTo>
                      <a:lnTo>
                        <a:pt x="1965" y="1041"/>
                      </a:lnTo>
                      <a:lnTo>
                        <a:pt x="1965" y="1041"/>
                      </a:lnTo>
                      <a:lnTo>
                        <a:pt x="1967" y="1041"/>
                      </a:lnTo>
                      <a:lnTo>
                        <a:pt x="1968" y="1041"/>
                      </a:lnTo>
                      <a:lnTo>
                        <a:pt x="1970" y="1044"/>
                      </a:lnTo>
                      <a:lnTo>
                        <a:pt x="1970" y="1043"/>
                      </a:lnTo>
                      <a:lnTo>
                        <a:pt x="1970" y="1041"/>
                      </a:lnTo>
                      <a:lnTo>
                        <a:pt x="1972" y="1044"/>
                      </a:lnTo>
                      <a:lnTo>
                        <a:pt x="1975" y="1046"/>
                      </a:lnTo>
                      <a:lnTo>
                        <a:pt x="1979" y="1048"/>
                      </a:lnTo>
                      <a:lnTo>
                        <a:pt x="1982" y="1050"/>
                      </a:lnTo>
                      <a:lnTo>
                        <a:pt x="1981" y="1046"/>
                      </a:lnTo>
                      <a:lnTo>
                        <a:pt x="1975" y="1039"/>
                      </a:lnTo>
                      <a:lnTo>
                        <a:pt x="1975" y="1036"/>
                      </a:lnTo>
                      <a:lnTo>
                        <a:pt x="1975" y="1037"/>
                      </a:lnTo>
                      <a:lnTo>
                        <a:pt x="1977" y="1041"/>
                      </a:lnTo>
                      <a:lnTo>
                        <a:pt x="1979" y="1041"/>
                      </a:lnTo>
                      <a:lnTo>
                        <a:pt x="1981" y="1043"/>
                      </a:lnTo>
                      <a:lnTo>
                        <a:pt x="1979" y="1037"/>
                      </a:lnTo>
                      <a:lnTo>
                        <a:pt x="1977" y="1036"/>
                      </a:lnTo>
                      <a:lnTo>
                        <a:pt x="1977" y="1032"/>
                      </a:lnTo>
                      <a:lnTo>
                        <a:pt x="1979" y="1029"/>
                      </a:lnTo>
                      <a:lnTo>
                        <a:pt x="1979" y="1027"/>
                      </a:lnTo>
                      <a:lnTo>
                        <a:pt x="1977" y="1025"/>
                      </a:lnTo>
                      <a:lnTo>
                        <a:pt x="1979" y="1025"/>
                      </a:lnTo>
                      <a:lnTo>
                        <a:pt x="1979" y="1023"/>
                      </a:lnTo>
                      <a:lnTo>
                        <a:pt x="1977" y="1020"/>
                      </a:lnTo>
                      <a:lnTo>
                        <a:pt x="1979" y="1020"/>
                      </a:lnTo>
                      <a:lnTo>
                        <a:pt x="1981" y="1020"/>
                      </a:lnTo>
                      <a:lnTo>
                        <a:pt x="1982" y="1016"/>
                      </a:lnTo>
                      <a:lnTo>
                        <a:pt x="1982" y="1018"/>
                      </a:lnTo>
                      <a:lnTo>
                        <a:pt x="1984" y="1016"/>
                      </a:lnTo>
                      <a:lnTo>
                        <a:pt x="1984" y="1016"/>
                      </a:lnTo>
                      <a:lnTo>
                        <a:pt x="1984" y="1015"/>
                      </a:lnTo>
                      <a:lnTo>
                        <a:pt x="1984" y="1016"/>
                      </a:lnTo>
                      <a:lnTo>
                        <a:pt x="1984" y="1016"/>
                      </a:lnTo>
                      <a:lnTo>
                        <a:pt x="1986" y="1015"/>
                      </a:lnTo>
                      <a:lnTo>
                        <a:pt x="1988" y="1011"/>
                      </a:lnTo>
                      <a:lnTo>
                        <a:pt x="1989" y="1011"/>
                      </a:lnTo>
                      <a:lnTo>
                        <a:pt x="1989" y="1013"/>
                      </a:lnTo>
                      <a:lnTo>
                        <a:pt x="1991" y="1013"/>
                      </a:lnTo>
                      <a:lnTo>
                        <a:pt x="1991" y="1013"/>
                      </a:lnTo>
                      <a:lnTo>
                        <a:pt x="1989" y="1015"/>
                      </a:lnTo>
                      <a:lnTo>
                        <a:pt x="1989" y="1016"/>
                      </a:lnTo>
                      <a:lnTo>
                        <a:pt x="1989" y="1016"/>
                      </a:lnTo>
                      <a:lnTo>
                        <a:pt x="1991" y="1016"/>
                      </a:lnTo>
                      <a:lnTo>
                        <a:pt x="1991" y="1016"/>
                      </a:lnTo>
                      <a:lnTo>
                        <a:pt x="1988" y="1016"/>
                      </a:lnTo>
                      <a:lnTo>
                        <a:pt x="1986" y="1018"/>
                      </a:lnTo>
                      <a:lnTo>
                        <a:pt x="1984" y="1022"/>
                      </a:lnTo>
                      <a:lnTo>
                        <a:pt x="1984" y="1025"/>
                      </a:lnTo>
                      <a:lnTo>
                        <a:pt x="1986" y="1023"/>
                      </a:lnTo>
                      <a:lnTo>
                        <a:pt x="1986" y="1025"/>
                      </a:lnTo>
                      <a:lnTo>
                        <a:pt x="1982" y="1027"/>
                      </a:lnTo>
                      <a:lnTo>
                        <a:pt x="1982" y="1029"/>
                      </a:lnTo>
                      <a:lnTo>
                        <a:pt x="1984" y="1029"/>
                      </a:lnTo>
                      <a:lnTo>
                        <a:pt x="1984" y="1029"/>
                      </a:lnTo>
                      <a:lnTo>
                        <a:pt x="1984" y="1029"/>
                      </a:lnTo>
                      <a:lnTo>
                        <a:pt x="1986" y="1030"/>
                      </a:lnTo>
                      <a:lnTo>
                        <a:pt x="1984" y="1030"/>
                      </a:lnTo>
                      <a:lnTo>
                        <a:pt x="1984" y="1030"/>
                      </a:lnTo>
                      <a:lnTo>
                        <a:pt x="1982" y="1032"/>
                      </a:lnTo>
                      <a:lnTo>
                        <a:pt x="1982" y="1034"/>
                      </a:lnTo>
                      <a:lnTo>
                        <a:pt x="1984" y="1032"/>
                      </a:lnTo>
                      <a:lnTo>
                        <a:pt x="1986" y="1034"/>
                      </a:lnTo>
                      <a:lnTo>
                        <a:pt x="1989" y="1036"/>
                      </a:lnTo>
                      <a:lnTo>
                        <a:pt x="1984" y="1037"/>
                      </a:lnTo>
                      <a:lnTo>
                        <a:pt x="1984" y="1041"/>
                      </a:lnTo>
                      <a:lnTo>
                        <a:pt x="1986" y="1043"/>
                      </a:lnTo>
                      <a:lnTo>
                        <a:pt x="1989" y="1043"/>
                      </a:lnTo>
                      <a:lnTo>
                        <a:pt x="1989" y="1044"/>
                      </a:lnTo>
                      <a:lnTo>
                        <a:pt x="1991" y="1044"/>
                      </a:lnTo>
                      <a:lnTo>
                        <a:pt x="1993" y="1043"/>
                      </a:lnTo>
                      <a:lnTo>
                        <a:pt x="1993" y="1044"/>
                      </a:lnTo>
                      <a:lnTo>
                        <a:pt x="1991" y="1044"/>
                      </a:lnTo>
                      <a:lnTo>
                        <a:pt x="1991" y="1046"/>
                      </a:lnTo>
                      <a:lnTo>
                        <a:pt x="1991" y="1048"/>
                      </a:lnTo>
                      <a:lnTo>
                        <a:pt x="1993" y="1048"/>
                      </a:lnTo>
                      <a:lnTo>
                        <a:pt x="1993" y="1050"/>
                      </a:lnTo>
                      <a:lnTo>
                        <a:pt x="1993" y="1050"/>
                      </a:lnTo>
                      <a:lnTo>
                        <a:pt x="1993" y="1051"/>
                      </a:lnTo>
                      <a:lnTo>
                        <a:pt x="1993" y="1051"/>
                      </a:lnTo>
                      <a:lnTo>
                        <a:pt x="1996" y="1053"/>
                      </a:lnTo>
                      <a:lnTo>
                        <a:pt x="1995" y="1057"/>
                      </a:lnTo>
                      <a:lnTo>
                        <a:pt x="1991" y="1062"/>
                      </a:lnTo>
                      <a:lnTo>
                        <a:pt x="1989" y="1067"/>
                      </a:lnTo>
                      <a:lnTo>
                        <a:pt x="1991" y="1072"/>
                      </a:lnTo>
                      <a:lnTo>
                        <a:pt x="1995" y="1065"/>
                      </a:lnTo>
                      <a:lnTo>
                        <a:pt x="1996" y="1064"/>
                      </a:lnTo>
                      <a:lnTo>
                        <a:pt x="1996" y="1064"/>
                      </a:lnTo>
                      <a:lnTo>
                        <a:pt x="1998" y="1062"/>
                      </a:lnTo>
                      <a:lnTo>
                        <a:pt x="1998" y="1062"/>
                      </a:lnTo>
                      <a:lnTo>
                        <a:pt x="1998" y="1062"/>
                      </a:lnTo>
                      <a:lnTo>
                        <a:pt x="2000" y="1057"/>
                      </a:lnTo>
                      <a:lnTo>
                        <a:pt x="2001" y="1053"/>
                      </a:lnTo>
                      <a:lnTo>
                        <a:pt x="2008" y="1041"/>
                      </a:lnTo>
                      <a:lnTo>
                        <a:pt x="2008" y="1041"/>
                      </a:lnTo>
                      <a:lnTo>
                        <a:pt x="2008" y="1043"/>
                      </a:lnTo>
                      <a:lnTo>
                        <a:pt x="2008" y="1043"/>
                      </a:lnTo>
                      <a:lnTo>
                        <a:pt x="2010" y="1041"/>
                      </a:lnTo>
                      <a:lnTo>
                        <a:pt x="2010" y="1039"/>
                      </a:lnTo>
                      <a:lnTo>
                        <a:pt x="2008" y="1037"/>
                      </a:lnTo>
                      <a:lnTo>
                        <a:pt x="2007" y="1037"/>
                      </a:lnTo>
                      <a:lnTo>
                        <a:pt x="2008" y="1034"/>
                      </a:lnTo>
                      <a:lnTo>
                        <a:pt x="2008" y="1032"/>
                      </a:lnTo>
                      <a:lnTo>
                        <a:pt x="2005" y="1027"/>
                      </a:lnTo>
                      <a:lnTo>
                        <a:pt x="2003" y="1027"/>
                      </a:lnTo>
                      <a:lnTo>
                        <a:pt x="1998" y="1013"/>
                      </a:lnTo>
                      <a:lnTo>
                        <a:pt x="1998" y="1011"/>
                      </a:lnTo>
                      <a:lnTo>
                        <a:pt x="1998" y="1009"/>
                      </a:lnTo>
                      <a:lnTo>
                        <a:pt x="2000" y="1008"/>
                      </a:lnTo>
                      <a:lnTo>
                        <a:pt x="2001" y="1006"/>
                      </a:lnTo>
                      <a:lnTo>
                        <a:pt x="2007" y="1003"/>
                      </a:lnTo>
                      <a:lnTo>
                        <a:pt x="2008" y="1001"/>
                      </a:lnTo>
                      <a:lnTo>
                        <a:pt x="2007" y="1004"/>
                      </a:lnTo>
                      <a:lnTo>
                        <a:pt x="2001" y="1006"/>
                      </a:lnTo>
                      <a:lnTo>
                        <a:pt x="2000" y="1009"/>
                      </a:lnTo>
                      <a:lnTo>
                        <a:pt x="2000" y="1015"/>
                      </a:lnTo>
                      <a:lnTo>
                        <a:pt x="2003" y="1018"/>
                      </a:lnTo>
                      <a:lnTo>
                        <a:pt x="2008" y="1020"/>
                      </a:lnTo>
                      <a:lnTo>
                        <a:pt x="2012" y="1022"/>
                      </a:lnTo>
                      <a:lnTo>
                        <a:pt x="2012" y="1027"/>
                      </a:lnTo>
                      <a:lnTo>
                        <a:pt x="2014" y="1027"/>
                      </a:lnTo>
                      <a:lnTo>
                        <a:pt x="2015" y="1023"/>
                      </a:lnTo>
                      <a:lnTo>
                        <a:pt x="2017" y="1022"/>
                      </a:lnTo>
                      <a:lnTo>
                        <a:pt x="2019" y="1018"/>
                      </a:lnTo>
                      <a:lnTo>
                        <a:pt x="2021" y="1016"/>
                      </a:lnTo>
                      <a:lnTo>
                        <a:pt x="2022" y="1016"/>
                      </a:lnTo>
                      <a:lnTo>
                        <a:pt x="2022" y="1015"/>
                      </a:lnTo>
                      <a:lnTo>
                        <a:pt x="2022" y="1011"/>
                      </a:lnTo>
                      <a:lnTo>
                        <a:pt x="2026" y="1011"/>
                      </a:lnTo>
                      <a:lnTo>
                        <a:pt x="2028" y="1008"/>
                      </a:lnTo>
                      <a:lnTo>
                        <a:pt x="2029" y="1004"/>
                      </a:lnTo>
                      <a:lnTo>
                        <a:pt x="2031" y="1001"/>
                      </a:lnTo>
                      <a:lnTo>
                        <a:pt x="2029" y="1003"/>
                      </a:lnTo>
                      <a:lnTo>
                        <a:pt x="2029" y="1006"/>
                      </a:lnTo>
                      <a:lnTo>
                        <a:pt x="2033" y="997"/>
                      </a:lnTo>
                      <a:lnTo>
                        <a:pt x="2033" y="992"/>
                      </a:lnTo>
                      <a:lnTo>
                        <a:pt x="2031" y="989"/>
                      </a:lnTo>
                      <a:lnTo>
                        <a:pt x="2028" y="989"/>
                      </a:lnTo>
                      <a:lnTo>
                        <a:pt x="2026" y="989"/>
                      </a:lnTo>
                      <a:lnTo>
                        <a:pt x="2026" y="985"/>
                      </a:lnTo>
                      <a:lnTo>
                        <a:pt x="2031" y="980"/>
                      </a:lnTo>
                      <a:lnTo>
                        <a:pt x="2033" y="976"/>
                      </a:lnTo>
                      <a:lnTo>
                        <a:pt x="2033" y="971"/>
                      </a:lnTo>
                      <a:lnTo>
                        <a:pt x="2033" y="968"/>
                      </a:lnTo>
                      <a:lnTo>
                        <a:pt x="2035" y="971"/>
                      </a:lnTo>
                      <a:lnTo>
                        <a:pt x="2035" y="975"/>
                      </a:lnTo>
                      <a:lnTo>
                        <a:pt x="2033" y="978"/>
                      </a:lnTo>
                      <a:lnTo>
                        <a:pt x="2031" y="982"/>
                      </a:lnTo>
                      <a:lnTo>
                        <a:pt x="2038" y="976"/>
                      </a:lnTo>
                      <a:lnTo>
                        <a:pt x="2045" y="971"/>
                      </a:lnTo>
                      <a:lnTo>
                        <a:pt x="2052" y="969"/>
                      </a:lnTo>
                      <a:lnTo>
                        <a:pt x="2080" y="966"/>
                      </a:lnTo>
                      <a:lnTo>
                        <a:pt x="2084" y="964"/>
                      </a:lnTo>
                      <a:lnTo>
                        <a:pt x="2085" y="964"/>
                      </a:lnTo>
                      <a:lnTo>
                        <a:pt x="2087" y="962"/>
                      </a:lnTo>
                      <a:lnTo>
                        <a:pt x="2087" y="961"/>
                      </a:lnTo>
                      <a:lnTo>
                        <a:pt x="2087" y="957"/>
                      </a:lnTo>
                      <a:lnTo>
                        <a:pt x="2087" y="955"/>
                      </a:lnTo>
                      <a:lnTo>
                        <a:pt x="2087" y="954"/>
                      </a:lnTo>
                      <a:lnTo>
                        <a:pt x="2089" y="955"/>
                      </a:lnTo>
                      <a:lnTo>
                        <a:pt x="2091" y="957"/>
                      </a:lnTo>
                      <a:lnTo>
                        <a:pt x="2091" y="955"/>
                      </a:lnTo>
                      <a:lnTo>
                        <a:pt x="2092" y="955"/>
                      </a:lnTo>
                      <a:lnTo>
                        <a:pt x="2092" y="955"/>
                      </a:lnTo>
                      <a:lnTo>
                        <a:pt x="2092" y="957"/>
                      </a:lnTo>
                      <a:lnTo>
                        <a:pt x="2092" y="959"/>
                      </a:lnTo>
                      <a:lnTo>
                        <a:pt x="2092" y="961"/>
                      </a:lnTo>
                      <a:lnTo>
                        <a:pt x="2092" y="961"/>
                      </a:lnTo>
                      <a:lnTo>
                        <a:pt x="2103" y="955"/>
                      </a:lnTo>
                      <a:lnTo>
                        <a:pt x="2103" y="955"/>
                      </a:lnTo>
                      <a:lnTo>
                        <a:pt x="2103" y="957"/>
                      </a:lnTo>
                      <a:lnTo>
                        <a:pt x="2103" y="961"/>
                      </a:lnTo>
                      <a:lnTo>
                        <a:pt x="2117" y="957"/>
                      </a:lnTo>
                      <a:lnTo>
                        <a:pt x="2118" y="955"/>
                      </a:lnTo>
                      <a:lnTo>
                        <a:pt x="2118" y="952"/>
                      </a:lnTo>
                      <a:lnTo>
                        <a:pt x="2118" y="948"/>
                      </a:lnTo>
                      <a:lnTo>
                        <a:pt x="2115" y="947"/>
                      </a:lnTo>
                      <a:lnTo>
                        <a:pt x="2112" y="945"/>
                      </a:lnTo>
                      <a:lnTo>
                        <a:pt x="2113" y="947"/>
                      </a:lnTo>
                      <a:lnTo>
                        <a:pt x="2115" y="947"/>
                      </a:lnTo>
                      <a:lnTo>
                        <a:pt x="2117" y="948"/>
                      </a:lnTo>
                      <a:lnTo>
                        <a:pt x="2117" y="950"/>
                      </a:lnTo>
                      <a:lnTo>
                        <a:pt x="2117" y="952"/>
                      </a:lnTo>
                      <a:lnTo>
                        <a:pt x="2115" y="954"/>
                      </a:lnTo>
                      <a:lnTo>
                        <a:pt x="2112" y="955"/>
                      </a:lnTo>
                      <a:lnTo>
                        <a:pt x="2110" y="954"/>
                      </a:lnTo>
                      <a:lnTo>
                        <a:pt x="2106" y="954"/>
                      </a:lnTo>
                      <a:lnTo>
                        <a:pt x="2106" y="952"/>
                      </a:lnTo>
                      <a:lnTo>
                        <a:pt x="2105" y="950"/>
                      </a:lnTo>
                      <a:lnTo>
                        <a:pt x="2105" y="947"/>
                      </a:lnTo>
                      <a:lnTo>
                        <a:pt x="2101" y="943"/>
                      </a:lnTo>
                      <a:lnTo>
                        <a:pt x="2099" y="941"/>
                      </a:lnTo>
                      <a:lnTo>
                        <a:pt x="2098" y="941"/>
                      </a:lnTo>
                      <a:lnTo>
                        <a:pt x="2094" y="940"/>
                      </a:lnTo>
                      <a:lnTo>
                        <a:pt x="2096" y="938"/>
                      </a:lnTo>
                      <a:lnTo>
                        <a:pt x="2098" y="934"/>
                      </a:lnTo>
                      <a:lnTo>
                        <a:pt x="2099" y="933"/>
                      </a:lnTo>
                      <a:lnTo>
                        <a:pt x="2103" y="931"/>
                      </a:lnTo>
                      <a:lnTo>
                        <a:pt x="2105" y="931"/>
                      </a:lnTo>
                      <a:lnTo>
                        <a:pt x="2103" y="929"/>
                      </a:lnTo>
                      <a:lnTo>
                        <a:pt x="2101" y="927"/>
                      </a:lnTo>
                      <a:lnTo>
                        <a:pt x="2099" y="926"/>
                      </a:lnTo>
                      <a:lnTo>
                        <a:pt x="2099" y="922"/>
                      </a:lnTo>
                      <a:lnTo>
                        <a:pt x="2101" y="919"/>
                      </a:lnTo>
                      <a:lnTo>
                        <a:pt x="2105" y="913"/>
                      </a:lnTo>
                      <a:lnTo>
                        <a:pt x="2110" y="908"/>
                      </a:lnTo>
                      <a:lnTo>
                        <a:pt x="2112" y="905"/>
                      </a:lnTo>
                      <a:lnTo>
                        <a:pt x="2112" y="903"/>
                      </a:lnTo>
                      <a:lnTo>
                        <a:pt x="2113" y="901"/>
                      </a:lnTo>
                      <a:lnTo>
                        <a:pt x="2115" y="899"/>
                      </a:lnTo>
                      <a:lnTo>
                        <a:pt x="2117" y="898"/>
                      </a:lnTo>
                      <a:lnTo>
                        <a:pt x="2118" y="898"/>
                      </a:lnTo>
                      <a:lnTo>
                        <a:pt x="2118" y="898"/>
                      </a:lnTo>
                      <a:lnTo>
                        <a:pt x="2118" y="899"/>
                      </a:lnTo>
                      <a:lnTo>
                        <a:pt x="2118" y="899"/>
                      </a:lnTo>
                      <a:lnTo>
                        <a:pt x="2120" y="899"/>
                      </a:lnTo>
                      <a:lnTo>
                        <a:pt x="2120" y="899"/>
                      </a:lnTo>
                      <a:lnTo>
                        <a:pt x="2122" y="899"/>
                      </a:lnTo>
                      <a:lnTo>
                        <a:pt x="2122" y="898"/>
                      </a:lnTo>
                      <a:lnTo>
                        <a:pt x="2122" y="896"/>
                      </a:lnTo>
                      <a:lnTo>
                        <a:pt x="2122" y="896"/>
                      </a:lnTo>
                      <a:lnTo>
                        <a:pt x="2124" y="898"/>
                      </a:lnTo>
                      <a:lnTo>
                        <a:pt x="2124" y="896"/>
                      </a:lnTo>
                      <a:lnTo>
                        <a:pt x="2124" y="896"/>
                      </a:lnTo>
                      <a:lnTo>
                        <a:pt x="2125" y="894"/>
                      </a:lnTo>
                      <a:lnTo>
                        <a:pt x="2125" y="896"/>
                      </a:lnTo>
                      <a:lnTo>
                        <a:pt x="2125" y="898"/>
                      </a:lnTo>
                      <a:lnTo>
                        <a:pt x="2125" y="896"/>
                      </a:lnTo>
                      <a:lnTo>
                        <a:pt x="2127" y="894"/>
                      </a:lnTo>
                      <a:lnTo>
                        <a:pt x="2127" y="894"/>
                      </a:lnTo>
                      <a:lnTo>
                        <a:pt x="2127" y="894"/>
                      </a:lnTo>
                      <a:lnTo>
                        <a:pt x="2127" y="896"/>
                      </a:lnTo>
                      <a:lnTo>
                        <a:pt x="2127" y="896"/>
                      </a:lnTo>
                      <a:lnTo>
                        <a:pt x="2131" y="894"/>
                      </a:lnTo>
                      <a:lnTo>
                        <a:pt x="2132" y="894"/>
                      </a:lnTo>
                      <a:lnTo>
                        <a:pt x="2136" y="892"/>
                      </a:lnTo>
                      <a:lnTo>
                        <a:pt x="2138" y="889"/>
                      </a:lnTo>
                      <a:lnTo>
                        <a:pt x="2138" y="887"/>
                      </a:lnTo>
                      <a:lnTo>
                        <a:pt x="2139" y="884"/>
                      </a:lnTo>
                      <a:lnTo>
                        <a:pt x="2139" y="882"/>
                      </a:lnTo>
                      <a:lnTo>
                        <a:pt x="2139" y="880"/>
                      </a:lnTo>
                      <a:lnTo>
                        <a:pt x="2143" y="878"/>
                      </a:lnTo>
                      <a:lnTo>
                        <a:pt x="2143" y="878"/>
                      </a:lnTo>
                      <a:lnTo>
                        <a:pt x="2143" y="878"/>
                      </a:lnTo>
                      <a:lnTo>
                        <a:pt x="2143" y="880"/>
                      </a:lnTo>
                      <a:lnTo>
                        <a:pt x="2143" y="880"/>
                      </a:lnTo>
                      <a:lnTo>
                        <a:pt x="2143" y="880"/>
                      </a:lnTo>
                      <a:lnTo>
                        <a:pt x="2145" y="882"/>
                      </a:lnTo>
                      <a:lnTo>
                        <a:pt x="2145" y="882"/>
                      </a:lnTo>
                      <a:lnTo>
                        <a:pt x="2145" y="882"/>
                      </a:lnTo>
                      <a:lnTo>
                        <a:pt x="2143" y="882"/>
                      </a:lnTo>
                      <a:lnTo>
                        <a:pt x="2143" y="884"/>
                      </a:lnTo>
                      <a:lnTo>
                        <a:pt x="2143" y="884"/>
                      </a:lnTo>
                      <a:lnTo>
                        <a:pt x="2145" y="884"/>
                      </a:lnTo>
                      <a:lnTo>
                        <a:pt x="2146" y="885"/>
                      </a:lnTo>
                      <a:lnTo>
                        <a:pt x="2148" y="885"/>
                      </a:lnTo>
                      <a:lnTo>
                        <a:pt x="2148" y="887"/>
                      </a:lnTo>
                      <a:lnTo>
                        <a:pt x="2148" y="885"/>
                      </a:lnTo>
                      <a:lnTo>
                        <a:pt x="2150" y="884"/>
                      </a:lnTo>
                      <a:lnTo>
                        <a:pt x="2150" y="882"/>
                      </a:lnTo>
                      <a:lnTo>
                        <a:pt x="2150" y="880"/>
                      </a:lnTo>
                      <a:lnTo>
                        <a:pt x="2152" y="880"/>
                      </a:lnTo>
                      <a:lnTo>
                        <a:pt x="2155" y="880"/>
                      </a:lnTo>
                      <a:lnTo>
                        <a:pt x="2157" y="880"/>
                      </a:lnTo>
                      <a:lnTo>
                        <a:pt x="2159" y="884"/>
                      </a:lnTo>
                      <a:lnTo>
                        <a:pt x="2162" y="878"/>
                      </a:lnTo>
                      <a:lnTo>
                        <a:pt x="2164" y="877"/>
                      </a:lnTo>
                      <a:lnTo>
                        <a:pt x="2166" y="877"/>
                      </a:lnTo>
                      <a:lnTo>
                        <a:pt x="2167" y="878"/>
                      </a:lnTo>
                      <a:lnTo>
                        <a:pt x="2167" y="878"/>
                      </a:lnTo>
                      <a:lnTo>
                        <a:pt x="2169" y="877"/>
                      </a:lnTo>
                      <a:lnTo>
                        <a:pt x="2171" y="875"/>
                      </a:lnTo>
                      <a:lnTo>
                        <a:pt x="2173" y="875"/>
                      </a:lnTo>
                      <a:lnTo>
                        <a:pt x="2174" y="875"/>
                      </a:lnTo>
                      <a:lnTo>
                        <a:pt x="2176" y="875"/>
                      </a:lnTo>
                      <a:lnTo>
                        <a:pt x="2178" y="873"/>
                      </a:lnTo>
                      <a:lnTo>
                        <a:pt x="2180" y="873"/>
                      </a:lnTo>
                      <a:lnTo>
                        <a:pt x="2181" y="871"/>
                      </a:lnTo>
                      <a:lnTo>
                        <a:pt x="2181" y="870"/>
                      </a:lnTo>
                      <a:lnTo>
                        <a:pt x="2181" y="870"/>
                      </a:lnTo>
                      <a:lnTo>
                        <a:pt x="2181" y="870"/>
                      </a:lnTo>
                      <a:close/>
                      <a:moveTo>
                        <a:pt x="1898" y="1301"/>
                      </a:moveTo>
                      <a:lnTo>
                        <a:pt x="1897" y="1298"/>
                      </a:lnTo>
                      <a:lnTo>
                        <a:pt x="1895" y="1294"/>
                      </a:lnTo>
                      <a:lnTo>
                        <a:pt x="1897" y="1301"/>
                      </a:lnTo>
                      <a:lnTo>
                        <a:pt x="1900" y="1310"/>
                      </a:lnTo>
                      <a:lnTo>
                        <a:pt x="1898" y="1305"/>
                      </a:lnTo>
                      <a:lnTo>
                        <a:pt x="1898" y="1301"/>
                      </a:lnTo>
                      <a:close/>
                      <a:moveTo>
                        <a:pt x="1872" y="1223"/>
                      </a:moveTo>
                      <a:lnTo>
                        <a:pt x="1872" y="1224"/>
                      </a:lnTo>
                      <a:lnTo>
                        <a:pt x="1872" y="1226"/>
                      </a:lnTo>
                      <a:lnTo>
                        <a:pt x="1872" y="1221"/>
                      </a:lnTo>
                      <a:lnTo>
                        <a:pt x="1872" y="1223"/>
                      </a:lnTo>
                      <a:lnTo>
                        <a:pt x="1872" y="1223"/>
                      </a:lnTo>
                      <a:close/>
                      <a:moveTo>
                        <a:pt x="994" y="770"/>
                      </a:moveTo>
                      <a:lnTo>
                        <a:pt x="992" y="770"/>
                      </a:lnTo>
                      <a:lnTo>
                        <a:pt x="989" y="774"/>
                      </a:lnTo>
                      <a:lnTo>
                        <a:pt x="990" y="775"/>
                      </a:lnTo>
                      <a:lnTo>
                        <a:pt x="992" y="779"/>
                      </a:lnTo>
                      <a:lnTo>
                        <a:pt x="994" y="781"/>
                      </a:lnTo>
                      <a:lnTo>
                        <a:pt x="996" y="782"/>
                      </a:lnTo>
                      <a:lnTo>
                        <a:pt x="997" y="782"/>
                      </a:lnTo>
                      <a:lnTo>
                        <a:pt x="997" y="781"/>
                      </a:lnTo>
                      <a:lnTo>
                        <a:pt x="994" y="777"/>
                      </a:lnTo>
                      <a:lnTo>
                        <a:pt x="994" y="779"/>
                      </a:lnTo>
                      <a:lnTo>
                        <a:pt x="994" y="777"/>
                      </a:lnTo>
                      <a:lnTo>
                        <a:pt x="994" y="775"/>
                      </a:lnTo>
                      <a:lnTo>
                        <a:pt x="992" y="774"/>
                      </a:lnTo>
                      <a:lnTo>
                        <a:pt x="990" y="774"/>
                      </a:lnTo>
                      <a:lnTo>
                        <a:pt x="994" y="772"/>
                      </a:lnTo>
                      <a:lnTo>
                        <a:pt x="994" y="770"/>
                      </a:lnTo>
                      <a:close/>
                      <a:moveTo>
                        <a:pt x="994" y="789"/>
                      </a:moveTo>
                      <a:lnTo>
                        <a:pt x="994" y="791"/>
                      </a:lnTo>
                      <a:lnTo>
                        <a:pt x="994" y="791"/>
                      </a:lnTo>
                      <a:lnTo>
                        <a:pt x="994" y="793"/>
                      </a:lnTo>
                      <a:lnTo>
                        <a:pt x="994" y="791"/>
                      </a:lnTo>
                      <a:lnTo>
                        <a:pt x="994" y="791"/>
                      </a:lnTo>
                      <a:lnTo>
                        <a:pt x="994" y="789"/>
                      </a:lnTo>
                      <a:lnTo>
                        <a:pt x="994" y="789"/>
                      </a:lnTo>
                      <a:close/>
                      <a:moveTo>
                        <a:pt x="1706" y="1242"/>
                      </a:moveTo>
                      <a:lnTo>
                        <a:pt x="1706" y="1242"/>
                      </a:lnTo>
                      <a:lnTo>
                        <a:pt x="1706" y="1240"/>
                      </a:lnTo>
                      <a:lnTo>
                        <a:pt x="1706" y="1240"/>
                      </a:lnTo>
                      <a:lnTo>
                        <a:pt x="1706" y="1238"/>
                      </a:lnTo>
                      <a:lnTo>
                        <a:pt x="1703" y="1242"/>
                      </a:lnTo>
                      <a:lnTo>
                        <a:pt x="1705" y="1242"/>
                      </a:lnTo>
                      <a:lnTo>
                        <a:pt x="1706" y="1242"/>
                      </a:lnTo>
                      <a:close/>
                      <a:moveTo>
                        <a:pt x="1790" y="1249"/>
                      </a:moveTo>
                      <a:lnTo>
                        <a:pt x="1788" y="1249"/>
                      </a:lnTo>
                      <a:lnTo>
                        <a:pt x="1788" y="1247"/>
                      </a:lnTo>
                      <a:lnTo>
                        <a:pt x="1790" y="1249"/>
                      </a:lnTo>
                      <a:close/>
                      <a:moveTo>
                        <a:pt x="1996" y="1104"/>
                      </a:moveTo>
                      <a:lnTo>
                        <a:pt x="1996" y="1104"/>
                      </a:lnTo>
                      <a:lnTo>
                        <a:pt x="1996" y="1102"/>
                      </a:lnTo>
                      <a:lnTo>
                        <a:pt x="1996" y="1102"/>
                      </a:lnTo>
                      <a:lnTo>
                        <a:pt x="1995" y="1102"/>
                      </a:lnTo>
                      <a:lnTo>
                        <a:pt x="1996" y="1104"/>
                      </a:lnTo>
                      <a:lnTo>
                        <a:pt x="1996" y="1104"/>
                      </a:lnTo>
                      <a:lnTo>
                        <a:pt x="1996" y="1104"/>
                      </a:lnTo>
                      <a:close/>
                      <a:moveTo>
                        <a:pt x="1858" y="1326"/>
                      </a:moveTo>
                      <a:lnTo>
                        <a:pt x="1858" y="1326"/>
                      </a:lnTo>
                      <a:lnTo>
                        <a:pt x="1858" y="1322"/>
                      </a:lnTo>
                      <a:lnTo>
                        <a:pt x="1858" y="1322"/>
                      </a:lnTo>
                      <a:lnTo>
                        <a:pt x="1857" y="1322"/>
                      </a:lnTo>
                      <a:lnTo>
                        <a:pt x="1858" y="1324"/>
                      </a:lnTo>
                      <a:lnTo>
                        <a:pt x="1858" y="1326"/>
                      </a:lnTo>
                      <a:close/>
                      <a:moveTo>
                        <a:pt x="1865" y="1373"/>
                      </a:moveTo>
                      <a:lnTo>
                        <a:pt x="1865" y="1373"/>
                      </a:lnTo>
                      <a:lnTo>
                        <a:pt x="1865" y="1373"/>
                      </a:lnTo>
                      <a:lnTo>
                        <a:pt x="1865" y="1373"/>
                      </a:lnTo>
                      <a:lnTo>
                        <a:pt x="1865" y="1373"/>
                      </a:lnTo>
                      <a:lnTo>
                        <a:pt x="1865" y="1373"/>
                      </a:lnTo>
                      <a:lnTo>
                        <a:pt x="1867" y="1371"/>
                      </a:lnTo>
                      <a:lnTo>
                        <a:pt x="1865" y="1373"/>
                      </a:lnTo>
                      <a:lnTo>
                        <a:pt x="1865" y="1373"/>
                      </a:lnTo>
                      <a:close/>
                      <a:moveTo>
                        <a:pt x="1857" y="1326"/>
                      </a:moveTo>
                      <a:lnTo>
                        <a:pt x="1857" y="1326"/>
                      </a:lnTo>
                      <a:lnTo>
                        <a:pt x="1857" y="1326"/>
                      </a:lnTo>
                      <a:lnTo>
                        <a:pt x="1858" y="1327"/>
                      </a:lnTo>
                      <a:lnTo>
                        <a:pt x="1858" y="1327"/>
                      </a:lnTo>
                      <a:lnTo>
                        <a:pt x="1860" y="1327"/>
                      </a:lnTo>
                      <a:lnTo>
                        <a:pt x="1858" y="1327"/>
                      </a:lnTo>
                      <a:lnTo>
                        <a:pt x="1857" y="1326"/>
                      </a:lnTo>
                      <a:close/>
                      <a:moveTo>
                        <a:pt x="2152" y="882"/>
                      </a:moveTo>
                      <a:lnTo>
                        <a:pt x="2152" y="884"/>
                      </a:lnTo>
                      <a:lnTo>
                        <a:pt x="2153" y="887"/>
                      </a:lnTo>
                      <a:lnTo>
                        <a:pt x="2153" y="885"/>
                      </a:lnTo>
                      <a:lnTo>
                        <a:pt x="2153" y="885"/>
                      </a:lnTo>
                      <a:lnTo>
                        <a:pt x="2155" y="885"/>
                      </a:lnTo>
                      <a:lnTo>
                        <a:pt x="2155" y="884"/>
                      </a:lnTo>
                      <a:lnTo>
                        <a:pt x="2155" y="882"/>
                      </a:lnTo>
                      <a:lnTo>
                        <a:pt x="2152" y="882"/>
                      </a:lnTo>
                      <a:close/>
                      <a:moveTo>
                        <a:pt x="1795" y="1252"/>
                      </a:moveTo>
                      <a:lnTo>
                        <a:pt x="1794" y="1252"/>
                      </a:lnTo>
                      <a:lnTo>
                        <a:pt x="1795" y="1252"/>
                      </a:lnTo>
                      <a:lnTo>
                        <a:pt x="1799" y="1252"/>
                      </a:lnTo>
                      <a:lnTo>
                        <a:pt x="1801" y="1251"/>
                      </a:lnTo>
                      <a:lnTo>
                        <a:pt x="1802" y="1249"/>
                      </a:lnTo>
                      <a:lnTo>
                        <a:pt x="1799" y="1251"/>
                      </a:lnTo>
                      <a:lnTo>
                        <a:pt x="1795" y="1252"/>
                      </a:lnTo>
                      <a:close/>
                      <a:moveTo>
                        <a:pt x="1886" y="1366"/>
                      </a:moveTo>
                      <a:lnTo>
                        <a:pt x="1884" y="1366"/>
                      </a:lnTo>
                      <a:lnTo>
                        <a:pt x="1886" y="1366"/>
                      </a:lnTo>
                      <a:lnTo>
                        <a:pt x="1886" y="1366"/>
                      </a:lnTo>
                      <a:lnTo>
                        <a:pt x="1886" y="1366"/>
                      </a:lnTo>
                      <a:lnTo>
                        <a:pt x="1886" y="1366"/>
                      </a:lnTo>
                      <a:lnTo>
                        <a:pt x="1886" y="1366"/>
                      </a:lnTo>
                      <a:lnTo>
                        <a:pt x="1886" y="1366"/>
                      </a:lnTo>
                      <a:close/>
                      <a:moveTo>
                        <a:pt x="1869" y="1371"/>
                      </a:moveTo>
                      <a:lnTo>
                        <a:pt x="1869" y="1371"/>
                      </a:lnTo>
                      <a:lnTo>
                        <a:pt x="1871" y="1371"/>
                      </a:lnTo>
                      <a:lnTo>
                        <a:pt x="1871" y="1371"/>
                      </a:lnTo>
                      <a:lnTo>
                        <a:pt x="1871" y="1369"/>
                      </a:lnTo>
                      <a:lnTo>
                        <a:pt x="1869" y="1371"/>
                      </a:lnTo>
                      <a:close/>
                      <a:moveTo>
                        <a:pt x="1874" y="1368"/>
                      </a:moveTo>
                      <a:lnTo>
                        <a:pt x="1872" y="1368"/>
                      </a:lnTo>
                      <a:lnTo>
                        <a:pt x="1874" y="1369"/>
                      </a:lnTo>
                      <a:lnTo>
                        <a:pt x="1874" y="1369"/>
                      </a:lnTo>
                      <a:lnTo>
                        <a:pt x="1874" y="1371"/>
                      </a:lnTo>
                      <a:lnTo>
                        <a:pt x="1876" y="1369"/>
                      </a:lnTo>
                      <a:lnTo>
                        <a:pt x="1874" y="1369"/>
                      </a:lnTo>
                      <a:lnTo>
                        <a:pt x="1874" y="1368"/>
                      </a:lnTo>
                      <a:close/>
                      <a:moveTo>
                        <a:pt x="1881" y="1368"/>
                      </a:moveTo>
                      <a:lnTo>
                        <a:pt x="1881" y="1368"/>
                      </a:lnTo>
                      <a:lnTo>
                        <a:pt x="1879" y="1369"/>
                      </a:lnTo>
                      <a:lnTo>
                        <a:pt x="1881" y="1369"/>
                      </a:lnTo>
                      <a:lnTo>
                        <a:pt x="1881" y="1369"/>
                      </a:lnTo>
                      <a:lnTo>
                        <a:pt x="1883" y="1368"/>
                      </a:lnTo>
                      <a:lnTo>
                        <a:pt x="1883" y="1368"/>
                      </a:lnTo>
                      <a:lnTo>
                        <a:pt x="1883" y="1368"/>
                      </a:lnTo>
                      <a:lnTo>
                        <a:pt x="1881" y="1368"/>
                      </a:lnTo>
                      <a:close/>
                      <a:moveTo>
                        <a:pt x="1544" y="1287"/>
                      </a:moveTo>
                      <a:lnTo>
                        <a:pt x="1546" y="1286"/>
                      </a:lnTo>
                      <a:lnTo>
                        <a:pt x="1549" y="1284"/>
                      </a:lnTo>
                      <a:lnTo>
                        <a:pt x="1551" y="1282"/>
                      </a:lnTo>
                      <a:lnTo>
                        <a:pt x="1553" y="1280"/>
                      </a:lnTo>
                      <a:lnTo>
                        <a:pt x="1546" y="1286"/>
                      </a:lnTo>
                      <a:lnTo>
                        <a:pt x="1544" y="1287"/>
                      </a:lnTo>
                      <a:close/>
                      <a:moveTo>
                        <a:pt x="1584" y="1261"/>
                      </a:moveTo>
                      <a:lnTo>
                        <a:pt x="1581" y="1263"/>
                      </a:lnTo>
                      <a:lnTo>
                        <a:pt x="1582" y="1263"/>
                      </a:lnTo>
                      <a:lnTo>
                        <a:pt x="1584" y="1261"/>
                      </a:lnTo>
                      <a:lnTo>
                        <a:pt x="1586" y="1259"/>
                      </a:lnTo>
                      <a:lnTo>
                        <a:pt x="1588" y="1259"/>
                      </a:lnTo>
                      <a:lnTo>
                        <a:pt x="1586" y="1259"/>
                      </a:lnTo>
                      <a:lnTo>
                        <a:pt x="1584" y="1261"/>
                      </a:lnTo>
                      <a:close/>
                      <a:moveTo>
                        <a:pt x="1540" y="1289"/>
                      </a:moveTo>
                      <a:lnTo>
                        <a:pt x="1539" y="1293"/>
                      </a:lnTo>
                      <a:lnTo>
                        <a:pt x="1540" y="1291"/>
                      </a:lnTo>
                      <a:lnTo>
                        <a:pt x="1542" y="1291"/>
                      </a:lnTo>
                      <a:lnTo>
                        <a:pt x="1542" y="1289"/>
                      </a:lnTo>
                      <a:lnTo>
                        <a:pt x="1542" y="1287"/>
                      </a:lnTo>
                      <a:lnTo>
                        <a:pt x="1542" y="1287"/>
                      </a:lnTo>
                      <a:lnTo>
                        <a:pt x="1540" y="1289"/>
                      </a:lnTo>
                      <a:close/>
                      <a:moveTo>
                        <a:pt x="1713" y="1251"/>
                      </a:moveTo>
                      <a:lnTo>
                        <a:pt x="1712" y="1251"/>
                      </a:lnTo>
                      <a:lnTo>
                        <a:pt x="1713" y="1251"/>
                      </a:lnTo>
                      <a:lnTo>
                        <a:pt x="1713" y="1249"/>
                      </a:lnTo>
                      <a:lnTo>
                        <a:pt x="1713" y="1249"/>
                      </a:lnTo>
                      <a:lnTo>
                        <a:pt x="1713" y="1249"/>
                      </a:lnTo>
                      <a:lnTo>
                        <a:pt x="1713" y="1251"/>
                      </a:lnTo>
                      <a:close/>
                      <a:moveTo>
                        <a:pt x="1713" y="1242"/>
                      </a:moveTo>
                      <a:lnTo>
                        <a:pt x="1715" y="1244"/>
                      </a:lnTo>
                      <a:lnTo>
                        <a:pt x="1715" y="1245"/>
                      </a:lnTo>
                      <a:lnTo>
                        <a:pt x="1715" y="1247"/>
                      </a:lnTo>
                      <a:lnTo>
                        <a:pt x="1713" y="1249"/>
                      </a:lnTo>
                      <a:lnTo>
                        <a:pt x="1715" y="1247"/>
                      </a:lnTo>
                      <a:lnTo>
                        <a:pt x="1715" y="1245"/>
                      </a:lnTo>
                      <a:lnTo>
                        <a:pt x="1715" y="1244"/>
                      </a:lnTo>
                      <a:lnTo>
                        <a:pt x="1713" y="1242"/>
                      </a:lnTo>
                      <a:close/>
                      <a:moveTo>
                        <a:pt x="1719" y="1237"/>
                      </a:moveTo>
                      <a:lnTo>
                        <a:pt x="1717" y="1237"/>
                      </a:lnTo>
                      <a:lnTo>
                        <a:pt x="1719" y="1238"/>
                      </a:lnTo>
                      <a:lnTo>
                        <a:pt x="1719" y="1238"/>
                      </a:lnTo>
                      <a:lnTo>
                        <a:pt x="1720" y="1238"/>
                      </a:lnTo>
                      <a:lnTo>
                        <a:pt x="1720" y="1238"/>
                      </a:lnTo>
                      <a:lnTo>
                        <a:pt x="1719" y="1237"/>
                      </a:lnTo>
                      <a:close/>
                      <a:moveTo>
                        <a:pt x="1647" y="1252"/>
                      </a:moveTo>
                      <a:lnTo>
                        <a:pt x="1650" y="1256"/>
                      </a:lnTo>
                      <a:lnTo>
                        <a:pt x="1650" y="1254"/>
                      </a:lnTo>
                      <a:lnTo>
                        <a:pt x="1650" y="1251"/>
                      </a:lnTo>
                      <a:lnTo>
                        <a:pt x="1647" y="1252"/>
                      </a:lnTo>
                      <a:close/>
                      <a:moveTo>
                        <a:pt x="1729" y="1237"/>
                      </a:moveTo>
                      <a:lnTo>
                        <a:pt x="1727" y="1237"/>
                      </a:lnTo>
                      <a:lnTo>
                        <a:pt x="1726" y="1238"/>
                      </a:lnTo>
                      <a:lnTo>
                        <a:pt x="1727" y="1238"/>
                      </a:lnTo>
                      <a:lnTo>
                        <a:pt x="1729" y="1238"/>
                      </a:lnTo>
                      <a:lnTo>
                        <a:pt x="1729" y="1238"/>
                      </a:lnTo>
                      <a:lnTo>
                        <a:pt x="1731" y="1237"/>
                      </a:lnTo>
                      <a:lnTo>
                        <a:pt x="1729" y="1237"/>
                      </a:lnTo>
                      <a:lnTo>
                        <a:pt x="1729" y="1237"/>
                      </a:lnTo>
                      <a:close/>
                      <a:moveTo>
                        <a:pt x="2087" y="959"/>
                      </a:moveTo>
                      <a:lnTo>
                        <a:pt x="2087" y="959"/>
                      </a:lnTo>
                      <a:lnTo>
                        <a:pt x="2087" y="961"/>
                      </a:lnTo>
                      <a:lnTo>
                        <a:pt x="2087" y="961"/>
                      </a:lnTo>
                      <a:lnTo>
                        <a:pt x="2087" y="962"/>
                      </a:lnTo>
                      <a:lnTo>
                        <a:pt x="2087" y="962"/>
                      </a:lnTo>
                      <a:lnTo>
                        <a:pt x="2089" y="961"/>
                      </a:lnTo>
                      <a:lnTo>
                        <a:pt x="2089" y="961"/>
                      </a:lnTo>
                      <a:lnTo>
                        <a:pt x="2089" y="961"/>
                      </a:lnTo>
                      <a:lnTo>
                        <a:pt x="2089" y="961"/>
                      </a:lnTo>
                      <a:lnTo>
                        <a:pt x="2089" y="959"/>
                      </a:lnTo>
                      <a:lnTo>
                        <a:pt x="2087" y="959"/>
                      </a:lnTo>
                      <a:close/>
                      <a:moveTo>
                        <a:pt x="2091" y="959"/>
                      </a:moveTo>
                      <a:lnTo>
                        <a:pt x="2089" y="959"/>
                      </a:lnTo>
                      <a:lnTo>
                        <a:pt x="2089" y="962"/>
                      </a:lnTo>
                      <a:lnTo>
                        <a:pt x="2091" y="962"/>
                      </a:lnTo>
                      <a:lnTo>
                        <a:pt x="2091" y="961"/>
                      </a:lnTo>
                      <a:lnTo>
                        <a:pt x="2091" y="959"/>
                      </a:lnTo>
                      <a:lnTo>
                        <a:pt x="2091" y="957"/>
                      </a:lnTo>
                      <a:lnTo>
                        <a:pt x="2091" y="959"/>
                      </a:lnTo>
                      <a:close/>
                      <a:moveTo>
                        <a:pt x="2071" y="973"/>
                      </a:moveTo>
                      <a:lnTo>
                        <a:pt x="2070" y="973"/>
                      </a:lnTo>
                      <a:lnTo>
                        <a:pt x="2068" y="975"/>
                      </a:lnTo>
                      <a:lnTo>
                        <a:pt x="2066" y="975"/>
                      </a:lnTo>
                      <a:lnTo>
                        <a:pt x="2064" y="976"/>
                      </a:lnTo>
                      <a:lnTo>
                        <a:pt x="2063" y="976"/>
                      </a:lnTo>
                      <a:lnTo>
                        <a:pt x="2064" y="975"/>
                      </a:lnTo>
                      <a:lnTo>
                        <a:pt x="2068" y="971"/>
                      </a:lnTo>
                      <a:lnTo>
                        <a:pt x="2066" y="971"/>
                      </a:lnTo>
                      <a:lnTo>
                        <a:pt x="2063" y="975"/>
                      </a:lnTo>
                      <a:lnTo>
                        <a:pt x="2059" y="975"/>
                      </a:lnTo>
                      <a:lnTo>
                        <a:pt x="2057" y="975"/>
                      </a:lnTo>
                      <a:lnTo>
                        <a:pt x="2043" y="976"/>
                      </a:lnTo>
                      <a:lnTo>
                        <a:pt x="2042" y="976"/>
                      </a:lnTo>
                      <a:lnTo>
                        <a:pt x="2040" y="978"/>
                      </a:lnTo>
                      <a:lnTo>
                        <a:pt x="2036" y="978"/>
                      </a:lnTo>
                      <a:lnTo>
                        <a:pt x="2035" y="980"/>
                      </a:lnTo>
                      <a:lnTo>
                        <a:pt x="2031" y="983"/>
                      </a:lnTo>
                      <a:lnTo>
                        <a:pt x="2031" y="985"/>
                      </a:lnTo>
                      <a:lnTo>
                        <a:pt x="2033" y="985"/>
                      </a:lnTo>
                      <a:lnTo>
                        <a:pt x="2033" y="983"/>
                      </a:lnTo>
                      <a:lnTo>
                        <a:pt x="2035" y="983"/>
                      </a:lnTo>
                      <a:lnTo>
                        <a:pt x="2036" y="983"/>
                      </a:lnTo>
                      <a:lnTo>
                        <a:pt x="2035" y="985"/>
                      </a:lnTo>
                      <a:lnTo>
                        <a:pt x="2035" y="985"/>
                      </a:lnTo>
                      <a:lnTo>
                        <a:pt x="2056" y="982"/>
                      </a:lnTo>
                      <a:lnTo>
                        <a:pt x="2077" y="973"/>
                      </a:lnTo>
                      <a:lnTo>
                        <a:pt x="2075" y="973"/>
                      </a:lnTo>
                      <a:lnTo>
                        <a:pt x="2071" y="973"/>
                      </a:lnTo>
                      <a:close/>
                      <a:moveTo>
                        <a:pt x="2103" y="962"/>
                      </a:moveTo>
                      <a:lnTo>
                        <a:pt x="2099" y="964"/>
                      </a:lnTo>
                      <a:lnTo>
                        <a:pt x="2101" y="966"/>
                      </a:lnTo>
                      <a:lnTo>
                        <a:pt x="2103" y="966"/>
                      </a:lnTo>
                      <a:lnTo>
                        <a:pt x="2106" y="964"/>
                      </a:lnTo>
                      <a:lnTo>
                        <a:pt x="2105" y="962"/>
                      </a:lnTo>
                      <a:lnTo>
                        <a:pt x="2103" y="962"/>
                      </a:lnTo>
                      <a:close/>
                      <a:moveTo>
                        <a:pt x="2146" y="887"/>
                      </a:moveTo>
                      <a:lnTo>
                        <a:pt x="2146" y="887"/>
                      </a:lnTo>
                      <a:lnTo>
                        <a:pt x="2145" y="887"/>
                      </a:lnTo>
                      <a:lnTo>
                        <a:pt x="2145" y="889"/>
                      </a:lnTo>
                      <a:lnTo>
                        <a:pt x="2146" y="889"/>
                      </a:lnTo>
                      <a:lnTo>
                        <a:pt x="2146" y="887"/>
                      </a:lnTo>
                      <a:lnTo>
                        <a:pt x="2146" y="887"/>
                      </a:lnTo>
                      <a:close/>
                      <a:moveTo>
                        <a:pt x="2028" y="1011"/>
                      </a:moveTo>
                      <a:lnTo>
                        <a:pt x="2026" y="1013"/>
                      </a:lnTo>
                      <a:lnTo>
                        <a:pt x="2028" y="1009"/>
                      </a:lnTo>
                      <a:lnTo>
                        <a:pt x="2029" y="1008"/>
                      </a:lnTo>
                      <a:lnTo>
                        <a:pt x="2029" y="1008"/>
                      </a:lnTo>
                      <a:lnTo>
                        <a:pt x="2028" y="1009"/>
                      </a:lnTo>
                      <a:lnTo>
                        <a:pt x="2028" y="1011"/>
                      </a:lnTo>
                      <a:close/>
                      <a:moveTo>
                        <a:pt x="2117" y="966"/>
                      </a:moveTo>
                      <a:lnTo>
                        <a:pt x="2117" y="964"/>
                      </a:lnTo>
                      <a:lnTo>
                        <a:pt x="2117" y="966"/>
                      </a:lnTo>
                      <a:lnTo>
                        <a:pt x="2115" y="966"/>
                      </a:lnTo>
                      <a:lnTo>
                        <a:pt x="2113" y="966"/>
                      </a:lnTo>
                      <a:lnTo>
                        <a:pt x="2112" y="968"/>
                      </a:lnTo>
                      <a:lnTo>
                        <a:pt x="2113" y="968"/>
                      </a:lnTo>
                      <a:lnTo>
                        <a:pt x="2115" y="968"/>
                      </a:lnTo>
                      <a:lnTo>
                        <a:pt x="2117" y="968"/>
                      </a:lnTo>
                      <a:lnTo>
                        <a:pt x="2118" y="968"/>
                      </a:lnTo>
                      <a:lnTo>
                        <a:pt x="2117" y="966"/>
                      </a:lnTo>
                      <a:lnTo>
                        <a:pt x="2117" y="966"/>
                      </a:lnTo>
                      <a:close/>
                      <a:moveTo>
                        <a:pt x="2000" y="1109"/>
                      </a:moveTo>
                      <a:lnTo>
                        <a:pt x="2000" y="1107"/>
                      </a:lnTo>
                      <a:lnTo>
                        <a:pt x="2000" y="1106"/>
                      </a:lnTo>
                      <a:lnTo>
                        <a:pt x="2000" y="1111"/>
                      </a:lnTo>
                      <a:lnTo>
                        <a:pt x="2000" y="1114"/>
                      </a:lnTo>
                      <a:lnTo>
                        <a:pt x="1998" y="1118"/>
                      </a:lnTo>
                      <a:lnTo>
                        <a:pt x="1996" y="1120"/>
                      </a:lnTo>
                      <a:lnTo>
                        <a:pt x="1998" y="1120"/>
                      </a:lnTo>
                      <a:lnTo>
                        <a:pt x="2000" y="1118"/>
                      </a:lnTo>
                      <a:lnTo>
                        <a:pt x="2000" y="1114"/>
                      </a:lnTo>
                      <a:lnTo>
                        <a:pt x="2000" y="1111"/>
                      </a:lnTo>
                      <a:lnTo>
                        <a:pt x="2000" y="1111"/>
                      </a:lnTo>
                      <a:lnTo>
                        <a:pt x="2000" y="1109"/>
                      </a:lnTo>
                      <a:close/>
                      <a:moveTo>
                        <a:pt x="2005" y="1053"/>
                      </a:moveTo>
                      <a:lnTo>
                        <a:pt x="2007" y="1050"/>
                      </a:lnTo>
                      <a:lnTo>
                        <a:pt x="2007" y="1046"/>
                      </a:lnTo>
                      <a:lnTo>
                        <a:pt x="2008" y="1044"/>
                      </a:lnTo>
                      <a:lnTo>
                        <a:pt x="2001" y="1055"/>
                      </a:lnTo>
                      <a:lnTo>
                        <a:pt x="2005" y="1053"/>
                      </a:lnTo>
                      <a:close/>
                      <a:moveTo>
                        <a:pt x="1975" y="1132"/>
                      </a:moveTo>
                      <a:lnTo>
                        <a:pt x="1975" y="1132"/>
                      </a:lnTo>
                      <a:lnTo>
                        <a:pt x="1975" y="1134"/>
                      </a:lnTo>
                      <a:lnTo>
                        <a:pt x="1975" y="1134"/>
                      </a:lnTo>
                      <a:lnTo>
                        <a:pt x="1977" y="1134"/>
                      </a:lnTo>
                      <a:lnTo>
                        <a:pt x="1975" y="1134"/>
                      </a:lnTo>
                      <a:lnTo>
                        <a:pt x="1975" y="1132"/>
                      </a:lnTo>
                      <a:close/>
                      <a:moveTo>
                        <a:pt x="1895" y="1357"/>
                      </a:moveTo>
                      <a:lnTo>
                        <a:pt x="1891" y="1362"/>
                      </a:lnTo>
                      <a:lnTo>
                        <a:pt x="1895" y="1359"/>
                      </a:lnTo>
                      <a:lnTo>
                        <a:pt x="1897" y="1355"/>
                      </a:lnTo>
                      <a:lnTo>
                        <a:pt x="1898" y="1354"/>
                      </a:lnTo>
                      <a:lnTo>
                        <a:pt x="1897" y="1355"/>
                      </a:lnTo>
                      <a:lnTo>
                        <a:pt x="1895" y="1357"/>
                      </a:lnTo>
                      <a:close/>
                      <a:moveTo>
                        <a:pt x="1981" y="1130"/>
                      </a:moveTo>
                      <a:lnTo>
                        <a:pt x="1979" y="1132"/>
                      </a:lnTo>
                      <a:lnTo>
                        <a:pt x="1977" y="1134"/>
                      </a:lnTo>
                      <a:lnTo>
                        <a:pt x="1979" y="1132"/>
                      </a:lnTo>
                      <a:lnTo>
                        <a:pt x="1984" y="1127"/>
                      </a:lnTo>
                      <a:lnTo>
                        <a:pt x="1982" y="1128"/>
                      </a:lnTo>
                      <a:lnTo>
                        <a:pt x="1981" y="1130"/>
                      </a:lnTo>
                      <a:close/>
                      <a:moveTo>
                        <a:pt x="1991" y="1121"/>
                      </a:moveTo>
                      <a:lnTo>
                        <a:pt x="1991" y="1121"/>
                      </a:lnTo>
                      <a:lnTo>
                        <a:pt x="1989" y="1121"/>
                      </a:lnTo>
                      <a:lnTo>
                        <a:pt x="1991" y="1121"/>
                      </a:lnTo>
                      <a:lnTo>
                        <a:pt x="1993" y="1121"/>
                      </a:lnTo>
                      <a:lnTo>
                        <a:pt x="1995" y="1121"/>
                      </a:lnTo>
                      <a:lnTo>
                        <a:pt x="1993" y="1121"/>
                      </a:lnTo>
                      <a:lnTo>
                        <a:pt x="1991" y="1121"/>
                      </a:lnTo>
                      <a:close/>
                      <a:moveTo>
                        <a:pt x="1890" y="1364"/>
                      </a:moveTo>
                      <a:lnTo>
                        <a:pt x="1890" y="1364"/>
                      </a:lnTo>
                      <a:lnTo>
                        <a:pt x="1890" y="1364"/>
                      </a:lnTo>
                      <a:lnTo>
                        <a:pt x="1890" y="1364"/>
                      </a:lnTo>
                      <a:lnTo>
                        <a:pt x="1890" y="1364"/>
                      </a:lnTo>
                      <a:lnTo>
                        <a:pt x="1890" y="1364"/>
                      </a:lnTo>
                      <a:lnTo>
                        <a:pt x="1890" y="1364"/>
                      </a:lnTo>
                      <a:lnTo>
                        <a:pt x="1890" y="1364"/>
                      </a:lnTo>
                      <a:lnTo>
                        <a:pt x="1890" y="1364"/>
                      </a:lnTo>
                      <a:close/>
                      <a:moveTo>
                        <a:pt x="1532" y="1315"/>
                      </a:moveTo>
                      <a:lnTo>
                        <a:pt x="1532" y="1310"/>
                      </a:lnTo>
                      <a:lnTo>
                        <a:pt x="1532" y="1315"/>
                      </a:lnTo>
                      <a:lnTo>
                        <a:pt x="1532" y="1322"/>
                      </a:lnTo>
                      <a:lnTo>
                        <a:pt x="1535" y="1336"/>
                      </a:lnTo>
                      <a:lnTo>
                        <a:pt x="1535" y="1333"/>
                      </a:lnTo>
                      <a:lnTo>
                        <a:pt x="1535" y="1329"/>
                      </a:lnTo>
                      <a:lnTo>
                        <a:pt x="1533" y="1322"/>
                      </a:lnTo>
                      <a:lnTo>
                        <a:pt x="1532" y="131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36" name="Freeform 319">
                  <a:extLst>
                    <a:ext uri="{FF2B5EF4-FFF2-40B4-BE49-F238E27FC236}">
                      <a16:creationId xmlns:a16="http://schemas.microsoft.com/office/drawing/2014/main" id="{53FF5B40-386B-FF44-8744-69ECCF4A124B}"/>
                    </a:ext>
                  </a:extLst>
                </p:cNvPr>
                <p:cNvSpPr>
                  <a:spLocks noEditPoints="1"/>
                </p:cNvSpPr>
                <p:nvPr/>
              </p:nvSpPr>
              <p:spPr bwMode="auto">
                <a:xfrm>
                  <a:off x="-1908" y="-3110"/>
                  <a:ext cx="14" cy="4"/>
                </a:xfrm>
                <a:custGeom>
                  <a:avLst/>
                  <a:gdLst>
                    <a:gd name="T0" fmla="*/ 0 w 14"/>
                    <a:gd name="T1" fmla="*/ 2 h 4"/>
                    <a:gd name="T2" fmla="*/ 0 w 14"/>
                    <a:gd name="T3" fmla="*/ 2 h 4"/>
                    <a:gd name="T4" fmla="*/ 3 w 14"/>
                    <a:gd name="T5" fmla="*/ 4 h 4"/>
                    <a:gd name="T6" fmla="*/ 2 w 14"/>
                    <a:gd name="T7" fmla="*/ 4 h 4"/>
                    <a:gd name="T8" fmla="*/ 2 w 14"/>
                    <a:gd name="T9" fmla="*/ 4 h 4"/>
                    <a:gd name="T10" fmla="*/ 0 w 14"/>
                    <a:gd name="T11" fmla="*/ 4 h 4"/>
                    <a:gd name="T12" fmla="*/ 0 w 14"/>
                    <a:gd name="T13" fmla="*/ 2 h 4"/>
                    <a:gd name="T14" fmla="*/ 7 w 14"/>
                    <a:gd name="T15" fmla="*/ 0 h 4"/>
                    <a:gd name="T16" fmla="*/ 9 w 14"/>
                    <a:gd name="T17" fmla="*/ 2 h 4"/>
                    <a:gd name="T18" fmla="*/ 9 w 14"/>
                    <a:gd name="T19" fmla="*/ 0 h 4"/>
                    <a:gd name="T20" fmla="*/ 7 w 14"/>
                    <a:gd name="T21" fmla="*/ 0 h 4"/>
                    <a:gd name="T22" fmla="*/ 7 w 14"/>
                    <a:gd name="T23" fmla="*/ 0 h 4"/>
                    <a:gd name="T24" fmla="*/ 14 w 14"/>
                    <a:gd name="T25" fmla="*/ 4 h 4"/>
                    <a:gd name="T26" fmla="*/ 14 w 14"/>
                    <a:gd name="T27" fmla="*/ 4 h 4"/>
                    <a:gd name="T28" fmla="*/ 14 w 14"/>
                    <a:gd name="T29" fmla="*/ 2 h 4"/>
                    <a:gd name="T30" fmla="*/ 12 w 14"/>
                    <a:gd name="T31" fmla="*/ 2 h 4"/>
                    <a:gd name="T32" fmla="*/ 10 w 14"/>
                    <a:gd name="T33" fmla="*/ 2 h 4"/>
                    <a:gd name="T34" fmla="*/ 10 w 14"/>
                    <a:gd name="T35" fmla="*/ 2 h 4"/>
                    <a:gd name="T36" fmla="*/ 10 w 14"/>
                    <a:gd name="T37" fmla="*/ 2 h 4"/>
                    <a:gd name="T38" fmla="*/ 12 w 14"/>
                    <a:gd name="T39" fmla="*/ 4 h 4"/>
                    <a:gd name="T40" fmla="*/ 14 w 14"/>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4">
                      <a:moveTo>
                        <a:pt x="0" y="2"/>
                      </a:moveTo>
                      <a:lnTo>
                        <a:pt x="0" y="2"/>
                      </a:lnTo>
                      <a:lnTo>
                        <a:pt x="3" y="4"/>
                      </a:lnTo>
                      <a:lnTo>
                        <a:pt x="2" y="4"/>
                      </a:lnTo>
                      <a:lnTo>
                        <a:pt x="2" y="4"/>
                      </a:lnTo>
                      <a:lnTo>
                        <a:pt x="0" y="4"/>
                      </a:lnTo>
                      <a:lnTo>
                        <a:pt x="0" y="2"/>
                      </a:lnTo>
                      <a:close/>
                      <a:moveTo>
                        <a:pt x="7" y="0"/>
                      </a:moveTo>
                      <a:lnTo>
                        <a:pt x="9" y="2"/>
                      </a:lnTo>
                      <a:lnTo>
                        <a:pt x="9" y="0"/>
                      </a:lnTo>
                      <a:lnTo>
                        <a:pt x="7" y="0"/>
                      </a:lnTo>
                      <a:lnTo>
                        <a:pt x="7" y="0"/>
                      </a:lnTo>
                      <a:close/>
                      <a:moveTo>
                        <a:pt x="14" y="4"/>
                      </a:moveTo>
                      <a:lnTo>
                        <a:pt x="14" y="4"/>
                      </a:lnTo>
                      <a:lnTo>
                        <a:pt x="14" y="2"/>
                      </a:lnTo>
                      <a:lnTo>
                        <a:pt x="12" y="2"/>
                      </a:lnTo>
                      <a:lnTo>
                        <a:pt x="10" y="2"/>
                      </a:lnTo>
                      <a:lnTo>
                        <a:pt x="10" y="2"/>
                      </a:lnTo>
                      <a:lnTo>
                        <a:pt x="10" y="2"/>
                      </a:lnTo>
                      <a:lnTo>
                        <a:pt x="12" y="4"/>
                      </a:lnTo>
                      <a:lnTo>
                        <a:pt x="14" y="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37" name="Freeform 320">
                  <a:extLst>
                    <a:ext uri="{FF2B5EF4-FFF2-40B4-BE49-F238E27FC236}">
                      <a16:creationId xmlns:a16="http://schemas.microsoft.com/office/drawing/2014/main" id="{A4E7A511-6A84-1574-D9A9-05071D072E36}"/>
                    </a:ext>
                  </a:extLst>
                </p:cNvPr>
                <p:cNvSpPr>
                  <a:spLocks noEditPoints="1"/>
                </p:cNvSpPr>
                <p:nvPr/>
              </p:nvSpPr>
              <p:spPr bwMode="auto">
                <a:xfrm>
                  <a:off x="-2893" y="-3363"/>
                  <a:ext cx="678" cy="419"/>
                </a:xfrm>
                <a:custGeom>
                  <a:avLst/>
                  <a:gdLst>
                    <a:gd name="T0" fmla="*/ 157 w 678"/>
                    <a:gd name="T1" fmla="*/ 325 h 419"/>
                    <a:gd name="T2" fmla="*/ 671 w 678"/>
                    <a:gd name="T3" fmla="*/ 288 h 419"/>
                    <a:gd name="T4" fmla="*/ 559 w 678"/>
                    <a:gd name="T5" fmla="*/ 403 h 419"/>
                    <a:gd name="T6" fmla="*/ 594 w 678"/>
                    <a:gd name="T7" fmla="*/ 375 h 419"/>
                    <a:gd name="T8" fmla="*/ 588 w 678"/>
                    <a:gd name="T9" fmla="*/ 346 h 419"/>
                    <a:gd name="T10" fmla="*/ 644 w 678"/>
                    <a:gd name="T11" fmla="*/ 328 h 419"/>
                    <a:gd name="T12" fmla="*/ 658 w 678"/>
                    <a:gd name="T13" fmla="*/ 312 h 419"/>
                    <a:gd name="T14" fmla="*/ 662 w 678"/>
                    <a:gd name="T15" fmla="*/ 295 h 419"/>
                    <a:gd name="T16" fmla="*/ 665 w 678"/>
                    <a:gd name="T17" fmla="*/ 264 h 419"/>
                    <a:gd name="T18" fmla="*/ 597 w 678"/>
                    <a:gd name="T19" fmla="*/ 295 h 419"/>
                    <a:gd name="T20" fmla="*/ 580 w 678"/>
                    <a:gd name="T21" fmla="*/ 319 h 419"/>
                    <a:gd name="T22" fmla="*/ 564 w 678"/>
                    <a:gd name="T23" fmla="*/ 326 h 419"/>
                    <a:gd name="T24" fmla="*/ 513 w 678"/>
                    <a:gd name="T25" fmla="*/ 339 h 419"/>
                    <a:gd name="T26" fmla="*/ 485 w 678"/>
                    <a:gd name="T27" fmla="*/ 326 h 419"/>
                    <a:gd name="T28" fmla="*/ 457 w 678"/>
                    <a:gd name="T29" fmla="*/ 286 h 419"/>
                    <a:gd name="T30" fmla="*/ 444 w 678"/>
                    <a:gd name="T31" fmla="*/ 253 h 419"/>
                    <a:gd name="T32" fmla="*/ 452 w 678"/>
                    <a:gd name="T33" fmla="*/ 159 h 419"/>
                    <a:gd name="T34" fmla="*/ 409 w 678"/>
                    <a:gd name="T35" fmla="*/ 138 h 419"/>
                    <a:gd name="T36" fmla="*/ 391 w 678"/>
                    <a:gd name="T37" fmla="*/ 106 h 419"/>
                    <a:gd name="T38" fmla="*/ 354 w 678"/>
                    <a:gd name="T39" fmla="*/ 68 h 419"/>
                    <a:gd name="T40" fmla="*/ 297 w 678"/>
                    <a:gd name="T41" fmla="*/ 70 h 419"/>
                    <a:gd name="T42" fmla="*/ 216 w 678"/>
                    <a:gd name="T43" fmla="*/ 31 h 419"/>
                    <a:gd name="T44" fmla="*/ 37 w 678"/>
                    <a:gd name="T45" fmla="*/ 19 h 419"/>
                    <a:gd name="T46" fmla="*/ 49 w 678"/>
                    <a:gd name="T47" fmla="*/ 43 h 419"/>
                    <a:gd name="T48" fmla="*/ 58 w 678"/>
                    <a:gd name="T49" fmla="*/ 68 h 419"/>
                    <a:gd name="T50" fmla="*/ 89 w 678"/>
                    <a:gd name="T51" fmla="*/ 110 h 419"/>
                    <a:gd name="T52" fmla="*/ 80 w 678"/>
                    <a:gd name="T53" fmla="*/ 113 h 419"/>
                    <a:gd name="T54" fmla="*/ 94 w 678"/>
                    <a:gd name="T55" fmla="*/ 134 h 419"/>
                    <a:gd name="T56" fmla="*/ 134 w 678"/>
                    <a:gd name="T57" fmla="*/ 180 h 419"/>
                    <a:gd name="T58" fmla="*/ 190 w 678"/>
                    <a:gd name="T59" fmla="*/ 223 h 419"/>
                    <a:gd name="T60" fmla="*/ 175 w 678"/>
                    <a:gd name="T61" fmla="*/ 197 h 419"/>
                    <a:gd name="T62" fmla="*/ 164 w 678"/>
                    <a:gd name="T63" fmla="*/ 195 h 419"/>
                    <a:gd name="T64" fmla="*/ 155 w 678"/>
                    <a:gd name="T65" fmla="*/ 167 h 419"/>
                    <a:gd name="T66" fmla="*/ 141 w 678"/>
                    <a:gd name="T67" fmla="*/ 141 h 419"/>
                    <a:gd name="T68" fmla="*/ 127 w 678"/>
                    <a:gd name="T69" fmla="*/ 120 h 419"/>
                    <a:gd name="T70" fmla="*/ 113 w 678"/>
                    <a:gd name="T71" fmla="*/ 98 h 419"/>
                    <a:gd name="T72" fmla="*/ 80 w 678"/>
                    <a:gd name="T73" fmla="*/ 59 h 419"/>
                    <a:gd name="T74" fmla="*/ 94 w 678"/>
                    <a:gd name="T75" fmla="*/ 26 h 419"/>
                    <a:gd name="T76" fmla="*/ 112 w 678"/>
                    <a:gd name="T77" fmla="*/ 36 h 419"/>
                    <a:gd name="T78" fmla="*/ 134 w 678"/>
                    <a:gd name="T79" fmla="*/ 87 h 419"/>
                    <a:gd name="T80" fmla="*/ 166 w 678"/>
                    <a:gd name="T81" fmla="*/ 120 h 419"/>
                    <a:gd name="T82" fmla="*/ 194 w 678"/>
                    <a:gd name="T83" fmla="*/ 143 h 419"/>
                    <a:gd name="T84" fmla="*/ 203 w 678"/>
                    <a:gd name="T85" fmla="*/ 166 h 419"/>
                    <a:gd name="T86" fmla="*/ 220 w 678"/>
                    <a:gd name="T87" fmla="*/ 178 h 419"/>
                    <a:gd name="T88" fmla="*/ 232 w 678"/>
                    <a:gd name="T89" fmla="*/ 195 h 419"/>
                    <a:gd name="T90" fmla="*/ 281 w 678"/>
                    <a:gd name="T91" fmla="*/ 264 h 419"/>
                    <a:gd name="T92" fmla="*/ 276 w 678"/>
                    <a:gd name="T93" fmla="*/ 285 h 419"/>
                    <a:gd name="T94" fmla="*/ 320 w 678"/>
                    <a:gd name="T95" fmla="*/ 333 h 419"/>
                    <a:gd name="T96" fmla="*/ 416 w 678"/>
                    <a:gd name="T97" fmla="*/ 375 h 419"/>
                    <a:gd name="T98" fmla="*/ 496 w 678"/>
                    <a:gd name="T99" fmla="*/ 384 h 419"/>
                    <a:gd name="T100" fmla="*/ 510 w 678"/>
                    <a:gd name="T101" fmla="*/ 382 h 419"/>
                    <a:gd name="T102" fmla="*/ 131 w 678"/>
                    <a:gd name="T103" fmla="*/ 187 h 419"/>
                    <a:gd name="T104" fmla="*/ 182 w 678"/>
                    <a:gd name="T105" fmla="*/ 201 h 419"/>
                    <a:gd name="T106" fmla="*/ 127 w 678"/>
                    <a:gd name="T107" fmla="*/ 82 h 419"/>
                    <a:gd name="T108" fmla="*/ 154 w 678"/>
                    <a:gd name="T109" fmla="*/ 157 h 419"/>
                    <a:gd name="T110" fmla="*/ 106 w 678"/>
                    <a:gd name="T111" fmla="*/ 78 h 419"/>
                    <a:gd name="T112" fmla="*/ 141 w 678"/>
                    <a:gd name="T113" fmla="*/ 194 h 419"/>
                    <a:gd name="T114" fmla="*/ 166 w 678"/>
                    <a:gd name="T115" fmla="*/ 181 h 419"/>
                    <a:gd name="T116" fmla="*/ 2 w 678"/>
                    <a:gd name="T117" fmla="*/ 84 h 419"/>
                    <a:gd name="T118" fmla="*/ 678 w 678"/>
                    <a:gd name="T119" fmla="*/ 26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78" h="419">
                      <a:moveTo>
                        <a:pt x="77" y="21"/>
                      </a:moveTo>
                      <a:lnTo>
                        <a:pt x="79" y="21"/>
                      </a:lnTo>
                      <a:lnTo>
                        <a:pt x="79" y="22"/>
                      </a:lnTo>
                      <a:lnTo>
                        <a:pt x="79" y="22"/>
                      </a:lnTo>
                      <a:lnTo>
                        <a:pt x="77" y="22"/>
                      </a:lnTo>
                      <a:lnTo>
                        <a:pt x="77" y="22"/>
                      </a:lnTo>
                      <a:lnTo>
                        <a:pt x="77" y="21"/>
                      </a:lnTo>
                      <a:lnTo>
                        <a:pt x="77" y="21"/>
                      </a:lnTo>
                      <a:close/>
                      <a:moveTo>
                        <a:pt x="159" y="323"/>
                      </a:moveTo>
                      <a:lnTo>
                        <a:pt x="157" y="323"/>
                      </a:lnTo>
                      <a:lnTo>
                        <a:pt x="157" y="325"/>
                      </a:lnTo>
                      <a:lnTo>
                        <a:pt x="157" y="325"/>
                      </a:lnTo>
                      <a:lnTo>
                        <a:pt x="157" y="325"/>
                      </a:lnTo>
                      <a:lnTo>
                        <a:pt x="159" y="326"/>
                      </a:lnTo>
                      <a:lnTo>
                        <a:pt x="159" y="325"/>
                      </a:lnTo>
                      <a:lnTo>
                        <a:pt x="159" y="323"/>
                      </a:lnTo>
                      <a:lnTo>
                        <a:pt x="159" y="323"/>
                      </a:lnTo>
                      <a:close/>
                      <a:moveTo>
                        <a:pt x="569" y="326"/>
                      </a:moveTo>
                      <a:lnTo>
                        <a:pt x="567" y="326"/>
                      </a:lnTo>
                      <a:lnTo>
                        <a:pt x="571" y="325"/>
                      </a:lnTo>
                      <a:lnTo>
                        <a:pt x="573" y="325"/>
                      </a:lnTo>
                      <a:lnTo>
                        <a:pt x="574" y="325"/>
                      </a:lnTo>
                      <a:lnTo>
                        <a:pt x="571" y="326"/>
                      </a:lnTo>
                      <a:lnTo>
                        <a:pt x="569" y="326"/>
                      </a:lnTo>
                      <a:close/>
                      <a:moveTo>
                        <a:pt x="671" y="286"/>
                      </a:moveTo>
                      <a:lnTo>
                        <a:pt x="671" y="288"/>
                      </a:lnTo>
                      <a:lnTo>
                        <a:pt x="671" y="290"/>
                      </a:lnTo>
                      <a:lnTo>
                        <a:pt x="672" y="290"/>
                      </a:lnTo>
                      <a:lnTo>
                        <a:pt x="674" y="288"/>
                      </a:lnTo>
                      <a:lnTo>
                        <a:pt x="676" y="286"/>
                      </a:lnTo>
                      <a:lnTo>
                        <a:pt x="676" y="283"/>
                      </a:lnTo>
                      <a:lnTo>
                        <a:pt x="674" y="285"/>
                      </a:lnTo>
                      <a:lnTo>
                        <a:pt x="671" y="286"/>
                      </a:lnTo>
                      <a:close/>
                      <a:moveTo>
                        <a:pt x="561" y="414"/>
                      </a:moveTo>
                      <a:lnTo>
                        <a:pt x="561" y="410"/>
                      </a:lnTo>
                      <a:lnTo>
                        <a:pt x="562" y="409"/>
                      </a:lnTo>
                      <a:lnTo>
                        <a:pt x="561" y="407"/>
                      </a:lnTo>
                      <a:lnTo>
                        <a:pt x="561" y="405"/>
                      </a:lnTo>
                      <a:lnTo>
                        <a:pt x="559" y="403"/>
                      </a:lnTo>
                      <a:lnTo>
                        <a:pt x="561" y="402"/>
                      </a:lnTo>
                      <a:lnTo>
                        <a:pt x="561" y="400"/>
                      </a:lnTo>
                      <a:lnTo>
                        <a:pt x="564" y="396"/>
                      </a:lnTo>
                      <a:lnTo>
                        <a:pt x="567" y="389"/>
                      </a:lnTo>
                      <a:lnTo>
                        <a:pt x="569" y="388"/>
                      </a:lnTo>
                      <a:lnTo>
                        <a:pt x="571" y="386"/>
                      </a:lnTo>
                      <a:lnTo>
                        <a:pt x="573" y="386"/>
                      </a:lnTo>
                      <a:lnTo>
                        <a:pt x="597" y="386"/>
                      </a:lnTo>
                      <a:lnTo>
                        <a:pt x="597" y="382"/>
                      </a:lnTo>
                      <a:lnTo>
                        <a:pt x="597" y="379"/>
                      </a:lnTo>
                      <a:lnTo>
                        <a:pt x="597" y="377"/>
                      </a:lnTo>
                      <a:lnTo>
                        <a:pt x="595" y="377"/>
                      </a:lnTo>
                      <a:lnTo>
                        <a:pt x="594" y="375"/>
                      </a:lnTo>
                      <a:lnTo>
                        <a:pt x="594" y="375"/>
                      </a:lnTo>
                      <a:lnTo>
                        <a:pt x="592" y="374"/>
                      </a:lnTo>
                      <a:lnTo>
                        <a:pt x="592" y="372"/>
                      </a:lnTo>
                      <a:lnTo>
                        <a:pt x="592" y="372"/>
                      </a:lnTo>
                      <a:lnTo>
                        <a:pt x="590" y="370"/>
                      </a:lnTo>
                      <a:lnTo>
                        <a:pt x="585" y="367"/>
                      </a:lnTo>
                      <a:lnTo>
                        <a:pt x="583" y="365"/>
                      </a:lnTo>
                      <a:lnTo>
                        <a:pt x="578" y="360"/>
                      </a:lnTo>
                      <a:lnTo>
                        <a:pt x="576" y="358"/>
                      </a:lnTo>
                      <a:lnTo>
                        <a:pt x="585" y="360"/>
                      </a:lnTo>
                      <a:lnTo>
                        <a:pt x="585" y="349"/>
                      </a:lnTo>
                      <a:lnTo>
                        <a:pt x="585" y="346"/>
                      </a:lnTo>
                      <a:lnTo>
                        <a:pt x="588" y="346"/>
                      </a:lnTo>
                      <a:lnTo>
                        <a:pt x="625" y="346"/>
                      </a:lnTo>
                      <a:lnTo>
                        <a:pt x="625" y="344"/>
                      </a:lnTo>
                      <a:lnTo>
                        <a:pt x="625" y="342"/>
                      </a:lnTo>
                      <a:lnTo>
                        <a:pt x="627" y="344"/>
                      </a:lnTo>
                      <a:lnTo>
                        <a:pt x="629" y="344"/>
                      </a:lnTo>
                      <a:lnTo>
                        <a:pt x="630" y="342"/>
                      </a:lnTo>
                      <a:lnTo>
                        <a:pt x="632" y="342"/>
                      </a:lnTo>
                      <a:lnTo>
                        <a:pt x="632" y="342"/>
                      </a:lnTo>
                      <a:lnTo>
                        <a:pt x="636" y="339"/>
                      </a:lnTo>
                      <a:lnTo>
                        <a:pt x="637" y="335"/>
                      </a:lnTo>
                      <a:lnTo>
                        <a:pt x="639" y="332"/>
                      </a:lnTo>
                      <a:lnTo>
                        <a:pt x="643" y="332"/>
                      </a:lnTo>
                      <a:lnTo>
                        <a:pt x="644" y="328"/>
                      </a:lnTo>
                      <a:lnTo>
                        <a:pt x="646" y="326"/>
                      </a:lnTo>
                      <a:lnTo>
                        <a:pt x="646" y="325"/>
                      </a:lnTo>
                      <a:lnTo>
                        <a:pt x="650" y="323"/>
                      </a:lnTo>
                      <a:lnTo>
                        <a:pt x="650" y="330"/>
                      </a:lnTo>
                      <a:lnTo>
                        <a:pt x="650" y="335"/>
                      </a:lnTo>
                      <a:lnTo>
                        <a:pt x="653" y="335"/>
                      </a:lnTo>
                      <a:lnTo>
                        <a:pt x="655" y="333"/>
                      </a:lnTo>
                      <a:lnTo>
                        <a:pt x="658" y="321"/>
                      </a:lnTo>
                      <a:lnTo>
                        <a:pt x="660" y="314"/>
                      </a:lnTo>
                      <a:lnTo>
                        <a:pt x="660" y="312"/>
                      </a:lnTo>
                      <a:lnTo>
                        <a:pt x="660" y="312"/>
                      </a:lnTo>
                      <a:lnTo>
                        <a:pt x="658" y="312"/>
                      </a:lnTo>
                      <a:lnTo>
                        <a:pt x="658" y="312"/>
                      </a:lnTo>
                      <a:lnTo>
                        <a:pt x="657" y="314"/>
                      </a:lnTo>
                      <a:lnTo>
                        <a:pt x="658" y="311"/>
                      </a:lnTo>
                      <a:lnTo>
                        <a:pt x="662" y="309"/>
                      </a:lnTo>
                      <a:lnTo>
                        <a:pt x="662" y="306"/>
                      </a:lnTo>
                      <a:lnTo>
                        <a:pt x="658" y="307"/>
                      </a:lnTo>
                      <a:lnTo>
                        <a:pt x="657" y="307"/>
                      </a:lnTo>
                      <a:lnTo>
                        <a:pt x="657" y="306"/>
                      </a:lnTo>
                      <a:lnTo>
                        <a:pt x="657" y="304"/>
                      </a:lnTo>
                      <a:lnTo>
                        <a:pt x="658" y="302"/>
                      </a:lnTo>
                      <a:lnTo>
                        <a:pt x="660" y="302"/>
                      </a:lnTo>
                      <a:lnTo>
                        <a:pt x="660" y="300"/>
                      </a:lnTo>
                      <a:lnTo>
                        <a:pt x="662" y="299"/>
                      </a:lnTo>
                      <a:lnTo>
                        <a:pt x="662" y="295"/>
                      </a:lnTo>
                      <a:lnTo>
                        <a:pt x="662" y="293"/>
                      </a:lnTo>
                      <a:lnTo>
                        <a:pt x="662" y="292"/>
                      </a:lnTo>
                      <a:lnTo>
                        <a:pt x="664" y="290"/>
                      </a:lnTo>
                      <a:lnTo>
                        <a:pt x="672" y="278"/>
                      </a:lnTo>
                      <a:lnTo>
                        <a:pt x="674" y="274"/>
                      </a:lnTo>
                      <a:lnTo>
                        <a:pt x="674" y="269"/>
                      </a:lnTo>
                      <a:lnTo>
                        <a:pt x="674" y="264"/>
                      </a:lnTo>
                      <a:lnTo>
                        <a:pt x="671" y="262"/>
                      </a:lnTo>
                      <a:lnTo>
                        <a:pt x="667" y="260"/>
                      </a:lnTo>
                      <a:lnTo>
                        <a:pt x="662" y="262"/>
                      </a:lnTo>
                      <a:lnTo>
                        <a:pt x="667" y="262"/>
                      </a:lnTo>
                      <a:lnTo>
                        <a:pt x="667" y="264"/>
                      </a:lnTo>
                      <a:lnTo>
                        <a:pt x="665" y="264"/>
                      </a:lnTo>
                      <a:lnTo>
                        <a:pt x="662" y="264"/>
                      </a:lnTo>
                      <a:lnTo>
                        <a:pt x="653" y="260"/>
                      </a:lnTo>
                      <a:lnTo>
                        <a:pt x="648" y="260"/>
                      </a:lnTo>
                      <a:lnTo>
                        <a:pt x="643" y="260"/>
                      </a:lnTo>
                      <a:lnTo>
                        <a:pt x="625" y="265"/>
                      </a:lnTo>
                      <a:lnTo>
                        <a:pt x="616" y="267"/>
                      </a:lnTo>
                      <a:lnTo>
                        <a:pt x="609" y="269"/>
                      </a:lnTo>
                      <a:lnTo>
                        <a:pt x="602" y="272"/>
                      </a:lnTo>
                      <a:lnTo>
                        <a:pt x="597" y="278"/>
                      </a:lnTo>
                      <a:lnTo>
                        <a:pt x="597" y="281"/>
                      </a:lnTo>
                      <a:lnTo>
                        <a:pt x="597" y="285"/>
                      </a:lnTo>
                      <a:lnTo>
                        <a:pt x="595" y="292"/>
                      </a:lnTo>
                      <a:lnTo>
                        <a:pt x="597" y="295"/>
                      </a:lnTo>
                      <a:lnTo>
                        <a:pt x="597" y="297"/>
                      </a:lnTo>
                      <a:lnTo>
                        <a:pt x="595" y="299"/>
                      </a:lnTo>
                      <a:lnTo>
                        <a:pt x="595" y="300"/>
                      </a:lnTo>
                      <a:lnTo>
                        <a:pt x="592" y="302"/>
                      </a:lnTo>
                      <a:lnTo>
                        <a:pt x="592" y="304"/>
                      </a:lnTo>
                      <a:lnTo>
                        <a:pt x="592" y="306"/>
                      </a:lnTo>
                      <a:lnTo>
                        <a:pt x="592" y="309"/>
                      </a:lnTo>
                      <a:lnTo>
                        <a:pt x="590" y="311"/>
                      </a:lnTo>
                      <a:lnTo>
                        <a:pt x="590" y="312"/>
                      </a:lnTo>
                      <a:lnTo>
                        <a:pt x="588" y="314"/>
                      </a:lnTo>
                      <a:lnTo>
                        <a:pt x="585" y="316"/>
                      </a:lnTo>
                      <a:lnTo>
                        <a:pt x="583" y="318"/>
                      </a:lnTo>
                      <a:lnTo>
                        <a:pt x="580" y="319"/>
                      </a:lnTo>
                      <a:lnTo>
                        <a:pt x="576" y="321"/>
                      </a:lnTo>
                      <a:lnTo>
                        <a:pt x="574" y="323"/>
                      </a:lnTo>
                      <a:lnTo>
                        <a:pt x="578" y="321"/>
                      </a:lnTo>
                      <a:lnTo>
                        <a:pt x="578" y="325"/>
                      </a:lnTo>
                      <a:lnTo>
                        <a:pt x="578" y="326"/>
                      </a:lnTo>
                      <a:lnTo>
                        <a:pt x="578" y="326"/>
                      </a:lnTo>
                      <a:lnTo>
                        <a:pt x="576" y="330"/>
                      </a:lnTo>
                      <a:lnTo>
                        <a:pt x="573" y="332"/>
                      </a:lnTo>
                      <a:lnTo>
                        <a:pt x="571" y="332"/>
                      </a:lnTo>
                      <a:lnTo>
                        <a:pt x="567" y="332"/>
                      </a:lnTo>
                      <a:lnTo>
                        <a:pt x="566" y="330"/>
                      </a:lnTo>
                      <a:lnTo>
                        <a:pt x="566" y="328"/>
                      </a:lnTo>
                      <a:lnTo>
                        <a:pt x="564" y="326"/>
                      </a:lnTo>
                      <a:lnTo>
                        <a:pt x="562" y="326"/>
                      </a:lnTo>
                      <a:lnTo>
                        <a:pt x="559" y="326"/>
                      </a:lnTo>
                      <a:lnTo>
                        <a:pt x="554" y="326"/>
                      </a:lnTo>
                      <a:lnTo>
                        <a:pt x="552" y="328"/>
                      </a:lnTo>
                      <a:lnTo>
                        <a:pt x="548" y="328"/>
                      </a:lnTo>
                      <a:lnTo>
                        <a:pt x="545" y="332"/>
                      </a:lnTo>
                      <a:lnTo>
                        <a:pt x="541" y="332"/>
                      </a:lnTo>
                      <a:lnTo>
                        <a:pt x="540" y="332"/>
                      </a:lnTo>
                      <a:lnTo>
                        <a:pt x="533" y="332"/>
                      </a:lnTo>
                      <a:lnTo>
                        <a:pt x="529" y="333"/>
                      </a:lnTo>
                      <a:lnTo>
                        <a:pt x="527" y="333"/>
                      </a:lnTo>
                      <a:lnTo>
                        <a:pt x="517" y="337"/>
                      </a:lnTo>
                      <a:lnTo>
                        <a:pt x="513" y="339"/>
                      </a:lnTo>
                      <a:lnTo>
                        <a:pt x="512" y="339"/>
                      </a:lnTo>
                      <a:lnTo>
                        <a:pt x="510" y="337"/>
                      </a:lnTo>
                      <a:lnTo>
                        <a:pt x="508" y="335"/>
                      </a:lnTo>
                      <a:lnTo>
                        <a:pt x="506" y="333"/>
                      </a:lnTo>
                      <a:lnTo>
                        <a:pt x="505" y="332"/>
                      </a:lnTo>
                      <a:lnTo>
                        <a:pt x="501" y="330"/>
                      </a:lnTo>
                      <a:lnTo>
                        <a:pt x="499" y="328"/>
                      </a:lnTo>
                      <a:lnTo>
                        <a:pt x="496" y="326"/>
                      </a:lnTo>
                      <a:lnTo>
                        <a:pt x="492" y="326"/>
                      </a:lnTo>
                      <a:lnTo>
                        <a:pt x="487" y="325"/>
                      </a:lnTo>
                      <a:lnTo>
                        <a:pt x="484" y="325"/>
                      </a:lnTo>
                      <a:lnTo>
                        <a:pt x="487" y="326"/>
                      </a:lnTo>
                      <a:lnTo>
                        <a:pt x="485" y="326"/>
                      </a:lnTo>
                      <a:lnTo>
                        <a:pt x="484" y="325"/>
                      </a:lnTo>
                      <a:lnTo>
                        <a:pt x="482" y="325"/>
                      </a:lnTo>
                      <a:lnTo>
                        <a:pt x="480" y="323"/>
                      </a:lnTo>
                      <a:lnTo>
                        <a:pt x="480" y="323"/>
                      </a:lnTo>
                      <a:lnTo>
                        <a:pt x="484" y="325"/>
                      </a:lnTo>
                      <a:lnTo>
                        <a:pt x="480" y="323"/>
                      </a:lnTo>
                      <a:lnTo>
                        <a:pt x="478" y="319"/>
                      </a:lnTo>
                      <a:lnTo>
                        <a:pt x="475" y="314"/>
                      </a:lnTo>
                      <a:lnTo>
                        <a:pt x="473" y="311"/>
                      </a:lnTo>
                      <a:lnTo>
                        <a:pt x="471" y="309"/>
                      </a:lnTo>
                      <a:lnTo>
                        <a:pt x="468" y="300"/>
                      </a:lnTo>
                      <a:lnTo>
                        <a:pt x="464" y="295"/>
                      </a:lnTo>
                      <a:lnTo>
                        <a:pt x="457" y="286"/>
                      </a:lnTo>
                      <a:lnTo>
                        <a:pt x="452" y="278"/>
                      </a:lnTo>
                      <a:lnTo>
                        <a:pt x="447" y="269"/>
                      </a:lnTo>
                      <a:lnTo>
                        <a:pt x="444" y="260"/>
                      </a:lnTo>
                      <a:lnTo>
                        <a:pt x="440" y="250"/>
                      </a:lnTo>
                      <a:lnTo>
                        <a:pt x="445" y="258"/>
                      </a:lnTo>
                      <a:lnTo>
                        <a:pt x="447" y="260"/>
                      </a:lnTo>
                      <a:lnTo>
                        <a:pt x="447" y="262"/>
                      </a:lnTo>
                      <a:lnTo>
                        <a:pt x="447" y="265"/>
                      </a:lnTo>
                      <a:lnTo>
                        <a:pt x="449" y="267"/>
                      </a:lnTo>
                      <a:lnTo>
                        <a:pt x="449" y="264"/>
                      </a:lnTo>
                      <a:lnTo>
                        <a:pt x="449" y="262"/>
                      </a:lnTo>
                      <a:lnTo>
                        <a:pt x="449" y="260"/>
                      </a:lnTo>
                      <a:lnTo>
                        <a:pt x="444" y="253"/>
                      </a:lnTo>
                      <a:lnTo>
                        <a:pt x="442" y="250"/>
                      </a:lnTo>
                      <a:lnTo>
                        <a:pt x="440" y="246"/>
                      </a:lnTo>
                      <a:lnTo>
                        <a:pt x="440" y="243"/>
                      </a:lnTo>
                      <a:lnTo>
                        <a:pt x="440" y="239"/>
                      </a:lnTo>
                      <a:lnTo>
                        <a:pt x="440" y="236"/>
                      </a:lnTo>
                      <a:lnTo>
                        <a:pt x="440" y="230"/>
                      </a:lnTo>
                      <a:lnTo>
                        <a:pt x="442" y="227"/>
                      </a:lnTo>
                      <a:lnTo>
                        <a:pt x="442" y="216"/>
                      </a:lnTo>
                      <a:lnTo>
                        <a:pt x="442" y="202"/>
                      </a:lnTo>
                      <a:lnTo>
                        <a:pt x="445" y="188"/>
                      </a:lnTo>
                      <a:lnTo>
                        <a:pt x="452" y="166"/>
                      </a:lnTo>
                      <a:lnTo>
                        <a:pt x="454" y="159"/>
                      </a:lnTo>
                      <a:lnTo>
                        <a:pt x="452" y="159"/>
                      </a:lnTo>
                      <a:lnTo>
                        <a:pt x="450" y="159"/>
                      </a:lnTo>
                      <a:lnTo>
                        <a:pt x="450" y="160"/>
                      </a:lnTo>
                      <a:lnTo>
                        <a:pt x="449" y="160"/>
                      </a:lnTo>
                      <a:lnTo>
                        <a:pt x="447" y="160"/>
                      </a:lnTo>
                      <a:lnTo>
                        <a:pt x="444" y="157"/>
                      </a:lnTo>
                      <a:lnTo>
                        <a:pt x="442" y="157"/>
                      </a:lnTo>
                      <a:lnTo>
                        <a:pt x="430" y="153"/>
                      </a:lnTo>
                      <a:lnTo>
                        <a:pt x="417" y="150"/>
                      </a:lnTo>
                      <a:lnTo>
                        <a:pt x="414" y="146"/>
                      </a:lnTo>
                      <a:lnTo>
                        <a:pt x="410" y="145"/>
                      </a:lnTo>
                      <a:lnTo>
                        <a:pt x="410" y="143"/>
                      </a:lnTo>
                      <a:lnTo>
                        <a:pt x="409" y="140"/>
                      </a:lnTo>
                      <a:lnTo>
                        <a:pt x="409" y="138"/>
                      </a:lnTo>
                      <a:lnTo>
                        <a:pt x="409" y="136"/>
                      </a:lnTo>
                      <a:lnTo>
                        <a:pt x="405" y="134"/>
                      </a:lnTo>
                      <a:lnTo>
                        <a:pt x="405" y="133"/>
                      </a:lnTo>
                      <a:lnTo>
                        <a:pt x="403" y="129"/>
                      </a:lnTo>
                      <a:lnTo>
                        <a:pt x="403" y="122"/>
                      </a:lnTo>
                      <a:lnTo>
                        <a:pt x="403" y="120"/>
                      </a:lnTo>
                      <a:lnTo>
                        <a:pt x="402" y="119"/>
                      </a:lnTo>
                      <a:lnTo>
                        <a:pt x="400" y="117"/>
                      </a:lnTo>
                      <a:lnTo>
                        <a:pt x="400" y="117"/>
                      </a:lnTo>
                      <a:lnTo>
                        <a:pt x="398" y="115"/>
                      </a:lnTo>
                      <a:lnTo>
                        <a:pt x="396" y="113"/>
                      </a:lnTo>
                      <a:lnTo>
                        <a:pt x="393" y="108"/>
                      </a:lnTo>
                      <a:lnTo>
                        <a:pt x="391" y="106"/>
                      </a:lnTo>
                      <a:lnTo>
                        <a:pt x="388" y="103"/>
                      </a:lnTo>
                      <a:lnTo>
                        <a:pt x="386" y="101"/>
                      </a:lnTo>
                      <a:lnTo>
                        <a:pt x="386" y="99"/>
                      </a:lnTo>
                      <a:lnTo>
                        <a:pt x="384" y="96"/>
                      </a:lnTo>
                      <a:lnTo>
                        <a:pt x="384" y="94"/>
                      </a:lnTo>
                      <a:lnTo>
                        <a:pt x="381" y="87"/>
                      </a:lnTo>
                      <a:lnTo>
                        <a:pt x="377" y="84"/>
                      </a:lnTo>
                      <a:lnTo>
                        <a:pt x="367" y="71"/>
                      </a:lnTo>
                      <a:lnTo>
                        <a:pt x="365" y="70"/>
                      </a:lnTo>
                      <a:lnTo>
                        <a:pt x="361" y="68"/>
                      </a:lnTo>
                      <a:lnTo>
                        <a:pt x="360" y="68"/>
                      </a:lnTo>
                      <a:lnTo>
                        <a:pt x="358" y="68"/>
                      </a:lnTo>
                      <a:lnTo>
                        <a:pt x="354" y="68"/>
                      </a:lnTo>
                      <a:lnTo>
                        <a:pt x="351" y="66"/>
                      </a:lnTo>
                      <a:lnTo>
                        <a:pt x="347" y="66"/>
                      </a:lnTo>
                      <a:lnTo>
                        <a:pt x="342" y="66"/>
                      </a:lnTo>
                      <a:lnTo>
                        <a:pt x="339" y="68"/>
                      </a:lnTo>
                      <a:lnTo>
                        <a:pt x="335" y="70"/>
                      </a:lnTo>
                      <a:lnTo>
                        <a:pt x="333" y="73"/>
                      </a:lnTo>
                      <a:lnTo>
                        <a:pt x="333" y="77"/>
                      </a:lnTo>
                      <a:lnTo>
                        <a:pt x="332" y="80"/>
                      </a:lnTo>
                      <a:lnTo>
                        <a:pt x="325" y="84"/>
                      </a:lnTo>
                      <a:lnTo>
                        <a:pt x="318" y="84"/>
                      </a:lnTo>
                      <a:lnTo>
                        <a:pt x="311" y="80"/>
                      </a:lnTo>
                      <a:lnTo>
                        <a:pt x="300" y="73"/>
                      </a:lnTo>
                      <a:lnTo>
                        <a:pt x="297" y="70"/>
                      </a:lnTo>
                      <a:lnTo>
                        <a:pt x="295" y="66"/>
                      </a:lnTo>
                      <a:lnTo>
                        <a:pt x="293" y="63"/>
                      </a:lnTo>
                      <a:lnTo>
                        <a:pt x="290" y="54"/>
                      </a:lnTo>
                      <a:lnTo>
                        <a:pt x="288" y="50"/>
                      </a:lnTo>
                      <a:lnTo>
                        <a:pt x="286" y="47"/>
                      </a:lnTo>
                      <a:lnTo>
                        <a:pt x="267" y="33"/>
                      </a:lnTo>
                      <a:lnTo>
                        <a:pt x="262" y="29"/>
                      </a:lnTo>
                      <a:lnTo>
                        <a:pt x="260" y="28"/>
                      </a:lnTo>
                      <a:lnTo>
                        <a:pt x="257" y="22"/>
                      </a:lnTo>
                      <a:lnTo>
                        <a:pt x="255" y="22"/>
                      </a:lnTo>
                      <a:lnTo>
                        <a:pt x="251" y="21"/>
                      </a:lnTo>
                      <a:lnTo>
                        <a:pt x="216" y="21"/>
                      </a:lnTo>
                      <a:lnTo>
                        <a:pt x="216" y="31"/>
                      </a:lnTo>
                      <a:lnTo>
                        <a:pt x="157" y="31"/>
                      </a:lnTo>
                      <a:lnTo>
                        <a:pt x="152" y="29"/>
                      </a:lnTo>
                      <a:lnTo>
                        <a:pt x="75" y="5"/>
                      </a:lnTo>
                      <a:lnTo>
                        <a:pt x="77" y="3"/>
                      </a:lnTo>
                      <a:lnTo>
                        <a:pt x="77" y="1"/>
                      </a:lnTo>
                      <a:lnTo>
                        <a:pt x="77" y="1"/>
                      </a:lnTo>
                      <a:lnTo>
                        <a:pt x="79" y="0"/>
                      </a:lnTo>
                      <a:lnTo>
                        <a:pt x="26" y="3"/>
                      </a:lnTo>
                      <a:lnTo>
                        <a:pt x="28" y="7"/>
                      </a:lnTo>
                      <a:lnTo>
                        <a:pt x="30" y="10"/>
                      </a:lnTo>
                      <a:lnTo>
                        <a:pt x="31" y="14"/>
                      </a:lnTo>
                      <a:lnTo>
                        <a:pt x="33" y="15"/>
                      </a:lnTo>
                      <a:lnTo>
                        <a:pt x="37" y="19"/>
                      </a:lnTo>
                      <a:lnTo>
                        <a:pt x="38" y="21"/>
                      </a:lnTo>
                      <a:lnTo>
                        <a:pt x="35" y="22"/>
                      </a:lnTo>
                      <a:lnTo>
                        <a:pt x="37" y="24"/>
                      </a:lnTo>
                      <a:lnTo>
                        <a:pt x="37" y="26"/>
                      </a:lnTo>
                      <a:lnTo>
                        <a:pt x="38" y="28"/>
                      </a:lnTo>
                      <a:lnTo>
                        <a:pt x="38" y="29"/>
                      </a:lnTo>
                      <a:lnTo>
                        <a:pt x="42" y="31"/>
                      </a:lnTo>
                      <a:lnTo>
                        <a:pt x="44" y="33"/>
                      </a:lnTo>
                      <a:lnTo>
                        <a:pt x="44" y="35"/>
                      </a:lnTo>
                      <a:lnTo>
                        <a:pt x="44" y="38"/>
                      </a:lnTo>
                      <a:lnTo>
                        <a:pt x="44" y="38"/>
                      </a:lnTo>
                      <a:lnTo>
                        <a:pt x="45" y="40"/>
                      </a:lnTo>
                      <a:lnTo>
                        <a:pt x="49" y="43"/>
                      </a:lnTo>
                      <a:lnTo>
                        <a:pt x="49" y="45"/>
                      </a:lnTo>
                      <a:lnTo>
                        <a:pt x="51" y="47"/>
                      </a:lnTo>
                      <a:lnTo>
                        <a:pt x="51" y="50"/>
                      </a:lnTo>
                      <a:lnTo>
                        <a:pt x="51" y="52"/>
                      </a:lnTo>
                      <a:lnTo>
                        <a:pt x="52" y="54"/>
                      </a:lnTo>
                      <a:lnTo>
                        <a:pt x="54" y="54"/>
                      </a:lnTo>
                      <a:lnTo>
                        <a:pt x="54" y="56"/>
                      </a:lnTo>
                      <a:lnTo>
                        <a:pt x="56" y="57"/>
                      </a:lnTo>
                      <a:lnTo>
                        <a:pt x="56" y="63"/>
                      </a:lnTo>
                      <a:lnTo>
                        <a:pt x="56" y="63"/>
                      </a:lnTo>
                      <a:lnTo>
                        <a:pt x="56" y="64"/>
                      </a:lnTo>
                      <a:lnTo>
                        <a:pt x="58" y="66"/>
                      </a:lnTo>
                      <a:lnTo>
                        <a:pt x="58" y="68"/>
                      </a:lnTo>
                      <a:lnTo>
                        <a:pt x="59" y="68"/>
                      </a:lnTo>
                      <a:lnTo>
                        <a:pt x="63" y="71"/>
                      </a:lnTo>
                      <a:lnTo>
                        <a:pt x="73" y="77"/>
                      </a:lnTo>
                      <a:lnTo>
                        <a:pt x="75" y="78"/>
                      </a:lnTo>
                      <a:lnTo>
                        <a:pt x="84" y="89"/>
                      </a:lnTo>
                      <a:lnTo>
                        <a:pt x="89" y="94"/>
                      </a:lnTo>
                      <a:lnTo>
                        <a:pt x="91" y="96"/>
                      </a:lnTo>
                      <a:lnTo>
                        <a:pt x="93" y="99"/>
                      </a:lnTo>
                      <a:lnTo>
                        <a:pt x="93" y="103"/>
                      </a:lnTo>
                      <a:lnTo>
                        <a:pt x="91" y="105"/>
                      </a:lnTo>
                      <a:lnTo>
                        <a:pt x="91" y="106"/>
                      </a:lnTo>
                      <a:lnTo>
                        <a:pt x="89" y="108"/>
                      </a:lnTo>
                      <a:lnTo>
                        <a:pt x="89" y="110"/>
                      </a:lnTo>
                      <a:lnTo>
                        <a:pt x="89" y="112"/>
                      </a:lnTo>
                      <a:lnTo>
                        <a:pt x="89" y="112"/>
                      </a:lnTo>
                      <a:lnTo>
                        <a:pt x="91" y="112"/>
                      </a:lnTo>
                      <a:lnTo>
                        <a:pt x="91" y="113"/>
                      </a:lnTo>
                      <a:lnTo>
                        <a:pt x="91" y="115"/>
                      </a:lnTo>
                      <a:lnTo>
                        <a:pt x="91" y="115"/>
                      </a:lnTo>
                      <a:lnTo>
                        <a:pt x="93" y="117"/>
                      </a:lnTo>
                      <a:lnTo>
                        <a:pt x="91" y="117"/>
                      </a:lnTo>
                      <a:lnTo>
                        <a:pt x="89" y="115"/>
                      </a:lnTo>
                      <a:lnTo>
                        <a:pt x="87" y="115"/>
                      </a:lnTo>
                      <a:lnTo>
                        <a:pt x="87" y="112"/>
                      </a:lnTo>
                      <a:lnTo>
                        <a:pt x="84" y="113"/>
                      </a:lnTo>
                      <a:lnTo>
                        <a:pt x="80" y="113"/>
                      </a:lnTo>
                      <a:lnTo>
                        <a:pt x="72" y="113"/>
                      </a:lnTo>
                      <a:lnTo>
                        <a:pt x="73" y="117"/>
                      </a:lnTo>
                      <a:lnTo>
                        <a:pt x="75" y="119"/>
                      </a:lnTo>
                      <a:lnTo>
                        <a:pt x="79" y="120"/>
                      </a:lnTo>
                      <a:lnTo>
                        <a:pt x="82" y="122"/>
                      </a:lnTo>
                      <a:lnTo>
                        <a:pt x="82" y="124"/>
                      </a:lnTo>
                      <a:lnTo>
                        <a:pt x="84" y="127"/>
                      </a:lnTo>
                      <a:lnTo>
                        <a:pt x="84" y="127"/>
                      </a:lnTo>
                      <a:lnTo>
                        <a:pt x="86" y="129"/>
                      </a:lnTo>
                      <a:lnTo>
                        <a:pt x="87" y="129"/>
                      </a:lnTo>
                      <a:lnTo>
                        <a:pt x="89" y="129"/>
                      </a:lnTo>
                      <a:lnTo>
                        <a:pt x="89" y="131"/>
                      </a:lnTo>
                      <a:lnTo>
                        <a:pt x="94" y="134"/>
                      </a:lnTo>
                      <a:lnTo>
                        <a:pt x="99" y="138"/>
                      </a:lnTo>
                      <a:lnTo>
                        <a:pt x="99" y="138"/>
                      </a:lnTo>
                      <a:lnTo>
                        <a:pt x="103" y="140"/>
                      </a:lnTo>
                      <a:lnTo>
                        <a:pt x="106" y="140"/>
                      </a:lnTo>
                      <a:lnTo>
                        <a:pt x="110" y="138"/>
                      </a:lnTo>
                      <a:lnTo>
                        <a:pt x="112" y="134"/>
                      </a:lnTo>
                      <a:lnTo>
                        <a:pt x="113" y="141"/>
                      </a:lnTo>
                      <a:lnTo>
                        <a:pt x="119" y="146"/>
                      </a:lnTo>
                      <a:lnTo>
                        <a:pt x="124" y="150"/>
                      </a:lnTo>
                      <a:lnTo>
                        <a:pt x="129" y="153"/>
                      </a:lnTo>
                      <a:lnTo>
                        <a:pt x="133" y="160"/>
                      </a:lnTo>
                      <a:lnTo>
                        <a:pt x="134" y="166"/>
                      </a:lnTo>
                      <a:lnTo>
                        <a:pt x="134" y="180"/>
                      </a:lnTo>
                      <a:lnTo>
                        <a:pt x="134" y="185"/>
                      </a:lnTo>
                      <a:lnTo>
                        <a:pt x="138" y="188"/>
                      </a:lnTo>
                      <a:lnTo>
                        <a:pt x="157" y="202"/>
                      </a:lnTo>
                      <a:lnTo>
                        <a:pt x="166" y="211"/>
                      </a:lnTo>
                      <a:lnTo>
                        <a:pt x="171" y="215"/>
                      </a:lnTo>
                      <a:lnTo>
                        <a:pt x="173" y="216"/>
                      </a:lnTo>
                      <a:lnTo>
                        <a:pt x="175" y="220"/>
                      </a:lnTo>
                      <a:lnTo>
                        <a:pt x="178" y="229"/>
                      </a:lnTo>
                      <a:lnTo>
                        <a:pt x="180" y="230"/>
                      </a:lnTo>
                      <a:lnTo>
                        <a:pt x="183" y="229"/>
                      </a:lnTo>
                      <a:lnTo>
                        <a:pt x="187" y="227"/>
                      </a:lnTo>
                      <a:lnTo>
                        <a:pt x="189" y="225"/>
                      </a:lnTo>
                      <a:lnTo>
                        <a:pt x="190" y="223"/>
                      </a:lnTo>
                      <a:lnTo>
                        <a:pt x="190" y="220"/>
                      </a:lnTo>
                      <a:lnTo>
                        <a:pt x="192" y="218"/>
                      </a:lnTo>
                      <a:lnTo>
                        <a:pt x="192" y="218"/>
                      </a:lnTo>
                      <a:lnTo>
                        <a:pt x="190" y="216"/>
                      </a:lnTo>
                      <a:lnTo>
                        <a:pt x="190" y="215"/>
                      </a:lnTo>
                      <a:lnTo>
                        <a:pt x="190" y="215"/>
                      </a:lnTo>
                      <a:lnTo>
                        <a:pt x="189" y="215"/>
                      </a:lnTo>
                      <a:lnTo>
                        <a:pt x="189" y="213"/>
                      </a:lnTo>
                      <a:lnTo>
                        <a:pt x="185" y="213"/>
                      </a:lnTo>
                      <a:lnTo>
                        <a:pt x="185" y="209"/>
                      </a:lnTo>
                      <a:lnTo>
                        <a:pt x="182" y="202"/>
                      </a:lnTo>
                      <a:lnTo>
                        <a:pt x="176" y="199"/>
                      </a:lnTo>
                      <a:lnTo>
                        <a:pt x="175" y="197"/>
                      </a:lnTo>
                      <a:lnTo>
                        <a:pt x="173" y="197"/>
                      </a:lnTo>
                      <a:lnTo>
                        <a:pt x="173" y="197"/>
                      </a:lnTo>
                      <a:lnTo>
                        <a:pt x="173" y="197"/>
                      </a:lnTo>
                      <a:lnTo>
                        <a:pt x="173" y="199"/>
                      </a:lnTo>
                      <a:lnTo>
                        <a:pt x="173" y="199"/>
                      </a:lnTo>
                      <a:lnTo>
                        <a:pt x="173" y="201"/>
                      </a:lnTo>
                      <a:lnTo>
                        <a:pt x="171" y="201"/>
                      </a:lnTo>
                      <a:lnTo>
                        <a:pt x="171" y="202"/>
                      </a:lnTo>
                      <a:lnTo>
                        <a:pt x="171" y="202"/>
                      </a:lnTo>
                      <a:lnTo>
                        <a:pt x="169" y="201"/>
                      </a:lnTo>
                      <a:lnTo>
                        <a:pt x="169" y="201"/>
                      </a:lnTo>
                      <a:lnTo>
                        <a:pt x="166" y="197"/>
                      </a:lnTo>
                      <a:lnTo>
                        <a:pt x="164" y="195"/>
                      </a:lnTo>
                      <a:lnTo>
                        <a:pt x="164" y="192"/>
                      </a:lnTo>
                      <a:lnTo>
                        <a:pt x="164" y="188"/>
                      </a:lnTo>
                      <a:lnTo>
                        <a:pt x="164" y="187"/>
                      </a:lnTo>
                      <a:lnTo>
                        <a:pt x="164" y="185"/>
                      </a:lnTo>
                      <a:lnTo>
                        <a:pt x="164" y="183"/>
                      </a:lnTo>
                      <a:lnTo>
                        <a:pt x="164" y="181"/>
                      </a:lnTo>
                      <a:lnTo>
                        <a:pt x="162" y="181"/>
                      </a:lnTo>
                      <a:lnTo>
                        <a:pt x="161" y="178"/>
                      </a:lnTo>
                      <a:lnTo>
                        <a:pt x="159" y="176"/>
                      </a:lnTo>
                      <a:lnTo>
                        <a:pt x="159" y="174"/>
                      </a:lnTo>
                      <a:lnTo>
                        <a:pt x="157" y="171"/>
                      </a:lnTo>
                      <a:lnTo>
                        <a:pt x="157" y="169"/>
                      </a:lnTo>
                      <a:lnTo>
                        <a:pt x="155" y="167"/>
                      </a:lnTo>
                      <a:lnTo>
                        <a:pt x="154" y="166"/>
                      </a:lnTo>
                      <a:lnTo>
                        <a:pt x="154" y="164"/>
                      </a:lnTo>
                      <a:lnTo>
                        <a:pt x="152" y="162"/>
                      </a:lnTo>
                      <a:lnTo>
                        <a:pt x="150" y="159"/>
                      </a:lnTo>
                      <a:lnTo>
                        <a:pt x="150" y="152"/>
                      </a:lnTo>
                      <a:lnTo>
                        <a:pt x="148" y="148"/>
                      </a:lnTo>
                      <a:lnTo>
                        <a:pt x="147" y="145"/>
                      </a:lnTo>
                      <a:lnTo>
                        <a:pt x="145" y="141"/>
                      </a:lnTo>
                      <a:lnTo>
                        <a:pt x="143" y="140"/>
                      </a:lnTo>
                      <a:lnTo>
                        <a:pt x="141" y="136"/>
                      </a:lnTo>
                      <a:lnTo>
                        <a:pt x="140" y="138"/>
                      </a:lnTo>
                      <a:lnTo>
                        <a:pt x="140" y="140"/>
                      </a:lnTo>
                      <a:lnTo>
                        <a:pt x="141" y="141"/>
                      </a:lnTo>
                      <a:lnTo>
                        <a:pt x="143" y="143"/>
                      </a:lnTo>
                      <a:lnTo>
                        <a:pt x="140" y="143"/>
                      </a:lnTo>
                      <a:lnTo>
                        <a:pt x="138" y="140"/>
                      </a:lnTo>
                      <a:lnTo>
                        <a:pt x="136" y="133"/>
                      </a:lnTo>
                      <a:lnTo>
                        <a:pt x="136" y="131"/>
                      </a:lnTo>
                      <a:lnTo>
                        <a:pt x="134" y="131"/>
                      </a:lnTo>
                      <a:lnTo>
                        <a:pt x="134" y="131"/>
                      </a:lnTo>
                      <a:lnTo>
                        <a:pt x="133" y="129"/>
                      </a:lnTo>
                      <a:lnTo>
                        <a:pt x="133" y="129"/>
                      </a:lnTo>
                      <a:lnTo>
                        <a:pt x="131" y="127"/>
                      </a:lnTo>
                      <a:lnTo>
                        <a:pt x="129" y="122"/>
                      </a:lnTo>
                      <a:lnTo>
                        <a:pt x="129" y="120"/>
                      </a:lnTo>
                      <a:lnTo>
                        <a:pt x="127" y="120"/>
                      </a:lnTo>
                      <a:lnTo>
                        <a:pt x="124" y="117"/>
                      </a:lnTo>
                      <a:lnTo>
                        <a:pt x="124" y="117"/>
                      </a:lnTo>
                      <a:lnTo>
                        <a:pt x="122" y="113"/>
                      </a:lnTo>
                      <a:lnTo>
                        <a:pt x="120" y="112"/>
                      </a:lnTo>
                      <a:lnTo>
                        <a:pt x="119" y="103"/>
                      </a:lnTo>
                      <a:lnTo>
                        <a:pt x="117" y="101"/>
                      </a:lnTo>
                      <a:lnTo>
                        <a:pt x="117" y="101"/>
                      </a:lnTo>
                      <a:lnTo>
                        <a:pt x="117" y="99"/>
                      </a:lnTo>
                      <a:lnTo>
                        <a:pt x="117" y="99"/>
                      </a:lnTo>
                      <a:lnTo>
                        <a:pt x="117" y="99"/>
                      </a:lnTo>
                      <a:lnTo>
                        <a:pt x="117" y="98"/>
                      </a:lnTo>
                      <a:lnTo>
                        <a:pt x="115" y="98"/>
                      </a:lnTo>
                      <a:lnTo>
                        <a:pt x="113" y="98"/>
                      </a:lnTo>
                      <a:lnTo>
                        <a:pt x="112" y="96"/>
                      </a:lnTo>
                      <a:lnTo>
                        <a:pt x="110" y="91"/>
                      </a:lnTo>
                      <a:lnTo>
                        <a:pt x="108" y="89"/>
                      </a:lnTo>
                      <a:lnTo>
                        <a:pt x="106" y="87"/>
                      </a:lnTo>
                      <a:lnTo>
                        <a:pt x="105" y="87"/>
                      </a:lnTo>
                      <a:lnTo>
                        <a:pt x="103" y="85"/>
                      </a:lnTo>
                      <a:lnTo>
                        <a:pt x="103" y="84"/>
                      </a:lnTo>
                      <a:lnTo>
                        <a:pt x="99" y="78"/>
                      </a:lnTo>
                      <a:lnTo>
                        <a:pt x="99" y="77"/>
                      </a:lnTo>
                      <a:lnTo>
                        <a:pt x="96" y="75"/>
                      </a:lnTo>
                      <a:lnTo>
                        <a:pt x="86" y="66"/>
                      </a:lnTo>
                      <a:lnTo>
                        <a:pt x="82" y="63"/>
                      </a:lnTo>
                      <a:lnTo>
                        <a:pt x="80" y="59"/>
                      </a:lnTo>
                      <a:lnTo>
                        <a:pt x="80" y="56"/>
                      </a:lnTo>
                      <a:lnTo>
                        <a:pt x="80" y="50"/>
                      </a:lnTo>
                      <a:lnTo>
                        <a:pt x="79" y="47"/>
                      </a:lnTo>
                      <a:lnTo>
                        <a:pt x="75" y="40"/>
                      </a:lnTo>
                      <a:lnTo>
                        <a:pt x="75" y="35"/>
                      </a:lnTo>
                      <a:lnTo>
                        <a:pt x="75" y="31"/>
                      </a:lnTo>
                      <a:lnTo>
                        <a:pt x="75" y="26"/>
                      </a:lnTo>
                      <a:lnTo>
                        <a:pt x="75" y="22"/>
                      </a:lnTo>
                      <a:lnTo>
                        <a:pt x="73" y="19"/>
                      </a:lnTo>
                      <a:lnTo>
                        <a:pt x="86" y="26"/>
                      </a:lnTo>
                      <a:lnTo>
                        <a:pt x="91" y="26"/>
                      </a:lnTo>
                      <a:lnTo>
                        <a:pt x="93" y="26"/>
                      </a:lnTo>
                      <a:lnTo>
                        <a:pt x="94" y="26"/>
                      </a:lnTo>
                      <a:lnTo>
                        <a:pt x="98" y="26"/>
                      </a:lnTo>
                      <a:lnTo>
                        <a:pt x="99" y="26"/>
                      </a:lnTo>
                      <a:lnTo>
                        <a:pt x="99" y="28"/>
                      </a:lnTo>
                      <a:lnTo>
                        <a:pt x="101" y="29"/>
                      </a:lnTo>
                      <a:lnTo>
                        <a:pt x="101" y="29"/>
                      </a:lnTo>
                      <a:lnTo>
                        <a:pt x="103" y="31"/>
                      </a:lnTo>
                      <a:lnTo>
                        <a:pt x="105" y="31"/>
                      </a:lnTo>
                      <a:lnTo>
                        <a:pt x="105" y="33"/>
                      </a:lnTo>
                      <a:lnTo>
                        <a:pt x="106" y="33"/>
                      </a:lnTo>
                      <a:lnTo>
                        <a:pt x="110" y="33"/>
                      </a:lnTo>
                      <a:lnTo>
                        <a:pt x="112" y="35"/>
                      </a:lnTo>
                      <a:lnTo>
                        <a:pt x="113" y="36"/>
                      </a:lnTo>
                      <a:lnTo>
                        <a:pt x="112" y="36"/>
                      </a:lnTo>
                      <a:lnTo>
                        <a:pt x="113" y="45"/>
                      </a:lnTo>
                      <a:lnTo>
                        <a:pt x="113" y="49"/>
                      </a:lnTo>
                      <a:lnTo>
                        <a:pt x="119" y="57"/>
                      </a:lnTo>
                      <a:lnTo>
                        <a:pt x="122" y="63"/>
                      </a:lnTo>
                      <a:lnTo>
                        <a:pt x="126" y="71"/>
                      </a:lnTo>
                      <a:lnTo>
                        <a:pt x="127" y="75"/>
                      </a:lnTo>
                      <a:lnTo>
                        <a:pt x="127" y="75"/>
                      </a:lnTo>
                      <a:lnTo>
                        <a:pt x="129" y="77"/>
                      </a:lnTo>
                      <a:lnTo>
                        <a:pt x="131" y="78"/>
                      </a:lnTo>
                      <a:lnTo>
                        <a:pt x="131" y="80"/>
                      </a:lnTo>
                      <a:lnTo>
                        <a:pt x="133" y="82"/>
                      </a:lnTo>
                      <a:lnTo>
                        <a:pt x="133" y="85"/>
                      </a:lnTo>
                      <a:lnTo>
                        <a:pt x="134" y="87"/>
                      </a:lnTo>
                      <a:lnTo>
                        <a:pt x="134" y="87"/>
                      </a:lnTo>
                      <a:lnTo>
                        <a:pt x="136" y="89"/>
                      </a:lnTo>
                      <a:lnTo>
                        <a:pt x="138" y="91"/>
                      </a:lnTo>
                      <a:lnTo>
                        <a:pt x="138" y="91"/>
                      </a:lnTo>
                      <a:lnTo>
                        <a:pt x="140" y="94"/>
                      </a:lnTo>
                      <a:lnTo>
                        <a:pt x="141" y="96"/>
                      </a:lnTo>
                      <a:lnTo>
                        <a:pt x="147" y="99"/>
                      </a:lnTo>
                      <a:lnTo>
                        <a:pt x="152" y="108"/>
                      </a:lnTo>
                      <a:lnTo>
                        <a:pt x="155" y="110"/>
                      </a:lnTo>
                      <a:lnTo>
                        <a:pt x="159" y="112"/>
                      </a:lnTo>
                      <a:lnTo>
                        <a:pt x="168" y="113"/>
                      </a:lnTo>
                      <a:lnTo>
                        <a:pt x="166" y="117"/>
                      </a:lnTo>
                      <a:lnTo>
                        <a:pt x="166" y="120"/>
                      </a:lnTo>
                      <a:lnTo>
                        <a:pt x="168" y="124"/>
                      </a:lnTo>
                      <a:lnTo>
                        <a:pt x="169" y="126"/>
                      </a:lnTo>
                      <a:lnTo>
                        <a:pt x="173" y="129"/>
                      </a:lnTo>
                      <a:lnTo>
                        <a:pt x="178" y="131"/>
                      </a:lnTo>
                      <a:lnTo>
                        <a:pt x="180" y="134"/>
                      </a:lnTo>
                      <a:lnTo>
                        <a:pt x="182" y="136"/>
                      </a:lnTo>
                      <a:lnTo>
                        <a:pt x="182" y="138"/>
                      </a:lnTo>
                      <a:lnTo>
                        <a:pt x="183" y="140"/>
                      </a:lnTo>
                      <a:lnTo>
                        <a:pt x="183" y="140"/>
                      </a:lnTo>
                      <a:lnTo>
                        <a:pt x="185" y="141"/>
                      </a:lnTo>
                      <a:lnTo>
                        <a:pt x="189" y="140"/>
                      </a:lnTo>
                      <a:lnTo>
                        <a:pt x="190" y="141"/>
                      </a:lnTo>
                      <a:lnTo>
                        <a:pt x="194" y="143"/>
                      </a:lnTo>
                      <a:lnTo>
                        <a:pt x="196" y="145"/>
                      </a:lnTo>
                      <a:lnTo>
                        <a:pt x="196" y="148"/>
                      </a:lnTo>
                      <a:lnTo>
                        <a:pt x="197" y="152"/>
                      </a:lnTo>
                      <a:lnTo>
                        <a:pt x="196" y="150"/>
                      </a:lnTo>
                      <a:lnTo>
                        <a:pt x="194" y="153"/>
                      </a:lnTo>
                      <a:lnTo>
                        <a:pt x="192" y="157"/>
                      </a:lnTo>
                      <a:lnTo>
                        <a:pt x="190" y="160"/>
                      </a:lnTo>
                      <a:lnTo>
                        <a:pt x="192" y="164"/>
                      </a:lnTo>
                      <a:lnTo>
                        <a:pt x="196" y="166"/>
                      </a:lnTo>
                      <a:lnTo>
                        <a:pt x="197" y="167"/>
                      </a:lnTo>
                      <a:lnTo>
                        <a:pt x="201" y="166"/>
                      </a:lnTo>
                      <a:lnTo>
                        <a:pt x="203" y="164"/>
                      </a:lnTo>
                      <a:lnTo>
                        <a:pt x="203" y="166"/>
                      </a:lnTo>
                      <a:lnTo>
                        <a:pt x="199" y="167"/>
                      </a:lnTo>
                      <a:lnTo>
                        <a:pt x="199" y="169"/>
                      </a:lnTo>
                      <a:lnTo>
                        <a:pt x="201" y="169"/>
                      </a:lnTo>
                      <a:lnTo>
                        <a:pt x="201" y="169"/>
                      </a:lnTo>
                      <a:lnTo>
                        <a:pt x="203" y="169"/>
                      </a:lnTo>
                      <a:lnTo>
                        <a:pt x="203" y="169"/>
                      </a:lnTo>
                      <a:lnTo>
                        <a:pt x="204" y="169"/>
                      </a:lnTo>
                      <a:lnTo>
                        <a:pt x="206" y="169"/>
                      </a:lnTo>
                      <a:lnTo>
                        <a:pt x="208" y="171"/>
                      </a:lnTo>
                      <a:lnTo>
                        <a:pt x="211" y="174"/>
                      </a:lnTo>
                      <a:lnTo>
                        <a:pt x="213" y="176"/>
                      </a:lnTo>
                      <a:lnTo>
                        <a:pt x="216" y="178"/>
                      </a:lnTo>
                      <a:lnTo>
                        <a:pt x="220" y="178"/>
                      </a:lnTo>
                      <a:lnTo>
                        <a:pt x="222" y="180"/>
                      </a:lnTo>
                      <a:lnTo>
                        <a:pt x="220" y="180"/>
                      </a:lnTo>
                      <a:lnTo>
                        <a:pt x="218" y="180"/>
                      </a:lnTo>
                      <a:lnTo>
                        <a:pt x="216" y="180"/>
                      </a:lnTo>
                      <a:lnTo>
                        <a:pt x="216" y="180"/>
                      </a:lnTo>
                      <a:lnTo>
                        <a:pt x="218" y="183"/>
                      </a:lnTo>
                      <a:lnTo>
                        <a:pt x="222" y="187"/>
                      </a:lnTo>
                      <a:lnTo>
                        <a:pt x="225" y="190"/>
                      </a:lnTo>
                      <a:lnTo>
                        <a:pt x="229" y="192"/>
                      </a:lnTo>
                      <a:lnTo>
                        <a:pt x="230" y="192"/>
                      </a:lnTo>
                      <a:lnTo>
                        <a:pt x="232" y="194"/>
                      </a:lnTo>
                      <a:lnTo>
                        <a:pt x="232" y="194"/>
                      </a:lnTo>
                      <a:lnTo>
                        <a:pt x="232" y="195"/>
                      </a:lnTo>
                      <a:lnTo>
                        <a:pt x="232" y="195"/>
                      </a:lnTo>
                      <a:lnTo>
                        <a:pt x="230" y="195"/>
                      </a:lnTo>
                      <a:lnTo>
                        <a:pt x="229" y="194"/>
                      </a:lnTo>
                      <a:lnTo>
                        <a:pt x="227" y="194"/>
                      </a:lnTo>
                      <a:lnTo>
                        <a:pt x="239" y="202"/>
                      </a:lnTo>
                      <a:lnTo>
                        <a:pt x="244" y="208"/>
                      </a:lnTo>
                      <a:lnTo>
                        <a:pt x="269" y="236"/>
                      </a:lnTo>
                      <a:lnTo>
                        <a:pt x="271" y="239"/>
                      </a:lnTo>
                      <a:lnTo>
                        <a:pt x="271" y="243"/>
                      </a:lnTo>
                      <a:lnTo>
                        <a:pt x="272" y="253"/>
                      </a:lnTo>
                      <a:lnTo>
                        <a:pt x="274" y="255"/>
                      </a:lnTo>
                      <a:lnTo>
                        <a:pt x="276" y="258"/>
                      </a:lnTo>
                      <a:lnTo>
                        <a:pt x="281" y="264"/>
                      </a:lnTo>
                      <a:lnTo>
                        <a:pt x="281" y="265"/>
                      </a:lnTo>
                      <a:lnTo>
                        <a:pt x="281" y="269"/>
                      </a:lnTo>
                      <a:lnTo>
                        <a:pt x="281" y="271"/>
                      </a:lnTo>
                      <a:lnTo>
                        <a:pt x="279" y="274"/>
                      </a:lnTo>
                      <a:lnTo>
                        <a:pt x="278" y="276"/>
                      </a:lnTo>
                      <a:lnTo>
                        <a:pt x="276" y="278"/>
                      </a:lnTo>
                      <a:lnTo>
                        <a:pt x="278" y="279"/>
                      </a:lnTo>
                      <a:lnTo>
                        <a:pt x="279" y="279"/>
                      </a:lnTo>
                      <a:lnTo>
                        <a:pt x="281" y="281"/>
                      </a:lnTo>
                      <a:lnTo>
                        <a:pt x="281" y="283"/>
                      </a:lnTo>
                      <a:lnTo>
                        <a:pt x="279" y="285"/>
                      </a:lnTo>
                      <a:lnTo>
                        <a:pt x="278" y="285"/>
                      </a:lnTo>
                      <a:lnTo>
                        <a:pt x="276" y="285"/>
                      </a:lnTo>
                      <a:lnTo>
                        <a:pt x="274" y="286"/>
                      </a:lnTo>
                      <a:lnTo>
                        <a:pt x="272" y="286"/>
                      </a:lnTo>
                      <a:lnTo>
                        <a:pt x="272" y="288"/>
                      </a:lnTo>
                      <a:lnTo>
                        <a:pt x="272" y="288"/>
                      </a:lnTo>
                      <a:lnTo>
                        <a:pt x="274" y="293"/>
                      </a:lnTo>
                      <a:lnTo>
                        <a:pt x="276" y="297"/>
                      </a:lnTo>
                      <a:lnTo>
                        <a:pt x="278" y="300"/>
                      </a:lnTo>
                      <a:lnTo>
                        <a:pt x="286" y="312"/>
                      </a:lnTo>
                      <a:lnTo>
                        <a:pt x="290" y="314"/>
                      </a:lnTo>
                      <a:lnTo>
                        <a:pt x="309" y="323"/>
                      </a:lnTo>
                      <a:lnTo>
                        <a:pt x="314" y="328"/>
                      </a:lnTo>
                      <a:lnTo>
                        <a:pt x="316" y="332"/>
                      </a:lnTo>
                      <a:lnTo>
                        <a:pt x="320" y="333"/>
                      </a:lnTo>
                      <a:lnTo>
                        <a:pt x="321" y="335"/>
                      </a:lnTo>
                      <a:lnTo>
                        <a:pt x="335" y="340"/>
                      </a:lnTo>
                      <a:lnTo>
                        <a:pt x="339" y="340"/>
                      </a:lnTo>
                      <a:lnTo>
                        <a:pt x="342" y="342"/>
                      </a:lnTo>
                      <a:lnTo>
                        <a:pt x="349" y="342"/>
                      </a:lnTo>
                      <a:lnTo>
                        <a:pt x="351" y="342"/>
                      </a:lnTo>
                      <a:lnTo>
                        <a:pt x="354" y="344"/>
                      </a:lnTo>
                      <a:lnTo>
                        <a:pt x="360" y="351"/>
                      </a:lnTo>
                      <a:lnTo>
                        <a:pt x="363" y="353"/>
                      </a:lnTo>
                      <a:lnTo>
                        <a:pt x="400" y="370"/>
                      </a:lnTo>
                      <a:lnTo>
                        <a:pt x="403" y="372"/>
                      </a:lnTo>
                      <a:lnTo>
                        <a:pt x="412" y="374"/>
                      </a:lnTo>
                      <a:lnTo>
                        <a:pt x="416" y="375"/>
                      </a:lnTo>
                      <a:lnTo>
                        <a:pt x="419" y="375"/>
                      </a:lnTo>
                      <a:lnTo>
                        <a:pt x="424" y="379"/>
                      </a:lnTo>
                      <a:lnTo>
                        <a:pt x="431" y="382"/>
                      </a:lnTo>
                      <a:lnTo>
                        <a:pt x="438" y="386"/>
                      </a:lnTo>
                      <a:lnTo>
                        <a:pt x="442" y="388"/>
                      </a:lnTo>
                      <a:lnTo>
                        <a:pt x="445" y="389"/>
                      </a:lnTo>
                      <a:lnTo>
                        <a:pt x="454" y="389"/>
                      </a:lnTo>
                      <a:lnTo>
                        <a:pt x="461" y="393"/>
                      </a:lnTo>
                      <a:lnTo>
                        <a:pt x="466" y="395"/>
                      </a:lnTo>
                      <a:lnTo>
                        <a:pt x="470" y="395"/>
                      </a:lnTo>
                      <a:lnTo>
                        <a:pt x="473" y="393"/>
                      </a:lnTo>
                      <a:lnTo>
                        <a:pt x="482" y="391"/>
                      </a:lnTo>
                      <a:lnTo>
                        <a:pt x="496" y="384"/>
                      </a:lnTo>
                      <a:lnTo>
                        <a:pt x="505" y="382"/>
                      </a:lnTo>
                      <a:lnTo>
                        <a:pt x="499" y="381"/>
                      </a:lnTo>
                      <a:lnTo>
                        <a:pt x="501" y="379"/>
                      </a:lnTo>
                      <a:lnTo>
                        <a:pt x="503" y="377"/>
                      </a:lnTo>
                      <a:lnTo>
                        <a:pt x="503" y="379"/>
                      </a:lnTo>
                      <a:lnTo>
                        <a:pt x="505" y="381"/>
                      </a:lnTo>
                      <a:lnTo>
                        <a:pt x="505" y="379"/>
                      </a:lnTo>
                      <a:lnTo>
                        <a:pt x="506" y="379"/>
                      </a:lnTo>
                      <a:lnTo>
                        <a:pt x="508" y="379"/>
                      </a:lnTo>
                      <a:lnTo>
                        <a:pt x="508" y="379"/>
                      </a:lnTo>
                      <a:lnTo>
                        <a:pt x="508" y="381"/>
                      </a:lnTo>
                      <a:lnTo>
                        <a:pt x="506" y="382"/>
                      </a:lnTo>
                      <a:lnTo>
                        <a:pt x="510" y="382"/>
                      </a:lnTo>
                      <a:lnTo>
                        <a:pt x="520" y="386"/>
                      </a:lnTo>
                      <a:lnTo>
                        <a:pt x="513" y="381"/>
                      </a:lnTo>
                      <a:lnTo>
                        <a:pt x="513" y="381"/>
                      </a:lnTo>
                      <a:lnTo>
                        <a:pt x="517" y="382"/>
                      </a:lnTo>
                      <a:lnTo>
                        <a:pt x="522" y="384"/>
                      </a:lnTo>
                      <a:lnTo>
                        <a:pt x="559" y="419"/>
                      </a:lnTo>
                      <a:lnTo>
                        <a:pt x="561" y="417"/>
                      </a:lnTo>
                      <a:lnTo>
                        <a:pt x="561" y="414"/>
                      </a:lnTo>
                      <a:close/>
                      <a:moveTo>
                        <a:pt x="134" y="190"/>
                      </a:moveTo>
                      <a:lnTo>
                        <a:pt x="134" y="192"/>
                      </a:lnTo>
                      <a:lnTo>
                        <a:pt x="133" y="190"/>
                      </a:lnTo>
                      <a:lnTo>
                        <a:pt x="133" y="188"/>
                      </a:lnTo>
                      <a:lnTo>
                        <a:pt x="131" y="187"/>
                      </a:lnTo>
                      <a:lnTo>
                        <a:pt x="129" y="187"/>
                      </a:lnTo>
                      <a:lnTo>
                        <a:pt x="131" y="183"/>
                      </a:lnTo>
                      <a:lnTo>
                        <a:pt x="133" y="180"/>
                      </a:lnTo>
                      <a:lnTo>
                        <a:pt x="133" y="174"/>
                      </a:lnTo>
                      <a:lnTo>
                        <a:pt x="133" y="176"/>
                      </a:lnTo>
                      <a:lnTo>
                        <a:pt x="133" y="181"/>
                      </a:lnTo>
                      <a:lnTo>
                        <a:pt x="133" y="185"/>
                      </a:lnTo>
                      <a:lnTo>
                        <a:pt x="133" y="187"/>
                      </a:lnTo>
                      <a:lnTo>
                        <a:pt x="134" y="190"/>
                      </a:lnTo>
                      <a:close/>
                      <a:moveTo>
                        <a:pt x="182" y="197"/>
                      </a:moveTo>
                      <a:lnTo>
                        <a:pt x="183" y="199"/>
                      </a:lnTo>
                      <a:lnTo>
                        <a:pt x="183" y="201"/>
                      </a:lnTo>
                      <a:lnTo>
                        <a:pt x="182" y="201"/>
                      </a:lnTo>
                      <a:lnTo>
                        <a:pt x="182" y="199"/>
                      </a:lnTo>
                      <a:lnTo>
                        <a:pt x="182" y="197"/>
                      </a:lnTo>
                      <a:lnTo>
                        <a:pt x="182" y="197"/>
                      </a:lnTo>
                      <a:close/>
                      <a:moveTo>
                        <a:pt x="131" y="80"/>
                      </a:moveTo>
                      <a:lnTo>
                        <a:pt x="133" y="85"/>
                      </a:lnTo>
                      <a:lnTo>
                        <a:pt x="131" y="89"/>
                      </a:lnTo>
                      <a:lnTo>
                        <a:pt x="129" y="91"/>
                      </a:lnTo>
                      <a:lnTo>
                        <a:pt x="127" y="91"/>
                      </a:lnTo>
                      <a:lnTo>
                        <a:pt x="126" y="91"/>
                      </a:lnTo>
                      <a:lnTo>
                        <a:pt x="126" y="89"/>
                      </a:lnTo>
                      <a:lnTo>
                        <a:pt x="126" y="87"/>
                      </a:lnTo>
                      <a:lnTo>
                        <a:pt x="126" y="84"/>
                      </a:lnTo>
                      <a:lnTo>
                        <a:pt x="127" y="82"/>
                      </a:lnTo>
                      <a:lnTo>
                        <a:pt x="127" y="80"/>
                      </a:lnTo>
                      <a:lnTo>
                        <a:pt x="131" y="80"/>
                      </a:lnTo>
                      <a:lnTo>
                        <a:pt x="131" y="80"/>
                      </a:lnTo>
                      <a:close/>
                      <a:moveTo>
                        <a:pt x="155" y="155"/>
                      </a:moveTo>
                      <a:lnTo>
                        <a:pt x="155" y="155"/>
                      </a:lnTo>
                      <a:lnTo>
                        <a:pt x="155" y="157"/>
                      </a:lnTo>
                      <a:lnTo>
                        <a:pt x="155" y="157"/>
                      </a:lnTo>
                      <a:lnTo>
                        <a:pt x="155" y="157"/>
                      </a:lnTo>
                      <a:lnTo>
                        <a:pt x="155" y="157"/>
                      </a:lnTo>
                      <a:lnTo>
                        <a:pt x="155" y="157"/>
                      </a:lnTo>
                      <a:lnTo>
                        <a:pt x="154" y="159"/>
                      </a:lnTo>
                      <a:lnTo>
                        <a:pt x="154" y="160"/>
                      </a:lnTo>
                      <a:lnTo>
                        <a:pt x="154" y="157"/>
                      </a:lnTo>
                      <a:lnTo>
                        <a:pt x="154" y="157"/>
                      </a:lnTo>
                      <a:lnTo>
                        <a:pt x="155" y="155"/>
                      </a:lnTo>
                      <a:close/>
                      <a:moveTo>
                        <a:pt x="110" y="80"/>
                      </a:moveTo>
                      <a:lnTo>
                        <a:pt x="112" y="80"/>
                      </a:lnTo>
                      <a:lnTo>
                        <a:pt x="112" y="84"/>
                      </a:lnTo>
                      <a:lnTo>
                        <a:pt x="108" y="82"/>
                      </a:lnTo>
                      <a:lnTo>
                        <a:pt x="105" y="80"/>
                      </a:lnTo>
                      <a:lnTo>
                        <a:pt x="103" y="77"/>
                      </a:lnTo>
                      <a:lnTo>
                        <a:pt x="103" y="71"/>
                      </a:lnTo>
                      <a:lnTo>
                        <a:pt x="105" y="73"/>
                      </a:lnTo>
                      <a:lnTo>
                        <a:pt x="105" y="75"/>
                      </a:lnTo>
                      <a:lnTo>
                        <a:pt x="106" y="77"/>
                      </a:lnTo>
                      <a:lnTo>
                        <a:pt x="106" y="78"/>
                      </a:lnTo>
                      <a:lnTo>
                        <a:pt x="108" y="78"/>
                      </a:lnTo>
                      <a:lnTo>
                        <a:pt x="110" y="78"/>
                      </a:lnTo>
                      <a:lnTo>
                        <a:pt x="110" y="80"/>
                      </a:lnTo>
                      <a:close/>
                      <a:moveTo>
                        <a:pt x="253" y="258"/>
                      </a:moveTo>
                      <a:lnTo>
                        <a:pt x="253" y="260"/>
                      </a:lnTo>
                      <a:lnTo>
                        <a:pt x="253" y="262"/>
                      </a:lnTo>
                      <a:lnTo>
                        <a:pt x="251" y="262"/>
                      </a:lnTo>
                      <a:lnTo>
                        <a:pt x="251" y="260"/>
                      </a:lnTo>
                      <a:lnTo>
                        <a:pt x="251" y="260"/>
                      </a:lnTo>
                      <a:lnTo>
                        <a:pt x="251" y="258"/>
                      </a:lnTo>
                      <a:lnTo>
                        <a:pt x="253" y="258"/>
                      </a:lnTo>
                      <a:lnTo>
                        <a:pt x="253" y="258"/>
                      </a:lnTo>
                      <a:close/>
                      <a:moveTo>
                        <a:pt x="141" y="194"/>
                      </a:moveTo>
                      <a:lnTo>
                        <a:pt x="143" y="197"/>
                      </a:lnTo>
                      <a:lnTo>
                        <a:pt x="136" y="192"/>
                      </a:lnTo>
                      <a:lnTo>
                        <a:pt x="138" y="192"/>
                      </a:lnTo>
                      <a:lnTo>
                        <a:pt x="140" y="192"/>
                      </a:lnTo>
                      <a:lnTo>
                        <a:pt x="141" y="194"/>
                      </a:lnTo>
                      <a:close/>
                      <a:moveTo>
                        <a:pt x="168" y="181"/>
                      </a:moveTo>
                      <a:lnTo>
                        <a:pt x="168" y="183"/>
                      </a:lnTo>
                      <a:lnTo>
                        <a:pt x="166" y="183"/>
                      </a:lnTo>
                      <a:lnTo>
                        <a:pt x="166" y="181"/>
                      </a:lnTo>
                      <a:lnTo>
                        <a:pt x="164" y="180"/>
                      </a:lnTo>
                      <a:lnTo>
                        <a:pt x="164" y="180"/>
                      </a:lnTo>
                      <a:lnTo>
                        <a:pt x="166" y="180"/>
                      </a:lnTo>
                      <a:lnTo>
                        <a:pt x="166" y="181"/>
                      </a:lnTo>
                      <a:lnTo>
                        <a:pt x="168" y="181"/>
                      </a:lnTo>
                      <a:close/>
                      <a:moveTo>
                        <a:pt x="68" y="105"/>
                      </a:moveTo>
                      <a:lnTo>
                        <a:pt x="68" y="106"/>
                      </a:lnTo>
                      <a:lnTo>
                        <a:pt x="68" y="108"/>
                      </a:lnTo>
                      <a:lnTo>
                        <a:pt x="65" y="108"/>
                      </a:lnTo>
                      <a:lnTo>
                        <a:pt x="65" y="106"/>
                      </a:lnTo>
                      <a:lnTo>
                        <a:pt x="66" y="105"/>
                      </a:lnTo>
                      <a:lnTo>
                        <a:pt x="66" y="103"/>
                      </a:lnTo>
                      <a:lnTo>
                        <a:pt x="66" y="101"/>
                      </a:lnTo>
                      <a:lnTo>
                        <a:pt x="66" y="101"/>
                      </a:lnTo>
                      <a:lnTo>
                        <a:pt x="68" y="103"/>
                      </a:lnTo>
                      <a:lnTo>
                        <a:pt x="68" y="105"/>
                      </a:lnTo>
                      <a:close/>
                      <a:moveTo>
                        <a:pt x="2" y="84"/>
                      </a:moveTo>
                      <a:lnTo>
                        <a:pt x="3" y="85"/>
                      </a:lnTo>
                      <a:lnTo>
                        <a:pt x="2" y="87"/>
                      </a:lnTo>
                      <a:lnTo>
                        <a:pt x="0" y="85"/>
                      </a:lnTo>
                      <a:lnTo>
                        <a:pt x="0" y="84"/>
                      </a:lnTo>
                      <a:lnTo>
                        <a:pt x="0" y="82"/>
                      </a:lnTo>
                      <a:lnTo>
                        <a:pt x="2" y="82"/>
                      </a:lnTo>
                      <a:lnTo>
                        <a:pt x="2" y="84"/>
                      </a:lnTo>
                      <a:close/>
                      <a:moveTo>
                        <a:pt x="676" y="267"/>
                      </a:moveTo>
                      <a:lnTo>
                        <a:pt x="676" y="267"/>
                      </a:lnTo>
                      <a:lnTo>
                        <a:pt x="676" y="269"/>
                      </a:lnTo>
                      <a:lnTo>
                        <a:pt x="676" y="269"/>
                      </a:lnTo>
                      <a:lnTo>
                        <a:pt x="678" y="269"/>
                      </a:lnTo>
                      <a:lnTo>
                        <a:pt x="678" y="269"/>
                      </a:lnTo>
                      <a:lnTo>
                        <a:pt x="678" y="269"/>
                      </a:lnTo>
                      <a:lnTo>
                        <a:pt x="678" y="269"/>
                      </a:lnTo>
                      <a:lnTo>
                        <a:pt x="676" y="26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38" name="Freeform 321">
                  <a:extLst>
                    <a:ext uri="{FF2B5EF4-FFF2-40B4-BE49-F238E27FC236}">
                      <a16:creationId xmlns:a16="http://schemas.microsoft.com/office/drawing/2014/main" id="{C5EE58F3-CF4C-53F6-D2BB-24FDFA49D130}"/>
                    </a:ext>
                  </a:extLst>
                </p:cNvPr>
                <p:cNvSpPr>
                  <a:spLocks noEditPoints="1"/>
                </p:cNvSpPr>
                <p:nvPr/>
              </p:nvSpPr>
              <p:spPr bwMode="auto">
                <a:xfrm>
                  <a:off x="-3377" y="-5130"/>
                  <a:ext cx="1890" cy="1541"/>
                </a:xfrm>
                <a:custGeom>
                  <a:avLst/>
                  <a:gdLst>
                    <a:gd name="T0" fmla="*/ 940 w 1890"/>
                    <a:gd name="T1" fmla="*/ 491 h 1541"/>
                    <a:gd name="T2" fmla="*/ 969 w 1890"/>
                    <a:gd name="T3" fmla="*/ 657 h 1541"/>
                    <a:gd name="T4" fmla="*/ 1355 w 1890"/>
                    <a:gd name="T5" fmla="*/ 865 h 1541"/>
                    <a:gd name="T6" fmla="*/ 791 w 1890"/>
                    <a:gd name="T7" fmla="*/ 428 h 1541"/>
                    <a:gd name="T8" fmla="*/ 817 w 1890"/>
                    <a:gd name="T9" fmla="*/ 617 h 1541"/>
                    <a:gd name="T10" fmla="*/ 480 w 1890"/>
                    <a:gd name="T11" fmla="*/ 575 h 1541"/>
                    <a:gd name="T12" fmla="*/ 681 w 1890"/>
                    <a:gd name="T13" fmla="*/ 703 h 1541"/>
                    <a:gd name="T14" fmla="*/ 1628 w 1890"/>
                    <a:gd name="T15" fmla="*/ 942 h 1541"/>
                    <a:gd name="T16" fmla="*/ 1712 w 1890"/>
                    <a:gd name="T17" fmla="*/ 1125 h 1541"/>
                    <a:gd name="T18" fmla="*/ 1369 w 1890"/>
                    <a:gd name="T19" fmla="*/ 140 h 1541"/>
                    <a:gd name="T20" fmla="*/ 1167 w 1890"/>
                    <a:gd name="T21" fmla="*/ 296 h 1541"/>
                    <a:gd name="T22" fmla="*/ 1382 w 1890"/>
                    <a:gd name="T23" fmla="*/ 287 h 1541"/>
                    <a:gd name="T24" fmla="*/ 1638 w 1890"/>
                    <a:gd name="T25" fmla="*/ 75 h 1541"/>
                    <a:gd name="T26" fmla="*/ 1252 w 1890"/>
                    <a:gd name="T27" fmla="*/ 40 h 1541"/>
                    <a:gd name="T28" fmla="*/ 1596 w 1890"/>
                    <a:gd name="T29" fmla="*/ 706 h 1541"/>
                    <a:gd name="T30" fmla="*/ 1478 w 1890"/>
                    <a:gd name="T31" fmla="*/ 621 h 1541"/>
                    <a:gd name="T32" fmla="*/ 1313 w 1890"/>
                    <a:gd name="T33" fmla="*/ 549 h 1541"/>
                    <a:gd name="T34" fmla="*/ 1163 w 1890"/>
                    <a:gd name="T35" fmla="*/ 526 h 1541"/>
                    <a:gd name="T36" fmla="*/ 1373 w 1890"/>
                    <a:gd name="T37" fmla="*/ 652 h 1541"/>
                    <a:gd name="T38" fmla="*/ 1396 w 1890"/>
                    <a:gd name="T39" fmla="*/ 849 h 1541"/>
                    <a:gd name="T40" fmla="*/ 1593 w 1890"/>
                    <a:gd name="T41" fmla="*/ 897 h 1541"/>
                    <a:gd name="T42" fmla="*/ 1574 w 1890"/>
                    <a:gd name="T43" fmla="*/ 785 h 1541"/>
                    <a:gd name="T44" fmla="*/ 1224 w 1890"/>
                    <a:gd name="T45" fmla="*/ 925 h 1541"/>
                    <a:gd name="T46" fmla="*/ 1170 w 1890"/>
                    <a:gd name="T47" fmla="*/ 862 h 1541"/>
                    <a:gd name="T48" fmla="*/ 1341 w 1890"/>
                    <a:gd name="T49" fmla="*/ 650 h 1541"/>
                    <a:gd name="T50" fmla="*/ 1623 w 1890"/>
                    <a:gd name="T51" fmla="*/ 1363 h 1541"/>
                    <a:gd name="T52" fmla="*/ 1640 w 1890"/>
                    <a:gd name="T53" fmla="*/ 1447 h 1541"/>
                    <a:gd name="T54" fmla="*/ 1554 w 1890"/>
                    <a:gd name="T55" fmla="*/ 1330 h 1541"/>
                    <a:gd name="T56" fmla="*/ 1760 w 1890"/>
                    <a:gd name="T57" fmla="*/ 1181 h 1541"/>
                    <a:gd name="T58" fmla="*/ 1673 w 1890"/>
                    <a:gd name="T59" fmla="*/ 1052 h 1541"/>
                    <a:gd name="T60" fmla="*/ 1519 w 1890"/>
                    <a:gd name="T61" fmla="*/ 1045 h 1541"/>
                    <a:gd name="T62" fmla="*/ 1355 w 1890"/>
                    <a:gd name="T63" fmla="*/ 989 h 1541"/>
                    <a:gd name="T64" fmla="*/ 1242 w 1890"/>
                    <a:gd name="T65" fmla="*/ 1148 h 1541"/>
                    <a:gd name="T66" fmla="*/ 1069 w 1890"/>
                    <a:gd name="T67" fmla="*/ 886 h 1541"/>
                    <a:gd name="T68" fmla="*/ 1188 w 1890"/>
                    <a:gd name="T69" fmla="*/ 757 h 1541"/>
                    <a:gd name="T70" fmla="*/ 1182 w 1890"/>
                    <a:gd name="T71" fmla="*/ 682 h 1541"/>
                    <a:gd name="T72" fmla="*/ 966 w 1890"/>
                    <a:gd name="T73" fmla="*/ 580 h 1541"/>
                    <a:gd name="T74" fmla="*/ 968 w 1890"/>
                    <a:gd name="T75" fmla="*/ 727 h 1541"/>
                    <a:gd name="T76" fmla="*/ 737 w 1890"/>
                    <a:gd name="T77" fmla="*/ 685 h 1541"/>
                    <a:gd name="T78" fmla="*/ 355 w 1890"/>
                    <a:gd name="T79" fmla="*/ 643 h 1541"/>
                    <a:gd name="T80" fmla="*/ 177 w 1890"/>
                    <a:gd name="T81" fmla="*/ 650 h 1541"/>
                    <a:gd name="T82" fmla="*/ 229 w 1890"/>
                    <a:gd name="T83" fmla="*/ 1124 h 1541"/>
                    <a:gd name="T84" fmla="*/ 281 w 1890"/>
                    <a:gd name="T85" fmla="*/ 1246 h 1541"/>
                    <a:gd name="T86" fmla="*/ 1048 w 1890"/>
                    <a:gd name="T87" fmla="*/ 1358 h 1541"/>
                    <a:gd name="T88" fmla="*/ 257 w 1890"/>
                    <a:gd name="T89" fmla="*/ 1204 h 1541"/>
                    <a:gd name="T90" fmla="*/ 1633 w 1890"/>
                    <a:gd name="T91" fmla="*/ 1372 h 1541"/>
                    <a:gd name="T92" fmla="*/ 1825 w 1890"/>
                    <a:gd name="T93" fmla="*/ 1255 h 1541"/>
                    <a:gd name="T94" fmla="*/ 1877 w 1890"/>
                    <a:gd name="T95" fmla="*/ 1405 h 1541"/>
                    <a:gd name="T96" fmla="*/ 1436 w 1890"/>
                    <a:gd name="T97" fmla="*/ 1435 h 1541"/>
                    <a:gd name="T98" fmla="*/ 343 w 1890"/>
                    <a:gd name="T99" fmla="*/ 1346 h 1541"/>
                    <a:gd name="T100" fmla="*/ 1015 w 1890"/>
                    <a:gd name="T101" fmla="*/ 254 h 1541"/>
                    <a:gd name="T102" fmla="*/ 1078 w 1890"/>
                    <a:gd name="T103" fmla="*/ 154 h 1541"/>
                    <a:gd name="T104" fmla="*/ 833 w 1890"/>
                    <a:gd name="T105" fmla="*/ 360 h 1541"/>
                    <a:gd name="T106" fmla="*/ 886 w 1890"/>
                    <a:gd name="T107" fmla="*/ 180 h 1541"/>
                    <a:gd name="T108" fmla="*/ 1188 w 1890"/>
                    <a:gd name="T109" fmla="*/ 453 h 1541"/>
                    <a:gd name="T110" fmla="*/ 1099 w 1890"/>
                    <a:gd name="T111" fmla="*/ 379 h 1541"/>
                    <a:gd name="T112" fmla="*/ 966 w 1890"/>
                    <a:gd name="T113" fmla="*/ 299 h 1541"/>
                    <a:gd name="T114" fmla="*/ 772 w 1890"/>
                    <a:gd name="T115" fmla="*/ 268 h 1541"/>
                    <a:gd name="T116" fmla="*/ 196 w 1890"/>
                    <a:gd name="T117" fmla="*/ 1187 h 1541"/>
                    <a:gd name="T118" fmla="*/ 395 w 1890"/>
                    <a:gd name="T119" fmla="*/ 593 h 1541"/>
                    <a:gd name="T120" fmla="*/ 505 w 1890"/>
                    <a:gd name="T121" fmla="*/ 407 h 1541"/>
                    <a:gd name="T122" fmla="*/ 727 w 1890"/>
                    <a:gd name="T123" fmla="*/ 383 h 1541"/>
                    <a:gd name="T124" fmla="*/ 477 w 1890"/>
                    <a:gd name="T125" fmla="*/ 400 h 1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90" h="1541">
                      <a:moveTo>
                        <a:pt x="950" y="547"/>
                      </a:moveTo>
                      <a:lnTo>
                        <a:pt x="945" y="551"/>
                      </a:lnTo>
                      <a:lnTo>
                        <a:pt x="948" y="552"/>
                      </a:lnTo>
                      <a:lnTo>
                        <a:pt x="948" y="554"/>
                      </a:lnTo>
                      <a:lnTo>
                        <a:pt x="950" y="554"/>
                      </a:lnTo>
                      <a:lnTo>
                        <a:pt x="948" y="556"/>
                      </a:lnTo>
                      <a:lnTo>
                        <a:pt x="947" y="559"/>
                      </a:lnTo>
                      <a:lnTo>
                        <a:pt x="947" y="561"/>
                      </a:lnTo>
                      <a:lnTo>
                        <a:pt x="947" y="563"/>
                      </a:lnTo>
                      <a:lnTo>
                        <a:pt x="948" y="565"/>
                      </a:lnTo>
                      <a:lnTo>
                        <a:pt x="950" y="566"/>
                      </a:lnTo>
                      <a:lnTo>
                        <a:pt x="948" y="568"/>
                      </a:lnTo>
                      <a:lnTo>
                        <a:pt x="948" y="570"/>
                      </a:lnTo>
                      <a:lnTo>
                        <a:pt x="945" y="570"/>
                      </a:lnTo>
                      <a:lnTo>
                        <a:pt x="943" y="570"/>
                      </a:lnTo>
                      <a:lnTo>
                        <a:pt x="941" y="572"/>
                      </a:lnTo>
                      <a:lnTo>
                        <a:pt x="936" y="573"/>
                      </a:lnTo>
                      <a:lnTo>
                        <a:pt x="931" y="575"/>
                      </a:lnTo>
                      <a:lnTo>
                        <a:pt x="928" y="575"/>
                      </a:lnTo>
                      <a:lnTo>
                        <a:pt x="921" y="575"/>
                      </a:lnTo>
                      <a:lnTo>
                        <a:pt x="917" y="575"/>
                      </a:lnTo>
                      <a:lnTo>
                        <a:pt x="915" y="573"/>
                      </a:lnTo>
                      <a:lnTo>
                        <a:pt x="914" y="572"/>
                      </a:lnTo>
                      <a:lnTo>
                        <a:pt x="914" y="568"/>
                      </a:lnTo>
                      <a:lnTo>
                        <a:pt x="910" y="572"/>
                      </a:lnTo>
                      <a:lnTo>
                        <a:pt x="914" y="577"/>
                      </a:lnTo>
                      <a:lnTo>
                        <a:pt x="915" y="582"/>
                      </a:lnTo>
                      <a:lnTo>
                        <a:pt x="912" y="586"/>
                      </a:lnTo>
                      <a:lnTo>
                        <a:pt x="907" y="587"/>
                      </a:lnTo>
                      <a:lnTo>
                        <a:pt x="901" y="587"/>
                      </a:lnTo>
                      <a:lnTo>
                        <a:pt x="896" y="586"/>
                      </a:lnTo>
                      <a:lnTo>
                        <a:pt x="893" y="584"/>
                      </a:lnTo>
                      <a:lnTo>
                        <a:pt x="891" y="582"/>
                      </a:lnTo>
                      <a:lnTo>
                        <a:pt x="887" y="577"/>
                      </a:lnTo>
                      <a:lnTo>
                        <a:pt x="886" y="575"/>
                      </a:lnTo>
                      <a:lnTo>
                        <a:pt x="882" y="573"/>
                      </a:lnTo>
                      <a:lnTo>
                        <a:pt x="863" y="558"/>
                      </a:lnTo>
                      <a:lnTo>
                        <a:pt x="859" y="554"/>
                      </a:lnTo>
                      <a:lnTo>
                        <a:pt x="856" y="554"/>
                      </a:lnTo>
                      <a:lnTo>
                        <a:pt x="854" y="552"/>
                      </a:lnTo>
                      <a:lnTo>
                        <a:pt x="854" y="552"/>
                      </a:lnTo>
                      <a:lnTo>
                        <a:pt x="852" y="551"/>
                      </a:lnTo>
                      <a:lnTo>
                        <a:pt x="852" y="551"/>
                      </a:lnTo>
                      <a:lnTo>
                        <a:pt x="851" y="551"/>
                      </a:lnTo>
                      <a:lnTo>
                        <a:pt x="849" y="551"/>
                      </a:lnTo>
                      <a:lnTo>
                        <a:pt x="845" y="551"/>
                      </a:lnTo>
                      <a:lnTo>
                        <a:pt x="842" y="551"/>
                      </a:lnTo>
                      <a:lnTo>
                        <a:pt x="840" y="551"/>
                      </a:lnTo>
                      <a:lnTo>
                        <a:pt x="838" y="549"/>
                      </a:lnTo>
                      <a:lnTo>
                        <a:pt x="837" y="545"/>
                      </a:lnTo>
                      <a:lnTo>
                        <a:pt x="833" y="544"/>
                      </a:lnTo>
                      <a:lnTo>
                        <a:pt x="826" y="538"/>
                      </a:lnTo>
                      <a:lnTo>
                        <a:pt x="821" y="535"/>
                      </a:lnTo>
                      <a:lnTo>
                        <a:pt x="819" y="531"/>
                      </a:lnTo>
                      <a:lnTo>
                        <a:pt x="819" y="528"/>
                      </a:lnTo>
                      <a:lnTo>
                        <a:pt x="821" y="523"/>
                      </a:lnTo>
                      <a:lnTo>
                        <a:pt x="823" y="521"/>
                      </a:lnTo>
                      <a:lnTo>
                        <a:pt x="824" y="519"/>
                      </a:lnTo>
                      <a:lnTo>
                        <a:pt x="828" y="517"/>
                      </a:lnTo>
                      <a:lnTo>
                        <a:pt x="830" y="517"/>
                      </a:lnTo>
                      <a:lnTo>
                        <a:pt x="833" y="517"/>
                      </a:lnTo>
                      <a:lnTo>
                        <a:pt x="835" y="517"/>
                      </a:lnTo>
                      <a:lnTo>
                        <a:pt x="838" y="521"/>
                      </a:lnTo>
                      <a:lnTo>
                        <a:pt x="844" y="526"/>
                      </a:lnTo>
                      <a:lnTo>
                        <a:pt x="845" y="528"/>
                      </a:lnTo>
                      <a:lnTo>
                        <a:pt x="847" y="531"/>
                      </a:lnTo>
                      <a:lnTo>
                        <a:pt x="849" y="533"/>
                      </a:lnTo>
                      <a:lnTo>
                        <a:pt x="851" y="533"/>
                      </a:lnTo>
                      <a:lnTo>
                        <a:pt x="854" y="533"/>
                      </a:lnTo>
                      <a:lnTo>
                        <a:pt x="861" y="533"/>
                      </a:lnTo>
                      <a:lnTo>
                        <a:pt x="865" y="531"/>
                      </a:lnTo>
                      <a:lnTo>
                        <a:pt x="866" y="531"/>
                      </a:lnTo>
                      <a:lnTo>
                        <a:pt x="868" y="530"/>
                      </a:lnTo>
                      <a:lnTo>
                        <a:pt x="868" y="526"/>
                      </a:lnTo>
                      <a:lnTo>
                        <a:pt x="868" y="521"/>
                      </a:lnTo>
                      <a:lnTo>
                        <a:pt x="872" y="524"/>
                      </a:lnTo>
                      <a:lnTo>
                        <a:pt x="873" y="524"/>
                      </a:lnTo>
                      <a:lnTo>
                        <a:pt x="875" y="523"/>
                      </a:lnTo>
                      <a:lnTo>
                        <a:pt x="875" y="519"/>
                      </a:lnTo>
                      <a:lnTo>
                        <a:pt x="873" y="517"/>
                      </a:lnTo>
                      <a:lnTo>
                        <a:pt x="868" y="514"/>
                      </a:lnTo>
                      <a:lnTo>
                        <a:pt x="868" y="514"/>
                      </a:lnTo>
                      <a:lnTo>
                        <a:pt x="866" y="514"/>
                      </a:lnTo>
                      <a:lnTo>
                        <a:pt x="866" y="512"/>
                      </a:lnTo>
                      <a:lnTo>
                        <a:pt x="865" y="512"/>
                      </a:lnTo>
                      <a:lnTo>
                        <a:pt x="865" y="510"/>
                      </a:lnTo>
                      <a:lnTo>
                        <a:pt x="866" y="509"/>
                      </a:lnTo>
                      <a:lnTo>
                        <a:pt x="868" y="509"/>
                      </a:lnTo>
                      <a:lnTo>
                        <a:pt x="868" y="507"/>
                      </a:lnTo>
                      <a:lnTo>
                        <a:pt x="872" y="507"/>
                      </a:lnTo>
                      <a:lnTo>
                        <a:pt x="877" y="510"/>
                      </a:lnTo>
                      <a:lnTo>
                        <a:pt x="880" y="510"/>
                      </a:lnTo>
                      <a:lnTo>
                        <a:pt x="879" y="509"/>
                      </a:lnTo>
                      <a:lnTo>
                        <a:pt x="877" y="507"/>
                      </a:lnTo>
                      <a:lnTo>
                        <a:pt x="875" y="505"/>
                      </a:lnTo>
                      <a:lnTo>
                        <a:pt x="873" y="505"/>
                      </a:lnTo>
                      <a:lnTo>
                        <a:pt x="870" y="503"/>
                      </a:lnTo>
                      <a:lnTo>
                        <a:pt x="870" y="503"/>
                      </a:lnTo>
                      <a:lnTo>
                        <a:pt x="866" y="505"/>
                      </a:lnTo>
                      <a:lnTo>
                        <a:pt x="861" y="505"/>
                      </a:lnTo>
                      <a:lnTo>
                        <a:pt x="858" y="505"/>
                      </a:lnTo>
                      <a:lnTo>
                        <a:pt x="852" y="503"/>
                      </a:lnTo>
                      <a:lnTo>
                        <a:pt x="849" y="500"/>
                      </a:lnTo>
                      <a:lnTo>
                        <a:pt x="845" y="498"/>
                      </a:lnTo>
                      <a:lnTo>
                        <a:pt x="845" y="496"/>
                      </a:lnTo>
                      <a:lnTo>
                        <a:pt x="847" y="495"/>
                      </a:lnTo>
                      <a:lnTo>
                        <a:pt x="851" y="493"/>
                      </a:lnTo>
                      <a:lnTo>
                        <a:pt x="856" y="493"/>
                      </a:lnTo>
                      <a:lnTo>
                        <a:pt x="859" y="495"/>
                      </a:lnTo>
                      <a:lnTo>
                        <a:pt x="866" y="498"/>
                      </a:lnTo>
                      <a:lnTo>
                        <a:pt x="865" y="495"/>
                      </a:lnTo>
                      <a:lnTo>
                        <a:pt x="856" y="489"/>
                      </a:lnTo>
                      <a:lnTo>
                        <a:pt x="856" y="486"/>
                      </a:lnTo>
                      <a:lnTo>
                        <a:pt x="858" y="486"/>
                      </a:lnTo>
                      <a:lnTo>
                        <a:pt x="861" y="484"/>
                      </a:lnTo>
                      <a:lnTo>
                        <a:pt x="865" y="484"/>
                      </a:lnTo>
                      <a:lnTo>
                        <a:pt x="866" y="484"/>
                      </a:lnTo>
                      <a:lnTo>
                        <a:pt x="873" y="486"/>
                      </a:lnTo>
                      <a:lnTo>
                        <a:pt x="877" y="486"/>
                      </a:lnTo>
                      <a:lnTo>
                        <a:pt x="879" y="484"/>
                      </a:lnTo>
                      <a:lnTo>
                        <a:pt x="875" y="484"/>
                      </a:lnTo>
                      <a:lnTo>
                        <a:pt x="873" y="484"/>
                      </a:lnTo>
                      <a:lnTo>
                        <a:pt x="872" y="482"/>
                      </a:lnTo>
                      <a:lnTo>
                        <a:pt x="873" y="481"/>
                      </a:lnTo>
                      <a:lnTo>
                        <a:pt x="875" y="481"/>
                      </a:lnTo>
                      <a:lnTo>
                        <a:pt x="877" y="481"/>
                      </a:lnTo>
                      <a:lnTo>
                        <a:pt x="879" y="481"/>
                      </a:lnTo>
                      <a:lnTo>
                        <a:pt x="882" y="482"/>
                      </a:lnTo>
                      <a:lnTo>
                        <a:pt x="889" y="486"/>
                      </a:lnTo>
                      <a:lnTo>
                        <a:pt x="893" y="488"/>
                      </a:lnTo>
                      <a:lnTo>
                        <a:pt x="894" y="488"/>
                      </a:lnTo>
                      <a:lnTo>
                        <a:pt x="898" y="488"/>
                      </a:lnTo>
                      <a:lnTo>
                        <a:pt x="901" y="488"/>
                      </a:lnTo>
                      <a:lnTo>
                        <a:pt x="922" y="482"/>
                      </a:lnTo>
                      <a:lnTo>
                        <a:pt x="926" y="482"/>
                      </a:lnTo>
                      <a:lnTo>
                        <a:pt x="931" y="482"/>
                      </a:lnTo>
                      <a:lnTo>
                        <a:pt x="934" y="484"/>
                      </a:lnTo>
                      <a:lnTo>
                        <a:pt x="938" y="486"/>
                      </a:lnTo>
                      <a:lnTo>
                        <a:pt x="940" y="489"/>
                      </a:lnTo>
                      <a:lnTo>
                        <a:pt x="940" y="491"/>
                      </a:lnTo>
                      <a:lnTo>
                        <a:pt x="938" y="493"/>
                      </a:lnTo>
                      <a:lnTo>
                        <a:pt x="936" y="495"/>
                      </a:lnTo>
                      <a:lnTo>
                        <a:pt x="931" y="495"/>
                      </a:lnTo>
                      <a:lnTo>
                        <a:pt x="928" y="496"/>
                      </a:lnTo>
                      <a:lnTo>
                        <a:pt x="929" y="498"/>
                      </a:lnTo>
                      <a:lnTo>
                        <a:pt x="931" y="498"/>
                      </a:lnTo>
                      <a:lnTo>
                        <a:pt x="933" y="498"/>
                      </a:lnTo>
                      <a:lnTo>
                        <a:pt x="934" y="498"/>
                      </a:lnTo>
                      <a:lnTo>
                        <a:pt x="934" y="500"/>
                      </a:lnTo>
                      <a:lnTo>
                        <a:pt x="933" y="503"/>
                      </a:lnTo>
                      <a:lnTo>
                        <a:pt x="924" y="507"/>
                      </a:lnTo>
                      <a:lnTo>
                        <a:pt x="922" y="509"/>
                      </a:lnTo>
                      <a:lnTo>
                        <a:pt x="912" y="517"/>
                      </a:lnTo>
                      <a:lnTo>
                        <a:pt x="910" y="519"/>
                      </a:lnTo>
                      <a:lnTo>
                        <a:pt x="910" y="523"/>
                      </a:lnTo>
                      <a:lnTo>
                        <a:pt x="912" y="523"/>
                      </a:lnTo>
                      <a:lnTo>
                        <a:pt x="914" y="523"/>
                      </a:lnTo>
                      <a:lnTo>
                        <a:pt x="915" y="521"/>
                      </a:lnTo>
                      <a:lnTo>
                        <a:pt x="919" y="519"/>
                      </a:lnTo>
                      <a:lnTo>
                        <a:pt x="922" y="519"/>
                      </a:lnTo>
                      <a:lnTo>
                        <a:pt x="926" y="519"/>
                      </a:lnTo>
                      <a:lnTo>
                        <a:pt x="928" y="519"/>
                      </a:lnTo>
                      <a:lnTo>
                        <a:pt x="931" y="521"/>
                      </a:lnTo>
                      <a:lnTo>
                        <a:pt x="933" y="523"/>
                      </a:lnTo>
                      <a:lnTo>
                        <a:pt x="934" y="524"/>
                      </a:lnTo>
                      <a:lnTo>
                        <a:pt x="933" y="526"/>
                      </a:lnTo>
                      <a:lnTo>
                        <a:pt x="934" y="528"/>
                      </a:lnTo>
                      <a:lnTo>
                        <a:pt x="936" y="528"/>
                      </a:lnTo>
                      <a:lnTo>
                        <a:pt x="938" y="530"/>
                      </a:lnTo>
                      <a:lnTo>
                        <a:pt x="940" y="531"/>
                      </a:lnTo>
                      <a:lnTo>
                        <a:pt x="940" y="533"/>
                      </a:lnTo>
                      <a:lnTo>
                        <a:pt x="938" y="537"/>
                      </a:lnTo>
                      <a:lnTo>
                        <a:pt x="940" y="537"/>
                      </a:lnTo>
                      <a:lnTo>
                        <a:pt x="941" y="537"/>
                      </a:lnTo>
                      <a:lnTo>
                        <a:pt x="945" y="535"/>
                      </a:lnTo>
                      <a:lnTo>
                        <a:pt x="948" y="533"/>
                      </a:lnTo>
                      <a:lnTo>
                        <a:pt x="952" y="537"/>
                      </a:lnTo>
                      <a:lnTo>
                        <a:pt x="954" y="542"/>
                      </a:lnTo>
                      <a:lnTo>
                        <a:pt x="950" y="547"/>
                      </a:lnTo>
                      <a:close/>
                      <a:moveTo>
                        <a:pt x="955" y="434"/>
                      </a:moveTo>
                      <a:lnTo>
                        <a:pt x="955" y="434"/>
                      </a:lnTo>
                      <a:lnTo>
                        <a:pt x="957" y="435"/>
                      </a:lnTo>
                      <a:lnTo>
                        <a:pt x="957" y="435"/>
                      </a:lnTo>
                      <a:lnTo>
                        <a:pt x="957" y="434"/>
                      </a:lnTo>
                      <a:lnTo>
                        <a:pt x="957" y="434"/>
                      </a:lnTo>
                      <a:lnTo>
                        <a:pt x="964" y="439"/>
                      </a:lnTo>
                      <a:lnTo>
                        <a:pt x="966" y="441"/>
                      </a:lnTo>
                      <a:lnTo>
                        <a:pt x="968" y="441"/>
                      </a:lnTo>
                      <a:lnTo>
                        <a:pt x="975" y="442"/>
                      </a:lnTo>
                      <a:lnTo>
                        <a:pt x="976" y="442"/>
                      </a:lnTo>
                      <a:lnTo>
                        <a:pt x="978" y="444"/>
                      </a:lnTo>
                      <a:lnTo>
                        <a:pt x="985" y="448"/>
                      </a:lnTo>
                      <a:lnTo>
                        <a:pt x="990" y="449"/>
                      </a:lnTo>
                      <a:lnTo>
                        <a:pt x="996" y="449"/>
                      </a:lnTo>
                      <a:lnTo>
                        <a:pt x="1010" y="449"/>
                      </a:lnTo>
                      <a:lnTo>
                        <a:pt x="1013" y="448"/>
                      </a:lnTo>
                      <a:lnTo>
                        <a:pt x="1015" y="446"/>
                      </a:lnTo>
                      <a:lnTo>
                        <a:pt x="1017" y="442"/>
                      </a:lnTo>
                      <a:lnTo>
                        <a:pt x="1017" y="439"/>
                      </a:lnTo>
                      <a:lnTo>
                        <a:pt x="1015" y="421"/>
                      </a:lnTo>
                      <a:lnTo>
                        <a:pt x="1013" y="416"/>
                      </a:lnTo>
                      <a:lnTo>
                        <a:pt x="1010" y="411"/>
                      </a:lnTo>
                      <a:lnTo>
                        <a:pt x="1008" y="407"/>
                      </a:lnTo>
                      <a:lnTo>
                        <a:pt x="999" y="399"/>
                      </a:lnTo>
                      <a:lnTo>
                        <a:pt x="990" y="395"/>
                      </a:lnTo>
                      <a:lnTo>
                        <a:pt x="980" y="395"/>
                      </a:lnTo>
                      <a:lnTo>
                        <a:pt x="969" y="400"/>
                      </a:lnTo>
                      <a:lnTo>
                        <a:pt x="968" y="402"/>
                      </a:lnTo>
                      <a:lnTo>
                        <a:pt x="966" y="404"/>
                      </a:lnTo>
                      <a:lnTo>
                        <a:pt x="964" y="406"/>
                      </a:lnTo>
                      <a:lnTo>
                        <a:pt x="962" y="407"/>
                      </a:lnTo>
                      <a:lnTo>
                        <a:pt x="961" y="411"/>
                      </a:lnTo>
                      <a:lnTo>
                        <a:pt x="959" y="416"/>
                      </a:lnTo>
                      <a:lnTo>
                        <a:pt x="957" y="418"/>
                      </a:lnTo>
                      <a:lnTo>
                        <a:pt x="955" y="420"/>
                      </a:lnTo>
                      <a:lnTo>
                        <a:pt x="954" y="420"/>
                      </a:lnTo>
                      <a:lnTo>
                        <a:pt x="954" y="421"/>
                      </a:lnTo>
                      <a:lnTo>
                        <a:pt x="952" y="423"/>
                      </a:lnTo>
                      <a:lnTo>
                        <a:pt x="952" y="423"/>
                      </a:lnTo>
                      <a:lnTo>
                        <a:pt x="950" y="425"/>
                      </a:lnTo>
                      <a:lnTo>
                        <a:pt x="950" y="427"/>
                      </a:lnTo>
                      <a:lnTo>
                        <a:pt x="950" y="430"/>
                      </a:lnTo>
                      <a:lnTo>
                        <a:pt x="950" y="432"/>
                      </a:lnTo>
                      <a:lnTo>
                        <a:pt x="952" y="432"/>
                      </a:lnTo>
                      <a:lnTo>
                        <a:pt x="954" y="432"/>
                      </a:lnTo>
                      <a:lnTo>
                        <a:pt x="955" y="434"/>
                      </a:lnTo>
                      <a:close/>
                      <a:moveTo>
                        <a:pt x="1165" y="636"/>
                      </a:moveTo>
                      <a:lnTo>
                        <a:pt x="1162" y="634"/>
                      </a:lnTo>
                      <a:lnTo>
                        <a:pt x="1156" y="633"/>
                      </a:lnTo>
                      <a:lnTo>
                        <a:pt x="1151" y="633"/>
                      </a:lnTo>
                      <a:lnTo>
                        <a:pt x="1148" y="634"/>
                      </a:lnTo>
                      <a:lnTo>
                        <a:pt x="1151" y="638"/>
                      </a:lnTo>
                      <a:lnTo>
                        <a:pt x="1158" y="640"/>
                      </a:lnTo>
                      <a:lnTo>
                        <a:pt x="1163" y="640"/>
                      </a:lnTo>
                      <a:lnTo>
                        <a:pt x="1165" y="636"/>
                      </a:lnTo>
                      <a:close/>
                      <a:moveTo>
                        <a:pt x="870" y="676"/>
                      </a:moveTo>
                      <a:lnTo>
                        <a:pt x="872" y="676"/>
                      </a:lnTo>
                      <a:lnTo>
                        <a:pt x="873" y="673"/>
                      </a:lnTo>
                      <a:lnTo>
                        <a:pt x="872" y="671"/>
                      </a:lnTo>
                      <a:lnTo>
                        <a:pt x="870" y="669"/>
                      </a:lnTo>
                      <a:lnTo>
                        <a:pt x="866" y="669"/>
                      </a:lnTo>
                      <a:lnTo>
                        <a:pt x="865" y="669"/>
                      </a:lnTo>
                      <a:lnTo>
                        <a:pt x="865" y="669"/>
                      </a:lnTo>
                      <a:lnTo>
                        <a:pt x="863" y="671"/>
                      </a:lnTo>
                      <a:lnTo>
                        <a:pt x="863" y="675"/>
                      </a:lnTo>
                      <a:lnTo>
                        <a:pt x="866" y="676"/>
                      </a:lnTo>
                      <a:lnTo>
                        <a:pt x="870" y="676"/>
                      </a:lnTo>
                      <a:close/>
                      <a:moveTo>
                        <a:pt x="1156" y="706"/>
                      </a:moveTo>
                      <a:lnTo>
                        <a:pt x="1158" y="708"/>
                      </a:lnTo>
                      <a:lnTo>
                        <a:pt x="1160" y="710"/>
                      </a:lnTo>
                      <a:lnTo>
                        <a:pt x="1163" y="710"/>
                      </a:lnTo>
                      <a:lnTo>
                        <a:pt x="1165" y="708"/>
                      </a:lnTo>
                      <a:lnTo>
                        <a:pt x="1167" y="706"/>
                      </a:lnTo>
                      <a:lnTo>
                        <a:pt x="1168" y="699"/>
                      </a:lnTo>
                      <a:lnTo>
                        <a:pt x="1165" y="694"/>
                      </a:lnTo>
                      <a:lnTo>
                        <a:pt x="1160" y="692"/>
                      </a:lnTo>
                      <a:lnTo>
                        <a:pt x="1156" y="697"/>
                      </a:lnTo>
                      <a:lnTo>
                        <a:pt x="1156" y="701"/>
                      </a:lnTo>
                      <a:lnTo>
                        <a:pt x="1156" y="703"/>
                      </a:lnTo>
                      <a:lnTo>
                        <a:pt x="1156" y="706"/>
                      </a:lnTo>
                      <a:close/>
                      <a:moveTo>
                        <a:pt x="968" y="659"/>
                      </a:moveTo>
                      <a:lnTo>
                        <a:pt x="971" y="659"/>
                      </a:lnTo>
                      <a:lnTo>
                        <a:pt x="973" y="659"/>
                      </a:lnTo>
                      <a:lnTo>
                        <a:pt x="975" y="657"/>
                      </a:lnTo>
                      <a:lnTo>
                        <a:pt x="976" y="655"/>
                      </a:lnTo>
                      <a:lnTo>
                        <a:pt x="973" y="654"/>
                      </a:lnTo>
                      <a:lnTo>
                        <a:pt x="969" y="652"/>
                      </a:lnTo>
                      <a:lnTo>
                        <a:pt x="968" y="652"/>
                      </a:lnTo>
                      <a:lnTo>
                        <a:pt x="964" y="652"/>
                      </a:lnTo>
                      <a:lnTo>
                        <a:pt x="964" y="654"/>
                      </a:lnTo>
                      <a:lnTo>
                        <a:pt x="962" y="655"/>
                      </a:lnTo>
                      <a:lnTo>
                        <a:pt x="962" y="657"/>
                      </a:lnTo>
                      <a:lnTo>
                        <a:pt x="964" y="659"/>
                      </a:lnTo>
                      <a:lnTo>
                        <a:pt x="966" y="659"/>
                      </a:lnTo>
                      <a:lnTo>
                        <a:pt x="966" y="657"/>
                      </a:lnTo>
                      <a:lnTo>
                        <a:pt x="966" y="654"/>
                      </a:lnTo>
                      <a:lnTo>
                        <a:pt x="968" y="654"/>
                      </a:lnTo>
                      <a:lnTo>
                        <a:pt x="969" y="654"/>
                      </a:lnTo>
                      <a:lnTo>
                        <a:pt x="969" y="655"/>
                      </a:lnTo>
                      <a:lnTo>
                        <a:pt x="969" y="657"/>
                      </a:lnTo>
                      <a:lnTo>
                        <a:pt x="968" y="659"/>
                      </a:lnTo>
                      <a:close/>
                      <a:moveTo>
                        <a:pt x="865" y="617"/>
                      </a:moveTo>
                      <a:lnTo>
                        <a:pt x="868" y="619"/>
                      </a:lnTo>
                      <a:lnTo>
                        <a:pt x="870" y="619"/>
                      </a:lnTo>
                      <a:lnTo>
                        <a:pt x="870" y="617"/>
                      </a:lnTo>
                      <a:lnTo>
                        <a:pt x="870" y="617"/>
                      </a:lnTo>
                      <a:lnTo>
                        <a:pt x="872" y="615"/>
                      </a:lnTo>
                      <a:lnTo>
                        <a:pt x="868" y="614"/>
                      </a:lnTo>
                      <a:lnTo>
                        <a:pt x="866" y="612"/>
                      </a:lnTo>
                      <a:lnTo>
                        <a:pt x="865" y="612"/>
                      </a:lnTo>
                      <a:lnTo>
                        <a:pt x="863" y="614"/>
                      </a:lnTo>
                      <a:lnTo>
                        <a:pt x="863" y="615"/>
                      </a:lnTo>
                      <a:lnTo>
                        <a:pt x="863" y="617"/>
                      </a:lnTo>
                      <a:lnTo>
                        <a:pt x="865" y="617"/>
                      </a:lnTo>
                      <a:close/>
                      <a:moveTo>
                        <a:pt x="959" y="662"/>
                      </a:moveTo>
                      <a:lnTo>
                        <a:pt x="954" y="659"/>
                      </a:lnTo>
                      <a:lnTo>
                        <a:pt x="950" y="657"/>
                      </a:lnTo>
                      <a:lnTo>
                        <a:pt x="934" y="650"/>
                      </a:lnTo>
                      <a:lnTo>
                        <a:pt x="933" y="650"/>
                      </a:lnTo>
                      <a:lnTo>
                        <a:pt x="933" y="650"/>
                      </a:lnTo>
                      <a:lnTo>
                        <a:pt x="933" y="652"/>
                      </a:lnTo>
                      <a:lnTo>
                        <a:pt x="931" y="652"/>
                      </a:lnTo>
                      <a:lnTo>
                        <a:pt x="931" y="650"/>
                      </a:lnTo>
                      <a:lnTo>
                        <a:pt x="931" y="650"/>
                      </a:lnTo>
                      <a:lnTo>
                        <a:pt x="933" y="650"/>
                      </a:lnTo>
                      <a:lnTo>
                        <a:pt x="933" y="650"/>
                      </a:lnTo>
                      <a:lnTo>
                        <a:pt x="931" y="648"/>
                      </a:lnTo>
                      <a:lnTo>
                        <a:pt x="928" y="647"/>
                      </a:lnTo>
                      <a:lnTo>
                        <a:pt x="924" y="645"/>
                      </a:lnTo>
                      <a:lnTo>
                        <a:pt x="922" y="645"/>
                      </a:lnTo>
                      <a:lnTo>
                        <a:pt x="917" y="647"/>
                      </a:lnTo>
                      <a:lnTo>
                        <a:pt x="914" y="648"/>
                      </a:lnTo>
                      <a:lnTo>
                        <a:pt x="914" y="654"/>
                      </a:lnTo>
                      <a:lnTo>
                        <a:pt x="919" y="657"/>
                      </a:lnTo>
                      <a:lnTo>
                        <a:pt x="917" y="655"/>
                      </a:lnTo>
                      <a:lnTo>
                        <a:pt x="912" y="654"/>
                      </a:lnTo>
                      <a:lnTo>
                        <a:pt x="910" y="654"/>
                      </a:lnTo>
                      <a:lnTo>
                        <a:pt x="908" y="654"/>
                      </a:lnTo>
                      <a:lnTo>
                        <a:pt x="908" y="654"/>
                      </a:lnTo>
                      <a:lnTo>
                        <a:pt x="908" y="655"/>
                      </a:lnTo>
                      <a:lnTo>
                        <a:pt x="910" y="655"/>
                      </a:lnTo>
                      <a:lnTo>
                        <a:pt x="908" y="655"/>
                      </a:lnTo>
                      <a:lnTo>
                        <a:pt x="908" y="657"/>
                      </a:lnTo>
                      <a:lnTo>
                        <a:pt x="910" y="657"/>
                      </a:lnTo>
                      <a:lnTo>
                        <a:pt x="910" y="659"/>
                      </a:lnTo>
                      <a:lnTo>
                        <a:pt x="908" y="661"/>
                      </a:lnTo>
                      <a:lnTo>
                        <a:pt x="907" y="662"/>
                      </a:lnTo>
                      <a:lnTo>
                        <a:pt x="905" y="662"/>
                      </a:lnTo>
                      <a:lnTo>
                        <a:pt x="903" y="664"/>
                      </a:lnTo>
                      <a:lnTo>
                        <a:pt x="900" y="664"/>
                      </a:lnTo>
                      <a:lnTo>
                        <a:pt x="894" y="664"/>
                      </a:lnTo>
                      <a:lnTo>
                        <a:pt x="889" y="666"/>
                      </a:lnTo>
                      <a:lnTo>
                        <a:pt x="886" y="668"/>
                      </a:lnTo>
                      <a:lnTo>
                        <a:pt x="887" y="671"/>
                      </a:lnTo>
                      <a:lnTo>
                        <a:pt x="889" y="673"/>
                      </a:lnTo>
                      <a:lnTo>
                        <a:pt x="891" y="673"/>
                      </a:lnTo>
                      <a:lnTo>
                        <a:pt x="894" y="673"/>
                      </a:lnTo>
                      <a:lnTo>
                        <a:pt x="896" y="673"/>
                      </a:lnTo>
                      <a:lnTo>
                        <a:pt x="896" y="673"/>
                      </a:lnTo>
                      <a:lnTo>
                        <a:pt x="898" y="671"/>
                      </a:lnTo>
                      <a:lnTo>
                        <a:pt x="900" y="671"/>
                      </a:lnTo>
                      <a:lnTo>
                        <a:pt x="901" y="673"/>
                      </a:lnTo>
                      <a:lnTo>
                        <a:pt x="901" y="675"/>
                      </a:lnTo>
                      <a:lnTo>
                        <a:pt x="903" y="675"/>
                      </a:lnTo>
                      <a:lnTo>
                        <a:pt x="905" y="675"/>
                      </a:lnTo>
                      <a:lnTo>
                        <a:pt x="908" y="675"/>
                      </a:lnTo>
                      <a:lnTo>
                        <a:pt x="910" y="675"/>
                      </a:lnTo>
                      <a:lnTo>
                        <a:pt x="912" y="675"/>
                      </a:lnTo>
                      <a:lnTo>
                        <a:pt x="914" y="675"/>
                      </a:lnTo>
                      <a:lnTo>
                        <a:pt x="914" y="676"/>
                      </a:lnTo>
                      <a:lnTo>
                        <a:pt x="914" y="676"/>
                      </a:lnTo>
                      <a:lnTo>
                        <a:pt x="915" y="678"/>
                      </a:lnTo>
                      <a:lnTo>
                        <a:pt x="919" y="678"/>
                      </a:lnTo>
                      <a:lnTo>
                        <a:pt x="933" y="683"/>
                      </a:lnTo>
                      <a:lnTo>
                        <a:pt x="940" y="685"/>
                      </a:lnTo>
                      <a:lnTo>
                        <a:pt x="947" y="685"/>
                      </a:lnTo>
                      <a:lnTo>
                        <a:pt x="950" y="687"/>
                      </a:lnTo>
                      <a:lnTo>
                        <a:pt x="955" y="685"/>
                      </a:lnTo>
                      <a:lnTo>
                        <a:pt x="961" y="683"/>
                      </a:lnTo>
                      <a:lnTo>
                        <a:pt x="964" y="680"/>
                      </a:lnTo>
                      <a:lnTo>
                        <a:pt x="969" y="678"/>
                      </a:lnTo>
                      <a:lnTo>
                        <a:pt x="971" y="676"/>
                      </a:lnTo>
                      <a:lnTo>
                        <a:pt x="975" y="676"/>
                      </a:lnTo>
                      <a:lnTo>
                        <a:pt x="976" y="676"/>
                      </a:lnTo>
                      <a:lnTo>
                        <a:pt x="978" y="675"/>
                      </a:lnTo>
                      <a:lnTo>
                        <a:pt x="976" y="673"/>
                      </a:lnTo>
                      <a:lnTo>
                        <a:pt x="975" y="673"/>
                      </a:lnTo>
                      <a:lnTo>
                        <a:pt x="971" y="675"/>
                      </a:lnTo>
                      <a:lnTo>
                        <a:pt x="966" y="671"/>
                      </a:lnTo>
                      <a:lnTo>
                        <a:pt x="962" y="668"/>
                      </a:lnTo>
                      <a:lnTo>
                        <a:pt x="959" y="662"/>
                      </a:lnTo>
                      <a:close/>
                      <a:moveTo>
                        <a:pt x="1333" y="1118"/>
                      </a:moveTo>
                      <a:lnTo>
                        <a:pt x="1334" y="1117"/>
                      </a:lnTo>
                      <a:lnTo>
                        <a:pt x="1333" y="1115"/>
                      </a:lnTo>
                      <a:lnTo>
                        <a:pt x="1331" y="1115"/>
                      </a:lnTo>
                      <a:lnTo>
                        <a:pt x="1329" y="1118"/>
                      </a:lnTo>
                      <a:lnTo>
                        <a:pt x="1327" y="1122"/>
                      </a:lnTo>
                      <a:lnTo>
                        <a:pt x="1331" y="1122"/>
                      </a:lnTo>
                      <a:lnTo>
                        <a:pt x="1333" y="1118"/>
                      </a:lnTo>
                      <a:close/>
                      <a:moveTo>
                        <a:pt x="1336" y="979"/>
                      </a:moveTo>
                      <a:lnTo>
                        <a:pt x="1338" y="979"/>
                      </a:lnTo>
                      <a:lnTo>
                        <a:pt x="1340" y="977"/>
                      </a:lnTo>
                      <a:lnTo>
                        <a:pt x="1341" y="977"/>
                      </a:lnTo>
                      <a:lnTo>
                        <a:pt x="1341" y="975"/>
                      </a:lnTo>
                      <a:lnTo>
                        <a:pt x="1340" y="975"/>
                      </a:lnTo>
                      <a:lnTo>
                        <a:pt x="1336" y="975"/>
                      </a:lnTo>
                      <a:lnTo>
                        <a:pt x="1334" y="977"/>
                      </a:lnTo>
                      <a:lnTo>
                        <a:pt x="1333" y="979"/>
                      </a:lnTo>
                      <a:lnTo>
                        <a:pt x="1334" y="979"/>
                      </a:lnTo>
                      <a:lnTo>
                        <a:pt x="1336" y="979"/>
                      </a:lnTo>
                      <a:close/>
                      <a:moveTo>
                        <a:pt x="1350" y="897"/>
                      </a:moveTo>
                      <a:lnTo>
                        <a:pt x="1354" y="897"/>
                      </a:lnTo>
                      <a:lnTo>
                        <a:pt x="1355" y="895"/>
                      </a:lnTo>
                      <a:lnTo>
                        <a:pt x="1357" y="893"/>
                      </a:lnTo>
                      <a:lnTo>
                        <a:pt x="1357" y="890"/>
                      </a:lnTo>
                      <a:lnTo>
                        <a:pt x="1355" y="888"/>
                      </a:lnTo>
                      <a:lnTo>
                        <a:pt x="1352" y="886"/>
                      </a:lnTo>
                      <a:lnTo>
                        <a:pt x="1350" y="884"/>
                      </a:lnTo>
                      <a:lnTo>
                        <a:pt x="1347" y="884"/>
                      </a:lnTo>
                      <a:lnTo>
                        <a:pt x="1341" y="884"/>
                      </a:lnTo>
                      <a:lnTo>
                        <a:pt x="1338" y="884"/>
                      </a:lnTo>
                      <a:lnTo>
                        <a:pt x="1336" y="886"/>
                      </a:lnTo>
                      <a:lnTo>
                        <a:pt x="1336" y="890"/>
                      </a:lnTo>
                      <a:lnTo>
                        <a:pt x="1340" y="891"/>
                      </a:lnTo>
                      <a:lnTo>
                        <a:pt x="1347" y="897"/>
                      </a:lnTo>
                      <a:lnTo>
                        <a:pt x="1350" y="897"/>
                      </a:lnTo>
                      <a:close/>
                      <a:moveTo>
                        <a:pt x="1422" y="708"/>
                      </a:moveTo>
                      <a:lnTo>
                        <a:pt x="1425" y="708"/>
                      </a:lnTo>
                      <a:lnTo>
                        <a:pt x="1439" y="710"/>
                      </a:lnTo>
                      <a:lnTo>
                        <a:pt x="1444" y="708"/>
                      </a:lnTo>
                      <a:lnTo>
                        <a:pt x="1446" y="706"/>
                      </a:lnTo>
                      <a:lnTo>
                        <a:pt x="1444" y="703"/>
                      </a:lnTo>
                      <a:lnTo>
                        <a:pt x="1441" y="701"/>
                      </a:lnTo>
                      <a:lnTo>
                        <a:pt x="1432" y="699"/>
                      </a:lnTo>
                      <a:lnTo>
                        <a:pt x="1423" y="697"/>
                      </a:lnTo>
                      <a:lnTo>
                        <a:pt x="1420" y="699"/>
                      </a:lnTo>
                      <a:lnTo>
                        <a:pt x="1416" y="701"/>
                      </a:lnTo>
                      <a:lnTo>
                        <a:pt x="1418" y="704"/>
                      </a:lnTo>
                      <a:lnTo>
                        <a:pt x="1422" y="708"/>
                      </a:lnTo>
                      <a:close/>
                      <a:moveTo>
                        <a:pt x="1355" y="865"/>
                      </a:moveTo>
                      <a:lnTo>
                        <a:pt x="1357" y="865"/>
                      </a:lnTo>
                      <a:lnTo>
                        <a:pt x="1355" y="865"/>
                      </a:lnTo>
                      <a:lnTo>
                        <a:pt x="1352" y="865"/>
                      </a:lnTo>
                      <a:lnTo>
                        <a:pt x="1350" y="865"/>
                      </a:lnTo>
                      <a:lnTo>
                        <a:pt x="1348" y="865"/>
                      </a:lnTo>
                      <a:lnTo>
                        <a:pt x="1348" y="867"/>
                      </a:lnTo>
                      <a:lnTo>
                        <a:pt x="1352" y="867"/>
                      </a:lnTo>
                      <a:lnTo>
                        <a:pt x="1355" y="865"/>
                      </a:lnTo>
                      <a:close/>
                      <a:moveTo>
                        <a:pt x="877" y="671"/>
                      </a:moveTo>
                      <a:lnTo>
                        <a:pt x="877" y="669"/>
                      </a:lnTo>
                      <a:lnTo>
                        <a:pt x="877" y="668"/>
                      </a:lnTo>
                      <a:lnTo>
                        <a:pt x="875" y="666"/>
                      </a:lnTo>
                      <a:lnTo>
                        <a:pt x="873" y="666"/>
                      </a:lnTo>
                      <a:lnTo>
                        <a:pt x="872" y="668"/>
                      </a:lnTo>
                      <a:lnTo>
                        <a:pt x="872" y="669"/>
                      </a:lnTo>
                      <a:lnTo>
                        <a:pt x="873" y="671"/>
                      </a:lnTo>
                      <a:lnTo>
                        <a:pt x="877" y="671"/>
                      </a:lnTo>
                      <a:close/>
                      <a:moveTo>
                        <a:pt x="1389" y="690"/>
                      </a:moveTo>
                      <a:lnTo>
                        <a:pt x="1382" y="690"/>
                      </a:lnTo>
                      <a:lnTo>
                        <a:pt x="1378" y="692"/>
                      </a:lnTo>
                      <a:lnTo>
                        <a:pt x="1375" y="694"/>
                      </a:lnTo>
                      <a:lnTo>
                        <a:pt x="1369" y="697"/>
                      </a:lnTo>
                      <a:lnTo>
                        <a:pt x="1366" y="703"/>
                      </a:lnTo>
                      <a:lnTo>
                        <a:pt x="1364" y="706"/>
                      </a:lnTo>
                      <a:lnTo>
                        <a:pt x="1362" y="711"/>
                      </a:lnTo>
                      <a:lnTo>
                        <a:pt x="1362" y="715"/>
                      </a:lnTo>
                      <a:lnTo>
                        <a:pt x="1364" y="720"/>
                      </a:lnTo>
                      <a:lnTo>
                        <a:pt x="1366" y="725"/>
                      </a:lnTo>
                      <a:lnTo>
                        <a:pt x="1369" y="727"/>
                      </a:lnTo>
                      <a:lnTo>
                        <a:pt x="1373" y="729"/>
                      </a:lnTo>
                      <a:lnTo>
                        <a:pt x="1378" y="729"/>
                      </a:lnTo>
                      <a:lnTo>
                        <a:pt x="1392" y="727"/>
                      </a:lnTo>
                      <a:lnTo>
                        <a:pt x="1397" y="727"/>
                      </a:lnTo>
                      <a:lnTo>
                        <a:pt x="1401" y="725"/>
                      </a:lnTo>
                      <a:lnTo>
                        <a:pt x="1406" y="722"/>
                      </a:lnTo>
                      <a:lnTo>
                        <a:pt x="1408" y="718"/>
                      </a:lnTo>
                      <a:lnTo>
                        <a:pt x="1409" y="713"/>
                      </a:lnTo>
                      <a:lnTo>
                        <a:pt x="1409" y="704"/>
                      </a:lnTo>
                      <a:lnTo>
                        <a:pt x="1409" y="699"/>
                      </a:lnTo>
                      <a:lnTo>
                        <a:pt x="1409" y="696"/>
                      </a:lnTo>
                      <a:lnTo>
                        <a:pt x="1408" y="694"/>
                      </a:lnTo>
                      <a:lnTo>
                        <a:pt x="1404" y="692"/>
                      </a:lnTo>
                      <a:lnTo>
                        <a:pt x="1399" y="690"/>
                      </a:lnTo>
                      <a:lnTo>
                        <a:pt x="1389" y="690"/>
                      </a:lnTo>
                      <a:close/>
                      <a:moveTo>
                        <a:pt x="1368" y="657"/>
                      </a:moveTo>
                      <a:lnTo>
                        <a:pt x="1362" y="657"/>
                      </a:lnTo>
                      <a:lnTo>
                        <a:pt x="1361" y="662"/>
                      </a:lnTo>
                      <a:lnTo>
                        <a:pt x="1362" y="664"/>
                      </a:lnTo>
                      <a:lnTo>
                        <a:pt x="1364" y="666"/>
                      </a:lnTo>
                      <a:lnTo>
                        <a:pt x="1366" y="666"/>
                      </a:lnTo>
                      <a:lnTo>
                        <a:pt x="1369" y="666"/>
                      </a:lnTo>
                      <a:lnTo>
                        <a:pt x="1369" y="664"/>
                      </a:lnTo>
                      <a:lnTo>
                        <a:pt x="1375" y="661"/>
                      </a:lnTo>
                      <a:lnTo>
                        <a:pt x="1376" y="659"/>
                      </a:lnTo>
                      <a:lnTo>
                        <a:pt x="1373" y="657"/>
                      </a:lnTo>
                      <a:lnTo>
                        <a:pt x="1368" y="657"/>
                      </a:lnTo>
                      <a:close/>
                      <a:moveTo>
                        <a:pt x="1408" y="687"/>
                      </a:moveTo>
                      <a:lnTo>
                        <a:pt x="1409" y="689"/>
                      </a:lnTo>
                      <a:lnTo>
                        <a:pt x="1413" y="690"/>
                      </a:lnTo>
                      <a:lnTo>
                        <a:pt x="1415" y="689"/>
                      </a:lnTo>
                      <a:lnTo>
                        <a:pt x="1415" y="685"/>
                      </a:lnTo>
                      <a:lnTo>
                        <a:pt x="1411" y="682"/>
                      </a:lnTo>
                      <a:lnTo>
                        <a:pt x="1408" y="678"/>
                      </a:lnTo>
                      <a:lnTo>
                        <a:pt x="1406" y="680"/>
                      </a:lnTo>
                      <a:lnTo>
                        <a:pt x="1404" y="680"/>
                      </a:lnTo>
                      <a:lnTo>
                        <a:pt x="1402" y="682"/>
                      </a:lnTo>
                      <a:lnTo>
                        <a:pt x="1402" y="683"/>
                      </a:lnTo>
                      <a:lnTo>
                        <a:pt x="1404" y="685"/>
                      </a:lnTo>
                      <a:lnTo>
                        <a:pt x="1408" y="687"/>
                      </a:lnTo>
                      <a:close/>
                      <a:moveTo>
                        <a:pt x="952" y="404"/>
                      </a:moveTo>
                      <a:lnTo>
                        <a:pt x="952" y="402"/>
                      </a:lnTo>
                      <a:lnTo>
                        <a:pt x="955" y="402"/>
                      </a:lnTo>
                      <a:lnTo>
                        <a:pt x="957" y="402"/>
                      </a:lnTo>
                      <a:lnTo>
                        <a:pt x="957" y="402"/>
                      </a:lnTo>
                      <a:lnTo>
                        <a:pt x="959" y="402"/>
                      </a:lnTo>
                      <a:lnTo>
                        <a:pt x="961" y="400"/>
                      </a:lnTo>
                      <a:lnTo>
                        <a:pt x="962" y="399"/>
                      </a:lnTo>
                      <a:lnTo>
                        <a:pt x="962" y="397"/>
                      </a:lnTo>
                      <a:lnTo>
                        <a:pt x="962" y="397"/>
                      </a:lnTo>
                      <a:lnTo>
                        <a:pt x="959" y="393"/>
                      </a:lnTo>
                      <a:lnTo>
                        <a:pt x="957" y="393"/>
                      </a:lnTo>
                      <a:lnTo>
                        <a:pt x="955" y="392"/>
                      </a:lnTo>
                      <a:lnTo>
                        <a:pt x="954" y="392"/>
                      </a:lnTo>
                      <a:lnTo>
                        <a:pt x="954" y="393"/>
                      </a:lnTo>
                      <a:lnTo>
                        <a:pt x="952" y="395"/>
                      </a:lnTo>
                      <a:lnTo>
                        <a:pt x="950" y="397"/>
                      </a:lnTo>
                      <a:lnTo>
                        <a:pt x="948" y="399"/>
                      </a:lnTo>
                      <a:lnTo>
                        <a:pt x="943" y="400"/>
                      </a:lnTo>
                      <a:lnTo>
                        <a:pt x="941" y="400"/>
                      </a:lnTo>
                      <a:lnTo>
                        <a:pt x="940" y="406"/>
                      </a:lnTo>
                      <a:lnTo>
                        <a:pt x="941" y="407"/>
                      </a:lnTo>
                      <a:lnTo>
                        <a:pt x="945" y="409"/>
                      </a:lnTo>
                      <a:lnTo>
                        <a:pt x="948" y="407"/>
                      </a:lnTo>
                      <a:lnTo>
                        <a:pt x="950" y="406"/>
                      </a:lnTo>
                      <a:lnTo>
                        <a:pt x="952" y="404"/>
                      </a:lnTo>
                      <a:close/>
                      <a:moveTo>
                        <a:pt x="763" y="488"/>
                      </a:moveTo>
                      <a:lnTo>
                        <a:pt x="758" y="488"/>
                      </a:lnTo>
                      <a:lnTo>
                        <a:pt x="741" y="489"/>
                      </a:lnTo>
                      <a:lnTo>
                        <a:pt x="737" y="489"/>
                      </a:lnTo>
                      <a:lnTo>
                        <a:pt x="734" y="491"/>
                      </a:lnTo>
                      <a:lnTo>
                        <a:pt x="728" y="495"/>
                      </a:lnTo>
                      <a:lnTo>
                        <a:pt x="730" y="496"/>
                      </a:lnTo>
                      <a:lnTo>
                        <a:pt x="737" y="500"/>
                      </a:lnTo>
                      <a:lnTo>
                        <a:pt x="742" y="503"/>
                      </a:lnTo>
                      <a:lnTo>
                        <a:pt x="744" y="505"/>
                      </a:lnTo>
                      <a:lnTo>
                        <a:pt x="749" y="512"/>
                      </a:lnTo>
                      <a:lnTo>
                        <a:pt x="755" y="519"/>
                      </a:lnTo>
                      <a:lnTo>
                        <a:pt x="760" y="523"/>
                      </a:lnTo>
                      <a:lnTo>
                        <a:pt x="763" y="524"/>
                      </a:lnTo>
                      <a:lnTo>
                        <a:pt x="767" y="523"/>
                      </a:lnTo>
                      <a:lnTo>
                        <a:pt x="769" y="519"/>
                      </a:lnTo>
                      <a:lnTo>
                        <a:pt x="776" y="509"/>
                      </a:lnTo>
                      <a:lnTo>
                        <a:pt x="777" y="505"/>
                      </a:lnTo>
                      <a:lnTo>
                        <a:pt x="779" y="500"/>
                      </a:lnTo>
                      <a:lnTo>
                        <a:pt x="779" y="496"/>
                      </a:lnTo>
                      <a:lnTo>
                        <a:pt x="777" y="493"/>
                      </a:lnTo>
                      <a:lnTo>
                        <a:pt x="774" y="491"/>
                      </a:lnTo>
                      <a:lnTo>
                        <a:pt x="767" y="488"/>
                      </a:lnTo>
                      <a:lnTo>
                        <a:pt x="763" y="488"/>
                      </a:lnTo>
                      <a:close/>
                      <a:moveTo>
                        <a:pt x="912" y="475"/>
                      </a:moveTo>
                      <a:lnTo>
                        <a:pt x="896" y="479"/>
                      </a:lnTo>
                      <a:lnTo>
                        <a:pt x="891" y="481"/>
                      </a:lnTo>
                      <a:lnTo>
                        <a:pt x="891" y="482"/>
                      </a:lnTo>
                      <a:lnTo>
                        <a:pt x="896" y="484"/>
                      </a:lnTo>
                      <a:lnTo>
                        <a:pt x="900" y="484"/>
                      </a:lnTo>
                      <a:lnTo>
                        <a:pt x="905" y="484"/>
                      </a:lnTo>
                      <a:lnTo>
                        <a:pt x="910" y="484"/>
                      </a:lnTo>
                      <a:lnTo>
                        <a:pt x="915" y="482"/>
                      </a:lnTo>
                      <a:lnTo>
                        <a:pt x="919" y="481"/>
                      </a:lnTo>
                      <a:lnTo>
                        <a:pt x="924" y="477"/>
                      </a:lnTo>
                      <a:lnTo>
                        <a:pt x="926" y="475"/>
                      </a:lnTo>
                      <a:lnTo>
                        <a:pt x="924" y="474"/>
                      </a:lnTo>
                      <a:lnTo>
                        <a:pt x="912" y="475"/>
                      </a:lnTo>
                      <a:close/>
                      <a:moveTo>
                        <a:pt x="776" y="416"/>
                      </a:moveTo>
                      <a:lnTo>
                        <a:pt x="774" y="420"/>
                      </a:lnTo>
                      <a:lnTo>
                        <a:pt x="774" y="423"/>
                      </a:lnTo>
                      <a:lnTo>
                        <a:pt x="776" y="427"/>
                      </a:lnTo>
                      <a:lnTo>
                        <a:pt x="781" y="428"/>
                      </a:lnTo>
                      <a:lnTo>
                        <a:pt x="786" y="430"/>
                      </a:lnTo>
                      <a:lnTo>
                        <a:pt x="791" y="428"/>
                      </a:lnTo>
                      <a:lnTo>
                        <a:pt x="797" y="427"/>
                      </a:lnTo>
                      <a:lnTo>
                        <a:pt x="798" y="423"/>
                      </a:lnTo>
                      <a:lnTo>
                        <a:pt x="798" y="418"/>
                      </a:lnTo>
                      <a:lnTo>
                        <a:pt x="797" y="414"/>
                      </a:lnTo>
                      <a:lnTo>
                        <a:pt x="795" y="411"/>
                      </a:lnTo>
                      <a:lnTo>
                        <a:pt x="791" y="407"/>
                      </a:lnTo>
                      <a:lnTo>
                        <a:pt x="786" y="406"/>
                      </a:lnTo>
                      <a:lnTo>
                        <a:pt x="781" y="407"/>
                      </a:lnTo>
                      <a:lnTo>
                        <a:pt x="777" y="411"/>
                      </a:lnTo>
                      <a:lnTo>
                        <a:pt x="776" y="416"/>
                      </a:lnTo>
                      <a:close/>
                      <a:moveTo>
                        <a:pt x="812" y="275"/>
                      </a:moveTo>
                      <a:lnTo>
                        <a:pt x="809" y="276"/>
                      </a:lnTo>
                      <a:lnTo>
                        <a:pt x="807" y="278"/>
                      </a:lnTo>
                      <a:lnTo>
                        <a:pt x="809" y="280"/>
                      </a:lnTo>
                      <a:lnTo>
                        <a:pt x="812" y="280"/>
                      </a:lnTo>
                      <a:lnTo>
                        <a:pt x="816" y="278"/>
                      </a:lnTo>
                      <a:lnTo>
                        <a:pt x="817" y="276"/>
                      </a:lnTo>
                      <a:lnTo>
                        <a:pt x="816" y="275"/>
                      </a:lnTo>
                      <a:lnTo>
                        <a:pt x="812" y="275"/>
                      </a:lnTo>
                      <a:close/>
                      <a:moveTo>
                        <a:pt x="931" y="456"/>
                      </a:moveTo>
                      <a:lnTo>
                        <a:pt x="933" y="455"/>
                      </a:lnTo>
                      <a:lnTo>
                        <a:pt x="934" y="453"/>
                      </a:lnTo>
                      <a:lnTo>
                        <a:pt x="933" y="451"/>
                      </a:lnTo>
                      <a:lnTo>
                        <a:pt x="929" y="453"/>
                      </a:lnTo>
                      <a:lnTo>
                        <a:pt x="926" y="455"/>
                      </a:lnTo>
                      <a:lnTo>
                        <a:pt x="926" y="456"/>
                      </a:lnTo>
                      <a:lnTo>
                        <a:pt x="928" y="458"/>
                      </a:lnTo>
                      <a:lnTo>
                        <a:pt x="931" y="456"/>
                      </a:lnTo>
                      <a:close/>
                      <a:moveTo>
                        <a:pt x="851" y="657"/>
                      </a:moveTo>
                      <a:lnTo>
                        <a:pt x="852" y="657"/>
                      </a:lnTo>
                      <a:lnTo>
                        <a:pt x="856" y="655"/>
                      </a:lnTo>
                      <a:lnTo>
                        <a:pt x="854" y="655"/>
                      </a:lnTo>
                      <a:lnTo>
                        <a:pt x="852" y="654"/>
                      </a:lnTo>
                      <a:lnTo>
                        <a:pt x="849" y="654"/>
                      </a:lnTo>
                      <a:lnTo>
                        <a:pt x="847" y="654"/>
                      </a:lnTo>
                      <a:lnTo>
                        <a:pt x="849" y="654"/>
                      </a:lnTo>
                      <a:lnTo>
                        <a:pt x="851" y="655"/>
                      </a:lnTo>
                      <a:lnTo>
                        <a:pt x="851" y="655"/>
                      </a:lnTo>
                      <a:lnTo>
                        <a:pt x="851" y="655"/>
                      </a:lnTo>
                      <a:lnTo>
                        <a:pt x="851" y="657"/>
                      </a:lnTo>
                      <a:lnTo>
                        <a:pt x="849" y="657"/>
                      </a:lnTo>
                      <a:lnTo>
                        <a:pt x="849" y="657"/>
                      </a:lnTo>
                      <a:lnTo>
                        <a:pt x="849" y="657"/>
                      </a:lnTo>
                      <a:lnTo>
                        <a:pt x="851" y="657"/>
                      </a:lnTo>
                      <a:lnTo>
                        <a:pt x="849" y="659"/>
                      </a:lnTo>
                      <a:lnTo>
                        <a:pt x="851" y="657"/>
                      </a:lnTo>
                      <a:close/>
                      <a:moveTo>
                        <a:pt x="1329" y="692"/>
                      </a:moveTo>
                      <a:lnTo>
                        <a:pt x="1329" y="690"/>
                      </a:lnTo>
                      <a:lnTo>
                        <a:pt x="1326" y="690"/>
                      </a:lnTo>
                      <a:lnTo>
                        <a:pt x="1324" y="690"/>
                      </a:lnTo>
                      <a:lnTo>
                        <a:pt x="1322" y="692"/>
                      </a:lnTo>
                      <a:lnTo>
                        <a:pt x="1324" y="694"/>
                      </a:lnTo>
                      <a:lnTo>
                        <a:pt x="1326" y="696"/>
                      </a:lnTo>
                      <a:lnTo>
                        <a:pt x="1327" y="694"/>
                      </a:lnTo>
                      <a:lnTo>
                        <a:pt x="1329" y="692"/>
                      </a:lnTo>
                      <a:close/>
                      <a:moveTo>
                        <a:pt x="823" y="362"/>
                      </a:moveTo>
                      <a:lnTo>
                        <a:pt x="821" y="358"/>
                      </a:lnTo>
                      <a:lnTo>
                        <a:pt x="819" y="357"/>
                      </a:lnTo>
                      <a:lnTo>
                        <a:pt x="812" y="355"/>
                      </a:lnTo>
                      <a:lnTo>
                        <a:pt x="805" y="357"/>
                      </a:lnTo>
                      <a:lnTo>
                        <a:pt x="786" y="362"/>
                      </a:lnTo>
                      <a:lnTo>
                        <a:pt x="783" y="364"/>
                      </a:lnTo>
                      <a:lnTo>
                        <a:pt x="783" y="367"/>
                      </a:lnTo>
                      <a:lnTo>
                        <a:pt x="784" y="369"/>
                      </a:lnTo>
                      <a:lnTo>
                        <a:pt x="788" y="369"/>
                      </a:lnTo>
                      <a:lnTo>
                        <a:pt x="795" y="369"/>
                      </a:lnTo>
                      <a:lnTo>
                        <a:pt x="791" y="376"/>
                      </a:lnTo>
                      <a:lnTo>
                        <a:pt x="795" y="376"/>
                      </a:lnTo>
                      <a:lnTo>
                        <a:pt x="797" y="378"/>
                      </a:lnTo>
                      <a:lnTo>
                        <a:pt x="798" y="378"/>
                      </a:lnTo>
                      <a:lnTo>
                        <a:pt x="807" y="374"/>
                      </a:lnTo>
                      <a:lnTo>
                        <a:pt x="809" y="374"/>
                      </a:lnTo>
                      <a:lnTo>
                        <a:pt x="812" y="376"/>
                      </a:lnTo>
                      <a:lnTo>
                        <a:pt x="809" y="379"/>
                      </a:lnTo>
                      <a:lnTo>
                        <a:pt x="807" y="383"/>
                      </a:lnTo>
                      <a:lnTo>
                        <a:pt x="805" y="385"/>
                      </a:lnTo>
                      <a:lnTo>
                        <a:pt x="814" y="385"/>
                      </a:lnTo>
                      <a:lnTo>
                        <a:pt x="819" y="385"/>
                      </a:lnTo>
                      <a:lnTo>
                        <a:pt x="821" y="385"/>
                      </a:lnTo>
                      <a:lnTo>
                        <a:pt x="823" y="383"/>
                      </a:lnTo>
                      <a:lnTo>
                        <a:pt x="824" y="379"/>
                      </a:lnTo>
                      <a:lnTo>
                        <a:pt x="824" y="379"/>
                      </a:lnTo>
                      <a:lnTo>
                        <a:pt x="828" y="378"/>
                      </a:lnTo>
                      <a:lnTo>
                        <a:pt x="830" y="378"/>
                      </a:lnTo>
                      <a:lnTo>
                        <a:pt x="833" y="376"/>
                      </a:lnTo>
                      <a:lnTo>
                        <a:pt x="833" y="374"/>
                      </a:lnTo>
                      <a:lnTo>
                        <a:pt x="831" y="372"/>
                      </a:lnTo>
                      <a:lnTo>
                        <a:pt x="826" y="369"/>
                      </a:lnTo>
                      <a:lnTo>
                        <a:pt x="824" y="367"/>
                      </a:lnTo>
                      <a:lnTo>
                        <a:pt x="823" y="364"/>
                      </a:lnTo>
                      <a:lnTo>
                        <a:pt x="823" y="362"/>
                      </a:lnTo>
                      <a:close/>
                      <a:moveTo>
                        <a:pt x="945" y="512"/>
                      </a:moveTo>
                      <a:lnTo>
                        <a:pt x="943" y="512"/>
                      </a:lnTo>
                      <a:lnTo>
                        <a:pt x="941" y="512"/>
                      </a:lnTo>
                      <a:lnTo>
                        <a:pt x="940" y="514"/>
                      </a:lnTo>
                      <a:lnTo>
                        <a:pt x="940" y="516"/>
                      </a:lnTo>
                      <a:lnTo>
                        <a:pt x="938" y="517"/>
                      </a:lnTo>
                      <a:lnTo>
                        <a:pt x="940" y="521"/>
                      </a:lnTo>
                      <a:lnTo>
                        <a:pt x="941" y="523"/>
                      </a:lnTo>
                      <a:lnTo>
                        <a:pt x="947" y="523"/>
                      </a:lnTo>
                      <a:lnTo>
                        <a:pt x="948" y="519"/>
                      </a:lnTo>
                      <a:lnTo>
                        <a:pt x="948" y="516"/>
                      </a:lnTo>
                      <a:lnTo>
                        <a:pt x="947" y="514"/>
                      </a:lnTo>
                      <a:lnTo>
                        <a:pt x="945" y="512"/>
                      </a:lnTo>
                      <a:close/>
                      <a:moveTo>
                        <a:pt x="835" y="675"/>
                      </a:moveTo>
                      <a:lnTo>
                        <a:pt x="830" y="676"/>
                      </a:lnTo>
                      <a:lnTo>
                        <a:pt x="828" y="680"/>
                      </a:lnTo>
                      <a:lnTo>
                        <a:pt x="831" y="680"/>
                      </a:lnTo>
                      <a:lnTo>
                        <a:pt x="835" y="682"/>
                      </a:lnTo>
                      <a:lnTo>
                        <a:pt x="838" y="682"/>
                      </a:lnTo>
                      <a:lnTo>
                        <a:pt x="840" y="678"/>
                      </a:lnTo>
                      <a:lnTo>
                        <a:pt x="838" y="675"/>
                      </a:lnTo>
                      <a:lnTo>
                        <a:pt x="835" y="675"/>
                      </a:lnTo>
                      <a:close/>
                      <a:moveTo>
                        <a:pt x="772" y="682"/>
                      </a:moveTo>
                      <a:lnTo>
                        <a:pt x="769" y="683"/>
                      </a:lnTo>
                      <a:lnTo>
                        <a:pt x="770" y="685"/>
                      </a:lnTo>
                      <a:lnTo>
                        <a:pt x="776" y="687"/>
                      </a:lnTo>
                      <a:lnTo>
                        <a:pt x="779" y="689"/>
                      </a:lnTo>
                      <a:lnTo>
                        <a:pt x="783" y="687"/>
                      </a:lnTo>
                      <a:lnTo>
                        <a:pt x="781" y="683"/>
                      </a:lnTo>
                      <a:lnTo>
                        <a:pt x="777" y="683"/>
                      </a:lnTo>
                      <a:lnTo>
                        <a:pt x="772" y="682"/>
                      </a:lnTo>
                      <a:close/>
                      <a:moveTo>
                        <a:pt x="858" y="643"/>
                      </a:moveTo>
                      <a:lnTo>
                        <a:pt x="856" y="638"/>
                      </a:lnTo>
                      <a:lnTo>
                        <a:pt x="854" y="634"/>
                      </a:lnTo>
                      <a:lnTo>
                        <a:pt x="851" y="633"/>
                      </a:lnTo>
                      <a:lnTo>
                        <a:pt x="849" y="633"/>
                      </a:lnTo>
                      <a:lnTo>
                        <a:pt x="845" y="633"/>
                      </a:lnTo>
                      <a:lnTo>
                        <a:pt x="844" y="633"/>
                      </a:lnTo>
                      <a:lnTo>
                        <a:pt x="844" y="633"/>
                      </a:lnTo>
                      <a:lnTo>
                        <a:pt x="842" y="631"/>
                      </a:lnTo>
                      <a:lnTo>
                        <a:pt x="842" y="631"/>
                      </a:lnTo>
                      <a:lnTo>
                        <a:pt x="842" y="629"/>
                      </a:lnTo>
                      <a:lnTo>
                        <a:pt x="840" y="629"/>
                      </a:lnTo>
                      <a:lnTo>
                        <a:pt x="840" y="628"/>
                      </a:lnTo>
                      <a:lnTo>
                        <a:pt x="840" y="628"/>
                      </a:lnTo>
                      <a:lnTo>
                        <a:pt x="838" y="628"/>
                      </a:lnTo>
                      <a:lnTo>
                        <a:pt x="833" y="626"/>
                      </a:lnTo>
                      <a:lnTo>
                        <a:pt x="828" y="624"/>
                      </a:lnTo>
                      <a:lnTo>
                        <a:pt x="817" y="617"/>
                      </a:lnTo>
                      <a:lnTo>
                        <a:pt x="814" y="615"/>
                      </a:lnTo>
                      <a:lnTo>
                        <a:pt x="812" y="614"/>
                      </a:lnTo>
                      <a:lnTo>
                        <a:pt x="811" y="612"/>
                      </a:lnTo>
                      <a:lnTo>
                        <a:pt x="812" y="615"/>
                      </a:lnTo>
                      <a:lnTo>
                        <a:pt x="812" y="617"/>
                      </a:lnTo>
                      <a:lnTo>
                        <a:pt x="811" y="619"/>
                      </a:lnTo>
                      <a:lnTo>
                        <a:pt x="809" y="617"/>
                      </a:lnTo>
                      <a:lnTo>
                        <a:pt x="802" y="614"/>
                      </a:lnTo>
                      <a:lnTo>
                        <a:pt x="797" y="612"/>
                      </a:lnTo>
                      <a:lnTo>
                        <a:pt x="786" y="601"/>
                      </a:lnTo>
                      <a:lnTo>
                        <a:pt x="783" y="598"/>
                      </a:lnTo>
                      <a:lnTo>
                        <a:pt x="781" y="596"/>
                      </a:lnTo>
                      <a:lnTo>
                        <a:pt x="779" y="594"/>
                      </a:lnTo>
                      <a:lnTo>
                        <a:pt x="779" y="593"/>
                      </a:lnTo>
                      <a:lnTo>
                        <a:pt x="781" y="591"/>
                      </a:lnTo>
                      <a:lnTo>
                        <a:pt x="783" y="589"/>
                      </a:lnTo>
                      <a:lnTo>
                        <a:pt x="783" y="587"/>
                      </a:lnTo>
                      <a:lnTo>
                        <a:pt x="784" y="582"/>
                      </a:lnTo>
                      <a:lnTo>
                        <a:pt x="783" y="579"/>
                      </a:lnTo>
                      <a:lnTo>
                        <a:pt x="781" y="575"/>
                      </a:lnTo>
                      <a:lnTo>
                        <a:pt x="772" y="563"/>
                      </a:lnTo>
                      <a:lnTo>
                        <a:pt x="769" y="554"/>
                      </a:lnTo>
                      <a:lnTo>
                        <a:pt x="762" y="535"/>
                      </a:lnTo>
                      <a:lnTo>
                        <a:pt x="758" y="526"/>
                      </a:lnTo>
                      <a:lnTo>
                        <a:pt x="751" y="519"/>
                      </a:lnTo>
                      <a:lnTo>
                        <a:pt x="744" y="514"/>
                      </a:lnTo>
                      <a:lnTo>
                        <a:pt x="734" y="509"/>
                      </a:lnTo>
                      <a:lnTo>
                        <a:pt x="732" y="507"/>
                      </a:lnTo>
                      <a:lnTo>
                        <a:pt x="730" y="507"/>
                      </a:lnTo>
                      <a:lnTo>
                        <a:pt x="728" y="507"/>
                      </a:lnTo>
                      <a:lnTo>
                        <a:pt x="728" y="507"/>
                      </a:lnTo>
                      <a:lnTo>
                        <a:pt x="727" y="509"/>
                      </a:lnTo>
                      <a:lnTo>
                        <a:pt x="727" y="509"/>
                      </a:lnTo>
                      <a:lnTo>
                        <a:pt x="723" y="510"/>
                      </a:lnTo>
                      <a:lnTo>
                        <a:pt x="721" y="509"/>
                      </a:lnTo>
                      <a:lnTo>
                        <a:pt x="716" y="505"/>
                      </a:lnTo>
                      <a:lnTo>
                        <a:pt x="711" y="503"/>
                      </a:lnTo>
                      <a:lnTo>
                        <a:pt x="707" y="502"/>
                      </a:lnTo>
                      <a:lnTo>
                        <a:pt x="706" y="502"/>
                      </a:lnTo>
                      <a:lnTo>
                        <a:pt x="704" y="503"/>
                      </a:lnTo>
                      <a:lnTo>
                        <a:pt x="704" y="507"/>
                      </a:lnTo>
                      <a:lnTo>
                        <a:pt x="706" y="509"/>
                      </a:lnTo>
                      <a:lnTo>
                        <a:pt x="707" y="509"/>
                      </a:lnTo>
                      <a:lnTo>
                        <a:pt x="704" y="510"/>
                      </a:lnTo>
                      <a:lnTo>
                        <a:pt x="702" y="512"/>
                      </a:lnTo>
                      <a:lnTo>
                        <a:pt x="700" y="516"/>
                      </a:lnTo>
                      <a:lnTo>
                        <a:pt x="702" y="524"/>
                      </a:lnTo>
                      <a:lnTo>
                        <a:pt x="713" y="554"/>
                      </a:lnTo>
                      <a:lnTo>
                        <a:pt x="716" y="559"/>
                      </a:lnTo>
                      <a:lnTo>
                        <a:pt x="721" y="566"/>
                      </a:lnTo>
                      <a:lnTo>
                        <a:pt x="720" y="568"/>
                      </a:lnTo>
                      <a:lnTo>
                        <a:pt x="720" y="568"/>
                      </a:lnTo>
                      <a:lnTo>
                        <a:pt x="720" y="568"/>
                      </a:lnTo>
                      <a:lnTo>
                        <a:pt x="720" y="570"/>
                      </a:lnTo>
                      <a:lnTo>
                        <a:pt x="718" y="570"/>
                      </a:lnTo>
                      <a:lnTo>
                        <a:pt x="713" y="573"/>
                      </a:lnTo>
                      <a:lnTo>
                        <a:pt x="711" y="575"/>
                      </a:lnTo>
                      <a:lnTo>
                        <a:pt x="709" y="575"/>
                      </a:lnTo>
                      <a:lnTo>
                        <a:pt x="709" y="575"/>
                      </a:lnTo>
                      <a:lnTo>
                        <a:pt x="706" y="575"/>
                      </a:lnTo>
                      <a:lnTo>
                        <a:pt x="706" y="575"/>
                      </a:lnTo>
                      <a:lnTo>
                        <a:pt x="704" y="573"/>
                      </a:lnTo>
                      <a:lnTo>
                        <a:pt x="702" y="573"/>
                      </a:lnTo>
                      <a:lnTo>
                        <a:pt x="700" y="572"/>
                      </a:lnTo>
                      <a:lnTo>
                        <a:pt x="699" y="568"/>
                      </a:lnTo>
                      <a:lnTo>
                        <a:pt x="692" y="545"/>
                      </a:lnTo>
                      <a:lnTo>
                        <a:pt x="692" y="544"/>
                      </a:lnTo>
                      <a:lnTo>
                        <a:pt x="690" y="542"/>
                      </a:lnTo>
                      <a:lnTo>
                        <a:pt x="687" y="540"/>
                      </a:lnTo>
                      <a:lnTo>
                        <a:pt x="687" y="538"/>
                      </a:lnTo>
                      <a:lnTo>
                        <a:pt x="685" y="538"/>
                      </a:lnTo>
                      <a:lnTo>
                        <a:pt x="685" y="538"/>
                      </a:lnTo>
                      <a:lnTo>
                        <a:pt x="685" y="538"/>
                      </a:lnTo>
                      <a:lnTo>
                        <a:pt x="685" y="537"/>
                      </a:lnTo>
                      <a:lnTo>
                        <a:pt x="685" y="537"/>
                      </a:lnTo>
                      <a:lnTo>
                        <a:pt x="685" y="537"/>
                      </a:lnTo>
                      <a:lnTo>
                        <a:pt x="685" y="535"/>
                      </a:lnTo>
                      <a:lnTo>
                        <a:pt x="683" y="533"/>
                      </a:lnTo>
                      <a:lnTo>
                        <a:pt x="669" y="524"/>
                      </a:lnTo>
                      <a:lnTo>
                        <a:pt x="666" y="523"/>
                      </a:lnTo>
                      <a:lnTo>
                        <a:pt x="662" y="521"/>
                      </a:lnTo>
                      <a:lnTo>
                        <a:pt x="657" y="521"/>
                      </a:lnTo>
                      <a:lnTo>
                        <a:pt x="652" y="519"/>
                      </a:lnTo>
                      <a:lnTo>
                        <a:pt x="648" y="521"/>
                      </a:lnTo>
                      <a:lnTo>
                        <a:pt x="648" y="524"/>
                      </a:lnTo>
                      <a:lnTo>
                        <a:pt x="657" y="530"/>
                      </a:lnTo>
                      <a:lnTo>
                        <a:pt x="659" y="535"/>
                      </a:lnTo>
                      <a:lnTo>
                        <a:pt x="657" y="537"/>
                      </a:lnTo>
                      <a:lnTo>
                        <a:pt x="648" y="542"/>
                      </a:lnTo>
                      <a:lnTo>
                        <a:pt x="641" y="545"/>
                      </a:lnTo>
                      <a:lnTo>
                        <a:pt x="638" y="547"/>
                      </a:lnTo>
                      <a:lnTo>
                        <a:pt x="636" y="547"/>
                      </a:lnTo>
                      <a:lnTo>
                        <a:pt x="636" y="544"/>
                      </a:lnTo>
                      <a:lnTo>
                        <a:pt x="634" y="545"/>
                      </a:lnTo>
                      <a:lnTo>
                        <a:pt x="632" y="547"/>
                      </a:lnTo>
                      <a:lnTo>
                        <a:pt x="631" y="547"/>
                      </a:lnTo>
                      <a:lnTo>
                        <a:pt x="631" y="549"/>
                      </a:lnTo>
                      <a:lnTo>
                        <a:pt x="627" y="551"/>
                      </a:lnTo>
                      <a:lnTo>
                        <a:pt x="627" y="549"/>
                      </a:lnTo>
                      <a:lnTo>
                        <a:pt x="625" y="549"/>
                      </a:lnTo>
                      <a:lnTo>
                        <a:pt x="622" y="549"/>
                      </a:lnTo>
                      <a:lnTo>
                        <a:pt x="629" y="544"/>
                      </a:lnTo>
                      <a:lnTo>
                        <a:pt x="632" y="542"/>
                      </a:lnTo>
                      <a:lnTo>
                        <a:pt x="634" y="538"/>
                      </a:lnTo>
                      <a:lnTo>
                        <a:pt x="636" y="535"/>
                      </a:lnTo>
                      <a:lnTo>
                        <a:pt x="634" y="533"/>
                      </a:lnTo>
                      <a:lnTo>
                        <a:pt x="632" y="531"/>
                      </a:lnTo>
                      <a:lnTo>
                        <a:pt x="613" y="523"/>
                      </a:lnTo>
                      <a:lnTo>
                        <a:pt x="604" y="521"/>
                      </a:lnTo>
                      <a:lnTo>
                        <a:pt x="597" y="521"/>
                      </a:lnTo>
                      <a:lnTo>
                        <a:pt x="594" y="523"/>
                      </a:lnTo>
                      <a:lnTo>
                        <a:pt x="590" y="524"/>
                      </a:lnTo>
                      <a:lnTo>
                        <a:pt x="589" y="528"/>
                      </a:lnTo>
                      <a:lnTo>
                        <a:pt x="587" y="535"/>
                      </a:lnTo>
                      <a:lnTo>
                        <a:pt x="587" y="535"/>
                      </a:lnTo>
                      <a:lnTo>
                        <a:pt x="583" y="537"/>
                      </a:lnTo>
                      <a:lnTo>
                        <a:pt x="582" y="537"/>
                      </a:lnTo>
                      <a:lnTo>
                        <a:pt x="570" y="538"/>
                      </a:lnTo>
                      <a:lnTo>
                        <a:pt x="566" y="538"/>
                      </a:lnTo>
                      <a:lnTo>
                        <a:pt x="568" y="537"/>
                      </a:lnTo>
                      <a:lnTo>
                        <a:pt x="575" y="528"/>
                      </a:lnTo>
                      <a:lnTo>
                        <a:pt x="577" y="521"/>
                      </a:lnTo>
                      <a:lnTo>
                        <a:pt x="577" y="514"/>
                      </a:lnTo>
                      <a:lnTo>
                        <a:pt x="573" y="507"/>
                      </a:lnTo>
                      <a:lnTo>
                        <a:pt x="570" y="503"/>
                      </a:lnTo>
                      <a:lnTo>
                        <a:pt x="563" y="502"/>
                      </a:lnTo>
                      <a:lnTo>
                        <a:pt x="554" y="505"/>
                      </a:lnTo>
                      <a:lnTo>
                        <a:pt x="507" y="524"/>
                      </a:lnTo>
                      <a:lnTo>
                        <a:pt x="493" y="533"/>
                      </a:lnTo>
                      <a:lnTo>
                        <a:pt x="484" y="540"/>
                      </a:lnTo>
                      <a:lnTo>
                        <a:pt x="482" y="545"/>
                      </a:lnTo>
                      <a:lnTo>
                        <a:pt x="484" y="549"/>
                      </a:lnTo>
                      <a:lnTo>
                        <a:pt x="486" y="551"/>
                      </a:lnTo>
                      <a:lnTo>
                        <a:pt x="487" y="552"/>
                      </a:lnTo>
                      <a:lnTo>
                        <a:pt x="484" y="554"/>
                      </a:lnTo>
                      <a:lnTo>
                        <a:pt x="475" y="559"/>
                      </a:lnTo>
                      <a:lnTo>
                        <a:pt x="473" y="561"/>
                      </a:lnTo>
                      <a:lnTo>
                        <a:pt x="472" y="566"/>
                      </a:lnTo>
                      <a:lnTo>
                        <a:pt x="472" y="573"/>
                      </a:lnTo>
                      <a:lnTo>
                        <a:pt x="480" y="575"/>
                      </a:lnTo>
                      <a:lnTo>
                        <a:pt x="498" y="575"/>
                      </a:lnTo>
                      <a:lnTo>
                        <a:pt x="494" y="577"/>
                      </a:lnTo>
                      <a:lnTo>
                        <a:pt x="491" y="579"/>
                      </a:lnTo>
                      <a:lnTo>
                        <a:pt x="487" y="580"/>
                      </a:lnTo>
                      <a:lnTo>
                        <a:pt x="489" y="584"/>
                      </a:lnTo>
                      <a:lnTo>
                        <a:pt x="493" y="586"/>
                      </a:lnTo>
                      <a:lnTo>
                        <a:pt x="498" y="586"/>
                      </a:lnTo>
                      <a:lnTo>
                        <a:pt x="508" y="584"/>
                      </a:lnTo>
                      <a:lnTo>
                        <a:pt x="529" y="582"/>
                      </a:lnTo>
                      <a:lnTo>
                        <a:pt x="540" y="580"/>
                      </a:lnTo>
                      <a:lnTo>
                        <a:pt x="545" y="580"/>
                      </a:lnTo>
                      <a:lnTo>
                        <a:pt x="550" y="580"/>
                      </a:lnTo>
                      <a:lnTo>
                        <a:pt x="545" y="582"/>
                      </a:lnTo>
                      <a:lnTo>
                        <a:pt x="538" y="582"/>
                      </a:lnTo>
                      <a:lnTo>
                        <a:pt x="535" y="584"/>
                      </a:lnTo>
                      <a:lnTo>
                        <a:pt x="536" y="586"/>
                      </a:lnTo>
                      <a:lnTo>
                        <a:pt x="498" y="593"/>
                      </a:lnTo>
                      <a:lnTo>
                        <a:pt x="493" y="594"/>
                      </a:lnTo>
                      <a:lnTo>
                        <a:pt x="489" y="596"/>
                      </a:lnTo>
                      <a:lnTo>
                        <a:pt x="486" y="600"/>
                      </a:lnTo>
                      <a:lnTo>
                        <a:pt x="486" y="601"/>
                      </a:lnTo>
                      <a:lnTo>
                        <a:pt x="487" y="605"/>
                      </a:lnTo>
                      <a:lnTo>
                        <a:pt x="493" y="608"/>
                      </a:lnTo>
                      <a:lnTo>
                        <a:pt x="498" y="612"/>
                      </a:lnTo>
                      <a:lnTo>
                        <a:pt x="501" y="614"/>
                      </a:lnTo>
                      <a:lnTo>
                        <a:pt x="508" y="614"/>
                      </a:lnTo>
                      <a:lnTo>
                        <a:pt x="526" y="614"/>
                      </a:lnTo>
                      <a:lnTo>
                        <a:pt x="545" y="615"/>
                      </a:lnTo>
                      <a:lnTo>
                        <a:pt x="573" y="612"/>
                      </a:lnTo>
                      <a:lnTo>
                        <a:pt x="583" y="612"/>
                      </a:lnTo>
                      <a:lnTo>
                        <a:pt x="589" y="612"/>
                      </a:lnTo>
                      <a:lnTo>
                        <a:pt x="617" y="621"/>
                      </a:lnTo>
                      <a:lnTo>
                        <a:pt x="624" y="622"/>
                      </a:lnTo>
                      <a:lnTo>
                        <a:pt x="629" y="626"/>
                      </a:lnTo>
                      <a:lnTo>
                        <a:pt x="625" y="628"/>
                      </a:lnTo>
                      <a:lnTo>
                        <a:pt x="622" y="628"/>
                      </a:lnTo>
                      <a:lnTo>
                        <a:pt x="618" y="628"/>
                      </a:lnTo>
                      <a:lnTo>
                        <a:pt x="615" y="628"/>
                      </a:lnTo>
                      <a:lnTo>
                        <a:pt x="606" y="629"/>
                      </a:lnTo>
                      <a:lnTo>
                        <a:pt x="566" y="626"/>
                      </a:lnTo>
                      <a:lnTo>
                        <a:pt x="521" y="631"/>
                      </a:lnTo>
                      <a:lnTo>
                        <a:pt x="514" y="634"/>
                      </a:lnTo>
                      <a:lnTo>
                        <a:pt x="510" y="638"/>
                      </a:lnTo>
                      <a:lnTo>
                        <a:pt x="510" y="641"/>
                      </a:lnTo>
                      <a:lnTo>
                        <a:pt x="512" y="647"/>
                      </a:lnTo>
                      <a:lnTo>
                        <a:pt x="522" y="655"/>
                      </a:lnTo>
                      <a:lnTo>
                        <a:pt x="524" y="657"/>
                      </a:lnTo>
                      <a:lnTo>
                        <a:pt x="528" y="659"/>
                      </a:lnTo>
                      <a:lnTo>
                        <a:pt x="531" y="659"/>
                      </a:lnTo>
                      <a:lnTo>
                        <a:pt x="538" y="661"/>
                      </a:lnTo>
                      <a:lnTo>
                        <a:pt x="575" y="662"/>
                      </a:lnTo>
                      <a:lnTo>
                        <a:pt x="580" y="662"/>
                      </a:lnTo>
                      <a:lnTo>
                        <a:pt x="582" y="664"/>
                      </a:lnTo>
                      <a:lnTo>
                        <a:pt x="585" y="666"/>
                      </a:lnTo>
                      <a:lnTo>
                        <a:pt x="585" y="668"/>
                      </a:lnTo>
                      <a:lnTo>
                        <a:pt x="585" y="671"/>
                      </a:lnTo>
                      <a:lnTo>
                        <a:pt x="585" y="675"/>
                      </a:lnTo>
                      <a:lnTo>
                        <a:pt x="589" y="680"/>
                      </a:lnTo>
                      <a:lnTo>
                        <a:pt x="594" y="683"/>
                      </a:lnTo>
                      <a:lnTo>
                        <a:pt x="601" y="685"/>
                      </a:lnTo>
                      <a:lnTo>
                        <a:pt x="664" y="680"/>
                      </a:lnTo>
                      <a:lnTo>
                        <a:pt x="678" y="678"/>
                      </a:lnTo>
                      <a:lnTo>
                        <a:pt x="697" y="673"/>
                      </a:lnTo>
                      <a:lnTo>
                        <a:pt x="711" y="671"/>
                      </a:lnTo>
                      <a:lnTo>
                        <a:pt x="718" y="669"/>
                      </a:lnTo>
                      <a:lnTo>
                        <a:pt x="723" y="666"/>
                      </a:lnTo>
                      <a:lnTo>
                        <a:pt x="730" y="661"/>
                      </a:lnTo>
                      <a:lnTo>
                        <a:pt x="735" y="657"/>
                      </a:lnTo>
                      <a:lnTo>
                        <a:pt x="741" y="659"/>
                      </a:lnTo>
                      <a:lnTo>
                        <a:pt x="742" y="661"/>
                      </a:lnTo>
                      <a:lnTo>
                        <a:pt x="742" y="661"/>
                      </a:lnTo>
                      <a:lnTo>
                        <a:pt x="742" y="662"/>
                      </a:lnTo>
                      <a:lnTo>
                        <a:pt x="744" y="664"/>
                      </a:lnTo>
                      <a:lnTo>
                        <a:pt x="746" y="666"/>
                      </a:lnTo>
                      <a:lnTo>
                        <a:pt x="749" y="666"/>
                      </a:lnTo>
                      <a:lnTo>
                        <a:pt x="756" y="666"/>
                      </a:lnTo>
                      <a:lnTo>
                        <a:pt x="767" y="666"/>
                      </a:lnTo>
                      <a:lnTo>
                        <a:pt x="770" y="668"/>
                      </a:lnTo>
                      <a:lnTo>
                        <a:pt x="769" y="669"/>
                      </a:lnTo>
                      <a:lnTo>
                        <a:pt x="767" y="669"/>
                      </a:lnTo>
                      <a:lnTo>
                        <a:pt x="767" y="671"/>
                      </a:lnTo>
                      <a:lnTo>
                        <a:pt x="770" y="673"/>
                      </a:lnTo>
                      <a:lnTo>
                        <a:pt x="776" y="673"/>
                      </a:lnTo>
                      <a:lnTo>
                        <a:pt x="783" y="673"/>
                      </a:lnTo>
                      <a:lnTo>
                        <a:pt x="788" y="673"/>
                      </a:lnTo>
                      <a:lnTo>
                        <a:pt x="800" y="675"/>
                      </a:lnTo>
                      <a:lnTo>
                        <a:pt x="804" y="675"/>
                      </a:lnTo>
                      <a:lnTo>
                        <a:pt x="811" y="675"/>
                      </a:lnTo>
                      <a:lnTo>
                        <a:pt x="819" y="675"/>
                      </a:lnTo>
                      <a:lnTo>
                        <a:pt x="826" y="673"/>
                      </a:lnTo>
                      <a:lnTo>
                        <a:pt x="833" y="669"/>
                      </a:lnTo>
                      <a:lnTo>
                        <a:pt x="837" y="668"/>
                      </a:lnTo>
                      <a:lnTo>
                        <a:pt x="838" y="668"/>
                      </a:lnTo>
                      <a:lnTo>
                        <a:pt x="838" y="664"/>
                      </a:lnTo>
                      <a:lnTo>
                        <a:pt x="837" y="662"/>
                      </a:lnTo>
                      <a:lnTo>
                        <a:pt x="837" y="662"/>
                      </a:lnTo>
                      <a:lnTo>
                        <a:pt x="835" y="662"/>
                      </a:lnTo>
                      <a:lnTo>
                        <a:pt x="833" y="662"/>
                      </a:lnTo>
                      <a:lnTo>
                        <a:pt x="833" y="662"/>
                      </a:lnTo>
                      <a:lnTo>
                        <a:pt x="833" y="661"/>
                      </a:lnTo>
                      <a:lnTo>
                        <a:pt x="833" y="661"/>
                      </a:lnTo>
                      <a:lnTo>
                        <a:pt x="833" y="659"/>
                      </a:lnTo>
                      <a:lnTo>
                        <a:pt x="833" y="659"/>
                      </a:lnTo>
                      <a:lnTo>
                        <a:pt x="833" y="659"/>
                      </a:lnTo>
                      <a:lnTo>
                        <a:pt x="833" y="657"/>
                      </a:lnTo>
                      <a:lnTo>
                        <a:pt x="833" y="657"/>
                      </a:lnTo>
                      <a:lnTo>
                        <a:pt x="831" y="655"/>
                      </a:lnTo>
                      <a:lnTo>
                        <a:pt x="830" y="655"/>
                      </a:lnTo>
                      <a:lnTo>
                        <a:pt x="828" y="655"/>
                      </a:lnTo>
                      <a:lnTo>
                        <a:pt x="823" y="657"/>
                      </a:lnTo>
                      <a:lnTo>
                        <a:pt x="819" y="657"/>
                      </a:lnTo>
                      <a:lnTo>
                        <a:pt x="816" y="659"/>
                      </a:lnTo>
                      <a:lnTo>
                        <a:pt x="811" y="664"/>
                      </a:lnTo>
                      <a:lnTo>
                        <a:pt x="811" y="659"/>
                      </a:lnTo>
                      <a:lnTo>
                        <a:pt x="811" y="655"/>
                      </a:lnTo>
                      <a:lnTo>
                        <a:pt x="804" y="652"/>
                      </a:lnTo>
                      <a:lnTo>
                        <a:pt x="805" y="650"/>
                      </a:lnTo>
                      <a:lnTo>
                        <a:pt x="809" y="652"/>
                      </a:lnTo>
                      <a:lnTo>
                        <a:pt x="812" y="652"/>
                      </a:lnTo>
                      <a:lnTo>
                        <a:pt x="816" y="654"/>
                      </a:lnTo>
                      <a:lnTo>
                        <a:pt x="819" y="654"/>
                      </a:lnTo>
                      <a:lnTo>
                        <a:pt x="821" y="654"/>
                      </a:lnTo>
                      <a:lnTo>
                        <a:pt x="823" y="652"/>
                      </a:lnTo>
                      <a:lnTo>
                        <a:pt x="821" y="648"/>
                      </a:lnTo>
                      <a:lnTo>
                        <a:pt x="824" y="647"/>
                      </a:lnTo>
                      <a:lnTo>
                        <a:pt x="828" y="647"/>
                      </a:lnTo>
                      <a:lnTo>
                        <a:pt x="831" y="647"/>
                      </a:lnTo>
                      <a:lnTo>
                        <a:pt x="838" y="648"/>
                      </a:lnTo>
                      <a:lnTo>
                        <a:pt x="842" y="648"/>
                      </a:lnTo>
                      <a:lnTo>
                        <a:pt x="844" y="648"/>
                      </a:lnTo>
                      <a:lnTo>
                        <a:pt x="845" y="645"/>
                      </a:lnTo>
                      <a:lnTo>
                        <a:pt x="847" y="648"/>
                      </a:lnTo>
                      <a:lnTo>
                        <a:pt x="851" y="650"/>
                      </a:lnTo>
                      <a:lnTo>
                        <a:pt x="854" y="650"/>
                      </a:lnTo>
                      <a:lnTo>
                        <a:pt x="858" y="648"/>
                      </a:lnTo>
                      <a:lnTo>
                        <a:pt x="858" y="643"/>
                      </a:lnTo>
                      <a:close/>
                      <a:moveTo>
                        <a:pt x="685" y="704"/>
                      </a:moveTo>
                      <a:lnTo>
                        <a:pt x="687" y="704"/>
                      </a:lnTo>
                      <a:lnTo>
                        <a:pt x="685" y="703"/>
                      </a:lnTo>
                      <a:lnTo>
                        <a:pt x="681" y="703"/>
                      </a:lnTo>
                      <a:lnTo>
                        <a:pt x="685" y="704"/>
                      </a:lnTo>
                      <a:close/>
                      <a:moveTo>
                        <a:pt x="847" y="294"/>
                      </a:moveTo>
                      <a:lnTo>
                        <a:pt x="840" y="292"/>
                      </a:lnTo>
                      <a:lnTo>
                        <a:pt x="833" y="292"/>
                      </a:lnTo>
                      <a:lnTo>
                        <a:pt x="828" y="292"/>
                      </a:lnTo>
                      <a:lnTo>
                        <a:pt x="826" y="292"/>
                      </a:lnTo>
                      <a:lnTo>
                        <a:pt x="824" y="294"/>
                      </a:lnTo>
                      <a:lnTo>
                        <a:pt x="824" y="299"/>
                      </a:lnTo>
                      <a:lnTo>
                        <a:pt x="826" y="301"/>
                      </a:lnTo>
                      <a:lnTo>
                        <a:pt x="830" y="303"/>
                      </a:lnTo>
                      <a:lnTo>
                        <a:pt x="833" y="303"/>
                      </a:lnTo>
                      <a:lnTo>
                        <a:pt x="838" y="303"/>
                      </a:lnTo>
                      <a:lnTo>
                        <a:pt x="856" y="301"/>
                      </a:lnTo>
                      <a:lnTo>
                        <a:pt x="852" y="296"/>
                      </a:lnTo>
                      <a:lnTo>
                        <a:pt x="847" y="294"/>
                      </a:lnTo>
                      <a:close/>
                      <a:moveTo>
                        <a:pt x="849" y="341"/>
                      </a:moveTo>
                      <a:lnTo>
                        <a:pt x="844" y="341"/>
                      </a:lnTo>
                      <a:lnTo>
                        <a:pt x="842" y="343"/>
                      </a:lnTo>
                      <a:lnTo>
                        <a:pt x="849" y="344"/>
                      </a:lnTo>
                      <a:lnTo>
                        <a:pt x="856" y="343"/>
                      </a:lnTo>
                      <a:lnTo>
                        <a:pt x="872" y="337"/>
                      </a:lnTo>
                      <a:lnTo>
                        <a:pt x="868" y="336"/>
                      </a:lnTo>
                      <a:lnTo>
                        <a:pt x="865" y="336"/>
                      </a:lnTo>
                      <a:lnTo>
                        <a:pt x="861" y="336"/>
                      </a:lnTo>
                      <a:lnTo>
                        <a:pt x="858" y="337"/>
                      </a:lnTo>
                      <a:lnTo>
                        <a:pt x="856" y="337"/>
                      </a:lnTo>
                      <a:lnTo>
                        <a:pt x="852" y="339"/>
                      </a:lnTo>
                      <a:lnTo>
                        <a:pt x="851" y="339"/>
                      </a:lnTo>
                      <a:lnTo>
                        <a:pt x="849" y="341"/>
                      </a:lnTo>
                      <a:close/>
                      <a:moveTo>
                        <a:pt x="676" y="699"/>
                      </a:moveTo>
                      <a:lnTo>
                        <a:pt x="676" y="699"/>
                      </a:lnTo>
                      <a:lnTo>
                        <a:pt x="674" y="697"/>
                      </a:lnTo>
                      <a:lnTo>
                        <a:pt x="674" y="699"/>
                      </a:lnTo>
                      <a:lnTo>
                        <a:pt x="674" y="701"/>
                      </a:lnTo>
                      <a:lnTo>
                        <a:pt x="676" y="701"/>
                      </a:lnTo>
                      <a:lnTo>
                        <a:pt x="676" y="701"/>
                      </a:lnTo>
                      <a:lnTo>
                        <a:pt x="678" y="701"/>
                      </a:lnTo>
                      <a:lnTo>
                        <a:pt x="678" y="701"/>
                      </a:lnTo>
                      <a:lnTo>
                        <a:pt x="676" y="699"/>
                      </a:lnTo>
                      <a:close/>
                      <a:moveTo>
                        <a:pt x="788" y="339"/>
                      </a:moveTo>
                      <a:lnTo>
                        <a:pt x="783" y="341"/>
                      </a:lnTo>
                      <a:lnTo>
                        <a:pt x="779" y="343"/>
                      </a:lnTo>
                      <a:lnTo>
                        <a:pt x="779" y="344"/>
                      </a:lnTo>
                      <a:lnTo>
                        <a:pt x="781" y="350"/>
                      </a:lnTo>
                      <a:lnTo>
                        <a:pt x="783" y="353"/>
                      </a:lnTo>
                      <a:lnTo>
                        <a:pt x="786" y="355"/>
                      </a:lnTo>
                      <a:lnTo>
                        <a:pt x="791" y="357"/>
                      </a:lnTo>
                      <a:lnTo>
                        <a:pt x="797" y="357"/>
                      </a:lnTo>
                      <a:lnTo>
                        <a:pt x="804" y="355"/>
                      </a:lnTo>
                      <a:lnTo>
                        <a:pt x="807" y="353"/>
                      </a:lnTo>
                      <a:lnTo>
                        <a:pt x="811" y="350"/>
                      </a:lnTo>
                      <a:lnTo>
                        <a:pt x="809" y="348"/>
                      </a:lnTo>
                      <a:lnTo>
                        <a:pt x="800" y="346"/>
                      </a:lnTo>
                      <a:lnTo>
                        <a:pt x="798" y="343"/>
                      </a:lnTo>
                      <a:lnTo>
                        <a:pt x="797" y="343"/>
                      </a:lnTo>
                      <a:lnTo>
                        <a:pt x="793" y="343"/>
                      </a:lnTo>
                      <a:lnTo>
                        <a:pt x="791" y="343"/>
                      </a:lnTo>
                      <a:lnTo>
                        <a:pt x="791" y="341"/>
                      </a:lnTo>
                      <a:lnTo>
                        <a:pt x="788" y="339"/>
                      </a:lnTo>
                      <a:close/>
                      <a:moveTo>
                        <a:pt x="1064" y="503"/>
                      </a:moveTo>
                      <a:lnTo>
                        <a:pt x="1069" y="498"/>
                      </a:lnTo>
                      <a:lnTo>
                        <a:pt x="1071" y="496"/>
                      </a:lnTo>
                      <a:lnTo>
                        <a:pt x="1076" y="491"/>
                      </a:lnTo>
                      <a:lnTo>
                        <a:pt x="1079" y="489"/>
                      </a:lnTo>
                      <a:lnTo>
                        <a:pt x="1081" y="486"/>
                      </a:lnTo>
                      <a:lnTo>
                        <a:pt x="1083" y="484"/>
                      </a:lnTo>
                      <a:lnTo>
                        <a:pt x="1081" y="481"/>
                      </a:lnTo>
                      <a:lnTo>
                        <a:pt x="1076" y="479"/>
                      </a:lnTo>
                      <a:lnTo>
                        <a:pt x="1071" y="479"/>
                      </a:lnTo>
                      <a:lnTo>
                        <a:pt x="1067" y="477"/>
                      </a:lnTo>
                      <a:lnTo>
                        <a:pt x="1057" y="477"/>
                      </a:lnTo>
                      <a:lnTo>
                        <a:pt x="1045" y="479"/>
                      </a:lnTo>
                      <a:lnTo>
                        <a:pt x="1041" y="479"/>
                      </a:lnTo>
                      <a:lnTo>
                        <a:pt x="1031" y="474"/>
                      </a:lnTo>
                      <a:lnTo>
                        <a:pt x="1025" y="472"/>
                      </a:lnTo>
                      <a:lnTo>
                        <a:pt x="1022" y="472"/>
                      </a:lnTo>
                      <a:lnTo>
                        <a:pt x="1018" y="472"/>
                      </a:lnTo>
                      <a:lnTo>
                        <a:pt x="1010" y="474"/>
                      </a:lnTo>
                      <a:lnTo>
                        <a:pt x="1006" y="474"/>
                      </a:lnTo>
                      <a:lnTo>
                        <a:pt x="999" y="474"/>
                      </a:lnTo>
                      <a:lnTo>
                        <a:pt x="994" y="474"/>
                      </a:lnTo>
                      <a:lnTo>
                        <a:pt x="990" y="474"/>
                      </a:lnTo>
                      <a:lnTo>
                        <a:pt x="987" y="475"/>
                      </a:lnTo>
                      <a:lnTo>
                        <a:pt x="983" y="477"/>
                      </a:lnTo>
                      <a:lnTo>
                        <a:pt x="980" y="481"/>
                      </a:lnTo>
                      <a:lnTo>
                        <a:pt x="982" y="484"/>
                      </a:lnTo>
                      <a:lnTo>
                        <a:pt x="983" y="488"/>
                      </a:lnTo>
                      <a:lnTo>
                        <a:pt x="987" y="489"/>
                      </a:lnTo>
                      <a:lnTo>
                        <a:pt x="990" y="491"/>
                      </a:lnTo>
                      <a:lnTo>
                        <a:pt x="985" y="489"/>
                      </a:lnTo>
                      <a:lnTo>
                        <a:pt x="978" y="488"/>
                      </a:lnTo>
                      <a:lnTo>
                        <a:pt x="973" y="488"/>
                      </a:lnTo>
                      <a:lnTo>
                        <a:pt x="969" y="491"/>
                      </a:lnTo>
                      <a:lnTo>
                        <a:pt x="971" y="510"/>
                      </a:lnTo>
                      <a:lnTo>
                        <a:pt x="971" y="523"/>
                      </a:lnTo>
                      <a:lnTo>
                        <a:pt x="971" y="526"/>
                      </a:lnTo>
                      <a:lnTo>
                        <a:pt x="973" y="530"/>
                      </a:lnTo>
                      <a:lnTo>
                        <a:pt x="978" y="542"/>
                      </a:lnTo>
                      <a:lnTo>
                        <a:pt x="978" y="545"/>
                      </a:lnTo>
                      <a:lnTo>
                        <a:pt x="980" y="551"/>
                      </a:lnTo>
                      <a:lnTo>
                        <a:pt x="980" y="559"/>
                      </a:lnTo>
                      <a:lnTo>
                        <a:pt x="980" y="561"/>
                      </a:lnTo>
                      <a:lnTo>
                        <a:pt x="982" y="563"/>
                      </a:lnTo>
                      <a:lnTo>
                        <a:pt x="987" y="561"/>
                      </a:lnTo>
                      <a:lnTo>
                        <a:pt x="992" y="561"/>
                      </a:lnTo>
                      <a:lnTo>
                        <a:pt x="996" y="561"/>
                      </a:lnTo>
                      <a:lnTo>
                        <a:pt x="1001" y="561"/>
                      </a:lnTo>
                      <a:lnTo>
                        <a:pt x="1004" y="559"/>
                      </a:lnTo>
                      <a:lnTo>
                        <a:pt x="1008" y="552"/>
                      </a:lnTo>
                      <a:lnTo>
                        <a:pt x="1011" y="551"/>
                      </a:lnTo>
                      <a:lnTo>
                        <a:pt x="1013" y="547"/>
                      </a:lnTo>
                      <a:lnTo>
                        <a:pt x="1015" y="545"/>
                      </a:lnTo>
                      <a:lnTo>
                        <a:pt x="1015" y="540"/>
                      </a:lnTo>
                      <a:lnTo>
                        <a:pt x="1011" y="537"/>
                      </a:lnTo>
                      <a:lnTo>
                        <a:pt x="1008" y="535"/>
                      </a:lnTo>
                      <a:lnTo>
                        <a:pt x="1004" y="533"/>
                      </a:lnTo>
                      <a:lnTo>
                        <a:pt x="1001" y="531"/>
                      </a:lnTo>
                      <a:lnTo>
                        <a:pt x="1015" y="530"/>
                      </a:lnTo>
                      <a:lnTo>
                        <a:pt x="1020" y="530"/>
                      </a:lnTo>
                      <a:lnTo>
                        <a:pt x="1034" y="533"/>
                      </a:lnTo>
                      <a:lnTo>
                        <a:pt x="1039" y="533"/>
                      </a:lnTo>
                      <a:lnTo>
                        <a:pt x="1046" y="530"/>
                      </a:lnTo>
                      <a:lnTo>
                        <a:pt x="1055" y="523"/>
                      </a:lnTo>
                      <a:lnTo>
                        <a:pt x="1058" y="514"/>
                      </a:lnTo>
                      <a:lnTo>
                        <a:pt x="1057" y="509"/>
                      </a:lnTo>
                      <a:lnTo>
                        <a:pt x="1062" y="507"/>
                      </a:lnTo>
                      <a:lnTo>
                        <a:pt x="1064" y="503"/>
                      </a:lnTo>
                      <a:close/>
                      <a:moveTo>
                        <a:pt x="1554" y="989"/>
                      </a:moveTo>
                      <a:lnTo>
                        <a:pt x="1553" y="993"/>
                      </a:lnTo>
                      <a:lnTo>
                        <a:pt x="1554" y="994"/>
                      </a:lnTo>
                      <a:lnTo>
                        <a:pt x="1560" y="994"/>
                      </a:lnTo>
                      <a:lnTo>
                        <a:pt x="1563" y="991"/>
                      </a:lnTo>
                      <a:lnTo>
                        <a:pt x="1565" y="987"/>
                      </a:lnTo>
                      <a:lnTo>
                        <a:pt x="1561" y="984"/>
                      </a:lnTo>
                      <a:lnTo>
                        <a:pt x="1558" y="986"/>
                      </a:lnTo>
                      <a:lnTo>
                        <a:pt x="1554" y="989"/>
                      </a:lnTo>
                      <a:close/>
                      <a:moveTo>
                        <a:pt x="1624" y="942"/>
                      </a:moveTo>
                      <a:lnTo>
                        <a:pt x="1626" y="944"/>
                      </a:lnTo>
                      <a:lnTo>
                        <a:pt x="1628" y="942"/>
                      </a:lnTo>
                      <a:lnTo>
                        <a:pt x="1628" y="942"/>
                      </a:lnTo>
                      <a:lnTo>
                        <a:pt x="1628" y="940"/>
                      </a:lnTo>
                      <a:lnTo>
                        <a:pt x="1626" y="939"/>
                      </a:lnTo>
                      <a:lnTo>
                        <a:pt x="1624" y="937"/>
                      </a:lnTo>
                      <a:lnTo>
                        <a:pt x="1621" y="937"/>
                      </a:lnTo>
                      <a:lnTo>
                        <a:pt x="1621" y="937"/>
                      </a:lnTo>
                      <a:lnTo>
                        <a:pt x="1621" y="940"/>
                      </a:lnTo>
                      <a:lnTo>
                        <a:pt x="1623" y="942"/>
                      </a:lnTo>
                      <a:lnTo>
                        <a:pt x="1624" y="942"/>
                      </a:lnTo>
                      <a:close/>
                      <a:moveTo>
                        <a:pt x="1636" y="918"/>
                      </a:moveTo>
                      <a:lnTo>
                        <a:pt x="1635" y="916"/>
                      </a:lnTo>
                      <a:lnTo>
                        <a:pt x="1633" y="916"/>
                      </a:lnTo>
                      <a:lnTo>
                        <a:pt x="1631" y="916"/>
                      </a:lnTo>
                      <a:lnTo>
                        <a:pt x="1630" y="916"/>
                      </a:lnTo>
                      <a:lnTo>
                        <a:pt x="1630" y="918"/>
                      </a:lnTo>
                      <a:lnTo>
                        <a:pt x="1628" y="918"/>
                      </a:lnTo>
                      <a:lnTo>
                        <a:pt x="1626" y="919"/>
                      </a:lnTo>
                      <a:lnTo>
                        <a:pt x="1628" y="921"/>
                      </a:lnTo>
                      <a:lnTo>
                        <a:pt x="1630" y="921"/>
                      </a:lnTo>
                      <a:lnTo>
                        <a:pt x="1631" y="921"/>
                      </a:lnTo>
                      <a:lnTo>
                        <a:pt x="1635" y="921"/>
                      </a:lnTo>
                      <a:lnTo>
                        <a:pt x="1636" y="921"/>
                      </a:lnTo>
                      <a:lnTo>
                        <a:pt x="1638" y="919"/>
                      </a:lnTo>
                      <a:lnTo>
                        <a:pt x="1636" y="918"/>
                      </a:lnTo>
                      <a:close/>
                      <a:moveTo>
                        <a:pt x="1631" y="991"/>
                      </a:moveTo>
                      <a:lnTo>
                        <a:pt x="1635" y="993"/>
                      </a:lnTo>
                      <a:lnTo>
                        <a:pt x="1636" y="993"/>
                      </a:lnTo>
                      <a:lnTo>
                        <a:pt x="1636" y="991"/>
                      </a:lnTo>
                      <a:lnTo>
                        <a:pt x="1635" y="987"/>
                      </a:lnTo>
                      <a:lnTo>
                        <a:pt x="1631" y="986"/>
                      </a:lnTo>
                      <a:lnTo>
                        <a:pt x="1630" y="986"/>
                      </a:lnTo>
                      <a:lnTo>
                        <a:pt x="1630" y="989"/>
                      </a:lnTo>
                      <a:lnTo>
                        <a:pt x="1631" y="991"/>
                      </a:lnTo>
                      <a:close/>
                      <a:moveTo>
                        <a:pt x="1532" y="1038"/>
                      </a:moveTo>
                      <a:lnTo>
                        <a:pt x="1535" y="1036"/>
                      </a:lnTo>
                      <a:lnTo>
                        <a:pt x="1535" y="1036"/>
                      </a:lnTo>
                      <a:lnTo>
                        <a:pt x="1535" y="1033"/>
                      </a:lnTo>
                      <a:lnTo>
                        <a:pt x="1535" y="1031"/>
                      </a:lnTo>
                      <a:lnTo>
                        <a:pt x="1535" y="1031"/>
                      </a:lnTo>
                      <a:lnTo>
                        <a:pt x="1533" y="1031"/>
                      </a:lnTo>
                      <a:lnTo>
                        <a:pt x="1533" y="1031"/>
                      </a:lnTo>
                      <a:lnTo>
                        <a:pt x="1533" y="1033"/>
                      </a:lnTo>
                      <a:lnTo>
                        <a:pt x="1533" y="1033"/>
                      </a:lnTo>
                      <a:lnTo>
                        <a:pt x="1533" y="1035"/>
                      </a:lnTo>
                      <a:lnTo>
                        <a:pt x="1533" y="1036"/>
                      </a:lnTo>
                      <a:lnTo>
                        <a:pt x="1532" y="1038"/>
                      </a:lnTo>
                      <a:close/>
                      <a:moveTo>
                        <a:pt x="1371" y="881"/>
                      </a:moveTo>
                      <a:lnTo>
                        <a:pt x="1368" y="879"/>
                      </a:lnTo>
                      <a:lnTo>
                        <a:pt x="1366" y="877"/>
                      </a:lnTo>
                      <a:lnTo>
                        <a:pt x="1364" y="879"/>
                      </a:lnTo>
                      <a:lnTo>
                        <a:pt x="1361" y="881"/>
                      </a:lnTo>
                      <a:lnTo>
                        <a:pt x="1364" y="883"/>
                      </a:lnTo>
                      <a:lnTo>
                        <a:pt x="1369" y="886"/>
                      </a:lnTo>
                      <a:lnTo>
                        <a:pt x="1373" y="888"/>
                      </a:lnTo>
                      <a:lnTo>
                        <a:pt x="1376" y="886"/>
                      </a:lnTo>
                      <a:lnTo>
                        <a:pt x="1376" y="884"/>
                      </a:lnTo>
                      <a:lnTo>
                        <a:pt x="1375" y="883"/>
                      </a:lnTo>
                      <a:lnTo>
                        <a:pt x="1371" y="881"/>
                      </a:lnTo>
                      <a:close/>
                      <a:moveTo>
                        <a:pt x="1427" y="911"/>
                      </a:moveTo>
                      <a:lnTo>
                        <a:pt x="1422" y="911"/>
                      </a:lnTo>
                      <a:lnTo>
                        <a:pt x="1420" y="911"/>
                      </a:lnTo>
                      <a:lnTo>
                        <a:pt x="1422" y="912"/>
                      </a:lnTo>
                      <a:lnTo>
                        <a:pt x="1427" y="914"/>
                      </a:lnTo>
                      <a:lnTo>
                        <a:pt x="1432" y="914"/>
                      </a:lnTo>
                      <a:lnTo>
                        <a:pt x="1432" y="914"/>
                      </a:lnTo>
                      <a:lnTo>
                        <a:pt x="1430" y="912"/>
                      </a:lnTo>
                      <a:lnTo>
                        <a:pt x="1427" y="911"/>
                      </a:lnTo>
                      <a:close/>
                      <a:moveTo>
                        <a:pt x="1506" y="909"/>
                      </a:moveTo>
                      <a:lnTo>
                        <a:pt x="1497" y="907"/>
                      </a:lnTo>
                      <a:lnTo>
                        <a:pt x="1492" y="905"/>
                      </a:lnTo>
                      <a:lnTo>
                        <a:pt x="1493" y="907"/>
                      </a:lnTo>
                      <a:lnTo>
                        <a:pt x="1495" y="907"/>
                      </a:lnTo>
                      <a:lnTo>
                        <a:pt x="1497" y="909"/>
                      </a:lnTo>
                      <a:lnTo>
                        <a:pt x="1499" y="909"/>
                      </a:lnTo>
                      <a:lnTo>
                        <a:pt x="1499" y="911"/>
                      </a:lnTo>
                      <a:lnTo>
                        <a:pt x="1500" y="914"/>
                      </a:lnTo>
                      <a:lnTo>
                        <a:pt x="1502" y="914"/>
                      </a:lnTo>
                      <a:lnTo>
                        <a:pt x="1504" y="916"/>
                      </a:lnTo>
                      <a:lnTo>
                        <a:pt x="1507" y="916"/>
                      </a:lnTo>
                      <a:lnTo>
                        <a:pt x="1511" y="918"/>
                      </a:lnTo>
                      <a:lnTo>
                        <a:pt x="1513" y="916"/>
                      </a:lnTo>
                      <a:lnTo>
                        <a:pt x="1511" y="912"/>
                      </a:lnTo>
                      <a:lnTo>
                        <a:pt x="1506" y="909"/>
                      </a:lnTo>
                      <a:close/>
                      <a:moveTo>
                        <a:pt x="1617" y="949"/>
                      </a:moveTo>
                      <a:lnTo>
                        <a:pt x="1619" y="951"/>
                      </a:lnTo>
                      <a:lnTo>
                        <a:pt x="1624" y="954"/>
                      </a:lnTo>
                      <a:lnTo>
                        <a:pt x="1626" y="954"/>
                      </a:lnTo>
                      <a:lnTo>
                        <a:pt x="1628" y="956"/>
                      </a:lnTo>
                      <a:lnTo>
                        <a:pt x="1630" y="956"/>
                      </a:lnTo>
                      <a:lnTo>
                        <a:pt x="1631" y="954"/>
                      </a:lnTo>
                      <a:lnTo>
                        <a:pt x="1631" y="949"/>
                      </a:lnTo>
                      <a:lnTo>
                        <a:pt x="1628" y="946"/>
                      </a:lnTo>
                      <a:lnTo>
                        <a:pt x="1621" y="946"/>
                      </a:lnTo>
                      <a:lnTo>
                        <a:pt x="1616" y="946"/>
                      </a:lnTo>
                      <a:lnTo>
                        <a:pt x="1617" y="949"/>
                      </a:lnTo>
                      <a:close/>
                      <a:moveTo>
                        <a:pt x="1322" y="1129"/>
                      </a:moveTo>
                      <a:lnTo>
                        <a:pt x="1322" y="1127"/>
                      </a:lnTo>
                      <a:lnTo>
                        <a:pt x="1327" y="1120"/>
                      </a:lnTo>
                      <a:lnTo>
                        <a:pt x="1327" y="1118"/>
                      </a:lnTo>
                      <a:lnTo>
                        <a:pt x="1327" y="1117"/>
                      </a:lnTo>
                      <a:lnTo>
                        <a:pt x="1326" y="1113"/>
                      </a:lnTo>
                      <a:lnTo>
                        <a:pt x="1322" y="1112"/>
                      </a:lnTo>
                      <a:lnTo>
                        <a:pt x="1320" y="1110"/>
                      </a:lnTo>
                      <a:lnTo>
                        <a:pt x="1319" y="1113"/>
                      </a:lnTo>
                      <a:lnTo>
                        <a:pt x="1319" y="1117"/>
                      </a:lnTo>
                      <a:lnTo>
                        <a:pt x="1317" y="1120"/>
                      </a:lnTo>
                      <a:lnTo>
                        <a:pt x="1313" y="1122"/>
                      </a:lnTo>
                      <a:lnTo>
                        <a:pt x="1315" y="1118"/>
                      </a:lnTo>
                      <a:lnTo>
                        <a:pt x="1317" y="1117"/>
                      </a:lnTo>
                      <a:lnTo>
                        <a:pt x="1317" y="1113"/>
                      </a:lnTo>
                      <a:lnTo>
                        <a:pt x="1315" y="1112"/>
                      </a:lnTo>
                      <a:lnTo>
                        <a:pt x="1315" y="1115"/>
                      </a:lnTo>
                      <a:lnTo>
                        <a:pt x="1315" y="1117"/>
                      </a:lnTo>
                      <a:lnTo>
                        <a:pt x="1313" y="1120"/>
                      </a:lnTo>
                      <a:lnTo>
                        <a:pt x="1312" y="1122"/>
                      </a:lnTo>
                      <a:lnTo>
                        <a:pt x="1306" y="1125"/>
                      </a:lnTo>
                      <a:lnTo>
                        <a:pt x="1305" y="1129"/>
                      </a:lnTo>
                      <a:lnTo>
                        <a:pt x="1306" y="1131"/>
                      </a:lnTo>
                      <a:lnTo>
                        <a:pt x="1308" y="1129"/>
                      </a:lnTo>
                      <a:lnTo>
                        <a:pt x="1310" y="1125"/>
                      </a:lnTo>
                      <a:lnTo>
                        <a:pt x="1313" y="1124"/>
                      </a:lnTo>
                      <a:lnTo>
                        <a:pt x="1315" y="1124"/>
                      </a:lnTo>
                      <a:lnTo>
                        <a:pt x="1313" y="1125"/>
                      </a:lnTo>
                      <a:lnTo>
                        <a:pt x="1310" y="1132"/>
                      </a:lnTo>
                      <a:lnTo>
                        <a:pt x="1312" y="1131"/>
                      </a:lnTo>
                      <a:lnTo>
                        <a:pt x="1315" y="1131"/>
                      </a:lnTo>
                      <a:lnTo>
                        <a:pt x="1317" y="1129"/>
                      </a:lnTo>
                      <a:lnTo>
                        <a:pt x="1319" y="1127"/>
                      </a:lnTo>
                      <a:lnTo>
                        <a:pt x="1320" y="1122"/>
                      </a:lnTo>
                      <a:lnTo>
                        <a:pt x="1322" y="1120"/>
                      </a:lnTo>
                      <a:lnTo>
                        <a:pt x="1322" y="1124"/>
                      </a:lnTo>
                      <a:lnTo>
                        <a:pt x="1320" y="1129"/>
                      </a:lnTo>
                      <a:lnTo>
                        <a:pt x="1322" y="1129"/>
                      </a:lnTo>
                      <a:close/>
                      <a:moveTo>
                        <a:pt x="1832" y="1244"/>
                      </a:moveTo>
                      <a:lnTo>
                        <a:pt x="1834" y="1241"/>
                      </a:lnTo>
                      <a:lnTo>
                        <a:pt x="1830" y="1243"/>
                      </a:lnTo>
                      <a:lnTo>
                        <a:pt x="1830" y="1244"/>
                      </a:lnTo>
                      <a:lnTo>
                        <a:pt x="1832" y="1244"/>
                      </a:lnTo>
                      <a:close/>
                      <a:moveTo>
                        <a:pt x="1712" y="1125"/>
                      </a:moveTo>
                      <a:lnTo>
                        <a:pt x="1712" y="1125"/>
                      </a:lnTo>
                      <a:lnTo>
                        <a:pt x="1712" y="1125"/>
                      </a:lnTo>
                      <a:lnTo>
                        <a:pt x="1712" y="1125"/>
                      </a:lnTo>
                      <a:lnTo>
                        <a:pt x="1712" y="1124"/>
                      </a:lnTo>
                      <a:lnTo>
                        <a:pt x="1710" y="1124"/>
                      </a:lnTo>
                      <a:lnTo>
                        <a:pt x="1706" y="1124"/>
                      </a:lnTo>
                      <a:lnTo>
                        <a:pt x="1708" y="1125"/>
                      </a:lnTo>
                      <a:lnTo>
                        <a:pt x="1712" y="1125"/>
                      </a:lnTo>
                      <a:close/>
                      <a:moveTo>
                        <a:pt x="1857" y="1318"/>
                      </a:moveTo>
                      <a:lnTo>
                        <a:pt x="1860" y="1316"/>
                      </a:lnTo>
                      <a:lnTo>
                        <a:pt x="1860" y="1314"/>
                      </a:lnTo>
                      <a:lnTo>
                        <a:pt x="1858" y="1314"/>
                      </a:lnTo>
                      <a:lnTo>
                        <a:pt x="1857" y="1314"/>
                      </a:lnTo>
                      <a:lnTo>
                        <a:pt x="1857" y="1314"/>
                      </a:lnTo>
                      <a:lnTo>
                        <a:pt x="1855" y="1314"/>
                      </a:lnTo>
                      <a:lnTo>
                        <a:pt x="1855" y="1314"/>
                      </a:lnTo>
                      <a:lnTo>
                        <a:pt x="1855" y="1316"/>
                      </a:lnTo>
                      <a:lnTo>
                        <a:pt x="1855" y="1318"/>
                      </a:lnTo>
                      <a:lnTo>
                        <a:pt x="1857" y="1318"/>
                      </a:lnTo>
                      <a:close/>
                      <a:moveTo>
                        <a:pt x="1846" y="1321"/>
                      </a:moveTo>
                      <a:lnTo>
                        <a:pt x="1848" y="1319"/>
                      </a:lnTo>
                      <a:lnTo>
                        <a:pt x="1850" y="1318"/>
                      </a:lnTo>
                      <a:lnTo>
                        <a:pt x="1848" y="1318"/>
                      </a:lnTo>
                      <a:lnTo>
                        <a:pt x="1843" y="1318"/>
                      </a:lnTo>
                      <a:lnTo>
                        <a:pt x="1843" y="1318"/>
                      </a:lnTo>
                      <a:lnTo>
                        <a:pt x="1843" y="1321"/>
                      </a:lnTo>
                      <a:lnTo>
                        <a:pt x="1846" y="1321"/>
                      </a:lnTo>
                      <a:close/>
                      <a:moveTo>
                        <a:pt x="1064" y="88"/>
                      </a:moveTo>
                      <a:lnTo>
                        <a:pt x="1069" y="86"/>
                      </a:lnTo>
                      <a:lnTo>
                        <a:pt x="1072" y="84"/>
                      </a:lnTo>
                      <a:lnTo>
                        <a:pt x="1076" y="82"/>
                      </a:lnTo>
                      <a:lnTo>
                        <a:pt x="1095" y="84"/>
                      </a:lnTo>
                      <a:lnTo>
                        <a:pt x="1092" y="88"/>
                      </a:lnTo>
                      <a:lnTo>
                        <a:pt x="1081" y="93"/>
                      </a:lnTo>
                      <a:lnTo>
                        <a:pt x="1078" y="96"/>
                      </a:lnTo>
                      <a:lnTo>
                        <a:pt x="1079" y="100"/>
                      </a:lnTo>
                      <a:lnTo>
                        <a:pt x="1086" y="100"/>
                      </a:lnTo>
                      <a:lnTo>
                        <a:pt x="1107" y="93"/>
                      </a:lnTo>
                      <a:lnTo>
                        <a:pt x="1120" y="89"/>
                      </a:lnTo>
                      <a:lnTo>
                        <a:pt x="1130" y="89"/>
                      </a:lnTo>
                      <a:lnTo>
                        <a:pt x="1142" y="91"/>
                      </a:lnTo>
                      <a:lnTo>
                        <a:pt x="1141" y="93"/>
                      </a:lnTo>
                      <a:lnTo>
                        <a:pt x="1137" y="93"/>
                      </a:lnTo>
                      <a:lnTo>
                        <a:pt x="1128" y="91"/>
                      </a:lnTo>
                      <a:lnTo>
                        <a:pt x="1121" y="93"/>
                      </a:lnTo>
                      <a:lnTo>
                        <a:pt x="1118" y="93"/>
                      </a:lnTo>
                      <a:lnTo>
                        <a:pt x="1114" y="95"/>
                      </a:lnTo>
                      <a:lnTo>
                        <a:pt x="1107" y="100"/>
                      </a:lnTo>
                      <a:lnTo>
                        <a:pt x="1104" y="102"/>
                      </a:lnTo>
                      <a:lnTo>
                        <a:pt x="1100" y="105"/>
                      </a:lnTo>
                      <a:lnTo>
                        <a:pt x="1099" y="109"/>
                      </a:lnTo>
                      <a:lnTo>
                        <a:pt x="1100" y="110"/>
                      </a:lnTo>
                      <a:lnTo>
                        <a:pt x="1107" y="114"/>
                      </a:lnTo>
                      <a:lnTo>
                        <a:pt x="1104" y="114"/>
                      </a:lnTo>
                      <a:lnTo>
                        <a:pt x="1099" y="116"/>
                      </a:lnTo>
                      <a:lnTo>
                        <a:pt x="1095" y="117"/>
                      </a:lnTo>
                      <a:lnTo>
                        <a:pt x="1092" y="119"/>
                      </a:lnTo>
                      <a:lnTo>
                        <a:pt x="1092" y="123"/>
                      </a:lnTo>
                      <a:lnTo>
                        <a:pt x="1093" y="126"/>
                      </a:lnTo>
                      <a:lnTo>
                        <a:pt x="1097" y="128"/>
                      </a:lnTo>
                      <a:lnTo>
                        <a:pt x="1099" y="130"/>
                      </a:lnTo>
                      <a:lnTo>
                        <a:pt x="1104" y="130"/>
                      </a:lnTo>
                      <a:lnTo>
                        <a:pt x="1114" y="128"/>
                      </a:lnTo>
                      <a:lnTo>
                        <a:pt x="1151" y="126"/>
                      </a:lnTo>
                      <a:lnTo>
                        <a:pt x="1158" y="124"/>
                      </a:lnTo>
                      <a:lnTo>
                        <a:pt x="1167" y="121"/>
                      </a:lnTo>
                      <a:lnTo>
                        <a:pt x="1182" y="114"/>
                      </a:lnTo>
                      <a:lnTo>
                        <a:pt x="1189" y="110"/>
                      </a:lnTo>
                      <a:lnTo>
                        <a:pt x="1198" y="110"/>
                      </a:lnTo>
                      <a:lnTo>
                        <a:pt x="1191" y="117"/>
                      </a:lnTo>
                      <a:lnTo>
                        <a:pt x="1179" y="124"/>
                      </a:lnTo>
                      <a:lnTo>
                        <a:pt x="1167" y="128"/>
                      </a:lnTo>
                      <a:lnTo>
                        <a:pt x="1156" y="131"/>
                      </a:lnTo>
                      <a:lnTo>
                        <a:pt x="1121" y="131"/>
                      </a:lnTo>
                      <a:lnTo>
                        <a:pt x="1111" y="135"/>
                      </a:lnTo>
                      <a:lnTo>
                        <a:pt x="1107" y="138"/>
                      </a:lnTo>
                      <a:lnTo>
                        <a:pt x="1111" y="140"/>
                      </a:lnTo>
                      <a:lnTo>
                        <a:pt x="1116" y="144"/>
                      </a:lnTo>
                      <a:lnTo>
                        <a:pt x="1130" y="149"/>
                      </a:lnTo>
                      <a:lnTo>
                        <a:pt x="1135" y="151"/>
                      </a:lnTo>
                      <a:lnTo>
                        <a:pt x="1141" y="151"/>
                      </a:lnTo>
                      <a:lnTo>
                        <a:pt x="1153" y="149"/>
                      </a:lnTo>
                      <a:lnTo>
                        <a:pt x="1162" y="142"/>
                      </a:lnTo>
                      <a:lnTo>
                        <a:pt x="1170" y="135"/>
                      </a:lnTo>
                      <a:lnTo>
                        <a:pt x="1181" y="130"/>
                      </a:lnTo>
                      <a:lnTo>
                        <a:pt x="1193" y="126"/>
                      </a:lnTo>
                      <a:lnTo>
                        <a:pt x="1235" y="121"/>
                      </a:lnTo>
                      <a:lnTo>
                        <a:pt x="1230" y="124"/>
                      </a:lnTo>
                      <a:lnTo>
                        <a:pt x="1221" y="128"/>
                      </a:lnTo>
                      <a:lnTo>
                        <a:pt x="1202" y="130"/>
                      </a:lnTo>
                      <a:lnTo>
                        <a:pt x="1193" y="131"/>
                      </a:lnTo>
                      <a:lnTo>
                        <a:pt x="1184" y="135"/>
                      </a:lnTo>
                      <a:lnTo>
                        <a:pt x="1177" y="140"/>
                      </a:lnTo>
                      <a:lnTo>
                        <a:pt x="1170" y="145"/>
                      </a:lnTo>
                      <a:lnTo>
                        <a:pt x="1165" y="149"/>
                      </a:lnTo>
                      <a:lnTo>
                        <a:pt x="1163" y="151"/>
                      </a:lnTo>
                      <a:lnTo>
                        <a:pt x="1165" y="154"/>
                      </a:lnTo>
                      <a:lnTo>
                        <a:pt x="1170" y="156"/>
                      </a:lnTo>
                      <a:lnTo>
                        <a:pt x="1174" y="156"/>
                      </a:lnTo>
                      <a:lnTo>
                        <a:pt x="1182" y="156"/>
                      </a:lnTo>
                      <a:lnTo>
                        <a:pt x="1195" y="157"/>
                      </a:lnTo>
                      <a:lnTo>
                        <a:pt x="1203" y="159"/>
                      </a:lnTo>
                      <a:lnTo>
                        <a:pt x="1212" y="157"/>
                      </a:lnTo>
                      <a:lnTo>
                        <a:pt x="1221" y="154"/>
                      </a:lnTo>
                      <a:lnTo>
                        <a:pt x="1228" y="151"/>
                      </a:lnTo>
                      <a:lnTo>
                        <a:pt x="1231" y="149"/>
                      </a:lnTo>
                      <a:lnTo>
                        <a:pt x="1258" y="145"/>
                      </a:lnTo>
                      <a:lnTo>
                        <a:pt x="1254" y="147"/>
                      </a:lnTo>
                      <a:lnTo>
                        <a:pt x="1245" y="152"/>
                      </a:lnTo>
                      <a:lnTo>
                        <a:pt x="1244" y="156"/>
                      </a:lnTo>
                      <a:lnTo>
                        <a:pt x="1252" y="156"/>
                      </a:lnTo>
                      <a:lnTo>
                        <a:pt x="1261" y="156"/>
                      </a:lnTo>
                      <a:lnTo>
                        <a:pt x="1280" y="152"/>
                      </a:lnTo>
                      <a:lnTo>
                        <a:pt x="1299" y="147"/>
                      </a:lnTo>
                      <a:lnTo>
                        <a:pt x="1308" y="144"/>
                      </a:lnTo>
                      <a:lnTo>
                        <a:pt x="1313" y="137"/>
                      </a:lnTo>
                      <a:lnTo>
                        <a:pt x="1315" y="133"/>
                      </a:lnTo>
                      <a:lnTo>
                        <a:pt x="1317" y="130"/>
                      </a:lnTo>
                      <a:lnTo>
                        <a:pt x="1319" y="126"/>
                      </a:lnTo>
                      <a:lnTo>
                        <a:pt x="1322" y="123"/>
                      </a:lnTo>
                      <a:lnTo>
                        <a:pt x="1324" y="123"/>
                      </a:lnTo>
                      <a:lnTo>
                        <a:pt x="1327" y="123"/>
                      </a:lnTo>
                      <a:lnTo>
                        <a:pt x="1329" y="123"/>
                      </a:lnTo>
                      <a:lnTo>
                        <a:pt x="1331" y="121"/>
                      </a:lnTo>
                      <a:lnTo>
                        <a:pt x="1334" y="119"/>
                      </a:lnTo>
                      <a:lnTo>
                        <a:pt x="1338" y="116"/>
                      </a:lnTo>
                      <a:lnTo>
                        <a:pt x="1345" y="109"/>
                      </a:lnTo>
                      <a:lnTo>
                        <a:pt x="1354" y="105"/>
                      </a:lnTo>
                      <a:lnTo>
                        <a:pt x="1371" y="98"/>
                      </a:lnTo>
                      <a:lnTo>
                        <a:pt x="1368" y="102"/>
                      </a:lnTo>
                      <a:lnTo>
                        <a:pt x="1347" y="116"/>
                      </a:lnTo>
                      <a:lnTo>
                        <a:pt x="1341" y="119"/>
                      </a:lnTo>
                      <a:lnTo>
                        <a:pt x="1338" y="123"/>
                      </a:lnTo>
                      <a:lnTo>
                        <a:pt x="1334" y="128"/>
                      </a:lnTo>
                      <a:lnTo>
                        <a:pt x="1333" y="131"/>
                      </a:lnTo>
                      <a:lnTo>
                        <a:pt x="1333" y="133"/>
                      </a:lnTo>
                      <a:lnTo>
                        <a:pt x="1333" y="135"/>
                      </a:lnTo>
                      <a:lnTo>
                        <a:pt x="1336" y="137"/>
                      </a:lnTo>
                      <a:lnTo>
                        <a:pt x="1338" y="137"/>
                      </a:lnTo>
                      <a:lnTo>
                        <a:pt x="1366" y="138"/>
                      </a:lnTo>
                      <a:lnTo>
                        <a:pt x="1371" y="138"/>
                      </a:lnTo>
                      <a:lnTo>
                        <a:pt x="1369" y="140"/>
                      </a:lnTo>
                      <a:lnTo>
                        <a:pt x="1364" y="142"/>
                      </a:lnTo>
                      <a:lnTo>
                        <a:pt x="1355" y="142"/>
                      </a:lnTo>
                      <a:lnTo>
                        <a:pt x="1317" y="149"/>
                      </a:lnTo>
                      <a:lnTo>
                        <a:pt x="1312" y="152"/>
                      </a:lnTo>
                      <a:lnTo>
                        <a:pt x="1310" y="152"/>
                      </a:lnTo>
                      <a:lnTo>
                        <a:pt x="1306" y="156"/>
                      </a:lnTo>
                      <a:lnTo>
                        <a:pt x="1303" y="157"/>
                      </a:lnTo>
                      <a:lnTo>
                        <a:pt x="1301" y="157"/>
                      </a:lnTo>
                      <a:lnTo>
                        <a:pt x="1245" y="164"/>
                      </a:lnTo>
                      <a:lnTo>
                        <a:pt x="1242" y="166"/>
                      </a:lnTo>
                      <a:lnTo>
                        <a:pt x="1240" y="166"/>
                      </a:lnTo>
                      <a:lnTo>
                        <a:pt x="1240" y="170"/>
                      </a:lnTo>
                      <a:lnTo>
                        <a:pt x="1242" y="171"/>
                      </a:lnTo>
                      <a:lnTo>
                        <a:pt x="1249" y="178"/>
                      </a:lnTo>
                      <a:lnTo>
                        <a:pt x="1275" y="199"/>
                      </a:lnTo>
                      <a:lnTo>
                        <a:pt x="1279" y="203"/>
                      </a:lnTo>
                      <a:lnTo>
                        <a:pt x="1285" y="205"/>
                      </a:lnTo>
                      <a:lnTo>
                        <a:pt x="1291" y="205"/>
                      </a:lnTo>
                      <a:lnTo>
                        <a:pt x="1296" y="205"/>
                      </a:lnTo>
                      <a:lnTo>
                        <a:pt x="1301" y="205"/>
                      </a:lnTo>
                      <a:lnTo>
                        <a:pt x="1291" y="208"/>
                      </a:lnTo>
                      <a:lnTo>
                        <a:pt x="1279" y="208"/>
                      </a:lnTo>
                      <a:lnTo>
                        <a:pt x="1266" y="203"/>
                      </a:lnTo>
                      <a:lnTo>
                        <a:pt x="1226" y="175"/>
                      </a:lnTo>
                      <a:lnTo>
                        <a:pt x="1221" y="171"/>
                      </a:lnTo>
                      <a:lnTo>
                        <a:pt x="1216" y="171"/>
                      </a:lnTo>
                      <a:lnTo>
                        <a:pt x="1209" y="170"/>
                      </a:lnTo>
                      <a:lnTo>
                        <a:pt x="1191" y="170"/>
                      </a:lnTo>
                      <a:lnTo>
                        <a:pt x="1177" y="168"/>
                      </a:lnTo>
                      <a:lnTo>
                        <a:pt x="1170" y="168"/>
                      </a:lnTo>
                      <a:lnTo>
                        <a:pt x="1165" y="171"/>
                      </a:lnTo>
                      <a:lnTo>
                        <a:pt x="1163" y="177"/>
                      </a:lnTo>
                      <a:lnTo>
                        <a:pt x="1163" y="184"/>
                      </a:lnTo>
                      <a:lnTo>
                        <a:pt x="1165" y="189"/>
                      </a:lnTo>
                      <a:lnTo>
                        <a:pt x="1167" y="196"/>
                      </a:lnTo>
                      <a:lnTo>
                        <a:pt x="1170" y="201"/>
                      </a:lnTo>
                      <a:lnTo>
                        <a:pt x="1175" y="203"/>
                      </a:lnTo>
                      <a:lnTo>
                        <a:pt x="1188" y="205"/>
                      </a:lnTo>
                      <a:lnTo>
                        <a:pt x="1193" y="206"/>
                      </a:lnTo>
                      <a:lnTo>
                        <a:pt x="1198" y="210"/>
                      </a:lnTo>
                      <a:lnTo>
                        <a:pt x="1203" y="215"/>
                      </a:lnTo>
                      <a:lnTo>
                        <a:pt x="1214" y="227"/>
                      </a:lnTo>
                      <a:lnTo>
                        <a:pt x="1216" y="229"/>
                      </a:lnTo>
                      <a:lnTo>
                        <a:pt x="1226" y="234"/>
                      </a:lnTo>
                      <a:lnTo>
                        <a:pt x="1228" y="238"/>
                      </a:lnTo>
                      <a:lnTo>
                        <a:pt x="1217" y="234"/>
                      </a:lnTo>
                      <a:lnTo>
                        <a:pt x="1212" y="233"/>
                      </a:lnTo>
                      <a:lnTo>
                        <a:pt x="1207" y="234"/>
                      </a:lnTo>
                      <a:lnTo>
                        <a:pt x="1209" y="238"/>
                      </a:lnTo>
                      <a:lnTo>
                        <a:pt x="1214" y="241"/>
                      </a:lnTo>
                      <a:lnTo>
                        <a:pt x="1219" y="241"/>
                      </a:lnTo>
                      <a:lnTo>
                        <a:pt x="1247" y="245"/>
                      </a:lnTo>
                      <a:lnTo>
                        <a:pt x="1252" y="245"/>
                      </a:lnTo>
                      <a:lnTo>
                        <a:pt x="1263" y="241"/>
                      </a:lnTo>
                      <a:lnTo>
                        <a:pt x="1266" y="241"/>
                      </a:lnTo>
                      <a:lnTo>
                        <a:pt x="1265" y="243"/>
                      </a:lnTo>
                      <a:lnTo>
                        <a:pt x="1261" y="245"/>
                      </a:lnTo>
                      <a:lnTo>
                        <a:pt x="1256" y="247"/>
                      </a:lnTo>
                      <a:lnTo>
                        <a:pt x="1252" y="248"/>
                      </a:lnTo>
                      <a:lnTo>
                        <a:pt x="1251" y="248"/>
                      </a:lnTo>
                      <a:lnTo>
                        <a:pt x="1245" y="247"/>
                      </a:lnTo>
                      <a:lnTo>
                        <a:pt x="1244" y="247"/>
                      </a:lnTo>
                      <a:lnTo>
                        <a:pt x="1240" y="248"/>
                      </a:lnTo>
                      <a:lnTo>
                        <a:pt x="1237" y="250"/>
                      </a:lnTo>
                      <a:lnTo>
                        <a:pt x="1235" y="250"/>
                      </a:lnTo>
                      <a:lnTo>
                        <a:pt x="1231" y="250"/>
                      </a:lnTo>
                      <a:lnTo>
                        <a:pt x="1219" y="247"/>
                      </a:lnTo>
                      <a:lnTo>
                        <a:pt x="1198" y="245"/>
                      </a:lnTo>
                      <a:lnTo>
                        <a:pt x="1195" y="245"/>
                      </a:lnTo>
                      <a:lnTo>
                        <a:pt x="1182" y="247"/>
                      </a:lnTo>
                      <a:lnTo>
                        <a:pt x="1167" y="248"/>
                      </a:lnTo>
                      <a:lnTo>
                        <a:pt x="1162" y="250"/>
                      </a:lnTo>
                      <a:lnTo>
                        <a:pt x="1158" y="252"/>
                      </a:lnTo>
                      <a:lnTo>
                        <a:pt x="1156" y="255"/>
                      </a:lnTo>
                      <a:lnTo>
                        <a:pt x="1155" y="259"/>
                      </a:lnTo>
                      <a:lnTo>
                        <a:pt x="1151" y="262"/>
                      </a:lnTo>
                      <a:lnTo>
                        <a:pt x="1148" y="264"/>
                      </a:lnTo>
                      <a:lnTo>
                        <a:pt x="1146" y="268"/>
                      </a:lnTo>
                      <a:lnTo>
                        <a:pt x="1144" y="271"/>
                      </a:lnTo>
                      <a:lnTo>
                        <a:pt x="1144" y="278"/>
                      </a:lnTo>
                      <a:lnTo>
                        <a:pt x="1144" y="278"/>
                      </a:lnTo>
                      <a:lnTo>
                        <a:pt x="1144" y="278"/>
                      </a:lnTo>
                      <a:lnTo>
                        <a:pt x="1146" y="280"/>
                      </a:lnTo>
                      <a:lnTo>
                        <a:pt x="1146" y="280"/>
                      </a:lnTo>
                      <a:lnTo>
                        <a:pt x="1148" y="280"/>
                      </a:lnTo>
                      <a:lnTo>
                        <a:pt x="1153" y="280"/>
                      </a:lnTo>
                      <a:lnTo>
                        <a:pt x="1155" y="280"/>
                      </a:lnTo>
                      <a:lnTo>
                        <a:pt x="1158" y="280"/>
                      </a:lnTo>
                      <a:lnTo>
                        <a:pt x="1160" y="280"/>
                      </a:lnTo>
                      <a:lnTo>
                        <a:pt x="1165" y="278"/>
                      </a:lnTo>
                      <a:lnTo>
                        <a:pt x="1170" y="276"/>
                      </a:lnTo>
                      <a:lnTo>
                        <a:pt x="1174" y="275"/>
                      </a:lnTo>
                      <a:lnTo>
                        <a:pt x="1177" y="271"/>
                      </a:lnTo>
                      <a:lnTo>
                        <a:pt x="1175" y="276"/>
                      </a:lnTo>
                      <a:lnTo>
                        <a:pt x="1172" y="283"/>
                      </a:lnTo>
                      <a:lnTo>
                        <a:pt x="1181" y="282"/>
                      </a:lnTo>
                      <a:lnTo>
                        <a:pt x="1186" y="282"/>
                      </a:lnTo>
                      <a:lnTo>
                        <a:pt x="1189" y="278"/>
                      </a:lnTo>
                      <a:lnTo>
                        <a:pt x="1195" y="275"/>
                      </a:lnTo>
                      <a:lnTo>
                        <a:pt x="1196" y="271"/>
                      </a:lnTo>
                      <a:lnTo>
                        <a:pt x="1202" y="262"/>
                      </a:lnTo>
                      <a:lnTo>
                        <a:pt x="1200" y="275"/>
                      </a:lnTo>
                      <a:lnTo>
                        <a:pt x="1203" y="275"/>
                      </a:lnTo>
                      <a:lnTo>
                        <a:pt x="1207" y="276"/>
                      </a:lnTo>
                      <a:lnTo>
                        <a:pt x="1214" y="278"/>
                      </a:lnTo>
                      <a:lnTo>
                        <a:pt x="1210" y="278"/>
                      </a:lnTo>
                      <a:lnTo>
                        <a:pt x="1207" y="278"/>
                      </a:lnTo>
                      <a:lnTo>
                        <a:pt x="1203" y="278"/>
                      </a:lnTo>
                      <a:lnTo>
                        <a:pt x="1191" y="287"/>
                      </a:lnTo>
                      <a:lnTo>
                        <a:pt x="1188" y="290"/>
                      </a:lnTo>
                      <a:lnTo>
                        <a:pt x="1186" y="290"/>
                      </a:lnTo>
                      <a:lnTo>
                        <a:pt x="1188" y="294"/>
                      </a:lnTo>
                      <a:lnTo>
                        <a:pt x="1188" y="296"/>
                      </a:lnTo>
                      <a:lnTo>
                        <a:pt x="1191" y="297"/>
                      </a:lnTo>
                      <a:lnTo>
                        <a:pt x="1191" y="299"/>
                      </a:lnTo>
                      <a:lnTo>
                        <a:pt x="1191" y="303"/>
                      </a:lnTo>
                      <a:lnTo>
                        <a:pt x="1191" y="304"/>
                      </a:lnTo>
                      <a:lnTo>
                        <a:pt x="1191" y="306"/>
                      </a:lnTo>
                      <a:lnTo>
                        <a:pt x="1191" y="308"/>
                      </a:lnTo>
                      <a:lnTo>
                        <a:pt x="1193" y="308"/>
                      </a:lnTo>
                      <a:lnTo>
                        <a:pt x="1196" y="310"/>
                      </a:lnTo>
                      <a:lnTo>
                        <a:pt x="1198" y="310"/>
                      </a:lnTo>
                      <a:lnTo>
                        <a:pt x="1200" y="310"/>
                      </a:lnTo>
                      <a:lnTo>
                        <a:pt x="1210" y="308"/>
                      </a:lnTo>
                      <a:lnTo>
                        <a:pt x="1217" y="308"/>
                      </a:lnTo>
                      <a:lnTo>
                        <a:pt x="1221" y="308"/>
                      </a:lnTo>
                      <a:lnTo>
                        <a:pt x="1224" y="308"/>
                      </a:lnTo>
                      <a:lnTo>
                        <a:pt x="1228" y="306"/>
                      </a:lnTo>
                      <a:lnTo>
                        <a:pt x="1233" y="303"/>
                      </a:lnTo>
                      <a:lnTo>
                        <a:pt x="1244" y="292"/>
                      </a:lnTo>
                      <a:lnTo>
                        <a:pt x="1249" y="287"/>
                      </a:lnTo>
                      <a:lnTo>
                        <a:pt x="1242" y="303"/>
                      </a:lnTo>
                      <a:lnTo>
                        <a:pt x="1226" y="311"/>
                      </a:lnTo>
                      <a:lnTo>
                        <a:pt x="1210" y="313"/>
                      </a:lnTo>
                      <a:lnTo>
                        <a:pt x="1193" y="311"/>
                      </a:lnTo>
                      <a:lnTo>
                        <a:pt x="1188" y="311"/>
                      </a:lnTo>
                      <a:lnTo>
                        <a:pt x="1184" y="310"/>
                      </a:lnTo>
                      <a:lnTo>
                        <a:pt x="1181" y="308"/>
                      </a:lnTo>
                      <a:lnTo>
                        <a:pt x="1170" y="299"/>
                      </a:lnTo>
                      <a:lnTo>
                        <a:pt x="1167" y="296"/>
                      </a:lnTo>
                      <a:lnTo>
                        <a:pt x="1162" y="294"/>
                      </a:lnTo>
                      <a:lnTo>
                        <a:pt x="1155" y="292"/>
                      </a:lnTo>
                      <a:lnTo>
                        <a:pt x="1146" y="292"/>
                      </a:lnTo>
                      <a:lnTo>
                        <a:pt x="1137" y="296"/>
                      </a:lnTo>
                      <a:lnTo>
                        <a:pt x="1132" y="301"/>
                      </a:lnTo>
                      <a:lnTo>
                        <a:pt x="1134" y="304"/>
                      </a:lnTo>
                      <a:lnTo>
                        <a:pt x="1135" y="308"/>
                      </a:lnTo>
                      <a:lnTo>
                        <a:pt x="1139" y="311"/>
                      </a:lnTo>
                      <a:lnTo>
                        <a:pt x="1142" y="313"/>
                      </a:lnTo>
                      <a:lnTo>
                        <a:pt x="1144" y="313"/>
                      </a:lnTo>
                      <a:lnTo>
                        <a:pt x="1149" y="315"/>
                      </a:lnTo>
                      <a:lnTo>
                        <a:pt x="1151" y="315"/>
                      </a:lnTo>
                      <a:lnTo>
                        <a:pt x="1153" y="316"/>
                      </a:lnTo>
                      <a:lnTo>
                        <a:pt x="1156" y="318"/>
                      </a:lnTo>
                      <a:lnTo>
                        <a:pt x="1158" y="320"/>
                      </a:lnTo>
                      <a:lnTo>
                        <a:pt x="1153" y="322"/>
                      </a:lnTo>
                      <a:lnTo>
                        <a:pt x="1148" y="322"/>
                      </a:lnTo>
                      <a:lnTo>
                        <a:pt x="1137" y="322"/>
                      </a:lnTo>
                      <a:lnTo>
                        <a:pt x="1130" y="322"/>
                      </a:lnTo>
                      <a:lnTo>
                        <a:pt x="1125" y="323"/>
                      </a:lnTo>
                      <a:lnTo>
                        <a:pt x="1104" y="332"/>
                      </a:lnTo>
                      <a:lnTo>
                        <a:pt x="1102" y="334"/>
                      </a:lnTo>
                      <a:lnTo>
                        <a:pt x="1100" y="336"/>
                      </a:lnTo>
                      <a:lnTo>
                        <a:pt x="1100" y="339"/>
                      </a:lnTo>
                      <a:lnTo>
                        <a:pt x="1100" y="343"/>
                      </a:lnTo>
                      <a:lnTo>
                        <a:pt x="1100" y="344"/>
                      </a:lnTo>
                      <a:lnTo>
                        <a:pt x="1100" y="348"/>
                      </a:lnTo>
                      <a:lnTo>
                        <a:pt x="1104" y="348"/>
                      </a:lnTo>
                      <a:lnTo>
                        <a:pt x="1114" y="350"/>
                      </a:lnTo>
                      <a:lnTo>
                        <a:pt x="1118" y="350"/>
                      </a:lnTo>
                      <a:lnTo>
                        <a:pt x="1121" y="351"/>
                      </a:lnTo>
                      <a:lnTo>
                        <a:pt x="1121" y="343"/>
                      </a:lnTo>
                      <a:lnTo>
                        <a:pt x="1121" y="339"/>
                      </a:lnTo>
                      <a:lnTo>
                        <a:pt x="1123" y="336"/>
                      </a:lnTo>
                      <a:lnTo>
                        <a:pt x="1123" y="344"/>
                      </a:lnTo>
                      <a:lnTo>
                        <a:pt x="1123" y="348"/>
                      </a:lnTo>
                      <a:lnTo>
                        <a:pt x="1125" y="351"/>
                      </a:lnTo>
                      <a:lnTo>
                        <a:pt x="1127" y="351"/>
                      </a:lnTo>
                      <a:lnTo>
                        <a:pt x="1134" y="351"/>
                      </a:lnTo>
                      <a:lnTo>
                        <a:pt x="1144" y="353"/>
                      </a:lnTo>
                      <a:lnTo>
                        <a:pt x="1144" y="343"/>
                      </a:lnTo>
                      <a:lnTo>
                        <a:pt x="1146" y="346"/>
                      </a:lnTo>
                      <a:lnTo>
                        <a:pt x="1148" y="348"/>
                      </a:lnTo>
                      <a:lnTo>
                        <a:pt x="1149" y="350"/>
                      </a:lnTo>
                      <a:lnTo>
                        <a:pt x="1158" y="351"/>
                      </a:lnTo>
                      <a:lnTo>
                        <a:pt x="1160" y="351"/>
                      </a:lnTo>
                      <a:lnTo>
                        <a:pt x="1162" y="351"/>
                      </a:lnTo>
                      <a:lnTo>
                        <a:pt x="1163" y="350"/>
                      </a:lnTo>
                      <a:lnTo>
                        <a:pt x="1165" y="346"/>
                      </a:lnTo>
                      <a:lnTo>
                        <a:pt x="1165" y="344"/>
                      </a:lnTo>
                      <a:lnTo>
                        <a:pt x="1168" y="344"/>
                      </a:lnTo>
                      <a:lnTo>
                        <a:pt x="1168" y="344"/>
                      </a:lnTo>
                      <a:lnTo>
                        <a:pt x="1170" y="348"/>
                      </a:lnTo>
                      <a:lnTo>
                        <a:pt x="1170" y="348"/>
                      </a:lnTo>
                      <a:lnTo>
                        <a:pt x="1172" y="350"/>
                      </a:lnTo>
                      <a:lnTo>
                        <a:pt x="1174" y="350"/>
                      </a:lnTo>
                      <a:lnTo>
                        <a:pt x="1181" y="353"/>
                      </a:lnTo>
                      <a:lnTo>
                        <a:pt x="1188" y="355"/>
                      </a:lnTo>
                      <a:lnTo>
                        <a:pt x="1193" y="357"/>
                      </a:lnTo>
                      <a:lnTo>
                        <a:pt x="1207" y="355"/>
                      </a:lnTo>
                      <a:lnTo>
                        <a:pt x="1210" y="355"/>
                      </a:lnTo>
                      <a:lnTo>
                        <a:pt x="1214" y="353"/>
                      </a:lnTo>
                      <a:lnTo>
                        <a:pt x="1214" y="351"/>
                      </a:lnTo>
                      <a:lnTo>
                        <a:pt x="1214" y="339"/>
                      </a:lnTo>
                      <a:lnTo>
                        <a:pt x="1217" y="346"/>
                      </a:lnTo>
                      <a:lnTo>
                        <a:pt x="1221" y="348"/>
                      </a:lnTo>
                      <a:lnTo>
                        <a:pt x="1224" y="350"/>
                      </a:lnTo>
                      <a:lnTo>
                        <a:pt x="1228" y="350"/>
                      </a:lnTo>
                      <a:lnTo>
                        <a:pt x="1254" y="350"/>
                      </a:lnTo>
                      <a:lnTo>
                        <a:pt x="1258" y="348"/>
                      </a:lnTo>
                      <a:lnTo>
                        <a:pt x="1258" y="346"/>
                      </a:lnTo>
                      <a:lnTo>
                        <a:pt x="1256" y="343"/>
                      </a:lnTo>
                      <a:lnTo>
                        <a:pt x="1251" y="337"/>
                      </a:lnTo>
                      <a:lnTo>
                        <a:pt x="1252" y="337"/>
                      </a:lnTo>
                      <a:lnTo>
                        <a:pt x="1254" y="339"/>
                      </a:lnTo>
                      <a:lnTo>
                        <a:pt x="1256" y="341"/>
                      </a:lnTo>
                      <a:lnTo>
                        <a:pt x="1256" y="341"/>
                      </a:lnTo>
                      <a:lnTo>
                        <a:pt x="1259" y="341"/>
                      </a:lnTo>
                      <a:lnTo>
                        <a:pt x="1259" y="341"/>
                      </a:lnTo>
                      <a:lnTo>
                        <a:pt x="1263" y="343"/>
                      </a:lnTo>
                      <a:lnTo>
                        <a:pt x="1265" y="344"/>
                      </a:lnTo>
                      <a:lnTo>
                        <a:pt x="1266" y="346"/>
                      </a:lnTo>
                      <a:lnTo>
                        <a:pt x="1270" y="348"/>
                      </a:lnTo>
                      <a:lnTo>
                        <a:pt x="1280" y="348"/>
                      </a:lnTo>
                      <a:lnTo>
                        <a:pt x="1284" y="348"/>
                      </a:lnTo>
                      <a:lnTo>
                        <a:pt x="1287" y="353"/>
                      </a:lnTo>
                      <a:lnTo>
                        <a:pt x="1285" y="355"/>
                      </a:lnTo>
                      <a:lnTo>
                        <a:pt x="1284" y="357"/>
                      </a:lnTo>
                      <a:lnTo>
                        <a:pt x="1284" y="358"/>
                      </a:lnTo>
                      <a:lnTo>
                        <a:pt x="1284" y="362"/>
                      </a:lnTo>
                      <a:lnTo>
                        <a:pt x="1285" y="362"/>
                      </a:lnTo>
                      <a:lnTo>
                        <a:pt x="1289" y="362"/>
                      </a:lnTo>
                      <a:lnTo>
                        <a:pt x="1312" y="357"/>
                      </a:lnTo>
                      <a:lnTo>
                        <a:pt x="1326" y="351"/>
                      </a:lnTo>
                      <a:lnTo>
                        <a:pt x="1340" y="344"/>
                      </a:lnTo>
                      <a:lnTo>
                        <a:pt x="1347" y="336"/>
                      </a:lnTo>
                      <a:lnTo>
                        <a:pt x="1343" y="329"/>
                      </a:lnTo>
                      <a:lnTo>
                        <a:pt x="1338" y="329"/>
                      </a:lnTo>
                      <a:lnTo>
                        <a:pt x="1327" y="330"/>
                      </a:lnTo>
                      <a:lnTo>
                        <a:pt x="1322" y="329"/>
                      </a:lnTo>
                      <a:lnTo>
                        <a:pt x="1320" y="327"/>
                      </a:lnTo>
                      <a:lnTo>
                        <a:pt x="1320" y="327"/>
                      </a:lnTo>
                      <a:lnTo>
                        <a:pt x="1320" y="325"/>
                      </a:lnTo>
                      <a:lnTo>
                        <a:pt x="1319" y="322"/>
                      </a:lnTo>
                      <a:lnTo>
                        <a:pt x="1317" y="320"/>
                      </a:lnTo>
                      <a:lnTo>
                        <a:pt x="1313" y="320"/>
                      </a:lnTo>
                      <a:lnTo>
                        <a:pt x="1310" y="320"/>
                      </a:lnTo>
                      <a:lnTo>
                        <a:pt x="1299" y="320"/>
                      </a:lnTo>
                      <a:lnTo>
                        <a:pt x="1298" y="320"/>
                      </a:lnTo>
                      <a:lnTo>
                        <a:pt x="1287" y="318"/>
                      </a:lnTo>
                      <a:lnTo>
                        <a:pt x="1284" y="316"/>
                      </a:lnTo>
                      <a:lnTo>
                        <a:pt x="1279" y="318"/>
                      </a:lnTo>
                      <a:lnTo>
                        <a:pt x="1272" y="318"/>
                      </a:lnTo>
                      <a:lnTo>
                        <a:pt x="1266" y="318"/>
                      </a:lnTo>
                      <a:lnTo>
                        <a:pt x="1261" y="316"/>
                      </a:lnTo>
                      <a:lnTo>
                        <a:pt x="1265" y="316"/>
                      </a:lnTo>
                      <a:lnTo>
                        <a:pt x="1268" y="316"/>
                      </a:lnTo>
                      <a:lnTo>
                        <a:pt x="1273" y="315"/>
                      </a:lnTo>
                      <a:lnTo>
                        <a:pt x="1277" y="313"/>
                      </a:lnTo>
                      <a:lnTo>
                        <a:pt x="1275" y="313"/>
                      </a:lnTo>
                      <a:lnTo>
                        <a:pt x="1273" y="311"/>
                      </a:lnTo>
                      <a:lnTo>
                        <a:pt x="1270" y="310"/>
                      </a:lnTo>
                      <a:lnTo>
                        <a:pt x="1270" y="308"/>
                      </a:lnTo>
                      <a:lnTo>
                        <a:pt x="1277" y="310"/>
                      </a:lnTo>
                      <a:lnTo>
                        <a:pt x="1292" y="315"/>
                      </a:lnTo>
                      <a:lnTo>
                        <a:pt x="1299" y="316"/>
                      </a:lnTo>
                      <a:lnTo>
                        <a:pt x="1326" y="315"/>
                      </a:lnTo>
                      <a:lnTo>
                        <a:pt x="1336" y="313"/>
                      </a:lnTo>
                      <a:lnTo>
                        <a:pt x="1340" y="313"/>
                      </a:lnTo>
                      <a:lnTo>
                        <a:pt x="1343" y="311"/>
                      </a:lnTo>
                      <a:lnTo>
                        <a:pt x="1345" y="308"/>
                      </a:lnTo>
                      <a:lnTo>
                        <a:pt x="1347" y="304"/>
                      </a:lnTo>
                      <a:lnTo>
                        <a:pt x="1345" y="297"/>
                      </a:lnTo>
                      <a:lnTo>
                        <a:pt x="1345" y="294"/>
                      </a:lnTo>
                      <a:lnTo>
                        <a:pt x="1347" y="290"/>
                      </a:lnTo>
                      <a:lnTo>
                        <a:pt x="1350" y="289"/>
                      </a:lnTo>
                      <a:lnTo>
                        <a:pt x="1355" y="289"/>
                      </a:lnTo>
                      <a:lnTo>
                        <a:pt x="1371" y="290"/>
                      </a:lnTo>
                      <a:lnTo>
                        <a:pt x="1375" y="290"/>
                      </a:lnTo>
                      <a:lnTo>
                        <a:pt x="1382" y="287"/>
                      </a:lnTo>
                      <a:lnTo>
                        <a:pt x="1385" y="287"/>
                      </a:lnTo>
                      <a:lnTo>
                        <a:pt x="1389" y="287"/>
                      </a:lnTo>
                      <a:lnTo>
                        <a:pt x="1390" y="287"/>
                      </a:lnTo>
                      <a:lnTo>
                        <a:pt x="1394" y="287"/>
                      </a:lnTo>
                      <a:lnTo>
                        <a:pt x="1396" y="283"/>
                      </a:lnTo>
                      <a:lnTo>
                        <a:pt x="1397" y="278"/>
                      </a:lnTo>
                      <a:lnTo>
                        <a:pt x="1399" y="276"/>
                      </a:lnTo>
                      <a:lnTo>
                        <a:pt x="1401" y="275"/>
                      </a:lnTo>
                      <a:lnTo>
                        <a:pt x="1408" y="271"/>
                      </a:lnTo>
                      <a:lnTo>
                        <a:pt x="1402" y="268"/>
                      </a:lnTo>
                      <a:lnTo>
                        <a:pt x="1396" y="266"/>
                      </a:lnTo>
                      <a:lnTo>
                        <a:pt x="1382" y="264"/>
                      </a:lnTo>
                      <a:lnTo>
                        <a:pt x="1390" y="262"/>
                      </a:lnTo>
                      <a:lnTo>
                        <a:pt x="1408" y="262"/>
                      </a:lnTo>
                      <a:lnTo>
                        <a:pt x="1416" y="261"/>
                      </a:lnTo>
                      <a:lnTo>
                        <a:pt x="1418" y="261"/>
                      </a:lnTo>
                      <a:lnTo>
                        <a:pt x="1420" y="259"/>
                      </a:lnTo>
                      <a:lnTo>
                        <a:pt x="1422" y="257"/>
                      </a:lnTo>
                      <a:lnTo>
                        <a:pt x="1422" y="255"/>
                      </a:lnTo>
                      <a:lnTo>
                        <a:pt x="1423" y="254"/>
                      </a:lnTo>
                      <a:lnTo>
                        <a:pt x="1422" y="252"/>
                      </a:lnTo>
                      <a:lnTo>
                        <a:pt x="1420" y="252"/>
                      </a:lnTo>
                      <a:lnTo>
                        <a:pt x="1411" y="248"/>
                      </a:lnTo>
                      <a:lnTo>
                        <a:pt x="1406" y="247"/>
                      </a:lnTo>
                      <a:lnTo>
                        <a:pt x="1397" y="245"/>
                      </a:lnTo>
                      <a:lnTo>
                        <a:pt x="1396" y="245"/>
                      </a:lnTo>
                      <a:lnTo>
                        <a:pt x="1392" y="243"/>
                      </a:lnTo>
                      <a:lnTo>
                        <a:pt x="1387" y="241"/>
                      </a:lnTo>
                      <a:lnTo>
                        <a:pt x="1385" y="240"/>
                      </a:lnTo>
                      <a:lnTo>
                        <a:pt x="1382" y="240"/>
                      </a:lnTo>
                      <a:lnTo>
                        <a:pt x="1376" y="240"/>
                      </a:lnTo>
                      <a:lnTo>
                        <a:pt x="1368" y="240"/>
                      </a:lnTo>
                      <a:lnTo>
                        <a:pt x="1354" y="243"/>
                      </a:lnTo>
                      <a:lnTo>
                        <a:pt x="1348" y="243"/>
                      </a:lnTo>
                      <a:lnTo>
                        <a:pt x="1345" y="241"/>
                      </a:lnTo>
                      <a:lnTo>
                        <a:pt x="1338" y="238"/>
                      </a:lnTo>
                      <a:lnTo>
                        <a:pt x="1334" y="236"/>
                      </a:lnTo>
                      <a:lnTo>
                        <a:pt x="1359" y="236"/>
                      </a:lnTo>
                      <a:lnTo>
                        <a:pt x="1383" y="234"/>
                      </a:lnTo>
                      <a:lnTo>
                        <a:pt x="1389" y="234"/>
                      </a:lnTo>
                      <a:lnTo>
                        <a:pt x="1409" y="238"/>
                      </a:lnTo>
                      <a:lnTo>
                        <a:pt x="1413" y="238"/>
                      </a:lnTo>
                      <a:lnTo>
                        <a:pt x="1416" y="238"/>
                      </a:lnTo>
                      <a:lnTo>
                        <a:pt x="1418" y="238"/>
                      </a:lnTo>
                      <a:lnTo>
                        <a:pt x="1422" y="236"/>
                      </a:lnTo>
                      <a:lnTo>
                        <a:pt x="1422" y="234"/>
                      </a:lnTo>
                      <a:lnTo>
                        <a:pt x="1422" y="227"/>
                      </a:lnTo>
                      <a:lnTo>
                        <a:pt x="1418" y="229"/>
                      </a:lnTo>
                      <a:lnTo>
                        <a:pt x="1411" y="229"/>
                      </a:lnTo>
                      <a:lnTo>
                        <a:pt x="1408" y="229"/>
                      </a:lnTo>
                      <a:lnTo>
                        <a:pt x="1404" y="229"/>
                      </a:lnTo>
                      <a:lnTo>
                        <a:pt x="1401" y="227"/>
                      </a:lnTo>
                      <a:lnTo>
                        <a:pt x="1389" y="224"/>
                      </a:lnTo>
                      <a:lnTo>
                        <a:pt x="1389" y="224"/>
                      </a:lnTo>
                      <a:lnTo>
                        <a:pt x="1387" y="222"/>
                      </a:lnTo>
                      <a:lnTo>
                        <a:pt x="1385" y="219"/>
                      </a:lnTo>
                      <a:lnTo>
                        <a:pt x="1383" y="219"/>
                      </a:lnTo>
                      <a:lnTo>
                        <a:pt x="1380" y="217"/>
                      </a:lnTo>
                      <a:lnTo>
                        <a:pt x="1373" y="213"/>
                      </a:lnTo>
                      <a:lnTo>
                        <a:pt x="1371" y="212"/>
                      </a:lnTo>
                      <a:lnTo>
                        <a:pt x="1383" y="213"/>
                      </a:lnTo>
                      <a:lnTo>
                        <a:pt x="1387" y="213"/>
                      </a:lnTo>
                      <a:lnTo>
                        <a:pt x="1397" y="217"/>
                      </a:lnTo>
                      <a:lnTo>
                        <a:pt x="1401" y="219"/>
                      </a:lnTo>
                      <a:lnTo>
                        <a:pt x="1404" y="217"/>
                      </a:lnTo>
                      <a:lnTo>
                        <a:pt x="1416" y="215"/>
                      </a:lnTo>
                      <a:lnTo>
                        <a:pt x="1444" y="212"/>
                      </a:lnTo>
                      <a:lnTo>
                        <a:pt x="1450" y="210"/>
                      </a:lnTo>
                      <a:lnTo>
                        <a:pt x="1446" y="205"/>
                      </a:lnTo>
                      <a:lnTo>
                        <a:pt x="1441" y="201"/>
                      </a:lnTo>
                      <a:lnTo>
                        <a:pt x="1434" y="199"/>
                      </a:lnTo>
                      <a:lnTo>
                        <a:pt x="1425" y="199"/>
                      </a:lnTo>
                      <a:lnTo>
                        <a:pt x="1418" y="198"/>
                      </a:lnTo>
                      <a:lnTo>
                        <a:pt x="1430" y="196"/>
                      </a:lnTo>
                      <a:lnTo>
                        <a:pt x="1441" y="198"/>
                      </a:lnTo>
                      <a:lnTo>
                        <a:pt x="1464" y="205"/>
                      </a:lnTo>
                      <a:lnTo>
                        <a:pt x="1469" y="205"/>
                      </a:lnTo>
                      <a:lnTo>
                        <a:pt x="1474" y="205"/>
                      </a:lnTo>
                      <a:lnTo>
                        <a:pt x="1483" y="203"/>
                      </a:lnTo>
                      <a:lnTo>
                        <a:pt x="1488" y="201"/>
                      </a:lnTo>
                      <a:lnTo>
                        <a:pt x="1492" y="198"/>
                      </a:lnTo>
                      <a:lnTo>
                        <a:pt x="1495" y="196"/>
                      </a:lnTo>
                      <a:lnTo>
                        <a:pt x="1490" y="194"/>
                      </a:lnTo>
                      <a:lnTo>
                        <a:pt x="1500" y="189"/>
                      </a:lnTo>
                      <a:lnTo>
                        <a:pt x="1502" y="187"/>
                      </a:lnTo>
                      <a:lnTo>
                        <a:pt x="1506" y="185"/>
                      </a:lnTo>
                      <a:lnTo>
                        <a:pt x="1506" y="182"/>
                      </a:lnTo>
                      <a:lnTo>
                        <a:pt x="1504" y="182"/>
                      </a:lnTo>
                      <a:lnTo>
                        <a:pt x="1500" y="180"/>
                      </a:lnTo>
                      <a:lnTo>
                        <a:pt x="1495" y="182"/>
                      </a:lnTo>
                      <a:lnTo>
                        <a:pt x="1488" y="184"/>
                      </a:lnTo>
                      <a:lnTo>
                        <a:pt x="1485" y="184"/>
                      </a:lnTo>
                      <a:lnTo>
                        <a:pt x="1481" y="184"/>
                      </a:lnTo>
                      <a:lnTo>
                        <a:pt x="1478" y="184"/>
                      </a:lnTo>
                      <a:lnTo>
                        <a:pt x="1474" y="182"/>
                      </a:lnTo>
                      <a:lnTo>
                        <a:pt x="1476" y="180"/>
                      </a:lnTo>
                      <a:lnTo>
                        <a:pt x="1478" y="178"/>
                      </a:lnTo>
                      <a:lnTo>
                        <a:pt x="1481" y="178"/>
                      </a:lnTo>
                      <a:lnTo>
                        <a:pt x="1485" y="178"/>
                      </a:lnTo>
                      <a:lnTo>
                        <a:pt x="1486" y="178"/>
                      </a:lnTo>
                      <a:lnTo>
                        <a:pt x="1500" y="175"/>
                      </a:lnTo>
                      <a:lnTo>
                        <a:pt x="1509" y="175"/>
                      </a:lnTo>
                      <a:lnTo>
                        <a:pt x="1513" y="173"/>
                      </a:lnTo>
                      <a:lnTo>
                        <a:pt x="1514" y="170"/>
                      </a:lnTo>
                      <a:lnTo>
                        <a:pt x="1513" y="166"/>
                      </a:lnTo>
                      <a:lnTo>
                        <a:pt x="1506" y="159"/>
                      </a:lnTo>
                      <a:lnTo>
                        <a:pt x="1504" y="157"/>
                      </a:lnTo>
                      <a:lnTo>
                        <a:pt x="1507" y="159"/>
                      </a:lnTo>
                      <a:lnTo>
                        <a:pt x="1514" y="163"/>
                      </a:lnTo>
                      <a:lnTo>
                        <a:pt x="1519" y="164"/>
                      </a:lnTo>
                      <a:lnTo>
                        <a:pt x="1525" y="164"/>
                      </a:lnTo>
                      <a:lnTo>
                        <a:pt x="1528" y="164"/>
                      </a:lnTo>
                      <a:lnTo>
                        <a:pt x="1532" y="161"/>
                      </a:lnTo>
                      <a:lnTo>
                        <a:pt x="1542" y="154"/>
                      </a:lnTo>
                      <a:lnTo>
                        <a:pt x="1588" y="130"/>
                      </a:lnTo>
                      <a:lnTo>
                        <a:pt x="1600" y="119"/>
                      </a:lnTo>
                      <a:lnTo>
                        <a:pt x="1612" y="112"/>
                      </a:lnTo>
                      <a:lnTo>
                        <a:pt x="1621" y="107"/>
                      </a:lnTo>
                      <a:lnTo>
                        <a:pt x="1624" y="102"/>
                      </a:lnTo>
                      <a:lnTo>
                        <a:pt x="1628" y="98"/>
                      </a:lnTo>
                      <a:lnTo>
                        <a:pt x="1630" y="93"/>
                      </a:lnTo>
                      <a:lnTo>
                        <a:pt x="1619" y="93"/>
                      </a:lnTo>
                      <a:lnTo>
                        <a:pt x="1610" y="95"/>
                      </a:lnTo>
                      <a:lnTo>
                        <a:pt x="1554" y="112"/>
                      </a:lnTo>
                      <a:lnTo>
                        <a:pt x="1549" y="114"/>
                      </a:lnTo>
                      <a:lnTo>
                        <a:pt x="1546" y="112"/>
                      </a:lnTo>
                      <a:lnTo>
                        <a:pt x="1547" y="109"/>
                      </a:lnTo>
                      <a:lnTo>
                        <a:pt x="1551" y="107"/>
                      </a:lnTo>
                      <a:lnTo>
                        <a:pt x="1582" y="95"/>
                      </a:lnTo>
                      <a:lnTo>
                        <a:pt x="1584" y="93"/>
                      </a:lnTo>
                      <a:lnTo>
                        <a:pt x="1588" y="88"/>
                      </a:lnTo>
                      <a:lnTo>
                        <a:pt x="1589" y="86"/>
                      </a:lnTo>
                      <a:lnTo>
                        <a:pt x="1595" y="84"/>
                      </a:lnTo>
                      <a:lnTo>
                        <a:pt x="1609" y="82"/>
                      </a:lnTo>
                      <a:lnTo>
                        <a:pt x="1612" y="82"/>
                      </a:lnTo>
                      <a:lnTo>
                        <a:pt x="1617" y="77"/>
                      </a:lnTo>
                      <a:lnTo>
                        <a:pt x="1621" y="77"/>
                      </a:lnTo>
                      <a:lnTo>
                        <a:pt x="1626" y="75"/>
                      </a:lnTo>
                      <a:lnTo>
                        <a:pt x="1635" y="77"/>
                      </a:lnTo>
                      <a:lnTo>
                        <a:pt x="1638" y="75"/>
                      </a:lnTo>
                      <a:lnTo>
                        <a:pt x="1684" y="58"/>
                      </a:lnTo>
                      <a:lnTo>
                        <a:pt x="1699" y="49"/>
                      </a:lnTo>
                      <a:lnTo>
                        <a:pt x="1705" y="47"/>
                      </a:lnTo>
                      <a:lnTo>
                        <a:pt x="1706" y="42"/>
                      </a:lnTo>
                      <a:lnTo>
                        <a:pt x="1698" y="37"/>
                      </a:lnTo>
                      <a:lnTo>
                        <a:pt x="1685" y="35"/>
                      </a:lnTo>
                      <a:lnTo>
                        <a:pt x="1673" y="37"/>
                      </a:lnTo>
                      <a:lnTo>
                        <a:pt x="1663" y="39"/>
                      </a:lnTo>
                      <a:lnTo>
                        <a:pt x="1664" y="35"/>
                      </a:lnTo>
                      <a:lnTo>
                        <a:pt x="1666" y="33"/>
                      </a:lnTo>
                      <a:lnTo>
                        <a:pt x="1664" y="32"/>
                      </a:lnTo>
                      <a:lnTo>
                        <a:pt x="1663" y="30"/>
                      </a:lnTo>
                      <a:lnTo>
                        <a:pt x="1657" y="26"/>
                      </a:lnTo>
                      <a:lnTo>
                        <a:pt x="1656" y="23"/>
                      </a:lnTo>
                      <a:lnTo>
                        <a:pt x="1656" y="23"/>
                      </a:lnTo>
                      <a:lnTo>
                        <a:pt x="1656" y="23"/>
                      </a:lnTo>
                      <a:lnTo>
                        <a:pt x="1656" y="21"/>
                      </a:lnTo>
                      <a:lnTo>
                        <a:pt x="1656" y="19"/>
                      </a:lnTo>
                      <a:lnTo>
                        <a:pt x="1657" y="19"/>
                      </a:lnTo>
                      <a:lnTo>
                        <a:pt x="1657" y="19"/>
                      </a:lnTo>
                      <a:lnTo>
                        <a:pt x="1656" y="18"/>
                      </a:lnTo>
                      <a:lnTo>
                        <a:pt x="1656" y="16"/>
                      </a:lnTo>
                      <a:lnTo>
                        <a:pt x="1652" y="16"/>
                      </a:lnTo>
                      <a:lnTo>
                        <a:pt x="1649" y="16"/>
                      </a:lnTo>
                      <a:lnTo>
                        <a:pt x="1645" y="16"/>
                      </a:lnTo>
                      <a:lnTo>
                        <a:pt x="1638" y="18"/>
                      </a:lnTo>
                      <a:lnTo>
                        <a:pt x="1636" y="18"/>
                      </a:lnTo>
                      <a:lnTo>
                        <a:pt x="1633" y="18"/>
                      </a:lnTo>
                      <a:lnTo>
                        <a:pt x="1631" y="14"/>
                      </a:lnTo>
                      <a:lnTo>
                        <a:pt x="1628" y="12"/>
                      </a:lnTo>
                      <a:lnTo>
                        <a:pt x="1626" y="12"/>
                      </a:lnTo>
                      <a:lnTo>
                        <a:pt x="1623" y="12"/>
                      </a:lnTo>
                      <a:lnTo>
                        <a:pt x="1621" y="14"/>
                      </a:lnTo>
                      <a:lnTo>
                        <a:pt x="1619" y="16"/>
                      </a:lnTo>
                      <a:lnTo>
                        <a:pt x="1616" y="16"/>
                      </a:lnTo>
                      <a:lnTo>
                        <a:pt x="1612" y="16"/>
                      </a:lnTo>
                      <a:lnTo>
                        <a:pt x="1609" y="16"/>
                      </a:lnTo>
                      <a:lnTo>
                        <a:pt x="1605" y="16"/>
                      </a:lnTo>
                      <a:lnTo>
                        <a:pt x="1602" y="18"/>
                      </a:lnTo>
                      <a:lnTo>
                        <a:pt x="1586" y="21"/>
                      </a:lnTo>
                      <a:lnTo>
                        <a:pt x="1568" y="26"/>
                      </a:lnTo>
                      <a:lnTo>
                        <a:pt x="1560" y="26"/>
                      </a:lnTo>
                      <a:lnTo>
                        <a:pt x="1551" y="26"/>
                      </a:lnTo>
                      <a:lnTo>
                        <a:pt x="1554" y="25"/>
                      </a:lnTo>
                      <a:lnTo>
                        <a:pt x="1560" y="23"/>
                      </a:lnTo>
                      <a:lnTo>
                        <a:pt x="1581" y="18"/>
                      </a:lnTo>
                      <a:lnTo>
                        <a:pt x="1586" y="16"/>
                      </a:lnTo>
                      <a:lnTo>
                        <a:pt x="1591" y="14"/>
                      </a:lnTo>
                      <a:lnTo>
                        <a:pt x="1595" y="11"/>
                      </a:lnTo>
                      <a:lnTo>
                        <a:pt x="1593" y="11"/>
                      </a:lnTo>
                      <a:lnTo>
                        <a:pt x="1588" y="9"/>
                      </a:lnTo>
                      <a:lnTo>
                        <a:pt x="1563" y="9"/>
                      </a:lnTo>
                      <a:lnTo>
                        <a:pt x="1558" y="9"/>
                      </a:lnTo>
                      <a:lnTo>
                        <a:pt x="1551" y="7"/>
                      </a:lnTo>
                      <a:lnTo>
                        <a:pt x="1535" y="7"/>
                      </a:lnTo>
                      <a:lnTo>
                        <a:pt x="1530" y="5"/>
                      </a:lnTo>
                      <a:lnTo>
                        <a:pt x="1521" y="2"/>
                      </a:lnTo>
                      <a:lnTo>
                        <a:pt x="1516" y="2"/>
                      </a:lnTo>
                      <a:lnTo>
                        <a:pt x="1513" y="0"/>
                      </a:lnTo>
                      <a:lnTo>
                        <a:pt x="1502" y="2"/>
                      </a:lnTo>
                      <a:lnTo>
                        <a:pt x="1497" y="2"/>
                      </a:lnTo>
                      <a:lnTo>
                        <a:pt x="1493" y="4"/>
                      </a:lnTo>
                      <a:lnTo>
                        <a:pt x="1488" y="5"/>
                      </a:lnTo>
                      <a:lnTo>
                        <a:pt x="1490" y="7"/>
                      </a:lnTo>
                      <a:lnTo>
                        <a:pt x="1495" y="11"/>
                      </a:lnTo>
                      <a:lnTo>
                        <a:pt x="1499" y="12"/>
                      </a:lnTo>
                      <a:lnTo>
                        <a:pt x="1493" y="11"/>
                      </a:lnTo>
                      <a:lnTo>
                        <a:pt x="1479" y="4"/>
                      </a:lnTo>
                      <a:lnTo>
                        <a:pt x="1474" y="2"/>
                      </a:lnTo>
                      <a:lnTo>
                        <a:pt x="1469" y="2"/>
                      </a:lnTo>
                      <a:lnTo>
                        <a:pt x="1464" y="2"/>
                      </a:lnTo>
                      <a:lnTo>
                        <a:pt x="1458" y="2"/>
                      </a:lnTo>
                      <a:lnTo>
                        <a:pt x="1455" y="4"/>
                      </a:lnTo>
                      <a:lnTo>
                        <a:pt x="1450" y="5"/>
                      </a:lnTo>
                      <a:lnTo>
                        <a:pt x="1446" y="7"/>
                      </a:lnTo>
                      <a:lnTo>
                        <a:pt x="1444" y="11"/>
                      </a:lnTo>
                      <a:lnTo>
                        <a:pt x="1448" y="14"/>
                      </a:lnTo>
                      <a:lnTo>
                        <a:pt x="1458" y="19"/>
                      </a:lnTo>
                      <a:lnTo>
                        <a:pt x="1462" y="21"/>
                      </a:lnTo>
                      <a:lnTo>
                        <a:pt x="1450" y="19"/>
                      </a:lnTo>
                      <a:lnTo>
                        <a:pt x="1444" y="16"/>
                      </a:lnTo>
                      <a:lnTo>
                        <a:pt x="1439" y="14"/>
                      </a:lnTo>
                      <a:lnTo>
                        <a:pt x="1429" y="9"/>
                      </a:lnTo>
                      <a:lnTo>
                        <a:pt x="1425" y="7"/>
                      </a:lnTo>
                      <a:lnTo>
                        <a:pt x="1418" y="5"/>
                      </a:lnTo>
                      <a:lnTo>
                        <a:pt x="1366" y="5"/>
                      </a:lnTo>
                      <a:lnTo>
                        <a:pt x="1369" y="9"/>
                      </a:lnTo>
                      <a:lnTo>
                        <a:pt x="1373" y="12"/>
                      </a:lnTo>
                      <a:lnTo>
                        <a:pt x="1390" y="21"/>
                      </a:lnTo>
                      <a:lnTo>
                        <a:pt x="1394" y="25"/>
                      </a:lnTo>
                      <a:lnTo>
                        <a:pt x="1397" y="26"/>
                      </a:lnTo>
                      <a:lnTo>
                        <a:pt x="1399" y="28"/>
                      </a:lnTo>
                      <a:lnTo>
                        <a:pt x="1399" y="30"/>
                      </a:lnTo>
                      <a:lnTo>
                        <a:pt x="1397" y="32"/>
                      </a:lnTo>
                      <a:lnTo>
                        <a:pt x="1396" y="32"/>
                      </a:lnTo>
                      <a:lnTo>
                        <a:pt x="1394" y="33"/>
                      </a:lnTo>
                      <a:lnTo>
                        <a:pt x="1392" y="33"/>
                      </a:lnTo>
                      <a:lnTo>
                        <a:pt x="1390" y="35"/>
                      </a:lnTo>
                      <a:lnTo>
                        <a:pt x="1387" y="33"/>
                      </a:lnTo>
                      <a:lnTo>
                        <a:pt x="1387" y="33"/>
                      </a:lnTo>
                      <a:lnTo>
                        <a:pt x="1385" y="32"/>
                      </a:lnTo>
                      <a:lnTo>
                        <a:pt x="1385" y="30"/>
                      </a:lnTo>
                      <a:lnTo>
                        <a:pt x="1383" y="28"/>
                      </a:lnTo>
                      <a:lnTo>
                        <a:pt x="1382" y="26"/>
                      </a:lnTo>
                      <a:lnTo>
                        <a:pt x="1380" y="25"/>
                      </a:lnTo>
                      <a:lnTo>
                        <a:pt x="1362" y="14"/>
                      </a:lnTo>
                      <a:lnTo>
                        <a:pt x="1359" y="12"/>
                      </a:lnTo>
                      <a:lnTo>
                        <a:pt x="1354" y="12"/>
                      </a:lnTo>
                      <a:lnTo>
                        <a:pt x="1340" y="12"/>
                      </a:lnTo>
                      <a:lnTo>
                        <a:pt x="1310" y="11"/>
                      </a:lnTo>
                      <a:lnTo>
                        <a:pt x="1301" y="12"/>
                      </a:lnTo>
                      <a:lnTo>
                        <a:pt x="1305" y="14"/>
                      </a:lnTo>
                      <a:lnTo>
                        <a:pt x="1306" y="16"/>
                      </a:lnTo>
                      <a:lnTo>
                        <a:pt x="1315" y="19"/>
                      </a:lnTo>
                      <a:lnTo>
                        <a:pt x="1327" y="23"/>
                      </a:lnTo>
                      <a:lnTo>
                        <a:pt x="1331" y="25"/>
                      </a:lnTo>
                      <a:lnTo>
                        <a:pt x="1317" y="25"/>
                      </a:lnTo>
                      <a:lnTo>
                        <a:pt x="1310" y="25"/>
                      </a:lnTo>
                      <a:lnTo>
                        <a:pt x="1303" y="23"/>
                      </a:lnTo>
                      <a:lnTo>
                        <a:pt x="1289" y="19"/>
                      </a:lnTo>
                      <a:lnTo>
                        <a:pt x="1282" y="18"/>
                      </a:lnTo>
                      <a:lnTo>
                        <a:pt x="1280" y="23"/>
                      </a:lnTo>
                      <a:lnTo>
                        <a:pt x="1282" y="25"/>
                      </a:lnTo>
                      <a:lnTo>
                        <a:pt x="1284" y="28"/>
                      </a:lnTo>
                      <a:lnTo>
                        <a:pt x="1287" y="30"/>
                      </a:lnTo>
                      <a:lnTo>
                        <a:pt x="1285" y="33"/>
                      </a:lnTo>
                      <a:lnTo>
                        <a:pt x="1284" y="33"/>
                      </a:lnTo>
                      <a:lnTo>
                        <a:pt x="1279" y="32"/>
                      </a:lnTo>
                      <a:lnTo>
                        <a:pt x="1272" y="28"/>
                      </a:lnTo>
                      <a:lnTo>
                        <a:pt x="1270" y="26"/>
                      </a:lnTo>
                      <a:lnTo>
                        <a:pt x="1266" y="26"/>
                      </a:lnTo>
                      <a:lnTo>
                        <a:pt x="1263" y="26"/>
                      </a:lnTo>
                      <a:lnTo>
                        <a:pt x="1259" y="28"/>
                      </a:lnTo>
                      <a:lnTo>
                        <a:pt x="1259" y="32"/>
                      </a:lnTo>
                      <a:lnTo>
                        <a:pt x="1263" y="33"/>
                      </a:lnTo>
                      <a:lnTo>
                        <a:pt x="1266" y="35"/>
                      </a:lnTo>
                      <a:lnTo>
                        <a:pt x="1268" y="35"/>
                      </a:lnTo>
                      <a:lnTo>
                        <a:pt x="1259" y="37"/>
                      </a:lnTo>
                      <a:lnTo>
                        <a:pt x="1254" y="39"/>
                      </a:lnTo>
                      <a:lnTo>
                        <a:pt x="1252" y="40"/>
                      </a:lnTo>
                      <a:lnTo>
                        <a:pt x="1256" y="44"/>
                      </a:lnTo>
                      <a:lnTo>
                        <a:pt x="1263" y="46"/>
                      </a:lnTo>
                      <a:lnTo>
                        <a:pt x="1296" y="58"/>
                      </a:lnTo>
                      <a:lnTo>
                        <a:pt x="1308" y="61"/>
                      </a:lnTo>
                      <a:lnTo>
                        <a:pt x="1317" y="70"/>
                      </a:lnTo>
                      <a:lnTo>
                        <a:pt x="1313" y="68"/>
                      </a:lnTo>
                      <a:lnTo>
                        <a:pt x="1308" y="67"/>
                      </a:lnTo>
                      <a:lnTo>
                        <a:pt x="1305" y="63"/>
                      </a:lnTo>
                      <a:lnTo>
                        <a:pt x="1301" y="61"/>
                      </a:lnTo>
                      <a:lnTo>
                        <a:pt x="1265" y="53"/>
                      </a:lnTo>
                      <a:lnTo>
                        <a:pt x="1256" y="49"/>
                      </a:lnTo>
                      <a:lnTo>
                        <a:pt x="1251" y="47"/>
                      </a:lnTo>
                      <a:lnTo>
                        <a:pt x="1247" y="47"/>
                      </a:lnTo>
                      <a:lnTo>
                        <a:pt x="1247" y="51"/>
                      </a:lnTo>
                      <a:lnTo>
                        <a:pt x="1251" y="53"/>
                      </a:lnTo>
                      <a:lnTo>
                        <a:pt x="1254" y="54"/>
                      </a:lnTo>
                      <a:lnTo>
                        <a:pt x="1252" y="56"/>
                      </a:lnTo>
                      <a:lnTo>
                        <a:pt x="1249" y="56"/>
                      </a:lnTo>
                      <a:lnTo>
                        <a:pt x="1244" y="54"/>
                      </a:lnTo>
                      <a:lnTo>
                        <a:pt x="1240" y="53"/>
                      </a:lnTo>
                      <a:lnTo>
                        <a:pt x="1230" y="46"/>
                      </a:lnTo>
                      <a:lnTo>
                        <a:pt x="1226" y="44"/>
                      </a:lnTo>
                      <a:lnTo>
                        <a:pt x="1203" y="39"/>
                      </a:lnTo>
                      <a:lnTo>
                        <a:pt x="1198" y="39"/>
                      </a:lnTo>
                      <a:lnTo>
                        <a:pt x="1193" y="40"/>
                      </a:lnTo>
                      <a:lnTo>
                        <a:pt x="1179" y="46"/>
                      </a:lnTo>
                      <a:lnTo>
                        <a:pt x="1163" y="49"/>
                      </a:lnTo>
                      <a:lnTo>
                        <a:pt x="1167" y="51"/>
                      </a:lnTo>
                      <a:lnTo>
                        <a:pt x="1172" y="53"/>
                      </a:lnTo>
                      <a:lnTo>
                        <a:pt x="1191" y="58"/>
                      </a:lnTo>
                      <a:lnTo>
                        <a:pt x="1195" y="60"/>
                      </a:lnTo>
                      <a:lnTo>
                        <a:pt x="1196" y="61"/>
                      </a:lnTo>
                      <a:lnTo>
                        <a:pt x="1193" y="61"/>
                      </a:lnTo>
                      <a:lnTo>
                        <a:pt x="1186" y="63"/>
                      </a:lnTo>
                      <a:lnTo>
                        <a:pt x="1182" y="63"/>
                      </a:lnTo>
                      <a:lnTo>
                        <a:pt x="1179" y="61"/>
                      </a:lnTo>
                      <a:lnTo>
                        <a:pt x="1174" y="60"/>
                      </a:lnTo>
                      <a:lnTo>
                        <a:pt x="1168" y="58"/>
                      </a:lnTo>
                      <a:lnTo>
                        <a:pt x="1163" y="58"/>
                      </a:lnTo>
                      <a:lnTo>
                        <a:pt x="1158" y="60"/>
                      </a:lnTo>
                      <a:lnTo>
                        <a:pt x="1155" y="63"/>
                      </a:lnTo>
                      <a:lnTo>
                        <a:pt x="1146" y="58"/>
                      </a:lnTo>
                      <a:lnTo>
                        <a:pt x="1141" y="56"/>
                      </a:lnTo>
                      <a:lnTo>
                        <a:pt x="1135" y="56"/>
                      </a:lnTo>
                      <a:lnTo>
                        <a:pt x="1132" y="56"/>
                      </a:lnTo>
                      <a:lnTo>
                        <a:pt x="1127" y="56"/>
                      </a:lnTo>
                      <a:lnTo>
                        <a:pt x="1123" y="56"/>
                      </a:lnTo>
                      <a:lnTo>
                        <a:pt x="1118" y="58"/>
                      </a:lnTo>
                      <a:lnTo>
                        <a:pt x="1106" y="65"/>
                      </a:lnTo>
                      <a:lnTo>
                        <a:pt x="1100" y="67"/>
                      </a:lnTo>
                      <a:lnTo>
                        <a:pt x="1095" y="67"/>
                      </a:lnTo>
                      <a:lnTo>
                        <a:pt x="1086" y="67"/>
                      </a:lnTo>
                      <a:lnTo>
                        <a:pt x="1081" y="68"/>
                      </a:lnTo>
                      <a:lnTo>
                        <a:pt x="1074" y="70"/>
                      </a:lnTo>
                      <a:lnTo>
                        <a:pt x="1062" y="75"/>
                      </a:lnTo>
                      <a:lnTo>
                        <a:pt x="1055" y="82"/>
                      </a:lnTo>
                      <a:lnTo>
                        <a:pt x="1060" y="88"/>
                      </a:lnTo>
                      <a:lnTo>
                        <a:pt x="1064" y="88"/>
                      </a:lnTo>
                      <a:close/>
                      <a:moveTo>
                        <a:pt x="1694" y="1082"/>
                      </a:moveTo>
                      <a:lnTo>
                        <a:pt x="1692" y="1082"/>
                      </a:lnTo>
                      <a:lnTo>
                        <a:pt x="1689" y="1084"/>
                      </a:lnTo>
                      <a:lnTo>
                        <a:pt x="1691" y="1085"/>
                      </a:lnTo>
                      <a:lnTo>
                        <a:pt x="1694" y="1087"/>
                      </a:lnTo>
                      <a:lnTo>
                        <a:pt x="1698" y="1087"/>
                      </a:lnTo>
                      <a:lnTo>
                        <a:pt x="1698" y="1085"/>
                      </a:lnTo>
                      <a:lnTo>
                        <a:pt x="1696" y="1084"/>
                      </a:lnTo>
                      <a:lnTo>
                        <a:pt x="1694" y="1082"/>
                      </a:lnTo>
                      <a:close/>
                      <a:moveTo>
                        <a:pt x="1698" y="753"/>
                      </a:moveTo>
                      <a:lnTo>
                        <a:pt x="1701" y="755"/>
                      </a:lnTo>
                      <a:lnTo>
                        <a:pt x="1705" y="752"/>
                      </a:lnTo>
                      <a:lnTo>
                        <a:pt x="1701" y="748"/>
                      </a:lnTo>
                      <a:lnTo>
                        <a:pt x="1692" y="741"/>
                      </a:lnTo>
                      <a:lnTo>
                        <a:pt x="1691" y="738"/>
                      </a:lnTo>
                      <a:lnTo>
                        <a:pt x="1689" y="736"/>
                      </a:lnTo>
                      <a:lnTo>
                        <a:pt x="1687" y="736"/>
                      </a:lnTo>
                      <a:lnTo>
                        <a:pt x="1685" y="738"/>
                      </a:lnTo>
                      <a:lnTo>
                        <a:pt x="1682" y="741"/>
                      </a:lnTo>
                      <a:lnTo>
                        <a:pt x="1680" y="741"/>
                      </a:lnTo>
                      <a:lnTo>
                        <a:pt x="1678" y="741"/>
                      </a:lnTo>
                      <a:lnTo>
                        <a:pt x="1671" y="739"/>
                      </a:lnTo>
                      <a:lnTo>
                        <a:pt x="1668" y="739"/>
                      </a:lnTo>
                      <a:lnTo>
                        <a:pt x="1664" y="741"/>
                      </a:lnTo>
                      <a:lnTo>
                        <a:pt x="1657" y="745"/>
                      </a:lnTo>
                      <a:lnTo>
                        <a:pt x="1652" y="745"/>
                      </a:lnTo>
                      <a:lnTo>
                        <a:pt x="1659" y="739"/>
                      </a:lnTo>
                      <a:lnTo>
                        <a:pt x="1663" y="738"/>
                      </a:lnTo>
                      <a:lnTo>
                        <a:pt x="1663" y="736"/>
                      </a:lnTo>
                      <a:lnTo>
                        <a:pt x="1664" y="732"/>
                      </a:lnTo>
                      <a:lnTo>
                        <a:pt x="1664" y="731"/>
                      </a:lnTo>
                      <a:lnTo>
                        <a:pt x="1668" y="729"/>
                      </a:lnTo>
                      <a:lnTo>
                        <a:pt x="1663" y="725"/>
                      </a:lnTo>
                      <a:lnTo>
                        <a:pt x="1659" y="725"/>
                      </a:lnTo>
                      <a:lnTo>
                        <a:pt x="1657" y="724"/>
                      </a:lnTo>
                      <a:lnTo>
                        <a:pt x="1656" y="724"/>
                      </a:lnTo>
                      <a:lnTo>
                        <a:pt x="1654" y="724"/>
                      </a:lnTo>
                      <a:lnTo>
                        <a:pt x="1654" y="725"/>
                      </a:lnTo>
                      <a:lnTo>
                        <a:pt x="1652" y="725"/>
                      </a:lnTo>
                      <a:lnTo>
                        <a:pt x="1650" y="727"/>
                      </a:lnTo>
                      <a:lnTo>
                        <a:pt x="1645" y="729"/>
                      </a:lnTo>
                      <a:lnTo>
                        <a:pt x="1640" y="727"/>
                      </a:lnTo>
                      <a:lnTo>
                        <a:pt x="1635" y="727"/>
                      </a:lnTo>
                      <a:lnTo>
                        <a:pt x="1631" y="725"/>
                      </a:lnTo>
                      <a:lnTo>
                        <a:pt x="1635" y="724"/>
                      </a:lnTo>
                      <a:lnTo>
                        <a:pt x="1647" y="725"/>
                      </a:lnTo>
                      <a:lnTo>
                        <a:pt x="1645" y="722"/>
                      </a:lnTo>
                      <a:lnTo>
                        <a:pt x="1645" y="720"/>
                      </a:lnTo>
                      <a:lnTo>
                        <a:pt x="1647" y="718"/>
                      </a:lnTo>
                      <a:lnTo>
                        <a:pt x="1650" y="717"/>
                      </a:lnTo>
                      <a:lnTo>
                        <a:pt x="1647" y="715"/>
                      </a:lnTo>
                      <a:lnTo>
                        <a:pt x="1645" y="715"/>
                      </a:lnTo>
                      <a:lnTo>
                        <a:pt x="1643" y="715"/>
                      </a:lnTo>
                      <a:lnTo>
                        <a:pt x="1642" y="713"/>
                      </a:lnTo>
                      <a:lnTo>
                        <a:pt x="1640" y="711"/>
                      </a:lnTo>
                      <a:lnTo>
                        <a:pt x="1635" y="708"/>
                      </a:lnTo>
                      <a:lnTo>
                        <a:pt x="1633" y="708"/>
                      </a:lnTo>
                      <a:lnTo>
                        <a:pt x="1631" y="708"/>
                      </a:lnTo>
                      <a:lnTo>
                        <a:pt x="1628" y="708"/>
                      </a:lnTo>
                      <a:lnTo>
                        <a:pt x="1626" y="710"/>
                      </a:lnTo>
                      <a:lnTo>
                        <a:pt x="1624" y="708"/>
                      </a:lnTo>
                      <a:lnTo>
                        <a:pt x="1624" y="706"/>
                      </a:lnTo>
                      <a:lnTo>
                        <a:pt x="1626" y="704"/>
                      </a:lnTo>
                      <a:lnTo>
                        <a:pt x="1630" y="701"/>
                      </a:lnTo>
                      <a:lnTo>
                        <a:pt x="1626" y="701"/>
                      </a:lnTo>
                      <a:lnTo>
                        <a:pt x="1624" y="701"/>
                      </a:lnTo>
                      <a:lnTo>
                        <a:pt x="1621" y="701"/>
                      </a:lnTo>
                      <a:lnTo>
                        <a:pt x="1619" y="703"/>
                      </a:lnTo>
                      <a:lnTo>
                        <a:pt x="1617" y="706"/>
                      </a:lnTo>
                      <a:lnTo>
                        <a:pt x="1616" y="708"/>
                      </a:lnTo>
                      <a:lnTo>
                        <a:pt x="1617" y="713"/>
                      </a:lnTo>
                      <a:lnTo>
                        <a:pt x="1616" y="710"/>
                      </a:lnTo>
                      <a:lnTo>
                        <a:pt x="1614" y="706"/>
                      </a:lnTo>
                      <a:lnTo>
                        <a:pt x="1614" y="704"/>
                      </a:lnTo>
                      <a:lnTo>
                        <a:pt x="1614" y="703"/>
                      </a:lnTo>
                      <a:lnTo>
                        <a:pt x="1610" y="703"/>
                      </a:lnTo>
                      <a:lnTo>
                        <a:pt x="1607" y="703"/>
                      </a:lnTo>
                      <a:lnTo>
                        <a:pt x="1605" y="703"/>
                      </a:lnTo>
                      <a:lnTo>
                        <a:pt x="1605" y="699"/>
                      </a:lnTo>
                      <a:lnTo>
                        <a:pt x="1602" y="701"/>
                      </a:lnTo>
                      <a:lnTo>
                        <a:pt x="1598" y="704"/>
                      </a:lnTo>
                      <a:lnTo>
                        <a:pt x="1596" y="706"/>
                      </a:lnTo>
                      <a:lnTo>
                        <a:pt x="1593" y="706"/>
                      </a:lnTo>
                      <a:lnTo>
                        <a:pt x="1596" y="704"/>
                      </a:lnTo>
                      <a:lnTo>
                        <a:pt x="1598" y="701"/>
                      </a:lnTo>
                      <a:lnTo>
                        <a:pt x="1600" y="692"/>
                      </a:lnTo>
                      <a:lnTo>
                        <a:pt x="1595" y="692"/>
                      </a:lnTo>
                      <a:lnTo>
                        <a:pt x="1593" y="692"/>
                      </a:lnTo>
                      <a:lnTo>
                        <a:pt x="1591" y="694"/>
                      </a:lnTo>
                      <a:lnTo>
                        <a:pt x="1591" y="696"/>
                      </a:lnTo>
                      <a:lnTo>
                        <a:pt x="1591" y="697"/>
                      </a:lnTo>
                      <a:lnTo>
                        <a:pt x="1589" y="699"/>
                      </a:lnTo>
                      <a:lnTo>
                        <a:pt x="1589" y="701"/>
                      </a:lnTo>
                      <a:lnTo>
                        <a:pt x="1589" y="697"/>
                      </a:lnTo>
                      <a:lnTo>
                        <a:pt x="1588" y="697"/>
                      </a:lnTo>
                      <a:lnTo>
                        <a:pt x="1586" y="697"/>
                      </a:lnTo>
                      <a:lnTo>
                        <a:pt x="1584" y="699"/>
                      </a:lnTo>
                      <a:lnTo>
                        <a:pt x="1586" y="697"/>
                      </a:lnTo>
                      <a:lnTo>
                        <a:pt x="1586" y="696"/>
                      </a:lnTo>
                      <a:lnTo>
                        <a:pt x="1584" y="692"/>
                      </a:lnTo>
                      <a:lnTo>
                        <a:pt x="1582" y="690"/>
                      </a:lnTo>
                      <a:lnTo>
                        <a:pt x="1582" y="690"/>
                      </a:lnTo>
                      <a:lnTo>
                        <a:pt x="1582" y="690"/>
                      </a:lnTo>
                      <a:lnTo>
                        <a:pt x="1582" y="689"/>
                      </a:lnTo>
                      <a:lnTo>
                        <a:pt x="1584" y="689"/>
                      </a:lnTo>
                      <a:lnTo>
                        <a:pt x="1588" y="687"/>
                      </a:lnTo>
                      <a:lnTo>
                        <a:pt x="1589" y="687"/>
                      </a:lnTo>
                      <a:lnTo>
                        <a:pt x="1586" y="685"/>
                      </a:lnTo>
                      <a:lnTo>
                        <a:pt x="1579" y="685"/>
                      </a:lnTo>
                      <a:lnTo>
                        <a:pt x="1575" y="685"/>
                      </a:lnTo>
                      <a:lnTo>
                        <a:pt x="1568" y="683"/>
                      </a:lnTo>
                      <a:lnTo>
                        <a:pt x="1567" y="683"/>
                      </a:lnTo>
                      <a:lnTo>
                        <a:pt x="1565" y="683"/>
                      </a:lnTo>
                      <a:lnTo>
                        <a:pt x="1563" y="683"/>
                      </a:lnTo>
                      <a:lnTo>
                        <a:pt x="1561" y="683"/>
                      </a:lnTo>
                      <a:lnTo>
                        <a:pt x="1560" y="683"/>
                      </a:lnTo>
                      <a:lnTo>
                        <a:pt x="1558" y="682"/>
                      </a:lnTo>
                      <a:lnTo>
                        <a:pt x="1558" y="680"/>
                      </a:lnTo>
                      <a:lnTo>
                        <a:pt x="1556" y="678"/>
                      </a:lnTo>
                      <a:lnTo>
                        <a:pt x="1554" y="678"/>
                      </a:lnTo>
                      <a:lnTo>
                        <a:pt x="1553" y="678"/>
                      </a:lnTo>
                      <a:lnTo>
                        <a:pt x="1540" y="676"/>
                      </a:lnTo>
                      <a:lnTo>
                        <a:pt x="1537" y="675"/>
                      </a:lnTo>
                      <a:lnTo>
                        <a:pt x="1532" y="673"/>
                      </a:lnTo>
                      <a:lnTo>
                        <a:pt x="1537" y="673"/>
                      </a:lnTo>
                      <a:lnTo>
                        <a:pt x="1546" y="675"/>
                      </a:lnTo>
                      <a:lnTo>
                        <a:pt x="1549" y="675"/>
                      </a:lnTo>
                      <a:lnTo>
                        <a:pt x="1553" y="675"/>
                      </a:lnTo>
                      <a:lnTo>
                        <a:pt x="1561" y="676"/>
                      </a:lnTo>
                      <a:lnTo>
                        <a:pt x="1563" y="675"/>
                      </a:lnTo>
                      <a:lnTo>
                        <a:pt x="1567" y="671"/>
                      </a:lnTo>
                      <a:lnTo>
                        <a:pt x="1565" y="669"/>
                      </a:lnTo>
                      <a:lnTo>
                        <a:pt x="1561" y="666"/>
                      </a:lnTo>
                      <a:lnTo>
                        <a:pt x="1558" y="666"/>
                      </a:lnTo>
                      <a:lnTo>
                        <a:pt x="1553" y="666"/>
                      </a:lnTo>
                      <a:lnTo>
                        <a:pt x="1542" y="668"/>
                      </a:lnTo>
                      <a:lnTo>
                        <a:pt x="1539" y="666"/>
                      </a:lnTo>
                      <a:lnTo>
                        <a:pt x="1546" y="664"/>
                      </a:lnTo>
                      <a:lnTo>
                        <a:pt x="1553" y="662"/>
                      </a:lnTo>
                      <a:lnTo>
                        <a:pt x="1560" y="662"/>
                      </a:lnTo>
                      <a:lnTo>
                        <a:pt x="1581" y="666"/>
                      </a:lnTo>
                      <a:lnTo>
                        <a:pt x="1588" y="664"/>
                      </a:lnTo>
                      <a:lnTo>
                        <a:pt x="1589" y="661"/>
                      </a:lnTo>
                      <a:lnTo>
                        <a:pt x="1584" y="657"/>
                      </a:lnTo>
                      <a:lnTo>
                        <a:pt x="1577" y="655"/>
                      </a:lnTo>
                      <a:lnTo>
                        <a:pt x="1563" y="655"/>
                      </a:lnTo>
                      <a:lnTo>
                        <a:pt x="1560" y="655"/>
                      </a:lnTo>
                      <a:lnTo>
                        <a:pt x="1554" y="654"/>
                      </a:lnTo>
                      <a:lnTo>
                        <a:pt x="1551" y="654"/>
                      </a:lnTo>
                      <a:lnTo>
                        <a:pt x="1546" y="654"/>
                      </a:lnTo>
                      <a:lnTo>
                        <a:pt x="1539" y="654"/>
                      </a:lnTo>
                      <a:lnTo>
                        <a:pt x="1533" y="655"/>
                      </a:lnTo>
                      <a:lnTo>
                        <a:pt x="1539" y="652"/>
                      </a:lnTo>
                      <a:lnTo>
                        <a:pt x="1544" y="652"/>
                      </a:lnTo>
                      <a:lnTo>
                        <a:pt x="1551" y="650"/>
                      </a:lnTo>
                      <a:lnTo>
                        <a:pt x="1556" y="650"/>
                      </a:lnTo>
                      <a:lnTo>
                        <a:pt x="1560" y="648"/>
                      </a:lnTo>
                      <a:lnTo>
                        <a:pt x="1563" y="648"/>
                      </a:lnTo>
                      <a:lnTo>
                        <a:pt x="1565" y="648"/>
                      </a:lnTo>
                      <a:lnTo>
                        <a:pt x="1575" y="650"/>
                      </a:lnTo>
                      <a:lnTo>
                        <a:pt x="1577" y="648"/>
                      </a:lnTo>
                      <a:lnTo>
                        <a:pt x="1579" y="645"/>
                      </a:lnTo>
                      <a:lnTo>
                        <a:pt x="1575" y="640"/>
                      </a:lnTo>
                      <a:lnTo>
                        <a:pt x="1572" y="634"/>
                      </a:lnTo>
                      <a:lnTo>
                        <a:pt x="1567" y="629"/>
                      </a:lnTo>
                      <a:lnTo>
                        <a:pt x="1563" y="628"/>
                      </a:lnTo>
                      <a:lnTo>
                        <a:pt x="1561" y="626"/>
                      </a:lnTo>
                      <a:lnTo>
                        <a:pt x="1558" y="626"/>
                      </a:lnTo>
                      <a:lnTo>
                        <a:pt x="1556" y="628"/>
                      </a:lnTo>
                      <a:lnTo>
                        <a:pt x="1554" y="629"/>
                      </a:lnTo>
                      <a:lnTo>
                        <a:pt x="1554" y="631"/>
                      </a:lnTo>
                      <a:lnTo>
                        <a:pt x="1556" y="633"/>
                      </a:lnTo>
                      <a:lnTo>
                        <a:pt x="1554" y="634"/>
                      </a:lnTo>
                      <a:lnTo>
                        <a:pt x="1553" y="636"/>
                      </a:lnTo>
                      <a:lnTo>
                        <a:pt x="1551" y="636"/>
                      </a:lnTo>
                      <a:lnTo>
                        <a:pt x="1549" y="638"/>
                      </a:lnTo>
                      <a:lnTo>
                        <a:pt x="1544" y="640"/>
                      </a:lnTo>
                      <a:lnTo>
                        <a:pt x="1542" y="641"/>
                      </a:lnTo>
                      <a:lnTo>
                        <a:pt x="1539" y="640"/>
                      </a:lnTo>
                      <a:lnTo>
                        <a:pt x="1544" y="634"/>
                      </a:lnTo>
                      <a:lnTo>
                        <a:pt x="1546" y="633"/>
                      </a:lnTo>
                      <a:lnTo>
                        <a:pt x="1544" y="629"/>
                      </a:lnTo>
                      <a:lnTo>
                        <a:pt x="1540" y="629"/>
                      </a:lnTo>
                      <a:lnTo>
                        <a:pt x="1535" y="631"/>
                      </a:lnTo>
                      <a:lnTo>
                        <a:pt x="1530" y="631"/>
                      </a:lnTo>
                      <a:lnTo>
                        <a:pt x="1526" y="633"/>
                      </a:lnTo>
                      <a:lnTo>
                        <a:pt x="1525" y="634"/>
                      </a:lnTo>
                      <a:lnTo>
                        <a:pt x="1523" y="636"/>
                      </a:lnTo>
                      <a:lnTo>
                        <a:pt x="1521" y="636"/>
                      </a:lnTo>
                      <a:lnTo>
                        <a:pt x="1519" y="638"/>
                      </a:lnTo>
                      <a:lnTo>
                        <a:pt x="1518" y="636"/>
                      </a:lnTo>
                      <a:lnTo>
                        <a:pt x="1518" y="636"/>
                      </a:lnTo>
                      <a:lnTo>
                        <a:pt x="1519" y="634"/>
                      </a:lnTo>
                      <a:lnTo>
                        <a:pt x="1525" y="631"/>
                      </a:lnTo>
                      <a:lnTo>
                        <a:pt x="1528" y="629"/>
                      </a:lnTo>
                      <a:lnTo>
                        <a:pt x="1533" y="628"/>
                      </a:lnTo>
                      <a:lnTo>
                        <a:pt x="1540" y="626"/>
                      </a:lnTo>
                      <a:lnTo>
                        <a:pt x="1544" y="626"/>
                      </a:lnTo>
                      <a:lnTo>
                        <a:pt x="1549" y="624"/>
                      </a:lnTo>
                      <a:lnTo>
                        <a:pt x="1551" y="621"/>
                      </a:lnTo>
                      <a:lnTo>
                        <a:pt x="1553" y="617"/>
                      </a:lnTo>
                      <a:lnTo>
                        <a:pt x="1553" y="615"/>
                      </a:lnTo>
                      <a:lnTo>
                        <a:pt x="1549" y="614"/>
                      </a:lnTo>
                      <a:lnTo>
                        <a:pt x="1540" y="610"/>
                      </a:lnTo>
                      <a:lnTo>
                        <a:pt x="1533" y="608"/>
                      </a:lnTo>
                      <a:lnTo>
                        <a:pt x="1521" y="607"/>
                      </a:lnTo>
                      <a:lnTo>
                        <a:pt x="1518" y="607"/>
                      </a:lnTo>
                      <a:lnTo>
                        <a:pt x="1514" y="607"/>
                      </a:lnTo>
                      <a:lnTo>
                        <a:pt x="1509" y="608"/>
                      </a:lnTo>
                      <a:lnTo>
                        <a:pt x="1504" y="610"/>
                      </a:lnTo>
                      <a:lnTo>
                        <a:pt x="1500" y="612"/>
                      </a:lnTo>
                      <a:lnTo>
                        <a:pt x="1497" y="615"/>
                      </a:lnTo>
                      <a:lnTo>
                        <a:pt x="1495" y="621"/>
                      </a:lnTo>
                      <a:lnTo>
                        <a:pt x="1490" y="629"/>
                      </a:lnTo>
                      <a:lnTo>
                        <a:pt x="1488" y="633"/>
                      </a:lnTo>
                      <a:lnTo>
                        <a:pt x="1490" y="624"/>
                      </a:lnTo>
                      <a:lnTo>
                        <a:pt x="1492" y="619"/>
                      </a:lnTo>
                      <a:lnTo>
                        <a:pt x="1488" y="617"/>
                      </a:lnTo>
                      <a:lnTo>
                        <a:pt x="1486" y="617"/>
                      </a:lnTo>
                      <a:lnTo>
                        <a:pt x="1483" y="621"/>
                      </a:lnTo>
                      <a:lnTo>
                        <a:pt x="1481" y="622"/>
                      </a:lnTo>
                      <a:lnTo>
                        <a:pt x="1478" y="621"/>
                      </a:lnTo>
                      <a:lnTo>
                        <a:pt x="1479" y="621"/>
                      </a:lnTo>
                      <a:lnTo>
                        <a:pt x="1485" y="617"/>
                      </a:lnTo>
                      <a:lnTo>
                        <a:pt x="1486" y="615"/>
                      </a:lnTo>
                      <a:lnTo>
                        <a:pt x="1488" y="614"/>
                      </a:lnTo>
                      <a:lnTo>
                        <a:pt x="1493" y="614"/>
                      </a:lnTo>
                      <a:lnTo>
                        <a:pt x="1497" y="612"/>
                      </a:lnTo>
                      <a:lnTo>
                        <a:pt x="1500" y="608"/>
                      </a:lnTo>
                      <a:lnTo>
                        <a:pt x="1504" y="603"/>
                      </a:lnTo>
                      <a:lnTo>
                        <a:pt x="1506" y="600"/>
                      </a:lnTo>
                      <a:lnTo>
                        <a:pt x="1500" y="596"/>
                      </a:lnTo>
                      <a:lnTo>
                        <a:pt x="1499" y="596"/>
                      </a:lnTo>
                      <a:lnTo>
                        <a:pt x="1497" y="598"/>
                      </a:lnTo>
                      <a:lnTo>
                        <a:pt x="1495" y="600"/>
                      </a:lnTo>
                      <a:lnTo>
                        <a:pt x="1493" y="600"/>
                      </a:lnTo>
                      <a:lnTo>
                        <a:pt x="1490" y="601"/>
                      </a:lnTo>
                      <a:lnTo>
                        <a:pt x="1486" y="600"/>
                      </a:lnTo>
                      <a:lnTo>
                        <a:pt x="1485" y="598"/>
                      </a:lnTo>
                      <a:lnTo>
                        <a:pt x="1481" y="598"/>
                      </a:lnTo>
                      <a:lnTo>
                        <a:pt x="1478" y="598"/>
                      </a:lnTo>
                      <a:lnTo>
                        <a:pt x="1476" y="600"/>
                      </a:lnTo>
                      <a:lnTo>
                        <a:pt x="1474" y="601"/>
                      </a:lnTo>
                      <a:lnTo>
                        <a:pt x="1469" y="605"/>
                      </a:lnTo>
                      <a:lnTo>
                        <a:pt x="1467" y="605"/>
                      </a:lnTo>
                      <a:lnTo>
                        <a:pt x="1465" y="607"/>
                      </a:lnTo>
                      <a:lnTo>
                        <a:pt x="1462" y="607"/>
                      </a:lnTo>
                      <a:lnTo>
                        <a:pt x="1476" y="598"/>
                      </a:lnTo>
                      <a:lnTo>
                        <a:pt x="1478" y="596"/>
                      </a:lnTo>
                      <a:lnTo>
                        <a:pt x="1483" y="596"/>
                      </a:lnTo>
                      <a:lnTo>
                        <a:pt x="1486" y="596"/>
                      </a:lnTo>
                      <a:lnTo>
                        <a:pt x="1490" y="594"/>
                      </a:lnTo>
                      <a:lnTo>
                        <a:pt x="1492" y="593"/>
                      </a:lnTo>
                      <a:lnTo>
                        <a:pt x="1493" y="589"/>
                      </a:lnTo>
                      <a:lnTo>
                        <a:pt x="1492" y="587"/>
                      </a:lnTo>
                      <a:lnTo>
                        <a:pt x="1490" y="586"/>
                      </a:lnTo>
                      <a:lnTo>
                        <a:pt x="1488" y="584"/>
                      </a:lnTo>
                      <a:lnTo>
                        <a:pt x="1486" y="582"/>
                      </a:lnTo>
                      <a:lnTo>
                        <a:pt x="1479" y="579"/>
                      </a:lnTo>
                      <a:lnTo>
                        <a:pt x="1458" y="575"/>
                      </a:lnTo>
                      <a:lnTo>
                        <a:pt x="1455" y="575"/>
                      </a:lnTo>
                      <a:lnTo>
                        <a:pt x="1453" y="577"/>
                      </a:lnTo>
                      <a:lnTo>
                        <a:pt x="1450" y="579"/>
                      </a:lnTo>
                      <a:lnTo>
                        <a:pt x="1448" y="582"/>
                      </a:lnTo>
                      <a:lnTo>
                        <a:pt x="1448" y="584"/>
                      </a:lnTo>
                      <a:lnTo>
                        <a:pt x="1450" y="586"/>
                      </a:lnTo>
                      <a:lnTo>
                        <a:pt x="1450" y="589"/>
                      </a:lnTo>
                      <a:lnTo>
                        <a:pt x="1444" y="584"/>
                      </a:lnTo>
                      <a:lnTo>
                        <a:pt x="1444" y="584"/>
                      </a:lnTo>
                      <a:lnTo>
                        <a:pt x="1443" y="582"/>
                      </a:lnTo>
                      <a:lnTo>
                        <a:pt x="1443" y="580"/>
                      </a:lnTo>
                      <a:lnTo>
                        <a:pt x="1441" y="579"/>
                      </a:lnTo>
                      <a:lnTo>
                        <a:pt x="1439" y="579"/>
                      </a:lnTo>
                      <a:lnTo>
                        <a:pt x="1437" y="579"/>
                      </a:lnTo>
                      <a:lnTo>
                        <a:pt x="1437" y="579"/>
                      </a:lnTo>
                      <a:lnTo>
                        <a:pt x="1432" y="584"/>
                      </a:lnTo>
                      <a:lnTo>
                        <a:pt x="1430" y="584"/>
                      </a:lnTo>
                      <a:lnTo>
                        <a:pt x="1429" y="584"/>
                      </a:lnTo>
                      <a:lnTo>
                        <a:pt x="1434" y="579"/>
                      </a:lnTo>
                      <a:lnTo>
                        <a:pt x="1437" y="575"/>
                      </a:lnTo>
                      <a:lnTo>
                        <a:pt x="1439" y="573"/>
                      </a:lnTo>
                      <a:lnTo>
                        <a:pt x="1437" y="572"/>
                      </a:lnTo>
                      <a:lnTo>
                        <a:pt x="1436" y="572"/>
                      </a:lnTo>
                      <a:lnTo>
                        <a:pt x="1430" y="575"/>
                      </a:lnTo>
                      <a:lnTo>
                        <a:pt x="1423" y="575"/>
                      </a:lnTo>
                      <a:lnTo>
                        <a:pt x="1422" y="577"/>
                      </a:lnTo>
                      <a:lnTo>
                        <a:pt x="1418" y="580"/>
                      </a:lnTo>
                      <a:lnTo>
                        <a:pt x="1416" y="587"/>
                      </a:lnTo>
                      <a:lnTo>
                        <a:pt x="1415" y="591"/>
                      </a:lnTo>
                      <a:lnTo>
                        <a:pt x="1411" y="591"/>
                      </a:lnTo>
                      <a:lnTo>
                        <a:pt x="1413" y="589"/>
                      </a:lnTo>
                      <a:lnTo>
                        <a:pt x="1413" y="587"/>
                      </a:lnTo>
                      <a:lnTo>
                        <a:pt x="1415" y="584"/>
                      </a:lnTo>
                      <a:lnTo>
                        <a:pt x="1415" y="580"/>
                      </a:lnTo>
                      <a:lnTo>
                        <a:pt x="1418" y="575"/>
                      </a:lnTo>
                      <a:lnTo>
                        <a:pt x="1411" y="575"/>
                      </a:lnTo>
                      <a:lnTo>
                        <a:pt x="1409" y="575"/>
                      </a:lnTo>
                      <a:lnTo>
                        <a:pt x="1408" y="573"/>
                      </a:lnTo>
                      <a:lnTo>
                        <a:pt x="1416" y="572"/>
                      </a:lnTo>
                      <a:lnTo>
                        <a:pt x="1422" y="570"/>
                      </a:lnTo>
                      <a:lnTo>
                        <a:pt x="1425" y="568"/>
                      </a:lnTo>
                      <a:lnTo>
                        <a:pt x="1429" y="565"/>
                      </a:lnTo>
                      <a:lnTo>
                        <a:pt x="1427" y="563"/>
                      </a:lnTo>
                      <a:lnTo>
                        <a:pt x="1425" y="561"/>
                      </a:lnTo>
                      <a:lnTo>
                        <a:pt x="1422" y="559"/>
                      </a:lnTo>
                      <a:lnTo>
                        <a:pt x="1416" y="559"/>
                      </a:lnTo>
                      <a:lnTo>
                        <a:pt x="1413" y="559"/>
                      </a:lnTo>
                      <a:lnTo>
                        <a:pt x="1408" y="559"/>
                      </a:lnTo>
                      <a:lnTo>
                        <a:pt x="1404" y="563"/>
                      </a:lnTo>
                      <a:lnTo>
                        <a:pt x="1401" y="565"/>
                      </a:lnTo>
                      <a:lnTo>
                        <a:pt x="1396" y="572"/>
                      </a:lnTo>
                      <a:lnTo>
                        <a:pt x="1392" y="573"/>
                      </a:lnTo>
                      <a:lnTo>
                        <a:pt x="1397" y="566"/>
                      </a:lnTo>
                      <a:lnTo>
                        <a:pt x="1408" y="558"/>
                      </a:lnTo>
                      <a:lnTo>
                        <a:pt x="1409" y="554"/>
                      </a:lnTo>
                      <a:lnTo>
                        <a:pt x="1409" y="551"/>
                      </a:lnTo>
                      <a:lnTo>
                        <a:pt x="1408" y="545"/>
                      </a:lnTo>
                      <a:lnTo>
                        <a:pt x="1404" y="544"/>
                      </a:lnTo>
                      <a:lnTo>
                        <a:pt x="1401" y="542"/>
                      </a:lnTo>
                      <a:lnTo>
                        <a:pt x="1397" y="540"/>
                      </a:lnTo>
                      <a:lnTo>
                        <a:pt x="1389" y="538"/>
                      </a:lnTo>
                      <a:lnTo>
                        <a:pt x="1383" y="538"/>
                      </a:lnTo>
                      <a:lnTo>
                        <a:pt x="1375" y="535"/>
                      </a:lnTo>
                      <a:lnTo>
                        <a:pt x="1368" y="533"/>
                      </a:lnTo>
                      <a:lnTo>
                        <a:pt x="1357" y="531"/>
                      </a:lnTo>
                      <a:lnTo>
                        <a:pt x="1348" y="535"/>
                      </a:lnTo>
                      <a:lnTo>
                        <a:pt x="1340" y="538"/>
                      </a:lnTo>
                      <a:lnTo>
                        <a:pt x="1338" y="545"/>
                      </a:lnTo>
                      <a:lnTo>
                        <a:pt x="1343" y="549"/>
                      </a:lnTo>
                      <a:lnTo>
                        <a:pt x="1352" y="552"/>
                      </a:lnTo>
                      <a:lnTo>
                        <a:pt x="1357" y="556"/>
                      </a:lnTo>
                      <a:lnTo>
                        <a:pt x="1354" y="556"/>
                      </a:lnTo>
                      <a:lnTo>
                        <a:pt x="1352" y="554"/>
                      </a:lnTo>
                      <a:lnTo>
                        <a:pt x="1348" y="552"/>
                      </a:lnTo>
                      <a:lnTo>
                        <a:pt x="1345" y="552"/>
                      </a:lnTo>
                      <a:lnTo>
                        <a:pt x="1343" y="552"/>
                      </a:lnTo>
                      <a:lnTo>
                        <a:pt x="1341" y="552"/>
                      </a:lnTo>
                      <a:lnTo>
                        <a:pt x="1340" y="552"/>
                      </a:lnTo>
                      <a:lnTo>
                        <a:pt x="1338" y="551"/>
                      </a:lnTo>
                      <a:lnTo>
                        <a:pt x="1334" y="549"/>
                      </a:lnTo>
                      <a:lnTo>
                        <a:pt x="1334" y="549"/>
                      </a:lnTo>
                      <a:lnTo>
                        <a:pt x="1331" y="551"/>
                      </a:lnTo>
                      <a:lnTo>
                        <a:pt x="1329" y="552"/>
                      </a:lnTo>
                      <a:lnTo>
                        <a:pt x="1329" y="556"/>
                      </a:lnTo>
                      <a:lnTo>
                        <a:pt x="1329" y="559"/>
                      </a:lnTo>
                      <a:lnTo>
                        <a:pt x="1329" y="561"/>
                      </a:lnTo>
                      <a:lnTo>
                        <a:pt x="1334" y="565"/>
                      </a:lnTo>
                      <a:lnTo>
                        <a:pt x="1334" y="566"/>
                      </a:lnTo>
                      <a:lnTo>
                        <a:pt x="1333" y="566"/>
                      </a:lnTo>
                      <a:lnTo>
                        <a:pt x="1331" y="565"/>
                      </a:lnTo>
                      <a:lnTo>
                        <a:pt x="1329" y="565"/>
                      </a:lnTo>
                      <a:lnTo>
                        <a:pt x="1327" y="563"/>
                      </a:lnTo>
                      <a:lnTo>
                        <a:pt x="1326" y="561"/>
                      </a:lnTo>
                      <a:lnTo>
                        <a:pt x="1326" y="559"/>
                      </a:lnTo>
                      <a:lnTo>
                        <a:pt x="1326" y="551"/>
                      </a:lnTo>
                      <a:lnTo>
                        <a:pt x="1324" y="551"/>
                      </a:lnTo>
                      <a:lnTo>
                        <a:pt x="1322" y="549"/>
                      </a:lnTo>
                      <a:lnTo>
                        <a:pt x="1320" y="549"/>
                      </a:lnTo>
                      <a:lnTo>
                        <a:pt x="1319" y="549"/>
                      </a:lnTo>
                      <a:lnTo>
                        <a:pt x="1319" y="549"/>
                      </a:lnTo>
                      <a:lnTo>
                        <a:pt x="1317" y="549"/>
                      </a:lnTo>
                      <a:lnTo>
                        <a:pt x="1313" y="549"/>
                      </a:lnTo>
                      <a:lnTo>
                        <a:pt x="1308" y="545"/>
                      </a:lnTo>
                      <a:lnTo>
                        <a:pt x="1306" y="545"/>
                      </a:lnTo>
                      <a:lnTo>
                        <a:pt x="1303" y="547"/>
                      </a:lnTo>
                      <a:lnTo>
                        <a:pt x="1303" y="551"/>
                      </a:lnTo>
                      <a:lnTo>
                        <a:pt x="1305" y="552"/>
                      </a:lnTo>
                      <a:lnTo>
                        <a:pt x="1306" y="556"/>
                      </a:lnTo>
                      <a:lnTo>
                        <a:pt x="1301" y="556"/>
                      </a:lnTo>
                      <a:lnTo>
                        <a:pt x="1298" y="556"/>
                      </a:lnTo>
                      <a:lnTo>
                        <a:pt x="1296" y="558"/>
                      </a:lnTo>
                      <a:lnTo>
                        <a:pt x="1291" y="563"/>
                      </a:lnTo>
                      <a:lnTo>
                        <a:pt x="1287" y="565"/>
                      </a:lnTo>
                      <a:lnTo>
                        <a:pt x="1284" y="566"/>
                      </a:lnTo>
                      <a:lnTo>
                        <a:pt x="1285" y="561"/>
                      </a:lnTo>
                      <a:lnTo>
                        <a:pt x="1285" y="559"/>
                      </a:lnTo>
                      <a:lnTo>
                        <a:pt x="1289" y="559"/>
                      </a:lnTo>
                      <a:lnTo>
                        <a:pt x="1287" y="556"/>
                      </a:lnTo>
                      <a:lnTo>
                        <a:pt x="1285" y="556"/>
                      </a:lnTo>
                      <a:lnTo>
                        <a:pt x="1285" y="554"/>
                      </a:lnTo>
                      <a:lnTo>
                        <a:pt x="1285" y="552"/>
                      </a:lnTo>
                      <a:lnTo>
                        <a:pt x="1289" y="551"/>
                      </a:lnTo>
                      <a:lnTo>
                        <a:pt x="1291" y="549"/>
                      </a:lnTo>
                      <a:lnTo>
                        <a:pt x="1291" y="547"/>
                      </a:lnTo>
                      <a:lnTo>
                        <a:pt x="1289" y="545"/>
                      </a:lnTo>
                      <a:lnTo>
                        <a:pt x="1285" y="547"/>
                      </a:lnTo>
                      <a:lnTo>
                        <a:pt x="1279" y="552"/>
                      </a:lnTo>
                      <a:lnTo>
                        <a:pt x="1280" y="549"/>
                      </a:lnTo>
                      <a:lnTo>
                        <a:pt x="1284" y="545"/>
                      </a:lnTo>
                      <a:lnTo>
                        <a:pt x="1296" y="535"/>
                      </a:lnTo>
                      <a:lnTo>
                        <a:pt x="1298" y="533"/>
                      </a:lnTo>
                      <a:lnTo>
                        <a:pt x="1298" y="531"/>
                      </a:lnTo>
                      <a:lnTo>
                        <a:pt x="1298" y="531"/>
                      </a:lnTo>
                      <a:lnTo>
                        <a:pt x="1298" y="530"/>
                      </a:lnTo>
                      <a:lnTo>
                        <a:pt x="1296" y="530"/>
                      </a:lnTo>
                      <a:lnTo>
                        <a:pt x="1292" y="524"/>
                      </a:lnTo>
                      <a:lnTo>
                        <a:pt x="1292" y="516"/>
                      </a:lnTo>
                      <a:lnTo>
                        <a:pt x="1291" y="512"/>
                      </a:lnTo>
                      <a:lnTo>
                        <a:pt x="1289" y="510"/>
                      </a:lnTo>
                      <a:lnTo>
                        <a:pt x="1287" y="510"/>
                      </a:lnTo>
                      <a:lnTo>
                        <a:pt x="1285" y="509"/>
                      </a:lnTo>
                      <a:lnTo>
                        <a:pt x="1284" y="509"/>
                      </a:lnTo>
                      <a:lnTo>
                        <a:pt x="1282" y="507"/>
                      </a:lnTo>
                      <a:lnTo>
                        <a:pt x="1280" y="505"/>
                      </a:lnTo>
                      <a:lnTo>
                        <a:pt x="1277" y="496"/>
                      </a:lnTo>
                      <a:lnTo>
                        <a:pt x="1275" y="493"/>
                      </a:lnTo>
                      <a:lnTo>
                        <a:pt x="1273" y="491"/>
                      </a:lnTo>
                      <a:lnTo>
                        <a:pt x="1268" y="489"/>
                      </a:lnTo>
                      <a:lnTo>
                        <a:pt x="1263" y="488"/>
                      </a:lnTo>
                      <a:lnTo>
                        <a:pt x="1258" y="488"/>
                      </a:lnTo>
                      <a:lnTo>
                        <a:pt x="1249" y="488"/>
                      </a:lnTo>
                      <a:lnTo>
                        <a:pt x="1244" y="489"/>
                      </a:lnTo>
                      <a:lnTo>
                        <a:pt x="1228" y="493"/>
                      </a:lnTo>
                      <a:lnTo>
                        <a:pt x="1223" y="495"/>
                      </a:lnTo>
                      <a:lnTo>
                        <a:pt x="1221" y="496"/>
                      </a:lnTo>
                      <a:lnTo>
                        <a:pt x="1224" y="500"/>
                      </a:lnTo>
                      <a:lnTo>
                        <a:pt x="1214" y="498"/>
                      </a:lnTo>
                      <a:lnTo>
                        <a:pt x="1205" y="500"/>
                      </a:lnTo>
                      <a:lnTo>
                        <a:pt x="1196" y="503"/>
                      </a:lnTo>
                      <a:lnTo>
                        <a:pt x="1191" y="512"/>
                      </a:lnTo>
                      <a:lnTo>
                        <a:pt x="1189" y="516"/>
                      </a:lnTo>
                      <a:lnTo>
                        <a:pt x="1189" y="517"/>
                      </a:lnTo>
                      <a:lnTo>
                        <a:pt x="1193" y="519"/>
                      </a:lnTo>
                      <a:lnTo>
                        <a:pt x="1207" y="524"/>
                      </a:lnTo>
                      <a:lnTo>
                        <a:pt x="1210" y="526"/>
                      </a:lnTo>
                      <a:lnTo>
                        <a:pt x="1214" y="530"/>
                      </a:lnTo>
                      <a:lnTo>
                        <a:pt x="1205" y="526"/>
                      </a:lnTo>
                      <a:lnTo>
                        <a:pt x="1196" y="523"/>
                      </a:lnTo>
                      <a:lnTo>
                        <a:pt x="1188" y="524"/>
                      </a:lnTo>
                      <a:lnTo>
                        <a:pt x="1184" y="531"/>
                      </a:lnTo>
                      <a:lnTo>
                        <a:pt x="1184" y="535"/>
                      </a:lnTo>
                      <a:lnTo>
                        <a:pt x="1184" y="538"/>
                      </a:lnTo>
                      <a:lnTo>
                        <a:pt x="1186" y="542"/>
                      </a:lnTo>
                      <a:lnTo>
                        <a:pt x="1189" y="545"/>
                      </a:lnTo>
                      <a:lnTo>
                        <a:pt x="1193" y="547"/>
                      </a:lnTo>
                      <a:lnTo>
                        <a:pt x="1196" y="547"/>
                      </a:lnTo>
                      <a:lnTo>
                        <a:pt x="1202" y="547"/>
                      </a:lnTo>
                      <a:lnTo>
                        <a:pt x="1205" y="547"/>
                      </a:lnTo>
                      <a:lnTo>
                        <a:pt x="1203" y="549"/>
                      </a:lnTo>
                      <a:lnTo>
                        <a:pt x="1202" y="551"/>
                      </a:lnTo>
                      <a:lnTo>
                        <a:pt x="1202" y="551"/>
                      </a:lnTo>
                      <a:lnTo>
                        <a:pt x="1203" y="554"/>
                      </a:lnTo>
                      <a:lnTo>
                        <a:pt x="1207" y="556"/>
                      </a:lnTo>
                      <a:lnTo>
                        <a:pt x="1209" y="558"/>
                      </a:lnTo>
                      <a:lnTo>
                        <a:pt x="1210" y="559"/>
                      </a:lnTo>
                      <a:lnTo>
                        <a:pt x="1212" y="561"/>
                      </a:lnTo>
                      <a:lnTo>
                        <a:pt x="1209" y="559"/>
                      </a:lnTo>
                      <a:lnTo>
                        <a:pt x="1203" y="556"/>
                      </a:lnTo>
                      <a:lnTo>
                        <a:pt x="1198" y="554"/>
                      </a:lnTo>
                      <a:lnTo>
                        <a:pt x="1193" y="554"/>
                      </a:lnTo>
                      <a:lnTo>
                        <a:pt x="1189" y="554"/>
                      </a:lnTo>
                      <a:lnTo>
                        <a:pt x="1189" y="556"/>
                      </a:lnTo>
                      <a:lnTo>
                        <a:pt x="1188" y="556"/>
                      </a:lnTo>
                      <a:lnTo>
                        <a:pt x="1186" y="559"/>
                      </a:lnTo>
                      <a:lnTo>
                        <a:pt x="1184" y="559"/>
                      </a:lnTo>
                      <a:lnTo>
                        <a:pt x="1179" y="561"/>
                      </a:lnTo>
                      <a:lnTo>
                        <a:pt x="1177" y="563"/>
                      </a:lnTo>
                      <a:lnTo>
                        <a:pt x="1181" y="565"/>
                      </a:lnTo>
                      <a:lnTo>
                        <a:pt x="1188" y="572"/>
                      </a:lnTo>
                      <a:lnTo>
                        <a:pt x="1189" y="573"/>
                      </a:lnTo>
                      <a:lnTo>
                        <a:pt x="1195" y="575"/>
                      </a:lnTo>
                      <a:lnTo>
                        <a:pt x="1198" y="575"/>
                      </a:lnTo>
                      <a:lnTo>
                        <a:pt x="1202" y="575"/>
                      </a:lnTo>
                      <a:lnTo>
                        <a:pt x="1205" y="579"/>
                      </a:lnTo>
                      <a:lnTo>
                        <a:pt x="1205" y="582"/>
                      </a:lnTo>
                      <a:lnTo>
                        <a:pt x="1205" y="587"/>
                      </a:lnTo>
                      <a:lnTo>
                        <a:pt x="1203" y="593"/>
                      </a:lnTo>
                      <a:lnTo>
                        <a:pt x="1202" y="596"/>
                      </a:lnTo>
                      <a:lnTo>
                        <a:pt x="1200" y="600"/>
                      </a:lnTo>
                      <a:lnTo>
                        <a:pt x="1200" y="600"/>
                      </a:lnTo>
                      <a:lnTo>
                        <a:pt x="1198" y="598"/>
                      </a:lnTo>
                      <a:lnTo>
                        <a:pt x="1196" y="598"/>
                      </a:lnTo>
                      <a:lnTo>
                        <a:pt x="1196" y="596"/>
                      </a:lnTo>
                      <a:lnTo>
                        <a:pt x="1196" y="596"/>
                      </a:lnTo>
                      <a:lnTo>
                        <a:pt x="1198" y="594"/>
                      </a:lnTo>
                      <a:lnTo>
                        <a:pt x="1193" y="594"/>
                      </a:lnTo>
                      <a:lnTo>
                        <a:pt x="1188" y="593"/>
                      </a:lnTo>
                      <a:lnTo>
                        <a:pt x="1184" y="594"/>
                      </a:lnTo>
                      <a:lnTo>
                        <a:pt x="1179" y="594"/>
                      </a:lnTo>
                      <a:lnTo>
                        <a:pt x="1172" y="598"/>
                      </a:lnTo>
                      <a:lnTo>
                        <a:pt x="1167" y="600"/>
                      </a:lnTo>
                      <a:lnTo>
                        <a:pt x="1163" y="600"/>
                      </a:lnTo>
                      <a:lnTo>
                        <a:pt x="1177" y="593"/>
                      </a:lnTo>
                      <a:lnTo>
                        <a:pt x="1189" y="591"/>
                      </a:lnTo>
                      <a:lnTo>
                        <a:pt x="1193" y="589"/>
                      </a:lnTo>
                      <a:lnTo>
                        <a:pt x="1196" y="586"/>
                      </a:lnTo>
                      <a:lnTo>
                        <a:pt x="1195" y="584"/>
                      </a:lnTo>
                      <a:lnTo>
                        <a:pt x="1179" y="573"/>
                      </a:lnTo>
                      <a:lnTo>
                        <a:pt x="1175" y="572"/>
                      </a:lnTo>
                      <a:lnTo>
                        <a:pt x="1172" y="568"/>
                      </a:lnTo>
                      <a:lnTo>
                        <a:pt x="1170" y="565"/>
                      </a:lnTo>
                      <a:lnTo>
                        <a:pt x="1170" y="561"/>
                      </a:lnTo>
                      <a:lnTo>
                        <a:pt x="1168" y="556"/>
                      </a:lnTo>
                      <a:lnTo>
                        <a:pt x="1168" y="552"/>
                      </a:lnTo>
                      <a:lnTo>
                        <a:pt x="1168" y="549"/>
                      </a:lnTo>
                      <a:lnTo>
                        <a:pt x="1168" y="545"/>
                      </a:lnTo>
                      <a:lnTo>
                        <a:pt x="1168" y="542"/>
                      </a:lnTo>
                      <a:lnTo>
                        <a:pt x="1167" y="538"/>
                      </a:lnTo>
                      <a:lnTo>
                        <a:pt x="1165" y="537"/>
                      </a:lnTo>
                      <a:lnTo>
                        <a:pt x="1163" y="533"/>
                      </a:lnTo>
                      <a:lnTo>
                        <a:pt x="1162" y="530"/>
                      </a:lnTo>
                      <a:lnTo>
                        <a:pt x="1163" y="526"/>
                      </a:lnTo>
                      <a:lnTo>
                        <a:pt x="1175" y="505"/>
                      </a:lnTo>
                      <a:lnTo>
                        <a:pt x="1179" y="502"/>
                      </a:lnTo>
                      <a:lnTo>
                        <a:pt x="1182" y="498"/>
                      </a:lnTo>
                      <a:lnTo>
                        <a:pt x="1186" y="496"/>
                      </a:lnTo>
                      <a:lnTo>
                        <a:pt x="1193" y="493"/>
                      </a:lnTo>
                      <a:lnTo>
                        <a:pt x="1198" y="488"/>
                      </a:lnTo>
                      <a:lnTo>
                        <a:pt x="1193" y="486"/>
                      </a:lnTo>
                      <a:lnTo>
                        <a:pt x="1184" y="484"/>
                      </a:lnTo>
                      <a:lnTo>
                        <a:pt x="1168" y="484"/>
                      </a:lnTo>
                      <a:lnTo>
                        <a:pt x="1153" y="486"/>
                      </a:lnTo>
                      <a:lnTo>
                        <a:pt x="1144" y="488"/>
                      </a:lnTo>
                      <a:lnTo>
                        <a:pt x="1137" y="489"/>
                      </a:lnTo>
                      <a:lnTo>
                        <a:pt x="1130" y="493"/>
                      </a:lnTo>
                      <a:lnTo>
                        <a:pt x="1123" y="496"/>
                      </a:lnTo>
                      <a:lnTo>
                        <a:pt x="1118" y="500"/>
                      </a:lnTo>
                      <a:lnTo>
                        <a:pt x="1118" y="502"/>
                      </a:lnTo>
                      <a:lnTo>
                        <a:pt x="1116" y="503"/>
                      </a:lnTo>
                      <a:lnTo>
                        <a:pt x="1116" y="505"/>
                      </a:lnTo>
                      <a:lnTo>
                        <a:pt x="1114" y="507"/>
                      </a:lnTo>
                      <a:lnTo>
                        <a:pt x="1111" y="510"/>
                      </a:lnTo>
                      <a:lnTo>
                        <a:pt x="1109" y="510"/>
                      </a:lnTo>
                      <a:lnTo>
                        <a:pt x="1107" y="516"/>
                      </a:lnTo>
                      <a:lnTo>
                        <a:pt x="1107" y="519"/>
                      </a:lnTo>
                      <a:lnTo>
                        <a:pt x="1106" y="523"/>
                      </a:lnTo>
                      <a:lnTo>
                        <a:pt x="1106" y="528"/>
                      </a:lnTo>
                      <a:lnTo>
                        <a:pt x="1095" y="544"/>
                      </a:lnTo>
                      <a:lnTo>
                        <a:pt x="1093" y="552"/>
                      </a:lnTo>
                      <a:lnTo>
                        <a:pt x="1099" y="556"/>
                      </a:lnTo>
                      <a:lnTo>
                        <a:pt x="1097" y="558"/>
                      </a:lnTo>
                      <a:lnTo>
                        <a:pt x="1093" y="561"/>
                      </a:lnTo>
                      <a:lnTo>
                        <a:pt x="1092" y="563"/>
                      </a:lnTo>
                      <a:lnTo>
                        <a:pt x="1090" y="565"/>
                      </a:lnTo>
                      <a:lnTo>
                        <a:pt x="1090" y="568"/>
                      </a:lnTo>
                      <a:lnTo>
                        <a:pt x="1093" y="579"/>
                      </a:lnTo>
                      <a:lnTo>
                        <a:pt x="1095" y="582"/>
                      </a:lnTo>
                      <a:lnTo>
                        <a:pt x="1099" y="584"/>
                      </a:lnTo>
                      <a:lnTo>
                        <a:pt x="1106" y="587"/>
                      </a:lnTo>
                      <a:lnTo>
                        <a:pt x="1111" y="589"/>
                      </a:lnTo>
                      <a:lnTo>
                        <a:pt x="1130" y="591"/>
                      </a:lnTo>
                      <a:lnTo>
                        <a:pt x="1137" y="593"/>
                      </a:lnTo>
                      <a:lnTo>
                        <a:pt x="1151" y="600"/>
                      </a:lnTo>
                      <a:lnTo>
                        <a:pt x="1148" y="601"/>
                      </a:lnTo>
                      <a:lnTo>
                        <a:pt x="1141" y="601"/>
                      </a:lnTo>
                      <a:lnTo>
                        <a:pt x="1134" y="601"/>
                      </a:lnTo>
                      <a:lnTo>
                        <a:pt x="1114" y="598"/>
                      </a:lnTo>
                      <a:lnTo>
                        <a:pt x="1109" y="596"/>
                      </a:lnTo>
                      <a:lnTo>
                        <a:pt x="1102" y="598"/>
                      </a:lnTo>
                      <a:lnTo>
                        <a:pt x="1104" y="600"/>
                      </a:lnTo>
                      <a:lnTo>
                        <a:pt x="1107" y="608"/>
                      </a:lnTo>
                      <a:lnTo>
                        <a:pt x="1109" y="610"/>
                      </a:lnTo>
                      <a:lnTo>
                        <a:pt x="1113" y="615"/>
                      </a:lnTo>
                      <a:lnTo>
                        <a:pt x="1116" y="617"/>
                      </a:lnTo>
                      <a:lnTo>
                        <a:pt x="1120" y="619"/>
                      </a:lnTo>
                      <a:lnTo>
                        <a:pt x="1125" y="621"/>
                      </a:lnTo>
                      <a:lnTo>
                        <a:pt x="1128" y="622"/>
                      </a:lnTo>
                      <a:lnTo>
                        <a:pt x="1132" y="626"/>
                      </a:lnTo>
                      <a:lnTo>
                        <a:pt x="1134" y="628"/>
                      </a:lnTo>
                      <a:lnTo>
                        <a:pt x="1137" y="628"/>
                      </a:lnTo>
                      <a:lnTo>
                        <a:pt x="1139" y="628"/>
                      </a:lnTo>
                      <a:lnTo>
                        <a:pt x="1142" y="626"/>
                      </a:lnTo>
                      <a:lnTo>
                        <a:pt x="1144" y="626"/>
                      </a:lnTo>
                      <a:lnTo>
                        <a:pt x="1146" y="626"/>
                      </a:lnTo>
                      <a:lnTo>
                        <a:pt x="1151" y="626"/>
                      </a:lnTo>
                      <a:lnTo>
                        <a:pt x="1153" y="626"/>
                      </a:lnTo>
                      <a:lnTo>
                        <a:pt x="1153" y="624"/>
                      </a:lnTo>
                      <a:lnTo>
                        <a:pt x="1151" y="622"/>
                      </a:lnTo>
                      <a:lnTo>
                        <a:pt x="1151" y="622"/>
                      </a:lnTo>
                      <a:lnTo>
                        <a:pt x="1153" y="622"/>
                      </a:lnTo>
                      <a:lnTo>
                        <a:pt x="1158" y="622"/>
                      </a:lnTo>
                      <a:lnTo>
                        <a:pt x="1160" y="622"/>
                      </a:lnTo>
                      <a:lnTo>
                        <a:pt x="1162" y="622"/>
                      </a:lnTo>
                      <a:lnTo>
                        <a:pt x="1163" y="622"/>
                      </a:lnTo>
                      <a:lnTo>
                        <a:pt x="1168" y="621"/>
                      </a:lnTo>
                      <a:lnTo>
                        <a:pt x="1165" y="628"/>
                      </a:lnTo>
                      <a:lnTo>
                        <a:pt x="1170" y="633"/>
                      </a:lnTo>
                      <a:lnTo>
                        <a:pt x="1177" y="636"/>
                      </a:lnTo>
                      <a:lnTo>
                        <a:pt x="1184" y="636"/>
                      </a:lnTo>
                      <a:lnTo>
                        <a:pt x="1191" y="634"/>
                      </a:lnTo>
                      <a:lnTo>
                        <a:pt x="1200" y="636"/>
                      </a:lnTo>
                      <a:lnTo>
                        <a:pt x="1216" y="640"/>
                      </a:lnTo>
                      <a:lnTo>
                        <a:pt x="1223" y="640"/>
                      </a:lnTo>
                      <a:lnTo>
                        <a:pt x="1230" y="640"/>
                      </a:lnTo>
                      <a:lnTo>
                        <a:pt x="1238" y="640"/>
                      </a:lnTo>
                      <a:lnTo>
                        <a:pt x="1245" y="641"/>
                      </a:lnTo>
                      <a:lnTo>
                        <a:pt x="1252" y="645"/>
                      </a:lnTo>
                      <a:lnTo>
                        <a:pt x="1256" y="645"/>
                      </a:lnTo>
                      <a:lnTo>
                        <a:pt x="1261" y="645"/>
                      </a:lnTo>
                      <a:lnTo>
                        <a:pt x="1268" y="641"/>
                      </a:lnTo>
                      <a:lnTo>
                        <a:pt x="1272" y="641"/>
                      </a:lnTo>
                      <a:lnTo>
                        <a:pt x="1275" y="643"/>
                      </a:lnTo>
                      <a:lnTo>
                        <a:pt x="1279" y="645"/>
                      </a:lnTo>
                      <a:lnTo>
                        <a:pt x="1284" y="647"/>
                      </a:lnTo>
                      <a:lnTo>
                        <a:pt x="1285" y="648"/>
                      </a:lnTo>
                      <a:lnTo>
                        <a:pt x="1284" y="643"/>
                      </a:lnTo>
                      <a:lnTo>
                        <a:pt x="1280" y="641"/>
                      </a:lnTo>
                      <a:lnTo>
                        <a:pt x="1273" y="636"/>
                      </a:lnTo>
                      <a:lnTo>
                        <a:pt x="1270" y="634"/>
                      </a:lnTo>
                      <a:lnTo>
                        <a:pt x="1273" y="634"/>
                      </a:lnTo>
                      <a:lnTo>
                        <a:pt x="1279" y="634"/>
                      </a:lnTo>
                      <a:lnTo>
                        <a:pt x="1313" y="643"/>
                      </a:lnTo>
                      <a:lnTo>
                        <a:pt x="1319" y="643"/>
                      </a:lnTo>
                      <a:lnTo>
                        <a:pt x="1324" y="641"/>
                      </a:lnTo>
                      <a:lnTo>
                        <a:pt x="1327" y="640"/>
                      </a:lnTo>
                      <a:lnTo>
                        <a:pt x="1329" y="636"/>
                      </a:lnTo>
                      <a:lnTo>
                        <a:pt x="1331" y="633"/>
                      </a:lnTo>
                      <a:lnTo>
                        <a:pt x="1329" y="629"/>
                      </a:lnTo>
                      <a:lnTo>
                        <a:pt x="1326" y="626"/>
                      </a:lnTo>
                      <a:lnTo>
                        <a:pt x="1322" y="624"/>
                      </a:lnTo>
                      <a:lnTo>
                        <a:pt x="1319" y="622"/>
                      </a:lnTo>
                      <a:lnTo>
                        <a:pt x="1319" y="621"/>
                      </a:lnTo>
                      <a:lnTo>
                        <a:pt x="1319" y="619"/>
                      </a:lnTo>
                      <a:lnTo>
                        <a:pt x="1320" y="617"/>
                      </a:lnTo>
                      <a:lnTo>
                        <a:pt x="1322" y="615"/>
                      </a:lnTo>
                      <a:lnTo>
                        <a:pt x="1324" y="615"/>
                      </a:lnTo>
                      <a:lnTo>
                        <a:pt x="1326" y="615"/>
                      </a:lnTo>
                      <a:lnTo>
                        <a:pt x="1327" y="617"/>
                      </a:lnTo>
                      <a:lnTo>
                        <a:pt x="1329" y="621"/>
                      </a:lnTo>
                      <a:lnTo>
                        <a:pt x="1333" y="622"/>
                      </a:lnTo>
                      <a:lnTo>
                        <a:pt x="1336" y="626"/>
                      </a:lnTo>
                      <a:lnTo>
                        <a:pt x="1340" y="628"/>
                      </a:lnTo>
                      <a:lnTo>
                        <a:pt x="1341" y="629"/>
                      </a:lnTo>
                      <a:lnTo>
                        <a:pt x="1347" y="629"/>
                      </a:lnTo>
                      <a:lnTo>
                        <a:pt x="1350" y="629"/>
                      </a:lnTo>
                      <a:lnTo>
                        <a:pt x="1352" y="629"/>
                      </a:lnTo>
                      <a:lnTo>
                        <a:pt x="1354" y="633"/>
                      </a:lnTo>
                      <a:lnTo>
                        <a:pt x="1354" y="641"/>
                      </a:lnTo>
                      <a:lnTo>
                        <a:pt x="1355" y="643"/>
                      </a:lnTo>
                      <a:lnTo>
                        <a:pt x="1357" y="645"/>
                      </a:lnTo>
                      <a:lnTo>
                        <a:pt x="1359" y="645"/>
                      </a:lnTo>
                      <a:lnTo>
                        <a:pt x="1364" y="645"/>
                      </a:lnTo>
                      <a:lnTo>
                        <a:pt x="1366" y="645"/>
                      </a:lnTo>
                      <a:lnTo>
                        <a:pt x="1368" y="645"/>
                      </a:lnTo>
                      <a:lnTo>
                        <a:pt x="1369" y="647"/>
                      </a:lnTo>
                      <a:lnTo>
                        <a:pt x="1371" y="647"/>
                      </a:lnTo>
                      <a:lnTo>
                        <a:pt x="1371" y="648"/>
                      </a:lnTo>
                      <a:lnTo>
                        <a:pt x="1369" y="650"/>
                      </a:lnTo>
                      <a:lnTo>
                        <a:pt x="1366" y="650"/>
                      </a:lnTo>
                      <a:lnTo>
                        <a:pt x="1368" y="652"/>
                      </a:lnTo>
                      <a:lnTo>
                        <a:pt x="1371" y="652"/>
                      </a:lnTo>
                      <a:lnTo>
                        <a:pt x="1373" y="652"/>
                      </a:lnTo>
                      <a:lnTo>
                        <a:pt x="1376" y="652"/>
                      </a:lnTo>
                      <a:lnTo>
                        <a:pt x="1378" y="652"/>
                      </a:lnTo>
                      <a:lnTo>
                        <a:pt x="1380" y="650"/>
                      </a:lnTo>
                      <a:lnTo>
                        <a:pt x="1382" y="650"/>
                      </a:lnTo>
                      <a:lnTo>
                        <a:pt x="1385" y="650"/>
                      </a:lnTo>
                      <a:lnTo>
                        <a:pt x="1382" y="652"/>
                      </a:lnTo>
                      <a:lnTo>
                        <a:pt x="1380" y="652"/>
                      </a:lnTo>
                      <a:lnTo>
                        <a:pt x="1378" y="654"/>
                      </a:lnTo>
                      <a:lnTo>
                        <a:pt x="1382" y="657"/>
                      </a:lnTo>
                      <a:lnTo>
                        <a:pt x="1383" y="657"/>
                      </a:lnTo>
                      <a:lnTo>
                        <a:pt x="1392" y="659"/>
                      </a:lnTo>
                      <a:lnTo>
                        <a:pt x="1394" y="661"/>
                      </a:lnTo>
                      <a:lnTo>
                        <a:pt x="1397" y="666"/>
                      </a:lnTo>
                      <a:lnTo>
                        <a:pt x="1390" y="668"/>
                      </a:lnTo>
                      <a:lnTo>
                        <a:pt x="1383" y="669"/>
                      </a:lnTo>
                      <a:lnTo>
                        <a:pt x="1378" y="669"/>
                      </a:lnTo>
                      <a:lnTo>
                        <a:pt x="1376" y="675"/>
                      </a:lnTo>
                      <a:lnTo>
                        <a:pt x="1376" y="676"/>
                      </a:lnTo>
                      <a:lnTo>
                        <a:pt x="1376" y="678"/>
                      </a:lnTo>
                      <a:lnTo>
                        <a:pt x="1380" y="680"/>
                      </a:lnTo>
                      <a:lnTo>
                        <a:pt x="1385" y="678"/>
                      </a:lnTo>
                      <a:lnTo>
                        <a:pt x="1399" y="673"/>
                      </a:lnTo>
                      <a:lnTo>
                        <a:pt x="1401" y="671"/>
                      </a:lnTo>
                      <a:lnTo>
                        <a:pt x="1406" y="671"/>
                      </a:lnTo>
                      <a:lnTo>
                        <a:pt x="1408" y="671"/>
                      </a:lnTo>
                      <a:lnTo>
                        <a:pt x="1415" y="668"/>
                      </a:lnTo>
                      <a:lnTo>
                        <a:pt x="1416" y="668"/>
                      </a:lnTo>
                      <a:lnTo>
                        <a:pt x="1418" y="668"/>
                      </a:lnTo>
                      <a:lnTo>
                        <a:pt x="1413" y="671"/>
                      </a:lnTo>
                      <a:lnTo>
                        <a:pt x="1416" y="673"/>
                      </a:lnTo>
                      <a:lnTo>
                        <a:pt x="1415" y="673"/>
                      </a:lnTo>
                      <a:lnTo>
                        <a:pt x="1415" y="675"/>
                      </a:lnTo>
                      <a:lnTo>
                        <a:pt x="1413" y="675"/>
                      </a:lnTo>
                      <a:lnTo>
                        <a:pt x="1415" y="675"/>
                      </a:lnTo>
                      <a:lnTo>
                        <a:pt x="1416" y="675"/>
                      </a:lnTo>
                      <a:lnTo>
                        <a:pt x="1418" y="676"/>
                      </a:lnTo>
                      <a:lnTo>
                        <a:pt x="1418" y="676"/>
                      </a:lnTo>
                      <a:lnTo>
                        <a:pt x="1422" y="680"/>
                      </a:lnTo>
                      <a:lnTo>
                        <a:pt x="1423" y="682"/>
                      </a:lnTo>
                      <a:lnTo>
                        <a:pt x="1427" y="683"/>
                      </a:lnTo>
                      <a:lnTo>
                        <a:pt x="1430" y="683"/>
                      </a:lnTo>
                      <a:lnTo>
                        <a:pt x="1432" y="682"/>
                      </a:lnTo>
                      <a:lnTo>
                        <a:pt x="1430" y="678"/>
                      </a:lnTo>
                      <a:lnTo>
                        <a:pt x="1434" y="678"/>
                      </a:lnTo>
                      <a:lnTo>
                        <a:pt x="1436" y="680"/>
                      </a:lnTo>
                      <a:lnTo>
                        <a:pt x="1436" y="682"/>
                      </a:lnTo>
                      <a:lnTo>
                        <a:pt x="1436" y="685"/>
                      </a:lnTo>
                      <a:lnTo>
                        <a:pt x="1437" y="690"/>
                      </a:lnTo>
                      <a:lnTo>
                        <a:pt x="1439" y="690"/>
                      </a:lnTo>
                      <a:lnTo>
                        <a:pt x="1444" y="690"/>
                      </a:lnTo>
                      <a:lnTo>
                        <a:pt x="1448" y="689"/>
                      </a:lnTo>
                      <a:lnTo>
                        <a:pt x="1450" y="694"/>
                      </a:lnTo>
                      <a:lnTo>
                        <a:pt x="1464" y="713"/>
                      </a:lnTo>
                      <a:lnTo>
                        <a:pt x="1469" y="724"/>
                      </a:lnTo>
                      <a:lnTo>
                        <a:pt x="1471" y="727"/>
                      </a:lnTo>
                      <a:lnTo>
                        <a:pt x="1471" y="731"/>
                      </a:lnTo>
                      <a:lnTo>
                        <a:pt x="1469" y="732"/>
                      </a:lnTo>
                      <a:lnTo>
                        <a:pt x="1465" y="734"/>
                      </a:lnTo>
                      <a:lnTo>
                        <a:pt x="1462" y="734"/>
                      </a:lnTo>
                      <a:lnTo>
                        <a:pt x="1458" y="738"/>
                      </a:lnTo>
                      <a:lnTo>
                        <a:pt x="1457" y="739"/>
                      </a:lnTo>
                      <a:lnTo>
                        <a:pt x="1457" y="743"/>
                      </a:lnTo>
                      <a:lnTo>
                        <a:pt x="1455" y="746"/>
                      </a:lnTo>
                      <a:lnTo>
                        <a:pt x="1453" y="748"/>
                      </a:lnTo>
                      <a:lnTo>
                        <a:pt x="1432" y="766"/>
                      </a:lnTo>
                      <a:lnTo>
                        <a:pt x="1425" y="771"/>
                      </a:lnTo>
                      <a:lnTo>
                        <a:pt x="1423" y="776"/>
                      </a:lnTo>
                      <a:lnTo>
                        <a:pt x="1429" y="783"/>
                      </a:lnTo>
                      <a:lnTo>
                        <a:pt x="1434" y="790"/>
                      </a:lnTo>
                      <a:lnTo>
                        <a:pt x="1439" y="795"/>
                      </a:lnTo>
                      <a:lnTo>
                        <a:pt x="1443" y="804"/>
                      </a:lnTo>
                      <a:lnTo>
                        <a:pt x="1439" y="804"/>
                      </a:lnTo>
                      <a:lnTo>
                        <a:pt x="1434" y="804"/>
                      </a:lnTo>
                      <a:lnTo>
                        <a:pt x="1432" y="804"/>
                      </a:lnTo>
                      <a:lnTo>
                        <a:pt x="1429" y="804"/>
                      </a:lnTo>
                      <a:lnTo>
                        <a:pt x="1427" y="806"/>
                      </a:lnTo>
                      <a:lnTo>
                        <a:pt x="1425" y="807"/>
                      </a:lnTo>
                      <a:lnTo>
                        <a:pt x="1423" y="809"/>
                      </a:lnTo>
                      <a:lnTo>
                        <a:pt x="1422" y="809"/>
                      </a:lnTo>
                      <a:lnTo>
                        <a:pt x="1418" y="809"/>
                      </a:lnTo>
                      <a:lnTo>
                        <a:pt x="1416" y="809"/>
                      </a:lnTo>
                      <a:lnTo>
                        <a:pt x="1415" y="809"/>
                      </a:lnTo>
                      <a:lnTo>
                        <a:pt x="1411" y="809"/>
                      </a:lnTo>
                      <a:lnTo>
                        <a:pt x="1411" y="811"/>
                      </a:lnTo>
                      <a:lnTo>
                        <a:pt x="1409" y="813"/>
                      </a:lnTo>
                      <a:lnTo>
                        <a:pt x="1408" y="813"/>
                      </a:lnTo>
                      <a:lnTo>
                        <a:pt x="1402" y="814"/>
                      </a:lnTo>
                      <a:lnTo>
                        <a:pt x="1397" y="813"/>
                      </a:lnTo>
                      <a:lnTo>
                        <a:pt x="1396" y="813"/>
                      </a:lnTo>
                      <a:lnTo>
                        <a:pt x="1399" y="818"/>
                      </a:lnTo>
                      <a:lnTo>
                        <a:pt x="1402" y="821"/>
                      </a:lnTo>
                      <a:lnTo>
                        <a:pt x="1402" y="823"/>
                      </a:lnTo>
                      <a:lnTo>
                        <a:pt x="1404" y="825"/>
                      </a:lnTo>
                      <a:lnTo>
                        <a:pt x="1404" y="827"/>
                      </a:lnTo>
                      <a:lnTo>
                        <a:pt x="1402" y="830"/>
                      </a:lnTo>
                      <a:lnTo>
                        <a:pt x="1402" y="832"/>
                      </a:lnTo>
                      <a:lnTo>
                        <a:pt x="1399" y="830"/>
                      </a:lnTo>
                      <a:lnTo>
                        <a:pt x="1399" y="828"/>
                      </a:lnTo>
                      <a:lnTo>
                        <a:pt x="1401" y="827"/>
                      </a:lnTo>
                      <a:lnTo>
                        <a:pt x="1401" y="825"/>
                      </a:lnTo>
                      <a:lnTo>
                        <a:pt x="1399" y="821"/>
                      </a:lnTo>
                      <a:lnTo>
                        <a:pt x="1397" y="818"/>
                      </a:lnTo>
                      <a:lnTo>
                        <a:pt x="1394" y="816"/>
                      </a:lnTo>
                      <a:lnTo>
                        <a:pt x="1390" y="814"/>
                      </a:lnTo>
                      <a:lnTo>
                        <a:pt x="1383" y="811"/>
                      </a:lnTo>
                      <a:lnTo>
                        <a:pt x="1371" y="807"/>
                      </a:lnTo>
                      <a:lnTo>
                        <a:pt x="1366" y="806"/>
                      </a:lnTo>
                      <a:lnTo>
                        <a:pt x="1364" y="806"/>
                      </a:lnTo>
                      <a:lnTo>
                        <a:pt x="1361" y="806"/>
                      </a:lnTo>
                      <a:lnTo>
                        <a:pt x="1361" y="807"/>
                      </a:lnTo>
                      <a:lnTo>
                        <a:pt x="1359" y="811"/>
                      </a:lnTo>
                      <a:lnTo>
                        <a:pt x="1359" y="813"/>
                      </a:lnTo>
                      <a:lnTo>
                        <a:pt x="1359" y="814"/>
                      </a:lnTo>
                      <a:lnTo>
                        <a:pt x="1361" y="816"/>
                      </a:lnTo>
                      <a:lnTo>
                        <a:pt x="1361" y="816"/>
                      </a:lnTo>
                      <a:lnTo>
                        <a:pt x="1361" y="818"/>
                      </a:lnTo>
                      <a:lnTo>
                        <a:pt x="1359" y="820"/>
                      </a:lnTo>
                      <a:lnTo>
                        <a:pt x="1355" y="820"/>
                      </a:lnTo>
                      <a:lnTo>
                        <a:pt x="1354" y="821"/>
                      </a:lnTo>
                      <a:lnTo>
                        <a:pt x="1352" y="821"/>
                      </a:lnTo>
                      <a:lnTo>
                        <a:pt x="1347" y="827"/>
                      </a:lnTo>
                      <a:lnTo>
                        <a:pt x="1345" y="832"/>
                      </a:lnTo>
                      <a:lnTo>
                        <a:pt x="1343" y="837"/>
                      </a:lnTo>
                      <a:lnTo>
                        <a:pt x="1345" y="842"/>
                      </a:lnTo>
                      <a:lnTo>
                        <a:pt x="1348" y="849"/>
                      </a:lnTo>
                      <a:lnTo>
                        <a:pt x="1354" y="851"/>
                      </a:lnTo>
                      <a:lnTo>
                        <a:pt x="1359" y="853"/>
                      </a:lnTo>
                      <a:lnTo>
                        <a:pt x="1366" y="855"/>
                      </a:lnTo>
                      <a:lnTo>
                        <a:pt x="1371" y="856"/>
                      </a:lnTo>
                      <a:lnTo>
                        <a:pt x="1371" y="856"/>
                      </a:lnTo>
                      <a:lnTo>
                        <a:pt x="1373" y="856"/>
                      </a:lnTo>
                      <a:lnTo>
                        <a:pt x="1375" y="856"/>
                      </a:lnTo>
                      <a:lnTo>
                        <a:pt x="1376" y="855"/>
                      </a:lnTo>
                      <a:lnTo>
                        <a:pt x="1378" y="855"/>
                      </a:lnTo>
                      <a:lnTo>
                        <a:pt x="1389" y="851"/>
                      </a:lnTo>
                      <a:lnTo>
                        <a:pt x="1390" y="851"/>
                      </a:lnTo>
                      <a:lnTo>
                        <a:pt x="1392" y="851"/>
                      </a:lnTo>
                      <a:lnTo>
                        <a:pt x="1394" y="851"/>
                      </a:lnTo>
                      <a:lnTo>
                        <a:pt x="1396" y="851"/>
                      </a:lnTo>
                      <a:lnTo>
                        <a:pt x="1396" y="849"/>
                      </a:lnTo>
                      <a:lnTo>
                        <a:pt x="1396" y="848"/>
                      </a:lnTo>
                      <a:lnTo>
                        <a:pt x="1397" y="846"/>
                      </a:lnTo>
                      <a:lnTo>
                        <a:pt x="1399" y="844"/>
                      </a:lnTo>
                      <a:lnTo>
                        <a:pt x="1402" y="844"/>
                      </a:lnTo>
                      <a:lnTo>
                        <a:pt x="1409" y="848"/>
                      </a:lnTo>
                      <a:lnTo>
                        <a:pt x="1413" y="848"/>
                      </a:lnTo>
                      <a:lnTo>
                        <a:pt x="1416" y="848"/>
                      </a:lnTo>
                      <a:lnTo>
                        <a:pt x="1418" y="846"/>
                      </a:lnTo>
                      <a:lnTo>
                        <a:pt x="1418" y="842"/>
                      </a:lnTo>
                      <a:lnTo>
                        <a:pt x="1416" y="839"/>
                      </a:lnTo>
                      <a:lnTo>
                        <a:pt x="1413" y="835"/>
                      </a:lnTo>
                      <a:lnTo>
                        <a:pt x="1413" y="835"/>
                      </a:lnTo>
                      <a:lnTo>
                        <a:pt x="1413" y="835"/>
                      </a:lnTo>
                      <a:lnTo>
                        <a:pt x="1416" y="834"/>
                      </a:lnTo>
                      <a:lnTo>
                        <a:pt x="1418" y="834"/>
                      </a:lnTo>
                      <a:lnTo>
                        <a:pt x="1420" y="834"/>
                      </a:lnTo>
                      <a:lnTo>
                        <a:pt x="1420" y="835"/>
                      </a:lnTo>
                      <a:lnTo>
                        <a:pt x="1422" y="839"/>
                      </a:lnTo>
                      <a:lnTo>
                        <a:pt x="1423" y="841"/>
                      </a:lnTo>
                      <a:lnTo>
                        <a:pt x="1425" y="841"/>
                      </a:lnTo>
                      <a:lnTo>
                        <a:pt x="1427" y="841"/>
                      </a:lnTo>
                      <a:lnTo>
                        <a:pt x="1429" y="841"/>
                      </a:lnTo>
                      <a:lnTo>
                        <a:pt x="1430" y="842"/>
                      </a:lnTo>
                      <a:lnTo>
                        <a:pt x="1430" y="846"/>
                      </a:lnTo>
                      <a:lnTo>
                        <a:pt x="1430" y="848"/>
                      </a:lnTo>
                      <a:lnTo>
                        <a:pt x="1432" y="849"/>
                      </a:lnTo>
                      <a:lnTo>
                        <a:pt x="1434" y="848"/>
                      </a:lnTo>
                      <a:lnTo>
                        <a:pt x="1434" y="844"/>
                      </a:lnTo>
                      <a:lnTo>
                        <a:pt x="1436" y="842"/>
                      </a:lnTo>
                      <a:lnTo>
                        <a:pt x="1436" y="842"/>
                      </a:lnTo>
                      <a:lnTo>
                        <a:pt x="1441" y="842"/>
                      </a:lnTo>
                      <a:lnTo>
                        <a:pt x="1441" y="842"/>
                      </a:lnTo>
                      <a:lnTo>
                        <a:pt x="1443" y="842"/>
                      </a:lnTo>
                      <a:lnTo>
                        <a:pt x="1444" y="842"/>
                      </a:lnTo>
                      <a:lnTo>
                        <a:pt x="1446" y="842"/>
                      </a:lnTo>
                      <a:lnTo>
                        <a:pt x="1448" y="842"/>
                      </a:lnTo>
                      <a:lnTo>
                        <a:pt x="1448" y="844"/>
                      </a:lnTo>
                      <a:lnTo>
                        <a:pt x="1446" y="848"/>
                      </a:lnTo>
                      <a:lnTo>
                        <a:pt x="1444" y="849"/>
                      </a:lnTo>
                      <a:lnTo>
                        <a:pt x="1444" y="849"/>
                      </a:lnTo>
                      <a:lnTo>
                        <a:pt x="1444" y="851"/>
                      </a:lnTo>
                      <a:lnTo>
                        <a:pt x="1446" y="851"/>
                      </a:lnTo>
                      <a:lnTo>
                        <a:pt x="1446" y="851"/>
                      </a:lnTo>
                      <a:lnTo>
                        <a:pt x="1448" y="855"/>
                      </a:lnTo>
                      <a:lnTo>
                        <a:pt x="1457" y="862"/>
                      </a:lnTo>
                      <a:lnTo>
                        <a:pt x="1457" y="862"/>
                      </a:lnTo>
                      <a:lnTo>
                        <a:pt x="1460" y="863"/>
                      </a:lnTo>
                      <a:lnTo>
                        <a:pt x="1462" y="865"/>
                      </a:lnTo>
                      <a:lnTo>
                        <a:pt x="1462" y="867"/>
                      </a:lnTo>
                      <a:lnTo>
                        <a:pt x="1462" y="869"/>
                      </a:lnTo>
                      <a:lnTo>
                        <a:pt x="1464" y="870"/>
                      </a:lnTo>
                      <a:lnTo>
                        <a:pt x="1465" y="872"/>
                      </a:lnTo>
                      <a:lnTo>
                        <a:pt x="1467" y="872"/>
                      </a:lnTo>
                      <a:lnTo>
                        <a:pt x="1469" y="870"/>
                      </a:lnTo>
                      <a:lnTo>
                        <a:pt x="1472" y="870"/>
                      </a:lnTo>
                      <a:lnTo>
                        <a:pt x="1471" y="874"/>
                      </a:lnTo>
                      <a:lnTo>
                        <a:pt x="1471" y="876"/>
                      </a:lnTo>
                      <a:lnTo>
                        <a:pt x="1472" y="876"/>
                      </a:lnTo>
                      <a:lnTo>
                        <a:pt x="1476" y="876"/>
                      </a:lnTo>
                      <a:lnTo>
                        <a:pt x="1479" y="877"/>
                      </a:lnTo>
                      <a:lnTo>
                        <a:pt x="1486" y="881"/>
                      </a:lnTo>
                      <a:lnTo>
                        <a:pt x="1488" y="881"/>
                      </a:lnTo>
                      <a:lnTo>
                        <a:pt x="1486" y="884"/>
                      </a:lnTo>
                      <a:lnTo>
                        <a:pt x="1483" y="886"/>
                      </a:lnTo>
                      <a:lnTo>
                        <a:pt x="1479" y="886"/>
                      </a:lnTo>
                      <a:lnTo>
                        <a:pt x="1476" y="888"/>
                      </a:lnTo>
                      <a:lnTo>
                        <a:pt x="1479" y="890"/>
                      </a:lnTo>
                      <a:lnTo>
                        <a:pt x="1483" y="895"/>
                      </a:lnTo>
                      <a:lnTo>
                        <a:pt x="1486" y="897"/>
                      </a:lnTo>
                      <a:lnTo>
                        <a:pt x="1490" y="898"/>
                      </a:lnTo>
                      <a:lnTo>
                        <a:pt x="1492" y="898"/>
                      </a:lnTo>
                      <a:lnTo>
                        <a:pt x="1499" y="897"/>
                      </a:lnTo>
                      <a:lnTo>
                        <a:pt x="1497" y="900"/>
                      </a:lnTo>
                      <a:lnTo>
                        <a:pt x="1495" y="900"/>
                      </a:lnTo>
                      <a:lnTo>
                        <a:pt x="1495" y="902"/>
                      </a:lnTo>
                      <a:lnTo>
                        <a:pt x="1507" y="907"/>
                      </a:lnTo>
                      <a:lnTo>
                        <a:pt x="1513" y="909"/>
                      </a:lnTo>
                      <a:lnTo>
                        <a:pt x="1516" y="909"/>
                      </a:lnTo>
                      <a:lnTo>
                        <a:pt x="1521" y="909"/>
                      </a:lnTo>
                      <a:lnTo>
                        <a:pt x="1525" y="909"/>
                      </a:lnTo>
                      <a:lnTo>
                        <a:pt x="1528" y="911"/>
                      </a:lnTo>
                      <a:lnTo>
                        <a:pt x="1532" y="914"/>
                      </a:lnTo>
                      <a:lnTo>
                        <a:pt x="1533" y="918"/>
                      </a:lnTo>
                      <a:lnTo>
                        <a:pt x="1537" y="919"/>
                      </a:lnTo>
                      <a:lnTo>
                        <a:pt x="1540" y="923"/>
                      </a:lnTo>
                      <a:lnTo>
                        <a:pt x="1549" y="925"/>
                      </a:lnTo>
                      <a:lnTo>
                        <a:pt x="1553" y="926"/>
                      </a:lnTo>
                      <a:lnTo>
                        <a:pt x="1572" y="930"/>
                      </a:lnTo>
                      <a:lnTo>
                        <a:pt x="1596" y="939"/>
                      </a:lnTo>
                      <a:lnTo>
                        <a:pt x="1598" y="939"/>
                      </a:lnTo>
                      <a:lnTo>
                        <a:pt x="1600" y="939"/>
                      </a:lnTo>
                      <a:lnTo>
                        <a:pt x="1602" y="937"/>
                      </a:lnTo>
                      <a:lnTo>
                        <a:pt x="1602" y="935"/>
                      </a:lnTo>
                      <a:lnTo>
                        <a:pt x="1602" y="935"/>
                      </a:lnTo>
                      <a:lnTo>
                        <a:pt x="1602" y="933"/>
                      </a:lnTo>
                      <a:lnTo>
                        <a:pt x="1602" y="932"/>
                      </a:lnTo>
                      <a:lnTo>
                        <a:pt x="1602" y="930"/>
                      </a:lnTo>
                      <a:lnTo>
                        <a:pt x="1603" y="930"/>
                      </a:lnTo>
                      <a:lnTo>
                        <a:pt x="1603" y="928"/>
                      </a:lnTo>
                      <a:lnTo>
                        <a:pt x="1603" y="926"/>
                      </a:lnTo>
                      <a:lnTo>
                        <a:pt x="1603" y="926"/>
                      </a:lnTo>
                      <a:lnTo>
                        <a:pt x="1598" y="925"/>
                      </a:lnTo>
                      <a:lnTo>
                        <a:pt x="1596" y="923"/>
                      </a:lnTo>
                      <a:lnTo>
                        <a:pt x="1595" y="921"/>
                      </a:lnTo>
                      <a:lnTo>
                        <a:pt x="1593" y="918"/>
                      </a:lnTo>
                      <a:lnTo>
                        <a:pt x="1591" y="916"/>
                      </a:lnTo>
                      <a:lnTo>
                        <a:pt x="1589" y="914"/>
                      </a:lnTo>
                      <a:lnTo>
                        <a:pt x="1584" y="912"/>
                      </a:lnTo>
                      <a:lnTo>
                        <a:pt x="1582" y="912"/>
                      </a:lnTo>
                      <a:lnTo>
                        <a:pt x="1572" y="904"/>
                      </a:lnTo>
                      <a:lnTo>
                        <a:pt x="1567" y="902"/>
                      </a:lnTo>
                      <a:lnTo>
                        <a:pt x="1567" y="898"/>
                      </a:lnTo>
                      <a:lnTo>
                        <a:pt x="1565" y="897"/>
                      </a:lnTo>
                      <a:lnTo>
                        <a:pt x="1560" y="897"/>
                      </a:lnTo>
                      <a:lnTo>
                        <a:pt x="1556" y="895"/>
                      </a:lnTo>
                      <a:lnTo>
                        <a:pt x="1544" y="881"/>
                      </a:lnTo>
                      <a:lnTo>
                        <a:pt x="1542" y="877"/>
                      </a:lnTo>
                      <a:lnTo>
                        <a:pt x="1544" y="876"/>
                      </a:lnTo>
                      <a:lnTo>
                        <a:pt x="1547" y="876"/>
                      </a:lnTo>
                      <a:lnTo>
                        <a:pt x="1553" y="877"/>
                      </a:lnTo>
                      <a:lnTo>
                        <a:pt x="1556" y="879"/>
                      </a:lnTo>
                      <a:lnTo>
                        <a:pt x="1563" y="884"/>
                      </a:lnTo>
                      <a:lnTo>
                        <a:pt x="1567" y="886"/>
                      </a:lnTo>
                      <a:lnTo>
                        <a:pt x="1567" y="884"/>
                      </a:lnTo>
                      <a:lnTo>
                        <a:pt x="1565" y="881"/>
                      </a:lnTo>
                      <a:lnTo>
                        <a:pt x="1563" y="876"/>
                      </a:lnTo>
                      <a:lnTo>
                        <a:pt x="1565" y="877"/>
                      </a:lnTo>
                      <a:lnTo>
                        <a:pt x="1575" y="888"/>
                      </a:lnTo>
                      <a:lnTo>
                        <a:pt x="1577" y="890"/>
                      </a:lnTo>
                      <a:lnTo>
                        <a:pt x="1579" y="890"/>
                      </a:lnTo>
                      <a:lnTo>
                        <a:pt x="1581" y="890"/>
                      </a:lnTo>
                      <a:lnTo>
                        <a:pt x="1582" y="891"/>
                      </a:lnTo>
                      <a:lnTo>
                        <a:pt x="1584" y="891"/>
                      </a:lnTo>
                      <a:lnTo>
                        <a:pt x="1588" y="897"/>
                      </a:lnTo>
                      <a:lnTo>
                        <a:pt x="1588" y="898"/>
                      </a:lnTo>
                      <a:lnTo>
                        <a:pt x="1589" y="898"/>
                      </a:lnTo>
                      <a:lnTo>
                        <a:pt x="1591" y="897"/>
                      </a:lnTo>
                      <a:lnTo>
                        <a:pt x="1589" y="893"/>
                      </a:lnTo>
                      <a:lnTo>
                        <a:pt x="1591" y="895"/>
                      </a:lnTo>
                      <a:lnTo>
                        <a:pt x="1593" y="897"/>
                      </a:lnTo>
                      <a:lnTo>
                        <a:pt x="1595" y="898"/>
                      </a:lnTo>
                      <a:lnTo>
                        <a:pt x="1596" y="900"/>
                      </a:lnTo>
                      <a:lnTo>
                        <a:pt x="1598" y="902"/>
                      </a:lnTo>
                      <a:lnTo>
                        <a:pt x="1600" y="902"/>
                      </a:lnTo>
                      <a:lnTo>
                        <a:pt x="1600" y="900"/>
                      </a:lnTo>
                      <a:lnTo>
                        <a:pt x="1598" y="898"/>
                      </a:lnTo>
                      <a:lnTo>
                        <a:pt x="1602" y="900"/>
                      </a:lnTo>
                      <a:lnTo>
                        <a:pt x="1605" y="904"/>
                      </a:lnTo>
                      <a:lnTo>
                        <a:pt x="1607" y="905"/>
                      </a:lnTo>
                      <a:lnTo>
                        <a:pt x="1609" y="905"/>
                      </a:lnTo>
                      <a:lnTo>
                        <a:pt x="1609" y="904"/>
                      </a:lnTo>
                      <a:lnTo>
                        <a:pt x="1609" y="904"/>
                      </a:lnTo>
                      <a:lnTo>
                        <a:pt x="1610" y="904"/>
                      </a:lnTo>
                      <a:lnTo>
                        <a:pt x="1612" y="905"/>
                      </a:lnTo>
                      <a:lnTo>
                        <a:pt x="1616" y="907"/>
                      </a:lnTo>
                      <a:lnTo>
                        <a:pt x="1619" y="912"/>
                      </a:lnTo>
                      <a:lnTo>
                        <a:pt x="1623" y="914"/>
                      </a:lnTo>
                      <a:lnTo>
                        <a:pt x="1624" y="914"/>
                      </a:lnTo>
                      <a:lnTo>
                        <a:pt x="1624" y="911"/>
                      </a:lnTo>
                      <a:lnTo>
                        <a:pt x="1623" y="905"/>
                      </a:lnTo>
                      <a:lnTo>
                        <a:pt x="1623" y="904"/>
                      </a:lnTo>
                      <a:lnTo>
                        <a:pt x="1624" y="904"/>
                      </a:lnTo>
                      <a:lnTo>
                        <a:pt x="1628" y="905"/>
                      </a:lnTo>
                      <a:lnTo>
                        <a:pt x="1630" y="905"/>
                      </a:lnTo>
                      <a:lnTo>
                        <a:pt x="1631" y="904"/>
                      </a:lnTo>
                      <a:lnTo>
                        <a:pt x="1631" y="902"/>
                      </a:lnTo>
                      <a:lnTo>
                        <a:pt x="1626" y="897"/>
                      </a:lnTo>
                      <a:lnTo>
                        <a:pt x="1624" y="895"/>
                      </a:lnTo>
                      <a:lnTo>
                        <a:pt x="1624" y="891"/>
                      </a:lnTo>
                      <a:lnTo>
                        <a:pt x="1624" y="888"/>
                      </a:lnTo>
                      <a:lnTo>
                        <a:pt x="1624" y="886"/>
                      </a:lnTo>
                      <a:lnTo>
                        <a:pt x="1624" y="883"/>
                      </a:lnTo>
                      <a:lnTo>
                        <a:pt x="1623" y="881"/>
                      </a:lnTo>
                      <a:lnTo>
                        <a:pt x="1623" y="877"/>
                      </a:lnTo>
                      <a:lnTo>
                        <a:pt x="1621" y="874"/>
                      </a:lnTo>
                      <a:lnTo>
                        <a:pt x="1624" y="879"/>
                      </a:lnTo>
                      <a:lnTo>
                        <a:pt x="1626" y="881"/>
                      </a:lnTo>
                      <a:lnTo>
                        <a:pt x="1628" y="883"/>
                      </a:lnTo>
                      <a:lnTo>
                        <a:pt x="1630" y="888"/>
                      </a:lnTo>
                      <a:lnTo>
                        <a:pt x="1631" y="891"/>
                      </a:lnTo>
                      <a:lnTo>
                        <a:pt x="1633" y="893"/>
                      </a:lnTo>
                      <a:lnTo>
                        <a:pt x="1636" y="891"/>
                      </a:lnTo>
                      <a:lnTo>
                        <a:pt x="1635" y="879"/>
                      </a:lnTo>
                      <a:lnTo>
                        <a:pt x="1638" y="877"/>
                      </a:lnTo>
                      <a:lnTo>
                        <a:pt x="1635" y="870"/>
                      </a:lnTo>
                      <a:lnTo>
                        <a:pt x="1633" y="869"/>
                      </a:lnTo>
                      <a:lnTo>
                        <a:pt x="1630" y="869"/>
                      </a:lnTo>
                      <a:lnTo>
                        <a:pt x="1631" y="867"/>
                      </a:lnTo>
                      <a:lnTo>
                        <a:pt x="1631" y="867"/>
                      </a:lnTo>
                      <a:lnTo>
                        <a:pt x="1631" y="865"/>
                      </a:lnTo>
                      <a:lnTo>
                        <a:pt x="1630" y="865"/>
                      </a:lnTo>
                      <a:lnTo>
                        <a:pt x="1628" y="863"/>
                      </a:lnTo>
                      <a:lnTo>
                        <a:pt x="1626" y="865"/>
                      </a:lnTo>
                      <a:lnTo>
                        <a:pt x="1624" y="865"/>
                      </a:lnTo>
                      <a:lnTo>
                        <a:pt x="1621" y="863"/>
                      </a:lnTo>
                      <a:lnTo>
                        <a:pt x="1621" y="862"/>
                      </a:lnTo>
                      <a:lnTo>
                        <a:pt x="1619" y="858"/>
                      </a:lnTo>
                      <a:lnTo>
                        <a:pt x="1612" y="853"/>
                      </a:lnTo>
                      <a:lnTo>
                        <a:pt x="1619" y="853"/>
                      </a:lnTo>
                      <a:lnTo>
                        <a:pt x="1623" y="853"/>
                      </a:lnTo>
                      <a:lnTo>
                        <a:pt x="1623" y="849"/>
                      </a:lnTo>
                      <a:lnTo>
                        <a:pt x="1623" y="846"/>
                      </a:lnTo>
                      <a:lnTo>
                        <a:pt x="1621" y="846"/>
                      </a:lnTo>
                      <a:lnTo>
                        <a:pt x="1617" y="846"/>
                      </a:lnTo>
                      <a:lnTo>
                        <a:pt x="1614" y="846"/>
                      </a:lnTo>
                      <a:lnTo>
                        <a:pt x="1616" y="844"/>
                      </a:lnTo>
                      <a:lnTo>
                        <a:pt x="1619" y="842"/>
                      </a:lnTo>
                      <a:lnTo>
                        <a:pt x="1619" y="841"/>
                      </a:lnTo>
                      <a:lnTo>
                        <a:pt x="1619" y="839"/>
                      </a:lnTo>
                      <a:lnTo>
                        <a:pt x="1617" y="837"/>
                      </a:lnTo>
                      <a:lnTo>
                        <a:pt x="1614" y="837"/>
                      </a:lnTo>
                      <a:lnTo>
                        <a:pt x="1614" y="837"/>
                      </a:lnTo>
                      <a:lnTo>
                        <a:pt x="1612" y="835"/>
                      </a:lnTo>
                      <a:lnTo>
                        <a:pt x="1610" y="834"/>
                      </a:lnTo>
                      <a:lnTo>
                        <a:pt x="1610" y="832"/>
                      </a:lnTo>
                      <a:lnTo>
                        <a:pt x="1609" y="832"/>
                      </a:lnTo>
                      <a:lnTo>
                        <a:pt x="1605" y="832"/>
                      </a:lnTo>
                      <a:lnTo>
                        <a:pt x="1603" y="832"/>
                      </a:lnTo>
                      <a:lnTo>
                        <a:pt x="1602" y="834"/>
                      </a:lnTo>
                      <a:lnTo>
                        <a:pt x="1600" y="837"/>
                      </a:lnTo>
                      <a:lnTo>
                        <a:pt x="1598" y="837"/>
                      </a:lnTo>
                      <a:lnTo>
                        <a:pt x="1598" y="835"/>
                      </a:lnTo>
                      <a:lnTo>
                        <a:pt x="1598" y="835"/>
                      </a:lnTo>
                      <a:lnTo>
                        <a:pt x="1598" y="834"/>
                      </a:lnTo>
                      <a:lnTo>
                        <a:pt x="1600" y="834"/>
                      </a:lnTo>
                      <a:lnTo>
                        <a:pt x="1600" y="834"/>
                      </a:lnTo>
                      <a:lnTo>
                        <a:pt x="1598" y="832"/>
                      </a:lnTo>
                      <a:lnTo>
                        <a:pt x="1598" y="832"/>
                      </a:lnTo>
                      <a:lnTo>
                        <a:pt x="1598" y="830"/>
                      </a:lnTo>
                      <a:lnTo>
                        <a:pt x="1596" y="830"/>
                      </a:lnTo>
                      <a:lnTo>
                        <a:pt x="1596" y="828"/>
                      </a:lnTo>
                      <a:lnTo>
                        <a:pt x="1595" y="828"/>
                      </a:lnTo>
                      <a:lnTo>
                        <a:pt x="1593" y="827"/>
                      </a:lnTo>
                      <a:lnTo>
                        <a:pt x="1591" y="827"/>
                      </a:lnTo>
                      <a:lnTo>
                        <a:pt x="1589" y="827"/>
                      </a:lnTo>
                      <a:lnTo>
                        <a:pt x="1589" y="828"/>
                      </a:lnTo>
                      <a:lnTo>
                        <a:pt x="1589" y="834"/>
                      </a:lnTo>
                      <a:lnTo>
                        <a:pt x="1588" y="832"/>
                      </a:lnTo>
                      <a:lnTo>
                        <a:pt x="1588" y="827"/>
                      </a:lnTo>
                      <a:lnTo>
                        <a:pt x="1586" y="823"/>
                      </a:lnTo>
                      <a:lnTo>
                        <a:pt x="1586" y="821"/>
                      </a:lnTo>
                      <a:lnTo>
                        <a:pt x="1584" y="821"/>
                      </a:lnTo>
                      <a:lnTo>
                        <a:pt x="1584" y="821"/>
                      </a:lnTo>
                      <a:lnTo>
                        <a:pt x="1584" y="823"/>
                      </a:lnTo>
                      <a:lnTo>
                        <a:pt x="1584" y="821"/>
                      </a:lnTo>
                      <a:lnTo>
                        <a:pt x="1581" y="816"/>
                      </a:lnTo>
                      <a:lnTo>
                        <a:pt x="1579" y="813"/>
                      </a:lnTo>
                      <a:lnTo>
                        <a:pt x="1575" y="811"/>
                      </a:lnTo>
                      <a:lnTo>
                        <a:pt x="1579" y="807"/>
                      </a:lnTo>
                      <a:lnTo>
                        <a:pt x="1581" y="806"/>
                      </a:lnTo>
                      <a:lnTo>
                        <a:pt x="1577" y="804"/>
                      </a:lnTo>
                      <a:lnTo>
                        <a:pt x="1575" y="800"/>
                      </a:lnTo>
                      <a:lnTo>
                        <a:pt x="1572" y="799"/>
                      </a:lnTo>
                      <a:lnTo>
                        <a:pt x="1568" y="797"/>
                      </a:lnTo>
                      <a:lnTo>
                        <a:pt x="1567" y="799"/>
                      </a:lnTo>
                      <a:lnTo>
                        <a:pt x="1565" y="800"/>
                      </a:lnTo>
                      <a:lnTo>
                        <a:pt x="1563" y="800"/>
                      </a:lnTo>
                      <a:lnTo>
                        <a:pt x="1561" y="800"/>
                      </a:lnTo>
                      <a:lnTo>
                        <a:pt x="1561" y="799"/>
                      </a:lnTo>
                      <a:lnTo>
                        <a:pt x="1563" y="797"/>
                      </a:lnTo>
                      <a:lnTo>
                        <a:pt x="1563" y="794"/>
                      </a:lnTo>
                      <a:lnTo>
                        <a:pt x="1563" y="792"/>
                      </a:lnTo>
                      <a:lnTo>
                        <a:pt x="1563" y="790"/>
                      </a:lnTo>
                      <a:lnTo>
                        <a:pt x="1561" y="790"/>
                      </a:lnTo>
                      <a:lnTo>
                        <a:pt x="1560" y="790"/>
                      </a:lnTo>
                      <a:lnTo>
                        <a:pt x="1558" y="788"/>
                      </a:lnTo>
                      <a:lnTo>
                        <a:pt x="1556" y="787"/>
                      </a:lnTo>
                      <a:lnTo>
                        <a:pt x="1556" y="785"/>
                      </a:lnTo>
                      <a:lnTo>
                        <a:pt x="1556" y="780"/>
                      </a:lnTo>
                      <a:lnTo>
                        <a:pt x="1554" y="776"/>
                      </a:lnTo>
                      <a:lnTo>
                        <a:pt x="1553" y="774"/>
                      </a:lnTo>
                      <a:lnTo>
                        <a:pt x="1549" y="773"/>
                      </a:lnTo>
                      <a:lnTo>
                        <a:pt x="1546" y="771"/>
                      </a:lnTo>
                      <a:lnTo>
                        <a:pt x="1549" y="769"/>
                      </a:lnTo>
                      <a:lnTo>
                        <a:pt x="1553" y="771"/>
                      </a:lnTo>
                      <a:lnTo>
                        <a:pt x="1556" y="773"/>
                      </a:lnTo>
                      <a:lnTo>
                        <a:pt x="1561" y="780"/>
                      </a:lnTo>
                      <a:lnTo>
                        <a:pt x="1565" y="783"/>
                      </a:lnTo>
                      <a:lnTo>
                        <a:pt x="1570" y="785"/>
                      </a:lnTo>
                      <a:lnTo>
                        <a:pt x="1574" y="785"/>
                      </a:lnTo>
                      <a:lnTo>
                        <a:pt x="1577" y="781"/>
                      </a:lnTo>
                      <a:lnTo>
                        <a:pt x="1577" y="778"/>
                      </a:lnTo>
                      <a:lnTo>
                        <a:pt x="1575" y="774"/>
                      </a:lnTo>
                      <a:lnTo>
                        <a:pt x="1568" y="769"/>
                      </a:lnTo>
                      <a:lnTo>
                        <a:pt x="1567" y="766"/>
                      </a:lnTo>
                      <a:lnTo>
                        <a:pt x="1565" y="762"/>
                      </a:lnTo>
                      <a:lnTo>
                        <a:pt x="1563" y="759"/>
                      </a:lnTo>
                      <a:lnTo>
                        <a:pt x="1574" y="766"/>
                      </a:lnTo>
                      <a:lnTo>
                        <a:pt x="1575" y="766"/>
                      </a:lnTo>
                      <a:lnTo>
                        <a:pt x="1579" y="766"/>
                      </a:lnTo>
                      <a:lnTo>
                        <a:pt x="1579" y="762"/>
                      </a:lnTo>
                      <a:lnTo>
                        <a:pt x="1577" y="759"/>
                      </a:lnTo>
                      <a:lnTo>
                        <a:pt x="1575" y="755"/>
                      </a:lnTo>
                      <a:lnTo>
                        <a:pt x="1579" y="757"/>
                      </a:lnTo>
                      <a:lnTo>
                        <a:pt x="1581" y="757"/>
                      </a:lnTo>
                      <a:lnTo>
                        <a:pt x="1582" y="755"/>
                      </a:lnTo>
                      <a:lnTo>
                        <a:pt x="1582" y="753"/>
                      </a:lnTo>
                      <a:lnTo>
                        <a:pt x="1586" y="755"/>
                      </a:lnTo>
                      <a:lnTo>
                        <a:pt x="1589" y="759"/>
                      </a:lnTo>
                      <a:lnTo>
                        <a:pt x="1591" y="764"/>
                      </a:lnTo>
                      <a:lnTo>
                        <a:pt x="1595" y="767"/>
                      </a:lnTo>
                      <a:lnTo>
                        <a:pt x="1598" y="771"/>
                      </a:lnTo>
                      <a:lnTo>
                        <a:pt x="1602" y="773"/>
                      </a:lnTo>
                      <a:lnTo>
                        <a:pt x="1607" y="774"/>
                      </a:lnTo>
                      <a:lnTo>
                        <a:pt x="1610" y="771"/>
                      </a:lnTo>
                      <a:lnTo>
                        <a:pt x="1610" y="771"/>
                      </a:lnTo>
                      <a:lnTo>
                        <a:pt x="1607" y="776"/>
                      </a:lnTo>
                      <a:lnTo>
                        <a:pt x="1607" y="778"/>
                      </a:lnTo>
                      <a:lnTo>
                        <a:pt x="1607" y="781"/>
                      </a:lnTo>
                      <a:lnTo>
                        <a:pt x="1610" y="781"/>
                      </a:lnTo>
                      <a:lnTo>
                        <a:pt x="1612" y="781"/>
                      </a:lnTo>
                      <a:lnTo>
                        <a:pt x="1616" y="781"/>
                      </a:lnTo>
                      <a:lnTo>
                        <a:pt x="1619" y="780"/>
                      </a:lnTo>
                      <a:lnTo>
                        <a:pt x="1621" y="780"/>
                      </a:lnTo>
                      <a:lnTo>
                        <a:pt x="1624" y="778"/>
                      </a:lnTo>
                      <a:lnTo>
                        <a:pt x="1626" y="776"/>
                      </a:lnTo>
                      <a:lnTo>
                        <a:pt x="1628" y="773"/>
                      </a:lnTo>
                      <a:lnTo>
                        <a:pt x="1631" y="767"/>
                      </a:lnTo>
                      <a:lnTo>
                        <a:pt x="1635" y="766"/>
                      </a:lnTo>
                      <a:lnTo>
                        <a:pt x="1636" y="766"/>
                      </a:lnTo>
                      <a:lnTo>
                        <a:pt x="1633" y="769"/>
                      </a:lnTo>
                      <a:lnTo>
                        <a:pt x="1630" y="776"/>
                      </a:lnTo>
                      <a:lnTo>
                        <a:pt x="1628" y="780"/>
                      </a:lnTo>
                      <a:lnTo>
                        <a:pt x="1621" y="785"/>
                      </a:lnTo>
                      <a:lnTo>
                        <a:pt x="1617" y="788"/>
                      </a:lnTo>
                      <a:lnTo>
                        <a:pt x="1617" y="794"/>
                      </a:lnTo>
                      <a:lnTo>
                        <a:pt x="1619" y="795"/>
                      </a:lnTo>
                      <a:lnTo>
                        <a:pt x="1626" y="809"/>
                      </a:lnTo>
                      <a:lnTo>
                        <a:pt x="1628" y="814"/>
                      </a:lnTo>
                      <a:lnTo>
                        <a:pt x="1631" y="818"/>
                      </a:lnTo>
                      <a:lnTo>
                        <a:pt x="1635" y="821"/>
                      </a:lnTo>
                      <a:lnTo>
                        <a:pt x="1636" y="814"/>
                      </a:lnTo>
                      <a:lnTo>
                        <a:pt x="1638" y="811"/>
                      </a:lnTo>
                      <a:lnTo>
                        <a:pt x="1640" y="807"/>
                      </a:lnTo>
                      <a:lnTo>
                        <a:pt x="1640" y="813"/>
                      </a:lnTo>
                      <a:lnTo>
                        <a:pt x="1640" y="816"/>
                      </a:lnTo>
                      <a:lnTo>
                        <a:pt x="1640" y="820"/>
                      </a:lnTo>
                      <a:lnTo>
                        <a:pt x="1643" y="823"/>
                      </a:lnTo>
                      <a:lnTo>
                        <a:pt x="1647" y="820"/>
                      </a:lnTo>
                      <a:lnTo>
                        <a:pt x="1649" y="821"/>
                      </a:lnTo>
                      <a:lnTo>
                        <a:pt x="1656" y="828"/>
                      </a:lnTo>
                      <a:lnTo>
                        <a:pt x="1657" y="825"/>
                      </a:lnTo>
                      <a:lnTo>
                        <a:pt x="1659" y="820"/>
                      </a:lnTo>
                      <a:lnTo>
                        <a:pt x="1659" y="816"/>
                      </a:lnTo>
                      <a:lnTo>
                        <a:pt x="1661" y="802"/>
                      </a:lnTo>
                      <a:lnTo>
                        <a:pt x="1661" y="800"/>
                      </a:lnTo>
                      <a:lnTo>
                        <a:pt x="1659" y="799"/>
                      </a:lnTo>
                      <a:lnTo>
                        <a:pt x="1657" y="799"/>
                      </a:lnTo>
                      <a:lnTo>
                        <a:pt x="1656" y="797"/>
                      </a:lnTo>
                      <a:lnTo>
                        <a:pt x="1654" y="795"/>
                      </a:lnTo>
                      <a:lnTo>
                        <a:pt x="1657" y="795"/>
                      </a:lnTo>
                      <a:lnTo>
                        <a:pt x="1659" y="794"/>
                      </a:lnTo>
                      <a:lnTo>
                        <a:pt x="1659" y="792"/>
                      </a:lnTo>
                      <a:lnTo>
                        <a:pt x="1657" y="788"/>
                      </a:lnTo>
                      <a:lnTo>
                        <a:pt x="1661" y="794"/>
                      </a:lnTo>
                      <a:lnTo>
                        <a:pt x="1663" y="795"/>
                      </a:lnTo>
                      <a:lnTo>
                        <a:pt x="1664" y="797"/>
                      </a:lnTo>
                      <a:lnTo>
                        <a:pt x="1668" y="797"/>
                      </a:lnTo>
                      <a:lnTo>
                        <a:pt x="1670" y="799"/>
                      </a:lnTo>
                      <a:lnTo>
                        <a:pt x="1673" y="799"/>
                      </a:lnTo>
                      <a:lnTo>
                        <a:pt x="1675" y="797"/>
                      </a:lnTo>
                      <a:lnTo>
                        <a:pt x="1682" y="788"/>
                      </a:lnTo>
                      <a:lnTo>
                        <a:pt x="1680" y="787"/>
                      </a:lnTo>
                      <a:lnTo>
                        <a:pt x="1680" y="783"/>
                      </a:lnTo>
                      <a:lnTo>
                        <a:pt x="1678" y="781"/>
                      </a:lnTo>
                      <a:lnTo>
                        <a:pt x="1677" y="780"/>
                      </a:lnTo>
                      <a:lnTo>
                        <a:pt x="1678" y="780"/>
                      </a:lnTo>
                      <a:lnTo>
                        <a:pt x="1685" y="780"/>
                      </a:lnTo>
                      <a:lnTo>
                        <a:pt x="1689" y="780"/>
                      </a:lnTo>
                      <a:lnTo>
                        <a:pt x="1687" y="776"/>
                      </a:lnTo>
                      <a:lnTo>
                        <a:pt x="1680" y="773"/>
                      </a:lnTo>
                      <a:lnTo>
                        <a:pt x="1678" y="771"/>
                      </a:lnTo>
                      <a:lnTo>
                        <a:pt x="1678" y="769"/>
                      </a:lnTo>
                      <a:lnTo>
                        <a:pt x="1678" y="767"/>
                      </a:lnTo>
                      <a:lnTo>
                        <a:pt x="1680" y="766"/>
                      </a:lnTo>
                      <a:lnTo>
                        <a:pt x="1677" y="762"/>
                      </a:lnTo>
                      <a:lnTo>
                        <a:pt x="1682" y="762"/>
                      </a:lnTo>
                      <a:lnTo>
                        <a:pt x="1685" y="764"/>
                      </a:lnTo>
                      <a:lnTo>
                        <a:pt x="1691" y="766"/>
                      </a:lnTo>
                      <a:lnTo>
                        <a:pt x="1696" y="766"/>
                      </a:lnTo>
                      <a:lnTo>
                        <a:pt x="1698" y="762"/>
                      </a:lnTo>
                      <a:lnTo>
                        <a:pt x="1696" y="759"/>
                      </a:lnTo>
                      <a:lnTo>
                        <a:pt x="1687" y="752"/>
                      </a:lnTo>
                      <a:lnTo>
                        <a:pt x="1691" y="752"/>
                      </a:lnTo>
                      <a:lnTo>
                        <a:pt x="1698" y="753"/>
                      </a:lnTo>
                      <a:close/>
                      <a:moveTo>
                        <a:pt x="1268" y="1215"/>
                      </a:moveTo>
                      <a:lnTo>
                        <a:pt x="1277" y="1216"/>
                      </a:lnTo>
                      <a:lnTo>
                        <a:pt x="1280" y="1218"/>
                      </a:lnTo>
                      <a:lnTo>
                        <a:pt x="1285" y="1218"/>
                      </a:lnTo>
                      <a:lnTo>
                        <a:pt x="1287" y="1218"/>
                      </a:lnTo>
                      <a:lnTo>
                        <a:pt x="1289" y="1216"/>
                      </a:lnTo>
                      <a:lnTo>
                        <a:pt x="1285" y="1208"/>
                      </a:lnTo>
                      <a:lnTo>
                        <a:pt x="1277" y="1204"/>
                      </a:lnTo>
                      <a:lnTo>
                        <a:pt x="1268" y="1206"/>
                      </a:lnTo>
                      <a:lnTo>
                        <a:pt x="1261" y="1209"/>
                      </a:lnTo>
                      <a:lnTo>
                        <a:pt x="1265" y="1213"/>
                      </a:lnTo>
                      <a:lnTo>
                        <a:pt x="1268" y="1215"/>
                      </a:lnTo>
                      <a:close/>
                      <a:moveTo>
                        <a:pt x="1226" y="928"/>
                      </a:moveTo>
                      <a:lnTo>
                        <a:pt x="1228" y="928"/>
                      </a:lnTo>
                      <a:lnTo>
                        <a:pt x="1230" y="928"/>
                      </a:lnTo>
                      <a:lnTo>
                        <a:pt x="1233" y="926"/>
                      </a:lnTo>
                      <a:lnTo>
                        <a:pt x="1235" y="926"/>
                      </a:lnTo>
                      <a:lnTo>
                        <a:pt x="1237" y="926"/>
                      </a:lnTo>
                      <a:lnTo>
                        <a:pt x="1238" y="928"/>
                      </a:lnTo>
                      <a:lnTo>
                        <a:pt x="1238" y="928"/>
                      </a:lnTo>
                      <a:lnTo>
                        <a:pt x="1240" y="928"/>
                      </a:lnTo>
                      <a:lnTo>
                        <a:pt x="1245" y="925"/>
                      </a:lnTo>
                      <a:lnTo>
                        <a:pt x="1254" y="919"/>
                      </a:lnTo>
                      <a:lnTo>
                        <a:pt x="1259" y="912"/>
                      </a:lnTo>
                      <a:lnTo>
                        <a:pt x="1263" y="907"/>
                      </a:lnTo>
                      <a:lnTo>
                        <a:pt x="1261" y="902"/>
                      </a:lnTo>
                      <a:lnTo>
                        <a:pt x="1254" y="902"/>
                      </a:lnTo>
                      <a:lnTo>
                        <a:pt x="1240" y="905"/>
                      </a:lnTo>
                      <a:lnTo>
                        <a:pt x="1237" y="905"/>
                      </a:lnTo>
                      <a:lnTo>
                        <a:pt x="1233" y="905"/>
                      </a:lnTo>
                      <a:lnTo>
                        <a:pt x="1231" y="905"/>
                      </a:lnTo>
                      <a:lnTo>
                        <a:pt x="1223" y="918"/>
                      </a:lnTo>
                      <a:lnTo>
                        <a:pt x="1221" y="921"/>
                      </a:lnTo>
                      <a:lnTo>
                        <a:pt x="1221" y="921"/>
                      </a:lnTo>
                      <a:lnTo>
                        <a:pt x="1224" y="925"/>
                      </a:lnTo>
                      <a:lnTo>
                        <a:pt x="1226" y="926"/>
                      </a:lnTo>
                      <a:lnTo>
                        <a:pt x="1226" y="928"/>
                      </a:lnTo>
                      <a:lnTo>
                        <a:pt x="1226" y="928"/>
                      </a:lnTo>
                      <a:close/>
                      <a:moveTo>
                        <a:pt x="1313" y="1106"/>
                      </a:moveTo>
                      <a:lnTo>
                        <a:pt x="1313" y="1110"/>
                      </a:lnTo>
                      <a:lnTo>
                        <a:pt x="1315" y="1110"/>
                      </a:lnTo>
                      <a:lnTo>
                        <a:pt x="1315" y="1108"/>
                      </a:lnTo>
                      <a:lnTo>
                        <a:pt x="1315" y="1108"/>
                      </a:lnTo>
                      <a:lnTo>
                        <a:pt x="1315" y="1106"/>
                      </a:lnTo>
                      <a:lnTo>
                        <a:pt x="1313" y="1106"/>
                      </a:lnTo>
                      <a:lnTo>
                        <a:pt x="1313" y="1106"/>
                      </a:lnTo>
                      <a:close/>
                      <a:moveTo>
                        <a:pt x="1308" y="1084"/>
                      </a:moveTo>
                      <a:lnTo>
                        <a:pt x="1308" y="1085"/>
                      </a:lnTo>
                      <a:lnTo>
                        <a:pt x="1310" y="1084"/>
                      </a:lnTo>
                      <a:lnTo>
                        <a:pt x="1310" y="1082"/>
                      </a:lnTo>
                      <a:lnTo>
                        <a:pt x="1310" y="1082"/>
                      </a:lnTo>
                      <a:lnTo>
                        <a:pt x="1308" y="1082"/>
                      </a:lnTo>
                      <a:lnTo>
                        <a:pt x="1308" y="1084"/>
                      </a:lnTo>
                      <a:close/>
                      <a:moveTo>
                        <a:pt x="1299" y="1015"/>
                      </a:moveTo>
                      <a:lnTo>
                        <a:pt x="1299" y="1014"/>
                      </a:lnTo>
                      <a:lnTo>
                        <a:pt x="1301" y="1014"/>
                      </a:lnTo>
                      <a:lnTo>
                        <a:pt x="1299" y="1012"/>
                      </a:lnTo>
                      <a:lnTo>
                        <a:pt x="1298" y="1014"/>
                      </a:lnTo>
                      <a:lnTo>
                        <a:pt x="1298" y="1014"/>
                      </a:lnTo>
                      <a:lnTo>
                        <a:pt x="1298" y="1015"/>
                      </a:lnTo>
                      <a:lnTo>
                        <a:pt x="1298" y="1015"/>
                      </a:lnTo>
                      <a:lnTo>
                        <a:pt x="1299" y="1015"/>
                      </a:lnTo>
                      <a:close/>
                      <a:moveTo>
                        <a:pt x="1306" y="946"/>
                      </a:moveTo>
                      <a:lnTo>
                        <a:pt x="1310" y="947"/>
                      </a:lnTo>
                      <a:lnTo>
                        <a:pt x="1312" y="946"/>
                      </a:lnTo>
                      <a:lnTo>
                        <a:pt x="1317" y="935"/>
                      </a:lnTo>
                      <a:lnTo>
                        <a:pt x="1319" y="930"/>
                      </a:lnTo>
                      <a:lnTo>
                        <a:pt x="1320" y="926"/>
                      </a:lnTo>
                      <a:lnTo>
                        <a:pt x="1315" y="921"/>
                      </a:lnTo>
                      <a:lnTo>
                        <a:pt x="1306" y="921"/>
                      </a:lnTo>
                      <a:lnTo>
                        <a:pt x="1299" y="928"/>
                      </a:lnTo>
                      <a:lnTo>
                        <a:pt x="1298" y="937"/>
                      </a:lnTo>
                      <a:lnTo>
                        <a:pt x="1303" y="942"/>
                      </a:lnTo>
                      <a:lnTo>
                        <a:pt x="1306" y="946"/>
                      </a:lnTo>
                      <a:close/>
                      <a:moveTo>
                        <a:pt x="1308" y="1118"/>
                      </a:moveTo>
                      <a:lnTo>
                        <a:pt x="1312" y="1117"/>
                      </a:lnTo>
                      <a:lnTo>
                        <a:pt x="1313" y="1113"/>
                      </a:lnTo>
                      <a:lnTo>
                        <a:pt x="1310" y="1115"/>
                      </a:lnTo>
                      <a:lnTo>
                        <a:pt x="1306" y="1117"/>
                      </a:lnTo>
                      <a:lnTo>
                        <a:pt x="1305" y="1118"/>
                      </a:lnTo>
                      <a:lnTo>
                        <a:pt x="1303" y="1120"/>
                      </a:lnTo>
                      <a:lnTo>
                        <a:pt x="1306" y="1120"/>
                      </a:lnTo>
                      <a:lnTo>
                        <a:pt x="1308" y="1118"/>
                      </a:lnTo>
                      <a:close/>
                      <a:moveTo>
                        <a:pt x="1305" y="1010"/>
                      </a:moveTo>
                      <a:lnTo>
                        <a:pt x="1305" y="1010"/>
                      </a:lnTo>
                      <a:lnTo>
                        <a:pt x="1306" y="1008"/>
                      </a:lnTo>
                      <a:lnTo>
                        <a:pt x="1305" y="1007"/>
                      </a:lnTo>
                      <a:lnTo>
                        <a:pt x="1303" y="1008"/>
                      </a:lnTo>
                      <a:lnTo>
                        <a:pt x="1301" y="1008"/>
                      </a:lnTo>
                      <a:lnTo>
                        <a:pt x="1301" y="1012"/>
                      </a:lnTo>
                      <a:lnTo>
                        <a:pt x="1303" y="1010"/>
                      </a:lnTo>
                      <a:lnTo>
                        <a:pt x="1305" y="1010"/>
                      </a:lnTo>
                      <a:close/>
                      <a:moveTo>
                        <a:pt x="1306" y="1106"/>
                      </a:moveTo>
                      <a:lnTo>
                        <a:pt x="1308" y="1105"/>
                      </a:lnTo>
                      <a:lnTo>
                        <a:pt x="1308" y="1103"/>
                      </a:lnTo>
                      <a:lnTo>
                        <a:pt x="1306" y="1105"/>
                      </a:lnTo>
                      <a:lnTo>
                        <a:pt x="1306" y="1106"/>
                      </a:lnTo>
                      <a:close/>
                      <a:moveTo>
                        <a:pt x="1315" y="647"/>
                      </a:moveTo>
                      <a:lnTo>
                        <a:pt x="1312" y="647"/>
                      </a:lnTo>
                      <a:lnTo>
                        <a:pt x="1306" y="648"/>
                      </a:lnTo>
                      <a:lnTo>
                        <a:pt x="1305" y="648"/>
                      </a:lnTo>
                      <a:lnTo>
                        <a:pt x="1303" y="648"/>
                      </a:lnTo>
                      <a:lnTo>
                        <a:pt x="1301" y="647"/>
                      </a:lnTo>
                      <a:lnTo>
                        <a:pt x="1299" y="647"/>
                      </a:lnTo>
                      <a:lnTo>
                        <a:pt x="1298" y="648"/>
                      </a:lnTo>
                      <a:lnTo>
                        <a:pt x="1294" y="648"/>
                      </a:lnTo>
                      <a:lnTo>
                        <a:pt x="1291" y="648"/>
                      </a:lnTo>
                      <a:lnTo>
                        <a:pt x="1289" y="648"/>
                      </a:lnTo>
                      <a:lnTo>
                        <a:pt x="1287" y="650"/>
                      </a:lnTo>
                      <a:lnTo>
                        <a:pt x="1291" y="650"/>
                      </a:lnTo>
                      <a:lnTo>
                        <a:pt x="1296" y="652"/>
                      </a:lnTo>
                      <a:lnTo>
                        <a:pt x="1299" y="652"/>
                      </a:lnTo>
                      <a:lnTo>
                        <a:pt x="1301" y="654"/>
                      </a:lnTo>
                      <a:lnTo>
                        <a:pt x="1305" y="654"/>
                      </a:lnTo>
                      <a:lnTo>
                        <a:pt x="1305" y="654"/>
                      </a:lnTo>
                      <a:lnTo>
                        <a:pt x="1303" y="652"/>
                      </a:lnTo>
                      <a:lnTo>
                        <a:pt x="1306" y="652"/>
                      </a:lnTo>
                      <a:lnTo>
                        <a:pt x="1312" y="652"/>
                      </a:lnTo>
                      <a:lnTo>
                        <a:pt x="1315" y="652"/>
                      </a:lnTo>
                      <a:lnTo>
                        <a:pt x="1319" y="650"/>
                      </a:lnTo>
                      <a:lnTo>
                        <a:pt x="1317" y="647"/>
                      </a:lnTo>
                      <a:lnTo>
                        <a:pt x="1315" y="647"/>
                      </a:lnTo>
                      <a:close/>
                      <a:moveTo>
                        <a:pt x="1296" y="877"/>
                      </a:moveTo>
                      <a:lnTo>
                        <a:pt x="1299" y="874"/>
                      </a:lnTo>
                      <a:lnTo>
                        <a:pt x="1296" y="872"/>
                      </a:lnTo>
                      <a:lnTo>
                        <a:pt x="1294" y="870"/>
                      </a:lnTo>
                      <a:lnTo>
                        <a:pt x="1291" y="869"/>
                      </a:lnTo>
                      <a:lnTo>
                        <a:pt x="1292" y="869"/>
                      </a:lnTo>
                      <a:lnTo>
                        <a:pt x="1292" y="867"/>
                      </a:lnTo>
                      <a:lnTo>
                        <a:pt x="1291" y="865"/>
                      </a:lnTo>
                      <a:lnTo>
                        <a:pt x="1289" y="863"/>
                      </a:lnTo>
                      <a:lnTo>
                        <a:pt x="1285" y="863"/>
                      </a:lnTo>
                      <a:lnTo>
                        <a:pt x="1284" y="863"/>
                      </a:lnTo>
                      <a:lnTo>
                        <a:pt x="1284" y="863"/>
                      </a:lnTo>
                      <a:lnTo>
                        <a:pt x="1280" y="865"/>
                      </a:lnTo>
                      <a:lnTo>
                        <a:pt x="1277" y="863"/>
                      </a:lnTo>
                      <a:lnTo>
                        <a:pt x="1268" y="865"/>
                      </a:lnTo>
                      <a:lnTo>
                        <a:pt x="1265" y="865"/>
                      </a:lnTo>
                      <a:lnTo>
                        <a:pt x="1268" y="860"/>
                      </a:lnTo>
                      <a:lnTo>
                        <a:pt x="1268" y="856"/>
                      </a:lnTo>
                      <a:lnTo>
                        <a:pt x="1266" y="851"/>
                      </a:lnTo>
                      <a:lnTo>
                        <a:pt x="1265" y="846"/>
                      </a:lnTo>
                      <a:lnTo>
                        <a:pt x="1261" y="841"/>
                      </a:lnTo>
                      <a:lnTo>
                        <a:pt x="1258" y="839"/>
                      </a:lnTo>
                      <a:lnTo>
                        <a:pt x="1247" y="835"/>
                      </a:lnTo>
                      <a:lnTo>
                        <a:pt x="1242" y="832"/>
                      </a:lnTo>
                      <a:lnTo>
                        <a:pt x="1237" y="828"/>
                      </a:lnTo>
                      <a:lnTo>
                        <a:pt x="1235" y="827"/>
                      </a:lnTo>
                      <a:lnTo>
                        <a:pt x="1231" y="821"/>
                      </a:lnTo>
                      <a:lnTo>
                        <a:pt x="1230" y="820"/>
                      </a:lnTo>
                      <a:lnTo>
                        <a:pt x="1228" y="820"/>
                      </a:lnTo>
                      <a:lnTo>
                        <a:pt x="1221" y="818"/>
                      </a:lnTo>
                      <a:lnTo>
                        <a:pt x="1219" y="816"/>
                      </a:lnTo>
                      <a:lnTo>
                        <a:pt x="1217" y="814"/>
                      </a:lnTo>
                      <a:lnTo>
                        <a:pt x="1214" y="811"/>
                      </a:lnTo>
                      <a:lnTo>
                        <a:pt x="1212" y="809"/>
                      </a:lnTo>
                      <a:lnTo>
                        <a:pt x="1207" y="806"/>
                      </a:lnTo>
                      <a:lnTo>
                        <a:pt x="1205" y="809"/>
                      </a:lnTo>
                      <a:lnTo>
                        <a:pt x="1203" y="813"/>
                      </a:lnTo>
                      <a:lnTo>
                        <a:pt x="1200" y="814"/>
                      </a:lnTo>
                      <a:lnTo>
                        <a:pt x="1193" y="802"/>
                      </a:lnTo>
                      <a:lnTo>
                        <a:pt x="1193" y="802"/>
                      </a:lnTo>
                      <a:lnTo>
                        <a:pt x="1195" y="800"/>
                      </a:lnTo>
                      <a:lnTo>
                        <a:pt x="1195" y="799"/>
                      </a:lnTo>
                      <a:lnTo>
                        <a:pt x="1195" y="794"/>
                      </a:lnTo>
                      <a:lnTo>
                        <a:pt x="1191" y="790"/>
                      </a:lnTo>
                      <a:lnTo>
                        <a:pt x="1188" y="787"/>
                      </a:lnTo>
                      <a:lnTo>
                        <a:pt x="1184" y="785"/>
                      </a:lnTo>
                      <a:lnTo>
                        <a:pt x="1179" y="788"/>
                      </a:lnTo>
                      <a:lnTo>
                        <a:pt x="1177" y="795"/>
                      </a:lnTo>
                      <a:lnTo>
                        <a:pt x="1175" y="800"/>
                      </a:lnTo>
                      <a:lnTo>
                        <a:pt x="1168" y="842"/>
                      </a:lnTo>
                      <a:lnTo>
                        <a:pt x="1168" y="849"/>
                      </a:lnTo>
                      <a:lnTo>
                        <a:pt x="1170" y="856"/>
                      </a:lnTo>
                      <a:lnTo>
                        <a:pt x="1170" y="862"/>
                      </a:lnTo>
                      <a:lnTo>
                        <a:pt x="1167" y="863"/>
                      </a:lnTo>
                      <a:lnTo>
                        <a:pt x="1162" y="867"/>
                      </a:lnTo>
                      <a:lnTo>
                        <a:pt x="1156" y="869"/>
                      </a:lnTo>
                      <a:lnTo>
                        <a:pt x="1153" y="872"/>
                      </a:lnTo>
                      <a:lnTo>
                        <a:pt x="1151" y="877"/>
                      </a:lnTo>
                      <a:lnTo>
                        <a:pt x="1151" y="881"/>
                      </a:lnTo>
                      <a:lnTo>
                        <a:pt x="1156" y="881"/>
                      </a:lnTo>
                      <a:lnTo>
                        <a:pt x="1160" y="881"/>
                      </a:lnTo>
                      <a:lnTo>
                        <a:pt x="1165" y="879"/>
                      </a:lnTo>
                      <a:lnTo>
                        <a:pt x="1177" y="876"/>
                      </a:lnTo>
                      <a:lnTo>
                        <a:pt x="1181" y="877"/>
                      </a:lnTo>
                      <a:lnTo>
                        <a:pt x="1182" y="881"/>
                      </a:lnTo>
                      <a:lnTo>
                        <a:pt x="1184" y="891"/>
                      </a:lnTo>
                      <a:lnTo>
                        <a:pt x="1186" y="897"/>
                      </a:lnTo>
                      <a:lnTo>
                        <a:pt x="1191" y="897"/>
                      </a:lnTo>
                      <a:lnTo>
                        <a:pt x="1196" y="895"/>
                      </a:lnTo>
                      <a:lnTo>
                        <a:pt x="1203" y="893"/>
                      </a:lnTo>
                      <a:lnTo>
                        <a:pt x="1207" y="890"/>
                      </a:lnTo>
                      <a:lnTo>
                        <a:pt x="1209" y="888"/>
                      </a:lnTo>
                      <a:lnTo>
                        <a:pt x="1210" y="883"/>
                      </a:lnTo>
                      <a:lnTo>
                        <a:pt x="1212" y="881"/>
                      </a:lnTo>
                      <a:lnTo>
                        <a:pt x="1214" y="879"/>
                      </a:lnTo>
                      <a:lnTo>
                        <a:pt x="1219" y="877"/>
                      </a:lnTo>
                      <a:lnTo>
                        <a:pt x="1221" y="876"/>
                      </a:lnTo>
                      <a:lnTo>
                        <a:pt x="1224" y="872"/>
                      </a:lnTo>
                      <a:lnTo>
                        <a:pt x="1224" y="870"/>
                      </a:lnTo>
                      <a:lnTo>
                        <a:pt x="1226" y="869"/>
                      </a:lnTo>
                      <a:lnTo>
                        <a:pt x="1228" y="865"/>
                      </a:lnTo>
                      <a:lnTo>
                        <a:pt x="1230" y="863"/>
                      </a:lnTo>
                      <a:lnTo>
                        <a:pt x="1233" y="860"/>
                      </a:lnTo>
                      <a:lnTo>
                        <a:pt x="1237" y="860"/>
                      </a:lnTo>
                      <a:lnTo>
                        <a:pt x="1238" y="860"/>
                      </a:lnTo>
                      <a:lnTo>
                        <a:pt x="1240" y="860"/>
                      </a:lnTo>
                      <a:lnTo>
                        <a:pt x="1240" y="862"/>
                      </a:lnTo>
                      <a:lnTo>
                        <a:pt x="1240" y="863"/>
                      </a:lnTo>
                      <a:lnTo>
                        <a:pt x="1240" y="863"/>
                      </a:lnTo>
                      <a:lnTo>
                        <a:pt x="1240" y="865"/>
                      </a:lnTo>
                      <a:lnTo>
                        <a:pt x="1242" y="865"/>
                      </a:lnTo>
                      <a:lnTo>
                        <a:pt x="1249" y="867"/>
                      </a:lnTo>
                      <a:lnTo>
                        <a:pt x="1251" y="867"/>
                      </a:lnTo>
                      <a:lnTo>
                        <a:pt x="1252" y="869"/>
                      </a:lnTo>
                      <a:lnTo>
                        <a:pt x="1252" y="870"/>
                      </a:lnTo>
                      <a:lnTo>
                        <a:pt x="1252" y="874"/>
                      </a:lnTo>
                      <a:lnTo>
                        <a:pt x="1252" y="876"/>
                      </a:lnTo>
                      <a:lnTo>
                        <a:pt x="1254" y="877"/>
                      </a:lnTo>
                      <a:lnTo>
                        <a:pt x="1265" y="879"/>
                      </a:lnTo>
                      <a:lnTo>
                        <a:pt x="1279" y="884"/>
                      </a:lnTo>
                      <a:lnTo>
                        <a:pt x="1284" y="884"/>
                      </a:lnTo>
                      <a:lnTo>
                        <a:pt x="1289" y="881"/>
                      </a:lnTo>
                      <a:lnTo>
                        <a:pt x="1296" y="877"/>
                      </a:lnTo>
                      <a:close/>
                      <a:moveTo>
                        <a:pt x="1198" y="795"/>
                      </a:moveTo>
                      <a:lnTo>
                        <a:pt x="1203" y="800"/>
                      </a:lnTo>
                      <a:lnTo>
                        <a:pt x="1207" y="799"/>
                      </a:lnTo>
                      <a:lnTo>
                        <a:pt x="1205" y="792"/>
                      </a:lnTo>
                      <a:lnTo>
                        <a:pt x="1200" y="785"/>
                      </a:lnTo>
                      <a:lnTo>
                        <a:pt x="1196" y="780"/>
                      </a:lnTo>
                      <a:lnTo>
                        <a:pt x="1195" y="783"/>
                      </a:lnTo>
                      <a:lnTo>
                        <a:pt x="1195" y="788"/>
                      </a:lnTo>
                      <a:lnTo>
                        <a:pt x="1198" y="795"/>
                      </a:lnTo>
                      <a:close/>
                      <a:moveTo>
                        <a:pt x="1305" y="1202"/>
                      </a:moveTo>
                      <a:lnTo>
                        <a:pt x="1305" y="1202"/>
                      </a:lnTo>
                      <a:lnTo>
                        <a:pt x="1306" y="1202"/>
                      </a:lnTo>
                      <a:lnTo>
                        <a:pt x="1305" y="1202"/>
                      </a:lnTo>
                      <a:lnTo>
                        <a:pt x="1305" y="1201"/>
                      </a:lnTo>
                      <a:lnTo>
                        <a:pt x="1305" y="1201"/>
                      </a:lnTo>
                      <a:lnTo>
                        <a:pt x="1303" y="1201"/>
                      </a:lnTo>
                      <a:lnTo>
                        <a:pt x="1303" y="1202"/>
                      </a:lnTo>
                      <a:lnTo>
                        <a:pt x="1305" y="1202"/>
                      </a:lnTo>
                      <a:close/>
                      <a:moveTo>
                        <a:pt x="1226" y="787"/>
                      </a:moveTo>
                      <a:lnTo>
                        <a:pt x="1226" y="785"/>
                      </a:lnTo>
                      <a:lnTo>
                        <a:pt x="1223" y="781"/>
                      </a:lnTo>
                      <a:lnTo>
                        <a:pt x="1219" y="778"/>
                      </a:lnTo>
                      <a:lnTo>
                        <a:pt x="1214" y="774"/>
                      </a:lnTo>
                      <a:lnTo>
                        <a:pt x="1210" y="774"/>
                      </a:lnTo>
                      <a:lnTo>
                        <a:pt x="1209" y="776"/>
                      </a:lnTo>
                      <a:lnTo>
                        <a:pt x="1210" y="780"/>
                      </a:lnTo>
                      <a:lnTo>
                        <a:pt x="1216" y="785"/>
                      </a:lnTo>
                      <a:lnTo>
                        <a:pt x="1216" y="787"/>
                      </a:lnTo>
                      <a:lnTo>
                        <a:pt x="1216" y="788"/>
                      </a:lnTo>
                      <a:lnTo>
                        <a:pt x="1217" y="792"/>
                      </a:lnTo>
                      <a:lnTo>
                        <a:pt x="1219" y="792"/>
                      </a:lnTo>
                      <a:lnTo>
                        <a:pt x="1221" y="792"/>
                      </a:lnTo>
                      <a:lnTo>
                        <a:pt x="1223" y="792"/>
                      </a:lnTo>
                      <a:lnTo>
                        <a:pt x="1223" y="792"/>
                      </a:lnTo>
                      <a:lnTo>
                        <a:pt x="1226" y="792"/>
                      </a:lnTo>
                      <a:lnTo>
                        <a:pt x="1224" y="794"/>
                      </a:lnTo>
                      <a:lnTo>
                        <a:pt x="1223" y="795"/>
                      </a:lnTo>
                      <a:lnTo>
                        <a:pt x="1224" y="797"/>
                      </a:lnTo>
                      <a:lnTo>
                        <a:pt x="1226" y="797"/>
                      </a:lnTo>
                      <a:lnTo>
                        <a:pt x="1228" y="795"/>
                      </a:lnTo>
                      <a:lnTo>
                        <a:pt x="1228" y="795"/>
                      </a:lnTo>
                      <a:lnTo>
                        <a:pt x="1230" y="797"/>
                      </a:lnTo>
                      <a:lnTo>
                        <a:pt x="1231" y="797"/>
                      </a:lnTo>
                      <a:lnTo>
                        <a:pt x="1233" y="797"/>
                      </a:lnTo>
                      <a:lnTo>
                        <a:pt x="1235" y="797"/>
                      </a:lnTo>
                      <a:lnTo>
                        <a:pt x="1235" y="795"/>
                      </a:lnTo>
                      <a:lnTo>
                        <a:pt x="1235" y="794"/>
                      </a:lnTo>
                      <a:lnTo>
                        <a:pt x="1233" y="794"/>
                      </a:lnTo>
                      <a:lnTo>
                        <a:pt x="1230" y="794"/>
                      </a:lnTo>
                      <a:lnTo>
                        <a:pt x="1228" y="792"/>
                      </a:lnTo>
                      <a:lnTo>
                        <a:pt x="1226" y="792"/>
                      </a:lnTo>
                      <a:lnTo>
                        <a:pt x="1224" y="790"/>
                      </a:lnTo>
                      <a:lnTo>
                        <a:pt x="1224" y="788"/>
                      </a:lnTo>
                      <a:lnTo>
                        <a:pt x="1226" y="787"/>
                      </a:lnTo>
                      <a:close/>
                      <a:moveTo>
                        <a:pt x="1327" y="666"/>
                      </a:moveTo>
                      <a:lnTo>
                        <a:pt x="1324" y="666"/>
                      </a:lnTo>
                      <a:lnTo>
                        <a:pt x="1322" y="668"/>
                      </a:lnTo>
                      <a:lnTo>
                        <a:pt x="1320" y="668"/>
                      </a:lnTo>
                      <a:lnTo>
                        <a:pt x="1319" y="671"/>
                      </a:lnTo>
                      <a:lnTo>
                        <a:pt x="1317" y="673"/>
                      </a:lnTo>
                      <a:lnTo>
                        <a:pt x="1319" y="675"/>
                      </a:lnTo>
                      <a:lnTo>
                        <a:pt x="1326" y="675"/>
                      </a:lnTo>
                      <a:lnTo>
                        <a:pt x="1331" y="669"/>
                      </a:lnTo>
                      <a:lnTo>
                        <a:pt x="1343" y="661"/>
                      </a:lnTo>
                      <a:lnTo>
                        <a:pt x="1340" y="659"/>
                      </a:lnTo>
                      <a:lnTo>
                        <a:pt x="1336" y="659"/>
                      </a:lnTo>
                      <a:lnTo>
                        <a:pt x="1333" y="659"/>
                      </a:lnTo>
                      <a:lnTo>
                        <a:pt x="1333" y="661"/>
                      </a:lnTo>
                      <a:lnTo>
                        <a:pt x="1331" y="662"/>
                      </a:lnTo>
                      <a:lnTo>
                        <a:pt x="1331" y="662"/>
                      </a:lnTo>
                      <a:lnTo>
                        <a:pt x="1329" y="664"/>
                      </a:lnTo>
                      <a:lnTo>
                        <a:pt x="1329" y="664"/>
                      </a:lnTo>
                      <a:lnTo>
                        <a:pt x="1327" y="666"/>
                      </a:lnTo>
                      <a:close/>
                      <a:moveTo>
                        <a:pt x="1240" y="771"/>
                      </a:moveTo>
                      <a:lnTo>
                        <a:pt x="1242" y="769"/>
                      </a:lnTo>
                      <a:lnTo>
                        <a:pt x="1238" y="767"/>
                      </a:lnTo>
                      <a:lnTo>
                        <a:pt x="1237" y="767"/>
                      </a:lnTo>
                      <a:lnTo>
                        <a:pt x="1235" y="766"/>
                      </a:lnTo>
                      <a:lnTo>
                        <a:pt x="1237" y="767"/>
                      </a:lnTo>
                      <a:lnTo>
                        <a:pt x="1237" y="769"/>
                      </a:lnTo>
                      <a:lnTo>
                        <a:pt x="1240" y="771"/>
                      </a:lnTo>
                      <a:close/>
                      <a:moveTo>
                        <a:pt x="1347" y="652"/>
                      </a:moveTo>
                      <a:lnTo>
                        <a:pt x="1348" y="650"/>
                      </a:lnTo>
                      <a:lnTo>
                        <a:pt x="1347" y="650"/>
                      </a:lnTo>
                      <a:lnTo>
                        <a:pt x="1347" y="648"/>
                      </a:lnTo>
                      <a:lnTo>
                        <a:pt x="1345" y="648"/>
                      </a:lnTo>
                      <a:lnTo>
                        <a:pt x="1343" y="648"/>
                      </a:lnTo>
                      <a:lnTo>
                        <a:pt x="1343" y="648"/>
                      </a:lnTo>
                      <a:lnTo>
                        <a:pt x="1341" y="650"/>
                      </a:lnTo>
                      <a:lnTo>
                        <a:pt x="1341" y="650"/>
                      </a:lnTo>
                      <a:lnTo>
                        <a:pt x="1334" y="652"/>
                      </a:lnTo>
                      <a:lnTo>
                        <a:pt x="1333" y="654"/>
                      </a:lnTo>
                      <a:lnTo>
                        <a:pt x="1329" y="655"/>
                      </a:lnTo>
                      <a:lnTo>
                        <a:pt x="1338" y="654"/>
                      </a:lnTo>
                      <a:lnTo>
                        <a:pt x="1347" y="652"/>
                      </a:lnTo>
                      <a:close/>
                      <a:moveTo>
                        <a:pt x="316" y="1326"/>
                      </a:moveTo>
                      <a:lnTo>
                        <a:pt x="316" y="1328"/>
                      </a:lnTo>
                      <a:lnTo>
                        <a:pt x="320" y="1328"/>
                      </a:lnTo>
                      <a:lnTo>
                        <a:pt x="318" y="1325"/>
                      </a:lnTo>
                      <a:lnTo>
                        <a:pt x="316" y="1326"/>
                      </a:lnTo>
                      <a:close/>
                      <a:moveTo>
                        <a:pt x="374" y="1339"/>
                      </a:moveTo>
                      <a:lnTo>
                        <a:pt x="372" y="1339"/>
                      </a:lnTo>
                      <a:lnTo>
                        <a:pt x="374" y="1342"/>
                      </a:lnTo>
                      <a:lnTo>
                        <a:pt x="374" y="1344"/>
                      </a:lnTo>
                      <a:lnTo>
                        <a:pt x="376" y="1344"/>
                      </a:lnTo>
                      <a:lnTo>
                        <a:pt x="376" y="1342"/>
                      </a:lnTo>
                      <a:lnTo>
                        <a:pt x="376" y="1340"/>
                      </a:lnTo>
                      <a:lnTo>
                        <a:pt x="374" y="1339"/>
                      </a:lnTo>
                      <a:close/>
                      <a:moveTo>
                        <a:pt x="1586" y="1457"/>
                      </a:moveTo>
                      <a:lnTo>
                        <a:pt x="1586" y="1459"/>
                      </a:lnTo>
                      <a:lnTo>
                        <a:pt x="1584" y="1461"/>
                      </a:lnTo>
                      <a:lnTo>
                        <a:pt x="1584" y="1463"/>
                      </a:lnTo>
                      <a:lnTo>
                        <a:pt x="1586" y="1461"/>
                      </a:lnTo>
                      <a:lnTo>
                        <a:pt x="1588" y="1461"/>
                      </a:lnTo>
                      <a:lnTo>
                        <a:pt x="1588" y="1459"/>
                      </a:lnTo>
                      <a:lnTo>
                        <a:pt x="1588" y="1457"/>
                      </a:lnTo>
                      <a:lnTo>
                        <a:pt x="1586" y="1457"/>
                      </a:lnTo>
                      <a:close/>
                      <a:moveTo>
                        <a:pt x="1598" y="1470"/>
                      </a:moveTo>
                      <a:lnTo>
                        <a:pt x="1598" y="1471"/>
                      </a:lnTo>
                      <a:lnTo>
                        <a:pt x="1596" y="1473"/>
                      </a:lnTo>
                      <a:lnTo>
                        <a:pt x="1598" y="1471"/>
                      </a:lnTo>
                      <a:lnTo>
                        <a:pt x="1598" y="1471"/>
                      </a:lnTo>
                      <a:lnTo>
                        <a:pt x="1598" y="1470"/>
                      </a:lnTo>
                      <a:lnTo>
                        <a:pt x="1600" y="1468"/>
                      </a:lnTo>
                      <a:lnTo>
                        <a:pt x="1598" y="1470"/>
                      </a:lnTo>
                      <a:lnTo>
                        <a:pt x="1598" y="1470"/>
                      </a:lnTo>
                      <a:close/>
                      <a:moveTo>
                        <a:pt x="370" y="1333"/>
                      </a:moveTo>
                      <a:lnTo>
                        <a:pt x="372" y="1335"/>
                      </a:lnTo>
                      <a:lnTo>
                        <a:pt x="374" y="1337"/>
                      </a:lnTo>
                      <a:lnTo>
                        <a:pt x="376" y="1339"/>
                      </a:lnTo>
                      <a:lnTo>
                        <a:pt x="377" y="1340"/>
                      </a:lnTo>
                      <a:lnTo>
                        <a:pt x="370" y="1333"/>
                      </a:lnTo>
                      <a:close/>
                      <a:moveTo>
                        <a:pt x="1708" y="1442"/>
                      </a:moveTo>
                      <a:lnTo>
                        <a:pt x="1706" y="1442"/>
                      </a:lnTo>
                      <a:lnTo>
                        <a:pt x="1701" y="1442"/>
                      </a:lnTo>
                      <a:lnTo>
                        <a:pt x="1703" y="1440"/>
                      </a:lnTo>
                      <a:lnTo>
                        <a:pt x="1705" y="1436"/>
                      </a:lnTo>
                      <a:lnTo>
                        <a:pt x="1705" y="1435"/>
                      </a:lnTo>
                      <a:lnTo>
                        <a:pt x="1701" y="1433"/>
                      </a:lnTo>
                      <a:lnTo>
                        <a:pt x="1699" y="1433"/>
                      </a:lnTo>
                      <a:lnTo>
                        <a:pt x="1698" y="1433"/>
                      </a:lnTo>
                      <a:lnTo>
                        <a:pt x="1696" y="1433"/>
                      </a:lnTo>
                      <a:lnTo>
                        <a:pt x="1694" y="1433"/>
                      </a:lnTo>
                      <a:lnTo>
                        <a:pt x="1692" y="1431"/>
                      </a:lnTo>
                      <a:lnTo>
                        <a:pt x="1692" y="1430"/>
                      </a:lnTo>
                      <a:lnTo>
                        <a:pt x="1691" y="1428"/>
                      </a:lnTo>
                      <a:lnTo>
                        <a:pt x="1691" y="1428"/>
                      </a:lnTo>
                      <a:lnTo>
                        <a:pt x="1691" y="1428"/>
                      </a:lnTo>
                      <a:lnTo>
                        <a:pt x="1689" y="1428"/>
                      </a:lnTo>
                      <a:lnTo>
                        <a:pt x="1689" y="1428"/>
                      </a:lnTo>
                      <a:lnTo>
                        <a:pt x="1684" y="1431"/>
                      </a:lnTo>
                      <a:lnTo>
                        <a:pt x="1680" y="1433"/>
                      </a:lnTo>
                      <a:lnTo>
                        <a:pt x="1680" y="1433"/>
                      </a:lnTo>
                      <a:lnTo>
                        <a:pt x="1678" y="1433"/>
                      </a:lnTo>
                      <a:lnTo>
                        <a:pt x="1675" y="1433"/>
                      </a:lnTo>
                      <a:lnTo>
                        <a:pt x="1673" y="1433"/>
                      </a:lnTo>
                      <a:lnTo>
                        <a:pt x="1673" y="1433"/>
                      </a:lnTo>
                      <a:lnTo>
                        <a:pt x="1675" y="1431"/>
                      </a:lnTo>
                      <a:lnTo>
                        <a:pt x="1675" y="1431"/>
                      </a:lnTo>
                      <a:lnTo>
                        <a:pt x="1670" y="1430"/>
                      </a:lnTo>
                      <a:lnTo>
                        <a:pt x="1663" y="1430"/>
                      </a:lnTo>
                      <a:lnTo>
                        <a:pt x="1661" y="1430"/>
                      </a:lnTo>
                      <a:lnTo>
                        <a:pt x="1661" y="1428"/>
                      </a:lnTo>
                      <a:lnTo>
                        <a:pt x="1659" y="1428"/>
                      </a:lnTo>
                      <a:lnTo>
                        <a:pt x="1657" y="1428"/>
                      </a:lnTo>
                      <a:lnTo>
                        <a:pt x="1656" y="1426"/>
                      </a:lnTo>
                      <a:lnTo>
                        <a:pt x="1656" y="1426"/>
                      </a:lnTo>
                      <a:lnTo>
                        <a:pt x="1654" y="1428"/>
                      </a:lnTo>
                      <a:lnTo>
                        <a:pt x="1652" y="1428"/>
                      </a:lnTo>
                      <a:lnTo>
                        <a:pt x="1650" y="1426"/>
                      </a:lnTo>
                      <a:lnTo>
                        <a:pt x="1647" y="1424"/>
                      </a:lnTo>
                      <a:lnTo>
                        <a:pt x="1645" y="1423"/>
                      </a:lnTo>
                      <a:lnTo>
                        <a:pt x="1650" y="1421"/>
                      </a:lnTo>
                      <a:lnTo>
                        <a:pt x="1649" y="1419"/>
                      </a:lnTo>
                      <a:lnTo>
                        <a:pt x="1645" y="1417"/>
                      </a:lnTo>
                      <a:lnTo>
                        <a:pt x="1642" y="1417"/>
                      </a:lnTo>
                      <a:lnTo>
                        <a:pt x="1638" y="1417"/>
                      </a:lnTo>
                      <a:lnTo>
                        <a:pt x="1635" y="1416"/>
                      </a:lnTo>
                      <a:lnTo>
                        <a:pt x="1633" y="1414"/>
                      </a:lnTo>
                      <a:lnTo>
                        <a:pt x="1631" y="1407"/>
                      </a:lnTo>
                      <a:lnTo>
                        <a:pt x="1631" y="1405"/>
                      </a:lnTo>
                      <a:lnTo>
                        <a:pt x="1630" y="1403"/>
                      </a:lnTo>
                      <a:lnTo>
                        <a:pt x="1628" y="1402"/>
                      </a:lnTo>
                      <a:lnTo>
                        <a:pt x="1628" y="1400"/>
                      </a:lnTo>
                      <a:lnTo>
                        <a:pt x="1628" y="1396"/>
                      </a:lnTo>
                      <a:lnTo>
                        <a:pt x="1628" y="1396"/>
                      </a:lnTo>
                      <a:lnTo>
                        <a:pt x="1628" y="1395"/>
                      </a:lnTo>
                      <a:lnTo>
                        <a:pt x="1628" y="1393"/>
                      </a:lnTo>
                      <a:lnTo>
                        <a:pt x="1626" y="1393"/>
                      </a:lnTo>
                      <a:lnTo>
                        <a:pt x="1624" y="1393"/>
                      </a:lnTo>
                      <a:lnTo>
                        <a:pt x="1623" y="1393"/>
                      </a:lnTo>
                      <a:lnTo>
                        <a:pt x="1621" y="1393"/>
                      </a:lnTo>
                      <a:lnTo>
                        <a:pt x="1621" y="1393"/>
                      </a:lnTo>
                      <a:lnTo>
                        <a:pt x="1619" y="1393"/>
                      </a:lnTo>
                      <a:lnTo>
                        <a:pt x="1623" y="1389"/>
                      </a:lnTo>
                      <a:lnTo>
                        <a:pt x="1626" y="1386"/>
                      </a:lnTo>
                      <a:lnTo>
                        <a:pt x="1628" y="1384"/>
                      </a:lnTo>
                      <a:lnTo>
                        <a:pt x="1628" y="1382"/>
                      </a:lnTo>
                      <a:lnTo>
                        <a:pt x="1630" y="1379"/>
                      </a:lnTo>
                      <a:lnTo>
                        <a:pt x="1630" y="1377"/>
                      </a:lnTo>
                      <a:lnTo>
                        <a:pt x="1631" y="1374"/>
                      </a:lnTo>
                      <a:lnTo>
                        <a:pt x="1630" y="1374"/>
                      </a:lnTo>
                      <a:lnTo>
                        <a:pt x="1628" y="1372"/>
                      </a:lnTo>
                      <a:lnTo>
                        <a:pt x="1626" y="1372"/>
                      </a:lnTo>
                      <a:lnTo>
                        <a:pt x="1624" y="1372"/>
                      </a:lnTo>
                      <a:lnTo>
                        <a:pt x="1624" y="1370"/>
                      </a:lnTo>
                      <a:lnTo>
                        <a:pt x="1623" y="1372"/>
                      </a:lnTo>
                      <a:lnTo>
                        <a:pt x="1616" y="1375"/>
                      </a:lnTo>
                      <a:lnTo>
                        <a:pt x="1612" y="1375"/>
                      </a:lnTo>
                      <a:lnTo>
                        <a:pt x="1610" y="1374"/>
                      </a:lnTo>
                      <a:lnTo>
                        <a:pt x="1610" y="1372"/>
                      </a:lnTo>
                      <a:lnTo>
                        <a:pt x="1609" y="1370"/>
                      </a:lnTo>
                      <a:lnTo>
                        <a:pt x="1607" y="1368"/>
                      </a:lnTo>
                      <a:lnTo>
                        <a:pt x="1603" y="1367"/>
                      </a:lnTo>
                      <a:lnTo>
                        <a:pt x="1598" y="1365"/>
                      </a:lnTo>
                      <a:lnTo>
                        <a:pt x="1595" y="1365"/>
                      </a:lnTo>
                      <a:lnTo>
                        <a:pt x="1591" y="1365"/>
                      </a:lnTo>
                      <a:lnTo>
                        <a:pt x="1589" y="1365"/>
                      </a:lnTo>
                      <a:lnTo>
                        <a:pt x="1591" y="1365"/>
                      </a:lnTo>
                      <a:lnTo>
                        <a:pt x="1593" y="1363"/>
                      </a:lnTo>
                      <a:lnTo>
                        <a:pt x="1595" y="1363"/>
                      </a:lnTo>
                      <a:lnTo>
                        <a:pt x="1600" y="1363"/>
                      </a:lnTo>
                      <a:lnTo>
                        <a:pt x="1602" y="1363"/>
                      </a:lnTo>
                      <a:lnTo>
                        <a:pt x="1602" y="1363"/>
                      </a:lnTo>
                      <a:lnTo>
                        <a:pt x="1603" y="1361"/>
                      </a:lnTo>
                      <a:lnTo>
                        <a:pt x="1605" y="1361"/>
                      </a:lnTo>
                      <a:lnTo>
                        <a:pt x="1609" y="1361"/>
                      </a:lnTo>
                      <a:lnTo>
                        <a:pt x="1614" y="1363"/>
                      </a:lnTo>
                      <a:lnTo>
                        <a:pt x="1617" y="1365"/>
                      </a:lnTo>
                      <a:lnTo>
                        <a:pt x="1623" y="1363"/>
                      </a:lnTo>
                      <a:lnTo>
                        <a:pt x="1626" y="1361"/>
                      </a:lnTo>
                      <a:lnTo>
                        <a:pt x="1636" y="1354"/>
                      </a:lnTo>
                      <a:lnTo>
                        <a:pt x="1640" y="1351"/>
                      </a:lnTo>
                      <a:lnTo>
                        <a:pt x="1642" y="1347"/>
                      </a:lnTo>
                      <a:lnTo>
                        <a:pt x="1640" y="1344"/>
                      </a:lnTo>
                      <a:lnTo>
                        <a:pt x="1635" y="1340"/>
                      </a:lnTo>
                      <a:lnTo>
                        <a:pt x="1636" y="1340"/>
                      </a:lnTo>
                      <a:lnTo>
                        <a:pt x="1638" y="1342"/>
                      </a:lnTo>
                      <a:lnTo>
                        <a:pt x="1640" y="1342"/>
                      </a:lnTo>
                      <a:lnTo>
                        <a:pt x="1642" y="1342"/>
                      </a:lnTo>
                      <a:lnTo>
                        <a:pt x="1640" y="1337"/>
                      </a:lnTo>
                      <a:lnTo>
                        <a:pt x="1633" y="1332"/>
                      </a:lnTo>
                      <a:lnTo>
                        <a:pt x="1626" y="1330"/>
                      </a:lnTo>
                      <a:lnTo>
                        <a:pt x="1619" y="1328"/>
                      </a:lnTo>
                      <a:lnTo>
                        <a:pt x="1612" y="1328"/>
                      </a:lnTo>
                      <a:lnTo>
                        <a:pt x="1605" y="1328"/>
                      </a:lnTo>
                      <a:lnTo>
                        <a:pt x="1598" y="1330"/>
                      </a:lnTo>
                      <a:lnTo>
                        <a:pt x="1593" y="1332"/>
                      </a:lnTo>
                      <a:lnTo>
                        <a:pt x="1567" y="1342"/>
                      </a:lnTo>
                      <a:lnTo>
                        <a:pt x="1542" y="1356"/>
                      </a:lnTo>
                      <a:lnTo>
                        <a:pt x="1537" y="1360"/>
                      </a:lnTo>
                      <a:lnTo>
                        <a:pt x="1533" y="1365"/>
                      </a:lnTo>
                      <a:lnTo>
                        <a:pt x="1513" y="1389"/>
                      </a:lnTo>
                      <a:lnTo>
                        <a:pt x="1507" y="1395"/>
                      </a:lnTo>
                      <a:lnTo>
                        <a:pt x="1502" y="1398"/>
                      </a:lnTo>
                      <a:lnTo>
                        <a:pt x="1495" y="1400"/>
                      </a:lnTo>
                      <a:lnTo>
                        <a:pt x="1476" y="1407"/>
                      </a:lnTo>
                      <a:lnTo>
                        <a:pt x="1471" y="1410"/>
                      </a:lnTo>
                      <a:lnTo>
                        <a:pt x="1460" y="1417"/>
                      </a:lnTo>
                      <a:lnTo>
                        <a:pt x="1455" y="1421"/>
                      </a:lnTo>
                      <a:lnTo>
                        <a:pt x="1451" y="1423"/>
                      </a:lnTo>
                      <a:lnTo>
                        <a:pt x="1450" y="1426"/>
                      </a:lnTo>
                      <a:lnTo>
                        <a:pt x="1448" y="1430"/>
                      </a:lnTo>
                      <a:lnTo>
                        <a:pt x="1444" y="1435"/>
                      </a:lnTo>
                      <a:lnTo>
                        <a:pt x="1443" y="1438"/>
                      </a:lnTo>
                      <a:lnTo>
                        <a:pt x="1441" y="1440"/>
                      </a:lnTo>
                      <a:lnTo>
                        <a:pt x="1422" y="1450"/>
                      </a:lnTo>
                      <a:lnTo>
                        <a:pt x="1418" y="1452"/>
                      </a:lnTo>
                      <a:lnTo>
                        <a:pt x="1481" y="1452"/>
                      </a:lnTo>
                      <a:lnTo>
                        <a:pt x="1485" y="1450"/>
                      </a:lnTo>
                      <a:lnTo>
                        <a:pt x="1485" y="1450"/>
                      </a:lnTo>
                      <a:lnTo>
                        <a:pt x="1488" y="1449"/>
                      </a:lnTo>
                      <a:lnTo>
                        <a:pt x="1488" y="1447"/>
                      </a:lnTo>
                      <a:lnTo>
                        <a:pt x="1488" y="1445"/>
                      </a:lnTo>
                      <a:lnTo>
                        <a:pt x="1488" y="1445"/>
                      </a:lnTo>
                      <a:lnTo>
                        <a:pt x="1490" y="1443"/>
                      </a:lnTo>
                      <a:lnTo>
                        <a:pt x="1490" y="1443"/>
                      </a:lnTo>
                      <a:lnTo>
                        <a:pt x="1492" y="1445"/>
                      </a:lnTo>
                      <a:lnTo>
                        <a:pt x="1493" y="1443"/>
                      </a:lnTo>
                      <a:lnTo>
                        <a:pt x="1497" y="1443"/>
                      </a:lnTo>
                      <a:lnTo>
                        <a:pt x="1497" y="1442"/>
                      </a:lnTo>
                      <a:lnTo>
                        <a:pt x="1499" y="1442"/>
                      </a:lnTo>
                      <a:lnTo>
                        <a:pt x="1499" y="1443"/>
                      </a:lnTo>
                      <a:lnTo>
                        <a:pt x="1499" y="1443"/>
                      </a:lnTo>
                      <a:lnTo>
                        <a:pt x="1500" y="1443"/>
                      </a:lnTo>
                      <a:lnTo>
                        <a:pt x="1500" y="1443"/>
                      </a:lnTo>
                      <a:lnTo>
                        <a:pt x="1506" y="1433"/>
                      </a:lnTo>
                      <a:lnTo>
                        <a:pt x="1509" y="1430"/>
                      </a:lnTo>
                      <a:lnTo>
                        <a:pt x="1511" y="1428"/>
                      </a:lnTo>
                      <a:lnTo>
                        <a:pt x="1511" y="1428"/>
                      </a:lnTo>
                      <a:lnTo>
                        <a:pt x="1513" y="1424"/>
                      </a:lnTo>
                      <a:lnTo>
                        <a:pt x="1513" y="1417"/>
                      </a:lnTo>
                      <a:lnTo>
                        <a:pt x="1514" y="1416"/>
                      </a:lnTo>
                      <a:lnTo>
                        <a:pt x="1516" y="1410"/>
                      </a:lnTo>
                      <a:lnTo>
                        <a:pt x="1518" y="1407"/>
                      </a:lnTo>
                      <a:lnTo>
                        <a:pt x="1519" y="1403"/>
                      </a:lnTo>
                      <a:lnTo>
                        <a:pt x="1519" y="1402"/>
                      </a:lnTo>
                      <a:lnTo>
                        <a:pt x="1533" y="1382"/>
                      </a:lnTo>
                      <a:lnTo>
                        <a:pt x="1535" y="1382"/>
                      </a:lnTo>
                      <a:lnTo>
                        <a:pt x="1537" y="1382"/>
                      </a:lnTo>
                      <a:lnTo>
                        <a:pt x="1539" y="1384"/>
                      </a:lnTo>
                      <a:lnTo>
                        <a:pt x="1539" y="1386"/>
                      </a:lnTo>
                      <a:lnTo>
                        <a:pt x="1539" y="1386"/>
                      </a:lnTo>
                      <a:lnTo>
                        <a:pt x="1539" y="1388"/>
                      </a:lnTo>
                      <a:lnTo>
                        <a:pt x="1542" y="1389"/>
                      </a:lnTo>
                      <a:lnTo>
                        <a:pt x="1546" y="1389"/>
                      </a:lnTo>
                      <a:lnTo>
                        <a:pt x="1553" y="1386"/>
                      </a:lnTo>
                      <a:lnTo>
                        <a:pt x="1554" y="1386"/>
                      </a:lnTo>
                      <a:lnTo>
                        <a:pt x="1558" y="1386"/>
                      </a:lnTo>
                      <a:lnTo>
                        <a:pt x="1560" y="1388"/>
                      </a:lnTo>
                      <a:lnTo>
                        <a:pt x="1563" y="1391"/>
                      </a:lnTo>
                      <a:lnTo>
                        <a:pt x="1565" y="1395"/>
                      </a:lnTo>
                      <a:lnTo>
                        <a:pt x="1565" y="1398"/>
                      </a:lnTo>
                      <a:lnTo>
                        <a:pt x="1565" y="1423"/>
                      </a:lnTo>
                      <a:lnTo>
                        <a:pt x="1565" y="1428"/>
                      </a:lnTo>
                      <a:lnTo>
                        <a:pt x="1565" y="1430"/>
                      </a:lnTo>
                      <a:lnTo>
                        <a:pt x="1567" y="1431"/>
                      </a:lnTo>
                      <a:lnTo>
                        <a:pt x="1568" y="1433"/>
                      </a:lnTo>
                      <a:lnTo>
                        <a:pt x="1570" y="1433"/>
                      </a:lnTo>
                      <a:lnTo>
                        <a:pt x="1572" y="1435"/>
                      </a:lnTo>
                      <a:lnTo>
                        <a:pt x="1572" y="1435"/>
                      </a:lnTo>
                      <a:lnTo>
                        <a:pt x="1574" y="1436"/>
                      </a:lnTo>
                      <a:lnTo>
                        <a:pt x="1572" y="1436"/>
                      </a:lnTo>
                      <a:lnTo>
                        <a:pt x="1572" y="1438"/>
                      </a:lnTo>
                      <a:lnTo>
                        <a:pt x="1572" y="1440"/>
                      </a:lnTo>
                      <a:lnTo>
                        <a:pt x="1572" y="1442"/>
                      </a:lnTo>
                      <a:lnTo>
                        <a:pt x="1574" y="1443"/>
                      </a:lnTo>
                      <a:lnTo>
                        <a:pt x="1574" y="1445"/>
                      </a:lnTo>
                      <a:lnTo>
                        <a:pt x="1575" y="1447"/>
                      </a:lnTo>
                      <a:lnTo>
                        <a:pt x="1577" y="1447"/>
                      </a:lnTo>
                      <a:lnTo>
                        <a:pt x="1577" y="1447"/>
                      </a:lnTo>
                      <a:lnTo>
                        <a:pt x="1581" y="1447"/>
                      </a:lnTo>
                      <a:lnTo>
                        <a:pt x="1581" y="1447"/>
                      </a:lnTo>
                      <a:lnTo>
                        <a:pt x="1584" y="1449"/>
                      </a:lnTo>
                      <a:lnTo>
                        <a:pt x="1586" y="1449"/>
                      </a:lnTo>
                      <a:lnTo>
                        <a:pt x="1588" y="1449"/>
                      </a:lnTo>
                      <a:lnTo>
                        <a:pt x="1593" y="1449"/>
                      </a:lnTo>
                      <a:lnTo>
                        <a:pt x="1598" y="1447"/>
                      </a:lnTo>
                      <a:lnTo>
                        <a:pt x="1602" y="1445"/>
                      </a:lnTo>
                      <a:lnTo>
                        <a:pt x="1600" y="1442"/>
                      </a:lnTo>
                      <a:lnTo>
                        <a:pt x="1602" y="1440"/>
                      </a:lnTo>
                      <a:lnTo>
                        <a:pt x="1603" y="1440"/>
                      </a:lnTo>
                      <a:lnTo>
                        <a:pt x="1602" y="1442"/>
                      </a:lnTo>
                      <a:lnTo>
                        <a:pt x="1603" y="1443"/>
                      </a:lnTo>
                      <a:lnTo>
                        <a:pt x="1603" y="1445"/>
                      </a:lnTo>
                      <a:lnTo>
                        <a:pt x="1607" y="1445"/>
                      </a:lnTo>
                      <a:lnTo>
                        <a:pt x="1610" y="1445"/>
                      </a:lnTo>
                      <a:lnTo>
                        <a:pt x="1612" y="1442"/>
                      </a:lnTo>
                      <a:lnTo>
                        <a:pt x="1619" y="1438"/>
                      </a:lnTo>
                      <a:lnTo>
                        <a:pt x="1630" y="1433"/>
                      </a:lnTo>
                      <a:lnTo>
                        <a:pt x="1633" y="1430"/>
                      </a:lnTo>
                      <a:lnTo>
                        <a:pt x="1633" y="1424"/>
                      </a:lnTo>
                      <a:lnTo>
                        <a:pt x="1636" y="1428"/>
                      </a:lnTo>
                      <a:lnTo>
                        <a:pt x="1638" y="1428"/>
                      </a:lnTo>
                      <a:lnTo>
                        <a:pt x="1640" y="1428"/>
                      </a:lnTo>
                      <a:lnTo>
                        <a:pt x="1636" y="1431"/>
                      </a:lnTo>
                      <a:lnTo>
                        <a:pt x="1630" y="1438"/>
                      </a:lnTo>
                      <a:lnTo>
                        <a:pt x="1628" y="1442"/>
                      </a:lnTo>
                      <a:lnTo>
                        <a:pt x="1628" y="1442"/>
                      </a:lnTo>
                      <a:lnTo>
                        <a:pt x="1630" y="1442"/>
                      </a:lnTo>
                      <a:lnTo>
                        <a:pt x="1631" y="1442"/>
                      </a:lnTo>
                      <a:lnTo>
                        <a:pt x="1631" y="1440"/>
                      </a:lnTo>
                      <a:lnTo>
                        <a:pt x="1650" y="1440"/>
                      </a:lnTo>
                      <a:lnTo>
                        <a:pt x="1661" y="1442"/>
                      </a:lnTo>
                      <a:lnTo>
                        <a:pt x="1656" y="1443"/>
                      </a:lnTo>
                      <a:lnTo>
                        <a:pt x="1649" y="1443"/>
                      </a:lnTo>
                      <a:lnTo>
                        <a:pt x="1643" y="1447"/>
                      </a:lnTo>
                      <a:lnTo>
                        <a:pt x="1643" y="1450"/>
                      </a:lnTo>
                      <a:lnTo>
                        <a:pt x="1642" y="1449"/>
                      </a:lnTo>
                      <a:lnTo>
                        <a:pt x="1640" y="1447"/>
                      </a:lnTo>
                      <a:lnTo>
                        <a:pt x="1638" y="1445"/>
                      </a:lnTo>
                      <a:lnTo>
                        <a:pt x="1638" y="1445"/>
                      </a:lnTo>
                      <a:lnTo>
                        <a:pt x="1640" y="1443"/>
                      </a:lnTo>
                      <a:lnTo>
                        <a:pt x="1640" y="1443"/>
                      </a:lnTo>
                      <a:lnTo>
                        <a:pt x="1636" y="1442"/>
                      </a:lnTo>
                      <a:lnTo>
                        <a:pt x="1636" y="1443"/>
                      </a:lnTo>
                      <a:lnTo>
                        <a:pt x="1633" y="1447"/>
                      </a:lnTo>
                      <a:lnTo>
                        <a:pt x="1626" y="1449"/>
                      </a:lnTo>
                      <a:lnTo>
                        <a:pt x="1617" y="1454"/>
                      </a:lnTo>
                      <a:lnTo>
                        <a:pt x="1612" y="1457"/>
                      </a:lnTo>
                      <a:lnTo>
                        <a:pt x="1610" y="1461"/>
                      </a:lnTo>
                      <a:lnTo>
                        <a:pt x="1612" y="1459"/>
                      </a:lnTo>
                      <a:lnTo>
                        <a:pt x="1614" y="1459"/>
                      </a:lnTo>
                      <a:lnTo>
                        <a:pt x="1614" y="1459"/>
                      </a:lnTo>
                      <a:lnTo>
                        <a:pt x="1612" y="1461"/>
                      </a:lnTo>
                      <a:lnTo>
                        <a:pt x="1603" y="1464"/>
                      </a:lnTo>
                      <a:lnTo>
                        <a:pt x="1600" y="1468"/>
                      </a:lnTo>
                      <a:lnTo>
                        <a:pt x="1603" y="1464"/>
                      </a:lnTo>
                      <a:lnTo>
                        <a:pt x="1605" y="1464"/>
                      </a:lnTo>
                      <a:lnTo>
                        <a:pt x="1607" y="1464"/>
                      </a:lnTo>
                      <a:lnTo>
                        <a:pt x="1603" y="1468"/>
                      </a:lnTo>
                      <a:lnTo>
                        <a:pt x="1600" y="1475"/>
                      </a:lnTo>
                      <a:lnTo>
                        <a:pt x="1600" y="1482"/>
                      </a:lnTo>
                      <a:lnTo>
                        <a:pt x="1603" y="1487"/>
                      </a:lnTo>
                      <a:lnTo>
                        <a:pt x="1605" y="1485"/>
                      </a:lnTo>
                      <a:lnTo>
                        <a:pt x="1607" y="1487"/>
                      </a:lnTo>
                      <a:lnTo>
                        <a:pt x="1609" y="1489"/>
                      </a:lnTo>
                      <a:lnTo>
                        <a:pt x="1610" y="1492"/>
                      </a:lnTo>
                      <a:lnTo>
                        <a:pt x="1612" y="1492"/>
                      </a:lnTo>
                      <a:lnTo>
                        <a:pt x="1614" y="1492"/>
                      </a:lnTo>
                      <a:lnTo>
                        <a:pt x="1616" y="1492"/>
                      </a:lnTo>
                      <a:lnTo>
                        <a:pt x="1617" y="1492"/>
                      </a:lnTo>
                      <a:lnTo>
                        <a:pt x="1619" y="1489"/>
                      </a:lnTo>
                      <a:lnTo>
                        <a:pt x="1621" y="1487"/>
                      </a:lnTo>
                      <a:lnTo>
                        <a:pt x="1624" y="1485"/>
                      </a:lnTo>
                      <a:lnTo>
                        <a:pt x="1628" y="1484"/>
                      </a:lnTo>
                      <a:lnTo>
                        <a:pt x="1635" y="1477"/>
                      </a:lnTo>
                      <a:lnTo>
                        <a:pt x="1638" y="1473"/>
                      </a:lnTo>
                      <a:lnTo>
                        <a:pt x="1638" y="1471"/>
                      </a:lnTo>
                      <a:lnTo>
                        <a:pt x="1638" y="1471"/>
                      </a:lnTo>
                      <a:lnTo>
                        <a:pt x="1640" y="1471"/>
                      </a:lnTo>
                      <a:lnTo>
                        <a:pt x="1640" y="1471"/>
                      </a:lnTo>
                      <a:lnTo>
                        <a:pt x="1640" y="1471"/>
                      </a:lnTo>
                      <a:lnTo>
                        <a:pt x="1640" y="1470"/>
                      </a:lnTo>
                      <a:lnTo>
                        <a:pt x="1640" y="1470"/>
                      </a:lnTo>
                      <a:lnTo>
                        <a:pt x="1640" y="1468"/>
                      </a:lnTo>
                      <a:lnTo>
                        <a:pt x="1640" y="1468"/>
                      </a:lnTo>
                      <a:lnTo>
                        <a:pt x="1640" y="1466"/>
                      </a:lnTo>
                      <a:lnTo>
                        <a:pt x="1640" y="1466"/>
                      </a:lnTo>
                      <a:lnTo>
                        <a:pt x="1640" y="1464"/>
                      </a:lnTo>
                      <a:lnTo>
                        <a:pt x="1642" y="1463"/>
                      </a:lnTo>
                      <a:lnTo>
                        <a:pt x="1643" y="1464"/>
                      </a:lnTo>
                      <a:lnTo>
                        <a:pt x="1643" y="1464"/>
                      </a:lnTo>
                      <a:lnTo>
                        <a:pt x="1645" y="1466"/>
                      </a:lnTo>
                      <a:lnTo>
                        <a:pt x="1645" y="1464"/>
                      </a:lnTo>
                      <a:lnTo>
                        <a:pt x="1647" y="1461"/>
                      </a:lnTo>
                      <a:lnTo>
                        <a:pt x="1649" y="1464"/>
                      </a:lnTo>
                      <a:lnTo>
                        <a:pt x="1650" y="1466"/>
                      </a:lnTo>
                      <a:lnTo>
                        <a:pt x="1654" y="1466"/>
                      </a:lnTo>
                      <a:lnTo>
                        <a:pt x="1656" y="1466"/>
                      </a:lnTo>
                      <a:lnTo>
                        <a:pt x="1656" y="1464"/>
                      </a:lnTo>
                      <a:lnTo>
                        <a:pt x="1656" y="1463"/>
                      </a:lnTo>
                      <a:lnTo>
                        <a:pt x="1656" y="1461"/>
                      </a:lnTo>
                      <a:lnTo>
                        <a:pt x="1659" y="1461"/>
                      </a:lnTo>
                      <a:lnTo>
                        <a:pt x="1663" y="1461"/>
                      </a:lnTo>
                      <a:lnTo>
                        <a:pt x="1678" y="1456"/>
                      </a:lnTo>
                      <a:lnTo>
                        <a:pt x="1705" y="1445"/>
                      </a:lnTo>
                      <a:lnTo>
                        <a:pt x="1708" y="1445"/>
                      </a:lnTo>
                      <a:lnTo>
                        <a:pt x="1710" y="1443"/>
                      </a:lnTo>
                      <a:lnTo>
                        <a:pt x="1710" y="1443"/>
                      </a:lnTo>
                      <a:lnTo>
                        <a:pt x="1708" y="1442"/>
                      </a:lnTo>
                      <a:close/>
                      <a:moveTo>
                        <a:pt x="706" y="713"/>
                      </a:moveTo>
                      <a:lnTo>
                        <a:pt x="704" y="713"/>
                      </a:lnTo>
                      <a:lnTo>
                        <a:pt x="702" y="715"/>
                      </a:lnTo>
                      <a:lnTo>
                        <a:pt x="702" y="717"/>
                      </a:lnTo>
                      <a:lnTo>
                        <a:pt x="702" y="718"/>
                      </a:lnTo>
                      <a:lnTo>
                        <a:pt x="702" y="720"/>
                      </a:lnTo>
                      <a:lnTo>
                        <a:pt x="702" y="722"/>
                      </a:lnTo>
                      <a:lnTo>
                        <a:pt x="704" y="722"/>
                      </a:lnTo>
                      <a:lnTo>
                        <a:pt x="706" y="724"/>
                      </a:lnTo>
                      <a:lnTo>
                        <a:pt x="706" y="725"/>
                      </a:lnTo>
                      <a:lnTo>
                        <a:pt x="707" y="725"/>
                      </a:lnTo>
                      <a:lnTo>
                        <a:pt x="707" y="724"/>
                      </a:lnTo>
                      <a:lnTo>
                        <a:pt x="707" y="720"/>
                      </a:lnTo>
                      <a:lnTo>
                        <a:pt x="707" y="718"/>
                      </a:lnTo>
                      <a:lnTo>
                        <a:pt x="706" y="713"/>
                      </a:lnTo>
                      <a:close/>
                      <a:moveTo>
                        <a:pt x="358" y="1319"/>
                      </a:moveTo>
                      <a:lnTo>
                        <a:pt x="360" y="1321"/>
                      </a:lnTo>
                      <a:lnTo>
                        <a:pt x="358" y="1318"/>
                      </a:lnTo>
                      <a:lnTo>
                        <a:pt x="356" y="1314"/>
                      </a:lnTo>
                      <a:lnTo>
                        <a:pt x="353" y="1312"/>
                      </a:lnTo>
                      <a:lnTo>
                        <a:pt x="349" y="1312"/>
                      </a:lnTo>
                      <a:lnTo>
                        <a:pt x="355" y="1318"/>
                      </a:lnTo>
                      <a:lnTo>
                        <a:pt x="358" y="1319"/>
                      </a:lnTo>
                      <a:close/>
                      <a:moveTo>
                        <a:pt x="1430" y="1442"/>
                      </a:moveTo>
                      <a:lnTo>
                        <a:pt x="1432" y="1442"/>
                      </a:lnTo>
                      <a:lnTo>
                        <a:pt x="1432" y="1442"/>
                      </a:lnTo>
                      <a:lnTo>
                        <a:pt x="1434" y="1440"/>
                      </a:lnTo>
                      <a:lnTo>
                        <a:pt x="1432" y="1440"/>
                      </a:lnTo>
                      <a:lnTo>
                        <a:pt x="1430" y="1438"/>
                      </a:lnTo>
                      <a:lnTo>
                        <a:pt x="1427" y="1436"/>
                      </a:lnTo>
                      <a:lnTo>
                        <a:pt x="1425" y="1436"/>
                      </a:lnTo>
                      <a:lnTo>
                        <a:pt x="1430" y="1436"/>
                      </a:lnTo>
                      <a:lnTo>
                        <a:pt x="1434" y="1435"/>
                      </a:lnTo>
                      <a:lnTo>
                        <a:pt x="1436" y="1433"/>
                      </a:lnTo>
                      <a:lnTo>
                        <a:pt x="1439" y="1431"/>
                      </a:lnTo>
                      <a:lnTo>
                        <a:pt x="1441" y="1431"/>
                      </a:lnTo>
                      <a:lnTo>
                        <a:pt x="1443" y="1430"/>
                      </a:lnTo>
                      <a:lnTo>
                        <a:pt x="1444" y="1430"/>
                      </a:lnTo>
                      <a:lnTo>
                        <a:pt x="1446" y="1428"/>
                      </a:lnTo>
                      <a:lnTo>
                        <a:pt x="1448" y="1428"/>
                      </a:lnTo>
                      <a:lnTo>
                        <a:pt x="1450" y="1423"/>
                      </a:lnTo>
                      <a:lnTo>
                        <a:pt x="1455" y="1417"/>
                      </a:lnTo>
                      <a:lnTo>
                        <a:pt x="1462" y="1414"/>
                      </a:lnTo>
                      <a:lnTo>
                        <a:pt x="1474" y="1407"/>
                      </a:lnTo>
                      <a:lnTo>
                        <a:pt x="1478" y="1405"/>
                      </a:lnTo>
                      <a:lnTo>
                        <a:pt x="1486" y="1403"/>
                      </a:lnTo>
                      <a:lnTo>
                        <a:pt x="1490" y="1402"/>
                      </a:lnTo>
                      <a:lnTo>
                        <a:pt x="1493" y="1400"/>
                      </a:lnTo>
                      <a:lnTo>
                        <a:pt x="1502" y="1393"/>
                      </a:lnTo>
                      <a:lnTo>
                        <a:pt x="1504" y="1389"/>
                      </a:lnTo>
                      <a:lnTo>
                        <a:pt x="1509" y="1384"/>
                      </a:lnTo>
                      <a:lnTo>
                        <a:pt x="1518" y="1375"/>
                      </a:lnTo>
                      <a:lnTo>
                        <a:pt x="1519" y="1372"/>
                      </a:lnTo>
                      <a:lnTo>
                        <a:pt x="1521" y="1368"/>
                      </a:lnTo>
                      <a:lnTo>
                        <a:pt x="1523" y="1363"/>
                      </a:lnTo>
                      <a:lnTo>
                        <a:pt x="1521" y="1361"/>
                      </a:lnTo>
                      <a:lnTo>
                        <a:pt x="1518" y="1360"/>
                      </a:lnTo>
                      <a:lnTo>
                        <a:pt x="1500" y="1354"/>
                      </a:lnTo>
                      <a:lnTo>
                        <a:pt x="1497" y="1353"/>
                      </a:lnTo>
                      <a:lnTo>
                        <a:pt x="1506" y="1354"/>
                      </a:lnTo>
                      <a:lnTo>
                        <a:pt x="1519" y="1360"/>
                      </a:lnTo>
                      <a:lnTo>
                        <a:pt x="1523" y="1360"/>
                      </a:lnTo>
                      <a:lnTo>
                        <a:pt x="1526" y="1360"/>
                      </a:lnTo>
                      <a:lnTo>
                        <a:pt x="1530" y="1356"/>
                      </a:lnTo>
                      <a:lnTo>
                        <a:pt x="1539" y="1346"/>
                      </a:lnTo>
                      <a:lnTo>
                        <a:pt x="1540" y="1342"/>
                      </a:lnTo>
                      <a:lnTo>
                        <a:pt x="1546" y="1339"/>
                      </a:lnTo>
                      <a:lnTo>
                        <a:pt x="1556" y="1332"/>
                      </a:lnTo>
                      <a:lnTo>
                        <a:pt x="1554" y="1330"/>
                      </a:lnTo>
                      <a:lnTo>
                        <a:pt x="1560" y="1328"/>
                      </a:lnTo>
                      <a:lnTo>
                        <a:pt x="1572" y="1326"/>
                      </a:lnTo>
                      <a:lnTo>
                        <a:pt x="1575" y="1325"/>
                      </a:lnTo>
                      <a:lnTo>
                        <a:pt x="1577" y="1321"/>
                      </a:lnTo>
                      <a:lnTo>
                        <a:pt x="1579" y="1314"/>
                      </a:lnTo>
                      <a:lnTo>
                        <a:pt x="1581" y="1311"/>
                      </a:lnTo>
                      <a:lnTo>
                        <a:pt x="1584" y="1307"/>
                      </a:lnTo>
                      <a:lnTo>
                        <a:pt x="1586" y="1304"/>
                      </a:lnTo>
                      <a:lnTo>
                        <a:pt x="1589" y="1300"/>
                      </a:lnTo>
                      <a:lnTo>
                        <a:pt x="1593" y="1300"/>
                      </a:lnTo>
                      <a:lnTo>
                        <a:pt x="1595" y="1298"/>
                      </a:lnTo>
                      <a:lnTo>
                        <a:pt x="1598" y="1298"/>
                      </a:lnTo>
                      <a:lnTo>
                        <a:pt x="1600" y="1298"/>
                      </a:lnTo>
                      <a:lnTo>
                        <a:pt x="1605" y="1297"/>
                      </a:lnTo>
                      <a:lnTo>
                        <a:pt x="1607" y="1297"/>
                      </a:lnTo>
                      <a:lnTo>
                        <a:pt x="1616" y="1295"/>
                      </a:lnTo>
                      <a:lnTo>
                        <a:pt x="1636" y="1295"/>
                      </a:lnTo>
                      <a:lnTo>
                        <a:pt x="1640" y="1297"/>
                      </a:lnTo>
                      <a:lnTo>
                        <a:pt x="1642" y="1297"/>
                      </a:lnTo>
                      <a:lnTo>
                        <a:pt x="1643" y="1297"/>
                      </a:lnTo>
                      <a:lnTo>
                        <a:pt x="1647" y="1295"/>
                      </a:lnTo>
                      <a:lnTo>
                        <a:pt x="1649" y="1295"/>
                      </a:lnTo>
                      <a:lnTo>
                        <a:pt x="1661" y="1297"/>
                      </a:lnTo>
                      <a:lnTo>
                        <a:pt x="1673" y="1295"/>
                      </a:lnTo>
                      <a:lnTo>
                        <a:pt x="1677" y="1297"/>
                      </a:lnTo>
                      <a:lnTo>
                        <a:pt x="1687" y="1297"/>
                      </a:lnTo>
                      <a:lnTo>
                        <a:pt x="1689" y="1298"/>
                      </a:lnTo>
                      <a:lnTo>
                        <a:pt x="1691" y="1298"/>
                      </a:lnTo>
                      <a:lnTo>
                        <a:pt x="1694" y="1302"/>
                      </a:lnTo>
                      <a:lnTo>
                        <a:pt x="1696" y="1302"/>
                      </a:lnTo>
                      <a:lnTo>
                        <a:pt x="1698" y="1302"/>
                      </a:lnTo>
                      <a:lnTo>
                        <a:pt x="1703" y="1300"/>
                      </a:lnTo>
                      <a:lnTo>
                        <a:pt x="1705" y="1298"/>
                      </a:lnTo>
                      <a:lnTo>
                        <a:pt x="1706" y="1298"/>
                      </a:lnTo>
                      <a:lnTo>
                        <a:pt x="1710" y="1298"/>
                      </a:lnTo>
                      <a:lnTo>
                        <a:pt x="1729" y="1297"/>
                      </a:lnTo>
                      <a:lnTo>
                        <a:pt x="1733" y="1297"/>
                      </a:lnTo>
                      <a:lnTo>
                        <a:pt x="1734" y="1295"/>
                      </a:lnTo>
                      <a:lnTo>
                        <a:pt x="1747" y="1283"/>
                      </a:lnTo>
                      <a:lnTo>
                        <a:pt x="1759" y="1271"/>
                      </a:lnTo>
                      <a:lnTo>
                        <a:pt x="1760" y="1265"/>
                      </a:lnTo>
                      <a:lnTo>
                        <a:pt x="1762" y="1265"/>
                      </a:lnTo>
                      <a:lnTo>
                        <a:pt x="1766" y="1264"/>
                      </a:lnTo>
                      <a:lnTo>
                        <a:pt x="1773" y="1264"/>
                      </a:lnTo>
                      <a:lnTo>
                        <a:pt x="1776" y="1262"/>
                      </a:lnTo>
                      <a:lnTo>
                        <a:pt x="1780" y="1260"/>
                      </a:lnTo>
                      <a:lnTo>
                        <a:pt x="1783" y="1260"/>
                      </a:lnTo>
                      <a:lnTo>
                        <a:pt x="1792" y="1258"/>
                      </a:lnTo>
                      <a:lnTo>
                        <a:pt x="1797" y="1258"/>
                      </a:lnTo>
                      <a:lnTo>
                        <a:pt x="1801" y="1257"/>
                      </a:lnTo>
                      <a:lnTo>
                        <a:pt x="1806" y="1251"/>
                      </a:lnTo>
                      <a:lnTo>
                        <a:pt x="1815" y="1246"/>
                      </a:lnTo>
                      <a:lnTo>
                        <a:pt x="1820" y="1243"/>
                      </a:lnTo>
                      <a:lnTo>
                        <a:pt x="1823" y="1239"/>
                      </a:lnTo>
                      <a:lnTo>
                        <a:pt x="1823" y="1236"/>
                      </a:lnTo>
                      <a:lnTo>
                        <a:pt x="1823" y="1234"/>
                      </a:lnTo>
                      <a:lnTo>
                        <a:pt x="1820" y="1232"/>
                      </a:lnTo>
                      <a:lnTo>
                        <a:pt x="1818" y="1229"/>
                      </a:lnTo>
                      <a:lnTo>
                        <a:pt x="1820" y="1230"/>
                      </a:lnTo>
                      <a:lnTo>
                        <a:pt x="1822" y="1230"/>
                      </a:lnTo>
                      <a:lnTo>
                        <a:pt x="1823" y="1229"/>
                      </a:lnTo>
                      <a:lnTo>
                        <a:pt x="1823" y="1227"/>
                      </a:lnTo>
                      <a:lnTo>
                        <a:pt x="1820" y="1225"/>
                      </a:lnTo>
                      <a:lnTo>
                        <a:pt x="1816" y="1225"/>
                      </a:lnTo>
                      <a:lnTo>
                        <a:pt x="1811" y="1225"/>
                      </a:lnTo>
                      <a:lnTo>
                        <a:pt x="1813" y="1223"/>
                      </a:lnTo>
                      <a:lnTo>
                        <a:pt x="1818" y="1223"/>
                      </a:lnTo>
                      <a:lnTo>
                        <a:pt x="1820" y="1223"/>
                      </a:lnTo>
                      <a:lnTo>
                        <a:pt x="1822" y="1222"/>
                      </a:lnTo>
                      <a:lnTo>
                        <a:pt x="1822" y="1220"/>
                      </a:lnTo>
                      <a:lnTo>
                        <a:pt x="1822" y="1216"/>
                      </a:lnTo>
                      <a:lnTo>
                        <a:pt x="1820" y="1213"/>
                      </a:lnTo>
                      <a:lnTo>
                        <a:pt x="1822" y="1208"/>
                      </a:lnTo>
                      <a:lnTo>
                        <a:pt x="1822" y="1204"/>
                      </a:lnTo>
                      <a:lnTo>
                        <a:pt x="1820" y="1201"/>
                      </a:lnTo>
                      <a:lnTo>
                        <a:pt x="1818" y="1199"/>
                      </a:lnTo>
                      <a:lnTo>
                        <a:pt x="1818" y="1197"/>
                      </a:lnTo>
                      <a:lnTo>
                        <a:pt x="1816" y="1195"/>
                      </a:lnTo>
                      <a:lnTo>
                        <a:pt x="1813" y="1194"/>
                      </a:lnTo>
                      <a:lnTo>
                        <a:pt x="1813" y="1194"/>
                      </a:lnTo>
                      <a:lnTo>
                        <a:pt x="1811" y="1192"/>
                      </a:lnTo>
                      <a:lnTo>
                        <a:pt x="1809" y="1192"/>
                      </a:lnTo>
                      <a:lnTo>
                        <a:pt x="1809" y="1192"/>
                      </a:lnTo>
                      <a:lnTo>
                        <a:pt x="1808" y="1190"/>
                      </a:lnTo>
                      <a:lnTo>
                        <a:pt x="1808" y="1188"/>
                      </a:lnTo>
                      <a:lnTo>
                        <a:pt x="1802" y="1188"/>
                      </a:lnTo>
                      <a:lnTo>
                        <a:pt x="1797" y="1190"/>
                      </a:lnTo>
                      <a:lnTo>
                        <a:pt x="1788" y="1197"/>
                      </a:lnTo>
                      <a:lnTo>
                        <a:pt x="1788" y="1195"/>
                      </a:lnTo>
                      <a:lnTo>
                        <a:pt x="1788" y="1195"/>
                      </a:lnTo>
                      <a:lnTo>
                        <a:pt x="1787" y="1194"/>
                      </a:lnTo>
                      <a:lnTo>
                        <a:pt x="1785" y="1194"/>
                      </a:lnTo>
                      <a:lnTo>
                        <a:pt x="1787" y="1192"/>
                      </a:lnTo>
                      <a:lnTo>
                        <a:pt x="1790" y="1190"/>
                      </a:lnTo>
                      <a:lnTo>
                        <a:pt x="1792" y="1190"/>
                      </a:lnTo>
                      <a:lnTo>
                        <a:pt x="1794" y="1187"/>
                      </a:lnTo>
                      <a:lnTo>
                        <a:pt x="1792" y="1183"/>
                      </a:lnTo>
                      <a:lnTo>
                        <a:pt x="1790" y="1181"/>
                      </a:lnTo>
                      <a:lnTo>
                        <a:pt x="1787" y="1178"/>
                      </a:lnTo>
                      <a:lnTo>
                        <a:pt x="1783" y="1176"/>
                      </a:lnTo>
                      <a:lnTo>
                        <a:pt x="1780" y="1176"/>
                      </a:lnTo>
                      <a:lnTo>
                        <a:pt x="1776" y="1176"/>
                      </a:lnTo>
                      <a:lnTo>
                        <a:pt x="1771" y="1176"/>
                      </a:lnTo>
                      <a:lnTo>
                        <a:pt x="1767" y="1176"/>
                      </a:lnTo>
                      <a:lnTo>
                        <a:pt x="1767" y="1178"/>
                      </a:lnTo>
                      <a:lnTo>
                        <a:pt x="1771" y="1178"/>
                      </a:lnTo>
                      <a:lnTo>
                        <a:pt x="1776" y="1180"/>
                      </a:lnTo>
                      <a:lnTo>
                        <a:pt x="1769" y="1181"/>
                      </a:lnTo>
                      <a:lnTo>
                        <a:pt x="1762" y="1183"/>
                      </a:lnTo>
                      <a:lnTo>
                        <a:pt x="1755" y="1187"/>
                      </a:lnTo>
                      <a:lnTo>
                        <a:pt x="1747" y="1192"/>
                      </a:lnTo>
                      <a:lnTo>
                        <a:pt x="1736" y="1197"/>
                      </a:lnTo>
                      <a:lnTo>
                        <a:pt x="1734" y="1199"/>
                      </a:lnTo>
                      <a:lnTo>
                        <a:pt x="1731" y="1201"/>
                      </a:lnTo>
                      <a:lnTo>
                        <a:pt x="1729" y="1202"/>
                      </a:lnTo>
                      <a:lnTo>
                        <a:pt x="1726" y="1204"/>
                      </a:lnTo>
                      <a:lnTo>
                        <a:pt x="1726" y="1202"/>
                      </a:lnTo>
                      <a:lnTo>
                        <a:pt x="1726" y="1202"/>
                      </a:lnTo>
                      <a:lnTo>
                        <a:pt x="1726" y="1202"/>
                      </a:lnTo>
                      <a:lnTo>
                        <a:pt x="1727" y="1201"/>
                      </a:lnTo>
                      <a:lnTo>
                        <a:pt x="1726" y="1201"/>
                      </a:lnTo>
                      <a:lnTo>
                        <a:pt x="1727" y="1199"/>
                      </a:lnTo>
                      <a:lnTo>
                        <a:pt x="1731" y="1197"/>
                      </a:lnTo>
                      <a:lnTo>
                        <a:pt x="1729" y="1195"/>
                      </a:lnTo>
                      <a:lnTo>
                        <a:pt x="1727" y="1195"/>
                      </a:lnTo>
                      <a:lnTo>
                        <a:pt x="1726" y="1194"/>
                      </a:lnTo>
                      <a:lnTo>
                        <a:pt x="1724" y="1192"/>
                      </a:lnTo>
                      <a:lnTo>
                        <a:pt x="1727" y="1194"/>
                      </a:lnTo>
                      <a:lnTo>
                        <a:pt x="1729" y="1194"/>
                      </a:lnTo>
                      <a:lnTo>
                        <a:pt x="1731" y="1190"/>
                      </a:lnTo>
                      <a:lnTo>
                        <a:pt x="1734" y="1188"/>
                      </a:lnTo>
                      <a:lnTo>
                        <a:pt x="1738" y="1187"/>
                      </a:lnTo>
                      <a:lnTo>
                        <a:pt x="1740" y="1187"/>
                      </a:lnTo>
                      <a:lnTo>
                        <a:pt x="1743" y="1187"/>
                      </a:lnTo>
                      <a:lnTo>
                        <a:pt x="1747" y="1185"/>
                      </a:lnTo>
                      <a:lnTo>
                        <a:pt x="1752" y="1183"/>
                      </a:lnTo>
                      <a:lnTo>
                        <a:pt x="1755" y="1181"/>
                      </a:lnTo>
                      <a:lnTo>
                        <a:pt x="1757" y="1181"/>
                      </a:lnTo>
                      <a:lnTo>
                        <a:pt x="1759" y="1181"/>
                      </a:lnTo>
                      <a:lnTo>
                        <a:pt x="1760" y="1181"/>
                      </a:lnTo>
                      <a:lnTo>
                        <a:pt x="1762" y="1180"/>
                      </a:lnTo>
                      <a:lnTo>
                        <a:pt x="1764" y="1180"/>
                      </a:lnTo>
                      <a:lnTo>
                        <a:pt x="1766" y="1176"/>
                      </a:lnTo>
                      <a:lnTo>
                        <a:pt x="1767" y="1174"/>
                      </a:lnTo>
                      <a:lnTo>
                        <a:pt x="1780" y="1171"/>
                      </a:lnTo>
                      <a:lnTo>
                        <a:pt x="1787" y="1167"/>
                      </a:lnTo>
                      <a:lnTo>
                        <a:pt x="1785" y="1164"/>
                      </a:lnTo>
                      <a:lnTo>
                        <a:pt x="1783" y="1164"/>
                      </a:lnTo>
                      <a:lnTo>
                        <a:pt x="1780" y="1162"/>
                      </a:lnTo>
                      <a:lnTo>
                        <a:pt x="1778" y="1162"/>
                      </a:lnTo>
                      <a:lnTo>
                        <a:pt x="1778" y="1160"/>
                      </a:lnTo>
                      <a:lnTo>
                        <a:pt x="1776" y="1159"/>
                      </a:lnTo>
                      <a:lnTo>
                        <a:pt x="1774" y="1157"/>
                      </a:lnTo>
                      <a:lnTo>
                        <a:pt x="1774" y="1157"/>
                      </a:lnTo>
                      <a:lnTo>
                        <a:pt x="1773" y="1157"/>
                      </a:lnTo>
                      <a:lnTo>
                        <a:pt x="1771" y="1159"/>
                      </a:lnTo>
                      <a:lnTo>
                        <a:pt x="1769" y="1159"/>
                      </a:lnTo>
                      <a:lnTo>
                        <a:pt x="1767" y="1160"/>
                      </a:lnTo>
                      <a:lnTo>
                        <a:pt x="1766" y="1160"/>
                      </a:lnTo>
                      <a:lnTo>
                        <a:pt x="1764" y="1160"/>
                      </a:lnTo>
                      <a:lnTo>
                        <a:pt x="1760" y="1159"/>
                      </a:lnTo>
                      <a:lnTo>
                        <a:pt x="1759" y="1159"/>
                      </a:lnTo>
                      <a:lnTo>
                        <a:pt x="1757" y="1155"/>
                      </a:lnTo>
                      <a:lnTo>
                        <a:pt x="1753" y="1152"/>
                      </a:lnTo>
                      <a:lnTo>
                        <a:pt x="1752" y="1148"/>
                      </a:lnTo>
                      <a:lnTo>
                        <a:pt x="1748" y="1148"/>
                      </a:lnTo>
                      <a:lnTo>
                        <a:pt x="1747" y="1150"/>
                      </a:lnTo>
                      <a:lnTo>
                        <a:pt x="1743" y="1153"/>
                      </a:lnTo>
                      <a:lnTo>
                        <a:pt x="1738" y="1157"/>
                      </a:lnTo>
                      <a:lnTo>
                        <a:pt x="1736" y="1159"/>
                      </a:lnTo>
                      <a:lnTo>
                        <a:pt x="1738" y="1157"/>
                      </a:lnTo>
                      <a:lnTo>
                        <a:pt x="1745" y="1148"/>
                      </a:lnTo>
                      <a:lnTo>
                        <a:pt x="1743" y="1148"/>
                      </a:lnTo>
                      <a:lnTo>
                        <a:pt x="1741" y="1148"/>
                      </a:lnTo>
                      <a:lnTo>
                        <a:pt x="1740" y="1148"/>
                      </a:lnTo>
                      <a:lnTo>
                        <a:pt x="1738" y="1146"/>
                      </a:lnTo>
                      <a:lnTo>
                        <a:pt x="1738" y="1146"/>
                      </a:lnTo>
                      <a:lnTo>
                        <a:pt x="1738" y="1146"/>
                      </a:lnTo>
                      <a:lnTo>
                        <a:pt x="1736" y="1145"/>
                      </a:lnTo>
                      <a:lnTo>
                        <a:pt x="1736" y="1146"/>
                      </a:lnTo>
                      <a:lnTo>
                        <a:pt x="1734" y="1146"/>
                      </a:lnTo>
                      <a:lnTo>
                        <a:pt x="1734" y="1146"/>
                      </a:lnTo>
                      <a:lnTo>
                        <a:pt x="1733" y="1146"/>
                      </a:lnTo>
                      <a:lnTo>
                        <a:pt x="1729" y="1146"/>
                      </a:lnTo>
                      <a:lnTo>
                        <a:pt x="1727" y="1148"/>
                      </a:lnTo>
                      <a:lnTo>
                        <a:pt x="1726" y="1148"/>
                      </a:lnTo>
                      <a:lnTo>
                        <a:pt x="1724" y="1150"/>
                      </a:lnTo>
                      <a:lnTo>
                        <a:pt x="1720" y="1152"/>
                      </a:lnTo>
                      <a:lnTo>
                        <a:pt x="1719" y="1152"/>
                      </a:lnTo>
                      <a:lnTo>
                        <a:pt x="1720" y="1152"/>
                      </a:lnTo>
                      <a:lnTo>
                        <a:pt x="1720" y="1150"/>
                      </a:lnTo>
                      <a:lnTo>
                        <a:pt x="1727" y="1143"/>
                      </a:lnTo>
                      <a:lnTo>
                        <a:pt x="1727" y="1141"/>
                      </a:lnTo>
                      <a:lnTo>
                        <a:pt x="1727" y="1139"/>
                      </a:lnTo>
                      <a:lnTo>
                        <a:pt x="1726" y="1138"/>
                      </a:lnTo>
                      <a:lnTo>
                        <a:pt x="1724" y="1136"/>
                      </a:lnTo>
                      <a:lnTo>
                        <a:pt x="1726" y="1132"/>
                      </a:lnTo>
                      <a:lnTo>
                        <a:pt x="1724" y="1132"/>
                      </a:lnTo>
                      <a:lnTo>
                        <a:pt x="1722" y="1132"/>
                      </a:lnTo>
                      <a:lnTo>
                        <a:pt x="1720" y="1132"/>
                      </a:lnTo>
                      <a:lnTo>
                        <a:pt x="1720" y="1134"/>
                      </a:lnTo>
                      <a:lnTo>
                        <a:pt x="1720" y="1132"/>
                      </a:lnTo>
                      <a:lnTo>
                        <a:pt x="1719" y="1131"/>
                      </a:lnTo>
                      <a:lnTo>
                        <a:pt x="1717" y="1129"/>
                      </a:lnTo>
                      <a:lnTo>
                        <a:pt x="1717" y="1129"/>
                      </a:lnTo>
                      <a:lnTo>
                        <a:pt x="1715" y="1129"/>
                      </a:lnTo>
                      <a:lnTo>
                        <a:pt x="1713" y="1129"/>
                      </a:lnTo>
                      <a:lnTo>
                        <a:pt x="1713" y="1129"/>
                      </a:lnTo>
                      <a:lnTo>
                        <a:pt x="1712" y="1131"/>
                      </a:lnTo>
                      <a:lnTo>
                        <a:pt x="1708" y="1129"/>
                      </a:lnTo>
                      <a:lnTo>
                        <a:pt x="1703" y="1127"/>
                      </a:lnTo>
                      <a:lnTo>
                        <a:pt x="1701" y="1125"/>
                      </a:lnTo>
                      <a:lnTo>
                        <a:pt x="1701" y="1125"/>
                      </a:lnTo>
                      <a:lnTo>
                        <a:pt x="1703" y="1125"/>
                      </a:lnTo>
                      <a:lnTo>
                        <a:pt x="1705" y="1125"/>
                      </a:lnTo>
                      <a:lnTo>
                        <a:pt x="1703" y="1122"/>
                      </a:lnTo>
                      <a:lnTo>
                        <a:pt x="1703" y="1122"/>
                      </a:lnTo>
                      <a:lnTo>
                        <a:pt x="1701" y="1122"/>
                      </a:lnTo>
                      <a:lnTo>
                        <a:pt x="1698" y="1120"/>
                      </a:lnTo>
                      <a:lnTo>
                        <a:pt x="1696" y="1120"/>
                      </a:lnTo>
                      <a:lnTo>
                        <a:pt x="1696" y="1118"/>
                      </a:lnTo>
                      <a:lnTo>
                        <a:pt x="1699" y="1118"/>
                      </a:lnTo>
                      <a:lnTo>
                        <a:pt x="1701" y="1117"/>
                      </a:lnTo>
                      <a:lnTo>
                        <a:pt x="1699" y="1115"/>
                      </a:lnTo>
                      <a:lnTo>
                        <a:pt x="1692" y="1115"/>
                      </a:lnTo>
                      <a:lnTo>
                        <a:pt x="1689" y="1115"/>
                      </a:lnTo>
                      <a:lnTo>
                        <a:pt x="1691" y="1113"/>
                      </a:lnTo>
                      <a:lnTo>
                        <a:pt x="1692" y="1113"/>
                      </a:lnTo>
                      <a:lnTo>
                        <a:pt x="1694" y="1113"/>
                      </a:lnTo>
                      <a:lnTo>
                        <a:pt x="1694" y="1112"/>
                      </a:lnTo>
                      <a:lnTo>
                        <a:pt x="1691" y="1110"/>
                      </a:lnTo>
                      <a:lnTo>
                        <a:pt x="1682" y="1108"/>
                      </a:lnTo>
                      <a:lnTo>
                        <a:pt x="1678" y="1105"/>
                      </a:lnTo>
                      <a:lnTo>
                        <a:pt x="1680" y="1105"/>
                      </a:lnTo>
                      <a:lnTo>
                        <a:pt x="1680" y="1105"/>
                      </a:lnTo>
                      <a:lnTo>
                        <a:pt x="1682" y="1105"/>
                      </a:lnTo>
                      <a:lnTo>
                        <a:pt x="1684" y="1105"/>
                      </a:lnTo>
                      <a:lnTo>
                        <a:pt x="1682" y="1105"/>
                      </a:lnTo>
                      <a:lnTo>
                        <a:pt x="1684" y="1106"/>
                      </a:lnTo>
                      <a:lnTo>
                        <a:pt x="1687" y="1108"/>
                      </a:lnTo>
                      <a:lnTo>
                        <a:pt x="1698" y="1108"/>
                      </a:lnTo>
                      <a:lnTo>
                        <a:pt x="1699" y="1108"/>
                      </a:lnTo>
                      <a:lnTo>
                        <a:pt x="1701" y="1108"/>
                      </a:lnTo>
                      <a:lnTo>
                        <a:pt x="1703" y="1108"/>
                      </a:lnTo>
                      <a:lnTo>
                        <a:pt x="1703" y="1106"/>
                      </a:lnTo>
                      <a:lnTo>
                        <a:pt x="1703" y="1101"/>
                      </a:lnTo>
                      <a:lnTo>
                        <a:pt x="1703" y="1099"/>
                      </a:lnTo>
                      <a:lnTo>
                        <a:pt x="1701" y="1096"/>
                      </a:lnTo>
                      <a:lnTo>
                        <a:pt x="1698" y="1094"/>
                      </a:lnTo>
                      <a:lnTo>
                        <a:pt x="1696" y="1094"/>
                      </a:lnTo>
                      <a:lnTo>
                        <a:pt x="1694" y="1094"/>
                      </a:lnTo>
                      <a:lnTo>
                        <a:pt x="1692" y="1094"/>
                      </a:lnTo>
                      <a:lnTo>
                        <a:pt x="1691" y="1092"/>
                      </a:lnTo>
                      <a:lnTo>
                        <a:pt x="1691" y="1087"/>
                      </a:lnTo>
                      <a:lnTo>
                        <a:pt x="1689" y="1087"/>
                      </a:lnTo>
                      <a:lnTo>
                        <a:pt x="1684" y="1087"/>
                      </a:lnTo>
                      <a:lnTo>
                        <a:pt x="1678" y="1085"/>
                      </a:lnTo>
                      <a:lnTo>
                        <a:pt x="1682" y="1085"/>
                      </a:lnTo>
                      <a:lnTo>
                        <a:pt x="1685" y="1084"/>
                      </a:lnTo>
                      <a:lnTo>
                        <a:pt x="1689" y="1082"/>
                      </a:lnTo>
                      <a:lnTo>
                        <a:pt x="1691" y="1080"/>
                      </a:lnTo>
                      <a:lnTo>
                        <a:pt x="1691" y="1071"/>
                      </a:lnTo>
                      <a:lnTo>
                        <a:pt x="1691" y="1071"/>
                      </a:lnTo>
                      <a:lnTo>
                        <a:pt x="1689" y="1070"/>
                      </a:lnTo>
                      <a:lnTo>
                        <a:pt x="1687" y="1070"/>
                      </a:lnTo>
                      <a:lnTo>
                        <a:pt x="1684" y="1070"/>
                      </a:lnTo>
                      <a:lnTo>
                        <a:pt x="1682" y="1068"/>
                      </a:lnTo>
                      <a:lnTo>
                        <a:pt x="1680" y="1068"/>
                      </a:lnTo>
                      <a:lnTo>
                        <a:pt x="1680" y="1066"/>
                      </a:lnTo>
                      <a:lnTo>
                        <a:pt x="1678" y="1064"/>
                      </a:lnTo>
                      <a:lnTo>
                        <a:pt x="1677" y="1063"/>
                      </a:lnTo>
                      <a:lnTo>
                        <a:pt x="1673" y="1064"/>
                      </a:lnTo>
                      <a:lnTo>
                        <a:pt x="1666" y="1068"/>
                      </a:lnTo>
                      <a:lnTo>
                        <a:pt x="1663" y="1068"/>
                      </a:lnTo>
                      <a:lnTo>
                        <a:pt x="1666" y="1064"/>
                      </a:lnTo>
                      <a:lnTo>
                        <a:pt x="1670" y="1063"/>
                      </a:lnTo>
                      <a:lnTo>
                        <a:pt x="1673" y="1059"/>
                      </a:lnTo>
                      <a:lnTo>
                        <a:pt x="1675" y="1056"/>
                      </a:lnTo>
                      <a:lnTo>
                        <a:pt x="1675" y="1052"/>
                      </a:lnTo>
                      <a:lnTo>
                        <a:pt x="1673" y="1052"/>
                      </a:lnTo>
                      <a:lnTo>
                        <a:pt x="1664" y="1056"/>
                      </a:lnTo>
                      <a:lnTo>
                        <a:pt x="1664" y="1054"/>
                      </a:lnTo>
                      <a:lnTo>
                        <a:pt x="1661" y="1054"/>
                      </a:lnTo>
                      <a:lnTo>
                        <a:pt x="1659" y="1056"/>
                      </a:lnTo>
                      <a:lnTo>
                        <a:pt x="1656" y="1057"/>
                      </a:lnTo>
                      <a:lnTo>
                        <a:pt x="1659" y="1054"/>
                      </a:lnTo>
                      <a:lnTo>
                        <a:pt x="1661" y="1052"/>
                      </a:lnTo>
                      <a:lnTo>
                        <a:pt x="1663" y="1052"/>
                      </a:lnTo>
                      <a:lnTo>
                        <a:pt x="1666" y="1050"/>
                      </a:lnTo>
                      <a:lnTo>
                        <a:pt x="1668" y="1049"/>
                      </a:lnTo>
                      <a:lnTo>
                        <a:pt x="1670" y="1047"/>
                      </a:lnTo>
                      <a:lnTo>
                        <a:pt x="1670" y="1047"/>
                      </a:lnTo>
                      <a:lnTo>
                        <a:pt x="1670" y="1045"/>
                      </a:lnTo>
                      <a:lnTo>
                        <a:pt x="1670" y="1043"/>
                      </a:lnTo>
                      <a:lnTo>
                        <a:pt x="1668" y="1042"/>
                      </a:lnTo>
                      <a:lnTo>
                        <a:pt x="1666" y="1040"/>
                      </a:lnTo>
                      <a:lnTo>
                        <a:pt x="1664" y="1040"/>
                      </a:lnTo>
                      <a:lnTo>
                        <a:pt x="1664" y="1040"/>
                      </a:lnTo>
                      <a:lnTo>
                        <a:pt x="1663" y="1040"/>
                      </a:lnTo>
                      <a:lnTo>
                        <a:pt x="1663" y="1038"/>
                      </a:lnTo>
                      <a:lnTo>
                        <a:pt x="1661" y="1035"/>
                      </a:lnTo>
                      <a:lnTo>
                        <a:pt x="1663" y="1035"/>
                      </a:lnTo>
                      <a:lnTo>
                        <a:pt x="1659" y="1033"/>
                      </a:lnTo>
                      <a:lnTo>
                        <a:pt x="1650" y="1035"/>
                      </a:lnTo>
                      <a:lnTo>
                        <a:pt x="1647" y="1035"/>
                      </a:lnTo>
                      <a:lnTo>
                        <a:pt x="1654" y="1035"/>
                      </a:lnTo>
                      <a:lnTo>
                        <a:pt x="1656" y="1033"/>
                      </a:lnTo>
                      <a:lnTo>
                        <a:pt x="1657" y="1031"/>
                      </a:lnTo>
                      <a:lnTo>
                        <a:pt x="1659" y="1028"/>
                      </a:lnTo>
                      <a:lnTo>
                        <a:pt x="1657" y="1026"/>
                      </a:lnTo>
                      <a:lnTo>
                        <a:pt x="1654" y="1026"/>
                      </a:lnTo>
                      <a:lnTo>
                        <a:pt x="1652" y="1028"/>
                      </a:lnTo>
                      <a:lnTo>
                        <a:pt x="1650" y="1026"/>
                      </a:lnTo>
                      <a:lnTo>
                        <a:pt x="1650" y="1024"/>
                      </a:lnTo>
                      <a:lnTo>
                        <a:pt x="1649" y="1024"/>
                      </a:lnTo>
                      <a:lnTo>
                        <a:pt x="1647" y="1022"/>
                      </a:lnTo>
                      <a:lnTo>
                        <a:pt x="1650" y="1021"/>
                      </a:lnTo>
                      <a:lnTo>
                        <a:pt x="1650" y="1019"/>
                      </a:lnTo>
                      <a:lnTo>
                        <a:pt x="1650" y="1017"/>
                      </a:lnTo>
                      <a:lnTo>
                        <a:pt x="1649" y="1015"/>
                      </a:lnTo>
                      <a:lnTo>
                        <a:pt x="1645" y="1010"/>
                      </a:lnTo>
                      <a:lnTo>
                        <a:pt x="1643" y="1010"/>
                      </a:lnTo>
                      <a:lnTo>
                        <a:pt x="1642" y="1012"/>
                      </a:lnTo>
                      <a:lnTo>
                        <a:pt x="1643" y="1008"/>
                      </a:lnTo>
                      <a:lnTo>
                        <a:pt x="1643" y="1007"/>
                      </a:lnTo>
                      <a:lnTo>
                        <a:pt x="1642" y="1003"/>
                      </a:lnTo>
                      <a:lnTo>
                        <a:pt x="1640" y="1001"/>
                      </a:lnTo>
                      <a:lnTo>
                        <a:pt x="1638" y="1001"/>
                      </a:lnTo>
                      <a:lnTo>
                        <a:pt x="1633" y="1003"/>
                      </a:lnTo>
                      <a:lnTo>
                        <a:pt x="1630" y="1003"/>
                      </a:lnTo>
                      <a:lnTo>
                        <a:pt x="1635" y="1000"/>
                      </a:lnTo>
                      <a:lnTo>
                        <a:pt x="1636" y="998"/>
                      </a:lnTo>
                      <a:lnTo>
                        <a:pt x="1636" y="996"/>
                      </a:lnTo>
                      <a:lnTo>
                        <a:pt x="1636" y="993"/>
                      </a:lnTo>
                      <a:lnTo>
                        <a:pt x="1633" y="993"/>
                      </a:lnTo>
                      <a:lnTo>
                        <a:pt x="1630" y="993"/>
                      </a:lnTo>
                      <a:lnTo>
                        <a:pt x="1628" y="993"/>
                      </a:lnTo>
                      <a:lnTo>
                        <a:pt x="1624" y="996"/>
                      </a:lnTo>
                      <a:lnTo>
                        <a:pt x="1623" y="1001"/>
                      </a:lnTo>
                      <a:lnTo>
                        <a:pt x="1623" y="1007"/>
                      </a:lnTo>
                      <a:lnTo>
                        <a:pt x="1624" y="1010"/>
                      </a:lnTo>
                      <a:lnTo>
                        <a:pt x="1624" y="1012"/>
                      </a:lnTo>
                      <a:lnTo>
                        <a:pt x="1621" y="1010"/>
                      </a:lnTo>
                      <a:lnTo>
                        <a:pt x="1617" y="1010"/>
                      </a:lnTo>
                      <a:lnTo>
                        <a:pt x="1616" y="1012"/>
                      </a:lnTo>
                      <a:lnTo>
                        <a:pt x="1616" y="1015"/>
                      </a:lnTo>
                      <a:lnTo>
                        <a:pt x="1616" y="1017"/>
                      </a:lnTo>
                      <a:lnTo>
                        <a:pt x="1619" y="1021"/>
                      </a:lnTo>
                      <a:lnTo>
                        <a:pt x="1623" y="1021"/>
                      </a:lnTo>
                      <a:lnTo>
                        <a:pt x="1624" y="1024"/>
                      </a:lnTo>
                      <a:lnTo>
                        <a:pt x="1621" y="1022"/>
                      </a:lnTo>
                      <a:lnTo>
                        <a:pt x="1617" y="1021"/>
                      </a:lnTo>
                      <a:lnTo>
                        <a:pt x="1616" y="1021"/>
                      </a:lnTo>
                      <a:lnTo>
                        <a:pt x="1616" y="1026"/>
                      </a:lnTo>
                      <a:lnTo>
                        <a:pt x="1616" y="1024"/>
                      </a:lnTo>
                      <a:lnTo>
                        <a:pt x="1614" y="1026"/>
                      </a:lnTo>
                      <a:lnTo>
                        <a:pt x="1614" y="1026"/>
                      </a:lnTo>
                      <a:lnTo>
                        <a:pt x="1614" y="1028"/>
                      </a:lnTo>
                      <a:lnTo>
                        <a:pt x="1612" y="1028"/>
                      </a:lnTo>
                      <a:lnTo>
                        <a:pt x="1612" y="1029"/>
                      </a:lnTo>
                      <a:lnTo>
                        <a:pt x="1610" y="1029"/>
                      </a:lnTo>
                      <a:lnTo>
                        <a:pt x="1610" y="1029"/>
                      </a:lnTo>
                      <a:lnTo>
                        <a:pt x="1610" y="1031"/>
                      </a:lnTo>
                      <a:lnTo>
                        <a:pt x="1612" y="1033"/>
                      </a:lnTo>
                      <a:lnTo>
                        <a:pt x="1617" y="1035"/>
                      </a:lnTo>
                      <a:lnTo>
                        <a:pt x="1616" y="1035"/>
                      </a:lnTo>
                      <a:lnTo>
                        <a:pt x="1612" y="1035"/>
                      </a:lnTo>
                      <a:lnTo>
                        <a:pt x="1610" y="1036"/>
                      </a:lnTo>
                      <a:lnTo>
                        <a:pt x="1610" y="1036"/>
                      </a:lnTo>
                      <a:lnTo>
                        <a:pt x="1609" y="1036"/>
                      </a:lnTo>
                      <a:lnTo>
                        <a:pt x="1607" y="1038"/>
                      </a:lnTo>
                      <a:lnTo>
                        <a:pt x="1605" y="1040"/>
                      </a:lnTo>
                      <a:lnTo>
                        <a:pt x="1607" y="1040"/>
                      </a:lnTo>
                      <a:lnTo>
                        <a:pt x="1603" y="1043"/>
                      </a:lnTo>
                      <a:lnTo>
                        <a:pt x="1603" y="1045"/>
                      </a:lnTo>
                      <a:lnTo>
                        <a:pt x="1605" y="1050"/>
                      </a:lnTo>
                      <a:lnTo>
                        <a:pt x="1603" y="1054"/>
                      </a:lnTo>
                      <a:lnTo>
                        <a:pt x="1603" y="1052"/>
                      </a:lnTo>
                      <a:lnTo>
                        <a:pt x="1602" y="1049"/>
                      </a:lnTo>
                      <a:lnTo>
                        <a:pt x="1602" y="1045"/>
                      </a:lnTo>
                      <a:lnTo>
                        <a:pt x="1598" y="1043"/>
                      </a:lnTo>
                      <a:lnTo>
                        <a:pt x="1595" y="1043"/>
                      </a:lnTo>
                      <a:lnTo>
                        <a:pt x="1593" y="1045"/>
                      </a:lnTo>
                      <a:lnTo>
                        <a:pt x="1591" y="1049"/>
                      </a:lnTo>
                      <a:lnTo>
                        <a:pt x="1589" y="1050"/>
                      </a:lnTo>
                      <a:lnTo>
                        <a:pt x="1588" y="1054"/>
                      </a:lnTo>
                      <a:lnTo>
                        <a:pt x="1575" y="1057"/>
                      </a:lnTo>
                      <a:lnTo>
                        <a:pt x="1572" y="1061"/>
                      </a:lnTo>
                      <a:lnTo>
                        <a:pt x="1570" y="1063"/>
                      </a:lnTo>
                      <a:lnTo>
                        <a:pt x="1568" y="1068"/>
                      </a:lnTo>
                      <a:lnTo>
                        <a:pt x="1567" y="1059"/>
                      </a:lnTo>
                      <a:lnTo>
                        <a:pt x="1567" y="1056"/>
                      </a:lnTo>
                      <a:lnTo>
                        <a:pt x="1563" y="1061"/>
                      </a:lnTo>
                      <a:lnTo>
                        <a:pt x="1561" y="1063"/>
                      </a:lnTo>
                      <a:lnTo>
                        <a:pt x="1560" y="1064"/>
                      </a:lnTo>
                      <a:lnTo>
                        <a:pt x="1561" y="1061"/>
                      </a:lnTo>
                      <a:lnTo>
                        <a:pt x="1563" y="1059"/>
                      </a:lnTo>
                      <a:lnTo>
                        <a:pt x="1563" y="1057"/>
                      </a:lnTo>
                      <a:lnTo>
                        <a:pt x="1563" y="1056"/>
                      </a:lnTo>
                      <a:lnTo>
                        <a:pt x="1561" y="1054"/>
                      </a:lnTo>
                      <a:lnTo>
                        <a:pt x="1560" y="1054"/>
                      </a:lnTo>
                      <a:lnTo>
                        <a:pt x="1558" y="1056"/>
                      </a:lnTo>
                      <a:lnTo>
                        <a:pt x="1554" y="1063"/>
                      </a:lnTo>
                      <a:lnTo>
                        <a:pt x="1553" y="1066"/>
                      </a:lnTo>
                      <a:lnTo>
                        <a:pt x="1551" y="1068"/>
                      </a:lnTo>
                      <a:lnTo>
                        <a:pt x="1547" y="1068"/>
                      </a:lnTo>
                      <a:lnTo>
                        <a:pt x="1539" y="1071"/>
                      </a:lnTo>
                      <a:lnTo>
                        <a:pt x="1542" y="1068"/>
                      </a:lnTo>
                      <a:lnTo>
                        <a:pt x="1551" y="1064"/>
                      </a:lnTo>
                      <a:lnTo>
                        <a:pt x="1554" y="1061"/>
                      </a:lnTo>
                      <a:lnTo>
                        <a:pt x="1556" y="1056"/>
                      </a:lnTo>
                      <a:lnTo>
                        <a:pt x="1556" y="1052"/>
                      </a:lnTo>
                      <a:lnTo>
                        <a:pt x="1554" y="1047"/>
                      </a:lnTo>
                      <a:lnTo>
                        <a:pt x="1553" y="1043"/>
                      </a:lnTo>
                      <a:lnTo>
                        <a:pt x="1549" y="1040"/>
                      </a:lnTo>
                      <a:lnTo>
                        <a:pt x="1544" y="1038"/>
                      </a:lnTo>
                      <a:lnTo>
                        <a:pt x="1539" y="1038"/>
                      </a:lnTo>
                      <a:lnTo>
                        <a:pt x="1533" y="1040"/>
                      </a:lnTo>
                      <a:lnTo>
                        <a:pt x="1525" y="1045"/>
                      </a:lnTo>
                      <a:lnTo>
                        <a:pt x="1519" y="1045"/>
                      </a:lnTo>
                      <a:lnTo>
                        <a:pt x="1514" y="1043"/>
                      </a:lnTo>
                      <a:lnTo>
                        <a:pt x="1516" y="1043"/>
                      </a:lnTo>
                      <a:lnTo>
                        <a:pt x="1518" y="1042"/>
                      </a:lnTo>
                      <a:lnTo>
                        <a:pt x="1519" y="1042"/>
                      </a:lnTo>
                      <a:lnTo>
                        <a:pt x="1521" y="1040"/>
                      </a:lnTo>
                      <a:lnTo>
                        <a:pt x="1521" y="1040"/>
                      </a:lnTo>
                      <a:lnTo>
                        <a:pt x="1521" y="1040"/>
                      </a:lnTo>
                      <a:lnTo>
                        <a:pt x="1521" y="1038"/>
                      </a:lnTo>
                      <a:lnTo>
                        <a:pt x="1523" y="1038"/>
                      </a:lnTo>
                      <a:lnTo>
                        <a:pt x="1525" y="1042"/>
                      </a:lnTo>
                      <a:lnTo>
                        <a:pt x="1526" y="1042"/>
                      </a:lnTo>
                      <a:lnTo>
                        <a:pt x="1528" y="1042"/>
                      </a:lnTo>
                      <a:lnTo>
                        <a:pt x="1530" y="1038"/>
                      </a:lnTo>
                      <a:lnTo>
                        <a:pt x="1530" y="1036"/>
                      </a:lnTo>
                      <a:lnTo>
                        <a:pt x="1530" y="1035"/>
                      </a:lnTo>
                      <a:lnTo>
                        <a:pt x="1530" y="1033"/>
                      </a:lnTo>
                      <a:lnTo>
                        <a:pt x="1530" y="1031"/>
                      </a:lnTo>
                      <a:lnTo>
                        <a:pt x="1530" y="1029"/>
                      </a:lnTo>
                      <a:lnTo>
                        <a:pt x="1530" y="1029"/>
                      </a:lnTo>
                      <a:lnTo>
                        <a:pt x="1532" y="1028"/>
                      </a:lnTo>
                      <a:lnTo>
                        <a:pt x="1532" y="1028"/>
                      </a:lnTo>
                      <a:lnTo>
                        <a:pt x="1532" y="1026"/>
                      </a:lnTo>
                      <a:lnTo>
                        <a:pt x="1530" y="1024"/>
                      </a:lnTo>
                      <a:lnTo>
                        <a:pt x="1526" y="1024"/>
                      </a:lnTo>
                      <a:lnTo>
                        <a:pt x="1525" y="1024"/>
                      </a:lnTo>
                      <a:lnTo>
                        <a:pt x="1525" y="1021"/>
                      </a:lnTo>
                      <a:lnTo>
                        <a:pt x="1526" y="1017"/>
                      </a:lnTo>
                      <a:lnTo>
                        <a:pt x="1526" y="1015"/>
                      </a:lnTo>
                      <a:lnTo>
                        <a:pt x="1526" y="1012"/>
                      </a:lnTo>
                      <a:lnTo>
                        <a:pt x="1526" y="1008"/>
                      </a:lnTo>
                      <a:lnTo>
                        <a:pt x="1521" y="1005"/>
                      </a:lnTo>
                      <a:lnTo>
                        <a:pt x="1509" y="1005"/>
                      </a:lnTo>
                      <a:lnTo>
                        <a:pt x="1504" y="1003"/>
                      </a:lnTo>
                      <a:lnTo>
                        <a:pt x="1514" y="1003"/>
                      </a:lnTo>
                      <a:lnTo>
                        <a:pt x="1519" y="1003"/>
                      </a:lnTo>
                      <a:lnTo>
                        <a:pt x="1523" y="1001"/>
                      </a:lnTo>
                      <a:lnTo>
                        <a:pt x="1526" y="1000"/>
                      </a:lnTo>
                      <a:lnTo>
                        <a:pt x="1526" y="998"/>
                      </a:lnTo>
                      <a:lnTo>
                        <a:pt x="1523" y="993"/>
                      </a:lnTo>
                      <a:lnTo>
                        <a:pt x="1523" y="987"/>
                      </a:lnTo>
                      <a:lnTo>
                        <a:pt x="1525" y="984"/>
                      </a:lnTo>
                      <a:lnTo>
                        <a:pt x="1526" y="980"/>
                      </a:lnTo>
                      <a:lnTo>
                        <a:pt x="1530" y="975"/>
                      </a:lnTo>
                      <a:lnTo>
                        <a:pt x="1530" y="972"/>
                      </a:lnTo>
                      <a:lnTo>
                        <a:pt x="1530" y="968"/>
                      </a:lnTo>
                      <a:lnTo>
                        <a:pt x="1528" y="966"/>
                      </a:lnTo>
                      <a:lnTo>
                        <a:pt x="1526" y="968"/>
                      </a:lnTo>
                      <a:lnTo>
                        <a:pt x="1525" y="970"/>
                      </a:lnTo>
                      <a:lnTo>
                        <a:pt x="1521" y="973"/>
                      </a:lnTo>
                      <a:lnTo>
                        <a:pt x="1518" y="973"/>
                      </a:lnTo>
                      <a:lnTo>
                        <a:pt x="1516" y="973"/>
                      </a:lnTo>
                      <a:lnTo>
                        <a:pt x="1516" y="972"/>
                      </a:lnTo>
                      <a:lnTo>
                        <a:pt x="1516" y="970"/>
                      </a:lnTo>
                      <a:lnTo>
                        <a:pt x="1514" y="968"/>
                      </a:lnTo>
                      <a:lnTo>
                        <a:pt x="1513" y="966"/>
                      </a:lnTo>
                      <a:lnTo>
                        <a:pt x="1513" y="966"/>
                      </a:lnTo>
                      <a:lnTo>
                        <a:pt x="1509" y="966"/>
                      </a:lnTo>
                      <a:lnTo>
                        <a:pt x="1504" y="966"/>
                      </a:lnTo>
                      <a:lnTo>
                        <a:pt x="1490" y="963"/>
                      </a:lnTo>
                      <a:lnTo>
                        <a:pt x="1486" y="963"/>
                      </a:lnTo>
                      <a:lnTo>
                        <a:pt x="1483" y="959"/>
                      </a:lnTo>
                      <a:lnTo>
                        <a:pt x="1481" y="958"/>
                      </a:lnTo>
                      <a:lnTo>
                        <a:pt x="1483" y="954"/>
                      </a:lnTo>
                      <a:lnTo>
                        <a:pt x="1479" y="954"/>
                      </a:lnTo>
                      <a:lnTo>
                        <a:pt x="1479" y="953"/>
                      </a:lnTo>
                      <a:lnTo>
                        <a:pt x="1483" y="949"/>
                      </a:lnTo>
                      <a:lnTo>
                        <a:pt x="1483" y="947"/>
                      </a:lnTo>
                      <a:lnTo>
                        <a:pt x="1481" y="946"/>
                      </a:lnTo>
                      <a:lnTo>
                        <a:pt x="1478" y="946"/>
                      </a:lnTo>
                      <a:lnTo>
                        <a:pt x="1474" y="947"/>
                      </a:lnTo>
                      <a:lnTo>
                        <a:pt x="1471" y="947"/>
                      </a:lnTo>
                      <a:lnTo>
                        <a:pt x="1474" y="947"/>
                      </a:lnTo>
                      <a:lnTo>
                        <a:pt x="1474" y="944"/>
                      </a:lnTo>
                      <a:lnTo>
                        <a:pt x="1472" y="942"/>
                      </a:lnTo>
                      <a:lnTo>
                        <a:pt x="1471" y="940"/>
                      </a:lnTo>
                      <a:lnTo>
                        <a:pt x="1467" y="937"/>
                      </a:lnTo>
                      <a:lnTo>
                        <a:pt x="1465" y="937"/>
                      </a:lnTo>
                      <a:lnTo>
                        <a:pt x="1462" y="939"/>
                      </a:lnTo>
                      <a:lnTo>
                        <a:pt x="1458" y="939"/>
                      </a:lnTo>
                      <a:lnTo>
                        <a:pt x="1460" y="937"/>
                      </a:lnTo>
                      <a:lnTo>
                        <a:pt x="1462" y="935"/>
                      </a:lnTo>
                      <a:lnTo>
                        <a:pt x="1462" y="932"/>
                      </a:lnTo>
                      <a:lnTo>
                        <a:pt x="1460" y="930"/>
                      </a:lnTo>
                      <a:lnTo>
                        <a:pt x="1458" y="930"/>
                      </a:lnTo>
                      <a:lnTo>
                        <a:pt x="1455" y="928"/>
                      </a:lnTo>
                      <a:lnTo>
                        <a:pt x="1453" y="928"/>
                      </a:lnTo>
                      <a:lnTo>
                        <a:pt x="1446" y="923"/>
                      </a:lnTo>
                      <a:lnTo>
                        <a:pt x="1441" y="921"/>
                      </a:lnTo>
                      <a:lnTo>
                        <a:pt x="1439" y="919"/>
                      </a:lnTo>
                      <a:lnTo>
                        <a:pt x="1436" y="921"/>
                      </a:lnTo>
                      <a:lnTo>
                        <a:pt x="1432" y="923"/>
                      </a:lnTo>
                      <a:lnTo>
                        <a:pt x="1423" y="925"/>
                      </a:lnTo>
                      <a:lnTo>
                        <a:pt x="1420" y="928"/>
                      </a:lnTo>
                      <a:lnTo>
                        <a:pt x="1420" y="930"/>
                      </a:lnTo>
                      <a:lnTo>
                        <a:pt x="1416" y="930"/>
                      </a:lnTo>
                      <a:lnTo>
                        <a:pt x="1409" y="926"/>
                      </a:lnTo>
                      <a:lnTo>
                        <a:pt x="1406" y="925"/>
                      </a:lnTo>
                      <a:lnTo>
                        <a:pt x="1402" y="925"/>
                      </a:lnTo>
                      <a:lnTo>
                        <a:pt x="1397" y="928"/>
                      </a:lnTo>
                      <a:lnTo>
                        <a:pt x="1394" y="928"/>
                      </a:lnTo>
                      <a:lnTo>
                        <a:pt x="1396" y="928"/>
                      </a:lnTo>
                      <a:lnTo>
                        <a:pt x="1397" y="926"/>
                      </a:lnTo>
                      <a:lnTo>
                        <a:pt x="1392" y="923"/>
                      </a:lnTo>
                      <a:lnTo>
                        <a:pt x="1387" y="921"/>
                      </a:lnTo>
                      <a:lnTo>
                        <a:pt x="1369" y="918"/>
                      </a:lnTo>
                      <a:lnTo>
                        <a:pt x="1364" y="916"/>
                      </a:lnTo>
                      <a:lnTo>
                        <a:pt x="1359" y="918"/>
                      </a:lnTo>
                      <a:lnTo>
                        <a:pt x="1352" y="919"/>
                      </a:lnTo>
                      <a:lnTo>
                        <a:pt x="1348" y="921"/>
                      </a:lnTo>
                      <a:lnTo>
                        <a:pt x="1345" y="925"/>
                      </a:lnTo>
                      <a:lnTo>
                        <a:pt x="1345" y="928"/>
                      </a:lnTo>
                      <a:lnTo>
                        <a:pt x="1345" y="933"/>
                      </a:lnTo>
                      <a:lnTo>
                        <a:pt x="1347" y="939"/>
                      </a:lnTo>
                      <a:lnTo>
                        <a:pt x="1350" y="942"/>
                      </a:lnTo>
                      <a:lnTo>
                        <a:pt x="1354" y="947"/>
                      </a:lnTo>
                      <a:lnTo>
                        <a:pt x="1357" y="949"/>
                      </a:lnTo>
                      <a:lnTo>
                        <a:pt x="1355" y="953"/>
                      </a:lnTo>
                      <a:lnTo>
                        <a:pt x="1354" y="954"/>
                      </a:lnTo>
                      <a:lnTo>
                        <a:pt x="1352" y="956"/>
                      </a:lnTo>
                      <a:lnTo>
                        <a:pt x="1352" y="958"/>
                      </a:lnTo>
                      <a:lnTo>
                        <a:pt x="1354" y="961"/>
                      </a:lnTo>
                      <a:lnTo>
                        <a:pt x="1352" y="963"/>
                      </a:lnTo>
                      <a:lnTo>
                        <a:pt x="1350" y="966"/>
                      </a:lnTo>
                      <a:lnTo>
                        <a:pt x="1345" y="972"/>
                      </a:lnTo>
                      <a:lnTo>
                        <a:pt x="1343" y="975"/>
                      </a:lnTo>
                      <a:lnTo>
                        <a:pt x="1345" y="975"/>
                      </a:lnTo>
                      <a:lnTo>
                        <a:pt x="1348" y="977"/>
                      </a:lnTo>
                      <a:lnTo>
                        <a:pt x="1350" y="977"/>
                      </a:lnTo>
                      <a:lnTo>
                        <a:pt x="1355" y="975"/>
                      </a:lnTo>
                      <a:lnTo>
                        <a:pt x="1355" y="975"/>
                      </a:lnTo>
                      <a:lnTo>
                        <a:pt x="1355" y="977"/>
                      </a:lnTo>
                      <a:lnTo>
                        <a:pt x="1354" y="979"/>
                      </a:lnTo>
                      <a:lnTo>
                        <a:pt x="1352" y="980"/>
                      </a:lnTo>
                      <a:lnTo>
                        <a:pt x="1352" y="980"/>
                      </a:lnTo>
                      <a:lnTo>
                        <a:pt x="1352" y="982"/>
                      </a:lnTo>
                      <a:lnTo>
                        <a:pt x="1354" y="984"/>
                      </a:lnTo>
                      <a:lnTo>
                        <a:pt x="1355" y="984"/>
                      </a:lnTo>
                      <a:lnTo>
                        <a:pt x="1357" y="986"/>
                      </a:lnTo>
                      <a:lnTo>
                        <a:pt x="1355" y="987"/>
                      </a:lnTo>
                      <a:lnTo>
                        <a:pt x="1355" y="989"/>
                      </a:lnTo>
                      <a:lnTo>
                        <a:pt x="1357" y="993"/>
                      </a:lnTo>
                      <a:lnTo>
                        <a:pt x="1357" y="996"/>
                      </a:lnTo>
                      <a:lnTo>
                        <a:pt x="1359" y="998"/>
                      </a:lnTo>
                      <a:lnTo>
                        <a:pt x="1359" y="998"/>
                      </a:lnTo>
                      <a:lnTo>
                        <a:pt x="1359" y="1000"/>
                      </a:lnTo>
                      <a:lnTo>
                        <a:pt x="1357" y="1000"/>
                      </a:lnTo>
                      <a:lnTo>
                        <a:pt x="1357" y="1001"/>
                      </a:lnTo>
                      <a:lnTo>
                        <a:pt x="1361" y="1001"/>
                      </a:lnTo>
                      <a:lnTo>
                        <a:pt x="1361" y="1001"/>
                      </a:lnTo>
                      <a:lnTo>
                        <a:pt x="1362" y="1005"/>
                      </a:lnTo>
                      <a:lnTo>
                        <a:pt x="1362" y="1008"/>
                      </a:lnTo>
                      <a:lnTo>
                        <a:pt x="1362" y="1010"/>
                      </a:lnTo>
                      <a:lnTo>
                        <a:pt x="1361" y="1012"/>
                      </a:lnTo>
                      <a:lnTo>
                        <a:pt x="1359" y="1014"/>
                      </a:lnTo>
                      <a:lnTo>
                        <a:pt x="1359" y="1015"/>
                      </a:lnTo>
                      <a:lnTo>
                        <a:pt x="1361" y="1017"/>
                      </a:lnTo>
                      <a:lnTo>
                        <a:pt x="1359" y="1017"/>
                      </a:lnTo>
                      <a:lnTo>
                        <a:pt x="1357" y="1015"/>
                      </a:lnTo>
                      <a:lnTo>
                        <a:pt x="1355" y="1014"/>
                      </a:lnTo>
                      <a:lnTo>
                        <a:pt x="1354" y="1014"/>
                      </a:lnTo>
                      <a:lnTo>
                        <a:pt x="1354" y="1015"/>
                      </a:lnTo>
                      <a:lnTo>
                        <a:pt x="1350" y="1021"/>
                      </a:lnTo>
                      <a:lnTo>
                        <a:pt x="1350" y="1022"/>
                      </a:lnTo>
                      <a:lnTo>
                        <a:pt x="1352" y="1024"/>
                      </a:lnTo>
                      <a:lnTo>
                        <a:pt x="1352" y="1024"/>
                      </a:lnTo>
                      <a:lnTo>
                        <a:pt x="1350" y="1026"/>
                      </a:lnTo>
                      <a:lnTo>
                        <a:pt x="1341" y="1035"/>
                      </a:lnTo>
                      <a:lnTo>
                        <a:pt x="1338" y="1040"/>
                      </a:lnTo>
                      <a:lnTo>
                        <a:pt x="1336" y="1043"/>
                      </a:lnTo>
                      <a:lnTo>
                        <a:pt x="1336" y="1045"/>
                      </a:lnTo>
                      <a:lnTo>
                        <a:pt x="1340" y="1050"/>
                      </a:lnTo>
                      <a:lnTo>
                        <a:pt x="1345" y="1054"/>
                      </a:lnTo>
                      <a:lnTo>
                        <a:pt x="1359" y="1063"/>
                      </a:lnTo>
                      <a:lnTo>
                        <a:pt x="1368" y="1071"/>
                      </a:lnTo>
                      <a:lnTo>
                        <a:pt x="1373" y="1082"/>
                      </a:lnTo>
                      <a:lnTo>
                        <a:pt x="1378" y="1092"/>
                      </a:lnTo>
                      <a:lnTo>
                        <a:pt x="1378" y="1105"/>
                      </a:lnTo>
                      <a:lnTo>
                        <a:pt x="1378" y="1112"/>
                      </a:lnTo>
                      <a:lnTo>
                        <a:pt x="1378" y="1117"/>
                      </a:lnTo>
                      <a:lnTo>
                        <a:pt x="1376" y="1122"/>
                      </a:lnTo>
                      <a:lnTo>
                        <a:pt x="1373" y="1127"/>
                      </a:lnTo>
                      <a:lnTo>
                        <a:pt x="1364" y="1136"/>
                      </a:lnTo>
                      <a:lnTo>
                        <a:pt x="1355" y="1143"/>
                      </a:lnTo>
                      <a:lnTo>
                        <a:pt x="1350" y="1146"/>
                      </a:lnTo>
                      <a:lnTo>
                        <a:pt x="1345" y="1150"/>
                      </a:lnTo>
                      <a:lnTo>
                        <a:pt x="1334" y="1155"/>
                      </a:lnTo>
                      <a:lnTo>
                        <a:pt x="1315" y="1160"/>
                      </a:lnTo>
                      <a:lnTo>
                        <a:pt x="1310" y="1164"/>
                      </a:lnTo>
                      <a:lnTo>
                        <a:pt x="1313" y="1166"/>
                      </a:lnTo>
                      <a:lnTo>
                        <a:pt x="1313" y="1167"/>
                      </a:lnTo>
                      <a:lnTo>
                        <a:pt x="1317" y="1173"/>
                      </a:lnTo>
                      <a:lnTo>
                        <a:pt x="1319" y="1174"/>
                      </a:lnTo>
                      <a:lnTo>
                        <a:pt x="1320" y="1176"/>
                      </a:lnTo>
                      <a:lnTo>
                        <a:pt x="1322" y="1178"/>
                      </a:lnTo>
                      <a:lnTo>
                        <a:pt x="1320" y="1180"/>
                      </a:lnTo>
                      <a:lnTo>
                        <a:pt x="1324" y="1181"/>
                      </a:lnTo>
                      <a:lnTo>
                        <a:pt x="1326" y="1183"/>
                      </a:lnTo>
                      <a:lnTo>
                        <a:pt x="1324" y="1185"/>
                      </a:lnTo>
                      <a:lnTo>
                        <a:pt x="1327" y="1187"/>
                      </a:lnTo>
                      <a:lnTo>
                        <a:pt x="1324" y="1190"/>
                      </a:lnTo>
                      <a:lnTo>
                        <a:pt x="1326" y="1197"/>
                      </a:lnTo>
                      <a:lnTo>
                        <a:pt x="1327" y="1206"/>
                      </a:lnTo>
                      <a:lnTo>
                        <a:pt x="1329" y="1211"/>
                      </a:lnTo>
                      <a:lnTo>
                        <a:pt x="1331" y="1215"/>
                      </a:lnTo>
                      <a:lnTo>
                        <a:pt x="1331" y="1216"/>
                      </a:lnTo>
                      <a:lnTo>
                        <a:pt x="1331" y="1218"/>
                      </a:lnTo>
                      <a:lnTo>
                        <a:pt x="1331" y="1220"/>
                      </a:lnTo>
                      <a:lnTo>
                        <a:pt x="1331" y="1222"/>
                      </a:lnTo>
                      <a:lnTo>
                        <a:pt x="1333" y="1223"/>
                      </a:lnTo>
                      <a:lnTo>
                        <a:pt x="1334" y="1225"/>
                      </a:lnTo>
                      <a:lnTo>
                        <a:pt x="1336" y="1227"/>
                      </a:lnTo>
                      <a:lnTo>
                        <a:pt x="1336" y="1229"/>
                      </a:lnTo>
                      <a:lnTo>
                        <a:pt x="1336" y="1230"/>
                      </a:lnTo>
                      <a:lnTo>
                        <a:pt x="1336" y="1232"/>
                      </a:lnTo>
                      <a:lnTo>
                        <a:pt x="1338" y="1234"/>
                      </a:lnTo>
                      <a:lnTo>
                        <a:pt x="1334" y="1236"/>
                      </a:lnTo>
                      <a:lnTo>
                        <a:pt x="1331" y="1241"/>
                      </a:lnTo>
                      <a:lnTo>
                        <a:pt x="1327" y="1246"/>
                      </a:lnTo>
                      <a:lnTo>
                        <a:pt x="1326" y="1250"/>
                      </a:lnTo>
                      <a:lnTo>
                        <a:pt x="1327" y="1251"/>
                      </a:lnTo>
                      <a:lnTo>
                        <a:pt x="1331" y="1255"/>
                      </a:lnTo>
                      <a:lnTo>
                        <a:pt x="1331" y="1257"/>
                      </a:lnTo>
                      <a:lnTo>
                        <a:pt x="1331" y="1258"/>
                      </a:lnTo>
                      <a:lnTo>
                        <a:pt x="1329" y="1264"/>
                      </a:lnTo>
                      <a:lnTo>
                        <a:pt x="1327" y="1267"/>
                      </a:lnTo>
                      <a:lnTo>
                        <a:pt x="1326" y="1262"/>
                      </a:lnTo>
                      <a:lnTo>
                        <a:pt x="1322" y="1257"/>
                      </a:lnTo>
                      <a:lnTo>
                        <a:pt x="1319" y="1253"/>
                      </a:lnTo>
                      <a:lnTo>
                        <a:pt x="1313" y="1257"/>
                      </a:lnTo>
                      <a:lnTo>
                        <a:pt x="1310" y="1264"/>
                      </a:lnTo>
                      <a:lnTo>
                        <a:pt x="1312" y="1269"/>
                      </a:lnTo>
                      <a:lnTo>
                        <a:pt x="1315" y="1274"/>
                      </a:lnTo>
                      <a:lnTo>
                        <a:pt x="1319" y="1281"/>
                      </a:lnTo>
                      <a:lnTo>
                        <a:pt x="1315" y="1276"/>
                      </a:lnTo>
                      <a:lnTo>
                        <a:pt x="1312" y="1272"/>
                      </a:lnTo>
                      <a:lnTo>
                        <a:pt x="1308" y="1267"/>
                      </a:lnTo>
                      <a:lnTo>
                        <a:pt x="1303" y="1265"/>
                      </a:lnTo>
                      <a:lnTo>
                        <a:pt x="1298" y="1264"/>
                      </a:lnTo>
                      <a:lnTo>
                        <a:pt x="1294" y="1264"/>
                      </a:lnTo>
                      <a:lnTo>
                        <a:pt x="1291" y="1267"/>
                      </a:lnTo>
                      <a:lnTo>
                        <a:pt x="1285" y="1269"/>
                      </a:lnTo>
                      <a:lnTo>
                        <a:pt x="1291" y="1264"/>
                      </a:lnTo>
                      <a:lnTo>
                        <a:pt x="1294" y="1262"/>
                      </a:lnTo>
                      <a:lnTo>
                        <a:pt x="1294" y="1258"/>
                      </a:lnTo>
                      <a:lnTo>
                        <a:pt x="1294" y="1257"/>
                      </a:lnTo>
                      <a:lnTo>
                        <a:pt x="1292" y="1253"/>
                      </a:lnTo>
                      <a:lnTo>
                        <a:pt x="1291" y="1250"/>
                      </a:lnTo>
                      <a:lnTo>
                        <a:pt x="1289" y="1248"/>
                      </a:lnTo>
                      <a:lnTo>
                        <a:pt x="1284" y="1243"/>
                      </a:lnTo>
                      <a:lnTo>
                        <a:pt x="1279" y="1239"/>
                      </a:lnTo>
                      <a:lnTo>
                        <a:pt x="1272" y="1236"/>
                      </a:lnTo>
                      <a:lnTo>
                        <a:pt x="1265" y="1234"/>
                      </a:lnTo>
                      <a:lnTo>
                        <a:pt x="1268" y="1232"/>
                      </a:lnTo>
                      <a:lnTo>
                        <a:pt x="1270" y="1230"/>
                      </a:lnTo>
                      <a:lnTo>
                        <a:pt x="1270" y="1229"/>
                      </a:lnTo>
                      <a:lnTo>
                        <a:pt x="1261" y="1218"/>
                      </a:lnTo>
                      <a:lnTo>
                        <a:pt x="1258" y="1213"/>
                      </a:lnTo>
                      <a:lnTo>
                        <a:pt x="1256" y="1213"/>
                      </a:lnTo>
                      <a:lnTo>
                        <a:pt x="1256" y="1209"/>
                      </a:lnTo>
                      <a:lnTo>
                        <a:pt x="1256" y="1206"/>
                      </a:lnTo>
                      <a:lnTo>
                        <a:pt x="1258" y="1202"/>
                      </a:lnTo>
                      <a:lnTo>
                        <a:pt x="1259" y="1201"/>
                      </a:lnTo>
                      <a:lnTo>
                        <a:pt x="1259" y="1192"/>
                      </a:lnTo>
                      <a:lnTo>
                        <a:pt x="1258" y="1187"/>
                      </a:lnTo>
                      <a:lnTo>
                        <a:pt x="1258" y="1183"/>
                      </a:lnTo>
                      <a:lnTo>
                        <a:pt x="1254" y="1176"/>
                      </a:lnTo>
                      <a:lnTo>
                        <a:pt x="1252" y="1173"/>
                      </a:lnTo>
                      <a:lnTo>
                        <a:pt x="1254" y="1169"/>
                      </a:lnTo>
                      <a:lnTo>
                        <a:pt x="1256" y="1162"/>
                      </a:lnTo>
                      <a:lnTo>
                        <a:pt x="1256" y="1157"/>
                      </a:lnTo>
                      <a:lnTo>
                        <a:pt x="1256" y="1153"/>
                      </a:lnTo>
                      <a:lnTo>
                        <a:pt x="1254" y="1152"/>
                      </a:lnTo>
                      <a:lnTo>
                        <a:pt x="1252" y="1152"/>
                      </a:lnTo>
                      <a:lnTo>
                        <a:pt x="1251" y="1150"/>
                      </a:lnTo>
                      <a:lnTo>
                        <a:pt x="1249" y="1150"/>
                      </a:lnTo>
                      <a:lnTo>
                        <a:pt x="1247" y="1150"/>
                      </a:lnTo>
                      <a:lnTo>
                        <a:pt x="1245" y="1150"/>
                      </a:lnTo>
                      <a:lnTo>
                        <a:pt x="1244" y="1150"/>
                      </a:lnTo>
                      <a:lnTo>
                        <a:pt x="1244" y="1150"/>
                      </a:lnTo>
                      <a:lnTo>
                        <a:pt x="1242" y="1148"/>
                      </a:lnTo>
                      <a:lnTo>
                        <a:pt x="1242" y="1148"/>
                      </a:lnTo>
                      <a:lnTo>
                        <a:pt x="1219" y="1146"/>
                      </a:lnTo>
                      <a:lnTo>
                        <a:pt x="1207" y="1146"/>
                      </a:lnTo>
                      <a:lnTo>
                        <a:pt x="1198" y="1146"/>
                      </a:lnTo>
                      <a:lnTo>
                        <a:pt x="1193" y="1148"/>
                      </a:lnTo>
                      <a:lnTo>
                        <a:pt x="1189" y="1152"/>
                      </a:lnTo>
                      <a:lnTo>
                        <a:pt x="1191" y="1148"/>
                      </a:lnTo>
                      <a:lnTo>
                        <a:pt x="1193" y="1145"/>
                      </a:lnTo>
                      <a:lnTo>
                        <a:pt x="1191" y="1143"/>
                      </a:lnTo>
                      <a:lnTo>
                        <a:pt x="1184" y="1139"/>
                      </a:lnTo>
                      <a:lnTo>
                        <a:pt x="1181" y="1138"/>
                      </a:lnTo>
                      <a:lnTo>
                        <a:pt x="1177" y="1136"/>
                      </a:lnTo>
                      <a:lnTo>
                        <a:pt x="1148" y="1127"/>
                      </a:lnTo>
                      <a:lnTo>
                        <a:pt x="1144" y="1125"/>
                      </a:lnTo>
                      <a:lnTo>
                        <a:pt x="1141" y="1122"/>
                      </a:lnTo>
                      <a:lnTo>
                        <a:pt x="1135" y="1117"/>
                      </a:lnTo>
                      <a:lnTo>
                        <a:pt x="1128" y="1112"/>
                      </a:lnTo>
                      <a:lnTo>
                        <a:pt x="1121" y="1106"/>
                      </a:lnTo>
                      <a:lnTo>
                        <a:pt x="1113" y="1103"/>
                      </a:lnTo>
                      <a:lnTo>
                        <a:pt x="1109" y="1103"/>
                      </a:lnTo>
                      <a:lnTo>
                        <a:pt x="1097" y="1101"/>
                      </a:lnTo>
                      <a:lnTo>
                        <a:pt x="1092" y="1099"/>
                      </a:lnTo>
                      <a:lnTo>
                        <a:pt x="1079" y="1094"/>
                      </a:lnTo>
                      <a:lnTo>
                        <a:pt x="1071" y="1092"/>
                      </a:lnTo>
                      <a:lnTo>
                        <a:pt x="1060" y="1094"/>
                      </a:lnTo>
                      <a:lnTo>
                        <a:pt x="1039" y="1101"/>
                      </a:lnTo>
                      <a:lnTo>
                        <a:pt x="1041" y="1099"/>
                      </a:lnTo>
                      <a:lnTo>
                        <a:pt x="1041" y="1099"/>
                      </a:lnTo>
                      <a:lnTo>
                        <a:pt x="1041" y="1099"/>
                      </a:lnTo>
                      <a:lnTo>
                        <a:pt x="1041" y="1098"/>
                      </a:lnTo>
                      <a:lnTo>
                        <a:pt x="1039" y="1099"/>
                      </a:lnTo>
                      <a:lnTo>
                        <a:pt x="1034" y="1101"/>
                      </a:lnTo>
                      <a:lnTo>
                        <a:pt x="1031" y="1101"/>
                      </a:lnTo>
                      <a:lnTo>
                        <a:pt x="1036" y="1099"/>
                      </a:lnTo>
                      <a:lnTo>
                        <a:pt x="1038" y="1094"/>
                      </a:lnTo>
                      <a:lnTo>
                        <a:pt x="1038" y="1089"/>
                      </a:lnTo>
                      <a:lnTo>
                        <a:pt x="1038" y="1085"/>
                      </a:lnTo>
                      <a:lnTo>
                        <a:pt x="1027" y="1059"/>
                      </a:lnTo>
                      <a:lnTo>
                        <a:pt x="1025" y="1049"/>
                      </a:lnTo>
                      <a:lnTo>
                        <a:pt x="1024" y="1047"/>
                      </a:lnTo>
                      <a:lnTo>
                        <a:pt x="1022" y="1045"/>
                      </a:lnTo>
                      <a:lnTo>
                        <a:pt x="1018" y="1043"/>
                      </a:lnTo>
                      <a:lnTo>
                        <a:pt x="1008" y="1043"/>
                      </a:lnTo>
                      <a:lnTo>
                        <a:pt x="1004" y="1043"/>
                      </a:lnTo>
                      <a:lnTo>
                        <a:pt x="1003" y="1045"/>
                      </a:lnTo>
                      <a:lnTo>
                        <a:pt x="1001" y="1049"/>
                      </a:lnTo>
                      <a:lnTo>
                        <a:pt x="999" y="1056"/>
                      </a:lnTo>
                      <a:lnTo>
                        <a:pt x="997" y="1059"/>
                      </a:lnTo>
                      <a:lnTo>
                        <a:pt x="999" y="1049"/>
                      </a:lnTo>
                      <a:lnTo>
                        <a:pt x="997" y="1045"/>
                      </a:lnTo>
                      <a:lnTo>
                        <a:pt x="994" y="1042"/>
                      </a:lnTo>
                      <a:lnTo>
                        <a:pt x="990" y="1040"/>
                      </a:lnTo>
                      <a:lnTo>
                        <a:pt x="990" y="1040"/>
                      </a:lnTo>
                      <a:lnTo>
                        <a:pt x="989" y="1038"/>
                      </a:lnTo>
                      <a:lnTo>
                        <a:pt x="989" y="1036"/>
                      </a:lnTo>
                      <a:lnTo>
                        <a:pt x="987" y="1035"/>
                      </a:lnTo>
                      <a:lnTo>
                        <a:pt x="985" y="1035"/>
                      </a:lnTo>
                      <a:lnTo>
                        <a:pt x="989" y="1029"/>
                      </a:lnTo>
                      <a:lnTo>
                        <a:pt x="989" y="1022"/>
                      </a:lnTo>
                      <a:lnTo>
                        <a:pt x="989" y="1008"/>
                      </a:lnTo>
                      <a:lnTo>
                        <a:pt x="990" y="996"/>
                      </a:lnTo>
                      <a:lnTo>
                        <a:pt x="990" y="989"/>
                      </a:lnTo>
                      <a:lnTo>
                        <a:pt x="989" y="986"/>
                      </a:lnTo>
                      <a:lnTo>
                        <a:pt x="990" y="986"/>
                      </a:lnTo>
                      <a:lnTo>
                        <a:pt x="992" y="984"/>
                      </a:lnTo>
                      <a:lnTo>
                        <a:pt x="994" y="982"/>
                      </a:lnTo>
                      <a:lnTo>
                        <a:pt x="1003" y="966"/>
                      </a:lnTo>
                      <a:lnTo>
                        <a:pt x="1003" y="965"/>
                      </a:lnTo>
                      <a:lnTo>
                        <a:pt x="1004" y="963"/>
                      </a:lnTo>
                      <a:lnTo>
                        <a:pt x="1004" y="961"/>
                      </a:lnTo>
                      <a:lnTo>
                        <a:pt x="1004" y="959"/>
                      </a:lnTo>
                      <a:lnTo>
                        <a:pt x="1004" y="959"/>
                      </a:lnTo>
                      <a:lnTo>
                        <a:pt x="1004" y="958"/>
                      </a:lnTo>
                      <a:lnTo>
                        <a:pt x="1004" y="958"/>
                      </a:lnTo>
                      <a:lnTo>
                        <a:pt x="1006" y="958"/>
                      </a:lnTo>
                      <a:lnTo>
                        <a:pt x="1006" y="958"/>
                      </a:lnTo>
                      <a:lnTo>
                        <a:pt x="1006" y="956"/>
                      </a:lnTo>
                      <a:lnTo>
                        <a:pt x="1006" y="954"/>
                      </a:lnTo>
                      <a:lnTo>
                        <a:pt x="1006" y="953"/>
                      </a:lnTo>
                      <a:lnTo>
                        <a:pt x="1008" y="951"/>
                      </a:lnTo>
                      <a:lnTo>
                        <a:pt x="1010" y="949"/>
                      </a:lnTo>
                      <a:lnTo>
                        <a:pt x="1013" y="947"/>
                      </a:lnTo>
                      <a:lnTo>
                        <a:pt x="1017" y="944"/>
                      </a:lnTo>
                      <a:lnTo>
                        <a:pt x="1018" y="944"/>
                      </a:lnTo>
                      <a:lnTo>
                        <a:pt x="1020" y="942"/>
                      </a:lnTo>
                      <a:lnTo>
                        <a:pt x="1018" y="940"/>
                      </a:lnTo>
                      <a:lnTo>
                        <a:pt x="1015" y="937"/>
                      </a:lnTo>
                      <a:lnTo>
                        <a:pt x="1015" y="935"/>
                      </a:lnTo>
                      <a:lnTo>
                        <a:pt x="1018" y="937"/>
                      </a:lnTo>
                      <a:lnTo>
                        <a:pt x="1018" y="937"/>
                      </a:lnTo>
                      <a:lnTo>
                        <a:pt x="1020" y="935"/>
                      </a:lnTo>
                      <a:lnTo>
                        <a:pt x="1020" y="933"/>
                      </a:lnTo>
                      <a:lnTo>
                        <a:pt x="1018" y="933"/>
                      </a:lnTo>
                      <a:lnTo>
                        <a:pt x="1022" y="933"/>
                      </a:lnTo>
                      <a:lnTo>
                        <a:pt x="1024" y="933"/>
                      </a:lnTo>
                      <a:lnTo>
                        <a:pt x="1025" y="932"/>
                      </a:lnTo>
                      <a:lnTo>
                        <a:pt x="1025" y="932"/>
                      </a:lnTo>
                      <a:lnTo>
                        <a:pt x="1025" y="930"/>
                      </a:lnTo>
                      <a:lnTo>
                        <a:pt x="1025" y="930"/>
                      </a:lnTo>
                      <a:lnTo>
                        <a:pt x="1025" y="930"/>
                      </a:lnTo>
                      <a:lnTo>
                        <a:pt x="1027" y="928"/>
                      </a:lnTo>
                      <a:lnTo>
                        <a:pt x="1027" y="928"/>
                      </a:lnTo>
                      <a:lnTo>
                        <a:pt x="1029" y="926"/>
                      </a:lnTo>
                      <a:lnTo>
                        <a:pt x="1027" y="926"/>
                      </a:lnTo>
                      <a:lnTo>
                        <a:pt x="1027" y="925"/>
                      </a:lnTo>
                      <a:lnTo>
                        <a:pt x="1022" y="923"/>
                      </a:lnTo>
                      <a:lnTo>
                        <a:pt x="1027" y="923"/>
                      </a:lnTo>
                      <a:lnTo>
                        <a:pt x="1031" y="925"/>
                      </a:lnTo>
                      <a:lnTo>
                        <a:pt x="1032" y="926"/>
                      </a:lnTo>
                      <a:lnTo>
                        <a:pt x="1036" y="928"/>
                      </a:lnTo>
                      <a:lnTo>
                        <a:pt x="1036" y="928"/>
                      </a:lnTo>
                      <a:lnTo>
                        <a:pt x="1034" y="925"/>
                      </a:lnTo>
                      <a:lnTo>
                        <a:pt x="1032" y="923"/>
                      </a:lnTo>
                      <a:lnTo>
                        <a:pt x="1032" y="923"/>
                      </a:lnTo>
                      <a:lnTo>
                        <a:pt x="1032" y="923"/>
                      </a:lnTo>
                      <a:lnTo>
                        <a:pt x="1032" y="921"/>
                      </a:lnTo>
                      <a:lnTo>
                        <a:pt x="1034" y="918"/>
                      </a:lnTo>
                      <a:lnTo>
                        <a:pt x="1036" y="918"/>
                      </a:lnTo>
                      <a:lnTo>
                        <a:pt x="1039" y="916"/>
                      </a:lnTo>
                      <a:lnTo>
                        <a:pt x="1041" y="916"/>
                      </a:lnTo>
                      <a:lnTo>
                        <a:pt x="1046" y="916"/>
                      </a:lnTo>
                      <a:lnTo>
                        <a:pt x="1050" y="916"/>
                      </a:lnTo>
                      <a:lnTo>
                        <a:pt x="1048" y="914"/>
                      </a:lnTo>
                      <a:lnTo>
                        <a:pt x="1046" y="912"/>
                      </a:lnTo>
                      <a:lnTo>
                        <a:pt x="1043" y="912"/>
                      </a:lnTo>
                      <a:lnTo>
                        <a:pt x="1041" y="911"/>
                      </a:lnTo>
                      <a:lnTo>
                        <a:pt x="1039" y="909"/>
                      </a:lnTo>
                      <a:lnTo>
                        <a:pt x="1041" y="907"/>
                      </a:lnTo>
                      <a:lnTo>
                        <a:pt x="1045" y="907"/>
                      </a:lnTo>
                      <a:lnTo>
                        <a:pt x="1050" y="907"/>
                      </a:lnTo>
                      <a:lnTo>
                        <a:pt x="1057" y="907"/>
                      </a:lnTo>
                      <a:lnTo>
                        <a:pt x="1060" y="907"/>
                      </a:lnTo>
                      <a:lnTo>
                        <a:pt x="1071" y="904"/>
                      </a:lnTo>
                      <a:lnTo>
                        <a:pt x="1074" y="902"/>
                      </a:lnTo>
                      <a:lnTo>
                        <a:pt x="1076" y="898"/>
                      </a:lnTo>
                      <a:lnTo>
                        <a:pt x="1076" y="895"/>
                      </a:lnTo>
                      <a:lnTo>
                        <a:pt x="1076" y="891"/>
                      </a:lnTo>
                      <a:lnTo>
                        <a:pt x="1072" y="888"/>
                      </a:lnTo>
                      <a:lnTo>
                        <a:pt x="1071" y="886"/>
                      </a:lnTo>
                      <a:lnTo>
                        <a:pt x="1069" y="886"/>
                      </a:lnTo>
                      <a:lnTo>
                        <a:pt x="1064" y="884"/>
                      </a:lnTo>
                      <a:lnTo>
                        <a:pt x="1062" y="884"/>
                      </a:lnTo>
                      <a:lnTo>
                        <a:pt x="1060" y="883"/>
                      </a:lnTo>
                      <a:lnTo>
                        <a:pt x="1057" y="879"/>
                      </a:lnTo>
                      <a:lnTo>
                        <a:pt x="1055" y="879"/>
                      </a:lnTo>
                      <a:lnTo>
                        <a:pt x="1050" y="877"/>
                      </a:lnTo>
                      <a:lnTo>
                        <a:pt x="1046" y="879"/>
                      </a:lnTo>
                      <a:lnTo>
                        <a:pt x="1043" y="881"/>
                      </a:lnTo>
                      <a:lnTo>
                        <a:pt x="1038" y="883"/>
                      </a:lnTo>
                      <a:lnTo>
                        <a:pt x="1039" y="881"/>
                      </a:lnTo>
                      <a:lnTo>
                        <a:pt x="1043" y="879"/>
                      </a:lnTo>
                      <a:lnTo>
                        <a:pt x="1045" y="877"/>
                      </a:lnTo>
                      <a:lnTo>
                        <a:pt x="1041" y="876"/>
                      </a:lnTo>
                      <a:lnTo>
                        <a:pt x="1032" y="872"/>
                      </a:lnTo>
                      <a:lnTo>
                        <a:pt x="1025" y="870"/>
                      </a:lnTo>
                      <a:lnTo>
                        <a:pt x="1022" y="869"/>
                      </a:lnTo>
                      <a:lnTo>
                        <a:pt x="1018" y="869"/>
                      </a:lnTo>
                      <a:lnTo>
                        <a:pt x="1018" y="869"/>
                      </a:lnTo>
                      <a:lnTo>
                        <a:pt x="1018" y="870"/>
                      </a:lnTo>
                      <a:lnTo>
                        <a:pt x="1020" y="870"/>
                      </a:lnTo>
                      <a:lnTo>
                        <a:pt x="1020" y="872"/>
                      </a:lnTo>
                      <a:lnTo>
                        <a:pt x="1015" y="870"/>
                      </a:lnTo>
                      <a:lnTo>
                        <a:pt x="1013" y="869"/>
                      </a:lnTo>
                      <a:lnTo>
                        <a:pt x="1013" y="863"/>
                      </a:lnTo>
                      <a:lnTo>
                        <a:pt x="1011" y="860"/>
                      </a:lnTo>
                      <a:lnTo>
                        <a:pt x="1017" y="863"/>
                      </a:lnTo>
                      <a:lnTo>
                        <a:pt x="1038" y="872"/>
                      </a:lnTo>
                      <a:lnTo>
                        <a:pt x="1041" y="874"/>
                      </a:lnTo>
                      <a:lnTo>
                        <a:pt x="1043" y="874"/>
                      </a:lnTo>
                      <a:lnTo>
                        <a:pt x="1045" y="874"/>
                      </a:lnTo>
                      <a:lnTo>
                        <a:pt x="1046" y="872"/>
                      </a:lnTo>
                      <a:lnTo>
                        <a:pt x="1048" y="872"/>
                      </a:lnTo>
                      <a:lnTo>
                        <a:pt x="1050" y="874"/>
                      </a:lnTo>
                      <a:lnTo>
                        <a:pt x="1050" y="874"/>
                      </a:lnTo>
                      <a:lnTo>
                        <a:pt x="1051" y="876"/>
                      </a:lnTo>
                      <a:lnTo>
                        <a:pt x="1058" y="876"/>
                      </a:lnTo>
                      <a:lnTo>
                        <a:pt x="1065" y="879"/>
                      </a:lnTo>
                      <a:lnTo>
                        <a:pt x="1071" y="881"/>
                      </a:lnTo>
                      <a:lnTo>
                        <a:pt x="1074" y="881"/>
                      </a:lnTo>
                      <a:lnTo>
                        <a:pt x="1076" y="881"/>
                      </a:lnTo>
                      <a:lnTo>
                        <a:pt x="1078" y="879"/>
                      </a:lnTo>
                      <a:lnTo>
                        <a:pt x="1079" y="877"/>
                      </a:lnTo>
                      <a:lnTo>
                        <a:pt x="1081" y="877"/>
                      </a:lnTo>
                      <a:lnTo>
                        <a:pt x="1081" y="879"/>
                      </a:lnTo>
                      <a:lnTo>
                        <a:pt x="1083" y="879"/>
                      </a:lnTo>
                      <a:lnTo>
                        <a:pt x="1085" y="879"/>
                      </a:lnTo>
                      <a:lnTo>
                        <a:pt x="1088" y="876"/>
                      </a:lnTo>
                      <a:lnTo>
                        <a:pt x="1090" y="874"/>
                      </a:lnTo>
                      <a:lnTo>
                        <a:pt x="1088" y="870"/>
                      </a:lnTo>
                      <a:lnTo>
                        <a:pt x="1086" y="867"/>
                      </a:lnTo>
                      <a:lnTo>
                        <a:pt x="1092" y="867"/>
                      </a:lnTo>
                      <a:lnTo>
                        <a:pt x="1093" y="867"/>
                      </a:lnTo>
                      <a:lnTo>
                        <a:pt x="1093" y="867"/>
                      </a:lnTo>
                      <a:lnTo>
                        <a:pt x="1093" y="865"/>
                      </a:lnTo>
                      <a:lnTo>
                        <a:pt x="1092" y="863"/>
                      </a:lnTo>
                      <a:lnTo>
                        <a:pt x="1090" y="862"/>
                      </a:lnTo>
                      <a:lnTo>
                        <a:pt x="1088" y="862"/>
                      </a:lnTo>
                      <a:lnTo>
                        <a:pt x="1092" y="860"/>
                      </a:lnTo>
                      <a:lnTo>
                        <a:pt x="1092" y="860"/>
                      </a:lnTo>
                      <a:lnTo>
                        <a:pt x="1093" y="860"/>
                      </a:lnTo>
                      <a:lnTo>
                        <a:pt x="1095" y="860"/>
                      </a:lnTo>
                      <a:lnTo>
                        <a:pt x="1095" y="860"/>
                      </a:lnTo>
                      <a:lnTo>
                        <a:pt x="1095" y="860"/>
                      </a:lnTo>
                      <a:lnTo>
                        <a:pt x="1099" y="863"/>
                      </a:lnTo>
                      <a:lnTo>
                        <a:pt x="1099" y="865"/>
                      </a:lnTo>
                      <a:lnTo>
                        <a:pt x="1100" y="865"/>
                      </a:lnTo>
                      <a:lnTo>
                        <a:pt x="1102" y="865"/>
                      </a:lnTo>
                      <a:lnTo>
                        <a:pt x="1102" y="865"/>
                      </a:lnTo>
                      <a:lnTo>
                        <a:pt x="1104" y="863"/>
                      </a:lnTo>
                      <a:lnTo>
                        <a:pt x="1104" y="865"/>
                      </a:lnTo>
                      <a:lnTo>
                        <a:pt x="1106" y="865"/>
                      </a:lnTo>
                      <a:lnTo>
                        <a:pt x="1107" y="867"/>
                      </a:lnTo>
                      <a:lnTo>
                        <a:pt x="1109" y="865"/>
                      </a:lnTo>
                      <a:lnTo>
                        <a:pt x="1109" y="865"/>
                      </a:lnTo>
                      <a:lnTo>
                        <a:pt x="1109" y="863"/>
                      </a:lnTo>
                      <a:lnTo>
                        <a:pt x="1107" y="862"/>
                      </a:lnTo>
                      <a:lnTo>
                        <a:pt x="1114" y="865"/>
                      </a:lnTo>
                      <a:lnTo>
                        <a:pt x="1121" y="865"/>
                      </a:lnTo>
                      <a:lnTo>
                        <a:pt x="1130" y="860"/>
                      </a:lnTo>
                      <a:lnTo>
                        <a:pt x="1151" y="832"/>
                      </a:lnTo>
                      <a:lnTo>
                        <a:pt x="1155" y="823"/>
                      </a:lnTo>
                      <a:lnTo>
                        <a:pt x="1153" y="816"/>
                      </a:lnTo>
                      <a:lnTo>
                        <a:pt x="1146" y="814"/>
                      </a:lnTo>
                      <a:lnTo>
                        <a:pt x="1128" y="813"/>
                      </a:lnTo>
                      <a:lnTo>
                        <a:pt x="1118" y="813"/>
                      </a:lnTo>
                      <a:lnTo>
                        <a:pt x="1113" y="811"/>
                      </a:lnTo>
                      <a:lnTo>
                        <a:pt x="1109" y="807"/>
                      </a:lnTo>
                      <a:lnTo>
                        <a:pt x="1106" y="806"/>
                      </a:lnTo>
                      <a:lnTo>
                        <a:pt x="1097" y="795"/>
                      </a:lnTo>
                      <a:lnTo>
                        <a:pt x="1093" y="792"/>
                      </a:lnTo>
                      <a:lnTo>
                        <a:pt x="1090" y="790"/>
                      </a:lnTo>
                      <a:lnTo>
                        <a:pt x="1076" y="787"/>
                      </a:lnTo>
                      <a:lnTo>
                        <a:pt x="1072" y="785"/>
                      </a:lnTo>
                      <a:lnTo>
                        <a:pt x="1069" y="785"/>
                      </a:lnTo>
                      <a:lnTo>
                        <a:pt x="1069" y="788"/>
                      </a:lnTo>
                      <a:lnTo>
                        <a:pt x="1064" y="787"/>
                      </a:lnTo>
                      <a:lnTo>
                        <a:pt x="1062" y="785"/>
                      </a:lnTo>
                      <a:lnTo>
                        <a:pt x="1060" y="783"/>
                      </a:lnTo>
                      <a:lnTo>
                        <a:pt x="1064" y="781"/>
                      </a:lnTo>
                      <a:lnTo>
                        <a:pt x="1069" y="783"/>
                      </a:lnTo>
                      <a:lnTo>
                        <a:pt x="1093" y="787"/>
                      </a:lnTo>
                      <a:lnTo>
                        <a:pt x="1093" y="787"/>
                      </a:lnTo>
                      <a:lnTo>
                        <a:pt x="1092" y="785"/>
                      </a:lnTo>
                      <a:lnTo>
                        <a:pt x="1092" y="783"/>
                      </a:lnTo>
                      <a:lnTo>
                        <a:pt x="1095" y="783"/>
                      </a:lnTo>
                      <a:lnTo>
                        <a:pt x="1097" y="785"/>
                      </a:lnTo>
                      <a:lnTo>
                        <a:pt x="1100" y="785"/>
                      </a:lnTo>
                      <a:lnTo>
                        <a:pt x="1104" y="787"/>
                      </a:lnTo>
                      <a:lnTo>
                        <a:pt x="1107" y="792"/>
                      </a:lnTo>
                      <a:lnTo>
                        <a:pt x="1109" y="794"/>
                      </a:lnTo>
                      <a:lnTo>
                        <a:pt x="1111" y="794"/>
                      </a:lnTo>
                      <a:lnTo>
                        <a:pt x="1114" y="795"/>
                      </a:lnTo>
                      <a:lnTo>
                        <a:pt x="1116" y="795"/>
                      </a:lnTo>
                      <a:lnTo>
                        <a:pt x="1127" y="806"/>
                      </a:lnTo>
                      <a:lnTo>
                        <a:pt x="1134" y="809"/>
                      </a:lnTo>
                      <a:lnTo>
                        <a:pt x="1141" y="811"/>
                      </a:lnTo>
                      <a:lnTo>
                        <a:pt x="1148" y="809"/>
                      </a:lnTo>
                      <a:lnTo>
                        <a:pt x="1153" y="806"/>
                      </a:lnTo>
                      <a:lnTo>
                        <a:pt x="1172" y="785"/>
                      </a:lnTo>
                      <a:lnTo>
                        <a:pt x="1175" y="778"/>
                      </a:lnTo>
                      <a:lnTo>
                        <a:pt x="1175" y="771"/>
                      </a:lnTo>
                      <a:lnTo>
                        <a:pt x="1174" y="769"/>
                      </a:lnTo>
                      <a:lnTo>
                        <a:pt x="1170" y="767"/>
                      </a:lnTo>
                      <a:lnTo>
                        <a:pt x="1167" y="767"/>
                      </a:lnTo>
                      <a:lnTo>
                        <a:pt x="1163" y="766"/>
                      </a:lnTo>
                      <a:lnTo>
                        <a:pt x="1163" y="766"/>
                      </a:lnTo>
                      <a:lnTo>
                        <a:pt x="1162" y="764"/>
                      </a:lnTo>
                      <a:lnTo>
                        <a:pt x="1162" y="762"/>
                      </a:lnTo>
                      <a:lnTo>
                        <a:pt x="1160" y="762"/>
                      </a:lnTo>
                      <a:lnTo>
                        <a:pt x="1160" y="760"/>
                      </a:lnTo>
                      <a:lnTo>
                        <a:pt x="1162" y="759"/>
                      </a:lnTo>
                      <a:lnTo>
                        <a:pt x="1162" y="759"/>
                      </a:lnTo>
                      <a:lnTo>
                        <a:pt x="1162" y="757"/>
                      </a:lnTo>
                      <a:lnTo>
                        <a:pt x="1163" y="757"/>
                      </a:lnTo>
                      <a:lnTo>
                        <a:pt x="1167" y="757"/>
                      </a:lnTo>
                      <a:lnTo>
                        <a:pt x="1174" y="757"/>
                      </a:lnTo>
                      <a:lnTo>
                        <a:pt x="1177" y="757"/>
                      </a:lnTo>
                      <a:lnTo>
                        <a:pt x="1181" y="757"/>
                      </a:lnTo>
                      <a:lnTo>
                        <a:pt x="1184" y="755"/>
                      </a:lnTo>
                      <a:lnTo>
                        <a:pt x="1188" y="757"/>
                      </a:lnTo>
                      <a:lnTo>
                        <a:pt x="1191" y="759"/>
                      </a:lnTo>
                      <a:lnTo>
                        <a:pt x="1195" y="764"/>
                      </a:lnTo>
                      <a:lnTo>
                        <a:pt x="1198" y="767"/>
                      </a:lnTo>
                      <a:lnTo>
                        <a:pt x="1200" y="769"/>
                      </a:lnTo>
                      <a:lnTo>
                        <a:pt x="1203" y="771"/>
                      </a:lnTo>
                      <a:lnTo>
                        <a:pt x="1207" y="771"/>
                      </a:lnTo>
                      <a:lnTo>
                        <a:pt x="1209" y="771"/>
                      </a:lnTo>
                      <a:lnTo>
                        <a:pt x="1210" y="769"/>
                      </a:lnTo>
                      <a:lnTo>
                        <a:pt x="1210" y="769"/>
                      </a:lnTo>
                      <a:lnTo>
                        <a:pt x="1212" y="767"/>
                      </a:lnTo>
                      <a:lnTo>
                        <a:pt x="1214" y="767"/>
                      </a:lnTo>
                      <a:lnTo>
                        <a:pt x="1216" y="767"/>
                      </a:lnTo>
                      <a:lnTo>
                        <a:pt x="1219" y="771"/>
                      </a:lnTo>
                      <a:lnTo>
                        <a:pt x="1221" y="771"/>
                      </a:lnTo>
                      <a:lnTo>
                        <a:pt x="1223" y="769"/>
                      </a:lnTo>
                      <a:lnTo>
                        <a:pt x="1223" y="766"/>
                      </a:lnTo>
                      <a:lnTo>
                        <a:pt x="1210" y="748"/>
                      </a:lnTo>
                      <a:lnTo>
                        <a:pt x="1205" y="743"/>
                      </a:lnTo>
                      <a:lnTo>
                        <a:pt x="1200" y="741"/>
                      </a:lnTo>
                      <a:lnTo>
                        <a:pt x="1198" y="743"/>
                      </a:lnTo>
                      <a:lnTo>
                        <a:pt x="1196" y="743"/>
                      </a:lnTo>
                      <a:lnTo>
                        <a:pt x="1195" y="741"/>
                      </a:lnTo>
                      <a:lnTo>
                        <a:pt x="1196" y="739"/>
                      </a:lnTo>
                      <a:lnTo>
                        <a:pt x="1198" y="739"/>
                      </a:lnTo>
                      <a:lnTo>
                        <a:pt x="1200" y="738"/>
                      </a:lnTo>
                      <a:lnTo>
                        <a:pt x="1202" y="738"/>
                      </a:lnTo>
                      <a:lnTo>
                        <a:pt x="1205" y="738"/>
                      </a:lnTo>
                      <a:lnTo>
                        <a:pt x="1209" y="739"/>
                      </a:lnTo>
                      <a:lnTo>
                        <a:pt x="1210" y="741"/>
                      </a:lnTo>
                      <a:lnTo>
                        <a:pt x="1214" y="745"/>
                      </a:lnTo>
                      <a:lnTo>
                        <a:pt x="1210" y="746"/>
                      </a:lnTo>
                      <a:lnTo>
                        <a:pt x="1212" y="746"/>
                      </a:lnTo>
                      <a:lnTo>
                        <a:pt x="1217" y="748"/>
                      </a:lnTo>
                      <a:lnTo>
                        <a:pt x="1221" y="750"/>
                      </a:lnTo>
                      <a:lnTo>
                        <a:pt x="1223" y="753"/>
                      </a:lnTo>
                      <a:lnTo>
                        <a:pt x="1228" y="762"/>
                      </a:lnTo>
                      <a:lnTo>
                        <a:pt x="1230" y="764"/>
                      </a:lnTo>
                      <a:lnTo>
                        <a:pt x="1231" y="764"/>
                      </a:lnTo>
                      <a:lnTo>
                        <a:pt x="1235" y="762"/>
                      </a:lnTo>
                      <a:lnTo>
                        <a:pt x="1237" y="760"/>
                      </a:lnTo>
                      <a:lnTo>
                        <a:pt x="1240" y="757"/>
                      </a:lnTo>
                      <a:lnTo>
                        <a:pt x="1242" y="757"/>
                      </a:lnTo>
                      <a:lnTo>
                        <a:pt x="1244" y="755"/>
                      </a:lnTo>
                      <a:lnTo>
                        <a:pt x="1247" y="755"/>
                      </a:lnTo>
                      <a:lnTo>
                        <a:pt x="1249" y="753"/>
                      </a:lnTo>
                      <a:lnTo>
                        <a:pt x="1252" y="752"/>
                      </a:lnTo>
                      <a:lnTo>
                        <a:pt x="1254" y="750"/>
                      </a:lnTo>
                      <a:lnTo>
                        <a:pt x="1258" y="748"/>
                      </a:lnTo>
                      <a:lnTo>
                        <a:pt x="1259" y="745"/>
                      </a:lnTo>
                      <a:lnTo>
                        <a:pt x="1261" y="741"/>
                      </a:lnTo>
                      <a:lnTo>
                        <a:pt x="1263" y="739"/>
                      </a:lnTo>
                      <a:lnTo>
                        <a:pt x="1265" y="739"/>
                      </a:lnTo>
                      <a:lnTo>
                        <a:pt x="1265" y="739"/>
                      </a:lnTo>
                      <a:lnTo>
                        <a:pt x="1266" y="739"/>
                      </a:lnTo>
                      <a:lnTo>
                        <a:pt x="1268" y="738"/>
                      </a:lnTo>
                      <a:lnTo>
                        <a:pt x="1273" y="734"/>
                      </a:lnTo>
                      <a:lnTo>
                        <a:pt x="1277" y="727"/>
                      </a:lnTo>
                      <a:lnTo>
                        <a:pt x="1277" y="720"/>
                      </a:lnTo>
                      <a:lnTo>
                        <a:pt x="1273" y="715"/>
                      </a:lnTo>
                      <a:lnTo>
                        <a:pt x="1272" y="713"/>
                      </a:lnTo>
                      <a:lnTo>
                        <a:pt x="1265" y="708"/>
                      </a:lnTo>
                      <a:lnTo>
                        <a:pt x="1263" y="706"/>
                      </a:lnTo>
                      <a:lnTo>
                        <a:pt x="1261" y="703"/>
                      </a:lnTo>
                      <a:lnTo>
                        <a:pt x="1259" y="701"/>
                      </a:lnTo>
                      <a:lnTo>
                        <a:pt x="1261" y="696"/>
                      </a:lnTo>
                      <a:lnTo>
                        <a:pt x="1261" y="696"/>
                      </a:lnTo>
                      <a:lnTo>
                        <a:pt x="1259" y="696"/>
                      </a:lnTo>
                      <a:lnTo>
                        <a:pt x="1258" y="696"/>
                      </a:lnTo>
                      <a:lnTo>
                        <a:pt x="1258" y="696"/>
                      </a:lnTo>
                      <a:lnTo>
                        <a:pt x="1256" y="696"/>
                      </a:lnTo>
                      <a:lnTo>
                        <a:pt x="1254" y="692"/>
                      </a:lnTo>
                      <a:lnTo>
                        <a:pt x="1254" y="690"/>
                      </a:lnTo>
                      <a:lnTo>
                        <a:pt x="1252" y="689"/>
                      </a:lnTo>
                      <a:lnTo>
                        <a:pt x="1251" y="689"/>
                      </a:lnTo>
                      <a:lnTo>
                        <a:pt x="1251" y="687"/>
                      </a:lnTo>
                      <a:lnTo>
                        <a:pt x="1251" y="685"/>
                      </a:lnTo>
                      <a:lnTo>
                        <a:pt x="1252" y="685"/>
                      </a:lnTo>
                      <a:lnTo>
                        <a:pt x="1258" y="685"/>
                      </a:lnTo>
                      <a:lnTo>
                        <a:pt x="1259" y="685"/>
                      </a:lnTo>
                      <a:lnTo>
                        <a:pt x="1265" y="685"/>
                      </a:lnTo>
                      <a:lnTo>
                        <a:pt x="1266" y="685"/>
                      </a:lnTo>
                      <a:lnTo>
                        <a:pt x="1273" y="682"/>
                      </a:lnTo>
                      <a:lnTo>
                        <a:pt x="1277" y="682"/>
                      </a:lnTo>
                      <a:lnTo>
                        <a:pt x="1277" y="680"/>
                      </a:lnTo>
                      <a:lnTo>
                        <a:pt x="1277" y="675"/>
                      </a:lnTo>
                      <a:lnTo>
                        <a:pt x="1272" y="673"/>
                      </a:lnTo>
                      <a:lnTo>
                        <a:pt x="1266" y="673"/>
                      </a:lnTo>
                      <a:lnTo>
                        <a:pt x="1263" y="673"/>
                      </a:lnTo>
                      <a:lnTo>
                        <a:pt x="1266" y="671"/>
                      </a:lnTo>
                      <a:lnTo>
                        <a:pt x="1272" y="669"/>
                      </a:lnTo>
                      <a:lnTo>
                        <a:pt x="1275" y="668"/>
                      </a:lnTo>
                      <a:lnTo>
                        <a:pt x="1275" y="664"/>
                      </a:lnTo>
                      <a:lnTo>
                        <a:pt x="1272" y="662"/>
                      </a:lnTo>
                      <a:lnTo>
                        <a:pt x="1266" y="662"/>
                      </a:lnTo>
                      <a:lnTo>
                        <a:pt x="1261" y="662"/>
                      </a:lnTo>
                      <a:lnTo>
                        <a:pt x="1256" y="662"/>
                      </a:lnTo>
                      <a:lnTo>
                        <a:pt x="1256" y="659"/>
                      </a:lnTo>
                      <a:lnTo>
                        <a:pt x="1252" y="657"/>
                      </a:lnTo>
                      <a:lnTo>
                        <a:pt x="1245" y="655"/>
                      </a:lnTo>
                      <a:lnTo>
                        <a:pt x="1251" y="654"/>
                      </a:lnTo>
                      <a:lnTo>
                        <a:pt x="1252" y="654"/>
                      </a:lnTo>
                      <a:lnTo>
                        <a:pt x="1254" y="652"/>
                      </a:lnTo>
                      <a:lnTo>
                        <a:pt x="1244" y="650"/>
                      </a:lnTo>
                      <a:lnTo>
                        <a:pt x="1226" y="648"/>
                      </a:lnTo>
                      <a:lnTo>
                        <a:pt x="1212" y="645"/>
                      </a:lnTo>
                      <a:lnTo>
                        <a:pt x="1209" y="645"/>
                      </a:lnTo>
                      <a:lnTo>
                        <a:pt x="1205" y="645"/>
                      </a:lnTo>
                      <a:lnTo>
                        <a:pt x="1200" y="645"/>
                      </a:lnTo>
                      <a:lnTo>
                        <a:pt x="1196" y="647"/>
                      </a:lnTo>
                      <a:lnTo>
                        <a:pt x="1195" y="647"/>
                      </a:lnTo>
                      <a:lnTo>
                        <a:pt x="1193" y="647"/>
                      </a:lnTo>
                      <a:lnTo>
                        <a:pt x="1191" y="647"/>
                      </a:lnTo>
                      <a:lnTo>
                        <a:pt x="1189" y="645"/>
                      </a:lnTo>
                      <a:lnTo>
                        <a:pt x="1188" y="645"/>
                      </a:lnTo>
                      <a:lnTo>
                        <a:pt x="1186" y="645"/>
                      </a:lnTo>
                      <a:lnTo>
                        <a:pt x="1188" y="647"/>
                      </a:lnTo>
                      <a:lnTo>
                        <a:pt x="1188" y="648"/>
                      </a:lnTo>
                      <a:lnTo>
                        <a:pt x="1188" y="648"/>
                      </a:lnTo>
                      <a:lnTo>
                        <a:pt x="1188" y="650"/>
                      </a:lnTo>
                      <a:lnTo>
                        <a:pt x="1188" y="652"/>
                      </a:lnTo>
                      <a:lnTo>
                        <a:pt x="1188" y="654"/>
                      </a:lnTo>
                      <a:lnTo>
                        <a:pt x="1188" y="654"/>
                      </a:lnTo>
                      <a:lnTo>
                        <a:pt x="1188" y="659"/>
                      </a:lnTo>
                      <a:lnTo>
                        <a:pt x="1189" y="661"/>
                      </a:lnTo>
                      <a:lnTo>
                        <a:pt x="1189" y="662"/>
                      </a:lnTo>
                      <a:lnTo>
                        <a:pt x="1193" y="664"/>
                      </a:lnTo>
                      <a:lnTo>
                        <a:pt x="1196" y="666"/>
                      </a:lnTo>
                      <a:lnTo>
                        <a:pt x="1200" y="666"/>
                      </a:lnTo>
                      <a:lnTo>
                        <a:pt x="1200" y="669"/>
                      </a:lnTo>
                      <a:lnTo>
                        <a:pt x="1198" y="671"/>
                      </a:lnTo>
                      <a:lnTo>
                        <a:pt x="1196" y="673"/>
                      </a:lnTo>
                      <a:lnTo>
                        <a:pt x="1196" y="675"/>
                      </a:lnTo>
                      <a:lnTo>
                        <a:pt x="1200" y="676"/>
                      </a:lnTo>
                      <a:lnTo>
                        <a:pt x="1198" y="676"/>
                      </a:lnTo>
                      <a:lnTo>
                        <a:pt x="1195" y="676"/>
                      </a:lnTo>
                      <a:lnTo>
                        <a:pt x="1191" y="676"/>
                      </a:lnTo>
                      <a:lnTo>
                        <a:pt x="1188" y="676"/>
                      </a:lnTo>
                      <a:lnTo>
                        <a:pt x="1184" y="678"/>
                      </a:lnTo>
                      <a:lnTo>
                        <a:pt x="1182" y="680"/>
                      </a:lnTo>
                      <a:lnTo>
                        <a:pt x="1182" y="682"/>
                      </a:lnTo>
                      <a:lnTo>
                        <a:pt x="1181" y="689"/>
                      </a:lnTo>
                      <a:lnTo>
                        <a:pt x="1181" y="692"/>
                      </a:lnTo>
                      <a:lnTo>
                        <a:pt x="1179" y="696"/>
                      </a:lnTo>
                      <a:lnTo>
                        <a:pt x="1177" y="699"/>
                      </a:lnTo>
                      <a:lnTo>
                        <a:pt x="1174" y="703"/>
                      </a:lnTo>
                      <a:lnTo>
                        <a:pt x="1168" y="706"/>
                      </a:lnTo>
                      <a:lnTo>
                        <a:pt x="1167" y="710"/>
                      </a:lnTo>
                      <a:lnTo>
                        <a:pt x="1165" y="713"/>
                      </a:lnTo>
                      <a:lnTo>
                        <a:pt x="1165" y="717"/>
                      </a:lnTo>
                      <a:lnTo>
                        <a:pt x="1163" y="718"/>
                      </a:lnTo>
                      <a:lnTo>
                        <a:pt x="1162" y="722"/>
                      </a:lnTo>
                      <a:lnTo>
                        <a:pt x="1151" y="729"/>
                      </a:lnTo>
                      <a:lnTo>
                        <a:pt x="1148" y="731"/>
                      </a:lnTo>
                      <a:lnTo>
                        <a:pt x="1148" y="731"/>
                      </a:lnTo>
                      <a:lnTo>
                        <a:pt x="1144" y="725"/>
                      </a:lnTo>
                      <a:lnTo>
                        <a:pt x="1142" y="722"/>
                      </a:lnTo>
                      <a:lnTo>
                        <a:pt x="1134" y="715"/>
                      </a:lnTo>
                      <a:lnTo>
                        <a:pt x="1130" y="710"/>
                      </a:lnTo>
                      <a:lnTo>
                        <a:pt x="1127" y="701"/>
                      </a:lnTo>
                      <a:lnTo>
                        <a:pt x="1125" y="694"/>
                      </a:lnTo>
                      <a:lnTo>
                        <a:pt x="1128" y="690"/>
                      </a:lnTo>
                      <a:lnTo>
                        <a:pt x="1130" y="690"/>
                      </a:lnTo>
                      <a:lnTo>
                        <a:pt x="1130" y="692"/>
                      </a:lnTo>
                      <a:lnTo>
                        <a:pt x="1132" y="692"/>
                      </a:lnTo>
                      <a:lnTo>
                        <a:pt x="1134" y="694"/>
                      </a:lnTo>
                      <a:lnTo>
                        <a:pt x="1135" y="694"/>
                      </a:lnTo>
                      <a:lnTo>
                        <a:pt x="1135" y="692"/>
                      </a:lnTo>
                      <a:lnTo>
                        <a:pt x="1137" y="692"/>
                      </a:lnTo>
                      <a:lnTo>
                        <a:pt x="1137" y="690"/>
                      </a:lnTo>
                      <a:lnTo>
                        <a:pt x="1137" y="689"/>
                      </a:lnTo>
                      <a:lnTo>
                        <a:pt x="1137" y="685"/>
                      </a:lnTo>
                      <a:lnTo>
                        <a:pt x="1134" y="678"/>
                      </a:lnTo>
                      <a:lnTo>
                        <a:pt x="1132" y="675"/>
                      </a:lnTo>
                      <a:lnTo>
                        <a:pt x="1130" y="673"/>
                      </a:lnTo>
                      <a:lnTo>
                        <a:pt x="1127" y="671"/>
                      </a:lnTo>
                      <a:lnTo>
                        <a:pt x="1123" y="669"/>
                      </a:lnTo>
                      <a:lnTo>
                        <a:pt x="1113" y="662"/>
                      </a:lnTo>
                      <a:lnTo>
                        <a:pt x="1109" y="662"/>
                      </a:lnTo>
                      <a:lnTo>
                        <a:pt x="1102" y="664"/>
                      </a:lnTo>
                      <a:lnTo>
                        <a:pt x="1099" y="669"/>
                      </a:lnTo>
                      <a:lnTo>
                        <a:pt x="1090" y="689"/>
                      </a:lnTo>
                      <a:lnTo>
                        <a:pt x="1088" y="690"/>
                      </a:lnTo>
                      <a:lnTo>
                        <a:pt x="1086" y="692"/>
                      </a:lnTo>
                      <a:lnTo>
                        <a:pt x="1085" y="692"/>
                      </a:lnTo>
                      <a:lnTo>
                        <a:pt x="1081" y="689"/>
                      </a:lnTo>
                      <a:lnTo>
                        <a:pt x="1079" y="687"/>
                      </a:lnTo>
                      <a:lnTo>
                        <a:pt x="1078" y="685"/>
                      </a:lnTo>
                      <a:lnTo>
                        <a:pt x="1078" y="682"/>
                      </a:lnTo>
                      <a:lnTo>
                        <a:pt x="1079" y="675"/>
                      </a:lnTo>
                      <a:lnTo>
                        <a:pt x="1079" y="673"/>
                      </a:lnTo>
                      <a:lnTo>
                        <a:pt x="1076" y="668"/>
                      </a:lnTo>
                      <a:lnTo>
                        <a:pt x="1072" y="666"/>
                      </a:lnTo>
                      <a:lnTo>
                        <a:pt x="1064" y="661"/>
                      </a:lnTo>
                      <a:lnTo>
                        <a:pt x="1065" y="661"/>
                      </a:lnTo>
                      <a:lnTo>
                        <a:pt x="1067" y="661"/>
                      </a:lnTo>
                      <a:lnTo>
                        <a:pt x="1067" y="661"/>
                      </a:lnTo>
                      <a:lnTo>
                        <a:pt x="1069" y="661"/>
                      </a:lnTo>
                      <a:lnTo>
                        <a:pt x="1069" y="662"/>
                      </a:lnTo>
                      <a:lnTo>
                        <a:pt x="1071" y="661"/>
                      </a:lnTo>
                      <a:lnTo>
                        <a:pt x="1076" y="659"/>
                      </a:lnTo>
                      <a:lnTo>
                        <a:pt x="1078" y="657"/>
                      </a:lnTo>
                      <a:lnTo>
                        <a:pt x="1079" y="657"/>
                      </a:lnTo>
                      <a:lnTo>
                        <a:pt x="1081" y="657"/>
                      </a:lnTo>
                      <a:lnTo>
                        <a:pt x="1078" y="655"/>
                      </a:lnTo>
                      <a:lnTo>
                        <a:pt x="1071" y="654"/>
                      </a:lnTo>
                      <a:lnTo>
                        <a:pt x="1065" y="654"/>
                      </a:lnTo>
                      <a:lnTo>
                        <a:pt x="1060" y="654"/>
                      </a:lnTo>
                      <a:lnTo>
                        <a:pt x="1062" y="654"/>
                      </a:lnTo>
                      <a:lnTo>
                        <a:pt x="1065" y="652"/>
                      </a:lnTo>
                      <a:lnTo>
                        <a:pt x="1060" y="652"/>
                      </a:lnTo>
                      <a:lnTo>
                        <a:pt x="1053" y="654"/>
                      </a:lnTo>
                      <a:lnTo>
                        <a:pt x="1046" y="654"/>
                      </a:lnTo>
                      <a:lnTo>
                        <a:pt x="1043" y="650"/>
                      </a:lnTo>
                      <a:lnTo>
                        <a:pt x="1039" y="650"/>
                      </a:lnTo>
                      <a:lnTo>
                        <a:pt x="1032" y="650"/>
                      </a:lnTo>
                      <a:lnTo>
                        <a:pt x="1029" y="650"/>
                      </a:lnTo>
                      <a:lnTo>
                        <a:pt x="1034" y="648"/>
                      </a:lnTo>
                      <a:lnTo>
                        <a:pt x="1039" y="645"/>
                      </a:lnTo>
                      <a:lnTo>
                        <a:pt x="1045" y="641"/>
                      </a:lnTo>
                      <a:lnTo>
                        <a:pt x="1048" y="636"/>
                      </a:lnTo>
                      <a:lnTo>
                        <a:pt x="1046" y="634"/>
                      </a:lnTo>
                      <a:lnTo>
                        <a:pt x="1039" y="634"/>
                      </a:lnTo>
                      <a:lnTo>
                        <a:pt x="1038" y="634"/>
                      </a:lnTo>
                      <a:lnTo>
                        <a:pt x="1038" y="633"/>
                      </a:lnTo>
                      <a:lnTo>
                        <a:pt x="1039" y="631"/>
                      </a:lnTo>
                      <a:lnTo>
                        <a:pt x="1041" y="629"/>
                      </a:lnTo>
                      <a:lnTo>
                        <a:pt x="1043" y="629"/>
                      </a:lnTo>
                      <a:lnTo>
                        <a:pt x="1045" y="629"/>
                      </a:lnTo>
                      <a:lnTo>
                        <a:pt x="1048" y="633"/>
                      </a:lnTo>
                      <a:lnTo>
                        <a:pt x="1051" y="633"/>
                      </a:lnTo>
                      <a:lnTo>
                        <a:pt x="1053" y="633"/>
                      </a:lnTo>
                      <a:lnTo>
                        <a:pt x="1055" y="633"/>
                      </a:lnTo>
                      <a:lnTo>
                        <a:pt x="1057" y="633"/>
                      </a:lnTo>
                      <a:lnTo>
                        <a:pt x="1057" y="631"/>
                      </a:lnTo>
                      <a:lnTo>
                        <a:pt x="1057" y="629"/>
                      </a:lnTo>
                      <a:lnTo>
                        <a:pt x="1055" y="628"/>
                      </a:lnTo>
                      <a:lnTo>
                        <a:pt x="1053" y="626"/>
                      </a:lnTo>
                      <a:lnTo>
                        <a:pt x="1051" y="624"/>
                      </a:lnTo>
                      <a:lnTo>
                        <a:pt x="1051" y="626"/>
                      </a:lnTo>
                      <a:lnTo>
                        <a:pt x="1050" y="626"/>
                      </a:lnTo>
                      <a:lnTo>
                        <a:pt x="1048" y="626"/>
                      </a:lnTo>
                      <a:lnTo>
                        <a:pt x="1046" y="626"/>
                      </a:lnTo>
                      <a:lnTo>
                        <a:pt x="1046" y="626"/>
                      </a:lnTo>
                      <a:lnTo>
                        <a:pt x="1045" y="619"/>
                      </a:lnTo>
                      <a:lnTo>
                        <a:pt x="1041" y="615"/>
                      </a:lnTo>
                      <a:lnTo>
                        <a:pt x="1039" y="614"/>
                      </a:lnTo>
                      <a:lnTo>
                        <a:pt x="1036" y="610"/>
                      </a:lnTo>
                      <a:lnTo>
                        <a:pt x="1029" y="607"/>
                      </a:lnTo>
                      <a:lnTo>
                        <a:pt x="1029" y="605"/>
                      </a:lnTo>
                      <a:lnTo>
                        <a:pt x="1027" y="605"/>
                      </a:lnTo>
                      <a:lnTo>
                        <a:pt x="1027" y="603"/>
                      </a:lnTo>
                      <a:lnTo>
                        <a:pt x="1029" y="598"/>
                      </a:lnTo>
                      <a:lnTo>
                        <a:pt x="1029" y="596"/>
                      </a:lnTo>
                      <a:lnTo>
                        <a:pt x="1027" y="591"/>
                      </a:lnTo>
                      <a:lnTo>
                        <a:pt x="1025" y="586"/>
                      </a:lnTo>
                      <a:lnTo>
                        <a:pt x="1022" y="582"/>
                      </a:lnTo>
                      <a:lnTo>
                        <a:pt x="1017" y="580"/>
                      </a:lnTo>
                      <a:lnTo>
                        <a:pt x="1013" y="577"/>
                      </a:lnTo>
                      <a:lnTo>
                        <a:pt x="1011" y="577"/>
                      </a:lnTo>
                      <a:lnTo>
                        <a:pt x="1010" y="575"/>
                      </a:lnTo>
                      <a:lnTo>
                        <a:pt x="1010" y="573"/>
                      </a:lnTo>
                      <a:lnTo>
                        <a:pt x="1010" y="573"/>
                      </a:lnTo>
                      <a:lnTo>
                        <a:pt x="1011" y="573"/>
                      </a:lnTo>
                      <a:lnTo>
                        <a:pt x="1010" y="572"/>
                      </a:lnTo>
                      <a:lnTo>
                        <a:pt x="1010" y="572"/>
                      </a:lnTo>
                      <a:lnTo>
                        <a:pt x="1008" y="572"/>
                      </a:lnTo>
                      <a:lnTo>
                        <a:pt x="1001" y="572"/>
                      </a:lnTo>
                      <a:lnTo>
                        <a:pt x="999" y="572"/>
                      </a:lnTo>
                      <a:lnTo>
                        <a:pt x="997" y="570"/>
                      </a:lnTo>
                      <a:lnTo>
                        <a:pt x="996" y="568"/>
                      </a:lnTo>
                      <a:lnTo>
                        <a:pt x="994" y="566"/>
                      </a:lnTo>
                      <a:lnTo>
                        <a:pt x="994" y="565"/>
                      </a:lnTo>
                      <a:lnTo>
                        <a:pt x="992" y="563"/>
                      </a:lnTo>
                      <a:lnTo>
                        <a:pt x="987" y="563"/>
                      </a:lnTo>
                      <a:lnTo>
                        <a:pt x="980" y="566"/>
                      </a:lnTo>
                      <a:lnTo>
                        <a:pt x="975" y="570"/>
                      </a:lnTo>
                      <a:lnTo>
                        <a:pt x="971" y="573"/>
                      </a:lnTo>
                      <a:lnTo>
                        <a:pt x="968" y="577"/>
                      </a:lnTo>
                      <a:lnTo>
                        <a:pt x="966" y="577"/>
                      </a:lnTo>
                      <a:lnTo>
                        <a:pt x="966" y="580"/>
                      </a:lnTo>
                      <a:lnTo>
                        <a:pt x="968" y="580"/>
                      </a:lnTo>
                      <a:lnTo>
                        <a:pt x="969" y="580"/>
                      </a:lnTo>
                      <a:lnTo>
                        <a:pt x="973" y="580"/>
                      </a:lnTo>
                      <a:lnTo>
                        <a:pt x="975" y="582"/>
                      </a:lnTo>
                      <a:lnTo>
                        <a:pt x="973" y="586"/>
                      </a:lnTo>
                      <a:lnTo>
                        <a:pt x="971" y="587"/>
                      </a:lnTo>
                      <a:lnTo>
                        <a:pt x="969" y="587"/>
                      </a:lnTo>
                      <a:lnTo>
                        <a:pt x="968" y="587"/>
                      </a:lnTo>
                      <a:lnTo>
                        <a:pt x="966" y="587"/>
                      </a:lnTo>
                      <a:lnTo>
                        <a:pt x="964" y="586"/>
                      </a:lnTo>
                      <a:lnTo>
                        <a:pt x="962" y="584"/>
                      </a:lnTo>
                      <a:lnTo>
                        <a:pt x="961" y="584"/>
                      </a:lnTo>
                      <a:lnTo>
                        <a:pt x="959" y="586"/>
                      </a:lnTo>
                      <a:lnTo>
                        <a:pt x="959" y="586"/>
                      </a:lnTo>
                      <a:lnTo>
                        <a:pt x="957" y="587"/>
                      </a:lnTo>
                      <a:lnTo>
                        <a:pt x="955" y="589"/>
                      </a:lnTo>
                      <a:lnTo>
                        <a:pt x="954" y="589"/>
                      </a:lnTo>
                      <a:lnTo>
                        <a:pt x="954" y="593"/>
                      </a:lnTo>
                      <a:lnTo>
                        <a:pt x="954" y="594"/>
                      </a:lnTo>
                      <a:lnTo>
                        <a:pt x="952" y="594"/>
                      </a:lnTo>
                      <a:lnTo>
                        <a:pt x="952" y="594"/>
                      </a:lnTo>
                      <a:lnTo>
                        <a:pt x="952" y="594"/>
                      </a:lnTo>
                      <a:lnTo>
                        <a:pt x="952" y="596"/>
                      </a:lnTo>
                      <a:lnTo>
                        <a:pt x="952" y="596"/>
                      </a:lnTo>
                      <a:lnTo>
                        <a:pt x="950" y="601"/>
                      </a:lnTo>
                      <a:lnTo>
                        <a:pt x="950" y="603"/>
                      </a:lnTo>
                      <a:lnTo>
                        <a:pt x="950" y="607"/>
                      </a:lnTo>
                      <a:lnTo>
                        <a:pt x="954" y="610"/>
                      </a:lnTo>
                      <a:lnTo>
                        <a:pt x="955" y="612"/>
                      </a:lnTo>
                      <a:lnTo>
                        <a:pt x="961" y="612"/>
                      </a:lnTo>
                      <a:lnTo>
                        <a:pt x="964" y="612"/>
                      </a:lnTo>
                      <a:lnTo>
                        <a:pt x="964" y="612"/>
                      </a:lnTo>
                      <a:lnTo>
                        <a:pt x="962" y="614"/>
                      </a:lnTo>
                      <a:lnTo>
                        <a:pt x="964" y="615"/>
                      </a:lnTo>
                      <a:lnTo>
                        <a:pt x="964" y="617"/>
                      </a:lnTo>
                      <a:lnTo>
                        <a:pt x="959" y="617"/>
                      </a:lnTo>
                      <a:lnTo>
                        <a:pt x="954" y="621"/>
                      </a:lnTo>
                      <a:lnTo>
                        <a:pt x="950" y="628"/>
                      </a:lnTo>
                      <a:lnTo>
                        <a:pt x="952" y="634"/>
                      </a:lnTo>
                      <a:lnTo>
                        <a:pt x="957" y="640"/>
                      </a:lnTo>
                      <a:lnTo>
                        <a:pt x="959" y="643"/>
                      </a:lnTo>
                      <a:lnTo>
                        <a:pt x="962" y="647"/>
                      </a:lnTo>
                      <a:lnTo>
                        <a:pt x="966" y="648"/>
                      </a:lnTo>
                      <a:lnTo>
                        <a:pt x="980" y="650"/>
                      </a:lnTo>
                      <a:lnTo>
                        <a:pt x="983" y="652"/>
                      </a:lnTo>
                      <a:lnTo>
                        <a:pt x="989" y="652"/>
                      </a:lnTo>
                      <a:lnTo>
                        <a:pt x="990" y="652"/>
                      </a:lnTo>
                      <a:lnTo>
                        <a:pt x="990" y="652"/>
                      </a:lnTo>
                      <a:lnTo>
                        <a:pt x="992" y="652"/>
                      </a:lnTo>
                      <a:lnTo>
                        <a:pt x="992" y="652"/>
                      </a:lnTo>
                      <a:lnTo>
                        <a:pt x="994" y="652"/>
                      </a:lnTo>
                      <a:lnTo>
                        <a:pt x="997" y="655"/>
                      </a:lnTo>
                      <a:lnTo>
                        <a:pt x="997" y="655"/>
                      </a:lnTo>
                      <a:lnTo>
                        <a:pt x="1001" y="657"/>
                      </a:lnTo>
                      <a:lnTo>
                        <a:pt x="1004" y="657"/>
                      </a:lnTo>
                      <a:lnTo>
                        <a:pt x="1008" y="655"/>
                      </a:lnTo>
                      <a:lnTo>
                        <a:pt x="1010" y="655"/>
                      </a:lnTo>
                      <a:lnTo>
                        <a:pt x="1013" y="655"/>
                      </a:lnTo>
                      <a:lnTo>
                        <a:pt x="1015" y="657"/>
                      </a:lnTo>
                      <a:lnTo>
                        <a:pt x="1015" y="659"/>
                      </a:lnTo>
                      <a:lnTo>
                        <a:pt x="1017" y="659"/>
                      </a:lnTo>
                      <a:lnTo>
                        <a:pt x="1015" y="661"/>
                      </a:lnTo>
                      <a:lnTo>
                        <a:pt x="1013" y="662"/>
                      </a:lnTo>
                      <a:lnTo>
                        <a:pt x="1011" y="662"/>
                      </a:lnTo>
                      <a:lnTo>
                        <a:pt x="1010" y="662"/>
                      </a:lnTo>
                      <a:lnTo>
                        <a:pt x="1010" y="661"/>
                      </a:lnTo>
                      <a:lnTo>
                        <a:pt x="1013" y="659"/>
                      </a:lnTo>
                      <a:lnTo>
                        <a:pt x="1013" y="657"/>
                      </a:lnTo>
                      <a:lnTo>
                        <a:pt x="1003" y="659"/>
                      </a:lnTo>
                      <a:lnTo>
                        <a:pt x="999" y="661"/>
                      </a:lnTo>
                      <a:lnTo>
                        <a:pt x="999" y="662"/>
                      </a:lnTo>
                      <a:lnTo>
                        <a:pt x="999" y="664"/>
                      </a:lnTo>
                      <a:lnTo>
                        <a:pt x="1001" y="666"/>
                      </a:lnTo>
                      <a:lnTo>
                        <a:pt x="1003" y="666"/>
                      </a:lnTo>
                      <a:lnTo>
                        <a:pt x="1001" y="668"/>
                      </a:lnTo>
                      <a:lnTo>
                        <a:pt x="996" y="669"/>
                      </a:lnTo>
                      <a:lnTo>
                        <a:pt x="994" y="673"/>
                      </a:lnTo>
                      <a:lnTo>
                        <a:pt x="992" y="675"/>
                      </a:lnTo>
                      <a:lnTo>
                        <a:pt x="994" y="676"/>
                      </a:lnTo>
                      <a:lnTo>
                        <a:pt x="999" y="676"/>
                      </a:lnTo>
                      <a:lnTo>
                        <a:pt x="1003" y="676"/>
                      </a:lnTo>
                      <a:lnTo>
                        <a:pt x="1006" y="675"/>
                      </a:lnTo>
                      <a:lnTo>
                        <a:pt x="1008" y="669"/>
                      </a:lnTo>
                      <a:lnTo>
                        <a:pt x="1010" y="669"/>
                      </a:lnTo>
                      <a:lnTo>
                        <a:pt x="1011" y="673"/>
                      </a:lnTo>
                      <a:lnTo>
                        <a:pt x="1013" y="676"/>
                      </a:lnTo>
                      <a:lnTo>
                        <a:pt x="1013" y="678"/>
                      </a:lnTo>
                      <a:lnTo>
                        <a:pt x="1013" y="682"/>
                      </a:lnTo>
                      <a:lnTo>
                        <a:pt x="1017" y="682"/>
                      </a:lnTo>
                      <a:lnTo>
                        <a:pt x="1013" y="683"/>
                      </a:lnTo>
                      <a:lnTo>
                        <a:pt x="1006" y="687"/>
                      </a:lnTo>
                      <a:lnTo>
                        <a:pt x="1003" y="689"/>
                      </a:lnTo>
                      <a:lnTo>
                        <a:pt x="994" y="696"/>
                      </a:lnTo>
                      <a:lnTo>
                        <a:pt x="990" y="697"/>
                      </a:lnTo>
                      <a:lnTo>
                        <a:pt x="987" y="699"/>
                      </a:lnTo>
                      <a:lnTo>
                        <a:pt x="980" y="699"/>
                      </a:lnTo>
                      <a:lnTo>
                        <a:pt x="975" y="699"/>
                      </a:lnTo>
                      <a:lnTo>
                        <a:pt x="973" y="701"/>
                      </a:lnTo>
                      <a:lnTo>
                        <a:pt x="971" y="704"/>
                      </a:lnTo>
                      <a:lnTo>
                        <a:pt x="969" y="708"/>
                      </a:lnTo>
                      <a:lnTo>
                        <a:pt x="969" y="711"/>
                      </a:lnTo>
                      <a:lnTo>
                        <a:pt x="971" y="713"/>
                      </a:lnTo>
                      <a:lnTo>
                        <a:pt x="975" y="717"/>
                      </a:lnTo>
                      <a:lnTo>
                        <a:pt x="975" y="717"/>
                      </a:lnTo>
                      <a:lnTo>
                        <a:pt x="976" y="720"/>
                      </a:lnTo>
                      <a:lnTo>
                        <a:pt x="976" y="722"/>
                      </a:lnTo>
                      <a:lnTo>
                        <a:pt x="976" y="724"/>
                      </a:lnTo>
                      <a:lnTo>
                        <a:pt x="978" y="725"/>
                      </a:lnTo>
                      <a:lnTo>
                        <a:pt x="978" y="729"/>
                      </a:lnTo>
                      <a:lnTo>
                        <a:pt x="978" y="732"/>
                      </a:lnTo>
                      <a:lnTo>
                        <a:pt x="976" y="738"/>
                      </a:lnTo>
                      <a:lnTo>
                        <a:pt x="975" y="739"/>
                      </a:lnTo>
                      <a:lnTo>
                        <a:pt x="971" y="741"/>
                      </a:lnTo>
                      <a:lnTo>
                        <a:pt x="964" y="739"/>
                      </a:lnTo>
                      <a:lnTo>
                        <a:pt x="961" y="741"/>
                      </a:lnTo>
                      <a:lnTo>
                        <a:pt x="962" y="745"/>
                      </a:lnTo>
                      <a:lnTo>
                        <a:pt x="964" y="746"/>
                      </a:lnTo>
                      <a:lnTo>
                        <a:pt x="968" y="750"/>
                      </a:lnTo>
                      <a:lnTo>
                        <a:pt x="966" y="753"/>
                      </a:lnTo>
                      <a:lnTo>
                        <a:pt x="966" y="748"/>
                      </a:lnTo>
                      <a:lnTo>
                        <a:pt x="962" y="745"/>
                      </a:lnTo>
                      <a:lnTo>
                        <a:pt x="957" y="743"/>
                      </a:lnTo>
                      <a:lnTo>
                        <a:pt x="955" y="739"/>
                      </a:lnTo>
                      <a:lnTo>
                        <a:pt x="954" y="736"/>
                      </a:lnTo>
                      <a:lnTo>
                        <a:pt x="954" y="736"/>
                      </a:lnTo>
                      <a:lnTo>
                        <a:pt x="955" y="736"/>
                      </a:lnTo>
                      <a:lnTo>
                        <a:pt x="955" y="736"/>
                      </a:lnTo>
                      <a:lnTo>
                        <a:pt x="961" y="738"/>
                      </a:lnTo>
                      <a:lnTo>
                        <a:pt x="961" y="738"/>
                      </a:lnTo>
                      <a:lnTo>
                        <a:pt x="962" y="738"/>
                      </a:lnTo>
                      <a:lnTo>
                        <a:pt x="962" y="738"/>
                      </a:lnTo>
                      <a:lnTo>
                        <a:pt x="969" y="739"/>
                      </a:lnTo>
                      <a:lnTo>
                        <a:pt x="971" y="739"/>
                      </a:lnTo>
                      <a:lnTo>
                        <a:pt x="975" y="738"/>
                      </a:lnTo>
                      <a:lnTo>
                        <a:pt x="976" y="734"/>
                      </a:lnTo>
                      <a:lnTo>
                        <a:pt x="975" y="731"/>
                      </a:lnTo>
                      <a:lnTo>
                        <a:pt x="971" y="731"/>
                      </a:lnTo>
                      <a:lnTo>
                        <a:pt x="968" y="731"/>
                      </a:lnTo>
                      <a:lnTo>
                        <a:pt x="968" y="727"/>
                      </a:lnTo>
                      <a:lnTo>
                        <a:pt x="968" y="727"/>
                      </a:lnTo>
                      <a:lnTo>
                        <a:pt x="966" y="727"/>
                      </a:lnTo>
                      <a:lnTo>
                        <a:pt x="962" y="727"/>
                      </a:lnTo>
                      <a:lnTo>
                        <a:pt x="961" y="727"/>
                      </a:lnTo>
                      <a:lnTo>
                        <a:pt x="957" y="725"/>
                      </a:lnTo>
                      <a:lnTo>
                        <a:pt x="957" y="722"/>
                      </a:lnTo>
                      <a:lnTo>
                        <a:pt x="955" y="720"/>
                      </a:lnTo>
                      <a:lnTo>
                        <a:pt x="955" y="717"/>
                      </a:lnTo>
                      <a:lnTo>
                        <a:pt x="955" y="715"/>
                      </a:lnTo>
                      <a:lnTo>
                        <a:pt x="959" y="708"/>
                      </a:lnTo>
                      <a:lnTo>
                        <a:pt x="961" y="697"/>
                      </a:lnTo>
                      <a:lnTo>
                        <a:pt x="962" y="692"/>
                      </a:lnTo>
                      <a:lnTo>
                        <a:pt x="961" y="694"/>
                      </a:lnTo>
                      <a:lnTo>
                        <a:pt x="957" y="694"/>
                      </a:lnTo>
                      <a:lnTo>
                        <a:pt x="955" y="696"/>
                      </a:lnTo>
                      <a:lnTo>
                        <a:pt x="952" y="697"/>
                      </a:lnTo>
                      <a:lnTo>
                        <a:pt x="952" y="697"/>
                      </a:lnTo>
                      <a:lnTo>
                        <a:pt x="950" y="699"/>
                      </a:lnTo>
                      <a:lnTo>
                        <a:pt x="948" y="699"/>
                      </a:lnTo>
                      <a:lnTo>
                        <a:pt x="947" y="701"/>
                      </a:lnTo>
                      <a:lnTo>
                        <a:pt x="948" y="697"/>
                      </a:lnTo>
                      <a:lnTo>
                        <a:pt x="952" y="694"/>
                      </a:lnTo>
                      <a:lnTo>
                        <a:pt x="954" y="690"/>
                      </a:lnTo>
                      <a:lnTo>
                        <a:pt x="950" y="692"/>
                      </a:lnTo>
                      <a:lnTo>
                        <a:pt x="947" y="694"/>
                      </a:lnTo>
                      <a:lnTo>
                        <a:pt x="945" y="694"/>
                      </a:lnTo>
                      <a:lnTo>
                        <a:pt x="941" y="692"/>
                      </a:lnTo>
                      <a:lnTo>
                        <a:pt x="940" y="692"/>
                      </a:lnTo>
                      <a:lnTo>
                        <a:pt x="936" y="687"/>
                      </a:lnTo>
                      <a:lnTo>
                        <a:pt x="934" y="685"/>
                      </a:lnTo>
                      <a:lnTo>
                        <a:pt x="933" y="685"/>
                      </a:lnTo>
                      <a:lnTo>
                        <a:pt x="926" y="685"/>
                      </a:lnTo>
                      <a:lnTo>
                        <a:pt x="924" y="685"/>
                      </a:lnTo>
                      <a:lnTo>
                        <a:pt x="924" y="683"/>
                      </a:lnTo>
                      <a:lnTo>
                        <a:pt x="922" y="683"/>
                      </a:lnTo>
                      <a:lnTo>
                        <a:pt x="921" y="685"/>
                      </a:lnTo>
                      <a:lnTo>
                        <a:pt x="921" y="685"/>
                      </a:lnTo>
                      <a:lnTo>
                        <a:pt x="922" y="687"/>
                      </a:lnTo>
                      <a:lnTo>
                        <a:pt x="922" y="689"/>
                      </a:lnTo>
                      <a:lnTo>
                        <a:pt x="924" y="689"/>
                      </a:lnTo>
                      <a:lnTo>
                        <a:pt x="917" y="690"/>
                      </a:lnTo>
                      <a:lnTo>
                        <a:pt x="914" y="690"/>
                      </a:lnTo>
                      <a:lnTo>
                        <a:pt x="912" y="690"/>
                      </a:lnTo>
                      <a:lnTo>
                        <a:pt x="910" y="689"/>
                      </a:lnTo>
                      <a:lnTo>
                        <a:pt x="908" y="689"/>
                      </a:lnTo>
                      <a:lnTo>
                        <a:pt x="907" y="689"/>
                      </a:lnTo>
                      <a:lnTo>
                        <a:pt x="907" y="692"/>
                      </a:lnTo>
                      <a:lnTo>
                        <a:pt x="910" y="696"/>
                      </a:lnTo>
                      <a:lnTo>
                        <a:pt x="912" y="697"/>
                      </a:lnTo>
                      <a:lnTo>
                        <a:pt x="908" y="697"/>
                      </a:lnTo>
                      <a:lnTo>
                        <a:pt x="910" y="699"/>
                      </a:lnTo>
                      <a:lnTo>
                        <a:pt x="912" y="701"/>
                      </a:lnTo>
                      <a:lnTo>
                        <a:pt x="915" y="703"/>
                      </a:lnTo>
                      <a:lnTo>
                        <a:pt x="917" y="704"/>
                      </a:lnTo>
                      <a:lnTo>
                        <a:pt x="921" y="704"/>
                      </a:lnTo>
                      <a:lnTo>
                        <a:pt x="926" y="703"/>
                      </a:lnTo>
                      <a:lnTo>
                        <a:pt x="929" y="703"/>
                      </a:lnTo>
                      <a:lnTo>
                        <a:pt x="933" y="704"/>
                      </a:lnTo>
                      <a:lnTo>
                        <a:pt x="936" y="708"/>
                      </a:lnTo>
                      <a:lnTo>
                        <a:pt x="938" y="711"/>
                      </a:lnTo>
                      <a:lnTo>
                        <a:pt x="933" y="713"/>
                      </a:lnTo>
                      <a:lnTo>
                        <a:pt x="928" y="715"/>
                      </a:lnTo>
                      <a:lnTo>
                        <a:pt x="922" y="711"/>
                      </a:lnTo>
                      <a:lnTo>
                        <a:pt x="908" y="699"/>
                      </a:lnTo>
                      <a:lnTo>
                        <a:pt x="907" y="699"/>
                      </a:lnTo>
                      <a:lnTo>
                        <a:pt x="905" y="699"/>
                      </a:lnTo>
                      <a:lnTo>
                        <a:pt x="905" y="703"/>
                      </a:lnTo>
                      <a:lnTo>
                        <a:pt x="907" y="703"/>
                      </a:lnTo>
                      <a:lnTo>
                        <a:pt x="908" y="704"/>
                      </a:lnTo>
                      <a:lnTo>
                        <a:pt x="910" y="706"/>
                      </a:lnTo>
                      <a:lnTo>
                        <a:pt x="910" y="708"/>
                      </a:lnTo>
                      <a:lnTo>
                        <a:pt x="910" y="708"/>
                      </a:lnTo>
                      <a:lnTo>
                        <a:pt x="907" y="708"/>
                      </a:lnTo>
                      <a:lnTo>
                        <a:pt x="905" y="710"/>
                      </a:lnTo>
                      <a:lnTo>
                        <a:pt x="900" y="711"/>
                      </a:lnTo>
                      <a:lnTo>
                        <a:pt x="896" y="711"/>
                      </a:lnTo>
                      <a:lnTo>
                        <a:pt x="893" y="710"/>
                      </a:lnTo>
                      <a:lnTo>
                        <a:pt x="880" y="708"/>
                      </a:lnTo>
                      <a:lnTo>
                        <a:pt x="873" y="706"/>
                      </a:lnTo>
                      <a:lnTo>
                        <a:pt x="866" y="708"/>
                      </a:lnTo>
                      <a:lnTo>
                        <a:pt x="861" y="708"/>
                      </a:lnTo>
                      <a:lnTo>
                        <a:pt x="849" y="711"/>
                      </a:lnTo>
                      <a:lnTo>
                        <a:pt x="844" y="711"/>
                      </a:lnTo>
                      <a:lnTo>
                        <a:pt x="840" y="711"/>
                      </a:lnTo>
                      <a:lnTo>
                        <a:pt x="835" y="710"/>
                      </a:lnTo>
                      <a:lnTo>
                        <a:pt x="833" y="710"/>
                      </a:lnTo>
                      <a:lnTo>
                        <a:pt x="826" y="710"/>
                      </a:lnTo>
                      <a:lnTo>
                        <a:pt x="823" y="710"/>
                      </a:lnTo>
                      <a:lnTo>
                        <a:pt x="819" y="708"/>
                      </a:lnTo>
                      <a:lnTo>
                        <a:pt x="817" y="706"/>
                      </a:lnTo>
                      <a:lnTo>
                        <a:pt x="807" y="701"/>
                      </a:lnTo>
                      <a:lnTo>
                        <a:pt x="805" y="699"/>
                      </a:lnTo>
                      <a:lnTo>
                        <a:pt x="802" y="699"/>
                      </a:lnTo>
                      <a:lnTo>
                        <a:pt x="790" y="701"/>
                      </a:lnTo>
                      <a:lnTo>
                        <a:pt x="786" y="701"/>
                      </a:lnTo>
                      <a:lnTo>
                        <a:pt x="783" y="699"/>
                      </a:lnTo>
                      <a:lnTo>
                        <a:pt x="781" y="699"/>
                      </a:lnTo>
                      <a:lnTo>
                        <a:pt x="777" y="694"/>
                      </a:lnTo>
                      <a:lnTo>
                        <a:pt x="776" y="694"/>
                      </a:lnTo>
                      <a:lnTo>
                        <a:pt x="774" y="694"/>
                      </a:lnTo>
                      <a:lnTo>
                        <a:pt x="772" y="692"/>
                      </a:lnTo>
                      <a:lnTo>
                        <a:pt x="772" y="692"/>
                      </a:lnTo>
                      <a:lnTo>
                        <a:pt x="770" y="690"/>
                      </a:lnTo>
                      <a:lnTo>
                        <a:pt x="769" y="690"/>
                      </a:lnTo>
                      <a:lnTo>
                        <a:pt x="767" y="690"/>
                      </a:lnTo>
                      <a:lnTo>
                        <a:pt x="765" y="690"/>
                      </a:lnTo>
                      <a:lnTo>
                        <a:pt x="763" y="689"/>
                      </a:lnTo>
                      <a:lnTo>
                        <a:pt x="760" y="683"/>
                      </a:lnTo>
                      <a:lnTo>
                        <a:pt x="758" y="678"/>
                      </a:lnTo>
                      <a:lnTo>
                        <a:pt x="755" y="675"/>
                      </a:lnTo>
                      <a:lnTo>
                        <a:pt x="748" y="673"/>
                      </a:lnTo>
                      <a:lnTo>
                        <a:pt x="741" y="673"/>
                      </a:lnTo>
                      <a:lnTo>
                        <a:pt x="734" y="675"/>
                      </a:lnTo>
                      <a:lnTo>
                        <a:pt x="721" y="678"/>
                      </a:lnTo>
                      <a:lnTo>
                        <a:pt x="702" y="680"/>
                      </a:lnTo>
                      <a:lnTo>
                        <a:pt x="699" y="682"/>
                      </a:lnTo>
                      <a:lnTo>
                        <a:pt x="697" y="683"/>
                      </a:lnTo>
                      <a:lnTo>
                        <a:pt x="694" y="687"/>
                      </a:lnTo>
                      <a:lnTo>
                        <a:pt x="692" y="690"/>
                      </a:lnTo>
                      <a:lnTo>
                        <a:pt x="690" y="692"/>
                      </a:lnTo>
                      <a:lnTo>
                        <a:pt x="692" y="694"/>
                      </a:lnTo>
                      <a:lnTo>
                        <a:pt x="695" y="694"/>
                      </a:lnTo>
                      <a:lnTo>
                        <a:pt x="699" y="696"/>
                      </a:lnTo>
                      <a:lnTo>
                        <a:pt x="700" y="696"/>
                      </a:lnTo>
                      <a:lnTo>
                        <a:pt x="702" y="696"/>
                      </a:lnTo>
                      <a:lnTo>
                        <a:pt x="709" y="696"/>
                      </a:lnTo>
                      <a:lnTo>
                        <a:pt x="711" y="696"/>
                      </a:lnTo>
                      <a:lnTo>
                        <a:pt x="713" y="694"/>
                      </a:lnTo>
                      <a:lnTo>
                        <a:pt x="713" y="692"/>
                      </a:lnTo>
                      <a:lnTo>
                        <a:pt x="713" y="690"/>
                      </a:lnTo>
                      <a:lnTo>
                        <a:pt x="716" y="690"/>
                      </a:lnTo>
                      <a:lnTo>
                        <a:pt x="721" y="692"/>
                      </a:lnTo>
                      <a:lnTo>
                        <a:pt x="723" y="690"/>
                      </a:lnTo>
                      <a:lnTo>
                        <a:pt x="725" y="690"/>
                      </a:lnTo>
                      <a:lnTo>
                        <a:pt x="728" y="689"/>
                      </a:lnTo>
                      <a:lnTo>
                        <a:pt x="728" y="689"/>
                      </a:lnTo>
                      <a:lnTo>
                        <a:pt x="730" y="689"/>
                      </a:lnTo>
                      <a:lnTo>
                        <a:pt x="734" y="689"/>
                      </a:lnTo>
                      <a:lnTo>
                        <a:pt x="735" y="689"/>
                      </a:lnTo>
                      <a:lnTo>
                        <a:pt x="737" y="689"/>
                      </a:lnTo>
                      <a:lnTo>
                        <a:pt x="737" y="685"/>
                      </a:lnTo>
                      <a:lnTo>
                        <a:pt x="739" y="685"/>
                      </a:lnTo>
                      <a:lnTo>
                        <a:pt x="741" y="683"/>
                      </a:lnTo>
                      <a:lnTo>
                        <a:pt x="746" y="682"/>
                      </a:lnTo>
                      <a:lnTo>
                        <a:pt x="749" y="680"/>
                      </a:lnTo>
                      <a:lnTo>
                        <a:pt x="753" y="682"/>
                      </a:lnTo>
                      <a:lnTo>
                        <a:pt x="753" y="683"/>
                      </a:lnTo>
                      <a:lnTo>
                        <a:pt x="751" y="685"/>
                      </a:lnTo>
                      <a:lnTo>
                        <a:pt x="749" y="687"/>
                      </a:lnTo>
                      <a:lnTo>
                        <a:pt x="746" y="689"/>
                      </a:lnTo>
                      <a:lnTo>
                        <a:pt x="746" y="689"/>
                      </a:lnTo>
                      <a:lnTo>
                        <a:pt x="744" y="689"/>
                      </a:lnTo>
                      <a:lnTo>
                        <a:pt x="742" y="689"/>
                      </a:lnTo>
                      <a:lnTo>
                        <a:pt x="741" y="690"/>
                      </a:lnTo>
                      <a:lnTo>
                        <a:pt x="741" y="690"/>
                      </a:lnTo>
                      <a:lnTo>
                        <a:pt x="739" y="692"/>
                      </a:lnTo>
                      <a:lnTo>
                        <a:pt x="739" y="694"/>
                      </a:lnTo>
                      <a:lnTo>
                        <a:pt x="739" y="694"/>
                      </a:lnTo>
                      <a:lnTo>
                        <a:pt x="739" y="696"/>
                      </a:lnTo>
                      <a:lnTo>
                        <a:pt x="735" y="694"/>
                      </a:lnTo>
                      <a:lnTo>
                        <a:pt x="735" y="694"/>
                      </a:lnTo>
                      <a:lnTo>
                        <a:pt x="734" y="694"/>
                      </a:lnTo>
                      <a:lnTo>
                        <a:pt x="732" y="696"/>
                      </a:lnTo>
                      <a:lnTo>
                        <a:pt x="732" y="697"/>
                      </a:lnTo>
                      <a:lnTo>
                        <a:pt x="727" y="699"/>
                      </a:lnTo>
                      <a:lnTo>
                        <a:pt x="721" y="699"/>
                      </a:lnTo>
                      <a:lnTo>
                        <a:pt x="714" y="701"/>
                      </a:lnTo>
                      <a:lnTo>
                        <a:pt x="709" y="701"/>
                      </a:lnTo>
                      <a:lnTo>
                        <a:pt x="711" y="703"/>
                      </a:lnTo>
                      <a:lnTo>
                        <a:pt x="709" y="706"/>
                      </a:lnTo>
                      <a:lnTo>
                        <a:pt x="707" y="708"/>
                      </a:lnTo>
                      <a:lnTo>
                        <a:pt x="706" y="711"/>
                      </a:lnTo>
                      <a:lnTo>
                        <a:pt x="707" y="713"/>
                      </a:lnTo>
                      <a:lnTo>
                        <a:pt x="713" y="717"/>
                      </a:lnTo>
                      <a:lnTo>
                        <a:pt x="713" y="720"/>
                      </a:lnTo>
                      <a:lnTo>
                        <a:pt x="714" y="722"/>
                      </a:lnTo>
                      <a:lnTo>
                        <a:pt x="714" y="724"/>
                      </a:lnTo>
                      <a:lnTo>
                        <a:pt x="714" y="725"/>
                      </a:lnTo>
                      <a:lnTo>
                        <a:pt x="716" y="727"/>
                      </a:lnTo>
                      <a:lnTo>
                        <a:pt x="718" y="731"/>
                      </a:lnTo>
                      <a:lnTo>
                        <a:pt x="718" y="732"/>
                      </a:lnTo>
                      <a:lnTo>
                        <a:pt x="723" y="743"/>
                      </a:lnTo>
                      <a:lnTo>
                        <a:pt x="716" y="739"/>
                      </a:lnTo>
                      <a:lnTo>
                        <a:pt x="713" y="739"/>
                      </a:lnTo>
                      <a:lnTo>
                        <a:pt x="711" y="741"/>
                      </a:lnTo>
                      <a:lnTo>
                        <a:pt x="711" y="748"/>
                      </a:lnTo>
                      <a:lnTo>
                        <a:pt x="714" y="753"/>
                      </a:lnTo>
                      <a:lnTo>
                        <a:pt x="718" y="757"/>
                      </a:lnTo>
                      <a:lnTo>
                        <a:pt x="721" y="762"/>
                      </a:lnTo>
                      <a:lnTo>
                        <a:pt x="718" y="760"/>
                      </a:lnTo>
                      <a:lnTo>
                        <a:pt x="695" y="734"/>
                      </a:lnTo>
                      <a:lnTo>
                        <a:pt x="699" y="736"/>
                      </a:lnTo>
                      <a:lnTo>
                        <a:pt x="704" y="736"/>
                      </a:lnTo>
                      <a:lnTo>
                        <a:pt x="707" y="734"/>
                      </a:lnTo>
                      <a:lnTo>
                        <a:pt x="707" y="729"/>
                      </a:lnTo>
                      <a:lnTo>
                        <a:pt x="694" y="717"/>
                      </a:lnTo>
                      <a:lnTo>
                        <a:pt x="692" y="715"/>
                      </a:lnTo>
                      <a:lnTo>
                        <a:pt x="690" y="717"/>
                      </a:lnTo>
                      <a:lnTo>
                        <a:pt x="688" y="720"/>
                      </a:lnTo>
                      <a:lnTo>
                        <a:pt x="688" y="722"/>
                      </a:lnTo>
                      <a:lnTo>
                        <a:pt x="687" y="720"/>
                      </a:lnTo>
                      <a:lnTo>
                        <a:pt x="685" y="718"/>
                      </a:lnTo>
                      <a:lnTo>
                        <a:pt x="685" y="715"/>
                      </a:lnTo>
                      <a:lnTo>
                        <a:pt x="685" y="713"/>
                      </a:lnTo>
                      <a:lnTo>
                        <a:pt x="683" y="711"/>
                      </a:lnTo>
                      <a:lnTo>
                        <a:pt x="681" y="711"/>
                      </a:lnTo>
                      <a:lnTo>
                        <a:pt x="680" y="711"/>
                      </a:lnTo>
                      <a:lnTo>
                        <a:pt x="674" y="710"/>
                      </a:lnTo>
                      <a:lnTo>
                        <a:pt x="673" y="710"/>
                      </a:lnTo>
                      <a:lnTo>
                        <a:pt x="671" y="710"/>
                      </a:lnTo>
                      <a:lnTo>
                        <a:pt x="662" y="703"/>
                      </a:lnTo>
                      <a:lnTo>
                        <a:pt x="659" y="703"/>
                      </a:lnTo>
                      <a:lnTo>
                        <a:pt x="655" y="703"/>
                      </a:lnTo>
                      <a:lnTo>
                        <a:pt x="652" y="704"/>
                      </a:lnTo>
                      <a:lnTo>
                        <a:pt x="646" y="706"/>
                      </a:lnTo>
                      <a:lnTo>
                        <a:pt x="645" y="708"/>
                      </a:lnTo>
                      <a:lnTo>
                        <a:pt x="641" y="708"/>
                      </a:lnTo>
                      <a:lnTo>
                        <a:pt x="638" y="708"/>
                      </a:lnTo>
                      <a:lnTo>
                        <a:pt x="636" y="708"/>
                      </a:lnTo>
                      <a:lnTo>
                        <a:pt x="632" y="708"/>
                      </a:lnTo>
                      <a:lnTo>
                        <a:pt x="629" y="710"/>
                      </a:lnTo>
                      <a:lnTo>
                        <a:pt x="606" y="711"/>
                      </a:lnTo>
                      <a:lnTo>
                        <a:pt x="601" y="711"/>
                      </a:lnTo>
                      <a:lnTo>
                        <a:pt x="571" y="711"/>
                      </a:lnTo>
                      <a:lnTo>
                        <a:pt x="547" y="704"/>
                      </a:lnTo>
                      <a:lnTo>
                        <a:pt x="549" y="704"/>
                      </a:lnTo>
                      <a:lnTo>
                        <a:pt x="550" y="703"/>
                      </a:lnTo>
                      <a:lnTo>
                        <a:pt x="552" y="701"/>
                      </a:lnTo>
                      <a:lnTo>
                        <a:pt x="552" y="701"/>
                      </a:lnTo>
                      <a:lnTo>
                        <a:pt x="552" y="699"/>
                      </a:lnTo>
                      <a:lnTo>
                        <a:pt x="552" y="697"/>
                      </a:lnTo>
                      <a:lnTo>
                        <a:pt x="554" y="697"/>
                      </a:lnTo>
                      <a:lnTo>
                        <a:pt x="556" y="696"/>
                      </a:lnTo>
                      <a:lnTo>
                        <a:pt x="557" y="696"/>
                      </a:lnTo>
                      <a:lnTo>
                        <a:pt x="561" y="692"/>
                      </a:lnTo>
                      <a:lnTo>
                        <a:pt x="561" y="692"/>
                      </a:lnTo>
                      <a:lnTo>
                        <a:pt x="564" y="692"/>
                      </a:lnTo>
                      <a:lnTo>
                        <a:pt x="570" y="692"/>
                      </a:lnTo>
                      <a:lnTo>
                        <a:pt x="573" y="694"/>
                      </a:lnTo>
                      <a:lnTo>
                        <a:pt x="577" y="692"/>
                      </a:lnTo>
                      <a:lnTo>
                        <a:pt x="578" y="690"/>
                      </a:lnTo>
                      <a:lnTo>
                        <a:pt x="578" y="689"/>
                      </a:lnTo>
                      <a:lnTo>
                        <a:pt x="575" y="687"/>
                      </a:lnTo>
                      <a:lnTo>
                        <a:pt x="571" y="682"/>
                      </a:lnTo>
                      <a:lnTo>
                        <a:pt x="566" y="678"/>
                      </a:lnTo>
                      <a:lnTo>
                        <a:pt x="559" y="675"/>
                      </a:lnTo>
                      <a:lnTo>
                        <a:pt x="547" y="671"/>
                      </a:lnTo>
                      <a:lnTo>
                        <a:pt x="542" y="669"/>
                      </a:lnTo>
                      <a:lnTo>
                        <a:pt x="535" y="669"/>
                      </a:lnTo>
                      <a:lnTo>
                        <a:pt x="529" y="671"/>
                      </a:lnTo>
                      <a:lnTo>
                        <a:pt x="531" y="673"/>
                      </a:lnTo>
                      <a:lnTo>
                        <a:pt x="533" y="673"/>
                      </a:lnTo>
                      <a:lnTo>
                        <a:pt x="533" y="675"/>
                      </a:lnTo>
                      <a:lnTo>
                        <a:pt x="512" y="673"/>
                      </a:lnTo>
                      <a:lnTo>
                        <a:pt x="491" y="669"/>
                      </a:lnTo>
                      <a:lnTo>
                        <a:pt x="487" y="668"/>
                      </a:lnTo>
                      <a:lnTo>
                        <a:pt x="479" y="664"/>
                      </a:lnTo>
                      <a:lnTo>
                        <a:pt x="473" y="662"/>
                      </a:lnTo>
                      <a:lnTo>
                        <a:pt x="451" y="659"/>
                      </a:lnTo>
                      <a:lnTo>
                        <a:pt x="446" y="657"/>
                      </a:lnTo>
                      <a:lnTo>
                        <a:pt x="430" y="652"/>
                      </a:lnTo>
                      <a:lnTo>
                        <a:pt x="421" y="648"/>
                      </a:lnTo>
                      <a:lnTo>
                        <a:pt x="411" y="647"/>
                      </a:lnTo>
                      <a:lnTo>
                        <a:pt x="390" y="647"/>
                      </a:lnTo>
                      <a:lnTo>
                        <a:pt x="386" y="647"/>
                      </a:lnTo>
                      <a:lnTo>
                        <a:pt x="384" y="648"/>
                      </a:lnTo>
                      <a:lnTo>
                        <a:pt x="383" y="652"/>
                      </a:lnTo>
                      <a:lnTo>
                        <a:pt x="379" y="655"/>
                      </a:lnTo>
                      <a:lnTo>
                        <a:pt x="376" y="657"/>
                      </a:lnTo>
                      <a:lnTo>
                        <a:pt x="370" y="659"/>
                      </a:lnTo>
                      <a:lnTo>
                        <a:pt x="363" y="659"/>
                      </a:lnTo>
                      <a:lnTo>
                        <a:pt x="358" y="659"/>
                      </a:lnTo>
                      <a:lnTo>
                        <a:pt x="355" y="657"/>
                      </a:lnTo>
                      <a:lnTo>
                        <a:pt x="355" y="655"/>
                      </a:lnTo>
                      <a:lnTo>
                        <a:pt x="358" y="654"/>
                      </a:lnTo>
                      <a:lnTo>
                        <a:pt x="362" y="650"/>
                      </a:lnTo>
                      <a:lnTo>
                        <a:pt x="358" y="648"/>
                      </a:lnTo>
                      <a:lnTo>
                        <a:pt x="356" y="648"/>
                      </a:lnTo>
                      <a:lnTo>
                        <a:pt x="355" y="647"/>
                      </a:lnTo>
                      <a:lnTo>
                        <a:pt x="355" y="645"/>
                      </a:lnTo>
                      <a:lnTo>
                        <a:pt x="355" y="643"/>
                      </a:lnTo>
                      <a:lnTo>
                        <a:pt x="355" y="638"/>
                      </a:lnTo>
                      <a:lnTo>
                        <a:pt x="355" y="636"/>
                      </a:lnTo>
                      <a:lnTo>
                        <a:pt x="353" y="633"/>
                      </a:lnTo>
                      <a:lnTo>
                        <a:pt x="349" y="633"/>
                      </a:lnTo>
                      <a:lnTo>
                        <a:pt x="346" y="634"/>
                      </a:lnTo>
                      <a:lnTo>
                        <a:pt x="343" y="638"/>
                      </a:lnTo>
                      <a:lnTo>
                        <a:pt x="344" y="638"/>
                      </a:lnTo>
                      <a:lnTo>
                        <a:pt x="344" y="638"/>
                      </a:lnTo>
                      <a:lnTo>
                        <a:pt x="346" y="638"/>
                      </a:lnTo>
                      <a:lnTo>
                        <a:pt x="348" y="640"/>
                      </a:lnTo>
                      <a:lnTo>
                        <a:pt x="343" y="643"/>
                      </a:lnTo>
                      <a:lnTo>
                        <a:pt x="341" y="645"/>
                      </a:lnTo>
                      <a:lnTo>
                        <a:pt x="337" y="645"/>
                      </a:lnTo>
                      <a:lnTo>
                        <a:pt x="337" y="647"/>
                      </a:lnTo>
                      <a:lnTo>
                        <a:pt x="337" y="648"/>
                      </a:lnTo>
                      <a:lnTo>
                        <a:pt x="336" y="648"/>
                      </a:lnTo>
                      <a:lnTo>
                        <a:pt x="336" y="650"/>
                      </a:lnTo>
                      <a:lnTo>
                        <a:pt x="336" y="652"/>
                      </a:lnTo>
                      <a:lnTo>
                        <a:pt x="336" y="652"/>
                      </a:lnTo>
                      <a:lnTo>
                        <a:pt x="337" y="652"/>
                      </a:lnTo>
                      <a:lnTo>
                        <a:pt x="337" y="655"/>
                      </a:lnTo>
                      <a:lnTo>
                        <a:pt x="339" y="657"/>
                      </a:lnTo>
                      <a:lnTo>
                        <a:pt x="337" y="657"/>
                      </a:lnTo>
                      <a:lnTo>
                        <a:pt x="336" y="659"/>
                      </a:lnTo>
                      <a:lnTo>
                        <a:pt x="336" y="659"/>
                      </a:lnTo>
                      <a:lnTo>
                        <a:pt x="334" y="659"/>
                      </a:lnTo>
                      <a:lnTo>
                        <a:pt x="330" y="659"/>
                      </a:lnTo>
                      <a:lnTo>
                        <a:pt x="323" y="657"/>
                      </a:lnTo>
                      <a:lnTo>
                        <a:pt x="316" y="655"/>
                      </a:lnTo>
                      <a:lnTo>
                        <a:pt x="309" y="650"/>
                      </a:lnTo>
                      <a:lnTo>
                        <a:pt x="304" y="645"/>
                      </a:lnTo>
                      <a:lnTo>
                        <a:pt x="299" y="633"/>
                      </a:lnTo>
                      <a:lnTo>
                        <a:pt x="295" y="628"/>
                      </a:lnTo>
                      <a:lnTo>
                        <a:pt x="290" y="622"/>
                      </a:lnTo>
                      <a:lnTo>
                        <a:pt x="285" y="619"/>
                      </a:lnTo>
                      <a:lnTo>
                        <a:pt x="281" y="617"/>
                      </a:lnTo>
                      <a:lnTo>
                        <a:pt x="278" y="615"/>
                      </a:lnTo>
                      <a:lnTo>
                        <a:pt x="276" y="617"/>
                      </a:lnTo>
                      <a:lnTo>
                        <a:pt x="274" y="621"/>
                      </a:lnTo>
                      <a:lnTo>
                        <a:pt x="276" y="622"/>
                      </a:lnTo>
                      <a:lnTo>
                        <a:pt x="278" y="624"/>
                      </a:lnTo>
                      <a:lnTo>
                        <a:pt x="278" y="626"/>
                      </a:lnTo>
                      <a:lnTo>
                        <a:pt x="280" y="628"/>
                      </a:lnTo>
                      <a:lnTo>
                        <a:pt x="285" y="628"/>
                      </a:lnTo>
                      <a:lnTo>
                        <a:pt x="281" y="629"/>
                      </a:lnTo>
                      <a:lnTo>
                        <a:pt x="274" y="633"/>
                      </a:lnTo>
                      <a:lnTo>
                        <a:pt x="273" y="634"/>
                      </a:lnTo>
                      <a:lnTo>
                        <a:pt x="269" y="638"/>
                      </a:lnTo>
                      <a:lnTo>
                        <a:pt x="269" y="641"/>
                      </a:lnTo>
                      <a:lnTo>
                        <a:pt x="266" y="643"/>
                      </a:lnTo>
                      <a:lnTo>
                        <a:pt x="264" y="647"/>
                      </a:lnTo>
                      <a:lnTo>
                        <a:pt x="260" y="648"/>
                      </a:lnTo>
                      <a:lnTo>
                        <a:pt x="259" y="648"/>
                      </a:lnTo>
                      <a:lnTo>
                        <a:pt x="255" y="650"/>
                      </a:lnTo>
                      <a:lnTo>
                        <a:pt x="253" y="648"/>
                      </a:lnTo>
                      <a:lnTo>
                        <a:pt x="253" y="647"/>
                      </a:lnTo>
                      <a:lnTo>
                        <a:pt x="259" y="643"/>
                      </a:lnTo>
                      <a:lnTo>
                        <a:pt x="259" y="640"/>
                      </a:lnTo>
                      <a:lnTo>
                        <a:pt x="253" y="643"/>
                      </a:lnTo>
                      <a:lnTo>
                        <a:pt x="250" y="645"/>
                      </a:lnTo>
                      <a:lnTo>
                        <a:pt x="234" y="648"/>
                      </a:lnTo>
                      <a:lnTo>
                        <a:pt x="229" y="650"/>
                      </a:lnTo>
                      <a:lnTo>
                        <a:pt x="224" y="654"/>
                      </a:lnTo>
                      <a:lnTo>
                        <a:pt x="219" y="659"/>
                      </a:lnTo>
                      <a:lnTo>
                        <a:pt x="215" y="664"/>
                      </a:lnTo>
                      <a:lnTo>
                        <a:pt x="213" y="659"/>
                      </a:lnTo>
                      <a:lnTo>
                        <a:pt x="213" y="657"/>
                      </a:lnTo>
                      <a:lnTo>
                        <a:pt x="210" y="657"/>
                      </a:lnTo>
                      <a:lnTo>
                        <a:pt x="206" y="659"/>
                      </a:lnTo>
                      <a:lnTo>
                        <a:pt x="206" y="657"/>
                      </a:lnTo>
                      <a:lnTo>
                        <a:pt x="203" y="655"/>
                      </a:lnTo>
                      <a:lnTo>
                        <a:pt x="199" y="657"/>
                      </a:lnTo>
                      <a:lnTo>
                        <a:pt x="196" y="657"/>
                      </a:lnTo>
                      <a:lnTo>
                        <a:pt x="196" y="661"/>
                      </a:lnTo>
                      <a:lnTo>
                        <a:pt x="191" y="662"/>
                      </a:lnTo>
                      <a:lnTo>
                        <a:pt x="178" y="666"/>
                      </a:lnTo>
                      <a:lnTo>
                        <a:pt x="177" y="668"/>
                      </a:lnTo>
                      <a:lnTo>
                        <a:pt x="177" y="669"/>
                      </a:lnTo>
                      <a:lnTo>
                        <a:pt x="177" y="671"/>
                      </a:lnTo>
                      <a:lnTo>
                        <a:pt x="177" y="673"/>
                      </a:lnTo>
                      <a:lnTo>
                        <a:pt x="178" y="673"/>
                      </a:lnTo>
                      <a:lnTo>
                        <a:pt x="182" y="673"/>
                      </a:lnTo>
                      <a:lnTo>
                        <a:pt x="178" y="675"/>
                      </a:lnTo>
                      <a:lnTo>
                        <a:pt x="173" y="675"/>
                      </a:lnTo>
                      <a:lnTo>
                        <a:pt x="168" y="675"/>
                      </a:lnTo>
                      <a:lnTo>
                        <a:pt x="164" y="675"/>
                      </a:lnTo>
                      <a:lnTo>
                        <a:pt x="168" y="676"/>
                      </a:lnTo>
                      <a:lnTo>
                        <a:pt x="166" y="676"/>
                      </a:lnTo>
                      <a:lnTo>
                        <a:pt x="164" y="676"/>
                      </a:lnTo>
                      <a:lnTo>
                        <a:pt x="164" y="676"/>
                      </a:lnTo>
                      <a:lnTo>
                        <a:pt x="163" y="675"/>
                      </a:lnTo>
                      <a:lnTo>
                        <a:pt x="163" y="673"/>
                      </a:lnTo>
                      <a:lnTo>
                        <a:pt x="164" y="671"/>
                      </a:lnTo>
                      <a:lnTo>
                        <a:pt x="168" y="669"/>
                      </a:lnTo>
                      <a:lnTo>
                        <a:pt x="173" y="664"/>
                      </a:lnTo>
                      <a:lnTo>
                        <a:pt x="175" y="664"/>
                      </a:lnTo>
                      <a:lnTo>
                        <a:pt x="177" y="662"/>
                      </a:lnTo>
                      <a:lnTo>
                        <a:pt x="184" y="661"/>
                      </a:lnTo>
                      <a:lnTo>
                        <a:pt x="187" y="659"/>
                      </a:lnTo>
                      <a:lnTo>
                        <a:pt x="194" y="655"/>
                      </a:lnTo>
                      <a:lnTo>
                        <a:pt x="196" y="654"/>
                      </a:lnTo>
                      <a:lnTo>
                        <a:pt x="201" y="654"/>
                      </a:lnTo>
                      <a:lnTo>
                        <a:pt x="212" y="652"/>
                      </a:lnTo>
                      <a:lnTo>
                        <a:pt x="217" y="652"/>
                      </a:lnTo>
                      <a:lnTo>
                        <a:pt x="224" y="648"/>
                      </a:lnTo>
                      <a:lnTo>
                        <a:pt x="236" y="643"/>
                      </a:lnTo>
                      <a:lnTo>
                        <a:pt x="243" y="636"/>
                      </a:lnTo>
                      <a:lnTo>
                        <a:pt x="243" y="631"/>
                      </a:lnTo>
                      <a:lnTo>
                        <a:pt x="241" y="631"/>
                      </a:lnTo>
                      <a:lnTo>
                        <a:pt x="241" y="631"/>
                      </a:lnTo>
                      <a:lnTo>
                        <a:pt x="239" y="633"/>
                      </a:lnTo>
                      <a:lnTo>
                        <a:pt x="238" y="634"/>
                      </a:lnTo>
                      <a:lnTo>
                        <a:pt x="236" y="634"/>
                      </a:lnTo>
                      <a:lnTo>
                        <a:pt x="234" y="634"/>
                      </a:lnTo>
                      <a:lnTo>
                        <a:pt x="232" y="634"/>
                      </a:lnTo>
                      <a:lnTo>
                        <a:pt x="231" y="634"/>
                      </a:lnTo>
                      <a:lnTo>
                        <a:pt x="226" y="634"/>
                      </a:lnTo>
                      <a:lnTo>
                        <a:pt x="222" y="634"/>
                      </a:lnTo>
                      <a:lnTo>
                        <a:pt x="219" y="634"/>
                      </a:lnTo>
                      <a:lnTo>
                        <a:pt x="213" y="638"/>
                      </a:lnTo>
                      <a:lnTo>
                        <a:pt x="213" y="640"/>
                      </a:lnTo>
                      <a:lnTo>
                        <a:pt x="212" y="641"/>
                      </a:lnTo>
                      <a:lnTo>
                        <a:pt x="212" y="643"/>
                      </a:lnTo>
                      <a:lnTo>
                        <a:pt x="210" y="643"/>
                      </a:lnTo>
                      <a:lnTo>
                        <a:pt x="208" y="641"/>
                      </a:lnTo>
                      <a:lnTo>
                        <a:pt x="208" y="641"/>
                      </a:lnTo>
                      <a:lnTo>
                        <a:pt x="206" y="641"/>
                      </a:lnTo>
                      <a:lnTo>
                        <a:pt x="205" y="643"/>
                      </a:lnTo>
                      <a:lnTo>
                        <a:pt x="196" y="647"/>
                      </a:lnTo>
                      <a:lnTo>
                        <a:pt x="194" y="648"/>
                      </a:lnTo>
                      <a:lnTo>
                        <a:pt x="192" y="648"/>
                      </a:lnTo>
                      <a:lnTo>
                        <a:pt x="189" y="648"/>
                      </a:lnTo>
                      <a:lnTo>
                        <a:pt x="187" y="648"/>
                      </a:lnTo>
                      <a:lnTo>
                        <a:pt x="184" y="648"/>
                      </a:lnTo>
                      <a:lnTo>
                        <a:pt x="182" y="648"/>
                      </a:lnTo>
                      <a:lnTo>
                        <a:pt x="180" y="650"/>
                      </a:lnTo>
                      <a:lnTo>
                        <a:pt x="182" y="650"/>
                      </a:lnTo>
                      <a:lnTo>
                        <a:pt x="184" y="650"/>
                      </a:lnTo>
                      <a:lnTo>
                        <a:pt x="182" y="650"/>
                      </a:lnTo>
                      <a:lnTo>
                        <a:pt x="177" y="650"/>
                      </a:lnTo>
                      <a:lnTo>
                        <a:pt x="175" y="652"/>
                      </a:lnTo>
                      <a:lnTo>
                        <a:pt x="173" y="652"/>
                      </a:lnTo>
                      <a:lnTo>
                        <a:pt x="170" y="655"/>
                      </a:lnTo>
                      <a:lnTo>
                        <a:pt x="168" y="657"/>
                      </a:lnTo>
                      <a:lnTo>
                        <a:pt x="166" y="657"/>
                      </a:lnTo>
                      <a:lnTo>
                        <a:pt x="157" y="659"/>
                      </a:lnTo>
                      <a:lnTo>
                        <a:pt x="147" y="662"/>
                      </a:lnTo>
                      <a:lnTo>
                        <a:pt x="149" y="659"/>
                      </a:lnTo>
                      <a:lnTo>
                        <a:pt x="150" y="657"/>
                      </a:lnTo>
                      <a:lnTo>
                        <a:pt x="150" y="655"/>
                      </a:lnTo>
                      <a:lnTo>
                        <a:pt x="147" y="652"/>
                      </a:lnTo>
                      <a:lnTo>
                        <a:pt x="145" y="652"/>
                      </a:lnTo>
                      <a:lnTo>
                        <a:pt x="143" y="650"/>
                      </a:lnTo>
                      <a:lnTo>
                        <a:pt x="143" y="650"/>
                      </a:lnTo>
                      <a:lnTo>
                        <a:pt x="140" y="650"/>
                      </a:lnTo>
                      <a:lnTo>
                        <a:pt x="140" y="652"/>
                      </a:lnTo>
                      <a:lnTo>
                        <a:pt x="140" y="654"/>
                      </a:lnTo>
                      <a:lnTo>
                        <a:pt x="140" y="654"/>
                      </a:lnTo>
                      <a:lnTo>
                        <a:pt x="140" y="655"/>
                      </a:lnTo>
                      <a:lnTo>
                        <a:pt x="138" y="655"/>
                      </a:lnTo>
                      <a:lnTo>
                        <a:pt x="128" y="655"/>
                      </a:lnTo>
                      <a:lnTo>
                        <a:pt x="126" y="655"/>
                      </a:lnTo>
                      <a:lnTo>
                        <a:pt x="124" y="657"/>
                      </a:lnTo>
                      <a:lnTo>
                        <a:pt x="124" y="657"/>
                      </a:lnTo>
                      <a:lnTo>
                        <a:pt x="122" y="659"/>
                      </a:lnTo>
                      <a:lnTo>
                        <a:pt x="122" y="659"/>
                      </a:lnTo>
                      <a:lnTo>
                        <a:pt x="122" y="661"/>
                      </a:lnTo>
                      <a:lnTo>
                        <a:pt x="121" y="661"/>
                      </a:lnTo>
                      <a:lnTo>
                        <a:pt x="121" y="661"/>
                      </a:lnTo>
                      <a:lnTo>
                        <a:pt x="117" y="661"/>
                      </a:lnTo>
                      <a:lnTo>
                        <a:pt x="117" y="661"/>
                      </a:lnTo>
                      <a:lnTo>
                        <a:pt x="114" y="661"/>
                      </a:lnTo>
                      <a:lnTo>
                        <a:pt x="112" y="662"/>
                      </a:lnTo>
                      <a:lnTo>
                        <a:pt x="110" y="664"/>
                      </a:lnTo>
                      <a:lnTo>
                        <a:pt x="109" y="666"/>
                      </a:lnTo>
                      <a:lnTo>
                        <a:pt x="110" y="668"/>
                      </a:lnTo>
                      <a:lnTo>
                        <a:pt x="112" y="668"/>
                      </a:lnTo>
                      <a:lnTo>
                        <a:pt x="114" y="668"/>
                      </a:lnTo>
                      <a:lnTo>
                        <a:pt x="115" y="669"/>
                      </a:lnTo>
                      <a:lnTo>
                        <a:pt x="114" y="669"/>
                      </a:lnTo>
                      <a:lnTo>
                        <a:pt x="110" y="669"/>
                      </a:lnTo>
                      <a:lnTo>
                        <a:pt x="109" y="671"/>
                      </a:lnTo>
                      <a:lnTo>
                        <a:pt x="112" y="673"/>
                      </a:lnTo>
                      <a:lnTo>
                        <a:pt x="115" y="673"/>
                      </a:lnTo>
                      <a:lnTo>
                        <a:pt x="117" y="675"/>
                      </a:lnTo>
                      <a:lnTo>
                        <a:pt x="121" y="676"/>
                      </a:lnTo>
                      <a:lnTo>
                        <a:pt x="124" y="678"/>
                      </a:lnTo>
                      <a:lnTo>
                        <a:pt x="121" y="678"/>
                      </a:lnTo>
                      <a:lnTo>
                        <a:pt x="117" y="678"/>
                      </a:lnTo>
                      <a:lnTo>
                        <a:pt x="109" y="675"/>
                      </a:lnTo>
                      <a:lnTo>
                        <a:pt x="105" y="673"/>
                      </a:lnTo>
                      <a:lnTo>
                        <a:pt x="93" y="673"/>
                      </a:lnTo>
                      <a:lnTo>
                        <a:pt x="86" y="671"/>
                      </a:lnTo>
                      <a:lnTo>
                        <a:pt x="70" y="668"/>
                      </a:lnTo>
                      <a:lnTo>
                        <a:pt x="63" y="666"/>
                      </a:lnTo>
                      <a:lnTo>
                        <a:pt x="40" y="655"/>
                      </a:lnTo>
                      <a:lnTo>
                        <a:pt x="33" y="654"/>
                      </a:lnTo>
                      <a:lnTo>
                        <a:pt x="0" y="650"/>
                      </a:lnTo>
                      <a:lnTo>
                        <a:pt x="0" y="993"/>
                      </a:lnTo>
                      <a:lnTo>
                        <a:pt x="11" y="996"/>
                      </a:lnTo>
                      <a:lnTo>
                        <a:pt x="11" y="996"/>
                      </a:lnTo>
                      <a:lnTo>
                        <a:pt x="11" y="994"/>
                      </a:lnTo>
                      <a:lnTo>
                        <a:pt x="12" y="994"/>
                      </a:lnTo>
                      <a:lnTo>
                        <a:pt x="12" y="993"/>
                      </a:lnTo>
                      <a:lnTo>
                        <a:pt x="14" y="994"/>
                      </a:lnTo>
                      <a:lnTo>
                        <a:pt x="19" y="996"/>
                      </a:lnTo>
                      <a:lnTo>
                        <a:pt x="23" y="996"/>
                      </a:lnTo>
                      <a:lnTo>
                        <a:pt x="25" y="996"/>
                      </a:lnTo>
                      <a:lnTo>
                        <a:pt x="28" y="993"/>
                      </a:lnTo>
                      <a:lnTo>
                        <a:pt x="30" y="993"/>
                      </a:lnTo>
                      <a:lnTo>
                        <a:pt x="33" y="991"/>
                      </a:lnTo>
                      <a:lnTo>
                        <a:pt x="40" y="991"/>
                      </a:lnTo>
                      <a:lnTo>
                        <a:pt x="40" y="996"/>
                      </a:lnTo>
                      <a:lnTo>
                        <a:pt x="40" y="1000"/>
                      </a:lnTo>
                      <a:lnTo>
                        <a:pt x="40" y="1001"/>
                      </a:lnTo>
                      <a:lnTo>
                        <a:pt x="44" y="1005"/>
                      </a:lnTo>
                      <a:lnTo>
                        <a:pt x="47" y="1007"/>
                      </a:lnTo>
                      <a:lnTo>
                        <a:pt x="49" y="1007"/>
                      </a:lnTo>
                      <a:lnTo>
                        <a:pt x="51" y="1008"/>
                      </a:lnTo>
                      <a:lnTo>
                        <a:pt x="54" y="1014"/>
                      </a:lnTo>
                      <a:lnTo>
                        <a:pt x="56" y="1014"/>
                      </a:lnTo>
                      <a:lnTo>
                        <a:pt x="68" y="1024"/>
                      </a:lnTo>
                      <a:lnTo>
                        <a:pt x="74" y="1031"/>
                      </a:lnTo>
                      <a:lnTo>
                        <a:pt x="75" y="1038"/>
                      </a:lnTo>
                      <a:lnTo>
                        <a:pt x="77" y="1038"/>
                      </a:lnTo>
                      <a:lnTo>
                        <a:pt x="81" y="1036"/>
                      </a:lnTo>
                      <a:lnTo>
                        <a:pt x="86" y="1033"/>
                      </a:lnTo>
                      <a:lnTo>
                        <a:pt x="88" y="1031"/>
                      </a:lnTo>
                      <a:lnTo>
                        <a:pt x="91" y="1031"/>
                      </a:lnTo>
                      <a:lnTo>
                        <a:pt x="93" y="1031"/>
                      </a:lnTo>
                      <a:lnTo>
                        <a:pt x="95" y="1031"/>
                      </a:lnTo>
                      <a:lnTo>
                        <a:pt x="96" y="1029"/>
                      </a:lnTo>
                      <a:lnTo>
                        <a:pt x="96" y="1028"/>
                      </a:lnTo>
                      <a:lnTo>
                        <a:pt x="98" y="1026"/>
                      </a:lnTo>
                      <a:lnTo>
                        <a:pt x="96" y="1021"/>
                      </a:lnTo>
                      <a:lnTo>
                        <a:pt x="100" y="1021"/>
                      </a:lnTo>
                      <a:lnTo>
                        <a:pt x="102" y="1021"/>
                      </a:lnTo>
                      <a:lnTo>
                        <a:pt x="102" y="1019"/>
                      </a:lnTo>
                      <a:lnTo>
                        <a:pt x="100" y="1017"/>
                      </a:lnTo>
                      <a:lnTo>
                        <a:pt x="109" y="1014"/>
                      </a:lnTo>
                      <a:lnTo>
                        <a:pt x="115" y="1010"/>
                      </a:lnTo>
                      <a:lnTo>
                        <a:pt x="119" y="1010"/>
                      </a:lnTo>
                      <a:lnTo>
                        <a:pt x="119" y="1010"/>
                      </a:lnTo>
                      <a:lnTo>
                        <a:pt x="121" y="1012"/>
                      </a:lnTo>
                      <a:lnTo>
                        <a:pt x="124" y="1015"/>
                      </a:lnTo>
                      <a:lnTo>
                        <a:pt x="126" y="1017"/>
                      </a:lnTo>
                      <a:lnTo>
                        <a:pt x="126" y="1017"/>
                      </a:lnTo>
                      <a:lnTo>
                        <a:pt x="126" y="1019"/>
                      </a:lnTo>
                      <a:lnTo>
                        <a:pt x="128" y="1021"/>
                      </a:lnTo>
                      <a:lnTo>
                        <a:pt x="129" y="1024"/>
                      </a:lnTo>
                      <a:lnTo>
                        <a:pt x="131" y="1028"/>
                      </a:lnTo>
                      <a:lnTo>
                        <a:pt x="136" y="1031"/>
                      </a:lnTo>
                      <a:lnTo>
                        <a:pt x="140" y="1033"/>
                      </a:lnTo>
                      <a:lnTo>
                        <a:pt x="143" y="1038"/>
                      </a:lnTo>
                      <a:lnTo>
                        <a:pt x="145" y="1042"/>
                      </a:lnTo>
                      <a:lnTo>
                        <a:pt x="156" y="1049"/>
                      </a:lnTo>
                      <a:lnTo>
                        <a:pt x="159" y="1052"/>
                      </a:lnTo>
                      <a:lnTo>
                        <a:pt x="180" y="1082"/>
                      </a:lnTo>
                      <a:lnTo>
                        <a:pt x="185" y="1091"/>
                      </a:lnTo>
                      <a:lnTo>
                        <a:pt x="187" y="1094"/>
                      </a:lnTo>
                      <a:lnTo>
                        <a:pt x="185" y="1098"/>
                      </a:lnTo>
                      <a:lnTo>
                        <a:pt x="192" y="1099"/>
                      </a:lnTo>
                      <a:lnTo>
                        <a:pt x="192" y="1099"/>
                      </a:lnTo>
                      <a:lnTo>
                        <a:pt x="191" y="1103"/>
                      </a:lnTo>
                      <a:lnTo>
                        <a:pt x="191" y="1103"/>
                      </a:lnTo>
                      <a:lnTo>
                        <a:pt x="192" y="1105"/>
                      </a:lnTo>
                      <a:lnTo>
                        <a:pt x="194" y="1105"/>
                      </a:lnTo>
                      <a:lnTo>
                        <a:pt x="194" y="1106"/>
                      </a:lnTo>
                      <a:lnTo>
                        <a:pt x="196" y="1106"/>
                      </a:lnTo>
                      <a:lnTo>
                        <a:pt x="196" y="1108"/>
                      </a:lnTo>
                      <a:lnTo>
                        <a:pt x="196" y="1110"/>
                      </a:lnTo>
                      <a:lnTo>
                        <a:pt x="196" y="1110"/>
                      </a:lnTo>
                      <a:lnTo>
                        <a:pt x="198" y="1112"/>
                      </a:lnTo>
                      <a:lnTo>
                        <a:pt x="199" y="1110"/>
                      </a:lnTo>
                      <a:lnTo>
                        <a:pt x="199" y="1110"/>
                      </a:lnTo>
                      <a:lnTo>
                        <a:pt x="224" y="1120"/>
                      </a:lnTo>
                      <a:lnTo>
                        <a:pt x="226" y="1120"/>
                      </a:lnTo>
                      <a:lnTo>
                        <a:pt x="226" y="1122"/>
                      </a:lnTo>
                      <a:lnTo>
                        <a:pt x="226" y="1122"/>
                      </a:lnTo>
                      <a:lnTo>
                        <a:pt x="229" y="1124"/>
                      </a:lnTo>
                      <a:lnTo>
                        <a:pt x="232" y="1124"/>
                      </a:lnTo>
                      <a:lnTo>
                        <a:pt x="234" y="1125"/>
                      </a:lnTo>
                      <a:lnTo>
                        <a:pt x="234" y="1129"/>
                      </a:lnTo>
                      <a:lnTo>
                        <a:pt x="234" y="1132"/>
                      </a:lnTo>
                      <a:lnTo>
                        <a:pt x="234" y="1134"/>
                      </a:lnTo>
                      <a:lnTo>
                        <a:pt x="234" y="1138"/>
                      </a:lnTo>
                      <a:lnTo>
                        <a:pt x="234" y="1139"/>
                      </a:lnTo>
                      <a:lnTo>
                        <a:pt x="236" y="1145"/>
                      </a:lnTo>
                      <a:lnTo>
                        <a:pt x="236" y="1146"/>
                      </a:lnTo>
                      <a:lnTo>
                        <a:pt x="234" y="1148"/>
                      </a:lnTo>
                      <a:lnTo>
                        <a:pt x="234" y="1150"/>
                      </a:lnTo>
                      <a:lnTo>
                        <a:pt x="234" y="1150"/>
                      </a:lnTo>
                      <a:lnTo>
                        <a:pt x="234" y="1152"/>
                      </a:lnTo>
                      <a:lnTo>
                        <a:pt x="236" y="1150"/>
                      </a:lnTo>
                      <a:lnTo>
                        <a:pt x="238" y="1146"/>
                      </a:lnTo>
                      <a:lnTo>
                        <a:pt x="239" y="1143"/>
                      </a:lnTo>
                      <a:lnTo>
                        <a:pt x="239" y="1138"/>
                      </a:lnTo>
                      <a:lnTo>
                        <a:pt x="241" y="1139"/>
                      </a:lnTo>
                      <a:lnTo>
                        <a:pt x="241" y="1141"/>
                      </a:lnTo>
                      <a:lnTo>
                        <a:pt x="243" y="1141"/>
                      </a:lnTo>
                      <a:lnTo>
                        <a:pt x="245" y="1141"/>
                      </a:lnTo>
                      <a:lnTo>
                        <a:pt x="239" y="1146"/>
                      </a:lnTo>
                      <a:lnTo>
                        <a:pt x="234" y="1157"/>
                      </a:lnTo>
                      <a:lnTo>
                        <a:pt x="229" y="1162"/>
                      </a:lnTo>
                      <a:lnTo>
                        <a:pt x="227" y="1164"/>
                      </a:lnTo>
                      <a:lnTo>
                        <a:pt x="227" y="1167"/>
                      </a:lnTo>
                      <a:lnTo>
                        <a:pt x="227" y="1169"/>
                      </a:lnTo>
                      <a:lnTo>
                        <a:pt x="227" y="1173"/>
                      </a:lnTo>
                      <a:lnTo>
                        <a:pt x="229" y="1174"/>
                      </a:lnTo>
                      <a:lnTo>
                        <a:pt x="232" y="1176"/>
                      </a:lnTo>
                      <a:lnTo>
                        <a:pt x="236" y="1176"/>
                      </a:lnTo>
                      <a:lnTo>
                        <a:pt x="239" y="1176"/>
                      </a:lnTo>
                      <a:lnTo>
                        <a:pt x="243" y="1176"/>
                      </a:lnTo>
                      <a:lnTo>
                        <a:pt x="241" y="1176"/>
                      </a:lnTo>
                      <a:lnTo>
                        <a:pt x="236" y="1178"/>
                      </a:lnTo>
                      <a:lnTo>
                        <a:pt x="234" y="1180"/>
                      </a:lnTo>
                      <a:lnTo>
                        <a:pt x="232" y="1185"/>
                      </a:lnTo>
                      <a:lnTo>
                        <a:pt x="231" y="1185"/>
                      </a:lnTo>
                      <a:lnTo>
                        <a:pt x="231" y="1187"/>
                      </a:lnTo>
                      <a:lnTo>
                        <a:pt x="229" y="1188"/>
                      </a:lnTo>
                      <a:lnTo>
                        <a:pt x="229" y="1190"/>
                      </a:lnTo>
                      <a:lnTo>
                        <a:pt x="229" y="1192"/>
                      </a:lnTo>
                      <a:lnTo>
                        <a:pt x="232" y="1194"/>
                      </a:lnTo>
                      <a:lnTo>
                        <a:pt x="234" y="1194"/>
                      </a:lnTo>
                      <a:lnTo>
                        <a:pt x="236" y="1195"/>
                      </a:lnTo>
                      <a:lnTo>
                        <a:pt x="239" y="1197"/>
                      </a:lnTo>
                      <a:lnTo>
                        <a:pt x="245" y="1204"/>
                      </a:lnTo>
                      <a:lnTo>
                        <a:pt x="246" y="1202"/>
                      </a:lnTo>
                      <a:lnTo>
                        <a:pt x="250" y="1199"/>
                      </a:lnTo>
                      <a:lnTo>
                        <a:pt x="252" y="1199"/>
                      </a:lnTo>
                      <a:lnTo>
                        <a:pt x="252" y="1195"/>
                      </a:lnTo>
                      <a:lnTo>
                        <a:pt x="253" y="1194"/>
                      </a:lnTo>
                      <a:lnTo>
                        <a:pt x="253" y="1192"/>
                      </a:lnTo>
                      <a:lnTo>
                        <a:pt x="255" y="1188"/>
                      </a:lnTo>
                      <a:lnTo>
                        <a:pt x="257" y="1187"/>
                      </a:lnTo>
                      <a:lnTo>
                        <a:pt x="260" y="1185"/>
                      </a:lnTo>
                      <a:lnTo>
                        <a:pt x="264" y="1185"/>
                      </a:lnTo>
                      <a:lnTo>
                        <a:pt x="267" y="1187"/>
                      </a:lnTo>
                      <a:lnTo>
                        <a:pt x="264" y="1187"/>
                      </a:lnTo>
                      <a:lnTo>
                        <a:pt x="262" y="1190"/>
                      </a:lnTo>
                      <a:lnTo>
                        <a:pt x="262" y="1194"/>
                      </a:lnTo>
                      <a:lnTo>
                        <a:pt x="264" y="1195"/>
                      </a:lnTo>
                      <a:lnTo>
                        <a:pt x="269" y="1197"/>
                      </a:lnTo>
                      <a:lnTo>
                        <a:pt x="273" y="1197"/>
                      </a:lnTo>
                      <a:lnTo>
                        <a:pt x="278" y="1199"/>
                      </a:lnTo>
                      <a:lnTo>
                        <a:pt x="280" y="1202"/>
                      </a:lnTo>
                      <a:lnTo>
                        <a:pt x="274" y="1199"/>
                      </a:lnTo>
                      <a:lnTo>
                        <a:pt x="273" y="1199"/>
                      </a:lnTo>
                      <a:lnTo>
                        <a:pt x="269" y="1199"/>
                      </a:lnTo>
                      <a:lnTo>
                        <a:pt x="269" y="1199"/>
                      </a:lnTo>
                      <a:lnTo>
                        <a:pt x="267" y="1199"/>
                      </a:lnTo>
                      <a:lnTo>
                        <a:pt x="266" y="1199"/>
                      </a:lnTo>
                      <a:lnTo>
                        <a:pt x="266" y="1197"/>
                      </a:lnTo>
                      <a:lnTo>
                        <a:pt x="264" y="1197"/>
                      </a:lnTo>
                      <a:lnTo>
                        <a:pt x="260" y="1195"/>
                      </a:lnTo>
                      <a:lnTo>
                        <a:pt x="259" y="1195"/>
                      </a:lnTo>
                      <a:lnTo>
                        <a:pt x="260" y="1192"/>
                      </a:lnTo>
                      <a:lnTo>
                        <a:pt x="259" y="1190"/>
                      </a:lnTo>
                      <a:lnTo>
                        <a:pt x="257" y="1190"/>
                      </a:lnTo>
                      <a:lnTo>
                        <a:pt x="253" y="1194"/>
                      </a:lnTo>
                      <a:lnTo>
                        <a:pt x="253" y="1195"/>
                      </a:lnTo>
                      <a:lnTo>
                        <a:pt x="253" y="1199"/>
                      </a:lnTo>
                      <a:lnTo>
                        <a:pt x="257" y="1201"/>
                      </a:lnTo>
                      <a:lnTo>
                        <a:pt x="262" y="1204"/>
                      </a:lnTo>
                      <a:lnTo>
                        <a:pt x="266" y="1206"/>
                      </a:lnTo>
                      <a:lnTo>
                        <a:pt x="266" y="1208"/>
                      </a:lnTo>
                      <a:lnTo>
                        <a:pt x="269" y="1215"/>
                      </a:lnTo>
                      <a:lnTo>
                        <a:pt x="271" y="1216"/>
                      </a:lnTo>
                      <a:lnTo>
                        <a:pt x="276" y="1215"/>
                      </a:lnTo>
                      <a:lnTo>
                        <a:pt x="274" y="1218"/>
                      </a:lnTo>
                      <a:lnTo>
                        <a:pt x="273" y="1222"/>
                      </a:lnTo>
                      <a:lnTo>
                        <a:pt x="273" y="1227"/>
                      </a:lnTo>
                      <a:lnTo>
                        <a:pt x="273" y="1230"/>
                      </a:lnTo>
                      <a:lnTo>
                        <a:pt x="274" y="1229"/>
                      </a:lnTo>
                      <a:lnTo>
                        <a:pt x="276" y="1227"/>
                      </a:lnTo>
                      <a:lnTo>
                        <a:pt x="278" y="1225"/>
                      </a:lnTo>
                      <a:lnTo>
                        <a:pt x="280" y="1225"/>
                      </a:lnTo>
                      <a:lnTo>
                        <a:pt x="278" y="1227"/>
                      </a:lnTo>
                      <a:lnTo>
                        <a:pt x="278" y="1229"/>
                      </a:lnTo>
                      <a:lnTo>
                        <a:pt x="278" y="1229"/>
                      </a:lnTo>
                      <a:lnTo>
                        <a:pt x="278" y="1230"/>
                      </a:lnTo>
                      <a:lnTo>
                        <a:pt x="276" y="1232"/>
                      </a:lnTo>
                      <a:lnTo>
                        <a:pt x="274" y="1234"/>
                      </a:lnTo>
                      <a:lnTo>
                        <a:pt x="271" y="1237"/>
                      </a:lnTo>
                      <a:lnTo>
                        <a:pt x="273" y="1239"/>
                      </a:lnTo>
                      <a:lnTo>
                        <a:pt x="274" y="1243"/>
                      </a:lnTo>
                      <a:lnTo>
                        <a:pt x="274" y="1244"/>
                      </a:lnTo>
                      <a:lnTo>
                        <a:pt x="276" y="1248"/>
                      </a:lnTo>
                      <a:lnTo>
                        <a:pt x="280" y="1237"/>
                      </a:lnTo>
                      <a:lnTo>
                        <a:pt x="281" y="1234"/>
                      </a:lnTo>
                      <a:lnTo>
                        <a:pt x="283" y="1232"/>
                      </a:lnTo>
                      <a:lnTo>
                        <a:pt x="288" y="1230"/>
                      </a:lnTo>
                      <a:lnTo>
                        <a:pt x="292" y="1229"/>
                      </a:lnTo>
                      <a:lnTo>
                        <a:pt x="295" y="1225"/>
                      </a:lnTo>
                      <a:lnTo>
                        <a:pt x="299" y="1220"/>
                      </a:lnTo>
                      <a:lnTo>
                        <a:pt x="299" y="1216"/>
                      </a:lnTo>
                      <a:lnTo>
                        <a:pt x="301" y="1220"/>
                      </a:lnTo>
                      <a:lnTo>
                        <a:pt x="299" y="1222"/>
                      </a:lnTo>
                      <a:lnTo>
                        <a:pt x="297" y="1225"/>
                      </a:lnTo>
                      <a:lnTo>
                        <a:pt x="295" y="1227"/>
                      </a:lnTo>
                      <a:lnTo>
                        <a:pt x="295" y="1229"/>
                      </a:lnTo>
                      <a:lnTo>
                        <a:pt x="297" y="1230"/>
                      </a:lnTo>
                      <a:lnTo>
                        <a:pt x="299" y="1232"/>
                      </a:lnTo>
                      <a:lnTo>
                        <a:pt x="301" y="1232"/>
                      </a:lnTo>
                      <a:lnTo>
                        <a:pt x="302" y="1234"/>
                      </a:lnTo>
                      <a:lnTo>
                        <a:pt x="304" y="1237"/>
                      </a:lnTo>
                      <a:lnTo>
                        <a:pt x="306" y="1239"/>
                      </a:lnTo>
                      <a:lnTo>
                        <a:pt x="302" y="1237"/>
                      </a:lnTo>
                      <a:lnTo>
                        <a:pt x="299" y="1234"/>
                      </a:lnTo>
                      <a:lnTo>
                        <a:pt x="295" y="1230"/>
                      </a:lnTo>
                      <a:lnTo>
                        <a:pt x="292" y="1230"/>
                      </a:lnTo>
                      <a:lnTo>
                        <a:pt x="288" y="1230"/>
                      </a:lnTo>
                      <a:lnTo>
                        <a:pt x="285" y="1234"/>
                      </a:lnTo>
                      <a:lnTo>
                        <a:pt x="281" y="1237"/>
                      </a:lnTo>
                      <a:lnTo>
                        <a:pt x="281" y="1243"/>
                      </a:lnTo>
                      <a:lnTo>
                        <a:pt x="281" y="1241"/>
                      </a:lnTo>
                      <a:lnTo>
                        <a:pt x="283" y="1243"/>
                      </a:lnTo>
                      <a:lnTo>
                        <a:pt x="283" y="1241"/>
                      </a:lnTo>
                      <a:lnTo>
                        <a:pt x="283" y="1244"/>
                      </a:lnTo>
                      <a:lnTo>
                        <a:pt x="281" y="1246"/>
                      </a:lnTo>
                      <a:lnTo>
                        <a:pt x="281" y="1248"/>
                      </a:lnTo>
                      <a:lnTo>
                        <a:pt x="281" y="1251"/>
                      </a:lnTo>
                      <a:lnTo>
                        <a:pt x="281" y="1253"/>
                      </a:lnTo>
                      <a:lnTo>
                        <a:pt x="283" y="1255"/>
                      </a:lnTo>
                      <a:lnTo>
                        <a:pt x="285" y="1257"/>
                      </a:lnTo>
                      <a:lnTo>
                        <a:pt x="285" y="1258"/>
                      </a:lnTo>
                      <a:lnTo>
                        <a:pt x="287" y="1257"/>
                      </a:lnTo>
                      <a:lnTo>
                        <a:pt x="290" y="1251"/>
                      </a:lnTo>
                      <a:lnTo>
                        <a:pt x="292" y="1251"/>
                      </a:lnTo>
                      <a:lnTo>
                        <a:pt x="295" y="1250"/>
                      </a:lnTo>
                      <a:lnTo>
                        <a:pt x="299" y="1250"/>
                      </a:lnTo>
                      <a:lnTo>
                        <a:pt x="306" y="1251"/>
                      </a:lnTo>
                      <a:lnTo>
                        <a:pt x="302" y="1251"/>
                      </a:lnTo>
                      <a:lnTo>
                        <a:pt x="299" y="1251"/>
                      </a:lnTo>
                      <a:lnTo>
                        <a:pt x="294" y="1251"/>
                      </a:lnTo>
                      <a:lnTo>
                        <a:pt x="290" y="1253"/>
                      </a:lnTo>
                      <a:lnTo>
                        <a:pt x="288" y="1257"/>
                      </a:lnTo>
                      <a:lnTo>
                        <a:pt x="285" y="1260"/>
                      </a:lnTo>
                      <a:lnTo>
                        <a:pt x="285" y="1265"/>
                      </a:lnTo>
                      <a:lnTo>
                        <a:pt x="285" y="1269"/>
                      </a:lnTo>
                      <a:lnTo>
                        <a:pt x="290" y="1274"/>
                      </a:lnTo>
                      <a:lnTo>
                        <a:pt x="297" y="1276"/>
                      </a:lnTo>
                      <a:lnTo>
                        <a:pt x="306" y="1276"/>
                      </a:lnTo>
                      <a:lnTo>
                        <a:pt x="309" y="1271"/>
                      </a:lnTo>
                      <a:lnTo>
                        <a:pt x="309" y="1274"/>
                      </a:lnTo>
                      <a:lnTo>
                        <a:pt x="309" y="1276"/>
                      </a:lnTo>
                      <a:lnTo>
                        <a:pt x="311" y="1277"/>
                      </a:lnTo>
                      <a:lnTo>
                        <a:pt x="313" y="1277"/>
                      </a:lnTo>
                      <a:lnTo>
                        <a:pt x="311" y="1283"/>
                      </a:lnTo>
                      <a:lnTo>
                        <a:pt x="313" y="1283"/>
                      </a:lnTo>
                      <a:lnTo>
                        <a:pt x="318" y="1283"/>
                      </a:lnTo>
                      <a:lnTo>
                        <a:pt x="323" y="1283"/>
                      </a:lnTo>
                      <a:lnTo>
                        <a:pt x="316" y="1284"/>
                      </a:lnTo>
                      <a:lnTo>
                        <a:pt x="313" y="1284"/>
                      </a:lnTo>
                      <a:lnTo>
                        <a:pt x="311" y="1286"/>
                      </a:lnTo>
                      <a:lnTo>
                        <a:pt x="313" y="1288"/>
                      </a:lnTo>
                      <a:lnTo>
                        <a:pt x="315" y="1288"/>
                      </a:lnTo>
                      <a:lnTo>
                        <a:pt x="327" y="1290"/>
                      </a:lnTo>
                      <a:lnTo>
                        <a:pt x="329" y="1290"/>
                      </a:lnTo>
                      <a:lnTo>
                        <a:pt x="329" y="1288"/>
                      </a:lnTo>
                      <a:lnTo>
                        <a:pt x="330" y="1286"/>
                      </a:lnTo>
                      <a:lnTo>
                        <a:pt x="330" y="1284"/>
                      </a:lnTo>
                      <a:lnTo>
                        <a:pt x="332" y="1288"/>
                      </a:lnTo>
                      <a:lnTo>
                        <a:pt x="334" y="1290"/>
                      </a:lnTo>
                      <a:lnTo>
                        <a:pt x="337" y="1290"/>
                      </a:lnTo>
                      <a:lnTo>
                        <a:pt x="341" y="1290"/>
                      </a:lnTo>
                      <a:lnTo>
                        <a:pt x="343" y="1286"/>
                      </a:lnTo>
                      <a:lnTo>
                        <a:pt x="344" y="1279"/>
                      </a:lnTo>
                      <a:lnTo>
                        <a:pt x="346" y="1277"/>
                      </a:lnTo>
                      <a:lnTo>
                        <a:pt x="344" y="1279"/>
                      </a:lnTo>
                      <a:lnTo>
                        <a:pt x="346" y="1283"/>
                      </a:lnTo>
                      <a:lnTo>
                        <a:pt x="346" y="1284"/>
                      </a:lnTo>
                      <a:lnTo>
                        <a:pt x="344" y="1286"/>
                      </a:lnTo>
                      <a:lnTo>
                        <a:pt x="343" y="1290"/>
                      </a:lnTo>
                      <a:lnTo>
                        <a:pt x="341" y="1291"/>
                      </a:lnTo>
                      <a:lnTo>
                        <a:pt x="341" y="1293"/>
                      </a:lnTo>
                      <a:lnTo>
                        <a:pt x="343" y="1295"/>
                      </a:lnTo>
                      <a:lnTo>
                        <a:pt x="344" y="1297"/>
                      </a:lnTo>
                      <a:lnTo>
                        <a:pt x="346" y="1304"/>
                      </a:lnTo>
                      <a:lnTo>
                        <a:pt x="348" y="1305"/>
                      </a:lnTo>
                      <a:lnTo>
                        <a:pt x="349" y="1309"/>
                      </a:lnTo>
                      <a:lnTo>
                        <a:pt x="353" y="1311"/>
                      </a:lnTo>
                      <a:lnTo>
                        <a:pt x="358" y="1312"/>
                      </a:lnTo>
                      <a:lnTo>
                        <a:pt x="362" y="1311"/>
                      </a:lnTo>
                      <a:lnTo>
                        <a:pt x="363" y="1309"/>
                      </a:lnTo>
                      <a:lnTo>
                        <a:pt x="365" y="1305"/>
                      </a:lnTo>
                      <a:lnTo>
                        <a:pt x="367" y="1302"/>
                      </a:lnTo>
                      <a:lnTo>
                        <a:pt x="365" y="1300"/>
                      </a:lnTo>
                      <a:lnTo>
                        <a:pt x="367" y="1300"/>
                      </a:lnTo>
                      <a:lnTo>
                        <a:pt x="367" y="1302"/>
                      </a:lnTo>
                      <a:lnTo>
                        <a:pt x="365" y="1307"/>
                      </a:lnTo>
                      <a:lnTo>
                        <a:pt x="365" y="1311"/>
                      </a:lnTo>
                      <a:lnTo>
                        <a:pt x="367" y="1314"/>
                      </a:lnTo>
                      <a:lnTo>
                        <a:pt x="369" y="1316"/>
                      </a:lnTo>
                      <a:lnTo>
                        <a:pt x="372" y="1316"/>
                      </a:lnTo>
                      <a:lnTo>
                        <a:pt x="370" y="1318"/>
                      </a:lnTo>
                      <a:lnTo>
                        <a:pt x="369" y="1318"/>
                      </a:lnTo>
                      <a:lnTo>
                        <a:pt x="367" y="1316"/>
                      </a:lnTo>
                      <a:lnTo>
                        <a:pt x="365" y="1314"/>
                      </a:lnTo>
                      <a:lnTo>
                        <a:pt x="363" y="1314"/>
                      </a:lnTo>
                      <a:lnTo>
                        <a:pt x="363" y="1316"/>
                      </a:lnTo>
                      <a:lnTo>
                        <a:pt x="363" y="1319"/>
                      </a:lnTo>
                      <a:lnTo>
                        <a:pt x="365" y="1321"/>
                      </a:lnTo>
                      <a:lnTo>
                        <a:pt x="369" y="1323"/>
                      </a:lnTo>
                      <a:lnTo>
                        <a:pt x="370" y="1323"/>
                      </a:lnTo>
                      <a:lnTo>
                        <a:pt x="374" y="1323"/>
                      </a:lnTo>
                      <a:lnTo>
                        <a:pt x="376" y="1323"/>
                      </a:lnTo>
                      <a:lnTo>
                        <a:pt x="377" y="1321"/>
                      </a:lnTo>
                      <a:lnTo>
                        <a:pt x="379" y="1318"/>
                      </a:lnTo>
                      <a:lnTo>
                        <a:pt x="381" y="1316"/>
                      </a:lnTo>
                      <a:lnTo>
                        <a:pt x="379" y="1323"/>
                      </a:lnTo>
                      <a:lnTo>
                        <a:pt x="379" y="1325"/>
                      </a:lnTo>
                      <a:lnTo>
                        <a:pt x="381" y="1326"/>
                      </a:lnTo>
                      <a:lnTo>
                        <a:pt x="383" y="1326"/>
                      </a:lnTo>
                      <a:lnTo>
                        <a:pt x="386" y="1326"/>
                      </a:lnTo>
                      <a:lnTo>
                        <a:pt x="388" y="1325"/>
                      </a:lnTo>
                      <a:lnTo>
                        <a:pt x="386" y="1326"/>
                      </a:lnTo>
                      <a:lnTo>
                        <a:pt x="384" y="1328"/>
                      </a:lnTo>
                      <a:lnTo>
                        <a:pt x="383" y="1328"/>
                      </a:lnTo>
                      <a:lnTo>
                        <a:pt x="381" y="1328"/>
                      </a:lnTo>
                      <a:lnTo>
                        <a:pt x="381" y="1332"/>
                      </a:lnTo>
                      <a:lnTo>
                        <a:pt x="381" y="1332"/>
                      </a:lnTo>
                      <a:lnTo>
                        <a:pt x="383" y="1332"/>
                      </a:lnTo>
                      <a:lnTo>
                        <a:pt x="383" y="1333"/>
                      </a:lnTo>
                      <a:lnTo>
                        <a:pt x="383" y="1335"/>
                      </a:lnTo>
                      <a:lnTo>
                        <a:pt x="383" y="1335"/>
                      </a:lnTo>
                      <a:lnTo>
                        <a:pt x="384" y="1337"/>
                      </a:lnTo>
                      <a:lnTo>
                        <a:pt x="384" y="1335"/>
                      </a:lnTo>
                      <a:lnTo>
                        <a:pt x="386" y="1333"/>
                      </a:lnTo>
                      <a:lnTo>
                        <a:pt x="388" y="1335"/>
                      </a:lnTo>
                      <a:lnTo>
                        <a:pt x="390" y="1337"/>
                      </a:lnTo>
                      <a:lnTo>
                        <a:pt x="980" y="1337"/>
                      </a:lnTo>
                      <a:lnTo>
                        <a:pt x="980" y="1325"/>
                      </a:lnTo>
                      <a:lnTo>
                        <a:pt x="985" y="1328"/>
                      </a:lnTo>
                      <a:lnTo>
                        <a:pt x="987" y="1332"/>
                      </a:lnTo>
                      <a:lnTo>
                        <a:pt x="989" y="1339"/>
                      </a:lnTo>
                      <a:lnTo>
                        <a:pt x="992" y="1344"/>
                      </a:lnTo>
                      <a:lnTo>
                        <a:pt x="994" y="1346"/>
                      </a:lnTo>
                      <a:lnTo>
                        <a:pt x="1003" y="1346"/>
                      </a:lnTo>
                      <a:lnTo>
                        <a:pt x="1006" y="1347"/>
                      </a:lnTo>
                      <a:lnTo>
                        <a:pt x="1010" y="1349"/>
                      </a:lnTo>
                      <a:lnTo>
                        <a:pt x="1011" y="1351"/>
                      </a:lnTo>
                      <a:lnTo>
                        <a:pt x="1015" y="1351"/>
                      </a:lnTo>
                      <a:lnTo>
                        <a:pt x="1018" y="1347"/>
                      </a:lnTo>
                      <a:lnTo>
                        <a:pt x="1018" y="1347"/>
                      </a:lnTo>
                      <a:lnTo>
                        <a:pt x="1022" y="1347"/>
                      </a:lnTo>
                      <a:lnTo>
                        <a:pt x="1024" y="1347"/>
                      </a:lnTo>
                      <a:lnTo>
                        <a:pt x="1027" y="1349"/>
                      </a:lnTo>
                      <a:lnTo>
                        <a:pt x="1034" y="1351"/>
                      </a:lnTo>
                      <a:lnTo>
                        <a:pt x="1036" y="1353"/>
                      </a:lnTo>
                      <a:lnTo>
                        <a:pt x="1036" y="1353"/>
                      </a:lnTo>
                      <a:lnTo>
                        <a:pt x="1038" y="1354"/>
                      </a:lnTo>
                      <a:lnTo>
                        <a:pt x="1039" y="1358"/>
                      </a:lnTo>
                      <a:lnTo>
                        <a:pt x="1039" y="1358"/>
                      </a:lnTo>
                      <a:lnTo>
                        <a:pt x="1039" y="1358"/>
                      </a:lnTo>
                      <a:lnTo>
                        <a:pt x="1043" y="1356"/>
                      </a:lnTo>
                      <a:lnTo>
                        <a:pt x="1043" y="1356"/>
                      </a:lnTo>
                      <a:lnTo>
                        <a:pt x="1045" y="1356"/>
                      </a:lnTo>
                      <a:lnTo>
                        <a:pt x="1046" y="1356"/>
                      </a:lnTo>
                      <a:lnTo>
                        <a:pt x="1048" y="1358"/>
                      </a:lnTo>
                      <a:lnTo>
                        <a:pt x="1048" y="1358"/>
                      </a:lnTo>
                      <a:lnTo>
                        <a:pt x="1051" y="1360"/>
                      </a:lnTo>
                      <a:lnTo>
                        <a:pt x="1053" y="1361"/>
                      </a:lnTo>
                      <a:lnTo>
                        <a:pt x="1057" y="1363"/>
                      </a:lnTo>
                      <a:lnTo>
                        <a:pt x="1060" y="1365"/>
                      </a:lnTo>
                      <a:lnTo>
                        <a:pt x="1064" y="1363"/>
                      </a:lnTo>
                      <a:lnTo>
                        <a:pt x="1069" y="1361"/>
                      </a:lnTo>
                      <a:lnTo>
                        <a:pt x="1071" y="1360"/>
                      </a:lnTo>
                      <a:lnTo>
                        <a:pt x="1072" y="1361"/>
                      </a:lnTo>
                      <a:lnTo>
                        <a:pt x="1072" y="1361"/>
                      </a:lnTo>
                      <a:lnTo>
                        <a:pt x="1072" y="1361"/>
                      </a:lnTo>
                      <a:lnTo>
                        <a:pt x="1074" y="1363"/>
                      </a:lnTo>
                      <a:lnTo>
                        <a:pt x="1076" y="1363"/>
                      </a:lnTo>
                      <a:lnTo>
                        <a:pt x="1079" y="1363"/>
                      </a:lnTo>
                      <a:lnTo>
                        <a:pt x="1086" y="1363"/>
                      </a:lnTo>
                      <a:lnTo>
                        <a:pt x="1088" y="1363"/>
                      </a:lnTo>
                      <a:lnTo>
                        <a:pt x="1088" y="1363"/>
                      </a:lnTo>
                      <a:lnTo>
                        <a:pt x="1090" y="1365"/>
                      </a:lnTo>
                      <a:lnTo>
                        <a:pt x="1092" y="1367"/>
                      </a:lnTo>
                      <a:lnTo>
                        <a:pt x="1093" y="1367"/>
                      </a:lnTo>
                      <a:lnTo>
                        <a:pt x="1097" y="1367"/>
                      </a:lnTo>
                      <a:lnTo>
                        <a:pt x="1104" y="1367"/>
                      </a:lnTo>
                      <a:lnTo>
                        <a:pt x="1111" y="1363"/>
                      </a:lnTo>
                      <a:lnTo>
                        <a:pt x="1116" y="1361"/>
                      </a:lnTo>
                      <a:lnTo>
                        <a:pt x="1123" y="1358"/>
                      </a:lnTo>
                      <a:lnTo>
                        <a:pt x="1130" y="1360"/>
                      </a:lnTo>
                      <a:lnTo>
                        <a:pt x="1193" y="1393"/>
                      </a:lnTo>
                      <a:lnTo>
                        <a:pt x="1198" y="1396"/>
                      </a:lnTo>
                      <a:lnTo>
                        <a:pt x="1200" y="1400"/>
                      </a:lnTo>
                      <a:lnTo>
                        <a:pt x="1202" y="1405"/>
                      </a:lnTo>
                      <a:lnTo>
                        <a:pt x="1203" y="1407"/>
                      </a:lnTo>
                      <a:lnTo>
                        <a:pt x="1207" y="1409"/>
                      </a:lnTo>
                      <a:lnTo>
                        <a:pt x="1207" y="1410"/>
                      </a:lnTo>
                      <a:lnTo>
                        <a:pt x="1212" y="1409"/>
                      </a:lnTo>
                      <a:lnTo>
                        <a:pt x="1216" y="1410"/>
                      </a:lnTo>
                      <a:lnTo>
                        <a:pt x="1217" y="1414"/>
                      </a:lnTo>
                      <a:lnTo>
                        <a:pt x="1217" y="1417"/>
                      </a:lnTo>
                      <a:lnTo>
                        <a:pt x="1221" y="1421"/>
                      </a:lnTo>
                      <a:lnTo>
                        <a:pt x="1223" y="1421"/>
                      </a:lnTo>
                      <a:lnTo>
                        <a:pt x="1224" y="1421"/>
                      </a:lnTo>
                      <a:lnTo>
                        <a:pt x="1228" y="1421"/>
                      </a:lnTo>
                      <a:lnTo>
                        <a:pt x="1230" y="1423"/>
                      </a:lnTo>
                      <a:lnTo>
                        <a:pt x="1230" y="1424"/>
                      </a:lnTo>
                      <a:lnTo>
                        <a:pt x="1230" y="1426"/>
                      </a:lnTo>
                      <a:lnTo>
                        <a:pt x="1230" y="1428"/>
                      </a:lnTo>
                      <a:lnTo>
                        <a:pt x="1231" y="1431"/>
                      </a:lnTo>
                      <a:lnTo>
                        <a:pt x="1245" y="1440"/>
                      </a:lnTo>
                      <a:lnTo>
                        <a:pt x="1249" y="1442"/>
                      </a:lnTo>
                      <a:lnTo>
                        <a:pt x="1251" y="1443"/>
                      </a:lnTo>
                      <a:lnTo>
                        <a:pt x="1251" y="1447"/>
                      </a:lnTo>
                      <a:lnTo>
                        <a:pt x="1258" y="1487"/>
                      </a:lnTo>
                      <a:lnTo>
                        <a:pt x="1258" y="1491"/>
                      </a:lnTo>
                      <a:lnTo>
                        <a:pt x="1258" y="1494"/>
                      </a:lnTo>
                      <a:lnTo>
                        <a:pt x="1256" y="1499"/>
                      </a:lnTo>
                      <a:lnTo>
                        <a:pt x="1251" y="1512"/>
                      </a:lnTo>
                      <a:lnTo>
                        <a:pt x="1249" y="1519"/>
                      </a:lnTo>
                      <a:lnTo>
                        <a:pt x="1244" y="1522"/>
                      </a:lnTo>
                      <a:lnTo>
                        <a:pt x="1240" y="1526"/>
                      </a:lnTo>
                      <a:lnTo>
                        <a:pt x="1238" y="1527"/>
                      </a:lnTo>
                      <a:lnTo>
                        <a:pt x="1237" y="1531"/>
                      </a:lnTo>
                      <a:lnTo>
                        <a:pt x="1237" y="1533"/>
                      </a:lnTo>
                      <a:lnTo>
                        <a:pt x="1238" y="1536"/>
                      </a:lnTo>
                      <a:lnTo>
                        <a:pt x="1240" y="1538"/>
                      </a:lnTo>
                      <a:lnTo>
                        <a:pt x="1244" y="1540"/>
                      </a:lnTo>
                      <a:lnTo>
                        <a:pt x="1251" y="1541"/>
                      </a:lnTo>
                      <a:lnTo>
                        <a:pt x="1258" y="1540"/>
                      </a:lnTo>
                      <a:lnTo>
                        <a:pt x="1270" y="1533"/>
                      </a:lnTo>
                      <a:lnTo>
                        <a:pt x="1277" y="1529"/>
                      </a:lnTo>
                      <a:lnTo>
                        <a:pt x="1299" y="1524"/>
                      </a:lnTo>
                      <a:lnTo>
                        <a:pt x="1326" y="1513"/>
                      </a:lnTo>
                      <a:lnTo>
                        <a:pt x="1327" y="1510"/>
                      </a:lnTo>
                      <a:lnTo>
                        <a:pt x="1327" y="1508"/>
                      </a:lnTo>
                      <a:lnTo>
                        <a:pt x="1327" y="1508"/>
                      </a:lnTo>
                      <a:lnTo>
                        <a:pt x="1326" y="1506"/>
                      </a:lnTo>
                      <a:lnTo>
                        <a:pt x="1326" y="1505"/>
                      </a:lnTo>
                      <a:lnTo>
                        <a:pt x="1324" y="1498"/>
                      </a:lnTo>
                      <a:lnTo>
                        <a:pt x="1322" y="1494"/>
                      </a:lnTo>
                      <a:lnTo>
                        <a:pt x="1329" y="1491"/>
                      </a:lnTo>
                      <a:lnTo>
                        <a:pt x="1336" y="1491"/>
                      </a:lnTo>
                      <a:lnTo>
                        <a:pt x="1369" y="1489"/>
                      </a:lnTo>
                      <a:lnTo>
                        <a:pt x="1373" y="1489"/>
                      </a:lnTo>
                      <a:lnTo>
                        <a:pt x="1375" y="1487"/>
                      </a:lnTo>
                      <a:lnTo>
                        <a:pt x="1380" y="1478"/>
                      </a:lnTo>
                      <a:lnTo>
                        <a:pt x="1404" y="1456"/>
                      </a:lnTo>
                      <a:lnTo>
                        <a:pt x="1411" y="1452"/>
                      </a:lnTo>
                      <a:lnTo>
                        <a:pt x="1418" y="1452"/>
                      </a:lnTo>
                      <a:lnTo>
                        <a:pt x="1427" y="1445"/>
                      </a:lnTo>
                      <a:lnTo>
                        <a:pt x="1430" y="1442"/>
                      </a:lnTo>
                      <a:close/>
                      <a:moveTo>
                        <a:pt x="337" y="1304"/>
                      </a:moveTo>
                      <a:lnTo>
                        <a:pt x="339" y="1302"/>
                      </a:lnTo>
                      <a:lnTo>
                        <a:pt x="341" y="1298"/>
                      </a:lnTo>
                      <a:lnTo>
                        <a:pt x="341" y="1297"/>
                      </a:lnTo>
                      <a:lnTo>
                        <a:pt x="339" y="1293"/>
                      </a:lnTo>
                      <a:lnTo>
                        <a:pt x="337" y="1291"/>
                      </a:lnTo>
                      <a:lnTo>
                        <a:pt x="336" y="1291"/>
                      </a:lnTo>
                      <a:lnTo>
                        <a:pt x="334" y="1295"/>
                      </a:lnTo>
                      <a:lnTo>
                        <a:pt x="336" y="1298"/>
                      </a:lnTo>
                      <a:lnTo>
                        <a:pt x="337" y="1302"/>
                      </a:lnTo>
                      <a:lnTo>
                        <a:pt x="337" y="1304"/>
                      </a:lnTo>
                      <a:close/>
                      <a:moveTo>
                        <a:pt x="343" y="1304"/>
                      </a:moveTo>
                      <a:lnTo>
                        <a:pt x="344" y="1304"/>
                      </a:lnTo>
                      <a:lnTo>
                        <a:pt x="344" y="1304"/>
                      </a:lnTo>
                      <a:lnTo>
                        <a:pt x="344" y="1302"/>
                      </a:lnTo>
                      <a:lnTo>
                        <a:pt x="344" y="1302"/>
                      </a:lnTo>
                      <a:lnTo>
                        <a:pt x="344" y="1300"/>
                      </a:lnTo>
                      <a:lnTo>
                        <a:pt x="343" y="1298"/>
                      </a:lnTo>
                      <a:lnTo>
                        <a:pt x="343" y="1298"/>
                      </a:lnTo>
                      <a:lnTo>
                        <a:pt x="343" y="1300"/>
                      </a:lnTo>
                      <a:lnTo>
                        <a:pt x="343" y="1302"/>
                      </a:lnTo>
                      <a:lnTo>
                        <a:pt x="343" y="1304"/>
                      </a:lnTo>
                      <a:lnTo>
                        <a:pt x="343" y="1304"/>
                      </a:lnTo>
                      <a:lnTo>
                        <a:pt x="343" y="1304"/>
                      </a:lnTo>
                      <a:close/>
                      <a:moveTo>
                        <a:pt x="271" y="1229"/>
                      </a:moveTo>
                      <a:lnTo>
                        <a:pt x="273" y="1225"/>
                      </a:lnTo>
                      <a:lnTo>
                        <a:pt x="273" y="1222"/>
                      </a:lnTo>
                      <a:lnTo>
                        <a:pt x="273" y="1218"/>
                      </a:lnTo>
                      <a:lnTo>
                        <a:pt x="269" y="1218"/>
                      </a:lnTo>
                      <a:lnTo>
                        <a:pt x="269" y="1222"/>
                      </a:lnTo>
                      <a:lnTo>
                        <a:pt x="269" y="1227"/>
                      </a:lnTo>
                      <a:lnTo>
                        <a:pt x="269" y="1230"/>
                      </a:lnTo>
                      <a:lnTo>
                        <a:pt x="271" y="1229"/>
                      </a:lnTo>
                      <a:close/>
                      <a:moveTo>
                        <a:pt x="304" y="1311"/>
                      </a:moveTo>
                      <a:lnTo>
                        <a:pt x="302" y="1309"/>
                      </a:lnTo>
                      <a:lnTo>
                        <a:pt x="302" y="1312"/>
                      </a:lnTo>
                      <a:lnTo>
                        <a:pt x="302" y="1314"/>
                      </a:lnTo>
                      <a:lnTo>
                        <a:pt x="304" y="1316"/>
                      </a:lnTo>
                      <a:lnTo>
                        <a:pt x="306" y="1318"/>
                      </a:lnTo>
                      <a:lnTo>
                        <a:pt x="308" y="1318"/>
                      </a:lnTo>
                      <a:lnTo>
                        <a:pt x="308" y="1312"/>
                      </a:lnTo>
                      <a:lnTo>
                        <a:pt x="304" y="1311"/>
                      </a:lnTo>
                      <a:close/>
                      <a:moveTo>
                        <a:pt x="253" y="1218"/>
                      </a:moveTo>
                      <a:lnTo>
                        <a:pt x="252" y="1218"/>
                      </a:lnTo>
                      <a:lnTo>
                        <a:pt x="252" y="1220"/>
                      </a:lnTo>
                      <a:lnTo>
                        <a:pt x="253" y="1223"/>
                      </a:lnTo>
                      <a:lnTo>
                        <a:pt x="257" y="1227"/>
                      </a:lnTo>
                      <a:lnTo>
                        <a:pt x="257" y="1223"/>
                      </a:lnTo>
                      <a:lnTo>
                        <a:pt x="255" y="1220"/>
                      </a:lnTo>
                      <a:lnTo>
                        <a:pt x="253" y="1218"/>
                      </a:lnTo>
                      <a:close/>
                      <a:moveTo>
                        <a:pt x="260" y="1204"/>
                      </a:moveTo>
                      <a:lnTo>
                        <a:pt x="257" y="1204"/>
                      </a:lnTo>
                      <a:lnTo>
                        <a:pt x="257" y="1204"/>
                      </a:lnTo>
                      <a:lnTo>
                        <a:pt x="255" y="1204"/>
                      </a:lnTo>
                      <a:lnTo>
                        <a:pt x="253" y="1211"/>
                      </a:lnTo>
                      <a:lnTo>
                        <a:pt x="253" y="1213"/>
                      </a:lnTo>
                      <a:lnTo>
                        <a:pt x="255" y="1216"/>
                      </a:lnTo>
                      <a:lnTo>
                        <a:pt x="257" y="1220"/>
                      </a:lnTo>
                      <a:lnTo>
                        <a:pt x="259" y="1222"/>
                      </a:lnTo>
                      <a:lnTo>
                        <a:pt x="260" y="1220"/>
                      </a:lnTo>
                      <a:lnTo>
                        <a:pt x="262" y="1220"/>
                      </a:lnTo>
                      <a:lnTo>
                        <a:pt x="262" y="1218"/>
                      </a:lnTo>
                      <a:lnTo>
                        <a:pt x="262" y="1225"/>
                      </a:lnTo>
                      <a:lnTo>
                        <a:pt x="262" y="1229"/>
                      </a:lnTo>
                      <a:lnTo>
                        <a:pt x="264" y="1232"/>
                      </a:lnTo>
                      <a:lnTo>
                        <a:pt x="267" y="1225"/>
                      </a:lnTo>
                      <a:lnTo>
                        <a:pt x="267" y="1218"/>
                      </a:lnTo>
                      <a:lnTo>
                        <a:pt x="266" y="1209"/>
                      </a:lnTo>
                      <a:lnTo>
                        <a:pt x="260" y="1204"/>
                      </a:lnTo>
                      <a:close/>
                      <a:moveTo>
                        <a:pt x="706" y="738"/>
                      </a:moveTo>
                      <a:lnTo>
                        <a:pt x="706" y="738"/>
                      </a:lnTo>
                      <a:lnTo>
                        <a:pt x="704" y="738"/>
                      </a:lnTo>
                      <a:lnTo>
                        <a:pt x="704" y="739"/>
                      </a:lnTo>
                      <a:lnTo>
                        <a:pt x="706" y="741"/>
                      </a:lnTo>
                      <a:lnTo>
                        <a:pt x="707" y="743"/>
                      </a:lnTo>
                      <a:lnTo>
                        <a:pt x="707" y="743"/>
                      </a:lnTo>
                      <a:lnTo>
                        <a:pt x="709" y="741"/>
                      </a:lnTo>
                      <a:lnTo>
                        <a:pt x="709" y="739"/>
                      </a:lnTo>
                      <a:lnTo>
                        <a:pt x="709" y="738"/>
                      </a:lnTo>
                      <a:lnTo>
                        <a:pt x="707" y="738"/>
                      </a:lnTo>
                      <a:lnTo>
                        <a:pt x="706" y="738"/>
                      </a:lnTo>
                      <a:close/>
                      <a:moveTo>
                        <a:pt x="278" y="1258"/>
                      </a:moveTo>
                      <a:lnTo>
                        <a:pt x="280" y="1257"/>
                      </a:lnTo>
                      <a:lnTo>
                        <a:pt x="280" y="1255"/>
                      </a:lnTo>
                      <a:lnTo>
                        <a:pt x="278" y="1251"/>
                      </a:lnTo>
                      <a:lnTo>
                        <a:pt x="276" y="1250"/>
                      </a:lnTo>
                      <a:lnTo>
                        <a:pt x="274" y="1253"/>
                      </a:lnTo>
                      <a:lnTo>
                        <a:pt x="276" y="1255"/>
                      </a:lnTo>
                      <a:lnTo>
                        <a:pt x="276" y="1257"/>
                      </a:lnTo>
                      <a:lnTo>
                        <a:pt x="278" y="1258"/>
                      </a:lnTo>
                      <a:close/>
                      <a:moveTo>
                        <a:pt x="989" y="383"/>
                      </a:moveTo>
                      <a:lnTo>
                        <a:pt x="989" y="385"/>
                      </a:lnTo>
                      <a:lnTo>
                        <a:pt x="992" y="386"/>
                      </a:lnTo>
                      <a:lnTo>
                        <a:pt x="994" y="386"/>
                      </a:lnTo>
                      <a:lnTo>
                        <a:pt x="997" y="385"/>
                      </a:lnTo>
                      <a:lnTo>
                        <a:pt x="999" y="383"/>
                      </a:lnTo>
                      <a:lnTo>
                        <a:pt x="996" y="374"/>
                      </a:lnTo>
                      <a:lnTo>
                        <a:pt x="994" y="372"/>
                      </a:lnTo>
                      <a:lnTo>
                        <a:pt x="992" y="372"/>
                      </a:lnTo>
                      <a:lnTo>
                        <a:pt x="990" y="372"/>
                      </a:lnTo>
                      <a:lnTo>
                        <a:pt x="987" y="374"/>
                      </a:lnTo>
                      <a:lnTo>
                        <a:pt x="985" y="376"/>
                      </a:lnTo>
                      <a:lnTo>
                        <a:pt x="987" y="378"/>
                      </a:lnTo>
                      <a:lnTo>
                        <a:pt x="987" y="381"/>
                      </a:lnTo>
                      <a:lnTo>
                        <a:pt x="989" y="383"/>
                      </a:lnTo>
                      <a:close/>
                      <a:moveTo>
                        <a:pt x="1857" y="1379"/>
                      </a:moveTo>
                      <a:lnTo>
                        <a:pt x="1858" y="1377"/>
                      </a:lnTo>
                      <a:lnTo>
                        <a:pt x="1857" y="1379"/>
                      </a:lnTo>
                      <a:lnTo>
                        <a:pt x="1853" y="1384"/>
                      </a:lnTo>
                      <a:lnTo>
                        <a:pt x="1855" y="1384"/>
                      </a:lnTo>
                      <a:lnTo>
                        <a:pt x="1855" y="1384"/>
                      </a:lnTo>
                      <a:lnTo>
                        <a:pt x="1855" y="1382"/>
                      </a:lnTo>
                      <a:lnTo>
                        <a:pt x="1857" y="1379"/>
                      </a:lnTo>
                      <a:lnTo>
                        <a:pt x="1857" y="1379"/>
                      </a:lnTo>
                      <a:close/>
                      <a:moveTo>
                        <a:pt x="1736" y="1424"/>
                      </a:moveTo>
                      <a:lnTo>
                        <a:pt x="1736" y="1424"/>
                      </a:lnTo>
                      <a:lnTo>
                        <a:pt x="1734" y="1423"/>
                      </a:lnTo>
                      <a:lnTo>
                        <a:pt x="1734" y="1421"/>
                      </a:lnTo>
                      <a:lnTo>
                        <a:pt x="1734" y="1421"/>
                      </a:lnTo>
                      <a:lnTo>
                        <a:pt x="1734" y="1419"/>
                      </a:lnTo>
                      <a:lnTo>
                        <a:pt x="1734" y="1417"/>
                      </a:lnTo>
                      <a:lnTo>
                        <a:pt x="1733" y="1417"/>
                      </a:lnTo>
                      <a:lnTo>
                        <a:pt x="1731" y="1417"/>
                      </a:lnTo>
                      <a:lnTo>
                        <a:pt x="1729" y="1417"/>
                      </a:lnTo>
                      <a:lnTo>
                        <a:pt x="1729" y="1417"/>
                      </a:lnTo>
                      <a:lnTo>
                        <a:pt x="1727" y="1417"/>
                      </a:lnTo>
                      <a:lnTo>
                        <a:pt x="1727" y="1417"/>
                      </a:lnTo>
                      <a:lnTo>
                        <a:pt x="1727" y="1417"/>
                      </a:lnTo>
                      <a:lnTo>
                        <a:pt x="1727" y="1417"/>
                      </a:lnTo>
                      <a:lnTo>
                        <a:pt x="1727" y="1416"/>
                      </a:lnTo>
                      <a:lnTo>
                        <a:pt x="1727" y="1416"/>
                      </a:lnTo>
                      <a:lnTo>
                        <a:pt x="1724" y="1416"/>
                      </a:lnTo>
                      <a:lnTo>
                        <a:pt x="1720" y="1419"/>
                      </a:lnTo>
                      <a:lnTo>
                        <a:pt x="1719" y="1421"/>
                      </a:lnTo>
                      <a:lnTo>
                        <a:pt x="1717" y="1424"/>
                      </a:lnTo>
                      <a:lnTo>
                        <a:pt x="1719" y="1424"/>
                      </a:lnTo>
                      <a:lnTo>
                        <a:pt x="1719" y="1424"/>
                      </a:lnTo>
                      <a:lnTo>
                        <a:pt x="1722" y="1424"/>
                      </a:lnTo>
                      <a:lnTo>
                        <a:pt x="1720" y="1426"/>
                      </a:lnTo>
                      <a:lnTo>
                        <a:pt x="1719" y="1428"/>
                      </a:lnTo>
                      <a:lnTo>
                        <a:pt x="1715" y="1430"/>
                      </a:lnTo>
                      <a:lnTo>
                        <a:pt x="1713" y="1430"/>
                      </a:lnTo>
                      <a:lnTo>
                        <a:pt x="1710" y="1431"/>
                      </a:lnTo>
                      <a:lnTo>
                        <a:pt x="1710" y="1430"/>
                      </a:lnTo>
                      <a:lnTo>
                        <a:pt x="1712" y="1428"/>
                      </a:lnTo>
                      <a:lnTo>
                        <a:pt x="1710" y="1426"/>
                      </a:lnTo>
                      <a:lnTo>
                        <a:pt x="1712" y="1426"/>
                      </a:lnTo>
                      <a:lnTo>
                        <a:pt x="1712" y="1426"/>
                      </a:lnTo>
                      <a:lnTo>
                        <a:pt x="1713" y="1424"/>
                      </a:lnTo>
                      <a:lnTo>
                        <a:pt x="1713" y="1424"/>
                      </a:lnTo>
                      <a:lnTo>
                        <a:pt x="1712" y="1424"/>
                      </a:lnTo>
                      <a:lnTo>
                        <a:pt x="1708" y="1424"/>
                      </a:lnTo>
                      <a:lnTo>
                        <a:pt x="1717" y="1421"/>
                      </a:lnTo>
                      <a:lnTo>
                        <a:pt x="1719" y="1417"/>
                      </a:lnTo>
                      <a:lnTo>
                        <a:pt x="1722" y="1414"/>
                      </a:lnTo>
                      <a:lnTo>
                        <a:pt x="1724" y="1405"/>
                      </a:lnTo>
                      <a:lnTo>
                        <a:pt x="1726" y="1403"/>
                      </a:lnTo>
                      <a:lnTo>
                        <a:pt x="1724" y="1400"/>
                      </a:lnTo>
                      <a:lnTo>
                        <a:pt x="1724" y="1398"/>
                      </a:lnTo>
                      <a:lnTo>
                        <a:pt x="1724" y="1396"/>
                      </a:lnTo>
                      <a:lnTo>
                        <a:pt x="1724" y="1395"/>
                      </a:lnTo>
                      <a:lnTo>
                        <a:pt x="1719" y="1396"/>
                      </a:lnTo>
                      <a:lnTo>
                        <a:pt x="1715" y="1400"/>
                      </a:lnTo>
                      <a:lnTo>
                        <a:pt x="1712" y="1405"/>
                      </a:lnTo>
                      <a:lnTo>
                        <a:pt x="1708" y="1409"/>
                      </a:lnTo>
                      <a:lnTo>
                        <a:pt x="1701" y="1419"/>
                      </a:lnTo>
                      <a:lnTo>
                        <a:pt x="1699" y="1424"/>
                      </a:lnTo>
                      <a:lnTo>
                        <a:pt x="1701" y="1431"/>
                      </a:lnTo>
                      <a:lnTo>
                        <a:pt x="1705" y="1435"/>
                      </a:lnTo>
                      <a:lnTo>
                        <a:pt x="1708" y="1435"/>
                      </a:lnTo>
                      <a:lnTo>
                        <a:pt x="1713" y="1435"/>
                      </a:lnTo>
                      <a:lnTo>
                        <a:pt x="1717" y="1435"/>
                      </a:lnTo>
                      <a:lnTo>
                        <a:pt x="1722" y="1433"/>
                      </a:lnTo>
                      <a:lnTo>
                        <a:pt x="1727" y="1431"/>
                      </a:lnTo>
                      <a:lnTo>
                        <a:pt x="1733" y="1428"/>
                      </a:lnTo>
                      <a:lnTo>
                        <a:pt x="1736" y="1424"/>
                      </a:lnTo>
                      <a:close/>
                      <a:moveTo>
                        <a:pt x="1710" y="1436"/>
                      </a:moveTo>
                      <a:lnTo>
                        <a:pt x="1712" y="1438"/>
                      </a:lnTo>
                      <a:lnTo>
                        <a:pt x="1713" y="1435"/>
                      </a:lnTo>
                      <a:lnTo>
                        <a:pt x="1710" y="1436"/>
                      </a:lnTo>
                      <a:lnTo>
                        <a:pt x="1710" y="1436"/>
                      </a:lnTo>
                      <a:close/>
                      <a:moveTo>
                        <a:pt x="1631" y="1374"/>
                      </a:moveTo>
                      <a:lnTo>
                        <a:pt x="1633" y="1374"/>
                      </a:lnTo>
                      <a:lnTo>
                        <a:pt x="1635" y="1372"/>
                      </a:lnTo>
                      <a:lnTo>
                        <a:pt x="1635" y="1372"/>
                      </a:lnTo>
                      <a:lnTo>
                        <a:pt x="1636" y="1370"/>
                      </a:lnTo>
                      <a:lnTo>
                        <a:pt x="1635" y="1370"/>
                      </a:lnTo>
                      <a:lnTo>
                        <a:pt x="1633" y="1370"/>
                      </a:lnTo>
                      <a:lnTo>
                        <a:pt x="1633" y="1370"/>
                      </a:lnTo>
                      <a:lnTo>
                        <a:pt x="1633" y="1372"/>
                      </a:lnTo>
                      <a:lnTo>
                        <a:pt x="1633" y="1372"/>
                      </a:lnTo>
                      <a:lnTo>
                        <a:pt x="1633" y="1372"/>
                      </a:lnTo>
                      <a:lnTo>
                        <a:pt x="1631" y="1374"/>
                      </a:lnTo>
                      <a:close/>
                      <a:moveTo>
                        <a:pt x="1636" y="1367"/>
                      </a:moveTo>
                      <a:lnTo>
                        <a:pt x="1636" y="1367"/>
                      </a:lnTo>
                      <a:lnTo>
                        <a:pt x="1636" y="1367"/>
                      </a:lnTo>
                      <a:lnTo>
                        <a:pt x="1636" y="1367"/>
                      </a:lnTo>
                      <a:lnTo>
                        <a:pt x="1635" y="1367"/>
                      </a:lnTo>
                      <a:lnTo>
                        <a:pt x="1635" y="1367"/>
                      </a:lnTo>
                      <a:lnTo>
                        <a:pt x="1635" y="1368"/>
                      </a:lnTo>
                      <a:lnTo>
                        <a:pt x="1635" y="1368"/>
                      </a:lnTo>
                      <a:lnTo>
                        <a:pt x="1636" y="1367"/>
                      </a:lnTo>
                      <a:lnTo>
                        <a:pt x="1636" y="1367"/>
                      </a:lnTo>
                      <a:close/>
                      <a:moveTo>
                        <a:pt x="1734" y="1482"/>
                      </a:moveTo>
                      <a:lnTo>
                        <a:pt x="1733" y="1482"/>
                      </a:lnTo>
                      <a:lnTo>
                        <a:pt x="1729" y="1480"/>
                      </a:lnTo>
                      <a:lnTo>
                        <a:pt x="1731" y="1482"/>
                      </a:lnTo>
                      <a:lnTo>
                        <a:pt x="1734" y="1482"/>
                      </a:lnTo>
                      <a:lnTo>
                        <a:pt x="1736" y="1482"/>
                      </a:lnTo>
                      <a:lnTo>
                        <a:pt x="1738" y="1480"/>
                      </a:lnTo>
                      <a:lnTo>
                        <a:pt x="1736" y="1480"/>
                      </a:lnTo>
                      <a:lnTo>
                        <a:pt x="1734" y="1482"/>
                      </a:lnTo>
                      <a:close/>
                      <a:moveTo>
                        <a:pt x="1827" y="1283"/>
                      </a:moveTo>
                      <a:lnTo>
                        <a:pt x="1829" y="1279"/>
                      </a:lnTo>
                      <a:lnTo>
                        <a:pt x="1827" y="1279"/>
                      </a:lnTo>
                      <a:lnTo>
                        <a:pt x="1827" y="1281"/>
                      </a:lnTo>
                      <a:lnTo>
                        <a:pt x="1827" y="1283"/>
                      </a:lnTo>
                      <a:close/>
                      <a:moveTo>
                        <a:pt x="1886" y="1374"/>
                      </a:moveTo>
                      <a:lnTo>
                        <a:pt x="1884" y="1375"/>
                      </a:lnTo>
                      <a:lnTo>
                        <a:pt x="1883" y="1381"/>
                      </a:lnTo>
                      <a:lnTo>
                        <a:pt x="1879" y="1382"/>
                      </a:lnTo>
                      <a:lnTo>
                        <a:pt x="1877" y="1379"/>
                      </a:lnTo>
                      <a:lnTo>
                        <a:pt x="1879" y="1372"/>
                      </a:lnTo>
                      <a:lnTo>
                        <a:pt x="1883" y="1365"/>
                      </a:lnTo>
                      <a:lnTo>
                        <a:pt x="1884" y="1363"/>
                      </a:lnTo>
                      <a:lnTo>
                        <a:pt x="1883" y="1363"/>
                      </a:lnTo>
                      <a:lnTo>
                        <a:pt x="1879" y="1365"/>
                      </a:lnTo>
                      <a:lnTo>
                        <a:pt x="1877" y="1367"/>
                      </a:lnTo>
                      <a:lnTo>
                        <a:pt x="1876" y="1367"/>
                      </a:lnTo>
                      <a:lnTo>
                        <a:pt x="1874" y="1370"/>
                      </a:lnTo>
                      <a:lnTo>
                        <a:pt x="1872" y="1374"/>
                      </a:lnTo>
                      <a:lnTo>
                        <a:pt x="1870" y="1375"/>
                      </a:lnTo>
                      <a:lnTo>
                        <a:pt x="1867" y="1377"/>
                      </a:lnTo>
                      <a:lnTo>
                        <a:pt x="1864" y="1375"/>
                      </a:lnTo>
                      <a:lnTo>
                        <a:pt x="1864" y="1374"/>
                      </a:lnTo>
                      <a:lnTo>
                        <a:pt x="1865" y="1372"/>
                      </a:lnTo>
                      <a:lnTo>
                        <a:pt x="1867" y="1367"/>
                      </a:lnTo>
                      <a:lnTo>
                        <a:pt x="1867" y="1367"/>
                      </a:lnTo>
                      <a:lnTo>
                        <a:pt x="1867" y="1367"/>
                      </a:lnTo>
                      <a:lnTo>
                        <a:pt x="1864" y="1365"/>
                      </a:lnTo>
                      <a:lnTo>
                        <a:pt x="1869" y="1363"/>
                      </a:lnTo>
                      <a:lnTo>
                        <a:pt x="1870" y="1363"/>
                      </a:lnTo>
                      <a:lnTo>
                        <a:pt x="1869" y="1360"/>
                      </a:lnTo>
                      <a:lnTo>
                        <a:pt x="1872" y="1358"/>
                      </a:lnTo>
                      <a:lnTo>
                        <a:pt x="1877" y="1354"/>
                      </a:lnTo>
                      <a:lnTo>
                        <a:pt x="1881" y="1349"/>
                      </a:lnTo>
                      <a:lnTo>
                        <a:pt x="1881" y="1347"/>
                      </a:lnTo>
                      <a:lnTo>
                        <a:pt x="1879" y="1347"/>
                      </a:lnTo>
                      <a:lnTo>
                        <a:pt x="1870" y="1353"/>
                      </a:lnTo>
                      <a:lnTo>
                        <a:pt x="1869" y="1353"/>
                      </a:lnTo>
                      <a:lnTo>
                        <a:pt x="1867" y="1351"/>
                      </a:lnTo>
                      <a:lnTo>
                        <a:pt x="1867" y="1351"/>
                      </a:lnTo>
                      <a:lnTo>
                        <a:pt x="1865" y="1351"/>
                      </a:lnTo>
                      <a:lnTo>
                        <a:pt x="1865" y="1353"/>
                      </a:lnTo>
                      <a:lnTo>
                        <a:pt x="1864" y="1353"/>
                      </a:lnTo>
                      <a:lnTo>
                        <a:pt x="1858" y="1354"/>
                      </a:lnTo>
                      <a:lnTo>
                        <a:pt x="1864" y="1351"/>
                      </a:lnTo>
                      <a:lnTo>
                        <a:pt x="1865" y="1349"/>
                      </a:lnTo>
                      <a:lnTo>
                        <a:pt x="1867" y="1346"/>
                      </a:lnTo>
                      <a:lnTo>
                        <a:pt x="1864" y="1346"/>
                      </a:lnTo>
                      <a:lnTo>
                        <a:pt x="1862" y="1346"/>
                      </a:lnTo>
                      <a:lnTo>
                        <a:pt x="1862" y="1344"/>
                      </a:lnTo>
                      <a:lnTo>
                        <a:pt x="1864" y="1342"/>
                      </a:lnTo>
                      <a:lnTo>
                        <a:pt x="1857" y="1342"/>
                      </a:lnTo>
                      <a:lnTo>
                        <a:pt x="1860" y="1340"/>
                      </a:lnTo>
                      <a:lnTo>
                        <a:pt x="1865" y="1337"/>
                      </a:lnTo>
                      <a:lnTo>
                        <a:pt x="1869" y="1332"/>
                      </a:lnTo>
                      <a:lnTo>
                        <a:pt x="1869" y="1328"/>
                      </a:lnTo>
                      <a:lnTo>
                        <a:pt x="1867" y="1325"/>
                      </a:lnTo>
                      <a:lnTo>
                        <a:pt x="1860" y="1323"/>
                      </a:lnTo>
                      <a:lnTo>
                        <a:pt x="1855" y="1323"/>
                      </a:lnTo>
                      <a:lnTo>
                        <a:pt x="1851" y="1326"/>
                      </a:lnTo>
                      <a:lnTo>
                        <a:pt x="1851" y="1325"/>
                      </a:lnTo>
                      <a:lnTo>
                        <a:pt x="1850" y="1323"/>
                      </a:lnTo>
                      <a:lnTo>
                        <a:pt x="1850" y="1321"/>
                      </a:lnTo>
                      <a:lnTo>
                        <a:pt x="1850" y="1319"/>
                      </a:lnTo>
                      <a:lnTo>
                        <a:pt x="1848" y="1321"/>
                      </a:lnTo>
                      <a:lnTo>
                        <a:pt x="1839" y="1328"/>
                      </a:lnTo>
                      <a:lnTo>
                        <a:pt x="1837" y="1326"/>
                      </a:lnTo>
                      <a:lnTo>
                        <a:pt x="1836" y="1330"/>
                      </a:lnTo>
                      <a:lnTo>
                        <a:pt x="1834" y="1332"/>
                      </a:lnTo>
                      <a:lnTo>
                        <a:pt x="1832" y="1333"/>
                      </a:lnTo>
                      <a:lnTo>
                        <a:pt x="1832" y="1330"/>
                      </a:lnTo>
                      <a:lnTo>
                        <a:pt x="1834" y="1326"/>
                      </a:lnTo>
                      <a:lnTo>
                        <a:pt x="1836" y="1323"/>
                      </a:lnTo>
                      <a:lnTo>
                        <a:pt x="1834" y="1319"/>
                      </a:lnTo>
                      <a:lnTo>
                        <a:pt x="1834" y="1323"/>
                      </a:lnTo>
                      <a:lnTo>
                        <a:pt x="1832" y="1325"/>
                      </a:lnTo>
                      <a:lnTo>
                        <a:pt x="1830" y="1325"/>
                      </a:lnTo>
                      <a:lnTo>
                        <a:pt x="1830" y="1321"/>
                      </a:lnTo>
                      <a:lnTo>
                        <a:pt x="1829" y="1321"/>
                      </a:lnTo>
                      <a:lnTo>
                        <a:pt x="1827" y="1321"/>
                      </a:lnTo>
                      <a:lnTo>
                        <a:pt x="1820" y="1321"/>
                      </a:lnTo>
                      <a:lnTo>
                        <a:pt x="1818" y="1321"/>
                      </a:lnTo>
                      <a:lnTo>
                        <a:pt x="1816" y="1323"/>
                      </a:lnTo>
                      <a:lnTo>
                        <a:pt x="1818" y="1319"/>
                      </a:lnTo>
                      <a:lnTo>
                        <a:pt x="1820" y="1316"/>
                      </a:lnTo>
                      <a:lnTo>
                        <a:pt x="1818" y="1316"/>
                      </a:lnTo>
                      <a:lnTo>
                        <a:pt x="1815" y="1318"/>
                      </a:lnTo>
                      <a:lnTo>
                        <a:pt x="1818" y="1314"/>
                      </a:lnTo>
                      <a:lnTo>
                        <a:pt x="1827" y="1309"/>
                      </a:lnTo>
                      <a:lnTo>
                        <a:pt x="1829" y="1305"/>
                      </a:lnTo>
                      <a:lnTo>
                        <a:pt x="1827" y="1305"/>
                      </a:lnTo>
                      <a:lnTo>
                        <a:pt x="1818" y="1305"/>
                      </a:lnTo>
                      <a:lnTo>
                        <a:pt x="1816" y="1305"/>
                      </a:lnTo>
                      <a:lnTo>
                        <a:pt x="1815" y="1307"/>
                      </a:lnTo>
                      <a:lnTo>
                        <a:pt x="1815" y="1304"/>
                      </a:lnTo>
                      <a:lnTo>
                        <a:pt x="1815" y="1302"/>
                      </a:lnTo>
                      <a:lnTo>
                        <a:pt x="1813" y="1304"/>
                      </a:lnTo>
                      <a:lnTo>
                        <a:pt x="1811" y="1305"/>
                      </a:lnTo>
                      <a:lnTo>
                        <a:pt x="1802" y="1314"/>
                      </a:lnTo>
                      <a:lnTo>
                        <a:pt x="1801" y="1318"/>
                      </a:lnTo>
                      <a:lnTo>
                        <a:pt x="1801" y="1316"/>
                      </a:lnTo>
                      <a:lnTo>
                        <a:pt x="1801" y="1314"/>
                      </a:lnTo>
                      <a:lnTo>
                        <a:pt x="1799" y="1314"/>
                      </a:lnTo>
                      <a:lnTo>
                        <a:pt x="1799" y="1312"/>
                      </a:lnTo>
                      <a:lnTo>
                        <a:pt x="1801" y="1311"/>
                      </a:lnTo>
                      <a:lnTo>
                        <a:pt x="1802" y="1304"/>
                      </a:lnTo>
                      <a:lnTo>
                        <a:pt x="1816" y="1279"/>
                      </a:lnTo>
                      <a:lnTo>
                        <a:pt x="1822" y="1274"/>
                      </a:lnTo>
                      <a:lnTo>
                        <a:pt x="1823" y="1271"/>
                      </a:lnTo>
                      <a:lnTo>
                        <a:pt x="1822" y="1267"/>
                      </a:lnTo>
                      <a:lnTo>
                        <a:pt x="1820" y="1265"/>
                      </a:lnTo>
                      <a:lnTo>
                        <a:pt x="1818" y="1265"/>
                      </a:lnTo>
                      <a:lnTo>
                        <a:pt x="1816" y="1264"/>
                      </a:lnTo>
                      <a:lnTo>
                        <a:pt x="1818" y="1262"/>
                      </a:lnTo>
                      <a:lnTo>
                        <a:pt x="1827" y="1260"/>
                      </a:lnTo>
                      <a:lnTo>
                        <a:pt x="1829" y="1258"/>
                      </a:lnTo>
                      <a:lnTo>
                        <a:pt x="1829" y="1255"/>
                      </a:lnTo>
                      <a:lnTo>
                        <a:pt x="1827" y="1253"/>
                      </a:lnTo>
                      <a:lnTo>
                        <a:pt x="1825" y="1255"/>
                      </a:lnTo>
                      <a:lnTo>
                        <a:pt x="1825" y="1255"/>
                      </a:lnTo>
                      <a:lnTo>
                        <a:pt x="1825" y="1257"/>
                      </a:lnTo>
                      <a:lnTo>
                        <a:pt x="1825" y="1257"/>
                      </a:lnTo>
                      <a:lnTo>
                        <a:pt x="1825" y="1257"/>
                      </a:lnTo>
                      <a:lnTo>
                        <a:pt x="1825" y="1257"/>
                      </a:lnTo>
                      <a:lnTo>
                        <a:pt x="1823" y="1258"/>
                      </a:lnTo>
                      <a:lnTo>
                        <a:pt x="1822" y="1257"/>
                      </a:lnTo>
                      <a:lnTo>
                        <a:pt x="1822" y="1257"/>
                      </a:lnTo>
                      <a:lnTo>
                        <a:pt x="1820" y="1255"/>
                      </a:lnTo>
                      <a:lnTo>
                        <a:pt x="1820" y="1255"/>
                      </a:lnTo>
                      <a:lnTo>
                        <a:pt x="1815" y="1255"/>
                      </a:lnTo>
                      <a:lnTo>
                        <a:pt x="1809" y="1258"/>
                      </a:lnTo>
                      <a:lnTo>
                        <a:pt x="1806" y="1260"/>
                      </a:lnTo>
                      <a:lnTo>
                        <a:pt x="1802" y="1264"/>
                      </a:lnTo>
                      <a:lnTo>
                        <a:pt x="1801" y="1265"/>
                      </a:lnTo>
                      <a:lnTo>
                        <a:pt x="1799" y="1269"/>
                      </a:lnTo>
                      <a:lnTo>
                        <a:pt x="1799" y="1271"/>
                      </a:lnTo>
                      <a:lnTo>
                        <a:pt x="1797" y="1271"/>
                      </a:lnTo>
                      <a:lnTo>
                        <a:pt x="1795" y="1272"/>
                      </a:lnTo>
                      <a:lnTo>
                        <a:pt x="1795" y="1272"/>
                      </a:lnTo>
                      <a:lnTo>
                        <a:pt x="1795" y="1274"/>
                      </a:lnTo>
                      <a:lnTo>
                        <a:pt x="1795" y="1274"/>
                      </a:lnTo>
                      <a:lnTo>
                        <a:pt x="1795" y="1274"/>
                      </a:lnTo>
                      <a:lnTo>
                        <a:pt x="1792" y="1281"/>
                      </a:lnTo>
                      <a:lnTo>
                        <a:pt x="1790" y="1283"/>
                      </a:lnTo>
                      <a:lnTo>
                        <a:pt x="1792" y="1286"/>
                      </a:lnTo>
                      <a:lnTo>
                        <a:pt x="1788" y="1286"/>
                      </a:lnTo>
                      <a:lnTo>
                        <a:pt x="1785" y="1291"/>
                      </a:lnTo>
                      <a:lnTo>
                        <a:pt x="1783" y="1300"/>
                      </a:lnTo>
                      <a:lnTo>
                        <a:pt x="1778" y="1311"/>
                      </a:lnTo>
                      <a:lnTo>
                        <a:pt x="1778" y="1316"/>
                      </a:lnTo>
                      <a:lnTo>
                        <a:pt x="1780" y="1321"/>
                      </a:lnTo>
                      <a:lnTo>
                        <a:pt x="1776" y="1321"/>
                      </a:lnTo>
                      <a:lnTo>
                        <a:pt x="1774" y="1319"/>
                      </a:lnTo>
                      <a:lnTo>
                        <a:pt x="1773" y="1319"/>
                      </a:lnTo>
                      <a:lnTo>
                        <a:pt x="1771" y="1323"/>
                      </a:lnTo>
                      <a:lnTo>
                        <a:pt x="1771" y="1325"/>
                      </a:lnTo>
                      <a:lnTo>
                        <a:pt x="1771" y="1328"/>
                      </a:lnTo>
                      <a:lnTo>
                        <a:pt x="1773" y="1330"/>
                      </a:lnTo>
                      <a:lnTo>
                        <a:pt x="1774" y="1330"/>
                      </a:lnTo>
                      <a:lnTo>
                        <a:pt x="1774" y="1332"/>
                      </a:lnTo>
                      <a:lnTo>
                        <a:pt x="1773" y="1333"/>
                      </a:lnTo>
                      <a:lnTo>
                        <a:pt x="1773" y="1335"/>
                      </a:lnTo>
                      <a:lnTo>
                        <a:pt x="1774" y="1337"/>
                      </a:lnTo>
                      <a:lnTo>
                        <a:pt x="1773" y="1337"/>
                      </a:lnTo>
                      <a:lnTo>
                        <a:pt x="1769" y="1333"/>
                      </a:lnTo>
                      <a:lnTo>
                        <a:pt x="1767" y="1333"/>
                      </a:lnTo>
                      <a:lnTo>
                        <a:pt x="1766" y="1335"/>
                      </a:lnTo>
                      <a:lnTo>
                        <a:pt x="1764" y="1335"/>
                      </a:lnTo>
                      <a:lnTo>
                        <a:pt x="1760" y="1344"/>
                      </a:lnTo>
                      <a:lnTo>
                        <a:pt x="1760" y="1347"/>
                      </a:lnTo>
                      <a:lnTo>
                        <a:pt x="1759" y="1349"/>
                      </a:lnTo>
                      <a:lnTo>
                        <a:pt x="1757" y="1349"/>
                      </a:lnTo>
                      <a:lnTo>
                        <a:pt x="1755" y="1347"/>
                      </a:lnTo>
                      <a:lnTo>
                        <a:pt x="1755" y="1346"/>
                      </a:lnTo>
                      <a:lnTo>
                        <a:pt x="1757" y="1344"/>
                      </a:lnTo>
                      <a:lnTo>
                        <a:pt x="1755" y="1346"/>
                      </a:lnTo>
                      <a:lnTo>
                        <a:pt x="1753" y="1347"/>
                      </a:lnTo>
                      <a:lnTo>
                        <a:pt x="1752" y="1349"/>
                      </a:lnTo>
                      <a:lnTo>
                        <a:pt x="1750" y="1351"/>
                      </a:lnTo>
                      <a:lnTo>
                        <a:pt x="1764" y="1351"/>
                      </a:lnTo>
                      <a:lnTo>
                        <a:pt x="1767" y="1351"/>
                      </a:lnTo>
                      <a:lnTo>
                        <a:pt x="1750" y="1365"/>
                      </a:lnTo>
                      <a:lnTo>
                        <a:pt x="1747" y="1367"/>
                      </a:lnTo>
                      <a:lnTo>
                        <a:pt x="1747" y="1370"/>
                      </a:lnTo>
                      <a:lnTo>
                        <a:pt x="1747" y="1377"/>
                      </a:lnTo>
                      <a:lnTo>
                        <a:pt x="1753" y="1379"/>
                      </a:lnTo>
                      <a:lnTo>
                        <a:pt x="1762" y="1377"/>
                      </a:lnTo>
                      <a:lnTo>
                        <a:pt x="1767" y="1374"/>
                      </a:lnTo>
                      <a:lnTo>
                        <a:pt x="1773" y="1375"/>
                      </a:lnTo>
                      <a:lnTo>
                        <a:pt x="1799" y="1379"/>
                      </a:lnTo>
                      <a:lnTo>
                        <a:pt x="1806" y="1379"/>
                      </a:lnTo>
                      <a:lnTo>
                        <a:pt x="1809" y="1377"/>
                      </a:lnTo>
                      <a:lnTo>
                        <a:pt x="1811" y="1375"/>
                      </a:lnTo>
                      <a:lnTo>
                        <a:pt x="1813" y="1375"/>
                      </a:lnTo>
                      <a:lnTo>
                        <a:pt x="1815" y="1374"/>
                      </a:lnTo>
                      <a:lnTo>
                        <a:pt x="1815" y="1372"/>
                      </a:lnTo>
                      <a:lnTo>
                        <a:pt x="1816" y="1372"/>
                      </a:lnTo>
                      <a:lnTo>
                        <a:pt x="1818" y="1372"/>
                      </a:lnTo>
                      <a:lnTo>
                        <a:pt x="1820" y="1372"/>
                      </a:lnTo>
                      <a:lnTo>
                        <a:pt x="1820" y="1372"/>
                      </a:lnTo>
                      <a:lnTo>
                        <a:pt x="1822" y="1375"/>
                      </a:lnTo>
                      <a:lnTo>
                        <a:pt x="1820" y="1377"/>
                      </a:lnTo>
                      <a:lnTo>
                        <a:pt x="1818" y="1379"/>
                      </a:lnTo>
                      <a:lnTo>
                        <a:pt x="1815" y="1381"/>
                      </a:lnTo>
                      <a:lnTo>
                        <a:pt x="1822" y="1381"/>
                      </a:lnTo>
                      <a:lnTo>
                        <a:pt x="1827" y="1382"/>
                      </a:lnTo>
                      <a:lnTo>
                        <a:pt x="1829" y="1382"/>
                      </a:lnTo>
                      <a:lnTo>
                        <a:pt x="1830" y="1381"/>
                      </a:lnTo>
                      <a:lnTo>
                        <a:pt x="1830" y="1379"/>
                      </a:lnTo>
                      <a:lnTo>
                        <a:pt x="1830" y="1377"/>
                      </a:lnTo>
                      <a:lnTo>
                        <a:pt x="1832" y="1377"/>
                      </a:lnTo>
                      <a:lnTo>
                        <a:pt x="1834" y="1377"/>
                      </a:lnTo>
                      <a:lnTo>
                        <a:pt x="1837" y="1377"/>
                      </a:lnTo>
                      <a:lnTo>
                        <a:pt x="1839" y="1377"/>
                      </a:lnTo>
                      <a:lnTo>
                        <a:pt x="1841" y="1377"/>
                      </a:lnTo>
                      <a:lnTo>
                        <a:pt x="1844" y="1375"/>
                      </a:lnTo>
                      <a:lnTo>
                        <a:pt x="1843" y="1379"/>
                      </a:lnTo>
                      <a:lnTo>
                        <a:pt x="1841" y="1379"/>
                      </a:lnTo>
                      <a:lnTo>
                        <a:pt x="1837" y="1381"/>
                      </a:lnTo>
                      <a:lnTo>
                        <a:pt x="1836" y="1382"/>
                      </a:lnTo>
                      <a:lnTo>
                        <a:pt x="1834" y="1384"/>
                      </a:lnTo>
                      <a:lnTo>
                        <a:pt x="1830" y="1389"/>
                      </a:lnTo>
                      <a:lnTo>
                        <a:pt x="1829" y="1391"/>
                      </a:lnTo>
                      <a:lnTo>
                        <a:pt x="1822" y="1395"/>
                      </a:lnTo>
                      <a:lnTo>
                        <a:pt x="1818" y="1396"/>
                      </a:lnTo>
                      <a:lnTo>
                        <a:pt x="1822" y="1398"/>
                      </a:lnTo>
                      <a:lnTo>
                        <a:pt x="1825" y="1400"/>
                      </a:lnTo>
                      <a:lnTo>
                        <a:pt x="1830" y="1398"/>
                      </a:lnTo>
                      <a:lnTo>
                        <a:pt x="1834" y="1396"/>
                      </a:lnTo>
                      <a:lnTo>
                        <a:pt x="1836" y="1393"/>
                      </a:lnTo>
                      <a:lnTo>
                        <a:pt x="1839" y="1388"/>
                      </a:lnTo>
                      <a:lnTo>
                        <a:pt x="1841" y="1386"/>
                      </a:lnTo>
                      <a:lnTo>
                        <a:pt x="1843" y="1384"/>
                      </a:lnTo>
                      <a:lnTo>
                        <a:pt x="1844" y="1382"/>
                      </a:lnTo>
                      <a:lnTo>
                        <a:pt x="1846" y="1382"/>
                      </a:lnTo>
                      <a:lnTo>
                        <a:pt x="1848" y="1381"/>
                      </a:lnTo>
                      <a:lnTo>
                        <a:pt x="1850" y="1379"/>
                      </a:lnTo>
                      <a:lnTo>
                        <a:pt x="1848" y="1384"/>
                      </a:lnTo>
                      <a:lnTo>
                        <a:pt x="1851" y="1381"/>
                      </a:lnTo>
                      <a:lnTo>
                        <a:pt x="1855" y="1374"/>
                      </a:lnTo>
                      <a:lnTo>
                        <a:pt x="1858" y="1370"/>
                      </a:lnTo>
                      <a:lnTo>
                        <a:pt x="1862" y="1375"/>
                      </a:lnTo>
                      <a:lnTo>
                        <a:pt x="1862" y="1379"/>
                      </a:lnTo>
                      <a:lnTo>
                        <a:pt x="1864" y="1382"/>
                      </a:lnTo>
                      <a:lnTo>
                        <a:pt x="1862" y="1384"/>
                      </a:lnTo>
                      <a:lnTo>
                        <a:pt x="1862" y="1388"/>
                      </a:lnTo>
                      <a:lnTo>
                        <a:pt x="1858" y="1393"/>
                      </a:lnTo>
                      <a:lnTo>
                        <a:pt x="1857" y="1396"/>
                      </a:lnTo>
                      <a:lnTo>
                        <a:pt x="1857" y="1400"/>
                      </a:lnTo>
                      <a:lnTo>
                        <a:pt x="1862" y="1400"/>
                      </a:lnTo>
                      <a:lnTo>
                        <a:pt x="1869" y="1391"/>
                      </a:lnTo>
                      <a:lnTo>
                        <a:pt x="1869" y="1396"/>
                      </a:lnTo>
                      <a:lnTo>
                        <a:pt x="1869" y="1402"/>
                      </a:lnTo>
                      <a:lnTo>
                        <a:pt x="1869" y="1403"/>
                      </a:lnTo>
                      <a:lnTo>
                        <a:pt x="1870" y="1405"/>
                      </a:lnTo>
                      <a:lnTo>
                        <a:pt x="1872" y="1405"/>
                      </a:lnTo>
                      <a:lnTo>
                        <a:pt x="1874" y="1403"/>
                      </a:lnTo>
                      <a:lnTo>
                        <a:pt x="1876" y="1403"/>
                      </a:lnTo>
                      <a:lnTo>
                        <a:pt x="1876" y="1403"/>
                      </a:lnTo>
                      <a:lnTo>
                        <a:pt x="1877" y="1405"/>
                      </a:lnTo>
                      <a:lnTo>
                        <a:pt x="1877" y="1405"/>
                      </a:lnTo>
                      <a:lnTo>
                        <a:pt x="1879" y="1405"/>
                      </a:lnTo>
                      <a:lnTo>
                        <a:pt x="1881" y="1403"/>
                      </a:lnTo>
                      <a:lnTo>
                        <a:pt x="1883" y="1400"/>
                      </a:lnTo>
                      <a:lnTo>
                        <a:pt x="1884" y="1398"/>
                      </a:lnTo>
                      <a:lnTo>
                        <a:pt x="1884" y="1391"/>
                      </a:lnTo>
                      <a:lnTo>
                        <a:pt x="1884" y="1389"/>
                      </a:lnTo>
                      <a:lnTo>
                        <a:pt x="1888" y="1384"/>
                      </a:lnTo>
                      <a:lnTo>
                        <a:pt x="1890" y="1382"/>
                      </a:lnTo>
                      <a:lnTo>
                        <a:pt x="1890" y="1379"/>
                      </a:lnTo>
                      <a:lnTo>
                        <a:pt x="1886" y="1374"/>
                      </a:lnTo>
                      <a:close/>
                      <a:moveTo>
                        <a:pt x="253" y="1206"/>
                      </a:moveTo>
                      <a:lnTo>
                        <a:pt x="253" y="1204"/>
                      </a:lnTo>
                      <a:lnTo>
                        <a:pt x="252" y="1202"/>
                      </a:lnTo>
                      <a:lnTo>
                        <a:pt x="250" y="1204"/>
                      </a:lnTo>
                      <a:lnTo>
                        <a:pt x="250" y="1206"/>
                      </a:lnTo>
                      <a:lnTo>
                        <a:pt x="250" y="1208"/>
                      </a:lnTo>
                      <a:lnTo>
                        <a:pt x="252" y="1208"/>
                      </a:lnTo>
                      <a:lnTo>
                        <a:pt x="253" y="1206"/>
                      </a:lnTo>
                      <a:close/>
                      <a:moveTo>
                        <a:pt x="1434" y="1440"/>
                      </a:moveTo>
                      <a:lnTo>
                        <a:pt x="1436" y="1438"/>
                      </a:lnTo>
                      <a:lnTo>
                        <a:pt x="1439" y="1438"/>
                      </a:lnTo>
                      <a:lnTo>
                        <a:pt x="1441" y="1438"/>
                      </a:lnTo>
                      <a:lnTo>
                        <a:pt x="1443" y="1438"/>
                      </a:lnTo>
                      <a:lnTo>
                        <a:pt x="1443" y="1436"/>
                      </a:lnTo>
                      <a:lnTo>
                        <a:pt x="1444" y="1431"/>
                      </a:lnTo>
                      <a:lnTo>
                        <a:pt x="1443" y="1433"/>
                      </a:lnTo>
                      <a:lnTo>
                        <a:pt x="1441" y="1433"/>
                      </a:lnTo>
                      <a:lnTo>
                        <a:pt x="1441" y="1435"/>
                      </a:lnTo>
                      <a:lnTo>
                        <a:pt x="1439" y="1436"/>
                      </a:lnTo>
                      <a:lnTo>
                        <a:pt x="1437" y="1436"/>
                      </a:lnTo>
                      <a:lnTo>
                        <a:pt x="1436" y="1438"/>
                      </a:lnTo>
                      <a:lnTo>
                        <a:pt x="1434" y="1440"/>
                      </a:lnTo>
                      <a:close/>
                      <a:moveTo>
                        <a:pt x="1317" y="1243"/>
                      </a:moveTo>
                      <a:lnTo>
                        <a:pt x="1319" y="1241"/>
                      </a:lnTo>
                      <a:lnTo>
                        <a:pt x="1320" y="1239"/>
                      </a:lnTo>
                      <a:lnTo>
                        <a:pt x="1317" y="1239"/>
                      </a:lnTo>
                      <a:lnTo>
                        <a:pt x="1312" y="1241"/>
                      </a:lnTo>
                      <a:lnTo>
                        <a:pt x="1313" y="1243"/>
                      </a:lnTo>
                      <a:lnTo>
                        <a:pt x="1315" y="1243"/>
                      </a:lnTo>
                      <a:lnTo>
                        <a:pt x="1317" y="1243"/>
                      </a:lnTo>
                      <a:close/>
                      <a:moveTo>
                        <a:pt x="1703" y="1377"/>
                      </a:moveTo>
                      <a:lnTo>
                        <a:pt x="1699" y="1377"/>
                      </a:lnTo>
                      <a:lnTo>
                        <a:pt x="1696" y="1379"/>
                      </a:lnTo>
                      <a:lnTo>
                        <a:pt x="1694" y="1381"/>
                      </a:lnTo>
                      <a:lnTo>
                        <a:pt x="1692" y="1382"/>
                      </a:lnTo>
                      <a:lnTo>
                        <a:pt x="1691" y="1386"/>
                      </a:lnTo>
                      <a:lnTo>
                        <a:pt x="1691" y="1388"/>
                      </a:lnTo>
                      <a:lnTo>
                        <a:pt x="1691" y="1389"/>
                      </a:lnTo>
                      <a:lnTo>
                        <a:pt x="1694" y="1388"/>
                      </a:lnTo>
                      <a:lnTo>
                        <a:pt x="1692" y="1386"/>
                      </a:lnTo>
                      <a:lnTo>
                        <a:pt x="1694" y="1382"/>
                      </a:lnTo>
                      <a:lnTo>
                        <a:pt x="1703" y="1377"/>
                      </a:lnTo>
                      <a:close/>
                      <a:moveTo>
                        <a:pt x="1025" y="937"/>
                      </a:moveTo>
                      <a:lnTo>
                        <a:pt x="1024" y="937"/>
                      </a:lnTo>
                      <a:lnTo>
                        <a:pt x="1022" y="937"/>
                      </a:lnTo>
                      <a:lnTo>
                        <a:pt x="1024" y="939"/>
                      </a:lnTo>
                      <a:lnTo>
                        <a:pt x="1025" y="939"/>
                      </a:lnTo>
                      <a:lnTo>
                        <a:pt x="1025" y="939"/>
                      </a:lnTo>
                      <a:lnTo>
                        <a:pt x="1027" y="937"/>
                      </a:lnTo>
                      <a:lnTo>
                        <a:pt x="1025" y="937"/>
                      </a:lnTo>
                      <a:lnTo>
                        <a:pt x="1025" y="937"/>
                      </a:lnTo>
                      <a:close/>
                      <a:moveTo>
                        <a:pt x="1685" y="1414"/>
                      </a:moveTo>
                      <a:lnTo>
                        <a:pt x="1689" y="1412"/>
                      </a:lnTo>
                      <a:lnTo>
                        <a:pt x="1684" y="1409"/>
                      </a:lnTo>
                      <a:lnTo>
                        <a:pt x="1678" y="1410"/>
                      </a:lnTo>
                      <a:lnTo>
                        <a:pt x="1671" y="1410"/>
                      </a:lnTo>
                      <a:lnTo>
                        <a:pt x="1666" y="1412"/>
                      </a:lnTo>
                      <a:lnTo>
                        <a:pt x="1664" y="1410"/>
                      </a:lnTo>
                      <a:lnTo>
                        <a:pt x="1659" y="1409"/>
                      </a:lnTo>
                      <a:lnTo>
                        <a:pt x="1654" y="1407"/>
                      </a:lnTo>
                      <a:lnTo>
                        <a:pt x="1654" y="1407"/>
                      </a:lnTo>
                      <a:lnTo>
                        <a:pt x="1652" y="1409"/>
                      </a:lnTo>
                      <a:lnTo>
                        <a:pt x="1652" y="1410"/>
                      </a:lnTo>
                      <a:lnTo>
                        <a:pt x="1652" y="1410"/>
                      </a:lnTo>
                      <a:lnTo>
                        <a:pt x="1650" y="1410"/>
                      </a:lnTo>
                      <a:lnTo>
                        <a:pt x="1650" y="1410"/>
                      </a:lnTo>
                      <a:lnTo>
                        <a:pt x="1649" y="1410"/>
                      </a:lnTo>
                      <a:lnTo>
                        <a:pt x="1649" y="1409"/>
                      </a:lnTo>
                      <a:lnTo>
                        <a:pt x="1649" y="1407"/>
                      </a:lnTo>
                      <a:lnTo>
                        <a:pt x="1649" y="1407"/>
                      </a:lnTo>
                      <a:lnTo>
                        <a:pt x="1647" y="1405"/>
                      </a:lnTo>
                      <a:lnTo>
                        <a:pt x="1647" y="1403"/>
                      </a:lnTo>
                      <a:lnTo>
                        <a:pt x="1645" y="1402"/>
                      </a:lnTo>
                      <a:lnTo>
                        <a:pt x="1645" y="1402"/>
                      </a:lnTo>
                      <a:lnTo>
                        <a:pt x="1645" y="1402"/>
                      </a:lnTo>
                      <a:lnTo>
                        <a:pt x="1647" y="1395"/>
                      </a:lnTo>
                      <a:lnTo>
                        <a:pt x="1647" y="1393"/>
                      </a:lnTo>
                      <a:lnTo>
                        <a:pt x="1643" y="1396"/>
                      </a:lnTo>
                      <a:lnTo>
                        <a:pt x="1638" y="1402"/>
                      </a:lnTo>
                      <a:lnTo>
                        <a:pt x="1638" y="1403"/>
                      </a:lnTo>
                      <a:lnTo>
                        <a:pt x="1638" y="1403"/>
                      </a:lnTo>
                      <a:lnTo>
                        <a:pt x="1638" y="1405"/>
                      </a:lnTo>
                      <a:lnTo>
                        <a:pt x="1638" y="1405"/>
                      </a:lnTo>
                      <a:lnTo>
                        <a:pt x="1640" y="1405"/>
                      </a:lnTo>
                      <a:lnTo>
                        <a:pt x="1640" y="1405"/>
                      </a:lnTo>
                      <a:lnTo>
                        <a:pt x="1642" y="1405"/>
                      </a:lnTo>
                      <a:lnTo>
                        <a:pt x="1643" y="1407"/>
                      </a:lnTo>
                      <a:lnTo>
                        <a:pt x="1643" y="1407"/>
                      </a:lnTo>
                      <a:lnTo>
                        <a:pt x="1643" y="1409"/>
                      </a:lnTo>
                      <a:lnTo>
                        <a:pt x="1643" y="1410"/>
                      </a:lnTo>
                      <a:lnTo>
                        <a:pt x="1643" y="1412"/>
                      </a:lnTo>
                      <a:lnTo>
                        <a:pt x="1645" y="1412"/>
                      </a:lnTo>
                      <a:lnTo>
                        <a:pt x="1650" y="1412"/>
                      </a:lnTo>
                      <a:lnTo>
                        <a:pt x="1652" y="1412"/>
                      </a:lnTo>
                      <a:lnTo>
                        <a:pt x="1650" y="1414"/>
                      </a:lnTo>
                      <a:lnTo>
                        <a:pt x="1654" y="1416"/>
                      </a:lnTo>
                      <a:lnTo>
                        <a:pt x="1657" y="1417"/>
                      </a:lnTo>
                      <a:lnTo>
                        <a:pt x="1661" y="1419"/>
                      </a:lnTo>
                      <a:lnTo>
                        <a:pt x="1664" y="1417"/>
                      </a:lnTo>
                      <a:lnTo>
                        <a:pt x="1663" y="1417"/>
                      </a:lnTo>
                      <a:lnTo>
                        <a:pt x="1668" y="1414"/>
                      </a:lnTo>
                      <a:lnTo>
                        <a:pt x="1666" y="1416"/>
                      </a:lnTo>
                      <a:lnTo>
                        <a:pt x="1668" y="1417"/>
                      </a:lnTo>
                      <a:lnTo>
                        <a:pt x="1668" y="1419"/>
                      </a:lnTo>
                      <a:lnTo>
                        <a:pt x="1670" y="1419"/>
                      </a:lnTo>
                      <a:lnTo>
                        <a:pt x="1668" y="1421"/>
                      </a:lnTo>
                      <a:lnTo>
                        <a:pt x="1668" y="1421"/>
                      </a:lnTo>
                      <a:lnTo>
                        <a:pt x="1670" y="1423"/>
                      </a:lnTo>
                      <a:lnTo>
                        <a:pt x="1673" y="1423"/>
                      </a:lnTo>
                      <a:lnTo>
                        <a:pt x="1675" y="1424"/>
                      </a:lnTo>
                      <a:lnTo>
                        <a:pt x="1678" y="1423"/>
                      </a:lnTo>
                      <a:lnTo>
                        <a:pt x="1677" y="1419"/>
                      </a:lnTo>
                      <a:lnTo>
                        <a:pt x="1680" y="1416"/>
                      </a:lnTo>
                      <a:lnTo>
                        <a:pt x="1685" y="1414"/>
                      </a:lnTo>
                      <a:close/>
                      <a:moveTo>
                        <a:pt x="1076" y="659"/>
                      </a:moveTo>
                      <a:lnTo>
                        <a:pt x="1074" y="659"/>
                      </a:lnTo>
                      <a:lnTo>
                        <a:pt x="1074" y="661"/>
                      </a:lnTo>
                      <a:lnTo>
                        <a:pt x="1076" y="662"/>
                      </a:lnTo>
                      <a:lnTo>
                        <a:pt x="1078" y="662"/>
                      </a:lnTo>
                      <a:lnTo>
                        <a:pt x="1079" y="662"/>
                      </a:lnTo>
                      <a:lnTo>
                        <a:pt x="1079" y="661"/>
                      </a:lnTo>
                      <a:lnTo>
                        <a:pt x="1078" y="659"/>
                      </a:lnTo>
                      <a:lnTo>
                        <a:pt x="1076" y="659"/>
                      </a:lnTo>
                      <a:close/>
                      <a:moveTo>
                        <a:pt x="1441" y="1433"/>
                      </a:moveTo>
                      <a:lnTo>
                        <a:pt x="1443" y="1431"/>
                      </a:lnTo>
                      <a:lnTo>
                        <a:pt x="1441" y="1433"/>
                      </a:lnTo>
                      <a:lnTo>
                        <a:pt x="1439" y="1433"/>
                      </a:lnTo>
                      <a:lnTo>
                        <a:pt x="1437" y="1435"/>
                      </a:lnTo>
                      <a:lnTo>
                        <a:pt x="1436" y="1435"/>
                      </a:lnTo>
                      <a:lnTo>
                        <a:pt x="1437" y="1435"/>
                      </a:lnTo>
                      <a:lnTo>
                        <a:pt x="1439" y="1435"/>
                      </a:lnTo>
                      <a:lnTo>
                        <a:pt x="1441" y="1433"/>
                      </a:lnTo>
                      <a:close/>
                      <a:moveTo>
                        <a:pt x="1696" y="1332"/>
                      </a:moveTo>
                      <a:lnTo>
                        <a:pt x="1691" y="1326"/>
                      </a:lnTo>
                      <a:lnTo>
                        <a:pt x="1684" y="1321"/>
                      </a:lnTo>
                      <a:lnTo>
                        <a:pt x="1670" y="1314"/>
                      </a:lnTo>
                      <a:lnTo>
                        <a:pt x="1664" y="1312"/>
                      </a:lnTo>
                      <a:lnTo>
                        <a:pt x="1643" y="1307"/>
                      </a:lnTo>
                      <a:lnTo>
                        <a:pt x="1640" y="1307"/>
                      </a:lnTo>
                      <a:lnTo>
                        <a:pt x="1636" y="1309"/>
                      </a:lnTo>
                      <a:lnTo>
                        <a:pt x="1638" y="1312"/>
                      </a:lnTo>
                      <a:lnTo>
                        <a:pt x="1643" y="1314"/>
                      </a:lnTo>
                      <a:lnTo>
                        <a:pt x="1647" y="1316"/>
                      </a:lnTo>
                      <a:lnTo>
                        <a:pt x="1650" y="1318"/>
                      </a:lnTo>
                      <a:lnTo>
                        <a:pt x="1652" y="1319"/>
                      </a:lnTo>
                      <a:lnTo>
                        <a:pt x="1654" y="1323"/>
                      </a:lnTo>
                      <a:lnTo>
                        <a:pt x="1656" y="1325"/>
                      </a:lnTo>
                      <a:lnTo>
                        <a:pt x="1657" y="1325"/>
                      </a:lnTo>
                      <a:lnTo>
                        <a:pt x="1671" y="1332"/>
                      </a:lnTo>
                      <a:lnTo>
                        <a:pt x="1680" y="1333"/>
                      </a:lnTo>
                      <a:lnTo>
                        <a:pt x="1689" y="1335"/>
                      </a:lnTo>
                      <a:lnTo>
                        <a:pt x="1696" y="1332"/>
                      </a:lnTo>
                      <a:close/>
                      <a:moveTo>
                        <a:pt x="1495" y="1398"/>
                      </a:moveTo>
                      <a:lnTo>
                        <a:pt x="1495" y="1400"/>
                      </a:lnTo>
                      <a:lnTo>
                        <a:pt x="1497" y="1398"/>
                      </a:lnTo>
                      <a:lnTo>
                        <a:pt x="1499" y="1398"/>
                      </a:lnTo>
                      <a:lnTo>
                        <a:pt x="1500" y="1396"/>
                      </a:lnTo>
                      <a:lnTo>
                        <a:pt x="1500" y="1395"/>
                      </a:lnTo>
                      <a:lnTo>
                        <a:pt x="1499" y="1396"/>
                      </a:lnTo>
                      <a:lnTo>
                        <a:pt x="1497" y="1396"/>
                      </a:lnTo>
                      <a:lnTo>
                        <a:pt x="1495" y="1398"/>
                      </a:lnTo>
                      <a:close/>
                      <a:moveTo>
                        <a:pt x="376" y="1346"/>
                      </a:moveTo>
                      <a:lnTo>
                        <a:pt x="374" y="1347"/>
                      </a:lnTo>
                      <a:lnTo>
                        <a:pt x="374" y="1349"/>
                      </a:lnTo>
                      <a:lnTo>
                        <a:pt x="369" y="1337"/>
                      </a:lnTo>
                      <a:lnTo>
                        <a:pt x="367" y="1333"/>
                      </a:lnTo>
                      <a:lnTo>
                        <a:pt x="363" y="1330"/>
                      </a:lnTo>
                      <a:lnTo>
                        <a:pt x="360" y="1326"/>
                      </a:lnTo>
                      <a:lnTo>
                        <a:pt x="351" y="1323"/>
                      </a:lnTo>
                      <a:lnTo>
                        <a:pt x="348" y="1321"/>
                      </a:lnTo>
                      <a:lnTo>
                        <a:pt x="346" y="1319"/>
                      </a:lnTo>
                      <a:lnTo>
                        <a:pt x="343" y="1312"/>
                      </a:lnTo>
                      <a:lnTo>
                        <a:pt x="339" y="1305"/>
                      </a:lnTo>
                      <a:lnTo>
                        <a:pt x="334" y="1297"/>
                      </a:lnTo>
                      <a:lnTo>
                        <a:pt x="330" y="1295"/>
                      </a:lnTo>
                      <a:lnTo>
                        <a:pt x="325" y="1293"/>
                      </a:lnTo>
                      <a:lnTo>
                        <a:pt x="302" y="1288"/>
                      </a:lnTo>
                      <a:lnTo>
                        <a:pt x="299" y="1286"/>
                      </a:lnTo>
                      <a:lnTo>
                        <a:pt x="285" y="1279"/>
                      </a:lnTo>
                      <a:lnTo>
                        <a:pt x="281" y="1277"/>
                      </a:lnTo>
                      <a:lnTo>
                        <a:pt x="276" y="1277"/>
                      </a:lnTo>
                      <a:lnTo>
                        <a:pt x="273" y="1279"/>
                      </a:lnTo>
                      <a:lnTo>
                        <a:pt x="271" y="1281"/>
                      </a:lnTo>
                      <a:lnTo>
                        <a:pt x="273" y="1286"/>
                      </a:lnTo>
                      <a:lnTo>
                        <a:pt x="276" y="1288"/>
                      </a:lnTo>
                      <a:lnTo>
                        <a:pt x="280" y="1290"/>
                      </a:lnTo>
                      <a:lnTo>
                        <a:pt x="283" y="1288"/>
                      </a:lnTo>
                      <a:lnTo>
                        <a:pt x="283" y="1286"/>
                      </a:lnTo>
                      <a:lnTo>
                        <a:pt x="287" y="1286"/>
                      </a:lnTo>
                      <a:lnTo>
                        <a:pt x="288" y="1286"/>
                      </a:lnTo>
                      <a:lnTo>
                        <a:pt x="290" y="1286"/>
                      </a:lnTo>
                      <a:lnTo>
                        <a:pt x="288" y="1288"/>
                      </a:lnTo>
                      <a:lnTo>
                        <a:pt x="288" y="1290"/>
                      </a:lnTo>
                      <a:lnTo>
                        <a:pt x="288" y="1291"/>
                      </a:lnTo>
                      <a:lnTo>
                        <a:pt x="288" y="1291"/>
                      </a:lnTo>
                      <a:lnTo>
                        <a:pt x="287" y="1291"/>
                      </a:lnTo>
                      <a:lnTo>
                        <a:pt x="285" y="1290"/>
                      </a:lnTo>
                      <a:lnTo>
                        <a:pt x="283" y="1290"/>
                      </a:lnTo>
                      <a:lnTo>
                        <a:pt x="280" y="1291"/>
                      </a:lnTo>
                      <a:lnTo>
                        <a:pt x="280" y="1293"/>
                      </a:lnTo>
                      <a:lnTo>
                        <a:pt x="280" y="1293"/>
                      </a:lnTo>
                      <a:lnTo>
                        <a:pt x="280" y="1295"/>
                      </a:lnTo>
                      <a:lnTo>
                        <a:pt x="280" y="1295"/>
                      </a:lnTo>
                      <a:lnTo>
                        <a:pt x="281" y="1300"/>
                      </a:lnTo>
                      <a:lnTo>
                        <a:pt x="281" y="1300"/>
                      </a:lnTo>
                      <a:lnTo>
                        <a:pt x="283" y="1302"/>
                      </a:lnTo>
                      <a:lnTo>
                        <a:pt x="285" y="1300"/>
                      </a:lnTo>
                      <a:lnTo>
                        <a:pt x="287" y="1300"/>
                      </a:lnTo>
                      <a:lnTo>
                        <a:pt x="290" y="1300"/>
                      </a:lnTo>
                      <a:lnTo>
                        <a:pt x="290" y="1302"/>
                      </a:lnTo>
                      <a:lnTo>
                        <a:pt x="292" y="1302"/>
                      </a:lnTo>
                      <a:lnTo>
                        <a:pt x="294" y="1304"/>
                      </a:lnTo>
                      <a:lnTo>
                        <a:pt x="294" y="1300"/>
                      </a:lnTo>
                      <a:lnTo>
                        <a:pt x="295" y="1302"/>
                      </a:lnTo>
                      <a:lnTo>
                        <a:pt x="295" y="1304"/>
                      </a:lnTo>
                      <a:lnTo>
                        <a:pt x="295" y="1305"/>
                      </a:lnTo>
                      <a:lnTo>
                        <a:pt x="295" y="1307"/>
                      </a:lnTo>
                      <a:lnTo>
                        <a:pt x="297" y="1309"/>
                      </a:lnTo>
                      <a:lnTo>
                        <a:pt x="299" y="1309"/>
                      </a:lnTo>
                      <a:lnTo>
                        <a:pt x="299" y="1307"/>
                      </a:lnTo>
                      <a:lnTo>
                        <a:pt x="301" y="1307"/>
                      </a:lnTo>
                      <a:lnTo>
                        <a:pt x="306" y="1309"/>
                      </a:lnTo>
                      <a:lnTo>
                        <a:pt x="309" y="1312"/>
                      </a:lnTo>
                      <a:lnTo>
                        <a:pt x="313" y="1314"/>
                      </a:lnTo>
                      <a:lnTo>
                        <a:pt x="318" y="1316"/>
                      </a:lnTo>
                      <a:lnTo>
                        <a:pt x="316" y="1316"/>
                      </a:lnTo>
                      <a:lnTo>
                        <a:pt x="311" y="1318"/>
                      </a:lnTo>
                      <a:lnTo>
                        <a:pt x="309" y="1318"/>
                      </a:lnTo>
                      <a:lnTo>
                        <a:pt x="309" y="1319"/>
                      </a:lnTo>
                      <a:lnTo>
                        <a:pt x="309" y="1321"/>
                      </a:lnTo>
                      <a:lnTo>
                        <a:pt x="309" y="1323"/>
                      </a:lnTo>
                      <a:lnTo>
                        <a:pt x="309" y="1323"/>
                      </a:lnTo>
                      <a:lnTo>
                        <a:pt x="309" y="1325"/>
                      </a:lnTo>
                      <a:lnTo>
                        <a:pt x="311" y="1323"/>
                      </a:lnTo>
                      <a:lnTo>
                        <a:pt x="311" y="1323"/>
                      </a:lnTo>
                      <a:lnTo>
                        <a:pt x="311" y="1323"/>
                      </a:lnTo>
                      <a:lnTo>
                        <a:pt x="315" y="1325"/>
                      </a:lnTo>
                      <a:lnTo>
                        <a:pt x="315" y="1325"/>
                      </a:lnTo>
                      <a:lnTo>
                        <a:pt x="315" y="1323"/>
                      </a:lnTo>
                      <a:lnTo>
                        <a:pt x="316" y="1323"/>
                      </a:lnTo>
                      <a:lnTo>
                        <a:pt x="316" y="1323"/>
                      </a:lnTo>
                      <a:lnTo>
                        <a:pt x="318" y="1323"/>
                      </a:lnTo>
                      <a:lnTo>
                        <a:pt x="320" y="1325"/>
                      </a:lnTo>
                      <a:lnTo>
                        <a:pt x="322" y="1325"/>
                      </a:lnTo>
                      <a:lnTo>
                        <a:pt x="322" y="1325"/>
                      </a:lnTo>
                      <a:lnTo>
                        <a:pt x="322" y="1326"/>
                      </a:lnTo>
                      <a:lnTo>
                        <a:pt x="322" y="1328"/>
                      </a:lnTo>
                      <a:lnTo>
                        <a:pt x="323" y="1328"/>
                      </a:lnTo>
                      <a:lnTo>
                        <a:pt x="323" y="1328"/>
                      </a:lnTo>
                      <a:lnTo>
                        <a:pt x="327" y="1330"/>
                      </a:lnTo>
                      <a:lnTo>
                        <a:pt x="327" y="1330"/>
                      </a:lnTo>
                      <a:lnTo>
                        <a:pt x="329" y="1330"/>
                      </a:lnTo>
                      <a:lnTo>
                        <a:pt x="327" y="1332"/>
                      </a:lnTo>
                      <a:lnTo>
                        <a:pt x="327" y="1332"/>
                      </a:lnTo>
                      <a:lnTo>
                        <a:pt x="325" y="1333"/>
                      </a:lnTo>
                      <a:lnTo>
                        <a:pt x="325" y="1333"/>
                      </a:lnTo>
                      <a:lnTo>
                        <a:pt x="327" y="1335"/>
                      </a:lnTo>
                      <a:lnTo>
                        <a:pt x="330" y="1337"/>
                      </a:lnTo>
                      <a:lnTo>
                        <a:pt x="332" y="1339"/>
                      </a:lnTo>
                      <a:lnTo>
                        <a:pt x="332" y="1339"/>
                      </a:lnTo>
                      <a:lnTo>
                        <a:pt x="337" y="1337"/>
                      </a:lnTo>
                      <a:lnTo>
                        <a:pt x="343" y="1335"/>
                      </a:lnTo>
                      <a:lnTo>
                        <a:pt x="344" y="1333"/>
                      </a:lnTo>
                      <a:lnTo>
                        <a:pt x="346" y="1330"/>
                      </a:lnTo>
                      <a:lnTo>
                        <a:pt x="346" y="1333"/>
                      </a:lnTo>
                      <a:lnTo>
                        <a:pt x="343" y="1337"/>
                      </a:lnTo>
                      <a:lnTo>
                        <a:pt x="341" y="1340"/>
                      </a:lnTo>
                      <a:lnTo>
                        <a:pt x="339" y="1344"/>
                      </a:lnTo>
                      <a:lnTo>
                        <a:pt x="343" y="1346"/>
                      </a:lnTo>
                      <a:lnTo>
                        <a:pt x="348" y="1349"/>
                      </a:lnTo>
                      <a:lnTo>
                        <a:pt x="365" y="1354"/>
                      </a:lnTo>
                      <a:lnTo>
                        <a:pt x="370" y="1356"/>
                      </a:lnTo>
                      <a:lnTo>
                        <a:pt x="374" y="1356"/>
                      </a:lnTo>
                      <a:lnTo>
                        <a:pt x="377" y="1353"/>
                      </a:lnTo>
                      <a:lnTo>
                        <a:pt x="379" y="1353"/>
                      </a:lnTo>
                      <a:lnTo>
                        <a:pt x="379" y="1351"/>
                      </a:lnTo>
                      <a:lnTo>
                        <a:pt x="377" y="1349"/>
                      </a:lnTo>
                      <a:lnTo>
                        <a:pt x="376" y="1346"/>
                      </a:lnTo>
                      <a:close/>
                      <a:moveTo>
                        <a:pt x="914" y="264"/>
                      </a:moveTo>
                      <a:lnTo>
                        <a:pt x="914" y="266"/>
                      </a:lnTo>
                      <a:lnTo>
                        <a:pt x="914" y="268"/>
                      </a:lnTo>
                      <a:lnTo>
                        <a:pt x="915" y="268"/>
                      </a:lnTo>
                      <a:lnTo>
                        <a:pt x="915" y="268"/>
                      </a:lnTo>
                      <a:lnTo>
                        <a:pt x="917" y="268"/>
                      </a:lnTo>
                      <a:lnTo>
                        <a:pt x="917" y="269"/>
                      </a:lnTo>
                      <a:lnTo>
                        <a:pt x="919" y="271"/>
                      </a:lnTo>
                      <a:lnTo>
                        <a:pt x="919" y="273"/>
                      </a:lnTo>
                      <a:lnTo>
                        <a:pt x="924" y="275"/>
                      </a:lnTo>
                      <a:lnTo>
                        <a:pt x="929" y="278"/>
                      </a:lnTo>
                      <a:lnTo>
                        <a:pt x="941" y="280"/>
                      </a:lnTo>
                      <a:lnTo>
                        <a:pt x="940" y="282"/>
                      </a:lnTo>
                      <a:lnTo>
                        <a:pt x="934" y="282"/>
                      </a:lnTo>
                      <a:lnTo>
                        <a:pt x="928" y="282"/>
                      </a:lnTo>
                      <a:lnTo>
                        <a:pt x="928" y="283"/>
                      </a:lnTo>
                      <a:lnTo>
                        <a:pt x="929" y="285"/>
                      </a:lnTo>
                      <a:lnTo>
                        <a:pt x="931" y="287"/>
                      </a:lnTo>
                      <a:lnTo>
                        <a:pt x="933" y="289"/>
                      </a:lnTo>
                      <a:lnTo>
                        <a:pt x="934" y="289"/>
                      </a:lnTo>
                      <a:lnTo>
                        <a:pt x="938" y="289"/>
                      </a:lnTo>
                      <a:lnTo>
                        <a:pt x="940" y="290"/>
                      </a:lnTo>
                      <a:lnTo>
                        <a:pt x="940" y="290"/>
                      </a:lnTo>
                      <a:lnTo>
                        <a:pt x="940" y="292"/>
                      </a:lnTo>
                      <a:lnTo>
                        <a:pt x="940" y="292"/>
                      </a:lnTo>
                      <a:lnTo>
                        <a:pt x="940" y="294"/>
                      </a:lnTo>
                      <a:lnTo>
                        <a:pt x="941" y="296"/>
                      </a:lnTo>
                      <a:lnTo>
                        <a:pt x="941" y="297"/>
                      </a:lnTo>
                      <a:lnTo>
                        <a:pt x="945" y="296"/>
                      </a:lnTo>
                      <a:lnTo>
                        <a:pt x="947" y="296"/>
                      </a:lnTo>
                      <a:lnTo>
                        <a:pt x="952" y="294"/>
                      </a:lnTo>
                      <a:lnTo>
                        <a:pt x="980" y="287"/>
                      </a:lnTo>
                      <a:lnTo>
                        <a:pt x="982" y="287"/>
                      </a:lnTo>
                      <a:lnTo>
                        <a:pt x="985" y="285"/>
                      </a:lnTo>
                      <a:lnTo>
                        <a:pt x="985" y="282"/>
                      </a:lnTo>
                      <a:lnTo>
                        <a:pt x="983" y="280"/>
                      </a:lnTo>
                      <a:lnTo>
                        <a:pt x="982" y="278"/>
                      </a:lnTo>
                      <a:lnTo>
                        <a:pt x="976" y="276"/>
                      </a:lnTo>
                      <a:lnTo>
                        <a:pt x="980" y="275"/>
                      </a:lnTo>
                      <a:lnTo>
                        <a:pt x="983" y="273"/>
                      </a:lnTo>
                      <a:lnTo>
                        <a:pt x="985" y="271"/>
                      </a:lnTo>
                      <a:lnTo>
                        <a:pt x="985" y="269"/>
                      </a:lnTo>
                      <a:lnTo>
                        <a:pt x="982" y="266"/>
                      </a:lnTo>
                      <a:lnTo>
                        <a:pt x="978" y="266"/>
                      </a:lnTo>
                      <a:lnTo>
                        <a:pt x="973" y="264"/>
                      </a:lnTo>
                      <a:lnTo>
                        <a:pt x="969" y="264"/>
                      </a:lnTo>
                      <a:lnTo>
                        <a:pt x="962" y="264"/>
                      </a:lnTo>
                      <a:lnTo>
                        <a:pt x="961" y="264"/>
                      </a:lnTo>
                      <a:lnTo>
                        <a:pt x="959" y="262"/>
                      </a:lnTo>
                      <a:lnTo>
                        <a:pt x="959" y="262"/>
                      </a:lnTo>
                      <a:lnTo>
                        <a:pt x="957" y="261"/>
                      </a:lnTo>
                      <a:lnTo>
                        <a:pt x="957" y="261"/>
                      </a:lnTo>
                      <a:lnTo>
                        <a:pt x="954" y="257"/>
                      </a:lnTo>
                      <a:lnTo>
                        <a:pt x="950" y="255"/>
                      </a:lnTo>
                      <a:lnTo>
                        <a:pt x="947" y="255"/>
                      </a:lnTo>
                      <a:lnTo>
                        <a:pt x="941" y="254"/>
                      </a:lnTo>
                      <a:lnTo>
                        <a:pt x="936" y="252"/>
                      </a:lnTo>
                      <a:lnTo>
                        <a:pt x="931" y="250"/>
                      </a:lnTo>
                      <a:lnTo>
                        <a:pt x="926" y="250"/>
                      </a:lnTo>
                      <a:lnTo>
                        <a:pt x="919" y="250"/>
                      </a:lnTo>
                      <a:lnTo>
                        <a:pt x="914" y="250"/>
                      </a:lnTo>
                      <a:lnTo>
                        <a:pt x="914" y="254"/>
                      </a:lnTo>
                      <a:lnTo>
                        <a:pt x="919" y="262"/>
                      </a:lnTo>
                      <a:lnTo>
                        <a:pt x="914" y="262"/>
                      </a:lnTo>
                      <a:lnTo>
                        <a:pt x="914" y="264"/>
                      </a:lnTo>
                      <a:close/>
                      <a:moveTo>
                        <a:pt x="989" y="185"/>
                      </a:moveTo>
                      <a:lnTo>
                        <a:pt x="985" y="185"/>
                      </a:lnTo>
                      <a:lnTo>
                        <a:pt x="969" y="184"/>
                      </a:lnTo>
                      <a:lnTo>
                        <a:pt x="945" y="180"/>
                      </a:lnTo>
                      <a:lnTo>
                        <a:pt x="950" y="191"/>
                      </a:lnTo>
                      <a:lnTo>
                        <a:pt x="952" y="194"/>
                      </a:lnTo>
                      <a:lnTo>
                        <a:pt x="954" y="198"/>
                      </a:lnTo>
                      <a:lnTo>
                        <a:pt x="957" y="201"/>
                      </a:lnTo>
                      <a:lnTo>
                        <a:pt x="961" y="203"/>
                      </a:lnTo>
                      <a:lnTo>
                        <a:pt x="964" y="205"/>
                      </a:lnTo>
                      <a:lnTo>
                        <a:pt x="973" y="206"/>
                      </a:lnTo>
                      <a:lnTo>
                        <a:pt x="980" y="206"/>
                      </a:lnTo>
                      <a:lnTo>
                        <a:pt x="997" y="203"/>
                      </a:lnTo>
                      <a:lnTo>
                        <a:pt x="994" y="206"/>
                      </a:lnTo>
                      <a:lnTo>
                        <a:pt x="989" y="208"/>
                      </a:lnTo>
                      <a:lnTo>
                        <a:pt x="978" y="210"/>
                      </a:lnTo>
                      <a:lnTo>
                        <a:pt x="973" y="210"/>
                      </a:lnTo>
                      <a:lnTo>
                        <a:pt x="971" y="212"/>
                      </a:lnTo>
                      <a:lnTo>
                        <a:pt x="969" y="212"/>
                      </a:lnTo>
                      <a:lnTo>
                        <a:pt x="968" y="213"/>
                      </a:lnTo>
                      <a:lnTo>
                        <a:pt x="968" y="217"/>
                      </a:lnTo>
                      <a:lnTo>
                        <a:pt x="969" y="219"/>
                      </a:lnTo>
                      <a:lnTo>
                        <a:pt x="971" y="220"/>
                      </a:lnTo>
                      <a:lnTo>
                        <a:pt x="973" y="220"/>
                      </a:lnTo>
                      <a:lnTo>
                        <a:pt x="975" y="220"/>
                      </a:lnTo>
                      <a:lnTo>
                        <a:pt x="976" y="222"/>
                      </a:lnTo>
                      <a:lnTo>
                        <a:pt x="978" y="222"/>
                      </a:lnTo>
                      <a:lnTo>
                        <a:pt x="980" y="224"/>
                      </a:lnTo>
                      <a:lnTo>
                        <a:pt x="980" y="224"/>
                      </a:lnTo>
                      <a:lnTo>
                        <a:pt x="982" y="224"/>
                      </a:lnTo>
                      <a:lnTo>
                        <a:pt x="983" y="224"/>
                      </a:lnTo>
                      <a:lnTo>
                        <a:pt x="992" y="220"/>
                      </a:lnTo>
                      <a:lnTo>
                        <a:pt x="997" y="219"/>
                      </a:lnTo>
                      <a:lnTo>
                        <a:pt x="1003" y="219"/>
                      </a:lnTo>
                      <a:lnTo>
                        <a:pt x="1006" y="220"/>
                      </a:lnTo>
                      <a:lnTo>
                        <a:pt x="1003" y="222"/>
                      </a:lnTo>
                      <a:lnTo>
                        <a:pt x="1004" y="224"/>
                      </a:lnTo>
                      <a:lnTo>
                        <a:pt x="1008" y="224"/>
                      </a:lnTo>
                      <a:lnTo>
                        <a:pt x="1011" y="222"/>
                      </a:lnTo>
                      <a:lnTo>
                        <a:pt x="1027" y="217"/>
                      </a:lnTo>
                      <a:lnTo>
                        <a:pt x="1032" y="217"/>
                      </a:lnTo>
                      <a:lnTo>
                        <a:pt x="1036" y="217"/>
                      </a:lnTo>
                      <a:lnTo>
                        <a:pt x="1043" y="220"/>
                      </a:lnTo>
                      <a:lnTo>
                        <a:pt x="1048" y="220"/>
                      </a:lnTo>
                      <a:lnTo>
                        <a:pt x="1053" y="220"/>
                      </a:lnTo>
                      <a:lnTo>
                        <a:pt x="1064" y="220"/>
                      </a:lnTo>
                      <a:lnTo>
                        <a:pt x="1057" y="222"/>
                      </a:lnTo>
                      <a:lnTo>
                        <a:pt x="1045" y="224"/>
                      </a:lnTo>
                      <a:lnTo>
                        <a:pt x="1038" y="226"/>
                      </a:lnTo>
                      <a:lnTo>
                        <a:pt x="1036" y="227"/>
                      </a:lnTo>
                      <a:lnTo>
                        <a:pt x="1032" y="231"/>
                      </a:lnTo>
                      <a:lnTo>
                        <a:pt x="1031" y="231"/>
                      </a:lnTo>
                      <a:lnTo>
                        <a:pt x="1029" y="233"/>
                      </a:lnTo>
                      <a:lnTo>
                        <a:pt x="1022" y="233"/>
                      </a:lnTo>
                      <a:lnTo>
                        <a:pt x="1020" y="233"/>
                      </a:lnTo>
                      <a:lnTo>
                        <a:pt x="1010" y="236"/>
                      </a:lnTo>
                      <a:lnTo>
                        <a:pt x="1004" y="240"/>
                      </a:lnTo>
                      <a:lnTo>
                        <a:pt x="1003" y="241"/>
                      </a:lnTo>
                      <a:lnTo>
                        <a:pt x="1004" y="245"/>
                      </a:lnTo>
                      <a:lnTo>
                        <a:pt x="1011" y="248"/>
                      </a:lnTo>
                      <a:lnTo>
                        <a:pt x="1024" y="250"/>
                      </a:lnTo>
                      <a:lnTo>
                        <a:pt x="1020" y="250"/>
                      </a:lnTo>
                      <a:lnTo>
                        <a:pt x="1017" y="250"/>
                      </a:lnTo>
                      <a:lnTo>
                        <a:pt x="1015" y="250"/>
                      </a:lnTo>
                      <a:lnTo>
                        <a:pt x="1013" y="252"/>
                      </a:lnTo>
                      <a:lnTo>
                        <a:pt x="1015" y="254"/>
                      </a:lnTo>
                      <a:lnTo>
                        <a:pt x="1017" y="257"/>
                      </a:lnTo>
                      <a:lnTo>
                        <a:pt x="1020" y="259"/>
                      </a:lnTo>
                      <a:lnTo>
                        <a:pt x="1024" y="259"/>
                      </a:lnTo>
                      <a:lnTo>
                        <a:pt x="1045" y="261"/>
                      </a:lnTo>
                      <a:lnTo>
                        <a:pt x="1051" y="262"/>
                      </a:lnTo>
                      <a:lnTo>
                        <a:pt x="1039" y="264"/>
                      </a:lnTo>
                      <a:lnTo>
                        <a:pt x="1034" y="264"/>
                      </a:lnTo>
                      <a:lnTo>
                        <a:pt x="1031" y="266"/>
                      </a:lnTo>
                      <a:lnTo>
                        <a:pt x="1036" y="271"/>
                      </a:lnTo>
                      <a:lnTo>
                        <a:pt x="1045" y="275"/>
                      </a:lnTo>
                      <a:lnTo>
                        <a:pt x="1071" y="280"/>
                      </a:lnTo>
                      <a:lnTo>
                        <a:pt x="1076" y="280"/>
                      </a:lnTo>
                      <a:lnTo>
                        <a:pt x="1079" y="280"/>
                      </a:lnTo>
                      <a:lnTo>
                        <a:pt x="1083" y="278"/>
                      </a:lnTo>
                      <a:lnTo>
                        <a:pt x="1083" y="276"/>
                      </a:lnTo>
                      <a:lnTo>
                        <a:pt x="1079" y="275"/>
                      </a:lnTo>
                      <a:lnTo>
                        <a:pt x="1076" y="273"/>
                      </a:lnTo>
                      <a:lnTo>
                        <a:pt x="1079" y="271"/>
                      </a:lnTo>
                      <a:lnTo>
                        <a:pt x="1083" y="271"/>
                      </a:lnTo>
                      <a:lnTo>
                        <a:pt x="1086" y="271"/>
                      </a:lnTo>
                      <a:lnTo>
                        <a:pt x="1088" y="273"/>
                      </a:lnTo>
                      <a:lnTo>
                        <a:pt x="1099" y="278"/>
                      </a:lnTo>
                      <a:lnTo>
                        <a:pt x="1100" y="278"/>
                      </a:lnTo>
                      <a:lnTo>
                        <a:pt x="1100" y="276"/>
                      </a:lnTo>
                      <a:lnTo>
                        <a:pt x="1092" y="264"/>
                      </a:lnTo>
                      <a:lnTo>
                        <a:pt x="1090" y="259"/>
                      </a:lnTo>
                      <a:lnTo>
                        <a:pt x="1095" y="264"/>
                      </a:lnTo>
                      <a:lnTo>
                        <a:pt x="1100" y="269"/>
                      </a:lnTo>
                      <a:lnTo>
                        <a:pt x="1107" y="275"/>
                      </a:lnTo>
                      <a:lnTo>
                        <a:pt x="1113" y="278"/>
                      </a:lnTo>
                      <a:lnTo>
                        <a:pt x="1116" y="278"/>
                      </a:lnTo>
                      <a:lnTo>
                        <a:pt x="1118" y="275"/>
                      </a:lnTo>
                      <a:lnTo>
                        <a:pt x="1120" y="273"/>
                      </a:lnTo>
                      <a:lnTo>
                        <a:pt x="1120" y="269"/>
                      </a:lnTo>
                      <a:lnTo>
                        <a:pt x="1120" y="266"/>
                      </a:lnTo>
                      <a:lnTo>
                        <a:pt x="1118" y="264"/>
                      </a:lnTo>
                      <a:lnTo>
                        <a:pt x="1118" y="261"/>
                      </a:lnTo>
                      <a:lnTo>
                        <a:pt x="1120" y="259"/>
                      </a:lnTo>
                      <a:lnTo>
                        <a:pt x="1123" y="261"/>
                      </a:lnTo>
                      <a:lnTo>
                        <a:pt x="1128" y="264"/>
                      </a:lnTo>
                      <a:lnTo>
                        <a:pt x="1132" y="266"/>
                      </a:lnTo>
                      <a:lnTo>
                        <a:pt x="1134" y="262"/>
                      </a:lnTo>
                      <a:lnTo>
                        <a:pt x="1134" y="261"/>
                      </a:lnTo>
                      <a:lnTo>
                        <a:pt x="1132" y="259"/>
                      </a:lnTo>
                      <a:lnTo>
                        <a:pt x="1130" y="257"/>
                      </a:lnTo>
                      <a:lnTo>
                        <a:pt x="1130" y="257"/>
                      </a:lnTo>
                      <a:lnTo>
                        <a:pt x="1128" y="257"/>
                      </a:lnTo>
                      <a:lnTo>
                        <a:pt x="1128" y="257"/>
                      </a:lnTo>
                      <a:lnTo>
                        <a:pt x="1128" y="255"/>
                      </a:lnTo>
                      <a:lnTo>
                        <a:pt x="1128" y="255"/>
                      </a:lnTo>
                      <a:lnTo>
                        <a:pt x="1128" y="255"/>
                      </a:lnTo>
                      <a:lnTo>
                        <a:pt x="1130" y="255"/>
                      </a:lnTo>
                      <a:lnTo>
                        <a:pt x="1128" y="254"/>
                      </a:lnTo>
                      <a:lnTo>
                        <a:pt x="1130" y="247"/>
                      </a:lnTo>
                      <a:lnTo>
                        <a:pt x="1130" y="243"/>
                      </a:lnTo>
                      <a:lnTo>
                        <a:pt x="1132" y="241"/>
                      </a:lnTo>
                      <a:lnTo>
                        <a:pt x="1134" y="240"/>
                      </a:lnTo>
                      <a:lnTo>
                        <a:pt x="1137" y="238"/>
                      </a:lnTo>
                      <a:lnTo>
                        <a:pt x="1137" y="241"/>
                      </a:lnTo>
                      <a:lnTo>
                        <a:pt x="1135" y="243"/>
                      </a:lnTo>
                      <a:lnTo>
                        <a:pt x="1134" y="247"/>
                      </a:lnTo>
                      <a:lnTo>
                        <a:pt x="1135" y="250"/>
                      </a:lnTo>
                      <a:lnTo>
                        <a:pt x="1137" y="254"/>
                      </a:lnTo>
                      <a:lnTo>
                        <a:pt x="1139" y="255"/>
                      </a:lnTo>
                      <a:lnTo>
                        <a:pt x="1142" y="255"/>
                      </a:lnTo>
                      <a:lnTo>
                        <a:pt x="1146" y="254"/>
                      </a:lnTo>
                      <a:lnTo>
                        <a:pt x="1151" y="248"/>
                      </a:lnTo>
                      <a:lnTo>
                        <a:pt x="1153" y="247"/>
                      </a:lnTo>
                      <a:lnTo>
                        <a:pt x="1155" y="241"/>
                      </a:lnTo>
                      <a:lnTo>
                        <a:pt x="1156" y="241"/>
                      </a:lnTo>
                      <a:lnTo>
                        <a:pt x="1156" y="241"/>
                      </a:lnTo>
                      <a:lnTo>
                        <a:pt x="1158" y="241"/>
                      </a:lnTo>
                      <a:lnTo>
                        <a:pt x="1160" y="241"/>
                      </a:lnTo>
                      <a:lnTo>
                        <a:pt x="1162" y="241"/>
                      </a:lnTo>
                      <a:lnTo>
                        <a:pt x="1163" y="240"/>
                      </a:lnTo>
                      <a:lnTo>
                        <a:pt x="1167" y="238"/>
                      </a:lnTo>
                      <a:lnTo>
                        <a:pt x="1184" y="233"/>
                      </a:lnTo>
                      <a:lnTo>
                        <a:pt x="1193" y="227"/>
                      </a:lnTo>
                      <a:lnTo>
                        <a:pt x="1196" y="222"/>
                      </a:lnTo>
                      <a:lnTo>
                        <a:pt x="1195" y="220"/>
                      </a:lnTo>
                      <a:lnTo>
                        <a:pt x="1191" y="217"/>
                      </a:lnTo>
                      <a:lnTo>
                        <a:pt x="1186" y="210"/>
                      </a:lnTo>
                      <a:lnTo>
                        <a:pt x="1182" y="208"/>
                      </a:lnTo>
                      <a:lnTo>
                        <a:pt x="1181" y="210"/>
                      </a:lnTo>
                      <a:lnTo>
                        <a:pt x="1181" y="212"/>
                      </a:lnTo>
                      <a:lnTo>
                        <a:pt x="1177" y="213"/>
                      </a:lnTo>
                      <a:lnTo>
                        <a:pt x="1175" y="213"/>
                      </a:lnTo>
                      <a:lnTo>
                        <a:pt x="1175" y="212"/>
                      </a:lnTo>
                      <a:lnTo>
                        <a:pt x="1174" y="210"/>
                      </a:lnTo>
                      <a:lnTo>
                        <a:pt x="1172" y="208"/>
                      </a:lnTo>
                      <a:lnTo>
                        <a:pt x="1170" y="208"/>
                      </a:lnTo>
                      <a:lnTo>
                        <a:pt x="1168" y="206"/>
                      </a:lnTo>
                      <a:lnTo>
                        <a:pt x="1167" y="206"/>
                      </a:lnTo>
                      <a:lnTo>
                        <a:pt x="1163" y="206"/>
                      </a:lnTo>
                      <a:lnTo>
                        <a:pt x="1160" y="208"/>
                      </a:lnTo>
                      <a:lnTo>
                        <a:pt x="1156" y="208"/>
                      </a:lnTo>
                      <a:lnTo>
                        <a:pt x="1153" y="210"/>
                      </a:lnTo>
                      <a:lnTo>
                        <a:pt x="1149" y="210"/>
                      </a:lnTo>
                      <a:lnTo>
                        <a:pt x="1151" y="203"/>
                      </a:lnTo>
                      <a:lnTo>
                        <a:pt x="1155" y="198"/>
                      </a:lnTo>
                      <a:lnTo>
                        <a:pt x="1155" y="191"/>
                      </a:lnTo>
                      <a:lnTo>
                        <a:pt x="1149" y="185"/>
                      </a:lnTo>
                      <a:lnTo>
                        <a:pt x="1148" y="185"/>
                      </a:lnTo>
                      <a:lnTo>
                        <a:pt x="1139" y="184"/>
                      </a:lnTo>
                      <a:lnTo>
                        <a:pt x="1137" y="184"/>
                      </a:lnTo>
                      <a:lnTo>
                        <a:pt x="1135" y="180"/>
                      </a:lnTo>
                      <a:lnTo>
                        <a:pt x="1137" y="178"/>
                      </a:lnTo>
                      <a:lnTo>
                        <a:pt x="1141" y="177"/>
                      </a:lnTo>
                      <a:lnTo>
                        <a:pt x="1142" y="175"/>
                      </a:lnTo>
                      <a:lnTo>
                        <a:pt x="1141" y="168"/>
                      </a:lnTo>
                      <a:lnTo>
                        <a:pt x="1135" y="163"/>
                      </a:lnTo>
                      <a:lnTo>
                        <a:pt x="1128" y="161"/>
                      </a:lnTo>
                      <a:lnTo>
                        <a:pt x="1121" y="163"/>
                      </a:lnTo>
                      <a:lnTo>
                        <a:pt x="1120" y="166"/>
                      </a:lnTo>
                      <a:lnTo>
                        <a:pt x="1121" y="171"/>
                      </a:lnTo>
                      <a:lnTo>
                        <a:pt x="1127" y="177"/>
                      </a:lnTo>
                      <a:lnTo>
                        <a:pt x="1128" y="182"/>
                      </a:lnTo>
                      <a:lnTo>
                        <a:pt x="1127" y="180"/>
                      </a:lnTo>
                      <a:lnTo>
                        <a:pt x="1120" y="178"/>
                      </a:lnTo>
                      <a:lnTo>
                        <a:pt x="1116" y="178"/>
                      </a:lnTo>
                      <a:lnTo>
                        <a:pt x="1113" y="177"/>
                      </a:lnTo>
                      <a:lnTo>
                        <a:pt x="1111" y="173"/>
                      </a:lnTo>
                      <a:lnTo>
                        <a:pt x="1109" y="171"/>
                      </a:lnTo>
                      <a:lnTo>
                        <a:pt x="1107" y="168"/>
                      </a:lnTo>
                      <a:lnTo>
                        <a:pt x="1107" y="166"/>
                      </a:lnTo>
                      <a:lnTo>
                        <a:pt x="1109" y="163"/>
                      </a:lnTo>
                      <a:lnTo>
                        <a:pt x="1109" y="161"/>
                      </a:lnTo>
                      <a:lnTo>
                        <a:pt x="1107" y="157"/>
                      </a:lnTo>
                      <a:lnTo>
                        <a:pt x="1104" y="157"/>
                      </a:lnTo>
                      <a:lnTo>
                        <a:pt x="1100" y="157"/>
                      </a:lnTo>
                      <a:lnTo>
                        <a:pt x="1097" y="157"/>
                      </a:lnTo>
                      <a:lnTo>
                        <a:pt x="1095" y="157"/>
                      </a:lnTo>
                      <a:lnTo>
                        <a:pt x="1095" y="157"/>
                      </a:lnTo>
                      <a:lnTo>
                        <a:pt x="1093" y="159"/>
                      </a:lnTo>
                      <a:lnTo>
                        <a:pt x="1092" y="159"/>
                      </a:lnTo>
                      <a:lnTo>
                        <a:pt x="1090" y="157"/>
                      </a:lnTo>
                      <a:lnTo>
                        <a:pt x="1085" y="156"/>
                      </a:lnTo>
                      <a:lnTo>
                        <a:pt x="1081" y="156"/>
                      </a:lnTo>
                      <a:lnTo>
                        <a:pt x="1078" y="156"/>
                      </a:lnTo>
                      <a:lnTo>
                        <a:pt x="1078" y="154"/>
                      </a:lnTo>
                      <a:lnTo>
                        <a:pt x="1076" y="154"/>
                      </a:lnTo>
                      <a:lnTo>
                        <a:pt x="1076" y="151"/>
                      </a:lnTo>
                      <a:lnTo>
                        <a:pt x="1076" y="149"/>
                      </a:lnTo>
                      <a:lnTo>
                        <a:pt x="1074" y="147"/>
                      </a:lnTo>
                      <a:lnTo>
                        <a:pt x="1067" y="144"/>
                      </a:lnTo>
                      <a:lnTo>
                        <a:pt x="1064" y="140"/>
                      </a:lnTo>
                      <a:lnTo>
                        <a:pt x="1053" y="128"/>
                      </a:lnTo>
                      <a:lnTo>
                        <a:pt x="1048" y="119"/>
                      </a:lnTo>
                      <a:lnTo>
                        <a:pt x="1041" y="112"/>
                      </a:lnTo>
                      <a:lnTo>
                        <a:pt x="1034" y="109"/>
                      </a:lnTo>
                      <a:lnTo>
                        <a:pt x="1024" y="105"/>
                      </a:lnTo>
                      <a:lnTo>
                        <a:pt x="1018" y="105"/>
                      </a:lnTo>
                      <a:lnTo>
                        <a:pt x="1013" y="103"/>
                      </a:lnTo>
                      <a:lnTo>
                        <a:pt x="1008" y="105"/>
                      </a:lnTo>
                      <a:lnTo>
                        <a:pt x="1004" y="105"/>
                      </a:lnTo>
                      <a:lnTo>
                        <a:pt x="1001" y="107"/>
                      </a:lnTo>
                      <a:lnTo>
                        <a:pt x="1001" y="110"/>
                      </a:lnTo>
                      <a:lnTo>
                        <a:pt x="1001" y="114"/>
                      </a:lnTo>
                      <a:lnTo>
                        <a:pt x="1004" y="116"/>
                      </a:lnTo>
                      <a:lnTo>
                        <a:pt x="1010" y="116"/>
                      </a:lnTo>
                      <a:lnTo>
                        <a:pt x="1015" y="116"/>
                      </a:lnTo>
                      <a:lnTo>
                        <a:pt x="1018" y="117"/>
                      </a:lnTo>
                      <a:lnTo>
                        <a:pt x="1022" y="121"/>
                      </a:lnTo>
                      <a:lnTo>
                        <a:pt x="1020" y="124"/>
                      </a:lnTo>
                      <a:lnTo>
                        <a:pt x="1017" y="126"/>
                      </a:lnTo>
                      <a:lnTo>
                        <a:pt x="1008" y="124"/>
                      </a:lnTo>
                      <a:lnTo>
                        <a:pt x="1004" y="126"/>
                      </a:lnTo>
                      <a:lnTo>
                        <a:pt x="999" y="128"/>
                      </a:lnTo>
                      <a:lnTo>
                        <a:pt x="994" y="128"/>
                      </a:lnTo>
                      <a:lnTo>
                        <a:pt x="983" y="128"/>
                      </a:lnTo>
                      <a:lnTo>
                        <a:pt x="980" y="130"/>
                      </a:lnTo>
                      <a:lnTo>
                        <a:pt x="976" y="133"/>
                      </a:lnTo>
                      <a:lnTo>
                        <a:pt x="975" y="138"/>
                      </a:lnTo>
                      <a:lnTo>
                        <a:pt x="973" y="140"/>
                      </a:lnTo>
                      <a:lnTo>
                        <a:pt x="973" y="142"/>
                      </a:lnTo>
                      <a:lnTo>
                        <a:pt x="983" y="144"/>
                      </a:lnTo>
                      <a:lnTo>
                        <a:pt x="987" y="145"/>
                      </a:lnTo>
                      <a:lnTo>
                        <a:pt x="989" y="147"/>
                      </a:lnTo>
                      <a:lnTo>
                        <a:pt x="990" y="149"/>
                      </a:lnTo>
                      <a:lnTo>
                        <a:pt x="992" y="151"/>
                      </a:lnTo>
                      <a:lnTo>
                        <a:pt x="994" y="152"/>
                      </a:lnTo>
                      <a:lnTo>
                        <a:pt x="996" y="152"/>
                      </a:lnTo>
                      <a:lnTo>
                        <a:pt x="1004" y="154"/>
                      </a:lnTo>
                      <a:lnTo>
                        <a:pt x="1006" y="156"/>
                      </a:lnTo>
                      <a:lnTo>
                        <a:pt x="997" y="157"/>
                      </a:lnTo>
                      <a:lnTo>
                        <a:pt x="992" y="156"/>
                      </a:lnTo>
                      <a:lnTo>
                        <a:pt x="987" y="156"/>
                      </a:lnTo>
                      <a:lnTo>
                        <a:pt x="985" y="154"/>
                      </a:lnTo>
                      <a:lnTo>
                        <a:pt x="982" y="151"/>
                      </a:lnTo>
                      <a:lnTo>
                        <a:pt x="980" y="151"/>
                      </a:lnTo>
                      <a:lnTo>
                        <a:pt x="978" y="149"/>
                      </a:lnTo>
                      <a:lnTo>
                        <a:pt x="973" y="149"/>
                      </a:lnTo>
                      <a:lnTo>
                        <a:pt x="968" y="149"/>
                      </a:lnTo>
                      <a:lnTo>
                        <a:pt x="962" y="149"/>
                      </a:lnTo>
                      <a:lnTo>
                        <a:pt x="959" y="151"/>
                      </a:lnTo>
                      <a:lnTo>
                        <a:pt x="959" y="154"/>
                      </a:lnTo>
                      <a:lnTo>
                        <a:pt x="961" y="157"/>
                      </a:lnTo>
                      <a:lnTo>
                        <a:pt x="964" y="161"/>
                      </a:lnTo>
                      <a:lnTo>
                        <a:pt x="968" y="163"/>
                      </a:lnTo>
                      <a:lnTo>
                        <a:pt x="971" y="164"/>
                      </a:lnTo>
                      <a:lnTo>
                        <a:pt x="962" y="164"/>
                      </a:lnTo>
                      <a:lnTo>
                        <a:pt x="957" y="164"/>
                      </a:lnTo>
                      <a:lnTo>
                        <a:pt x="955" y="166"/>
                      </a:lnTo>
                      <a:lnTo>
                        <a:pt x="955" y="170"/>
                      </a:lnTo>
                      <a:lnTo>
                        <a:pt x="957" y="171"/>
                      </a:lnTo>
                      <a:lnTo>
                        <a:pt x="961" y="173"/>
                      </a:lnTo>
                      <a:lnTo>
                        <a:pt x="964" y="175"/>
                      </a:lnTo>
                      <a:lnTo>
                        <a:pt x="969" y="175"/>
                      </a:lnTo>
                      <a:lnTo>
                        <a:pt x="971" y="175"/>
                      </a:lnTo>
                      <a:lnTo>
                        <a:pt x="975" y="178"/>
                      </a:lnTo>
                      <a:lnTo>
                        <a:pt x="976" y="180"/>
                      </a:lnTo>
                      <a:lnTo>
                        <a:pt x="978" y="180"/>
                      </a:lnTo>
                      <a:lnTo>
                        <a:pt x="980" y="180"/>
                      </a:lnTo>
                      <a:lnTo>
                        <a:pt x="985" y="178"/>
                      </a:lnTo>
                      <a:lnTo>
                        <a:pt x="990" y="177"/>
                      </a:lnTo>
                      <a:lnTo>
                        <a:pt x="994" y="177"/>
                      </a:lnTo>
                      <a:lnTo>
                        <a:pt x="999" y="175"/>
                      </a:lnTo>
                      <a:lnTo>
                        <a:pt x="997" y="177"/>
                      </a:lnTo>
                      <a:lnTo>
                        <a:pt x="994" y="178"/>
                      </a:lnTo>
                      <a:lnTo>
                        <a:pt x="992" y="180"/>
                      </a:lnTo>
                      <a:lnTo>
                        <a:pt x="992" y="180"/>
                      </a:lnTo>
                      <a:lnTo>
                        <a:pt x="992" y="184"/>
                      </a:lnTo>
                      <a:lnTo>
                        <a:pt x="992" y="184"/>
                      </a:lnTo>
                      <a:lnTo>
                        <a:pt x="989" y="185"/>
                      </a:lnTo>
                      <a:close/>
                      <a:moveTo>
                        <a:pt x="1677" y="736"/>
                      </a:moveTo>
                      <a:lnTo>
                        <a:pt x="1678" y="732"/>
                      </a:lnTo>
                      <a:lnTo>
                        <a:pt x="1680" y="731"/>
                      </a:lnTo>
                      <a:lnTo>
                        <a:pt x="1678" y="731"/>
                      </a:lnTo>
                      <a:lnTo>
                        <a:pt x="1675" y="732"/>
                      </a:lnTo>
                      <a:lnTo>
                        <a:pt x="1671" y="736"/>
                      </a:lnTo>
                      <a:lnTo>
                        <a:pt x="1673" y="736"/>
                      </a:lnTo>
                      <a:lnTo>
                        <a:pt x="1677" y="736"/>
                      </a:lnTo>
                      <a:close/>
                      <a:moveTo>
                        <a:pt x="900" y="341"/>
                      </a:moveTo>
                      <a:lnTo>
                        <a:pt x="898" y="343"/>
                      </a:lnTo>
                      <a:lnTo>
                        <a:pt x="898" y="344"/>
                      </a:lnTo>
                      <a:lnTo>
                        <a:pt x="900" y="346"/>
                      </a:lnTo>
                      <a:lnTo>
                        <a:pt x="901" y="348"/>
                      </a:lnTo>
                      <a:lnTo>
                        <a:pt x="896" y="350"/>
                      </a:lnTo>
                      <a:lnTo>
                        <a:pt x="894" y="348"/>
                      </a:lnTo>
                      <a:lnTo>
                        <a:pt x="893" y="346"/>
                      </a:lnTo>
                      <a:lnTo>
                        <a:pt x="889" y="344"/>
                      </a:lnTo>
                      <a:lnTo>
                        <a:pt x="886" y="343"/>
                      </a:lnTo>
                      <a:lnTo>
                        <a:pt x="882" y="343"/>
                      </a:lnTo>
                      <a:lnTo>
                        <a:pt x="880" y="341"/>
                      </a:lnTo>
                      <a:lnTo>
                        <a:pt x="875" y="341"/>
                      </a:lnTo>
                      <a:lnTo>
                        <a:pt x="872" y="343"/>
                      </a:lnTo>
                      <a:lnTo>
                        <a:pt x="865" y="343"/>
                      </a:lnTo>
                      <a:lnTo>
                        <a:pt x="859" y="346"/>
                      </a:lnTo>
                      <a:lnTo>
                        <a:pt x="859" y="350"/>
                      </a:lnTo>
                      <a:lnTo>
                        <a:pt x="863" y="351"/>
                      </a:lnTo>
                      <a:lnTo>
                        <a:pt x="866" y="353"/>
                      </a:lnTo>
                      <a:lnTo>
                        <a:pt x="870" y="353"/>
                      </a:lnTo>
                      <a:lnTo>
                        <a:pt x="873" y="353"/>
                      </a:lnTo>
                      <a:lnTo>
                        <a:pt x="877" y="355"/>
                      </a:lnTo>
                      <a:lnTo>
                        <a:pt x="877" y="357"/>
                      </a:lnTo>
                      <a:lnTo>
                        <a:pt x="872" y="358"/>
                      </a:lnTo>
                      <a:lnTo>
                        <a:pt x="868" y="358"/>
                      </a:lnTo>
                      <a:lnTo>
                        <a:pt x="868" y="360"/>
                      </a:lnTo>
                      <a:lnTo>
                        <a:pt x="870" y="360"/>
                      </a:lnTo>
                      <a:lnTo>
                        <a:pt x="873" y="362"/>
                      </a:lnTo>
                      <a:lnTo>
                        <a:pt x="887" y="364"/>
                      </a:lnTo>
                      <a:lnTo>
                        <a:pt x="880" y="364"/>
                      </a:lnTo>
                      <a:lnTo>
                        <a:pt x="877" y="365"/>
                      </a:lnTo>
                      <a:lnTo>
                        <a:pt x="875" y="365"/>
                      </a:lnTo>
                      <a:lnTo>
                        <a:pt x="875" y="369"/>
                      </a:lnTo>
                      <a:lnTo>
                        <a:pt x="879" y="371"/>
                      </a:lnTo>
                      <a:lnTo>
                        <a:pt x="882" y="372"/>
                      </a:lnTo>
                      <a:lnTo>
                        <a:pt x="884" y="374"/>
                      </a:lnTo>
                      <a:lnTo>
                        <a:pt x="879" y="376"/>
                      </a:lnTo>
                      <a:lnTo>
                        <a:pt x="872" y="371"/>
                      </a:lnTo>
                      <a:lnTo>
                        <a:pt x="859" y="362"/>
                      </a:lnTo>
                      <a:lnTo>
                        <a:pt x="854" y="358"/>
                      </a:lnTo>
                      <a:lnTo>
                        <a:pt x="851" y="353"/>
                      </a:lnTo>
                      <a:lnTo>
                        <a:pt x="845" y="350"/>
                      </a:lnTo>
                      <a:lnTo>
                        <a:pt x="838" y="350"/>
                      </a:lnTo>
                      <a:lnTo>
                        <a:pt x="837" y="350"/>
                      </a:lnTo>
                      <a:lnTo>
                        <a:pt x="833" y="353"/>
                      </a:lnTo>
                      <a:lnTo>
                        <a:pt x="831" y="355"/>
                      </a:lnTo>
                      <a:lnTo>
                        <a:pt x="831" y="357"/>
                      </a:lnTo>
                      <a:lnTo>
                        <a:pt x="833" y="360"/>
                      </a:lnTo>
                      <a:lnTo>
                        <a:pt x="838" y="360"/>
                      </a:lnTo>
                      <a:lnTo>
                        <a:pt x="842" y="360"/>
                      </a:lnTo>
                      <a:lnTo>
                        <a:pt x="844" y="360"/>
                      </a:lnTo>
                      <a:lnTo>
                        <a:pt x="838" y="364"/>
                      </a:lnTo>
                      <a:lnTo>
                        <a:pt x="838" y="367"/>
                      </a:lnTo>
                      <a:lnTo>
                        <a:pt x="840" y="371"/>
                      </a:lnTo>
                      <a:lnTo>
                        <a:pt x="845" y="372"/>
                      </a:lnTo>
                      <a:lnTo>
                        <a:pt x="845" y="374"/>
                      </a:lnTo>
                      <a:lnTo>
                        <a:pt x="845" y="378"/>
                      </a:lnTo>
                      <a:lnTo>
                        <a:pt x="845" y="379"/>
                      </a:lnTo>
                      <a:lnTo>
                        <a:pt x="847" y="381"/>
                      </a:lnTo>
                      <a:lnTo>
                        <a:pt x="851" y="383"/>
                      </a:lnTo>
                      <a:lnTo>
                        <a:pt x="852" y="383"/>
                      </a:lnTo>
                      <a:lnTo>
                        <a:pt x="854" y="383"/>
                      </a:lnTo>
                      <a:lnTo>
                        <a:pt x="856" y="383"/>
                      </a:lnTo>
                      <a:lnTo>
                        <a:pt x="849" y="385"/>
                      </a:lnTo>
                      <a:lnTo>
                        <a:pt x="835" y="378"/>
                      </a:lnTo>
                      <a:lnTo>
                        <a:pt x="828" y="383"/>
                      </a:lnTo>
                      <a:lnTo>
                        <a:pt x="828" y="383"/>
                      </a:lnTo>
                      <a:lnTo>
                        <a:pt x="828" y="385"/>
                      </a:lnTo>
                      <a:lnTo>
                        <a:pt x="826" y="386"/>
                      </a:lnTo>
                      <a:lnTo>
                        <a:pt x="826" y="386"/>
                      </a:lnTo>
                      <a:lnTo>
                        <a:pt x="824" y="388"/>
                      </a:lnTo>
                      <a:lnTo>
                        <a:pt x="819" y="392"/>
                      </a:lnTo>
                      <a:lnTo>
                        <a:pt x="817" y="393"/>
                      </a:lnTo>
                      <a:lnTo>
                        <a:pt x="817" y="397"/>
                      </a:lnTo>
                      <a:lnTo>
                        <a:pt x="819" y="399"/>
                      </a:lnTo>
                      <a:lnTo>
                        <a:pt x="821" y="400"/>
                      </a:lnTo>
                      <a:lnTo>
                        <a:pt x="824" y="400"/>
                      </a:lnTo>
                      <a:lnTo>
                        <a:pt x="830" y="400"/>
                      </a:lnTo>
                      <a:lnTo>
                        <a:pt x="840" y="397"/>
                      </a:lnTo>
                      <a:lnTo>
                        <a:pt x="845" y="395"/>
                      </a:lnTo>
                      <a:lnTo>
                        <a:pt x="854" y="395"/>
                      </a:lnTo>
                      <a:lnTo>
                        <a:pt x="886" y="390"/>
                      </a:lnTo>
                      <a:lnTo>
                        <a:pt x="894" y="388"/>
                      </a:lnTo>
                      <a:lnTo>
                        <a:pt x="893" y="390"/>
                      </a:lnTo>
                      <a:lnTo>
                        <a:pt x="889" y="392"/>
                      </a:lnTo>
                      <a:lnTo>
                        <a:pt x="886" y="393"/>
                      </a:lnTo>
                      <a:lnTo>
                        <a:pt x="882" y="393"/>
                      </a:lnTo>
                      <a:lnTo>
                        <a:pt x="879" y="397"/>
                      </a:lnTo>
                      <a:lnTo>
                        <a:pt x="873" y="402"/>
                      </a:lnTo>
                      <a:lnTo>
                        <a:pt x="872" y="404"/>
                      </a:lnTo>
                      <a:lnTo>
                        <a:pt x="868" y="406"/>
                      </a:lnTo>
                      <a:lnTo>
                        <a:pt x="865" y="406"/>
                      </a:lnTo>
                      <a:lnTo>
                        <a:pt x="861" y="407"/>
                      </a:lnTo>
                      <a:lnTo>
                        <a:pt x="861" y="411"/>
                      </a:lnTo>
                      <a:lnTo>
                        <a:pt x="863" y="413"/>
                      </a:lnTo>
                      <a:lnTo>
                        <a:pt x="866" y="414"/>
                      </a:lnTo>
                      <a:lnTo>
                        <a:pt x="873" y="418"/>
                      </a:lnTo>
                      <a:lnTo>
                        <a:pt x="872" y="418"/>
                      </a:lnTo>
                      <a:lnTo>
                        <a:pt x="870" y="418"/>
                      </a:lnTo>
                      <a:lnTo>
                        <a:pt x="868" y="420"/>
                      </a:lnTo>
                      <a:lnTo>
                        <a:pt x="866" y="421"/>
                      </a:lnTo>
                      <a:lnTo>
                        <a:pt x="866" y="423"/>
                      </a:lnTo>
                      <a:lnTo>
                        <a:pt x="868" y="425"/>
                      </a:lnTo>
                      <a:lnTo>
                        <a:pt x="868" y="427"/>
                      </a:lnTo>
                      <a:lnTo>
                        <a:pt x="870" y="428"/>
                      </a:lnTo>
                      <a:lnTo>
                        <a:pt x="873" y="430"/>
                      </a:lnTo>
                      <a:lnTo>
                        <a:pt x="877" y="432"/>
                      </a:lnTo>
                      <a:lnTo>
                        <a:pt x="882" y="432"/>
                      </a:lnTo>
                      <a:lnTo>
                        <a:pt x="886" y="432"/>
                      </a:lnTo>
                      <a:lnTo>
                        <a:pt x="887" y="432"/>
                      </a:lnTo>
                      <a:lnTo>
                        <a:pt x="889" y="430"/>
                      </a:lnTo>
                      <a:lnTo>
                        <a:pt x="891" y="430"/>
                      </a:lnTo>
                      <a:lnTo>
                        <a:pt x="893" y="430"/>
                      </a:lnTo>
                      <a:lnTo>
                        <a:pt x="894" y="430"/>
                      </a:lnTo>
                      <a:lnTo>
                        <a:pt x="898" y="430"/>
                      </a:lnTo>
                      <a:lnTo>
                        <a:pt x="903" y="430"/>
                      </a:lnTo>
                      <a:lnTo>
                        <a:pt x="912" y="430"/>
                      </a:lnTo>
                      <a:lnTo>
                        <a:pt x="915" y="430"/>
                      </a:lnTo>
                      <a:lnTo>
                        <a:pt x="919" y="428"/>
                      </a:lnTo>
                      <a:lnTo>
                        <a:pt x="921" y="427"/>
                      </a:lnTo>
                      <a:lnTo>
                        <a:pt x="919" y="425"/>
                      </a:lnTo>
                      <a:lnTo>
                        <a:pt x="917" y="421"/>
                      </a:lnTo>
                      <a:lnTo>
                        <a:pt x="919" y="421"/>
                      </a:lnTo>
                      <a:lnTo>
                        <a:pt x="921" y="423"/>
                      </a:lnTo>
                      <a:lnTo>
                        <a:pt x="924" y="425"/>
                      </a:lnTo>
                      <a:lnTo>
                        <a:pt x="926" y="423"/>
                      </a:lnTo>
                      <a:lnTo>
                        <a:pt x="928" y="421"/>
                      </a:lnTo>
                      <a:lnTo>
                        <a:pt x="926" y="420"/>
                      </a:lnTo>
                      <a:lnTo>
                        <a:pt x="924" y="418"/>
                      </a:lnTo>
                      <a:lnTo>
                        <a:pt x="922" y="416"/>
                      </a:lnTo>
                      <a:lnTo>
                        <a:pt x="922" y="414"/>
                      </a:lnTo>
                      <a:lnTo>
                        <a:pt x="922" y="413"/>
                      </a:lnTo>
                      <a:lnTo>
                        <a:pt x="922" y="409"/>
                      </a:lnTo>
                      <a:lnTo>
                        <a:pt x="922" y="407"/>
                      </a:lnTo>
                      <a:lnTo>
                        <a:pt x="922" y="406"/>
                      </a:lnTo>
                      <a:lnTo>
                        <a:pt x="924" y="404"/>
                      </a:lnTo>
                      <a:lnTo>
                        <a:pt x="926" y="402"/>
                      </a:lnTo>
                      <a:lnTo>
                        <a:pt x="928" y="402"/>
                      </a:lnTo>
                      <a:lnTo>
                        <a:pt x="929" y="402"/>
                      </a:lnTo>
                      <a:lnTo>
                        <a:pt x="934" y="407"/>
                      </a:lnTo>
                      <a:lnTo>
                        <a:pt x="933" y="393"/>
                      </a:lnTo>
                      <a:lnTo>
                        <a:pt x="931" y="390"/>
                      </a:lnTo>
                      <a:lnTo>
                        <a:pt x="929" y="390"/>
                      </a:lnTo>
                      <a:lnTo>
                        <a:pt x="928" y="388"/>
                      </a:lnTo>
                      <a:lnTo>
                        <a:pt x="924" y="386"/>
                      </a:lnTo>
                      <a:lnTo>
                        <a:pt x="922" y="385"/>
                      </a:lnTo>
                      <a:lnTo>
                        <a:pt x="924" y="385"/>
                      </a:lnTo>
                      <a:lnTo>
                        <a:pt x="926" y="383"/>
                      </a:lnTo>
                      <a:lnTo>
                        <a:pt x="928" y="379"/>
                      </a:lnTo>
                      <a:lnTo>
                        <a:pt x="928" y="378"/>
                      </a:lnTo>
                      <a:lnTo>
                        <a:pt x="928" y="372"/>
                      </a:lnTo>
                      <a:lnTo>
                        <a:pt x="928" y="369"/>
                      </a:lnTo>
                      <a:lnTo>
                        <a:pt x="929" y="364"/>
                      </a:lnTo>
                      <a:lnTo>
                        <a:pt x="929" y="362"/>
                      </a:lnTo>
                      <a:lnTo>
                        <a:pt x="928" y="360"/>
                      </a:lnTo>
                      <a:lnTo>
                        <a:pt x="928" y="358"/>
                      </a:lnTo>
                      <a:lnTo>
                        <a:pt x="926" y="357"/>
                      </a:lnTo>
                      <a:lnTo>
                        <a:pt x="926" y="357"/>
                      </a:lnTo>
                      <a:lnTo>
                        <a:pt x="926" y="355"/>
                      </a:lnTo>
                      <a:lnTo>
                        <a:pt x="926" y="353"/>
                      </a:lnTo>
                      <a:lnTo>
                        <a:pt x="926" y="351"/>
                      </a:lnTo>
                      <a:lnTo>
                        <a:pt x="926" y="351"/>
                      </a:lnTo>
                      <a:lnTo>
                        <a:pt x="926" y="348"/>
                      </a:lnTo>
                      <a:lnTo>
                        <a:pt x="924" y="346"/>
                      </a:lnTo>
                      <a:lnTo>
                        <a:pt x="922" y="346"/>
                      </a:lnTo>
                      <a:lnTo>
                        <a:pt x="921" y="346"/>
                      </a:lnTo>
                      <a:lnTo>
                        <a:pt x="917" y="344"/>
                      </a:lnTo>
                      <a:lnTo>
                        <a:pt x="908" y="339"/>
                      </a:lnTo>
                      <a:lnTo>
                        <a:pt x="907" y="339"/>
                      </a:lnTo>
                      <a:lnTo>
                        <a:pt x="903" y="339"/>
                      </a:lnTo>
                      <a:lnTo>
                        <a:pt x="901" y="339"/>
                      </a:lnTo>
                      <a:lnTo>
                        <a:pt x="900" y="341"/>
                      </a:lnTo>
                      <a:close/>
                      <a:moveTo>
                        <a:pt x="880" y="194"/>
                      </a:moveTo>
                      <a:lnTo>
                        <a:pt x="886" y="194"/>
                      </a:lnTo>
                      <a:lnTo>
                        <a:pt x="891" y="196"/>
                      </a:lnTo>
                      <a:lnTo>
                        <a:pt x="893" y="199"/>
                      </a:lnTo>
                      <a:lnTo>
                        <a:pt x="893" y="199"/>
                      </a:lnTo>
                      <a:lnTo>
                        <a:pt x="894" y="201"/>
                      </a:lnTo>
                      <a:lnTo>
                        <a:pt x="898" y="203"/>
                      </a:lnTo>
                      <a:lnTo>
                        <a:pt x="900" y="203"/>
                      </a:lnTo>
                      <a:lnTo>
                        <a:pt x="901" y="201"/>
                      </a:lnTo>
                      <a:lnTo>
                        <a:pt x="903" y="199"/>
                      </a:lnTo>
                      <a:lnTo>
                        <a:pt x="903" y="196"/>
                      </a:lnTo>
                      <a:lnTo>
                        <a:pt x="903" y="191"/>
                      </a:lnTo>
                      <a:lnTo>
                        <a:pt x="901" y="185"/>
                      </a:lnTo>
                      <a:lnTo>
                        <a:pt x="898" y="182"/>
                      </a:lnTo>
                      <a:lnTo>
                        <a:pt x="891" y="180"/>
                      </a:lnTo>
                      <a:lnTo>
                        <a:pt x="886" y="180"/>
                      </a:lnTo>
                      <a:lnTo>
                        <a:pt x="880" y="180"/>
                      </a:lnTo>
                      <a:lnTo>
                        <a:pt x="877" y="182"/>
                      </a:lnTo>
                      <a:lnTo>
                        <a:pt x="873" y="187"/>
                      </a:lnTo>
                      <a:lnTo>
                        <a:pt x="875" y="194"/>
                      </a:lnTo>
                      <a:lnTo>
                        <a:pt x="880" y="194"/>
                      </a:lnTo>
                      <a:close/>
                      <a:moveTo>
                        <a:pt x="1561" y="650"/>
                      </a:moveTo>
                      <a:lnTo>
                        <a:pt x="1558" y="650"/>
                      </a:lnTo>
                      <a:lnTo>
                        <a:pt x="1556" y="652"/>
                      </a:lnTo>
                      <a:lnTo>
                        <a:pt x="1558" y="654"/>
                      </a:lnTo>
                      <a:lnTo>
                        <a:pt x="1561" y="654"/>
                      </a:lnTo>
                      <a:lnTo>
                        <a:pt x="1563" y="654"/>
                      </a:lnTo>
                      <a:lnTo>
                        <a:pt x="1567" y="652"/>
                      </a:lnTo>
                      <a:lnTo>
                        <a:pt x="1563" y="650"/>
                      </a:lnTo>
                      <a:lnTo>
                        <a:pt x="1561" y="650"/>
                      </a:lnTo>
                      <a:close/>
                      <a:moveTo>
                        <a:pt x="760" y="316"/>
                      </a:moveTo>
                      <a:lnTo>
                        <a:pt x="765" y="318"/>
                      </a:lnTo>
                      <a:lnTo>
                        <a:pt x="770" y="322"/>
                      </a:lnTo>
                      <a:lnTo>
                        <a:pt x="776" y="322"/>
                      </a:lnTo>
                      <a:lnTo>
                        <a:pt x="779" y="322"/>
                      </a:lnTo>
                      <a:lnTo>
                        <a:pt x="783" y="318"/>
                      </a:lnTo>
                      <a:lnTo>
                        <a:pt x="779" y="315"/>
                      </a:lnTo>
                      <a:lnTo>
                        <a:pt x="772" y="311"/>
                      </a:lnTo>
                      <a:lnTo>
                        <a:pt x="770" y="311"/>
                      </a:lnTo>
                      <a:lnTo>
                        <a:pt x="769" y="308"/>
                      </a:lnTo>
                      <a:lnTo>
                        <a:pt x="767" y="306"/>
                      </a:lnTo>
                      <a:lnTo>
                        <a:pt x="765" y="304"/>
                      </a:lnTo>
                      <a:lnTo>
                        <a:pt x="760" y="303"/>
                      </a:lnTo>
                      <a:lnTo>
                        <a:pt x="758" y="301"/>
                      </a:lnTo>
                      <a:lnTo>
                        <a:pt x="751" y="299"/>
                      </a:lnTo>
                      <a:lnTo>
                        <a:pt x="749" y="301"/>
                      </a:lnTo>
                      <a:lnTo>
                        <a:pt x="748" y="301"/>
                      </a:lnTo>
                      <a:lnTo>
                        <a:pt x="756" y="313"/>
                      </a:lnTo>
                      <a:lnTo>
                        <a:pt x="760" y="316"/>
                      </a:lnTo>
                      <a:close/>
                      <a:moveTo>
                        <a:pt x="248" y="1208"/>
                      </a:moveTo>
                      <a:lnTo>
                        <a:pt x="246" y="1206"/>
                      </a:lnTo>
                      <a:lnTo>
                        <a:pt x="246" y="1206"/>
                      </a:lnTo>
                      <a:lnTo>
                        <a:pt x="246" y="1208"/>
                      </a:lnTo>
                      <a:lnTo>
                        <a:pt x="246" y="1209"/>
                      </a:lnTo>
                      <a:lnTo>
                        <a:pt x="248" y="1211"/>
                      </a:lnTo>
                      <a:lnTo>
                        <a:pt x="250" y="1211"/>
                      </a:lnTo>
                      <a:lnTo>
                        <a:pt x="250" y="1209"/>
                      </a:lnTo>
                      <a:lnTo>
                        <a:pt x="248" y="1208"/>
                      </a:lnTo>
                      <a:close/>
                      <a:moveTo>
                        <a:pt x="599" y="273"/>
                      </a:moveTo>
                      <a:lnTo>
                        <a:pt x="608" y="271"/>
                      </a:lnTo>
                      <a:lnTo>
                        <a:pt x="613" y="271"/>
                      </a:lnTo>
                      <a:lnTo>
                        <a:pt x="618" y="271"/>
                      </a:lnTo>
                      <a:lnTo>
                        <a:pt x="627" y="275"/>
                      </a:lnTo>
                      <a:lnTo>
                        <a:pt x="629" y="275"/>
                      </a:lnTo>
                      <a:lnTo>
                        <a:pt x="631" y="273"/>
                      </a:lnTo>
                      <a:lnTo>
                        <a:pt x="634" y="273"/>
                      </a:lnTo>
                      <a:lnTo>
                        <a:pt x="636" y="269"/>
                      </a:lnTo>
                      <a:lnTo>
                        <a:pt x="638" y="269"/>
                      </a:lnTo>
                      <a:lnTo>
                        <a:pt x="641" y="269"/>
                      </a:lnTo>
                      <a:lnTo>
                        <a:pt x="645" y="271"/>
                      </a:lnTo>
                      <a:lnTo>
                        <a:pt x="646" y="273"/>
                      </a:lnTo>
                      <a:lnTo>
                        <a:pt x="650" y="273"/>
                      </a:lnTo>
                      <a:lnTo>
                        <a:pt x="653" y="273"/>
                      </a:lnTo>
                      <a:lnTo>
                        <a:pt x="659" y="273"/>
                      </a:lnTo>
                      <a:lnTo>
                        <a:pt x="669" y="273"/>
                      </a:lnTo>
                      <a:lnTo>
                        <a:pt x="674" y="271"/>
                      </a:lnTo>
                      <a:lnTo>
                        <a:pt x="678" y="268"/>
                      </a:lnTo>
                      <a:lnTo>
                        <a:pt x="674" y="262"/>
                      </a:lnTo>
                      <a:lnTo>
                        <a:pt x="667" y="257"/>
                      </a:lnTo>
                      <a:lnTo>
                        <a:pt x="659" y="254"/>
                      </a:lnTo>
                      <a:lnTo>
                        <a:pt x="652" y="252"/>
                      </a:lnTo>
                      <a:lnTo>
                        <a:pt x="648" y="252"/>
                      </a:lnTo>
                      <a:lnTo>
                        <a:pt x="643" y="254"/>
                      </a:lnTo>
                      <a:lnTo>
                        <a:pt x="638" y="255"/>
                      </a:lnTo>
                      <a:lnTo>
                        <a:pt x="629" y="259"/>
                      </a:lnTo>
                      <a:lnTo>
                        <a:pt x="625" y="261"/>
                      </a:lnTo>
                      <a:lnTo>
                        <a:pt x="606" y="264"/>
                      </a:lnTo>
                      <a:lnTo>
                        <a:pt x="601" y="266"/>
                      </a:lnTo>
                      <a:lnTo>
                        <a:pt x="596" y="268"/>
                      </a:lnTo>
                      <a:lnTo>
                        <a:pt x="594" y="271"/>
                      </a:lnTo>
                      <a:lnTo>
                        <a:pt x="594" y="273"/>
                      </a:lnTo>
                      <a:lnTo>
                        <a:pt x="599" y="273"/>
                      </a:lnTo>
                      <a:close/>
                      <a:moveTo>
                        <a:pt x="1322" y="367"/>
                      </a:moveTo>
                      <a:lnTo>
                        <a:pt x="1317" y="371"/>
                      </a:lnTo>
                      <a:lnTo>
                        <a:pt x="1312" y="376"/>
                      </a:lnTo>
                      <a:lnTo>
                        <a:pt x="1312" y="378"/>
                      </a:lnTo>
                      <a:lnTo>
                        <a:pt x="1312" y="379"/>
                      </a:lnTo>
                      <a:lnTo>
                        <a:pt x="1313" y="381"/>
                      </a:lnTo>
                      <a:lnTo>
                        <a:pt x="1317" y="381"/>
                      </a:lnTo>
                      <a:lnTo>
                        <a:pt x="1322" y="379"/>
                      </a:lnTo>
                      <a:lnTo>
                        <a:pt x="1324" y="379"/>
                      </a:lnTo>
                      <a:lnTo>
                        <a:pt x="1326" y="376"/>
                      </a:lnTo>
                      <a:lnTo>
                        <a:pt x="1326" y="372"/>
                      </a:lnTo>
                      <a:lnTo>
                        <a:pt x="1327" y="369"/>
                      </a:lnTo>
                      <a:lnTo>
                        <a:pt x="1329" y="365"/>
                      </a:lnTo>
                      <a:lnTo>
                        <a:pt x="1326" y="365"/>
                      </a:lnTo>
                      <a:lnTo>
                        <a:pt x="1322" y="367"/>
                      </a:lnTo>
                      <a:close/>
                      <a:moveTo>
                        <a:pt x="1095" y="455"/>
                      </a:moveTo>
                      <a:lnTo>
                        <a:pt x="1100" y="455"/>
                      </a:lnTo>
                      <a:lnTo>
                        <a:pt x="1102" y="453"/>
                      </a:lnTo>
                      <a:lnTo>
                        <a:pt x="1104" y="453"/>
                      </a:lnTo>
                      <a:lnTo>
                        <a:pt x="1106" y="451"/>
                      </a:lnTo>
                      <a:lnTo>
                        <a:pt x="1107" y="451"/>
                      </a:lnTo>
                      <a:lnTo>
                        <a:pt x="1107" y="449"/>
                      </a:lnTo>
                      <a:lnTo>
                        <a:pt x="1107" y="446"/>
                      </a:lnTo>
                      <a:lnTo>
                        <a:pt x="1107" y="444"/>
                      </a:lnTo>
                      <a:lnTo>
                        <a:pt x="1109" y="446"/>
                      </a:lnTo>
                      <a:lnTo>
                        <a:pt x="1111" y="444"/>
                      </a:lnTo>
                      <a:lnTo>
                        <a:pt x="1113" y="444"/>
                      </a:lnTo>
                      <a:lnTo>
                        <a:pt x="1113" y="442"/>
                      </a:lnTo>
                      <a:lnTo>
                        <a:pt x="1113" y="444"/>
                      </a:lnTo>
                      <a:lnTo>
                        <a:pt x="1114" y="444"/>
                      </a:lnTo>
                      <a:lnTo>
                        <a:pt x="1114" y="448"/>
                      </a:lnTo>
                      <a:lnTo>
                        <a:pt x="1116" y="446"/>
                      </a:lnTo>
                      <a:lnTo>
                        <a:pt x="1118" y="444"/>
                      </a:lnTo>
                      <a:lnTo>
                        <a:pt x="1120" y="442"/>
                      </a:lnTo>
                      <a:lnTo>
                        <a:pt x="1121" y="441"/>
                      </a:lnTo>
                      <a:lnTo>
                        <a:pt x="1123" y="441"/>
                      </a:lnTo>
                      <a:lnTo>
                        <a:pt x="1125" y="441"/>
                      </a:lnTo>
                      <a:lnTo>
                        <a:pt x="1125" y="442"/>
                      </a:lnTo>
                      <a:lnTo>
                        <a:pt x="1127" y="444"/>
                      </a:lnTo>
                      <a:lnTo>
                        <a:pt x="1125" y="448"/>
                      </a:lnTo>
                      <a:lnTo>
                        <a:pt x="1123" y="451"/>
                      </a:lnTo>
                      <a:lnTo>
                        <a:pt x="1121" y="453"/>
                      </a:lnTo>
                      <a:lnTo>
                        <a:pt x="1123" y="456"/>
                      </a:lnTo>
                      <a:lnTo>
                        <a:pt x="1127" y="458"/>
                      </a:lnTo>
                      <a:lnTo>
                        <a:pt x="1139" y="458"/>
                      </a:lnTo>
                      <a:lnTo>
                        <a:pt x="1142" y="458"/>
                      </a:lnTo>
                      <a:lnTo>
                        <a:pt x="1149" y="456"/>
                      </a:lnTo>
                      <a:lnTo>
                        <a:pt x="1158" y="458"/>
                      </a:lnTo>
                      <a:lnTo>
                        <a:pt x="1160" y="458"/>
                      </a:lnTo>
                      <a:lnTo>
                        <a:pt x="1162" y="456"/>
                      </a:lnTo>
                      <a:lnTo>
                        <a:pt x="1162" y="456"/>
                      </a:lnTo>
                      <a:lnTo>
                        <a:pt x="1162" y="455"/>
                      </a:lnTo>
                      <a:lnTo>
                        <a:pt x="1160" y="455"/>
                      </a:lnTo>
                      <a:lnTo>
                        <a:pt x="1162" y="455"/>
                      </a:lnTo>
                      <a:lnTo>
                        <a:pt x="1165" y="455"/>
                      </a:lnTo>
                      <a:lnTo>
                        <a:pt x="1167" y="455"/>
                      </a:lnTo>
                      <a:lnTo>
                        <a:pt x="1168" y="455"/>
                      </a:lnTo>
                      <a:lnTo>
                        <a:pt x="1170" y="455"/>
                      </a:lnTo>
                      <a:lnTo>
                        <a:pt x="1172" y="455"/>
                      </a:lnTo>
                      <a:lnTo>
                        <a:pt x="1177" y="456"/>
                      </a:lnTo>
                      <a:lnTo>
                        <a:pt x="1181" y="456"/>
                      </a:lnTo>
                      <a:lnTo>
                        <a:pt x="1184" y="455"/>
                      </a:lnTo>
                      <a:lnTo>
                        <a:pt x="1188" y="453"/>
                      </a:lnTo>
                      <a:lnTo>
                        <a:pt x="1188" y="453"/>
                      </a:lnTo>
                      <a:lnTo>
                        <a:pt x="1188" y="453"/>
                      </a:lnTo>
                      <a:lnTo>
                        <a:pt x="1188" y="453"/>
                      </a:lnTo>
                      <a:lnTo>
                        <a:pt x="1189" y="453"/>
                      </a:lnTo>
                      <a:lnTo>
                        <a:pt x="1195" y="455"/>
                      </a:lnTo>
                      <a:lnTo>
                        <a:pt x="1196" y="455"/>
                      </a:lnTo>
                      <a:lnTo>
                        <a:pt x="1196" y="451"/>
                      </a:lnTo>
                      <a:lnTo>
                        <a:pt x="1203" y="455"/>
                      </a:lnTo>
                      <a:lnTo>
                        <a:pt x="1207" y="456"/>
                      </a:lnTo>
                      <a:lnTo>
                        <a:pt x="1210" y="456"/>
                      </a:lnTo>
                      <a:lnTo>
                        <a:pt x="1214" y="456"/>
                      </a:lnTo>
                      <a:lnTo>
                        <a:pt x="1219" y="455"/>
                      </a:lnTo>
                      <a:lnTo>
                        <a:pt x="1226" y="455"/>
                      </a:lnTo>
                      <a:lnTo>
                        <a:pt x="1228" y="453"/>
                      </a:lnTo>
                      <a:lnTo>
                        <a:pt x="1230" y="451"/>
                      </a:lnTo>
                      <a:lnTo>
                        <a:pt x="1231" y="448"/>
                      </a:lnTo>
                      <a:lnTo>
                        <a:pt x="1233" y="444"/>
                      </a:lnTo>
                      <a:lnTo>
                        <a:pt x="1231" y="442"/>
                      </a:lnTo>
                      <a:lnTo>
                        <a:pt x="1231" y="441"/>
                      </a:lnTo>
                      <a:lnTo>
                        <a:pt x="1230" y="441"/>
                      </a:lnTo>
                      <a:lnTo>
                        <a:pt x="1228" y="439"/>
                      </a:lnTo>
                      <a:lnTo>
                        <a:pt x="1228" y="437"/>
                      </a:lnTo>
                      <a:lnTo>
                        <a:pt x="1230" y="437"/>
                      </a:lnTo>
                      <a:lnTo>
                        <a:pt x="1233" y="439"/>
                      </a:lnTo>
                      <a:lnTo>
                        <a:pt x="1235" y="439"/>
                      </a:lnTo>
                      <a:lnTo>
                        <a:pt x="1237" y="441"/>
                      </a:lnTo>
                      <a:lnTo>
                        <a:pt x="1237" y="442"/>
                      </a:lnTo>
                      <a:lnTo>
                        <a:pt x="1238" y="442"/>
                      </a:lnTo>
                      <a:lnTo>
                        <a:pt x="1238" y="444"/>
                      </a:lnTo>
                      <a:lnTo>
                        <a:pt x="1238" y="446"/>
                      </a:lnTo>
                      <a:lnTo>
                        <a:pt x="1238" y="446"/>
                      </a:lnTo>
                      <a:lnTo>
                        <a:pt x="1238" y="449"/>
                      </a:lnTo>
                      <a:lnTo>
                        <a:pt x="1238" y="451"/>
                      </a:lnTo>
                      <a:lnTo>
                        <a:pt x="1242" y="453"/>
                      </a:lnTo>
                      <a:lnTo>
                        <a:pt x="1245" y="455"/>
                      </a:lnTo>
                      <a:lnTo>
                        <a:pt x="1252" y="455"/>
                      </a:lnTo>
                      <a:lnTo>
                        <a:pt x="1256" y="456"/>
                      </a:lnTo>
                      <a:lnTo>
                        <a:pt x="1259" y="456"/>
                      </a:lnTo>
                      <a:lnTo>
                        <a:pt x="1263" y="458"/>
                      </a:lnTo>
                      <a:lnTo>
                        <a:pt x="1266" y="458"/>
                      </a:lnTo>
                      <a:lnTo>
                        <a:pt x="1270" y="456"/>
                      </a:lnTo>
                      <a:lnTo>
                        <a:pt x="1277" y="455"/>
                      </a:lnTo>
                      <a:lnTo>
                        <a:pt x="1280" y="453"/>
                      </a:lnTo>
                      <a:lnTo>
                        <a:pt x="1291" y="453"/>
                      </a:lnTo>
                      <a:lnTo>
                        <a:pt x="1296" y="453"/>
                      </a:lnTo>
                      <a:lnTo>
                        <a:pt x="1299" y="449"/>
                      </a:lnTo>
                      <a:lnTo>
                        <a:pt x="1299" y="449"/>
                      </a:lnTo>
                      <a:lnTo>
                        <a:pt x="1301" y="444"/>
                      </a:lnTo>
                      <a:lnTo>
                        <a:pt x="1301" y="442"/>
                      </a:lnTo>
                      <a:lnTo>
                        <a:pt x="1299" y="441"/>
                      </a:lnTo>
                      <a:lnTo>
                        <a:pt x="1298" y="439"/>
                      </a:lnTo>
                      <a:lnTo>
                        <a:pt x="1298" y="437"/>
                      </a:lnTo>
                      <a:lnTo>
                        <a:pt x="1299" y="437"/>
                      </a:lnTo>
                      <a:lnTo>
                        <a:pt x="1301" y="439"/>
                      </a:lnTo>
                      <a:lnTo>
                        <a:pt x="1303" y="439"/>
                      </a:lnTo>
                      <a:lnTo>
                        <a:pt x="1306" y="441"/>
                      </a:lnTo>
                      <a:lnTo>
                        <a:pt x="1308" y="441"/>
                      </a:lnTo>
                      <a:lnTo>
                        <a:pt x="1312" y="439"/>
                      </a:lnTo>
                      <a:lnTo>
                        <a:pt x="1313" y="439"/>
                      </a:lnTo>
                      <a:lnTo>
                        <a:pt x="1317" y="437"/>
                      </a:lnTo>
                      <a:lnTo>
                        <a:pt x="1317" y="432"/>
                      </a:lnTo>
                      <a:lnTo>
                        <a:pt x="1312" y="432"/>
                      </a:lnTo>
                      <a:lnTo>
                        <a:pt x="1299" y="432"/>
                      </a:lnTo>
                      <a:lnTo>
                        <a:pt x="1298" y="428"/>
                      </a:lnTo>
                      <a:lnTo>
                        <a:pt x="1301" y="427"/>
                      </a:lnTo>
                      <a:lnTo>
                        <a:pt x="1312" y="421"/>
                      </a:lnTo>
                      <a:lnTo>
                        <a:pt x="1313" y="418"/>
                      </a:lnTo>
                      <a:lnTo>
                        <a:pt x="1315" y="413"/>
                      </a:lnTo>
                      <a:lnTo>
                        <a:pt x="1313" y="407"/>
                      </a:lnTo>
                      <a:lnTo>
                        <a:pt x="1310" y="404"/>
                      </a:lnTo>
                      <a:lnTo>
                        <a:pt x="1305" y="404"/>
                      </a:lnTo>
                      <a:lnTo>
                        <a:pt x="1301" y="404"/>
                      </a:lnTo>
                      <a:lnTo>
                        <a:pt x="1298" y="402"/>
                      </a:lnTo>
                      <a:lnTo>
                        <a:pt x="1301" y="399"/>
                      </a:lnTo>
                      <a:lnTo>
                        <a:pt x="1301" y="395"/>
                      </a:lnTo>
                      <a:lnTo>
                        <a:pt x="1298" y="393"/>
                      </a:lnTo>
                      <a:lnTo>
                        <a:pt x="1292" y="392"/>
                      </a:lnTo>
                      <a:lnTo>
                        <a:pt x="1285" y="392"/>
                      </a:lnTo>
                      <a:lnTo>
                        <a:pt x="1282" y="392"/>
                      </a:lnTo>
                      <a:lnTo>
                        <a:pt x="1279" y="388"/>
                      </a:lnTo>
                      <a:lnTo>
                        <a:pt x="1279" y="388"/>
                      </a:lnTo>
                      <a:lnTo>
                        <a:pt x="1279" y="388"/>
                      </a:lnTo>
                      <a:lnTo>
                        <a:pt x="1279" y="386"/>
                      </a:lnTo>
                      <a:lnTo>
                        <a:pt x="1279" y="386"/>
                      </a:lnTo>
                      <a:lnTo>
                        <a:pt x="1277" y="385"/>
                      </a:lnTo>
                      <a:lnTo>
                        <a:pt x="1259" y="381"/>
                      </a:lnTo>
                      <a:lnTo>
                        <a:pt x="1256" y="381"/>
                      </a:lnTo>
                      <a:lnTo>
                        <a:pt x="1252" y="381"/>
                      </a:lnTo>
                      <a:lnTo>
                        <a:pt x="1247" y="383"/>
                      </a:lnTo>
                      <a:lnTo>
                        <a:pt x="1238" y="385"/>
                      </a:lnTo>
                      <a:lnTo>
                        <a:pt x="1237" y="386"/>
                      </a:lnTo>
                      <a:lnTo>
                        <a:pt x="1233" y="385"/>
                      </a:lnTo>
                      <a:lnTo>
                        <a:pt x="1226" y="383"/>
                      </a:lnTo>
                      <a:lnTo>
                        <a:pt x="1221" y="383"/>
                      </a:lnTo>
                      <a:lnTo>
                        <a:pt x="1217" y="385"/>
                      </a:lnTo>
                      <a:lnTo>
                        <a:pt x="1210" y="390"/>
                      </a:lnTo>
                      <a:lnTo>
                        <a:pt x="1207" y="390"/>
                      </a:lnTo>
                      <a:lnTo>
                        <a:pt x="1205" y="392"/>
                      </a:lnTo>
                      <a:lnTo>
                        <a:pt x="1200" y="392"/>
                      </a:lnTo>
                      <a:lnTo>
                        <a:pt x="1193" y="395"/>
                      </a:lnTo>
                      <a:lnTo>
                        <a:pt x="1188" y="397"/>
                      </a:lnTo>
                      <a:lnTo>
                        <a:pt x="1182" y="397"/>
                      </a:lnTo>
                      <a:lnTo>
                        <a:pt x="1179" y="399"/>
                      </a:lnTo>
                      <a:lnTo>
                        <a:pt x="1175" y="402"/>
                      </a:lnTo>
                      <a:lnTo>
                        <a:pt x="1177" y="407"/>
                      </a:lnTo>
                      <a:lnTo>
                        <a:pt x="1174" y="407"/>
                      </a:lnTo>
                      <a:lnTo>
                        <a:pt x="1167" y="406"/>
                      </a:lnTo>
                      <a:lnTo>
                        <a:pt x="1162" y="404"/>
                      </a:lnTo>
                      <a:lnTo>
                        <a:pt x="1158" y="402"/>
                      </a:lnTo>
                      <a:lnTo>
                        <a:pt x="1153" y="397"/>
                      </a:lnTo>
                      <a:lnTo>
                        <a:pt x="1151" y="395"/>
                      </a:lnTo>
                      <a:lnTo>
                        <a:pt x="1148" y="395"/>
                      </a:lnTo>
                      <a:lnTo>
                        <a:pt x="1146" y="397"/>
                      </a:lnTo>
                      <a:lnTo>
                        <a:pt x="1144" y="402"/>
                      </a:lnTo>
                      <a:lnTo>
                        <a:pt x="1141" y="399"/>
                      </a:lnTo>
                      <a:lnTo>
                        <a:pt x="1141" y="399"/>
                      </a:lnTo>
                      <a:lnTo>
                        <a:pt x="1139" y="397"/>
                      </a:lnTo>
                      <a:lnTo>
                        <a:pt x="1137" y="397"/>
                      </a:lnTo>
                      <a:lnTo>
                        <a:pt x="1132" y="400"/>
                      </a:lnTo>
                      <a:lnTo>
                        <a:pt x="1130" y="400"/>
                      </a:lnTo>
                      <a:lnTo>
                        <a:pt x="1127" y="399"/>
                      </a:lnTo>
                      <a:lnTo>
                        <a:pt x="1123" y="395"/>
                      </a:lnTo>
                      <a:lnTo>
                        <a:pt x="1121" y="392"/>
                      </a:lnTo>
                      <a:lnTo>
                        <a:pt x="1118" y="392"/>
                      </a:lnTo>
                      <a:lnTo>
                        <a:pt x="1116" y="395"/>
                      </a:lnTo>
                      <a:lnTo>
                        <a:pt x="1116" y="402"/>
                      </a:lnTo>
                      <a:lnTo>
                        <a:pt x="1114" y="406"/>
                      </a:lnTo>
                      <a:lnTo>
                        <a:pt x="1113" y="404"/>
                      </a:lnTo>
                      <a:lnTo>
                        <a:pt x="1107" y="399"/>
                      </a:lnTo>
                      <a:lnTo>
                        <a:pt x="1106" y="399"/>
                      </a:lnTo>
                      <a:lnTo>
                        <a:pt x="1104" y="397"/>
                      </a:lnTo>
                      <a:lnTo>
                        <a:pt x="1102" y="397"/>
                      </a:lnTo>
                      <a:lnTo>
                        <a:pt x="1099" y="397"/>
                      </a:lnTo>
                      <a:lnTo>
                        <a:pt x="1100" y="395"/>
                      </a:lnTo>
                      <a:lnTo>
                        <a:pt x="1104" y="392"/>
                      </a:lnTo>
                      <a:lnTo>
                        <a:pt x="1107" y="388"/>
                      </a:lnTo>
                      <a:lnTo>
                        <a:pt x="1107" y="385"/>
                      </a:lnTo>
                      <a:lnTo>
                        <a:pt x="1106" y="383"/>
                      </a:lnTo>
                      <a:lnTo>
                        <a:pt x="1104" y="381"/>
                      </a:lnTo>
                      <a:lnTo>
                        <a:pt x="1100" y="379"/>
                      </a:lnTo>
                      <a:lnTo>
                        <a:pt x="1099" y="379"/>
                      </a:lnTo>
                      <a:lnTo>
                        <a:pt x="1099" y="379"/>
                      </a:lnTo>
                      <a:lnTo>
                        <a:pt x="1097" y="379"/>
                      </a:lnTo>
                      <a:lnTo>
                        <a:pt x="1097" y="379"/>
                      </a:lnTo>
                      <a:lnTo>
                        <a:pt x="1097" y="379"/>
                      </a:lnTo>
                      <a:lnTo>
                        <a:pt x="1095" y="376"/>
                      </a:lnTo>
                      <a:lnTo>
                        <a:pt x="1095" y="376"/>
                      </a:lnTo>
                      <a:lnTo>
                        <a:pt x="1090" y="372"/>
                      </a:lnTo>
                      <a:lnTo>
                        <a:pt x="1086" y="371"/>
                      </a:lnTo>
                      <a:lnTo>
                        <a:pt x="1067" y="365"/>
                      </a:lnTo>
                      <a:lnTo>
                        <a:pt x="1064" y="364"/>
                      </a:lnTo>
                      <a:lnTo>
                        <a:pt x="1060" y="360"/>
                      </a:lnTo>
                      <a:lnTo>
                        <a:pt x="1065" y="360"/>
                      </a:lnTo>
                      <a:lnTo>
                        <a:pt x="1078" y="364"/>
                      </a:lnTo>
                      <a:lnTo>
                        <a:pt x="1085" y="364"/>
                      </a:lnTo>
                      <a:lnTo>
                        <a:pt x="1090" y="364"/>
                      </a:lnTo>
                      <a:lnTo>
                        <a:pt x="1100" y="362"/>
                      </a:lnTo>
                      <a:lnTo>
                        <a:pt x="1102" y="362"/>
                      </a:lnTo>
                      <a:lnTo>
                        <a:pt x="1106" y="360"/>
                      </a:lnTo>
                      <a:lnTo>
                        <a:pt x="1107" y="358"/>
                      </a:lnTo>
                      <a:lnTo>
                        <a:pt x="1106" y="357"/>
                      </a:lnTo>
                      <a:lnTo>
                        <a:pt x="1104" y="355"/>
                      </a:lnTo>
                      <a:lnTo>
                        <a:pt x="1081" y="351"/>
                      </a:lnTo>
                      <a:lnTo>
                        <a:pt x="1065" y="350"/>
                      </a:lnTo>
                      <a:lnTo>
                        <a:pt x="1062" y="350"/>
                      </a:lnTo>
                      <a:lnTo>
                        <a:pt x="1060" y="348"/>
                      </a:lnTo>
                      <a:lnTo>
                        <a:pt x="1062" y="348"/>
                      </a:lnTo>
                      <a:lnTo>
                        <a:pt x="1074" y="348"/>
                      </a:lnTo>
                      <a:lnTo>
                        <a:pt x="1078" y="348"/>
                      </a:lnTo>
                      <a:lnTo>
                        <a:pt x="1078" y="346"/>
                      </a:lnTo>
                      <a:lnTo>
                        <a:pt x="1074" y="344"/>
                      </a:lnTo>
                      <a:lnTo>
                        <a:pt x="1071" y="341"/>
                      </a:lnTo>
                      <a:lnTo>
                        <a:pt x="1065" y="341"/>
                      </a:lnTo>
                      <a:lnTo>
                        <a:pt x="1062" y="339"/>
                      </a:lnTo>
                      <a:lnTo>
                        <a:pt x="1057" y="339"/>
                      </a:lnTo>
                      <a:lnTo>
                        <a:pt x="1051" y="339"/>
                      </a:lnTo>
                      <a:lnTo>
                        <a:pt x="1039" y="343"/>
                      </a:lnTo>
                      <a:lnTo>
                        <a:pt x="1034" y="343"/>
                      </a:lnTo>
                      <a:lnTo>
                        <a:pt x="1031" y="343"/>
                      </a:lnTo>
                      <a:lnTo>
                        <a:pt x="1027" y="343"/>
                      </a:lnTo>
                      <a:lnTo>
                        <a:pt x="1025" y="343"/>
                      </a:lnTo>
                      <a:lnTo>
                        <a:pt x="1024" y="344"/>
                      </a:lnTo>
                      <a:lnTo>
                        <a:pt x="1018" y="348"/>
                      </a:lnTo>
                      <a:lnTo>
                        <a:pt x="1015" y="350"/>
                      </a:lnTo>
                      <a:lnTo>
                        <a:pt x="1018" y="344"/>
                      </a:lnTo>
                      <a:lnTo>
                        <a:pt x="1022" y="341"/>
                      </a:lnTo>
                      <a:lnTo>
                        <a:pt x="1022" y="337"/>
                      </a:lnTo>
                      <a:lnTo>
                        <a:pt x="1017" y="332"/>
                      </a:lnTo>
                      <a:lnTo>
                        <a:pt x="1010" y="330"/>
                      </a:lnTo>
                      <a:lnTo>
                        <a:pt x="973" y="325"/>
                      </a:lnTo>
                      <a:lnTo>
                        <a:pt x="966" y="325"/>
                      </a:lnTo>
                      <a:lnTo>
                        <a:pt x="952" y="327"/>
                      </a:lnTo>
                      <a:lnTo>
                        <a:pt x="948" y="327"/>
                      </a:lnTo>
                      <a:lnTo>
                        <a:pt x="947" y="329"/>
                      </a:lnTo>
                      <a:lnTo>
                        <a:pt x="947" y="330"/>
                      </a:lnTo>
                      <a:lnTo>
                        <a:pt x="948" y="332"/>
                      </a:lnTo>
                      <a:lnTo>
                        <a:pt x="954" y="334"/>
                      </a:lnTo>
                      <a:lnTo>
                        <a:pt x="952" y="336"/>
                      </a:lnTo>
                      <a:lnTo>
                        <a:pt x="948" y="336"/>
                      </a:lnTo>
                      <a:lnTo>
                        <a:pt x="947" y="336"/>
                      </a:lnTo>
                      <a:lnTo>
                        <a:pt x="943" y="334"/>
                      </a:lnTo>
                      <a:lnTo>
                        <a:pt x="947" y="337"/>
                      </a:lnTo>
                      <a:lnTo>
                        <a:pt x="954" y="341"/>
                      </a:lnTo>
                      <a:lnTo>
                        <a:pt x="964" y="343"/>
                      </a:lnTo>
                      <a:lnTo>
                        <a:pt x="969" y="343"/>
                      </a:lnTo>
                      <a:lnTo>
                        <a:pt x="968" y="344"/>
                      </a:lnTo>
                      <a:lnTo>
                        <a:pt x="962" y="346"/>
                      </a:lnTo>
                      <a:lnTo>
                        <a:pt x="962" y="348"/>
                      </a:lnTo>
                      <a:lnTo>
                        <a:pt x="962" y="350"/>
                      </a:lnTo>
                      <a:lnTo>
                        <a:pt x="964" y="350"/>
                      </a:lnTo>
                      <a:lnTo>
                        <a:pt x="969" y="351"/>
                      </a:lnTo>
                      <a:lnTo>
                        <a:pt x="973" y="353"/>
                      </a:lnTo>
                      <a:lnTo>
                        <a:pt x="975" y="353"/>
                      </a:lnTo>
                      <a:lnTo>
                        <a:pt x="975" y="355"/>
                      </a:lnTo>
                      <a:lnTo>
                        <a:pt x="976" y="357"/>
                      </a:lnTo>
                      <a:lnTo>
                        <a:pt x="978" y="358"/>
                      </a:lnTo>
                      <a:lnTo>
                        <a:pt x="980" y="358"/>
                      </a:lnTo>
                      <a:lnTo>
                        <a:pt x="983" y="358"/>
                      </a:lnTo>
                      <a:lnTo>
                        <a:pt x="989" y="357"/>
                      </a:lnTo>
                      <a:lnTo>
                        <a:pt x="994" y="357"/>
                      </a:lnTo>
                      <a:lnTo>
                        <a:pt x="1003" y="358"/>
                      </a:lnTo>
                      <a:lnTo>
                        <a:pt x="1008" y="358"/>
                      </a:lnTo>
                      <a:lnTo>
                        <a:pt x="1013" y="357"/>
                      </a:lnTo>
                      <a:lnTo>
                        <a:pt x="1017" y="355"/>
                      </a:lnTo>
                      <a:lnTo>
                        <a:pt x="1022" y="353"/>
                      </a:lnTo>
                      <a:lnTo>
                        <a:pt x="1025" y="355"/>
                      </a:lnTo>
                      <a:lnTo>
                        <a:pt x="1029" y="358"/>
                      </a:lnTo>
                      <a:lnTo>
                        <a:pt x="1038" y="372"/>
                      </a:lnTo>
                      <a:lnTo>
                        <a:pt x="1041" y="376"/>
                      </a:lnTo>
                      <a:lnTo>
                        <a:pt x="1045" y="381"/>
                      </a:lnTo>
                      <a:lnTo>
                        <a:pt x="1046" y="385"/>
                      </a:lnTo>
                      <a:lnTo>
                        <a:pt x="1046" y="390"/>
                      </a:lnTo>
                      <a:lnTo>
                        <a:pt x="1045" y="395"/>
                      </a:lnTo>
                      <a:lnTo>
                        <a:pt x="1041" y="404"/>
                      </a:lnTo>
                      <a:lnTo>
                        <a:pt x="1039" y="407"/>
                      </a:lnTo>
                      <a:lnTo>
                        <a:pt x="1039" y="411"/>
                      </a:lnTo>
                      <a:lnTo>
                        <a:pt x="1039" y="413"/>
                      </a:lnTo>
                      <a:lnTo>
                        <a:pt x="1039" y="414"/>
                      </a:lnTo>
                      <a:lnTo>
                        <a:pt x="1039" y="416"/>
                      </a:lnTo>
                      <a:lnTo>
                        <a:pt x="1041" y="418"/>
                      </a:lnTo>
                      <a:lnTo>
                        <a:pt x="1045" y="421"/>
                      </a:lnTo>
                      <a:lnTo>
                        <a:pt x="1046" y="425"/>
                      </a:lnTo>
                      <a:lnTo>
                        <a:pt x="1046" y="425"/>
                      </a:lnTo>
                      <a:lnTo>
                        <a:pt x="1045" y="428"/>
                      </a:lnTo>
                      <a:lnTo>
                        <a:pt x="1045" y="430"/>
                      </a:lnTo>
                      <a:lnTo>
                        <a:pt x="1045" y="434"/>
                      </a:lnTo>
                      <a:lnTo>
                        <a:pt x="1046" y="437"/>
                      </a:lnTo>
                      <a:lnTo>
                        <a:pt x="1048" y="441"/>
                      </a:lnTo>
                      <a:lnTo>
                        <a:pt x="1048" y="442"/>
                      </a:lnTo>
                      <a:lnTo>
                        <a:pt x="1051" y="446"/>
                      </a:lnTo>
                      <a:lnTo>
                        <a:pt x="1057" y="448"/>
                      </a:lnTo>
                      <a:lnTo>
                        <a:pt x="1062" y="449"/>
                      </a:lnTo>
                      <a:lnTo>
                        <a:pt x="1067" y="449"/>
                      </a:lnTo>
                      <a:lnTo>
                        <a:pt x="1065" y="446"/>
                      </a:lnTo>
                      <a:lnTo>
                        <a:pt x="1067" y="444"/>
                      </a:lnTo>
                      <a:lnTo>
                        <a:pt x="1072" y="441"/>
                      </a:lnTo>
                      <a:lnTo>
                        <a:pt x="1071" y="444"/>
                      </a:lnTo>
                      <a:lnTo>
                        <a:pt x="1071" y="446"/>
                      </a:lnTo>
                      <a:lnTo>
                        <a:pt x="1071" y="446"/>
                      </a:lnTo>
                      <a:lnTo>
                        <a:pt x="1072" y="448"/>
                      </a:lnTo>
                      <a:lnTo>
                        <a:pt x="1079" y="451"/>
                      </a:lnTo>
                      <a:lnTo>
                        <a:pt x="1085" y="453"/>
                      </a:lnTo>
                      <a:lnTo>
                        <a:pt x="1090" y="455"/>
                      </a:lnTo>
                      <a:lnTo>
                        <a:pt x="1095" y="455"/>
                      </a:lnTo>
                      <a:close/>
                      <a:moveTo>
                        <a:pt x="1013" y="310"/>
                      </a:moveTo>
                      <a:lnTo>
                        <a:pt x="1015" y="310"/>
                      </a:lnTo>
                      <a:lnTo>
                        <a:pt x="1017" y="310"/>
                      </a:lnTo>
                      <a:lnTo>
                        <a:pt x="1018" y="308"/>
                      </a:lnTo>
                      <a:lnTo>
                        <a:pt x="1020" y="306"/>
                      </a:lnTo>
                      <a:lnTo>
                        <a:pt x="1020" y="304"/>
                      </a:lnTo>
                      <a:lnTo>
                        <a:pt x="1024" y="304"/>
                      </a:lnTo>
                      <a:lnTo>
                        <a:pt x="1020" y="301"/>
                      </a:lnTo>
                      <a:lnTo>
                        <a:pt x="1015" y="299"/>
                      </a:lnTo>
                      <a:lnTo>
                        <a:pt x="987" y="299"/>
                      </a:lnTo>
                      <a:lnTo>
                        <a:pt x="980" y="299"/>
                      </a:lnTo>
                      <a:lnTo>
                        <a:pt x="978" y="299"/>
                      </a:lnTo>
                      <a:lnTo>
                        <a:pt x="976" y="299"/>
                      </a:lnTo>
                      <a:lnTo>
                        <a:pt x="975" y="299"/>
                      </a:lnTo>
                      <a:lnTo>
                        <a:pt x="973" y="297"/>
                      </a:lnTo>
                      <a:lnTo>
                        <a:pt x="969" y="297"/>
                      </a:lnTo>
                      <a:lnTo>
                        <a:pt x="966" y="299"/>
                      </a:lnTo>
                      <a:lnTo>
                        <a:pt x="962" y="301"/>
                      </a:lnTo>
                      <a:lnTo>
                        <a:pt x="959" y="303"/>
                      </a:lnTo>
                      <a:lnTo>
                        <a:pt x="957" y="304"/>
                      </a:lnTo>
                      <a:lnTo>
                        <a:pt x="961" y="310"/>
                      </a:lnTo>
                      <a:lnTo>
                        <a:pt x="973" y="310"/>
                      </a:lnTo>
                      <a:lnTo>
                        <a:pt x="1013" y="310"/>
                      </a:lnTo>
                      <a:close/>
                      <a:moveTo>
                        <a:pt x="971" y="456"/>
                      </a:moveTo>
                      <a:lnTo>
                        <a:pt x="976" y="456"/>
                      </a:lnTo>
                      <a:lnTo>
                        <a:pt x="978" y="455"/>
                      </a:lnTo>
                      <a:lnTo>
                        <a:pt x="978" y="455"/>
                      </a:lnTo>
                      <a:lnTo>
                        <a:pt x="976" y="453"/>
                      </a:lnTo>
                      <a:lnTo>
                        <a:pt x="975" y="451"/>
                      </a:lnTo>
                      <a:lnTo>
                        <a:pt x="973" y="449"/>
                      </a:lnTo>
                      <a:lnTo>
                        <a:pt x="971" y="449"/>
                      </a:lnTo>
                      <a:lnTo>
                        <a:pt x="969" y="451"/>
                      </a:lnTo>
                      <a:lnTo>
                        <a:pt x="966" y="453"/>
                      </a:lnTo>
                      <a:lnTo>
                        <a:pt x="968" y="455"/>
                      </a:lnTo>
                      <a:lnTo>
                        <a:pt x="971" y="456"/>
                      </a:lnTo>
                      <a:close/>
                      <a:moveTo>
                        <a:pt x="1081" y="659"/>
                      </a:moveTo>
                      <a:lnTo>
                        <a:pt x="1081" y="661"/>
                      </a:lnTo>
                      <a:lnTo>
                        <a:pt x="1081" y="661"/>
                      </a:lnTo>
                      <a:lnTo>
                        <a:pt x="1083" y="662"/>
                      </a:lnTo>
                      <a:lnTo>
                        <a:pt x="1085" y="661"/>
                      </a:lnTo>
                      <a:lnTo>
                        <a:pt x="1086" y="659"/>
                      </a:lnTo>
                      <a:lnTo>
                        <a:pt x="1086" y="657"/>
                      </a:lnTo>
                      <a:lnTo>
                        <a:pt x="1083" y="657"/>
                      </a:lnTo>
                      <a:lnTo>
                        <a:pt x="1081" y="659"/>
                      </a:lnTo>
                      <a:close/>
                      <a:moveTo>
                        <a:pt x="1383" y="516"/>
                      </a:moveTo>
                      <a:lnTo>
                        <a:pt x="1383" y="516"/>
                      </a:lnTo>
                      <a:lnTo>
                        <a:pt x="1382" y="516"/>
                      </a:lnTo>
                      <a:lnTo>
                        <a:pt x="1382" y="514"/>
                      </a:lnTo>
                      <a:lnTo>
                        <a:pt x="1380" y="514"/>
                      </a:lnTo>
                      <a:lnTo>
                        <a:pt x="1378" y="512"/>
                      </a:lnTo>
                      <a:lnTo>
                        <a:pt x="1378" y="512"/>
                      </a:lnTo>
                      <a:lnTo>
                        <a:pt x="1376" y="510"/>
                      </a:lnTo>
                      <a:lnTo>
                        <a:pt x="1376" y="509"/>
                      </a:lnTo>
                      <a:lnTo>
                        <a:pt x="1376" y="507"/>
                      </a:lnTo>
                      <a:lnTo>
                        <a:pt x="1375" y="507"/>
                      </a:lnTo>
                      <a:lnTo>
                        <a:pt x="1373" y="505"/>
                      </a:lnTo>
                      <a:lnTo>
                        <a:pt x="1364" y="496"/>
                      </a:lnTo>
                      <a:lnTo>
                        <a:pt x="1361" y="495"/>
                      </a:lnTo>
                      <a:lnTo>
                        <a:pt x="1352" y="493"/>
                      </a:lnTo>
                      <a:lnTo>
                        <a:pt x="1347" y="491"/>
                      </a:lnTo>
                      <a:lnTo>
                        <a:pt x="1341" y="491"/>
                      </a:lnTo>
                      <a:lnTo>
                        <a:pt x="1322" y="491"/>
                      </a:lnTo>
                      <a:lnTo>
                        <a:pt x="1319" y="491"/>
                      </a:lnTo>
                      <a:lnTo>
                        <a:pt x="1303" y="489"/>
                      </a:lnTo>
                      <a:lnTo>
                        <a:pt x="1298" y="488"/>
                      </a:lnTo>
                      <a:lnTo>
                        <a:pt x="1294" y="488"/>
                      </a:lnTo>
                      <a:lnTo>
                        <a:pt x="1291" y="488"/>
                      </a:lnTo>
                      <a:lnTo>
                        <a:pt x="1287" y="489"/>
                      </a:lnTo>
                      <a:lnTo>
                        <a:pt x="1285" y="491"/>
                      </a:lnTo>
                      <a:lnTo>
                        <a:pt x="1285" y="495"/>
                      </a:lnTo>
                      <a:lnTo>
                        <a:pt x="1289" y="496"/>
                      </a:lnTo>
                      <a:lnTo>
                        <a:pt x="1287" y="498"/>
                      </a:lnTo>
                      <a:lnTo>
                        <a:pt x="1287" y="502"/>
                      </a:lnTo>
                      <a:lnTo>
                        <a:pt x="1289" y="503"/>
                      </a:lnTo>
                      <a:lnTo>
                        <a:pt x="1291" y="507"/>
                      </a:lnTo>
                      <a:lnTo>
                        <a:pt x="1294" y="507"/>
                      </a:lnTo>
                      <a:lnTo>
                        <a:pt x="1298" y="509"/>
                      </a:lnTo>
                      <a:lnTo>
                        <a:pt x="1299" y="509"/>
                      </a:lnTo>
                      <a:lnTo>
                        <a:pt x="1301" y="512"/>
                      </a:lnTo>
                      <a:lnTo>
                        <a:pt x="1305" y="521"/>
                      </a:lnTo>
                      <a:lnTo>
                        <a:pt x="1306" y="526"/>
                      </a:lnTo>
                      <a:lnTo>
                        <a:pt x="1312" y="531"/>
                      </a:lnTo>
                      <a:lnTo>
                        <a:pt x="1320" y="531"/>
                      </a:lnTo>
                      <a:lnTo>
                        <a:pt x="1345" y="526"/>
                      </a:lnTo>
                      <a:lnTo>
                        <a:pt x="1354" y="526"/>
                      </a:lnTo>
                      <a:lnTo>
                        <a:pt x="1371" y="528"/>
                      </a:lnTo>
                      <a:lnTo>
                        <a:pt x="1382" y="530"/>
                      </a:lnTo>
                      <a:lnTo>
                        <a:pt x="1389" y="526"/>
                      </a:lnTo>
                      <a:lnTo>
                        <a:pt x="1387" y="524"/>
                      </a:lnTo>
                      <a:lnTo>
                        <a:pt x="1385" y="521"/>
                      </a:lnTo>
                      <a:lnTo>
                        <a:pt x="1383" y="521"/>
                      </a:lnTo>
                      <a:lnTo>
                        <a:pt x="1383" y="519"/>
                      </a:lnTo>
                      <a:lnTo>
                        <a:pt x="1383" y="517"/>
                      </a:lnTo>
                      <a:lnTo>
                        <a:pt x="1383" y="516"/>
                      </a:lnTo>
                      <a:close/>
                      <a:moveTo>
                        <a:pt x="1097" y="339"/>
                      </a:moveTo>
                      <a:lnTo>
                        <a:pt x="1097" y="337"/>
                      </a:lnTo>
                      <a:lnTo>
                        <a:pt x="1095" y="334"/>
                      </a:lnTo>
                      <a:lnTo>
                        <a:pt x="1092" y="332"/>
                      </a:lnTo>
                      <a:lnTo>
                        <a:pt x="1086" y="332"/>
                      </a:lnTo>
                      <a:lnTo>
                        <a:pt x="1081" y="334"/>
                      </a:lnTo>
                      <a:lnTo>
                        <a:pt x="1079" y="336"/>
                      </a:lnTo>
                      <a:lnTo>
                        <a:pt x="1081" y="339"/>
                      </a:lnTo>
                      <a:lnTo>
                        <a:pt x="1083" y="343"/>
                      </a:lnTo>
                      <a:lnTo>
                        <a:pt x="1086" y="346"/>
                      </a:lnTo>
                      <a:lnTo>
                        <a:pt x="1090" y="348"/>
                      </a:lnTo>
                      <a:lnTo>
                        <a:pt x="1092" y="348"/>
                      </a:lnTo>
                      <a:lnTo>
                        <a:pt x="1093" y="348"/>
                      </a:lnTo>
                      <a:lnTo>
                        <a:pt x="1095" y="348"/>
                      </a:lnTo>
                      <a:lnTo>
                        <a:pt x="1097" y="346"/>
                      </a:lnTo>
                      <a:lnTo>
                        <a:pt x="1097" y="346"/>
                      </a:lnTo>
                      <a:lnTo>
                        <a:pt x="1095" y="344"/>
                      </a:lnTo>
                      <a:lnTo>
                        <a:pt x="1095" y="343"/>
                      </a:lnTo>
                      <a:lnTo>
                        <a:pt x="1095" y="339"/>
                      </a:lnTo>
                      <a:lnTo>
                        <a:pt x="1097" y="339"/>
                      </a:lnTo>
                      <a:close/>
                      <a:moveTo>
                        <a:pt x="1092" y="308"/>
                      </a:moveTo>
                      <a:lnTo>
                        <a:pt x="1079" y="304"/>
                      </a:lnTo>
                      <a:lnTo>
                        <a:pt x="1069" y="304"/>
                      </a:lnTo>
                      <a:lnTo>
                        <a:pt x="1065" y="310"/>
                      </a:lnTo>
                      <a:lnTo>
                        <a:pt x="1071" y="315"/>
                      </a:lnTo>
                      <a:lnTo>
                        <a:pt x="1081" y="318"/>
                      </a:lnTo>
                      <a:lnTo>
                        <a:pt x="1093" y="318"/>
                      </a:lnTo>
                      <a:lnTo>
                        <a:pt x="1097" y="313"/>
                      </a:lnTo>
                      <a:lnTo>
                        <a:pt x="1092" y="308"/>
                      </a:lnTo>
                      <a:close/>
                      <a:moveTo>
                        <a:pt x="762" y="238"/>
                      </a:moveTo>
                      <a:lnTo>
                        <a:pt x="772" y="238"/>
                      </a:lnTo>
                      <a:lnTo>
                        <a:pt x="776" y="240"/>
                      </a:lnTo>
                      <a:lnTo>
                        <a:pt x="774" y="241"/>
                      </a:lnTo>
                      <a:lnTo>
                        <a:pt x="772" y="245"/>
                      </a:lnTo>
                      <a:lnTo>
                        <a:pt x="770" y="248"/>
                      </a:lnTo>
                      <a:lnTo>
                        <a:pt x="774" y="248"/>
                      </a:lnTo>
                      <a:lnTo>
                        <a:pt x="777" y="247"/>
                      </a:lnTo>
                      <a:lnTo>
                        <a:pt x="781" y="245"/>
                      </a:lnTo>
                      <a:lnTo>
                        <a:pt x="784" y="241"/>
                      </a:lnTo>
                      <a:lnTo>
                        <a:pt x="788" y="240"/>
                      </a:lnTo>
                      <a:lnTo>
                        <a:pt x="790" y="241"/>
                      </a:lnTo>
                      <a:lnTo>
                        <a:pt x="793" y="243"/>
                      </a:lnTo>
                      <a:lnTo>
                        <a:pt x="793" y="245"/>
                      </a:lnTo>
                      <a:lnTo>
                        <a:pt x="793" y="245"/>
                      </a:lnTo>
                      <a:lnTo>
                        <a:pt x="788" y="248"/>
                      </a:lnTo>
                      <a:lnTo>
                        <a:pt x="788" y="250"/>
                      </a:lnTo>
                      <a:lnTo>
                        <a:pt x="790" y="252"/>
                      </a:lnTo>
                      <a:lnTo>
                        <a:pt x="800" y="252"/>
                      </a:lnTo>
                      <a:lnTo>
                        <a:pt x="805" y="252"/>
                      </a:lnTo>
                      <a:lnTo>
                        <a:pt x="802" y="254"/>
                      </a:lnTo>
                      <a:lnTo>
                        <a:pt x="795" y="255"/>
                      </a:lnTo>
                      <a:lnTo>
                        <a:pt x="791" y="257"/>
                      </a:lnTo>
                      <a:lnTo>
                        <a:pt x="797" y="257"/>
                      </a:lnTo>
                      <a:lnTo>
                        <a:pt x="800" y="259"/>
                      </a:lnTo>
                      <a:lnTo>
                        <a:pt x="802" y="261"/>
                      </a:lnTo>
                      <a:lnTo>
                        <a:pt x="798" y="262"/>
                      </a:lnTo>
                      <a:lnTo>
                        <a:pt x="793" y="264"/>
                      </a:lnTo>
                      <a:lnTo>
                        <a:pt x="777" y="261"/>
                      </a:lnTo>
                      <a:lnTo>
                        <a:pt x="776" y="261"/>
                      </a:lnTo>
                      <a:lnTo>
                        <a:pt x="772" y="262"/>
                      </a:lnTo>
                      <a:lnTo>
                        <a:pt x="770" y="264"/>
                      </a:lnTo>
                      <a:lnTo>
                        <a:pt x="770" y="266"/>
                      </a:lnTo>
                      <a:lnTo>
                        <a:pt x="772" y="268"/>
                      </a:lnTo>
                      <a:lnTo>
                        <a:pt x="774" y="269"/>
                      </a:lnTo>
                      <a:lnTo>
                        <a:pt x="779" y="273"/>
                      </a:lnTo>
                      <a:lnTo>
                        <a:pt x="784" y="275"/>
                      </a:lnTo>
                      <a:lnTo>
                        <a:pt x="790" y="275"/>
                      </a:lnTo>
                      <a:lnTo>
                        <a:pt x="819" y="269"/>
                      </a:lnTo>
                      <a:lnTo>
                        <a:pt x="817" y="273"/>
                      </a:lnTo>
                      <a:lnTo>
                        <a:pt x="819" y="275"/>
                      </a:lnTo>
                      <a:lnTo>
                        <a:pt x="824" y="275"/>
                      </a:lnTo>
                      <a:lnTo>
                        <a:pt x="831" y="275"/>
                      </a:lnTo>
                      <a:lnTo>
                        <a:pt x="835" y="275"/>
                      </a:lnTo>
                      <a:lnTo>
                        <a:pt x="852" y="278"/>
                      </a:lnTo>
                      <a:lnTo>
                        <a:pt x="856" y="280"/>
                      </a:lnTo>
                      <a:lnTo>
                        <a:pt x="859" y="282"/>
                      </a:lnTo>
                      <a:lnTo>
                        <a:pt x="861" y="285"/>
                      </a:lnTo>
                      <a:lnTo>
                        <a:pt x="861" y="289"/>
                      </a:lnTo>
                      <a:lnTo>
                        <a:pt x="863" y="290"/>
                      </a:lnTo>
                      <a:lnTo>
                        <a:pt x="865" y="292"/>
                      </a:lnTo>
                      <a:lnTo>
                        <a:pt x="873" y="296"/>
                      </a:lnTo>
                      <a:lnTo>
                        <a:pt x="882" y="297"/>
                      </a:lnTo>
                      <a:lnTo>
                        <a:pt x="891" y="296"/>
                      </a:lnTo>
                      <a:lnTo>
                        <a:pt x="896" y="290"/>
                      </a:lnTo>
                      <a:lnTo>
                        <a:pt x="898" y="287"/>
                      </a:lnTo>
                      <a:lnTo>
                        <a:pt x="898" y="283"/>
                      </a:lnTo>
                      <a:lnTo>
                        <a:pt x="896" y="282"/>
                      </a:lnTo>
                      <a:lnTo>
                        <a:pt x="891" y="278"/>
                      </a:lnTo>
                      <a:lnTo>
                        <a:pt x="886" y="273"/>
                      </a:lnTo>
                      <a:lnTo>
                        <a:pt x="884" y="273"/>
                      </a:lnTo>
                      <a:lnTo>
                        <a:pt x="882" y="273"/>
                      </a:lnTo>
                      <a:lnTo>
                        <a:pt x="882" y="271"/>
                      </a:lnTo>
                      <a:lnTo>
                        <a:pt x="880" y="268"/>
                      </a:lnTo>
                      <a:lnTo>
                        <a:pt x="880" y="268"/>
                      </a:lnTo>
                      <a:lnTo>
                        <a:pt x="882" y="266"/>
                      </a:lnTo>
                      <a:lnTo>
                        <a:pt x="884" y="264"/>
                      </a:lnTo>
                      <a:lnTo>
                        <a:pt x="884" y="262"/>
                      </a:lnTo>
                      <a:lnTo>
                        <a:pt x="886" y="262"/>
                      </a:lnTo>
                      <a:lnTo>
                        <a:pt x="886" y="261"/>
                      </a:lnTo>
                      <a:lnTo>
                        <a:pt x="884" y="261"/>
                      </a:lnTo>
                      <a:lnTo>
                        <a:pt x="882" y="259"/>
                      </a:lnTo>
                      <a:lnTo>
                        <a:pt x="877" y="254"/>
                      </a:lnTo>
                      <a:lnTo>
                        <a:pt x="875" y="252"/>
                      </a:lnTo>
                      <a:lnTo>
                        <a:pt x="868" y="248"/>
                      </a:lnTo>
                      <a:lnTo>
                        <a:pt x="859" y="250"/>
                      </a:lnTo>
                      <a:lnTo>
                        <a:pt x="854" y="250"/>
                      </a:lnTo>
                      <a:lnTo>
                        <a:pt x="852" y="248"/>
                      </a:lnTo>
                      <a:lnTo>
                        <a:pt x="852" y="247"/>
                      </a:lnTo>
                      <a:lnTo>
                        <a:pt x="854" y="245"/>
                      </a:lnTo>
                      <a:lnTo>
                        <a:pt x="854" y="243"/>
                      </a:lnTo>
                      <a:lnTo>
                        <a:pt x="854" y="243"/>
                      </a:lnTo>
                      <a:lnTo>
                        <a:pt x="852" y="241"/>
                      </a:lnTo>
                      <a:lnTo>
                        <a:pt x="852" y="241"/>
                      </a:lnTo>
                      <a:lnTo>
                        <a:pt x="851" y="241"/>
                      </a:lnTo>
                      <a:lnTo>
                        <a:pt x="849" y="240"/>
                      </a:lnTo>
                      <a:lnTo>
                        <a:pt x="840" y="236"/>
                      </a:lnTo>
                      <a:lnTo>
                        <a:pt x="837" y="236"/>
                      </a:lnTo>
                      <a:lnTo>
                        <a:pt x="831" y="236"/>
                      </a:lnTo>
                      <a:lnTo>
                        <a:pt x="828" y="238"/>
                      </a:lnTo>
                      <a:lnTo>
                        <a:pt x="826" y="240"/>
                      </a:lnTo>
                      <a:lnTo>
                        <a:pt x="826" y="240"/>
                      </a:lnTo>
                      <a:lnTo>
                        <a:pt x="824" y="241"/>
                      </a:lnTo>
                      <a:lnTo>
                        <a:pt x="824" y="243"/>
                      </a:lnTo>
                      <a:lnTo>
                        <a:pt x="823" y="245"/>
                      </a:lnTo>
                      <a:lnTo>
                        <a:pt x="821" y="245"/>
                      </a:lnTo>
                      <a:lnTo>
                        <a:pt x="821" y="245"/>
                      </a:lnTo>
                      <a:lnTo>
                        <a:pt x="821" y="243"/>
                      </a:lnTo>
                      <a:lnTo>
                        <a:pt x="819" y="241"/>
                      </a:lnTo>
                      <a:lnTo>
                        <a:pt x="819" y="241"/>
                      </a:lnTo>
                      <a:lnTo>
                        <a:pt x="821" y="234"/>
                      </a:lnTo>
                      <a:lnTo>
                        <a:pt x="814" y="229"/>
                      </a:lnTo>
                      <a:lnTo>
                        <a:pt x="807" y="224"/>
                      </a:lnTo>
                      <a:lnTo>
                        <a:pt x="800" y="222"/>
                      </a:lnTo>
                      <a:lnTo>
                        <a:pt x="795" y="222"/>
                      </a:lnTo>
                      <a:lnTo>
                        <a:pt x="790" y="222"/>
                      </a:lnTo>
                      <a:lnTo>
                        <a:pt x="781" y="222"/>
                      </a:lnTo>
                      <a:lnTo>
                        <a:pt x="765" y="222"/>
                      </a:lnTo>
                      <a:lnTo>
                        <a:pt x="762" y="224"/>
                      </a:lnTo>
                      <a:lnTo>
                        <a:pt x="760" y="226"/>
                      </a:lnTo>
                      <a:lnTo>
                        <a:pt x="758" y="231"/>
                      </a:lnTo>
                      <a:lnTo>
                        <a:pt x="756" y="234"/>
                      </a:lnTo>
                      <a:lnTo>
                        <a:pt x="758" y="238"/>
                      </a:lnTo>
                      <a:lnTo>
                        <a:pt x="762" y="238"/>
                      </a:lnTo>
                      <a:close/>
                      <a:moveTo>
                        <a:pt x="212" y="1237"/>
                      </a:moveTo>
                      <a:lnTo>
                        <a:pt x="212" y="1239"/>
                      </a:lnTo>
                      <a:lnTo>
                        <a:pt x="212" y="1241"/>
                      </a:lnTo>
                      <a:lnTo>
                        <a:pt x="212" y="1241"/>
                      </a:lnTo>
                      <a:lnTo>
                        <a:pt x="213" y="1243"/>
                      </a:lnTo>
                      <a:lnTo>
                        <a:pt x="213" y="1239"/>
                      </a:lnTo>
                      <a:lnTo>
                        <a:pt x="213" y="1239"/>
                      </a:lnTo>
                      <a:lnTo>
                        <a:pt x="212" y="1237"/>
                      </a:lnTo>
                      <a:close/>
                      <a:moveTo>
                        <a:pt x="210" y="1232"/>
                      </a:moveTo>
                      <a:lnTo>
                        <a:pt x="208" y="1232"/>
                      </a:lnTo>
                      <a:lnTo>
                        <a:pt x="208" y="1232"/>
                      </a:lnTo>
                      <a:lnTo>
                        <a:pt x="208" y="1232"/>
                      </a:lnTo>
                      <a:lnTo>
                        <a:pt x="208" y="1230"/>
                      </a:lnTo>
                      <a:lnTo>
                        <a:pt x="208" y="1229"/>
                      </a:lnTo>
                      <a:lnTo>
                        <a:pt x="208" y="1229"/>
                      </a:lnTo>
                      <a:lnTo>
                        <a:pt x="206" y="1229"/>
                      </a:lnTo>
                      <a:lnTo>
                        <a:pt x="205" y="1227"/>
                      </a:lnTo>
                      <a:lnTo>
                        <a:pt x="203" y="1225"/>
                      </a:lnTo>
                      <a:lnTo>
                        <a:pt x="201" y="1223"/>
                      </a:lnTo>
                      <a:lnTo>
                        <a:pt x="203" y="1222"/>
                      </a:lnTo>
                      <a:lnTo>
                        <a:pt x="205" y="1220"/>
                      </a:lnTo>
                      <a:lnTo>
                        <a:pt x="203" y="1220"/>
                      </a:lnTo>
                      <a:lnTo>
                        <a:pt x="199" y="1218"/>
                      </a:lnTo>
                      <a:lnTo>
                        <a:pt x="198" y="1218"/>
                      </a:lnTo>
                      <a:lnTo>
                        <a:pt x="198" y="1216"/>
                      </a:lnTo>
                      <a:lnTo>
                        <a:pt x="196" y="1216"/>
                      </a:lnTo>
                      <a:lnTo>
                        <a:pt x="194" y="1215"/>
                      </a:lnTo>
                      <a:lnTo>
                        <a:pt x="194" y="1215"/>
                      </a:lnTo>
                      <a:lnTo>
                        <a:pt x="196" y="1215"/>
                      </a:lnTo>
                      <a:lnTo>
                        <a:pt x="198" y="1215"/>
                      </a:lnTo>
                      <a:lnTo>
                        <a:pt x="199" y="1213"/>
                      </a:lnTo>
                      <a:lnTo>
                        <a:pt x="201" y="1211"/>
                      </a:lnTo>
                      <a:lnTo>
                        <a:pt x="201" y="1209"/>
                      </a:lnTo>
                      <a:lnTo>
                        <a:pt x="199" y="1208"/>
                      </a:lnTo>
                      <a:lnTo>
                        <a:pt x="198" y="1206"/>
                      </a:lnTo>
                      <a:lnTo>
                        <a:pt x="194" y="1204"/>
                      </a:lnTo>
                      <a:lnTo>
                        <a:pt x="180" y="1208"/>
                      </a:lnTo>
                      <a:lnTo>
                        <a:pt x="182" y="1209"/>
                      </a:lnTo>
                      <a:lnTo>
                        <a:pt x="185" y="1209"/>
                      </a:lnTo>
                      <a:lnTo>
                        <a:pt x="189" y="1211"/>
                      </a:lnTo>
                      <a:lnTo>
                        <a:pt x="187" y="1213"/>
                      </a:lnTo>
                      <a:lnTo>
                        <a:pt x="187" y="1215"/>
                      </a:lnTo>
                      <a:lnTo>
                        <a:pt x="189" y="1216"/>
                      </a:lnTo>
                      <a:lnTo>
                        <a:pt x="199" y="1227"/>
                      </a:lnTo>
                      <a:lnTo>
                        <a:pt x="201" y="1229"/>
                      </a:lnTo>
                      <a:lnTo>
                        <a:pt x="205" y="1232"/>
                      </a:lnTo>
                      <a:lnTo>
                        <a:pt x="205" y="1234"/>
                      </a:lnTo>
                      <a:lnTo>
                        <a:pt x="208" y="1236"/>
                      </a:lnTo>
                      <a:lnTo>
                        <a:pt x="210" y="1236"/>
                      </a:lnTo>
                      <a:lnTo>
                        <a:pt x="212" y="1236"/>
                      </a:lnTo>
                      <a:lnTo>
                        <a:pt x="212" y="1234"/>
                      </a:lnTo>
                      <a:lnTo>
                        <a:pt x="210" y="1232"/>
                      </a:lnTo>
                      <a:close/>
                      <a:moveTo>
                        <a:pt x="185" y="1206"/>
                      </a:moveTo>
                      <a:lnTo>
                        <a:pt x="189" y="1204"/>
                      </a:lnTo>
                      <a:lnTo>
                        <a:pt x="192" y="1204"/>
                      </a:lnTo>
                      <a:lnTo>
                        <a:pt x="194" y="1201"/>
                      </a:lnTo>
                      <a:lnTo>
                        <a:pt x="194" y="1197"/>
                      </a:lnTo>
                      <a:lnTo>
                        <a:pt x="194" y="1194"/>
                      </a:lnTo>
                      <a:lnTo>
                        <a:pt x="196" y="1190"/>
                      </a:lnTo>
                      <a:lnTo>
                        <a:pt x="196" y="1187"/>
                      </a:lnTo>
                      <a:lnTo>
                        <a:pt x="198" y="1185"/>
                      </a:lnTo>
                      <a:lnTo>
                        <a:pt x="199" y="1181"/>
                      </a:lnTo>
                      <a:lnTo>
                        <a:pt x="199" y="1178"/>
                      </a:lnTo>
                      <a:lnTo>
                        <a:pt x="194" y="1180"/>
                      </a:lnTo>
                      <a:lnTo>
                        <a:pt x="191" y="1181"/>
                      </a:lnTo>
                      <a:lnTo>
                        <a:pt x="191" y="1183"/>
                      </a:lnTo>
                      <a:lnTo>
                        <a:pt x="191" y="1183"/>
                      </a:lnTo>
                      <a:lnTo>
                        <a:pt x="191" y="1187"/>
                      </a:lnTo>
                      <a:lnTo>
                        <a:pt x="189" y="1188"/>
                      </a:lnTo>
                      <a:lnTo>
                        <a:pt x="187" y="1192"/>
                      </a:lnTo>
                      <a:lnTo>
                        <a:pt x="184" y="1192"/>
                      </a:lnTo>
                      <a:lnTo>
                        <a:pt x="180" y="1192"/>
                      </a:lnTo>
                      <a:lnTo>
                        <a:pt x="184" y="1190"/>
                      </a:lnTo>
                      <a:lnTo>
                        <a:pt x="187" y="1187"/>
                      </a:lnTo>
                      <a:lnTo>
                        <a:pt x="191" y="1183"/>
                      </a:lnTo>
                      <a:lnTo>
                        <a:pt x="185" y="1180"/>
                      </a:lnTo>
                      <a:lnTo>
                        <a:pt x="185" y="1180"/>
                      </a:lnTo>
                      <a:lnTo>
                        <a:pt x="184" y="1180"/>
                      </a:lnTo>
                      <a:lnTo>
                        <a:pt x="182" y="1180"/>
                      </a:lnTo>
                      <a:lnTo>
                        <a:pt x="182" y="1180"/>
                      </a:lnTo>
                      <a:lnTo>
                        <a:pt x="180" y="1180"/>
                      </a:lnTo>
                      <a:lnTo>
                        <a:pt x="178" y="1178"/>
                      </a:lnTo>
                      <a:lnTo>
                        <a:pt x="177" y="1178"/>
                      </a:lnTo>
                      <a:lnTo>
                        <a:pt x="173" y="1178"/>
                      </a:lnTo>
                      <a:lnTo>
                        <a:pt x="171" y="1178"/>
                      </a:lnTo>
                      <a:lnTo>
                        <a:pt x="170" y="1180"/>
                      </a:lnTo>
                      <a:lnTo>
                        <a:pt x="170" y="1181"/>
                      </a:lnTo>
                      <a:lnTo>
                        <a:pt x="170" y="1185"/>
                      </a:lnTo>
                      <a:lnTo>
                        <a:pt x="170" y="1188"/>
                      </a:lnTo>
                      <a:lnTo>
                        <a:pt x="171" y="1192"/>
                      </a:lnTo>
                      <a:lnTo>
                        <a:pt x="173" y="1194"/>
                      </a:lnTo>
                      <a:lnTo>
                        <a:pt x="175" y="1195"/>
                      </a:lnTo>
                      <a:lnTo>
                        <a:pt x="180" y="1199"/>
                      </a:lnTo>
                      <a:lnTo>
                        <a:pt x="184" y="1201"/>
                      </a:lnTo>
                      <a:lnTo>
                        <a:pt x="182" y="1201"/>
                      </a:lnTo>
                      <a:lnTo>
                        <a:pt x="178" y="1201"/>
                      </a:lnTo>
                      <a:lnTo>
                        <a:pt x="177" y="1201"/>
                      </a:lnTo>
                      <a:lnTo>
                        <a:pt x="178" y="1204"/>
                      </a:lnTo>
                      <a:lnTo>
                        <a:pt x="182" y="1206"/>
                      </a:lnTo>
                      <a:lnTo>
                        <a:pt x="185" y="1206"/>
                      </a:lnTo>
                      <a:close/>
                      <a:moveTo>
                        <a:pt x="596" y="306"/>
                      </a:moveTo>
                      <a:lnTo>
                        <a:pt x="596" y="306"/>
                      </a:lnTo>
                      <a:lnTo>
                        <a:pt x="596" y="306"/>
                      </a:lnTo>
                      <a:lnTo>
                        <a:pt x="596" y="308"/>
                      </a:lnTo>
                      <a:lnTo>
                        <a:pt x="597" y="310"/>
                      </a:lnTo>
                      <a:lnTo>
                        <a:pt x="601" y="310"/>
                      </a:lnTo>
                      <a:lnTo>
                        <a:pt x="608" y="311"/>
                      </a:lnTo>
                      <a:lnTo>
                        <a:pt x="613" y="313"/>
                      </a:lnTo>
                      <a:lnTo>
                        <a:pt x="615" y="315"/>
                      </a:lnTo>
                      <a:lnTo>
                        <a:pt x="618" y="315"/>
                      </a:lnTo>
                      <a:lnTo>
                        <a:pt x="648" y="311"/>
                      </a:lnTo>
                      <a:lnTo>
                        <a:pt x="655" y="310"/>
                      </a:lnTo>
                      <a:lnTo>
                        <a:pt x="659" y="308"/>
                      </a:lnTo>
                      <a:lnTo>
                        <a:pt x="660" y="303"/>
                      </a:lnTo>
                      <a:lnTo>
                        <a:pt x="659" y="299"/>
                      </a:lnTo>
                      <a:lnTo>
                        <a:pt x="653" y="299"/>
                      </a:lnTo>
                      <a:lnTo>
                        <a:pt x="648" y="299"/>
                      </a:lnTo>
                      <a:lnTo>
                        <a:pt x="645" y="297"/>
                      </a:lnTo>
                      <a:lnTo>
                        <a:pt x="646" y="294"/>
                      </a:lnTo>
                      <a:lnTo>
                        <a:pt x="653" y="292"/>
                      </a:lnTo>
                      <a:lnTo>
                        <a:pt x="664" y="290"/>
                      </a:lnTo>
                      <a:lnTo>
                        <a:pt x="666" y="289"/>
                      </a:lnTo>
                      <a:lnTo>
                        <a:pt x="669" y="289"/>
                      </a:lnTo>
                      <a:lnTo>
                        <a:pt x="671" y="287"/>
                      </a:lnTo>
                      <a:lnTo>
                        <a:pt x="671" y="283"/>
                      </a:lnTo>
                      <a:lnTo>
                        <a:pt x="669" y="283"/>
                      </a:lnTo>
                      <a:lnTo>
                        <a:pt x="667" y="282"/>
                      </a:lnTo>
                      <a:lnTo>
                        <a:pt x="632" y="283"/>
                      </a:lnTo>
                      <a:lnTo>
                        <a:pt x="601" y="289"/>
                      </a:lnTo>
                      <a:lnTo>
                        <a:pt x="596" y="292"/>
                      </a:lnTo>
                      <a:lnTo>
                        <a:pt x="592" y="296"/>
                      </a:lnTo>
                      <a:lnTo>
                        <a:pt x="594" y="299"/>
                      </a:lnTo>
                      <a:lnTo>
                        <a:pt x="596" y="306"/>
                      </a:lnTo>
                      <a:close/>
                      <a:moveTo>
                        <a:pt x="40" y="654"/>
                      </a:moveTo>
                      <a:lnTo>
                        <a:pt x="44" y="654"/>
                      </a:lnTo>
                      <a:lnTo>
                        <a:pt x="46" y="652"/>
                      </a:lnTo>
                      <a:lnTo>
                        <a:pt x="44" y="652"/>
                      </a:lnTo>
                      <a:lnTo>
                        <a:pt x="40" y="652"/>
                      </a:lnTo>
                      <a:lnTo>
                        <a:pt x="39" y="652"/>
                      </a:lnTo>
                      <a:lnTo>
                        <a:pt x="37" y="652"/>
                      </a:lnTo>
                      <a:lnTo>
                        <a:pt x="39" y="654"/>
                      </a:lnTo>
                      <a:lnTo>
                        <a:pt x="40" y="654"/>
                      </a:lnTo>
                      <a:close/>
                      <a:moveTo>
                        <a:pt x="234" y="1195"/>
                      </a:moveTo>
                      <a:lnTo>
                        <a:pt x="227" y="1194"/>
                      </a:lnTo>
                      <a:lnTo>
                        <a:pt x="224" y="1195"/>
                      </a:lnTo>
                      <a:lnTo>
                        <a:pt x="232" y="1202"/>
                      </a:lnTo>
                      <a:lnTo>
                        <a:pt x="238" y="1206"/>
                      </a:lnTo>
                      <a:lnTo>
                        <a:pt x="241" y="1204"/>
                      </a:lnTo>
                      <a:lnTo>
                        <a:pt x="239" y="1201"/>
                      </a:lnTo>
                      <a:lnTo>
                        <a:pt x="234" y="1195"/>
                      </a:lnTo>
                      <a:close/>
                      <a:moveTo>
                        <a:pt x="229" y="1185"/>
                      </a:moveTo>
                      <a:lnTo>
                        <a:pt x="229" y="1181"/>
                      </a:lnTo>
                      <a:lnTo>
                        <a:pt x="227" y="1180"/>
                      </a:lnTo>
                      <a:lnTo>
                        <a:pt x="224" y="1181"/>
                      </a:lnTo>
                      <a:lnTo>
                        <a:pt x="220" y="1185"/>
                      </a:lnTo>
                      <a:lnTo>
                        <a:pt x="220" y="1185"/>
                      </a:lnTo>
                      <a:lnTo>
                        <a:pt x="220" y="1187"/>
                      </a:lnTo>
                      <a:lnTo>
                        <a:pt x="222" y="1187"/>
                      </a:lnTo>
                      <a:lnTo>
                        <a:pt x="222" y="1185"/>
                      </a:lnTo>
                      <a:lnTo>
                        <a:pt x="224" y="1185"/>
                      </a:lnTo>
                      <a:lnTo>
                        <a:pt x="227" y="1187"/>
                      </a:lnTo>
                      <a:lnTo>
                        <a:pt x="229" y="1185"/>
                      </a:lnTo>
                      <a:close/>
                      <a:moveTo>
                        <a:pt x="229" y="1159"/>
                      </a:moveTo>
                      <a:lnTo>
                        <a:pt x="231" y="1155"/>
                      </a:lnTo>
                      <a:lnTo>
                        <a:pt x="231" y="1153"/>
                      </a:lnTo>
                      <a:lnTo>
                        <a:pt x="224" y="1160"/>
                      </a:lnTo>
                      <a:lnTo>
                        <a:pt x="226" y="1160"/>
                      </a:lnTo>
                      <a:lnTo>
                        <a:pt x="229" y="1159"/>
                      </a:lnTo>
                      <a:close/>
                      <a:moveTo>
                        <a:pt x="215" y="1166"/>
                      </a:moveTo>
                      <a:lnTo>
                        <a:pt x="215" y="1169"/>
                      </a:lnTo>
                      <a:lnTo>
                        <a:pt x="219" y="1166"/>
                      </a:lnTo>
                      <a:lnTo>
                        <a:pt x="219" y="1164"/>
                      </a:lnTo>
                      <a:lnTo>
                        <a:pt x="215" y="1166"/>
                      </a:lnTo>
                      <a:close/>
                      <a:moveTo>
                        <a:pt x="575" y="330"/>
                      </a:moveTo>
                      <a:lnTo>
                        <a:pt x="566" y="332"/>
                      </a:lnTo>
                      <a:lnTo>
                        <a:pt x="559" y="334"/>
                      </a:lnTo>
                      <a:lnTo>
                        <a:pt x="563" y="336"/>
                      </a:lnTo>
                      <a:lnTo>
                        <a:pt x="566" y="337"/>
                      </a:lnTo>
                      <a:lnTo>
                        <a:pt x="573" y="337"/>
                      </a:lnTo>
                      <a:lnTo>
                        <a:pt x="582" y="337"/>
                      </a:lnTo>
                      <a:lnTo>
                        <a:pt x="585" y="337"/>
                      </a:lnTo>
                      <a:lnTo>
                        <a:pt x="589" y="336"/>
                      </a:lnTo>
                      <a:lnTo>
                        <a:pt x="583" y="330"/>
                      </a:lnTo>
                      <a:lnTo>
                        <a:pt x="575" y="330"/>
                      </a:lnTo>
                      <a:close/>
                      <a:moveTo>
                        <a:pt x="327" y="565"/>
                      </a:moveTo>
                      <a:lnTo>
                        <a:pt x="329" y="565"/>
                      </a:lnTo>
                      <a:lnTo>
                        <a:pt x="336" y="565"/>
                      </a:lnTo>
                      <a:lnTo>
                        <a:pt x="337" y="565"/>
                      </a:lnTo>
                      <a:lnTo>
                        <a:pt x="341" y="565"/>
                      </a:lnTo>
                      <a:lnTo>
                        <a:pt x="348" y="568"/>
                      </a:lnTo>
                      <a:lnTo>
                        <a:pt x="356" y="572"/>
                      </a:lnTo>
                      <a:lnTo>
                        <a:pt x="362" y="573"/>
                      </a:lnTo>
                      <a:lnTo>
                        <a:pt x="367" y="577"/>
                      </a:lnTo>
                      <a:lnTo>
                        <a:pt x="370" y="580"/>
                      </a:lnTo>
                      <a:lnTo>
                        <a:pt x="376" y="589"/>
                      </a:lnTo>
                      <a:lnTo>
                        <a:pt x="379" y="593"/>
                      </a:lnTo>
                      <a:lnTo>
                        <a:pt x="383" y="596"/>
                      </a:lnTo>
                      <a:lnTo>
                        <a:pt x="386" y="596"/>
                      </a:lnTo>
                      <a:lnTo>
                        <a:pt x="391" y="594"/>
                      </a:lnTo>
                      <a:lnTo>
                        <a:pt x="395" y="593"/>
                      </a:lnTo>
                      <a:lnTo>
                        <a:pt x="402" y="589"/>
                      </a:lnTo>
                      <a:lnTo>
                        <a:pt x="404" y="589"/>
                      </a:lnTo>
                      <a:lnTo>
                        <a:pt x="405" y="587"/>
                      </a:lnTo>
                      <a:lnTo>
                        <a:pt x="409" y="586"/>
                      </a:lnTo>
                      <a:lnTo>
                        <a:pt x="411" y="584"/>
                      </a:lnTo>
                      <a:lnTo>
                        <a:pt x="412" y="582"/>
                      </a:lnTo>
                      <a:lnTo>
                        <a:pt x="414" y="584"/>
                      </a:lnTo>
                      <a:lnTo>
                        <a:pt x="418" y="584"/>
                      </a:lnTo>
                      <a:lnTo>
                        <a:pt x="419" y="586"/>
                      </a:lnTo>
                      <a:lnTo>
                        <a:pt x="423" y="584"/>
                      </a:lnTo>
                      <a:lnTo>
                        <a:pt x="426" y="584"/>
                      </a:lnTo>
                      <a:lnTo>
                        <a:pt x="432" y="582"/>
                      </a:lnTo>
                      <a:lnTo>
                        <a:pt x="437" y="580"/>
                      </a:lnTo>
                      <a:lnTo>
                        <a:pt x="439" y="577"/>
                      </a:lnTo>
                      <a:lnTo>
                        <a:pt x="440" y="573"/>
                      </a:lnTo>
                      <a:lnTo>
                        <a:pt x="442" y="566"/>
                      </a:lnTo>
                      <a:lnTo>
                        <a:pt x="446" y="554"/>
                      </a:lnTo>
                      <a:lnTo>
                        <a:pt x="447" y="554"/>
                      </a:lnTo>
                      <a:lnTo>
                        <a:pt x="456" y="552"/>
                      </a:lnTo>
                      <a:lnTo>
                        <a:pt x="460" y="549"/>
                      </a:lnTo>
                      <a:lnTo>
                        <a:pt x="463" y="545"/>
                      </a:lnTo>
                      <a:lnTo>
                        <a:pt x="466" y="540"/>
                      </a:lnTo>
                      <a:lnTo>
                        <a:pt x="470" y="537"/>
                      </a:lnTo>
                      <a:lnTo>
                        <a:pt x="473" y="535"/>
                      </a:lnTo>
                      <a:lnTo>
                        <a:pt x="545" y="500"/>
                      </a:lnTo>
                      <a:lnTo>
                        <a:pt x="547" y="498"/>
                      </a:lnTo>
                      <a:lnTo>
                        <a:pt x="547" y="495"/>
                      </a:lnTo>
                      <a:lnTo>
                        <a:pt x="545" y="491"/>
                      </a:lnTo>
                      <a:lnTo>
                        <a:pt x="540" y="489"/>
                      </a:lnTo>
                      <a:lnTo>
                        <a:pt x="515" y="475"/>
                      </a:lnTo>
                      <a:lnTo>
                        <a:pt x="505" y="470"/>
                      </a:lnTo>
                      <a:lnTo>
                        <a:pt x="494" y="467"/>
                      </a:lnTo>
                      <a:lnTo>
                        <a:pt x="482" y="469"/>
                      </a:lnTo>
                      <a:lnTo>
                        <a:pt x="479" y="470"/>
                      </a:lnTo>
                      <a:lnTo>
                        <a:pt x="470" y="475"/>
                      </a:lnTo>
                      <a:lnTo>
                        <a:pt x="468" y="477"/>
                      </a:lnTo>
                      <a:lnTo>
                        <a:pt x="466" y="475"/>
                      </a:lnTo>
                      <a:lnTo>
                        <a:pt x="466" y="474"/>
                      </a:lnTo>
                      <a:lnTo>
                        <a:pt x="466" y="472"/>
                      </a:lnTo>
                      <a:lnTo>
                        <a:pt x="466" y="470"/>
                      </a:lnTo>
                      <a:lnTo>
                        <a:pt x="463" y="469"/>
                      </a:lnTo>
                      <a:lnTo>
                        <a:pt x="460" y="470"/>
                      </a:lnTo>
                      <a:lnTo>
                        <a:pt x="458" y="472"/>
                      </a:lnTo>
                      <a:lnTo>
                        <a:pt x="454" y="474"/>
                      </a:lnTo>
                      <a:lnTo>
                        <a:pt x="456" y="472"/>
                      </a:lnTo>
                      <a:lnTo>
                        <a:pt x="456" y="470"/>
                      </a:lnTo>
                      <a:lnTo>
                        <a:pt x="458" y="469"/>
                      </a:lnTo>
                      <a:lnTo>
                        <a:pt x="447" y="467"/>
                      </a:lnTo>
                      <a:lnTo>
                        <a:pt x="437" y="463"/>
                      </a:lnTo>
                      <a:lnTo>
                        <a:pt x="425" y="456"/>
                      </a:lnTo>
                      <a:lnTo>
                        <a:pt x="419" y="455"/>
                      </a:lnTo>
                      <a:lnTo>
                        <a:pt x="414" y="455"/>
                      </a:lnTo>
                      <a:lnTo>
                        <a:pt x="407" y="455"/>
                      </a:lnTo>
                      <a:lnTo>
                        <a:pt x="397" y="458"/>
                      </a:lnTo>
                      <a:lnTo>
                        <a:pt x="376" y="460"/>
                      </a:lnTo>
                      <a:lnTo>
                        <a:pt x="351" y="463"/>
                      </a:lnTo>
                      <a:lnTo>
                        <a:pt x="349" y="463"/>
                      </a:lnTo>
                      <a:lnTo>
                        <a:pt x="349" y="465"/>
                      </a:lnTo>
                      <a:lnTo>
                        <a:pt x="351" y="469"/>
                      </a:lnTo>
                      <a:lnTo>
                        <a:pt x="358" y="481"/>
                      </a:lnTo>
                      <a:lnTo>
                        <a:pt x="362" y="482"/>
                      </a:lnTo>
                      <a:lnTo>
                        <a:pt x="365" y="486"/>
                      </a:lnTo>
                      <a:lnTo>
                        <a:pt x="367" y="486"/>
                      </a:lnTo>
                      <a:lnTo>
                        <a:pt x="367" y="488"/>
                      </a:lnTo>
                      <a:lnTo>
                        <a:pt x="363" y="493"/>
                      </a:lnTo>
                      <a:lnTo>
                        <a:pt x="362" y="493"/>
                      </a:lnTo>
                      <a:lnTo>
                        <a:pt x="362" y="495"/>
                      </a:lnTo>
                      <a:lnTo>
                        <a:pt x="362" y="496"/>
                      </a:lnTo>
                      <a:lnTo>
                        <a:pt x="360" y="496"/>
                      </a:lnTo>
                      <a:lnTo>
                        <a:pt x="358" y="498"/>
                      </a:lnTo>
                      <a:lnTo>
                        <a:pt x="356" y="498"/>
                      </a:lnTo>
                      <a:lnTo>
                        <a:pt x="355" y="500"/>
                      </a:lnTo>
                      <a:lnTo>
                        <a:pt x="353" y="502"/>
                      </a:lnTo>
                      <a:lnTo>
                        <a:pt x="351" y="507"/>
                      </a:lnTo>
                      <a:lnTo>
                        <a:pt x="349" y="509"/>
                      </a:lnTo>
                      <a:lnTo>
                        <a:pt x="348" y="512"/>
                      </a:lnTo>
                      <a:lnTo>
                        <a:pt x="346" y="514"/>
                      </a:lnTo>
                      <a:lnTo>
                        <a:pt x="346" y="516"/>
                      </a:lnTo>
                      <a:lnTo>
                        <a:pt x="346" y="517"/>
                      </a:lnTo>
                      <a:lnTo>
                        <a:pt x="348" y="517"/>
                      </a:lnTo>
                      <a:lnTo>
                        <a:pt x="349" y="519"/>
                      </a:lnTo>
                      <a:lnTo>
                        <a:pt x="349" y="519"/>
                      </a:lnTo>
                      <a:lnTo>
                        <a:pt x="351" y="521"/>
                      </a:lnTo>
                      <a:lnTo>
                        <a:pt x="351" y="521"/>
                      </a:lnTo>
                      <a:lnTo>
                        <a:pt x="351" y="523"/>
                      </a:lnTo>
                      <a:lnTo>
                        <a:pt x="351" y="523"/>
                      </a:lnTo>
                      <a:lnTo>
                        <a:pt x="349" y="524"/>
                      </a:lnTo>
                      <a:lnTo>
                        <a:pt x="348" y="526"/>
                      </a:lnTo>
                      <a:lnTo>
                        <a:pt x="344" y="528"/>
                      </a:lnTo>
                      <a:lnTo>
                        <a:pt x="343" y="530"/>
                      </a:lnTo>
                      <a:lnTo>
                        <a:pt x="343" y="537"/>
                      </a:lnTo>
                      <a:lnTo>
                        <a:pt x="343" y="538"/>
                      </a:lnTo>
                      <a:lnTo>
                        <a:pt x="343" y="538"/>
                      </a:lnTo>
                      <a:lnTo>
                        <a:pt x="341" y="538"/>
                      </a:lnTo>
                      <a:lnTo>
                        <a:pt x="341" y="540"/>
                      </a:lnTo>
                      <a:lnTo>
                        <a:pt x="339" y="542"/>
                      </a:lnTo>
                      <a:lnTo>
                        <a:pt x="336" y="545"/>
                      </a:lnTo>
                      <a:lnTo>
                        <a:pt x="334" y="547"/>
                      </a:lnTo>
                      <a:lnTo>
                        <a:pt x="330" y="551"/>
                      </a:lnTo>
                      <a:lnTo>
                        <a:pt x="329" y="554"/>
                      </a:lnTo>
                      <a:lnTo>
                        <a:pt x="330" y="556"/>
                      </a:lnTo>
                      <a:lnTo>
                        <a:pt x="327" y="556"/>
                      </a:lnTo>
                      <a:lnTo>
                        <a:pt x="327" y="558"/>
                      </a:lnTo>
                      <a:lnTo>
                        <a:pt x="325" y="559"/>
                      </a:lnTo>
                      <a:lnTo>
                        <a:pt x="325" y="563"/>
                      </a:lnTo>
                      <a:lnTo>
                        <a:pt x="325" y="563"/>
                      </a:lnTo>
                      <a:lnTo>
                        <a:pt x="327" y="565"/>
                      </a:lnTo>
                      <a:close/>
                      <a:moveTo>
                        <a:pt x="538" y="353"/>
                      </a:moveTo>
                      <a:lnTo>
                        <a:pt x="538" y="358"/>
                      </a:lnTo>
                      <a:lnTo>
                        <a:pt x="543" y="360"/>
                      </a:lnTo>
                      <a:lnTo>
                        <a:pt x="556" y="362"/>
                      </a:lnTo>
                      <a:lnTo>
                        <a:pt x="561" y="362"/>
                      </a:lnTo>
                      <a:lnTo>
                        <a:pt x="550" y="362"/>
                      </a:lnTo>
                      <a:lnTo>
                        <a:pt x="540" y="362"/>
                      </a:lnTo>
                      <a:lnTo>
                        <a:pt x="529" y="362"/>
                      </a:lnTo>
                      <a:lnTo>
                        <a:pt x="522" y="369"/>
                      </a:lnTo>
                      <a:lnTo>
                        <a:pt x="522" y="372"/>
                      </a:lnTo>
                      <a:lnTo>
                        <a:pt x="522" y="372"/>
                      </a:lnTo>
                      <a:lnTo>
                        <a:pt x="521" y="374"/>
                      </a:lnTo>
                      <a:lnTo>
                        <a:pt x="521" y="374"/>
                      </a:lnTo>
                      <a:lnTo>
                        <a:pt x="521" y="376"/>
                      </a:lnTo>
                      <a:lnTo>
                        <a:pt x="522" y="378"/>
                      </a:lnTo>
                      <a:lnTo>
                        <a:pt x="526" y="378"/>
                      </a:lnTo>
                      <a:lnTo>
                        <a:pt x="556" y="378"/>
                      </a:lnTo>
                      <a:lnTo>
                        <a:pt x="545" y="379"/>
                      </a:lnTo>
                      <a:lnTo>
                        <a:pt x="531" y="381"/>
                      </a:lnTo>
                      <a:lnTo>
                        <a:pt x="517" y="383"/>
                      </a:lnTo>
                      <a:lnTo>
                        <a:pt x="510" y="390"/>
                      </a:lnTo>
                      <a:lnTo>
                        <a:pt x="515" y="397"/>
                      </a:lnTo>
                      <a:lnTo>
                        <a:pt x="529" y="395"/>
                      </a:lnTo>
                      <a:lnTo>
                        <a:pt x="554" y="388"/>
                      </a:lnTo>
                      <a:lnTo>
                        <a:pt x="552" y="392"/>
                      </a:lnTo>
                      <a:lnTo>
                        <a:pt x="547" y="395"/>
                      </a:lnTo>
                      <a:lnTo>
                        <a:pt x="536" y="400"/>
                      </a:lnTo>
                      <a:lnTo>
                        <a:pt x="531" y="402"/>
                      </a:lnTo>
                      <a:lnTo>
                        <a:pt x="528" y="402"/>
                      </a:lnTo>
                      <a:lnTo>
                        <a:pt x="515" y="404"/>
                      </a:lnTo>
                      <a:lnTo>
                        <a:pt x="512" y="404"/>
                      </a:lnTo>
                      <a:lnTo>
                        <a:pt x="507" y="406"/>
                      </a:lnTo>
                      <a:lnTo>
                        <a:pt x="505" y="407"/>
                      </a:lnTo>
                      <a:lnTo>
                        <a:pt x="501" y="413"/>
                      </a:lnTo>
                      <a:lnTo>
                        <a:pt x="501" y="416"/>
                      </a:lnTo>
                      <a:lnTo>
                        <a:pt x="503" y="420"/>
                      </a:lnTo>
                      <a:lnTo>
                        <a:pt x="508" y="421"/>
                      </a:lnTo>
                      <a:lnTo>
                        <a:pt x="514" y="423"/>
                      </a:lnTo>
                      <a:lnTo>
                        <a:pt x="515" y="423"/>
                      </a:lnTo>
                      <a:lnTo>
                        <a:pt x="521" y="421"/>
                      </a:lnTo>
                      <a:lnTo>
                        <a:pt x="522" y="421"/>
                      </a:lnTo>
                      <a:lnTo>
                        <a:pt x="526" y="423"/>
                      </a:lnTo>
                      <a:lnTo>
                        <a:pt x="528" y="425"/>
                      </a:lnTo>
                      <a:lnTo>
                        <a:pt x="529" y="427"/>
                      </a:lnTo>
                      <a:lnTo>
                        <a:pt x="531" y="428"/>
                      </a:lnTo>
                      <a:lnTo>
                        <a:pt x="536" y="432"/>
                      </a:lnTo>
                      <a:lnTo>
                        <a:pt x="538" y="432"/>
                      </a:lnTo>
                      <a:lnTo>
                        <a:pt x="540" y="434"/>
                      </a:lnTo>
                      <a:lnTo>
                        <a:pt x="542" y="432"/>
                      </a:lnTo>
                      <a:lnTo>
                        <a:pt x="543" y="430"/>
                      </a:lnTo>
                      <a:lnTo>
                        <a:pt x="543" y="428"/>
                      </a:lnTo>
                      <a:lnTo>
                        <a:pt x="545" y="427"/>
                      </a:lnTo>
                      <a:lnTo>
                        <a:pt x="549" y="425"/>
                      </a:lnTo>
                      <a:lnTo>
                        <a:pt x="552" y="428"/>
                      </a:lnTo>
                      <a:lnTo>
                        <a:pt x="554" y="430"/>
                      </a:lnTo>
                      <a:lnTo>
                        <a:pt x="557" y="432"/>
                      </a:lnTo>
                      <a:lnTo>
                        <a:pt x="559" y="432"/>
                      </a:lnTo>
                      <a:lnTo>
                        <a:pt x="563" y="430"/>
                      </a:lnTo>
                      <a:lnTo>
                        <a:pt x="564" y="428"/>
                      </a:lnTo>
                      <a:lnTo>
                        <a:pt x="568" y="427"/>
                      </a:lnTo>
                      <a:lnTo>
                        <a:pt x="570" y="425"/>
                      </a:lnTo>
                      <a:lnTo>
                        <a:pt x="570" y="423"/>
                      </a:lnTo>
                      <a:lnTo>
                        <a:pt x="570" y="421"/>
                      </a:lnTo>
                      <a:lnTo>
                        <a:pt x="568" y="420"/>
                      </a:lnTo>
                      <a:lnTo>
                        <a:pt x="568" y="418"/>
                      </a:lnTo>
                      <a:lnTo>
                        <a:pt x="566" y="416"/>
                      </a:lnTo>
                      <a:lnTo>
                        <a:pt x="568" y="416"/>
                      </a:lnTo>
                      <a:lnTo>
                        <a:pt x="570" y="416"/>
                      </a:lnTo>
                      <a:lnTo>
                        <a:pt x="571" y="416"/>
                      </a:lnTo>
                      <a:lnTo>
                        <a:pt x="571" y="418"/>
                      </a:lnTo>
                      <a:lnTo>
                        <a:pt x="573" y="418"/>
                      </a:lnTo>
                      <a:lnTo>
                        <a:pt x="575" y="418"/>
                      </a:lnTo>
                      <a:lnTo>
                        <a:pt x="575" y="416"/>
                      </a:lnTo>
                      <a:lnTo>
                        <a:pt x="577" y="409"/>
                      </a:lnTo>
                      <a:lnTo>
                        <a:pt x="577" y="407"/>
                      </a:lnTo>
                      <a:lnTo>
                        <a:pt x="577" y="407"/>
                      </a:lnTo>
                      <a:lnTo>
                        <a:pt x="578" y="406"/>
                      </a:lnTo>
                      <a:lnTo>
                        <a:pt x="578" y="407"/>
                      </a:lnTo>
                      <a:lnTo>
                        <a:pt x="578" y="407"/>
                      </a:lnTo>
                      <a:lnTo>
                        <a:pt x="578" y="407"/>
                      </a:lnTo>
                      <a:lnTo>
                        <a:pt x="580" y="409"/>
                      </a:lnTo>
                      <a:lnTo>
                        <a:pt x="580" y="409"/>
                      </a:lnTo>
                      <a:lnTo>
                        <a:pt x="582" y="409"/>
                      </a:lnTo>
                      <a:lnTo>
                        <a:pt x="583" y="409"/>
                      </a:lnTo>
                      <a:lnTo>
                        <a:pt x="587" y="407"/>
                      </a:lnTo>
                      <a:lnTo>
                        <a:pt x="589" y="407"/>
                      </a:lnTo>
                      <a:lnTo>
                        <a:pt x="582" y="416"/>
                      </a:lnTo>
                      <a:lnTo>
                        <a:pt x="580" y="423"/>
                      </a:lnTo>
                      <a:lnTo>
                        <a:pt x="583" y="427"/>
                      </a:lnTo>
                      <a:lnTo>
                        <a:pt x="587" y="428"/>
                      </a:lnTo>
                      <a:lnTo>
                        <a:pt x="596" y="427"/>
                      </a:lnTo>
                      <a:lnTo>
                        <a:pt x="599" y="425"/>
                      </a:lnTo>
                      <a:lnTo>
                        <a:pt x="601" y="425"/>
                      </a:lnTo>
                      <a:lnTo>
                        <a:pt x="606" y="420"/>
                      </a:lnTo>
                      <a:lnTo>
                        <a:pt x="608" y="420"/>
                      </a:lnTo>
                      <a:lnTo>
                        <a:pt x="610" y="420"/>
                      </a:lnTo>
                      <a:lnTo>
                        <a:pt x="611" y="421"/>
                      </a:lnTo>
                      <a:lnTo>
                        <a:pt x="613" y="423"/>
                      </a:lnTo>
                      <a:lnTo>
                        <a:pt x="615" y="423"/>
                      </a:lnTo>
                      <a:lnTo>
                        <a:pt x="617" y="425"/>
                      </a:lnTo>
                      <a:lnTo>
                        <a:pt x="618" y="423"/>
                      </a:lnTo>
                      <a:lnTo>
                        <a:pt x="627" y="421"/>
                      </a:lnTo>
                      <a:lnTo>
                        <a:pt x="634" y="418"/>
                      </a:lnTo>
                      <a:lnTo>
                        <a:pt x="638" y="418"/>
                      </a:lnTo>
                      <a:lnTo>
                        <a:pt x="639" y="418"/>
                      </a:lnTo>
                      <a:lnTo>
                        <a:pt x="639" y="420"/>
                      </a:lnTo>
                      <a:lnTo>
                        <a:pt x="638" y="423"/>
                      </a:lnTo>
                      <a:lnTo>
                        <a:pt x="634" y="427"/>
                      </a:lnTo>
                      <a:lnTo>
                        <a:pt x="631" y="428"/>
                      </a:lnTo>
                      <a:lnTo>
                        <a:pt x="627" y="430"/>
                      </a:lnTo>
                      <a:lnTo>
                        <a:pt x="624" y="432"/>
                      </a:lnTo>
                      <a:lnTo>
                        <a:pt x="620" y="432"/>
                      </a:lnTo>
                      <a:lnTo>
                        <a:pt x="611" y="432"/>
                      </a:lnTo>
                      <a:lnTo>
                        <a:pt x="608" y="432"/>
                      </a:lnTo>
                      <a:lnTo>
                        <a:pt x="604" y="432"/>
                      </a:lnTo>
                      <a:lnTo>
                        <a:pt x="592" y="437"/>
                      </a:lnTo>
                      <a:lnTo>
                        <a:pt x="577" y="442"/>
                      </a:lnTo>
                      <a:lnTo>
                        <a:pt x="571" y="448"/>
                      </a:lnTo>
                      <a:lnTo>
                        <a:pt x="573" y="453"/>
                      </a:lnTo>
                      <a:lnTo>
                        <a:pt x="587" y="460"/>
                      </a:lnTo>
                      <a:lnTo>
                        <a:pt x="603" y="462"/>
                      </a:lnTo>
                      <a:lnTo>
                        <a:pt x="620" y="458"/>
                      </a:lnTo>
                      <a:lnTo>
                        <a:pt x="636" y="453"/>
                      </a:lnTo>
                      <a:lnTo>
                        <a:pt x="657" y="441"/>
                      </a:lnTo>
                      <a:lnTo>
                        <a:pt x="666" y="439"/>
                      </a:lnTo>
                      <a:lnTo>
                        <a:pt x="671" y="437"/>
                      </a:lnTo>
                      <a:lnTo>
                        <a:pt x="674" y="437"/>
                      </a:lnTo>
                      <a:lnTo>
                        <a:pt x="680" y="434"/>
                      </a:lnTo>
                      <a:lnTo>
                        <a:pt x="683" y="432"/>
                      </a:lnTo>
                      <a:lnTo>
                        <a:pt x="687" y="428"/>
                      </a:lnTo>
                      <a:lnTo>
                        <a:pt x="688" y="428"/>
                      </a:lnTo>
                      <a:lnTo>
                        <a:pt x="690" y="428"/>
                      </a:lnTo>
                      <a:lnTo>
                        <a:pt x="692" y="428"/>
                      </a:lnTo>
                      <a:lnTo>
                        <a:pt x="692" y="430"/>
                      </a:lnTo>
                      <a:lnTo>
                        <a:pt x="692" y="432"/>
                      </a:lnTo>
                      <a:lnTo>
                        <a:pt x="690" y="432"/>
                      </a:lnTo>
                      <a:lnTo>
                        <a:pt x="694" y="434"/>
                      </a:lnTo>
                      <a:lnTo>
                        <a:pt x="697" y="434"/>
                      </a:lnTo>
                      <a:lnTo>
                        <a:pt x="706" y="432"/>
                      </a:lnTo>
                      <a:lnTo>
                        <a:pt x="709" y="432"/>
                      </a:lnTo>
                      <a:lnTo>
                        <a:pt x="714" y="434"/>
                      </a:lnTo>
                      <a:lnTo>
                        <a:pt x="718" y="434"/>
                      </a:lnTo>
                      <a:lnTo>
                        <a:pt x="723" y="435"/>
                      </a:lnTo>
                      <a:lnTo>
                        <a:pt x="727" y="435"/>
                      </a:lnTo>
                      <a:lnTo>
                        <a:pt x="730" y="434"/>
                      </a:lnTo>
                      <a:lnTo>
                        <a:pt x="737" y="430"/>
                      </a:lnTo>
                      <a:lnTo>
                        <a:pt x="746" y="427"/>
                      </a:lnTo>
                      <a:lnTo>
                        <a:pt x="749" y="425"/>
                      </a:lnTo>
                      <a:lnTo>
                        <a:pt x="751" y="421"/>
                      </a:lnTo>
                      <a:lnTo>
                        <a:pt x="753" y="418"/>
                      </a:lnTo>
                      <a:lnTo>
                        <a:pt x="755" y="406"/>
                      </a:lnTo>
                      <a:lnTo>
                        <a:pt x="758" y="393"/>
                      </a:lnTo>
                      <a:lnTo>
                        <a:pt x="760" y="388"/>
                      </a:lnTo>
                      <a:lnTo>
                        <a:pt x="758" y="379"/>
                      </a:lnTo>
                      <a:lnTo>
                        <a:pt x="755" y="374"/>
                      </a:lnTo>
                      <a:lnTo>
                        <a:pt x="748" y="371"/>
                      </a:lnTo>
                      <a:lnTo>
                        <a:pt x="741" y="369"/>
                      </a:lnTo>
                      <a:lnTo>
                        <a:pt x="735" y="369"/>
                      </a:lnTo>
                      <a:lnTo>
                        <a:pt x="732" y="372"/>
                      </a:lnTo>
                      <a:lnTo>
                        <a:pt x="730" y="374"/>
                      </a:lnTo>
                      <a:lnTo>
                        <a:pt x="730" y="379"/>
                      </a:lnTo>
                      <a:lnTo>
                        <a:pt x="732" y="379"/>
                      </a:lnTo>
                      <a:lnTo>
                        <a:pt x="734" y="381"/>
                      </a:lnTo>
                      <a:lnTo>
                        <a:pt x="734" y="381"/>
                      </a:lnTo>
                      <a:lnTo>
                        <a:pt x="734" y="383"/>
                      </a:lnTo>
                      <a:lnTo>
                        <a:pt x="732" y="383"/>
                      </a:lnTo>
                      <a:lnTo>
                        <a:pt x="730" y="383"/>
                      </a:lnTo>
                      <a:lnTo>
                        <a:pt x="730" y="383"/>
                      </a:lnTo>
                      <a:lnTo>
                        <a:pt x="730" y="385"/>
                      </a:lnTo>
                      <a:lnTo>
                        <a:pt x="730" y="386"/>
                      </a:lnTo>
                      <a:lnTo>
                        <a:pt x="728" y="390"/>
                      </a:lnTo>
                      <a:lnTo>
                        <a:pt x="728" y="386"/>
                      </a:lnTo>
                      <a:lnTo>
                        <a:pt x="727" y="383"/>
                      </a:lnTo>
                      <a:lnTo>
                        <a:pt x="725" y="379"/>
                      </a:lnTo>
                      <a:lnTo>
                        <a:pt x="721" y="378"/>
                      </a:lnTo>
                      <a:lnTo>
                        <a:pt x="718" y="378"/>
                      </a:lnTo>
                      <a:lnTo>
                        <a:pt x="716" y="378"/>
                      </a:lnTo>
                      <a:lnTo>
                        <a:pt x="714" y="378"/>
                      </a:lnTo>
                      <a:lnTo>
                        <a:pt x="713" y="379"/>
                      </a:lnTo>
                      <a:lnTo>
                        <a:pt x="711" y="379"/>
                      </a:lnTo>
                      <a:lnTo>
                        <a:pt x="709" y="381"/>
                      </a:lnTo>
                      <a:lnTo>
                        <a:pt x="707" y="383"/>
                      </a:lnTo>
                      <a:lnTo>
                        <a:pt x="706" y="383"/>
                      </a:lnTo>
                      <a:lnTo>
                        <a:pt x="711" y="376"/>
                      </a:lnTo>
                      <a:lnTo>
                        <a:pt x="711" y="372"/>
                      </a:lnTo>
                      <a:lnTo>
                        <a:pt x="709" y="369"/>
                      </a:lnTo>
                      <a:lnTo>
                        <a:pt x="706" y="369"/>
                      </a:lnTo>
                      <a:lnTo>
                        <a:pt x="700" y="369"/>
                      </a:lnTo>
                      <a:lnTo>
                        <a:pt x="699" y="369"/>
                      </a:lnTo>
                      <a:lnTo>
                        <a:pt x="697" y="367"/>
                      </a:lnTo>
                      <a:lnTo>
                        <a:pt x="699" y="365"/>
                      </a:lnTo>
                      <a:lnTo>
                        <a:pt x="700" y="364"/>
                      </a:lnTo>
                      <a:lnTo>
                        <a:pt x="700" y="362"/>
                      </a:lnTo>
                      <a:lnTo>
                        <a:pt x="702" y="360"/>
                      </a:lnTo>
                      <a:lnTo>
                        <a:pt x="702" y="358"/>
                      </a:lnTo>
                      <a:lnTo>
                        <a:pt x="702" y="357"/>
                      </a:lnTo>
                      <a:lnTo>
                        <a:pt x="700" y="355"/>
                      </a:lnTo>
                      <a:lnTo>
                        <a:pt x="700" y="353"/>
                      </a:lnTo>
                      <a:lnTo>
                        <a:pt x="697" y="351"/>
                      </a:lnTo>
                      <a:lnTo>
                        <a:pt x="697" y="351"/>
                      </a:lnTo>
                      <a:lnTo>
                        <a:pt x="695" y="350"/>
                      </a:lnTo>
                      <a:lnTo>
                        <a:pt x="695" y="350"/>
                      </a:lnTo>
                      <a:lnTo>
                        <a:pt x="694" y="346"/>
                      </a:lnTo>
                      <a:lnTo>
                        <a:pt x="694" y="344"/>
                      </a:lnTo>
                      <a:lnTo>
                        <a:pt x="694" y="343"/>
                      </a:lnTo>
                      <a:lnTo>
                        <a:pt x="694" y="341"/>
                      </a:lnTo>
                      <a:lnTo>
                        <a:pt x="694" y="339"/>
                      </a:lnTo>
                      <a:lnTo>
                        <a:pt x="695" y="339"/>
                      </a:lnTo>
                      <a:lnTo>
                        <a:pt x="695" y="337"/>
                      </a:lnTo>
                      <a:lnTo>
                        <a:pt x="695" y="336"/>
                      </a:lnTo>
                      <a:lnTo>
                        <a:pt x="692" y="334"/>
                      </a:lnTo>
                      <a:lnTo>
                        <a:pt x="687" y="334"/>
                      </a:lnTo>
                      <a:lnTo>
                        <a:pt x="681" y="334"/>
                      </a:lnTo>
                      <a:lnTo>
                        <a:pt x="676" y="336"/>
                      </a:lnTo>
                      <a:lnTo>
                        <a:pt x="674" y="337"/>
                      </a:lnTo>
                      <a:lnTo>
                        <a:pt x="669" y="344"/>
                      </a:lnTo>
                      <a:lnTo>
                        <a:pt x="666" y="346"/>
                      </a:lnTo>
                      <a:lnTo>
                        <a:pt x="660" y="350"/>
                      </a:lnTo>
                      <a:lnTo>
                        <a:pt x="657" y="355"/>
                      </a:lnTo>
                      <a:lnTo>
                        <a:pt x="674" y="364"/>
                      </a:lnTo>
                      <a:lnTo>
                        <a:pt x="674" y="371"/>
                      </a:lnTo>
                      <a:lnTo>
                        <a:pt x="673" y="372"/>
                      </a:lnTo>
                      <a:lnTo>
                        <a:pt x="669" y="374"/>
                      </a:lnTo>
                      <a:lnTo>
                        <a:pt x="667" y="374"/>
                      </a:lnTo>
                      <a:lnTo>
                        <a:pt x="666" y="376"/>
                      </a:lnTo>
                      <a:lnTo>
                        <a:pt x="667" y="379"/>
                      </a:lnTo>
                      <a:lnTo>
                        <a:pt x="669" y="381"/>
                      </a:lnTo>
                      <a:lnTo>
                        <a:pt x="680" y="385"/>
                      </a:lnTo>
                      <a:lnTo>
                        <a:pt x="685" y="388"/>
                      </a:lnTo>
                      <a:lnTo>
                        <a:pt x="687" y="393"/>
                      </a:lnTo>
                      <a:lnTo>
                        <a:pt x="687" y="399"/>
                      </a:lnTo>
                      <a:lnTo>
                        <a:pt x="681" y="400"/>
                      </a:lnTo>
                      <a:lnTo>
                        <a:pt x="676" y="402"/>
                      </a:lnTo>
                      <a:lnTo>
                        <a:pt x="664" y="399"/>
                      </a:lnTo>
                      <a:lnTo>
                        <a:pt x="643" y="399"/>
                      </a:lnTo>
                      <a:lnTo>
                        <a:pt x="638" y="397"/>
                      </a:lnTo>
                      <a:lnTo>
                        <a:pt x="636" y="393"/>
                      </a:lnTo>
                      <a:lnTo>
                        <a:pt x="634" y="388"/>
                      </a:lnTo>
                      <a:lnTo>
                        <a:pt x="632" y="385"/>
                      </a:lnTo>
                      <a:lnTo>
                        <a:pt x="629" y="383"/>
                      </a:lnTo>
                      <a:lnTo>
                        <a:pt x="620" y="381"/>
                      </a:lnTo>
                      <a:lnTo>
                        <a:pt x="620" y="379"/>
                      </a:lnTo>
                      <a:lnTo>
                        <a:pt x="620" y="376"/>
                      </a:lnTo>
                      <a:lnTo>
                        <a:pt x="622" y="376"/>
                      </a:lnTo>
                      <a:lnTo>
                        <a:pt x="622" y="376"/>
                      </a:lnTo>
                      <a:lnTo>
                        <a:pt x="620" y="374"/>
                      </a:lnTo>
                      <a:lnTo>
                        <a:pt x="618" y="371"/>
                      </a:lnTo>
                      <a:lnTo>
                        <a:pt x="606" y="364"/>
                      </a:lnTo>
                      <a:lnTo>
                        <a:pt x="603" y="360"/>
                      </a:lnTo>
                      <a:lnTo>
                        <a:pt x="597" y="358"/>
                      </a:lnTo>
                      <a:lnTo>
                        <a:pt x="592" y="358"/>
                      </a:lnTo>
                      <a:lnTo>
                        <a:pt x="585" y="360"/>
                      </a:lnTo>
                      <a:lnTo>
                        <a:pt x="582" y="360"/>
                      </a:lnTo>
                      <a:lnTo>
                        <a:pt x="580" y="360"/>
                      </a:lnTo>
                      <a:lnTo>
                        <a:pt x="578" y="358"/>
                      </a:lnTo>
                      <a:lnTo>
                        <a:pt x="577" y="357"/>
                      </a:lnTo>
                      <a:lnTo>
                        <a:pt x="575" y="353"/>
                      </a:lnTo>
                      <a:lnTo>
                        <a:pt x="571" y="348"/>
                      </a:lnTo>
                      <a:lnTo>
                        <a:pt x="566" y="348"/>
                      </a:lnTo>
                      <a:lnTo>
                        <a:pt x="561" y="346"/>
                      </a:lnTo>
                      <a:lnTo>
                        <a:pt x="556" y="348"/>
                      </a:lnTo>
                      <a:lnTo>
                        <a:pt x="550" y="348"/>
                      </a:lnTo>
                      <a:lnTo>
                        <a:pt x="543" y="350"/>
                      </a:lnTo>
                      <a:lnTo>
                        <a:pt x="538" y="353"/>
                      </a:lnTo>
                      <a:close/>
                      <a:moveTo>
                        <a:pt x="561" y="296"/>
                      </a:moveTo>
                      <a:lnTo>
                        <a:pt x="566" y="299"/>
                      </a:lnTo>
                      <a:lnTo>
                        <a:pt x="570" y="301"/>
                      </a:lnTo>
                      <a:lnTo>
                        <a:pt x="575" y="301"/>
                      </a:lnTo>
                      <a:lnTo>
                        <a:pt x="580" y="301"/>
                      </a:lnTo>
                      <a:lnTo>
                        <a:pt x="583" y="299"/>
                      </a:lnTo>
                      <a:lnTo>
                        <a:pt x="585" y="296"/>
                      </a:lnTo>
                      <a:lnTo>
                        <a:pt x="583" y="292"/>
                      </a:lnTo>
                      <a:lnTo>
                        <a:pt x="578" y="289"/>
                      </a:lnTo>
                      <a:lnTo>
                        <a:pt x="571" y="285"/>
                      </a:lnTo>
                      <a:lnTo>
                        <a:pt x="571" y="285"/>
                      </a:lnTo>
                      <a:lnTo>
                        <a:pt x="571" y="283"/>
                      </a:lnTo>
                      <a:lnTo>
                        <a:pt x="571" y="283"/>
                      </a:lnTo>
                      <a:lnTo>
                        <a:pt x="570" y="283"/>
                      </a:lnTo>
                      <a:lnTo>
                        <a:pt x="570" y="283"/>
                      </a:lnTo>
                      <a:lnTo>
                        <a:pt x="568" y="283"/>
                      </a:lnTo>
                      <a:lnTo>
                        <a:pt x="564" y="285"/>
                      </a:lnTo>
                      <a:lnTo>
                        <a:pt x="561" y="287"/>
                      </a:lnTo>
                      <a:lnTo>
                        <a:pt x="557" y="289"/>
                      </a:lnTo>
                      <a:lnTo>
                        <a:pt x="556" y="289"/>
                      </a:lnTo>
                      <a:lnTo>
                        <a:pt x="557" y="292"/>
                      </a:lnTo>
                      <a:lnTo>
                        <a:pt x="561" y="296"/>
                      </a:lnTo>
                      <a:close/>
                      <a:moveTo>
                        <a:pt x="426" y="381"/>
                      </a:moveTo>
                      <a:lnTo>
                        <a:pt x="425" y="383"/>
                      </a:lnTo>
                      <a:lnTo>
                        <a:pt x="423" y="383"/>
                      </a:lnTo>
                      <a:lnTo>
                        <a:pt x="423" y="385"/>
                      </a:lnTo>
                      <a:lnTo>
                        <a:pt x="425" y="386"/>
                      </a:lnTo>
                      <a:lnTo>
                        <a:pt x="426" y="386"/>
                      </a:lnTo>
                      <a:lnTo>
                        <a:pt x="428" y="385"/>
                      </a:lnTo>
                      <a:lnTo>
                        <a:pt x="428" y="383"/>
                      </a:lnTo>
                      <a:lnTo>
                        <a:pt x="430" y="381"/>
                      </a:lnTo>
                      <a:lnTo>
                        <a:pt x="430" y="379"/>
                      </a:lnTo>
                      <a:lnTo>
                        <a:pt x="430" y="378"/>
                      </a:lnTo>
                      <a:lnTo>
                        <a:pt x="430" y="376"/>
                      </a:lnTo>
                      <a:lnTo>
                        <a:pt x="428" y="376"/>
                      </a:lnTo>
                      <a:lnTo>
                        <a:pt x="428" y="376"/>
                      </a:lnTo>
                      <a:lnTo>
                        <a:pt x="426" y="378"/>
                      </a:lnTo>
                      <a:lnTo>
                        <a:pt x="428" y="379"/>
                      </a:lnTo>
                      <a:lnTo>
                        <a:pt x="428" y="379"/>
                      </a:lnTo>
                      <a:lnTo>
                        <a:pt x="426" y="381"/>
                      </a:lnTo>
                      <a:close/>
                      <a:moveTo>
                        <a:pt x="480" y="376"/>
                      </a:moveTo>
                      <a:lnTo>
                        <a:pt x="473" y="381"/>
                      </a:lnTo>
                      <a:lnTo>
                        <a:pt x="468" y="386"/>
                      </a:lnTo>
                      <a:lnTo>
                        <a:pt x="463" y="392"/>
                      </a:lnTo>
                      <a:lnTo>
                        <a:pt x="463" y="395"/>
                      </a:lnTo>
                      <a:lnTo>
                        <a:pt x="465" y="397"/>
                      </a:lnTo>
                      <a:lnTo>
                        <a:pt x="470" y="399"/>
                      </a:lnTo>
                      <a:lnTo>
                        <a:pt x="473" y="400"/>
                      </a:lnTo>
                      <a:lnTo>
                        <a:pt x="477" y="400"/>
                      </a:lnTo>
                      <a:lnTo>
                        <a:pt x="480" y="400"/>
                      </a:lnTo>
                      <a:lnTo>
                        <a:pt x="484" y="397"/>
                      </a:lnTo>
                      <a:lnTo>
                        <a:pt x="489" y="392"/>
                      </a:lnTo>
                      <a:lnTo>
                        <a:pt x="496" y="379"/>
                      </a:lnTo>
                      <a:lnTo>
                        <a:pt x="500" y="374"/>
                      </a:lnTo>
                      <a:lnTo>
                        <a:pt x="501" y="367"/>
                      </a:lnTo>
                      <a:lnTo>
                        <a:pt x="498" y="367"/>
                      </a:lnTo>
                      <a:lnTo>
                        <a:pt x="480" y="376"/>
                      </a:lnTo>
                      <a:close/>
                      <a:moveTo>
                        <a:pt x="391" y="364"/>
                      </a:moveTo>
                      <a:lnTo>
                        <a:pt x="393" y="364"/>
                      </a:lnTo>
                      <a:lnTo>
                        <a:pt x="393" y="365"/>
                      </a:lnTo>
                      <a:lnTo>
                        <a:pt x="393" y="367"/>
                      </a:lnTo>
                      <a:lnTo>
                        <a:pt x="393" y="371"/>
                      </a:lnTo>
                      <a:lnTo>
                        <a:pt x="393" y="372"/>
                      </a:lnTo>
                      <a:lnTo>
                        <a:pt x="395" y="374"/>
                      </a:lnTo>
                      <a:lnTo>
                        <a:pt x="398" y="374"/>
                      </a:lnTo>
                      <a:lnTo>
                        <a:pt x="402" y="372"/>
                      </a:lnTo>
                      <a:lnTo>
                        <a:pt x="405" y="371"/>
                      </a:lnTo>
                      <a:lnTo>
                        <a:pt x="409" y="371"/>
                      </a:lnTo>
                      <a:lnTo>
                        <a:pt x="412" y="371"/>
                      </a:lnTo>
                      <a:lnTo>
                        <a:pt x="418" y="372"/>
                      </a:lnTo>
                      <a:lnTo>
                        <a:pt x="421" y="372"/>
                      </a:lnTo>
                      <a:lnTo>
                        <a:pt x="425" y="372"/>
                      </a:lnTo>
                      <a:lnTo>
                        <a:pt x="426" y="369"/>
                      </a:lnTo>
                      <a:lnTo>
                        <a:pt x="430" y="364"/>
                      </a:lnTo>
                      <a:lnTo>
                        <a:pt x="432" y="362"/>
                      </a:lnTo>
                      <a:lnTo>
                        <a:pt x="433" y="365"/>
                      </a:lnTo>
                      <a:lnTo>
                        <a:pt x="435" y="369"/>
                      </a:lnTo>
                      <a:lnTo>
                        <a:pt x="440" y="379"/>
                      </a:lnTo>
                      <a:lnTo>
                        <a:pt x="440" y="381"/>
                      </a:lnTo>
                      <a:lnTo>
                        <a:pt x="444" y="381"/>
                      </a:lnTo>
                      <a:lnTo>
                        <a:pt x="451" y="379"/>
                      </a:lnTo>
                      <a:lnTo>
                        <a:pt x="453" y="378"/>
                      </a:lnTo>
                      <a:lnTo>
                        <a:pt x="458" y="372"/>
                      </a:lnTo>
                      <a:lnTo>
                        <a:pt x="460" y="372"/>
                      </a:lnTo>
                      <a:lnTo>
                        <a:pt x="460" y="371"/>
                      </a:lnTo>
                      <a:lnTo>
                        <a:pt x="460" y="369"/>
                      </a:lnTo>
                      <a:lnTo>
                        <a:pt x="458" y="369"/>
                      </a:lnTo>
                      <a:lnTo>
                        <a:pt x="458" y="367"/>
                      </a:lnTo>
                      <a:lnTo>
                        <a:pt x="456" y="367"/>
                      </a:lnTo>
                      <a:lnTo>
                        <a:pt x="456" y="367"/>
                      </a:lnTo>
                      <a:lnTo>
                        <a:pt x="454" y="365"/>
                      </a:lnTo>
                      <a:lnTo>
                        <a:pt x="454" y="365"/>
                      </a:lnTo>
                      <a:lnTo>
                        <a:pt x="456" y="365"/>
                      </a:lnTo>
                      <a:lnTo>
                        <a:pt x="456" y="364"/>
                      </a:lnTo>
                      <a:lnTo>
                        <a:pt x="458" y="364"/>
                      </a:lnTo>
                      <a:lnTo>
                        <a:pt x="456" y="360"/>
                      </a:lnTo>
                      <a:lnTo>
                        <a:pt x="456" y="358"/>
                      </a:lnTo>
                      <a:lnTo>
                        <a:pt x="458" y="357"/>
                      </a:lnTo>
                      <a:lnTo>
                        <a:pt x="458" y="355"/>
                      </a:lnTo>
                      <a:lnTo>
                        <a:pt x="460" y="355"/>
                      </a:lnTo>
                      <a:lnTo>
                        <a:pt x="465" y="364"/>
                      </a:lnTo>
                      <a:lnTo>
                        <a:pt x="468" y="365"/>
                      </a:lnTo>
                      <a:lnTo>
                        <a:pt x="472" y="364"/>
                      </a:lnTo>
                      <a:lnTo>
                        <a:pt x="473" y="362"/>
                      </a:lnTo>
                      <a:lnTo>
                        <a:pt x="475" y="358"/>
                      </a:lnTo>
                      <a:lnTo>
                        <a:pt x="477" y="355"/>
                      </a:lnTo>
                      <a:lnTo>
                        <a:pt x="479" y="351"/>
                      </a:lnTo>
                      <a:lnTo>
                        <a:pt x="477" y="351"/>
                      </a:lnTo>
                      <a:lnTo>
                        <a:pt x="475" y="350"/>
                      </a:lnTo>
                      <a:lnTo>
                        <a:pt x="475" y="348"/>
                      </a:lnTo>
                      <a:lnTo>
                        <a:pt x="475" y="346"/>
                      </a:lnTo>
                      <a:lnTo>
                        <a:pt x="477" y="346"/>
                      </a:lnTo>
                      <a:lnTo>
                        <a:pt x="479" y="346"/>
                      </a:lnTo>
                      <a:lnTo>
                        <a:pt x="480" y="346"/>
                      </a:lnTo>
                      <a:lnTo>
                        <a:pt x="482" y="343"/>
                      </a:lnTo>
                      <a:lnTo>
                        <a:pt x="484" y="341"/>
                      </a:lnTo>
                      <a:lnTo>
                        <a:pt x="486" y="337"/>
                      </a:lnTo>
                      <a:lnTo>
                        <a:pt x="489" y="336"/>
                      </a:lnTo>
                      <a:lnTo>
                        <a:pt x="493" y="334"/>
                      </a:lnTo>
                      <a:lnTo>
                        <a:pt x="494" y="334"/>
                      </a:lnTo>
                      <a:lnTo>
                        <a:pt x="496" y="336"/>
                      </a:lnTo>
                      <a:lnTo>
                        <a:pt x="494" y="339"/>
                      </a:lnTo>
                      <a:lnTo>
                        <a:pt x="493" y="346"/>
                      </a:lnTo>
                      <a:lnTo>
                        <a:pt x="493" y="350"/>
                      </a:lnTo>
                      <a:lnTo>
                        <a:pt x="494" y="353"/>
                      </a:lnTo>
                      <a:lnTo>
                        <a:pt x="498" y="355"/>
                      </a:lnTo>
                      <a:lnTo>
                        <a:pt x="501" y="357"/>
                      </a:lnTo>
                      <a:lnTo>
                        <a:pt x="507" y="358"/>
                      </a:lnTo>
                      <a:lnTo>
                        <a:pt x="510" y="357"/>
                      </a:lnTo>
                      <a:lnTo>
                        <a:pt x="512" y="355"/>
                      </a:lnTo>
                      <a:lnTo>
                        <a:pt x="512" y="351"/>
                      </a:lnTo>
                      <a:lnTo>
                        <a:pt x="512" y="348"/>
                      </a:lnTo>
                      <a:lnTo>
                        <a:pt x="514" y="346"/>
                      </a:lnTo>
                      <a:lnTo>
                        <a:pt x="517" y="344"/>
                      </a:lnTo>
                      <a:lnTo>
                        <a:pt x="528" y="343"/>
                      </a:lnTo>
                      <a:lnTo>
                        <a:pt x="533" y="341"/>
                      </a:lnTo>
                      <a:lnTo>
                        <a:pt x="535" y="337"/>
                      </a:lnTo>
                      <a:lnTo>
                        <a:pt x="535" y="336"/>
                      </a:lnTo>
                      <a:lnTo>
                        <a:pt x="531" y="334"/>
                      </a:lnTo>
                      <a:lnTo>
                        <a:pt x="529" y="330"/>
                      </a:lnTo>
                      <a:lnTo>
                        <a:pt x="531" y="330"/>
                      </a:lnTo>
                      <a:lnTo>
                        <a:pt x="536" y="330"/>
                      </a:lnTo>
                      <a:lnTo>
                        <a:pt x="538" y="329"/>
                      </a:lnTo>
                      <a:lnTo>
                        <a:pt x="536" y="327"/>
                      </a:lnTo>
                      <a:lnTo>
                        <a:pt x="529" y="323"/>
                      </a:lnTo>
                      <a:lnTo>
                        <a:pt x="528" y="322"/>
                      </a:lnTo>
                      <a:lnTo>
                        <a:pt x="533" y="320"/>
                      </a:lnTo>
                      <a:lnTo>
                        <a:pt x="542" y="316"/>
                      </a:lnTo>
                      <a:lnTo>
                        <a:pt x="547" y="315"/>
                      </a:lnTo>
                      <a:lnTo>
                        <a:pt x="542" y="313"/>
                      </a:lnTo>
                      <a:lnTo>
                        <a:pt x="536" y="310"/>
                      </a:lnTo>
                      <a:lnTo>
                        <a:pt x="529" y="308"/>
                      </a:lnTo>
                      <a:lnTo>
                        <a:pt x="524" y="308"/>
                      </a:lnTo>
                      <a:lnTo>
                        <a:pt x="522" y="308"/>
                      </a:lnTo>
                      <a:lnTo>
                        <a:pt x="519" y="308"/>
                      </a:lnTo>
                      <a:lnTo>
                        <a:pt x="515" y="308"/>
                      </a:lnTo>
                      <a:lnTo>
                        <a:pt x="514" y="310"/>
                      </a:lnTo>
                      <a:lnTo>
                        <a:pt x="514" y="311"/>
                      </a:lnTo>
                      <a:lnTo>
                        <a:pt x="514" y="311"/>
                      </a:lnTo>
                      <a:lnTo>
                        <a:pt x="517" y="313"/>
                      </a:lnTo>
                      <a:lnTo>
                        <a:pt x="519" y="313"/>
                      </a:lnTo>
                      <a:lnTo>
                        <a:pt x="517" y="315"/>
                      </a:lnTo>
                      <a:lnTo>
                        <a:pt x="514" y="315"/>
                      </a:lnTo>
                      <a:lnTo>
                        <a:pt x="505" y="315"/>
                      </a:lnTo>
                      <a:lnTo>
                        <a:pt x="493" y="313"/>
                      </a:lnTo>
                      <a:lnTo>
                        <a:pt x="486" y="313"/>
                      </a:lnTo>
                      <a:lnTo>
                        <a:pt x="479" y="313"/>
                      </a:lnTo>
                      <a:lnTo>
                        <a:pt x="470" y="315"/>
                      </a:lnTo>
                      <a:lnTo>
                        <a:pt x="463" y="318"/>
                      </a:lnTo>
                      <a:lnTo>
                        <a:pt x="451" y="325"/>
                      </a:lnTo>
                      <a:lnTo>
                        <a:pt x="440" y="334"/>
                      </a:lnTo>
                      <a:lnTo>
                        <a:pt x="437" y="336"/>
                      </a:lnTo>
                      <a:lnTo>
                        <a:pt x="430" y="339"/>
                      </a:lnTo>
                      <a:lnTo>
                        <a:pt x="426" y="341"/>
                      </a:lnTo>
                      <a:lnTo>
                        <a:pt x="423" y="343"/>
                      </a:lnTo>
                      <a:lnTo>
                        <a:pt x="418" y="348"/>
                      </a:lnTo>
                      <a:lnTo>
                        <a:pt x="414" y="350"/>
                      </a:lnTo>
                      <a:lnTo>
                        <a:pt x="411" y="351"/>
                      </a:lnTo>
                      <a:lnTo>
                        <a:pt x="402" y="351"/>
                      </a:lnTo>
                      <a:lnTo>
                        <a:pt x="398" y="351"/>
                      </a:lnTo>
                      <a:lnTo>
                        <a:pt x="395" y="355"/>
                      </a:lnTo>
                      <a:lnTo>
                        <a:pt x="391" y="358"/>
                      </a:lnTo>
                      <a:lnTo>
                        <a:pt x="390" y="362"/>
                      </a:lnTo>
                      <a:lnTo>
                        <a:pt x="388" y="365"/>
                      </a:lnTo>
                      <a:lnTo>
                        <a:pt x="390" y="364"/>
                      </a:lnTo>
                      <a:lnTo>
                        <a:pt x="391" y="36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39" name="Rectangle 322">
                  <a:extLst>
                    <a:ext uri="{FF2B5EF4-FFF2-40B4-BE49-F238E27FC236}">
                      <a16:creationId xmlns:a16="http://schemas.microsoft.com/office/drawing/2014/main" id="{E150A8C5-A546-A5B3-FB9D-9E3F657371B4}"/>
                    </a:ext>
                  </a:extLst>
                </p:cNvPr>
                <p:cNvSpPr>
                  <a:spLocks noChangeArrowheads="1"/>
                </p:cNvSpPr>
                <p:nvPr/>
              </p:nvSpPr>
              <p:spPr bwMode="auto">
                <a:xfrm>
                  <a:off x="-1714" y="-3014"/>
                  <a:ext cx="1" cy="2"/>
                </a:xfrm>
                <a:prstGeom prst="rect">
                  <a:avLst/>
                </a:pr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40" name="Rectangle 323">
                  <a:extLst>
                    <a:ext uri="{FF2B5EF4-FFF2-40B4-BE49-F238E27FC236}">
                      <a16:creationId xmlns:a16="http://schemas.microsoft.com/office/drawing/2014/main" id="{AFE524C3-C54C-5403-41F7-00263CEADD1C}"/>
                    </a:ext>
                  </a:extLst>
                </p:cNvPr>
                <p:cNvSpPr>
                  <a:spLocks noChangeArrowheads="1"/>
                </p:cNvSpPr>
                <p:nvPr/>
              </p:nvSpPr>
              <p:spPr bwMode="auto">
                <a:xfrm>
                  <a:off x="-1711" y="-3023"/>
                  <a:ext cx="2" cy="2"/>
                </a:xfrm>
                <a:prstGeom prst="rect">
                  <a:avLst/>
                </a:pr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41" name="Freeform 324">
                  <a:extLst>
                    <a:ext uri="{FF2B5EF4-FFF2-40B4-BE49-F238E27FC236}">
                      <a16:creationId xmlns:a16="http://schemas.microsoft.com/office/drawing/2014/main" id="{268EE026-4E16-E89B-ACA1-1D30D7975F2F}"/>
                    </a:ext>
                  </a:extLst>
                </p:cNvPr>
                <p:cNvSpPr>
                  <a:spLocks noEditPoints="1"/>
                </p:cNvSpPr>
                <p:nvPr/>
              </p:nvSpPr>
              <p:spPr bwMode="auto">
                <a:xfrm>
                  <a:off x="-1686" y="-2874"/>
                  <a:ext cx="29" cy="28"/>
                </a:xfrm>
                <a:custGeom>
                  <a:avLst/>
                  <a:gdLst>
                    <a:gd name="T0" fmla="*/ 26 w 29"/>
                    <a:gd name="T1" fmla="*/ 3 h 28"/>
                    <a:gd name="T2" fmla="*/ 24 w 29"/>
                    <a:gd name="T3" fmla="*/ 3 h 28"/>
                    <a:gd name="T4" fmla="*/ 24 w 29"/>
                    <a:gd name="T5" fmla="*/ 3 h 28"/>
                    <a:gd name="T6" fmla="*/ 26 w 29"/>
                    <a:gd name="T7" fmla="*/ 2 h 28"/>
                    <a:gd name="T8" fmla="*/ 28 w 29"/>
                    <a:gd name="T9" fmla="*/ 2 h 28"/>
                    <a:gd name="T10" fmla="*/ 29 w 29"/>
                    <a:gd name="T11" fmla="*/ 0 h 28"/>
                    <a:gd name="T12" fmla="*/ 29 w 29"/>
                    <a:gd name="T13" fmla="*/ 2 h 28"/>
                    <a:gd name="T14" fmla="*/ 28 w 29"/>
                    <a:gd name="T15" fmla="*/ 3 h 28"/>
                    <a:gd name="T16" fmla="*/ 26 w 29"/>
                    <a:gd name="T17" fmla="*/ 3 h 28"/>
                    <a:gd name="T18" fmla="*/ 17 w 29"/>
                    <a:gd name="T19" fmla="*/ 12 h 28"/>
                    <a:gd name="T20" fmla="*/ 7 w 29"/>
                    <a:gd name="T21" fmla="*/ 14 h 28"/>
                    <a:gd name="T22" fmla="*/ 7 w 29"/>
                    <a:gd name="T23" fmla="*/ 14 h 28"/>
                    <a:gd name="T24" fmla="*/ 8 w 29"/>
                    <a:gd name="T25" fmla="*/ 16 h 28"/>
                    <a:gd name="T26" fmla="*/ 10 w 29"/>
                    <a:gd name="T27" fmla="*/ 17 h 28"/>
                    <a:gd name="T28" fmla="*/ 10 w 29"/>
                    <a:gd name="T29" fmla="*/ 19 h 28"/>
                    <a:gd name="T30" fmla="*/ 8 w 29"/>
                    <a:gd name="T31" fmla="*/ 23 h 28"/>
                    <a:gd name="T32" fmla="*/ 8 w 29"/>
                    <a:gd name="T33" fmla="*/ 24 h 28"/>
                    <a:gd name="T34" fmla="*/ 5 w 29"/>
                    <a:gd name="T35" fmla="*/ 26 h 28"/>
                    <a:gd name="T36" fmla="*/ 0 w 29"/>
                    <a:gd name="T37" fmla="*/ 28 h 28"/>
                    <a:gd name="T38" fmla="*/ 5 w 29"/>
                    <a:gd name="T39" fmla="*/ 28 h 28"/>
                    <a:gd name="T40" fmla="*/ 10 w 29"/>
                    <a:gd name="T41" fmla="*/ 28 h 28"/>
                    <a:gd name="T42" fmla="*/ 15 w 29"/>
                    <a:gd name="T43" fmla="*/ 28 h 28"/>
                    <a:gd name="T44" fmla="*/ 19 w 29"/>
                    <a:gd name="T45" fmla="*/ 26 h 28"/>
                    <a:gd name="T46" fmla="*/ 21 w 29"/>
                    <a:gd name="T47" fmla="*/ 23 h 28"/>
                    <a:gd name="T48" fmla="*/ 21 w 29"/>
                    <a:gd name="T49" fmla="*/ 16 h 28"/>
                    <a:gd name="T50" fmla="*/ 22 w 29"/>
                    <a:gd name="T51" fmla="*/ 12 h 28"/>
                    <a:gd name="T52" fmla="*/ 17 w 29"/>
                    <a:gd name="T53"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 h="28">
                      <a:moveTo>
                        <a:pt x="26" y="3"/>
                      </a:moveTo>
                      <a:lnTo>
                        <a:pt x="24" y="3"/>
                      </a:lnTo>
                      <a:lnTo>
                        <a:pt x="24" y="3"/>
                      </a:lnTo>
                      <a:lnTo>
                        <a:pt x="26" y="2"/>
                      </a:lnTo>
                      <a:lnTo>
                        <a:pt x="28" y="2"/>
                      </a:lnTo>
                      <a:lnTo>
                        <a:pt x="29" y="0"/>
                      </a:lnTo>
                      <a:lnTo>
                        <a:pt x="29" y="2"/>
                      </a:lnTo>
                      <a:lnTo>
                        <a:pt x="28" y="3"/>
                      </a:lnTo>
                      <a:lnTo>
                        <a:pt x="26" y="3"/>
                      </a:lnTo>
                      <a:close/>
                      <a:moveTo>
                        <a:pt x="17" y="12"/>
                      </a:moveTo>
                      <a:lnTo>
                        <a:pt x="7" y="14"/>
                      </a:lnTo>
                      <a:lnTo>
                        <a:pt x="7" y="14"/>
                      </a:lnTo>
                      <a:lnTo>
                        <a:pt x="8" y="16"/>
                      </a:lnTo>
                      <a:lnTo>
                        <a:pt x="10" y="17"/>
                      </a:lnTo>
                      <a:lnTo>
                        <a:pt x="10" y="19"/>
                      </a:lnTo>
                      <a:lnTo>
                        <a:pt x="8" y="23"/>
                      </a:lnTo>
                      <a:lnTo>
                        <a:pt x="8" y="24"/>
                      </a:lnTo>
                      <a:lnTo>
                        <a:pt x="5" y="26"/>
                      </a:lnTo>
                      <a:lnTo>
                        <a:pt x="0" y="28"/>
                      </a:lnTo>
                      <a:lnTo>
                        <a:pt x="5" y="28"/>
                      </a:lnTo>
                      <a:lnTo>
                        <a:pt x="10" y="28"/>
                      </a:lnTo>
                      <a:lnTo>
                        <a:pt x="15" y="28"/>
                      </a:lnTo>
                      <a:lnTo>
                        <a:pt x="19" y="26"/>
                      </a:lnTo>
                      <a:lnTo>
                        <a:pt x="21" y="23"/>
                      </a:lnTo>
                      <a:lnTo>
                        <a:pt x="21" y="16"/>
                      </a:lnTo>
                      <a:lnTo>
                        <a:pt x="22" y="12"/>
                      </a:lnTo>
                      <a:lnTo>
                        <a:pt x="17" y="1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42" name="Freeform 325">
                  <a:extLst>
                    <a:ext uri="{FF2B5EF4-FFF2-40B4-BE49-F238E27FC236}">
                      <a16:creationId xmlns:a16="http://schemas.microsoft.com/office/drawing/2014/main" id="{FCFB3B10-3D00-4960-0BFC-BADBCB04B302}"/>
                    </a:ext>
                  </a:extLst>
                </p:cNvPr>
                <p:cNvSpPr>
                  <a:spLocks/>
                </p:cNvSpPr>
                <p:nvPr/>
              </p:nvSpPr>
              <p:spPr bwMode="auto">
                <a:xfrm>
                  <a:off x="-1749" y="-3356"/>
                  <a:ext cx="5" cy="3"/>
                </a:xfrm>
                <a:custGeom>
                  <a:avLst/>
                  <a:gdLst>
                    <a:gd name="T0" fmla="*/ 2 w 5"/>
                    <a:gd name="T1" fmla="*/ 1 h 3"/>
                    <a:gd name="T2" fmla="*/ 0 w 5"/>
                    <a:gd name="T3" fmla="*/ 3 h 3"/>
                    <a:gd name="T4" fmla="*/ 2 w 5"/>
                    <a:gd name="T5" fmla="*/ 3 h 3"/>
                    <a:gd name="T6" fmla="*/ 3 w 5"/>
                    <a:gd name="T7" fmla="*/ 1 h 3"/>
                    <a:gd name="T8" fmla="*/ 3 w 5"/>
                    <a:gd name="T9" fmla="*/ 1 h 3"/>
                    <a:gd name="T10" fmla="*/ 5 w 5"/>
                    <a:gd name="T11" fmla="*/ 0 h 3"/>
                    <a:gd name="T12" fmla="*/ 2 w 5"/>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2" y="1"/>
                      </a:moveTo>
                      <a:lnTo>
                        <a:pt x="0" y="3"/>
                      </a:lnTo>
                      <a:lnTo>
                        <a:pt x="2" y="3"/>
                      </a:lnTo>
                      <a:lnTo>
                        <a:pt x="3" y="1"/>
                      </a:lnTo>
                      <a:lnTo>
                        <a:pt x="3" y="1"/>
                      </a:lnTo>
                      <a:lnTo>
                        <a:pt x="5" y="0"/>
                      </a:lnTo>
                      <a:lnTo>
                        <a:pt x="2" y="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43" name="Freeform 326">
                  <a:extLst>
                    <a:ext uri="{FF2B5EF4-FFF2-40B4-BE49-F238E27FC236}">
                      <a16:creationId xmlns:a16="http://schemas.microsoft.com/office/drawing/2014/main" id="{8B7FC152-D5EB-F21B-B877-1AB81795D04C}"/>
                    </a:ext>
                  </a:extLst>
                </p:cNvPr>
                <p:cNvSpPr>
                  <a:spLocks noEditPoints="1"/>
                </p:cNvSpPr>
                <p:nvPr/>
              </p:nvSpPr>
              <p:spPr bwMode="auto">
                <a:xfrm>
                  <a:off x="-1568" y="-3737"/>
                  <a:ext cx="6" cy="9"/>
                </a:xfrm>
                <a:custGeom>
                  <a:avLst/>
                  <a:gdLst>
                    <a:gd name="T0" fmla="*/ 4 w 6"/>
                    <a:gd name="T1" fmla="*/ 9 h 9"/>
                    <a:gd name="T2" fmla="*/ 6 w 6"/>
                    <a:gd name="T3" fmla="*/ 9 h 9"/>
                    <a:gd name="T4" fmla="*/ 6 w 6"/>
                    <a:gd name="T5" fmla="*/ 9 h 9"/>
                    <a:gd name="T6" fmla="*/ 4 w 6"/>
                    <a:gd name="T7" fmla="*/ 9 h 9"/>
                    <a:gd name="T8" fmla="*/ 4 w 6"/>
                    <a:gd name="T9" fmla="*/ 9 h 9"/>
                    <a:gd name="T10" fmla="*/ 4 w 6"/>
                    <a:gd name="T11" fmla="*/ 9 h 9"/>
                    <a:gd name="T12" fmla="*/ 4 w 6"/>
                    <a:gd name="T13" fmla="*/ 9 h 9"/>
                    <a:gd name="T14" fmla="*/ 0 w 6"/>
                    <a:gd name="T15" fmla="*/ 7 h 9"/>
                    <a:gd name="T16" fmla="*/ 0 w 6"/>
                    <a:gd name="T17" fmla="*/ 7 h 9"/>
                    <a:gd name="T18" fmla="*/ 2 w 6"/>
                    <a:gd name="T19" fmla="*/ 7 h 9"/>
                    <a:gd name="T20" fmla="*/ 2 w 6"/>
                    <a:gd name="T21" fmla="*/ 7 h 9"/>
                    <a:gd name="T22" fmla="*/ 4 w 6"/>
                    <a:gd name="T23" fmla="*/ 7 h 9"/>
                    <a:gd name="T24" fmla="*/ 2 w 6"/>
                    <a:gd name="T25" fmla="*/ 3 h 9"/>
                    <a:gd name="T26" fmla="*/ 2 w 6"/>
                    <a:gd name="T27" fmla="*/ 2 h 9"/>
                    <a:gd name="T28" fmla="*/ 2 w 6"/>
                    <a:gd name="T29" fmla="*/ 0 h 9"/>
                    <a:gd name="T30" fmla="*/ 0 w 6"/>
                    <a:gd name="T31" fmla="*/ 2 h 9"/>
                    <a:gd name="T32" fmla="*/ 0 w 6"/>
                    <a:gd name="T33" fmla="*/ 2 h 9"/>
                    <a:gd name="T34" fmla="*/ 0 w 6"/>
                    <a:gd name="T35" fmla="*/ 3 h 9"/>
                    <a:gd name="T36" fmla="*/ 0 w 6"/>
                    <a:gd name="T37" fmla="*/ 7 h 9"/>
                    <a:gd name="T38" fmla="*/ 0 w 6"/>
                    <a:gd name="T3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 h="9">
                      <a:moveTo>
                        <a:pt x="4" y="9"/>
                      </a:moveTo>
                      <a:lnTo>
                        <a:pt x="6" y="9"/>
                      </a:lnTo>
                      <a:lnTo>
                        <a:pt x="6" y="9"/>
                      </a:lnTo>
                      <a:lnTo>
                        <a:pt x="4" y="9"/>
                      </a:lnTo>
                      <a:lnTo>
                        <a:pt x="4" y="9"/>
                      </a:lnTo>
                      <a:lnTo>
                        <a:pt x="4" y="9"/>
                      </a:lnTo>
                      <a:lnTo>
                        <a:pt x="4" y="9"/>
                      </a:lnTo>
                      <a:close/>
                      <a:moveTo>
                        <a:pt x="0" y="7"/>
                      </a:moveTo>
                      <a:lnTo>
                        <a:pt x="0" y="7"/>
                      </a:lnTo>
                      <a:lnTo>
                        <a:pt x="2" y="7"/>
                      </a:lnTo>
                      <a:lnTo>
                        <a:pt x="2" y="7"/>
                      </a:lnTo>
                      <a:lnTo>
                        <a:pt x="4" y="7"/>
                      </a:lnTo>
                      <a:lnTo>
                        <a:pt x="2" y="3"/>
                      </a:lnTo>
                      <a:lnTo>
                        <a:pt x="2" y="2"/>
                      </a:lnTo>
                      <a:lnTo>
                        <a:pt x="2" y="0"/>
                      </a:lnTo>
                      <a:lnTo>
                        <a:pt x="0" y="2"/>
                      </a:lnTo>
                      <a:lnTo>
                        <a:pt x="0" y="2"/>
                      </a:lnTo>
                      <a:lnTo>
                        <a:pt x="0" y="3"/>
                      </a:lnTo>
                      <a:lnTo>
                        <a:pt x="0" y="7"/>
                      </a:lnTo>
                      <a:lnTo>
                        <a:pt x="0" y="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grpSp>
        </p:grpSp>
        <p:grpSp>
          <p:nvGrpSpPr>
            <p:cNvPr id="10" name="Group 52">
              <a:extLst>
                <a:ext uri="{FF2B5EF4-FFF2-40B4-BE49-F238E27FC236}">
                  <a16:creationId xmlns:a16="http://schemas.microsoft.com/office/drawing/2014/main" id="{CF3D5036-530B-C9B2-44DC-8F2DF4BB39C6}"/>
                </a:ext>
              </a:extLst>
            </p:cNvPr>
            <p:cNvGrpSpPr>
              <a:grpSpLocks noChangeAspect="1"/>
            </p:cNvGrpSpPr>
            <p:nvPr/>
          </p:nvGrpSpPr>
          <p:grpSpPr bwMode="auto">
            <a:xfrm>
              <a:off x="6573690" y="1536033"/>
              <a:ext cx="2241761" cy="1728051"/>
              <a:chOff x="2997" y="718"/>
              <a:chExt cx="1763" cy="1359"/>
            </a:xfrm>
            <a:grpFill/>
          </p:grpSpPr>
          <p:sp>
            <p:nvSpPr>
              <p:cNvPr id="347" name="Freeform 53">
                <a:extLst>
                  <a:ext uri="{FF2B5EF4-FFF2-40B4-BE49-F238E27FC236}">
                    <a16:creationId xmlns:a16="http://schemas.microsoft.com/office/drawing/2014/main" id="{7EB1E80B-4AEF-3A95-2725-9BAA0B1D86BE}"/>
                  </a:ext>
                </a:extLst>
              </p:cNvPr>
              <p:cNvSpPr>
                <a:spLocks/>
              </p:cNvSpPr>
              <p:nvPr/>
            </p:nvSpPr>
            <p:spPr bwMode="auto">
              <a:xfrm>
                <a:off x="3715" y="1760"/>
                <a:ext cx="134" cy="62"/>
              </a:xfrm>
              <a:custGeom>
                <a:avLst/>
                <a:gdLst>
                  <a:gd name="T0" fmla="*/ 122 w 134"/>
                  <a:gd name="T1" fmla="*/ 46 h 62"/>
                  <a:gd name="T2" fmla="*/ 122 w 134"/>
                  <a:gd name="T3" fmla="*/ 42 h 62"/>
                  <a:gd name="T4" fmla="*/ 123 w 134"/>
                  <a:gd name="T5" fmla="*/ 39 h 62"/>
                  <a:gd name="T6" fmla="*/ 125 w 134"/>
                  <a:gd name="T7" fmla="*/ 35 h 62"/>
                  <a:gd name="T8" fmla="*/ 123 w 134"/>
                  <a:gd name="T9" fmla="*/ 31 h 62"/>
                  <a:gd name="T10" fmla="*/ 132 w 134"/>
                  <a:gd name="T11" fmla="*/ 32 h 62"/>
                  <a:gd name="T12" fmla="*/ 134 w 134"/>
                  <a:gd name="T13" fmla="*/ 26 h 62"/>
                  <a:gd name="T14" fmla="*/ 131 w 134"/>
                  <a:gd name="T15" fmla="*/ 20 h 62"/>
                  <a:gd name="T16" fmla="*/ 129 w 134"/>
                  <a:gd name="T17" fmla="*/ 15 h 62"/>
                  <a:gd name="T18" fmla="*/ 129 w 134"/>
                  <a:gd name="T19" fmla="*/ 9 h 62"/>
                  <a:gd name="T20" fmla="*/ 125 w 134"/>
                  <a:gd name="T21" fmla="*/ 6 h 62"/>
                  <a:gd name="T22" fmla="*/ 118 w 134"/>
                  <a:gd name="T23" fmla="*/ 6 h 62"/>
                  <a:gd name="T24" fmla="*/ 113 w 134"/>
                  <a:gd name="T25" fmla="*/ 5 h 62"/>
                  <a:gd name="T26" fmla="*/ 109 w 134"/>
                  <a:gd name="T27" fmla="*/ 3 h 62"/>
                  <a:gd name="T28" fmla="*/ 103 w 134"/>
                  <a:gd name="T29" fmla="*/ 0 h 62"/>
                  <a:gd name="T30" fmla="*/ 99 w 134"/>
                  <a:gd name="T31" fmla="*/ 2 h 62"/>
                  <a:gd name="T32" fmla="*/ 96 w 134"/>
                  <a:gd name="T33" fmla="*/ 0 h 62"/>
                  <a:gd name="T34" fmla="*/ 95 w 134"/>
                  <a:gd name="T35" fmla="*/ 5 h 62"/>
                  <a:gd name="T36" fmla="*/ 95 w 134"/>
                  <a:gd name="T37" fmla="*/ 5 h 62"/>
                  <a:gd name="T38" fmla="*/ 92 w 134"/>
                  <a:gd name="T39" fmla="*/ 9 h 62"/>
                  <a:gd name="T40" fmla="*/ 83 w 134"/>
                  <a:gd name="T41" fmla="*/ 10 h 62"/>
                  <a:gd name="T42" fmla="*/ 78 w 134"/>
                  <a:gd name="T43" fmla="*/ 8 h 62"/>
                  <a:gd name="T44" fmla="*/ 75 w 134"/>
                  <a:gd name="T45" fmla="*/ 10 h 62"/>
                  <a:gd name="T46" fmla="*/ 72 w 134"/>
                  <a:gd name="T47" fmla="*/ 10 h 62"/>
                  <a:gd name="T48" fmla="*/ 69 w 134"/>
                  <a:gd name="T49" fmla="*/ 10 h 62"/>
                  <a:gd name="T50" fmla="*/ 69 w 134"/>
                  <a:gd name="T51" fmla="*/ 13 h 62"/>
                  <a:gd name="T52" fmla="*/ 67 w 134"/>
                  <a:gd name="T53" fmla="*/ 16 h 62"/>
                  <a:gd name="T54" fmla="*/ 60 w 134"/>
                  <a:gd name="T55" fmla="*/ 19 h 62"/>
                  <a:gd name="T56" fmla="*/ 57 w 134"/>
                  <a:gd name="T57" fmla="*/ 25 h 62"/>
                  <a:gd name="T58" fmla="*/ 59 w 134"/>
                  <a:gd name="T59" fmla="*/ 31 h 62"/>
                  <a:gd name="T60" fmla="*/ 62 w 134"/>
                  <a:gd name="T61" fmla="*/ 35 h 62"/>
                  <a:gd name="T62" fmla="*/ 59 w 134"/>
                  <a:gd name="T63" fmla="*/ 36 h 62"/>
                  <a:gd name="T64" fmla="*/ 55 w 134"/>
                  <a:gd name="T65" fmla="*/ 33 h 62"/>
                  <a:gd name="T66" fmla="*/ 52 w 134"/>
                  <a:gd name="T67" fmla="*/ 33 h 62"/>
                  <a:gd name="T68" fmla="*/ 47 w 134"/>
                  <a:gd name="T69" fmla="*/ 32 h 62"/>
                  <a:gd name="T70" fmla="*/ 47 w 134"/>
                  <a:gd name="T71" fmla="*/ 32 h 62"/>
                  <a:gd name="T72" fmla="*/ 44 w 134"/>
                  <a:gd name="T73" fmla="*/ 33 h 62"/>
                  <a:gd name="T74" fmla="*/ 33 w 134"/>
                  <a:gd name="T75" fmla="*/ 38 h 62"/>
                  <a:gd name="T76" fmla="*/ 24 w 134"/>
                  <a:gd name="T77" fmla="*/ 38 h 62"/>
                  <a:gd name="T78" fmla="*/ 20 w 134"/>
                  <a:gd name="T79" fmla="*/ 35 h 62"/>
                  <a:gd name="T80" fmla="*/ 16 w 134"/>
                  <a:gd name="T81" fmla="*/ 35 h 62"/>
                  <a:gd name="T82" fmla="*/ 14 w 134"/>
                  <a:gd name="T83" fmla="*/ 41 h 62"/>
                  <a:gd name="T84" fmla="*/ 11 w 134"/>
                  <a:gd name="T85" fmla="*/ 39 h 62"/>
                  <a:gd name="T86" fmla="*/ 6 w 134"/>
                  <a:gd name="T87" fmla="*/ 36 h 62"/>
                  <a:gd name="T88" fmla="*/ 0 w 134"/>
                  <a:gd name="T89" fmla="*/ 36 h 62"/>
                  <a:gd name="T90" fmla="*/ 1 w 134"/>
                  <a:gd name="T91" fmla="*/ 41 h 62"/>
                  <a:gd name="T92" fmla="*/ 1 w 134"/>
                  <a:gd name="T93" fmla="*/ 45 h 62"/>
                  <a:gd name="T94" fmla="*/ 3 w 134"/>
                  <a:gd name="T95" fmla="*/ 48 h 62"/>
                  <a:gd name="T96" fmla="*/ 9 w 134"/>
                  <a:gd name="T97" fmla="*/ 51 h 62"/>
                  <a:gd name="T98" fmla="*/ 16 w 134"/>
                  <a:gd name="T99" fmla="*/ 49 h 62"/>
                  <a:gd name="T100" fmla="*/ 24 w 134"/>
                  <a:gd name="T101" fmla="*/ 54 h 62"/>
                  <a:gd name="T102" fmla="*/ 29 w 134"/>
                  <a:gd name="T103" fmla="*/ 51 h 62"/>
                  <a:gd name="T104" fmla="*/ 34 w 134"/>
                  <a:gd name="T105" fmla="*/ 48 h 62"/>
                  <a:gd name="T106" fmla="*/ 42 w 134"/>
                  <a:gd name="T107" fmla="*/ 48 h 62"/>
                  <a:gd name="T108" fmla="*/ 46 w 134"/>
                  <a:gd name="T109" fmla="*/ 49 h 62"/>
                  <a:gd name="T110" fmla="*/ 55 w 134"/>
                  <a:gd name="T111" fmla="*/ 56 h 62"/>
                  <a:gd name="T112" fmla="*/ 86 w 134"/>
                  <a:gd name="T113" fmla="*/ 62 h 62"/>
                  <a:gd name="T114" fmla="*/ 92 w 134"/>
                  <a:gd name="T115" fmla="*/ 59 h 62"/>
                  <a:gd name="T116" fmla="*/ 112 w 134"/>
                  <a:gd name="T117" fmla="*/ 55 h 62"/>
                  <a:gd name="T118" fmla="*/ 115 w 134"/>
                  <a:gd name="T119" fmla="*/ 52 h 62"/>
                  <a:gd name="T120" fmla="*/ 121 w 134"/>
                  <a:gd name="T121" fmla="*/ 4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62">
                    <a:moveTo>
                      <a:pt x="121" y="48"/>
                    </a:moveTo>
                    <a:lnTo>
                      <a:pt x="122" y="48"/>
                    </a:lnTo>
                    <a:lnTo>
                      <a:pt x="122" y="46"/>
                    </a:lnTo>
                    <a:lnTo>
                      <a:pt x="122" y="45"/>
                    </a:lnTo>
                    <a:lnTo>
                      <a:pt x="122" y="43"/>
                    </a:lnTo>
                    <a:lnTo>
                      <a:pt x="122" y="42"/>
                    </a:lnTo>
                    <a:lnTo>
                      <a:pt x="122" y="41"/>
                    </a:lnTo>
                    <a:lnTo>
                      <a:pt x="122" y="39"/>
                    </a:lnTo>
                    <a:lnTo>
                      <a:pt x="123" y="39"/>
                    </a:lnTo>
                    <a:lnTo>
                      <a:pt x="125" y="38"/>
                    </a:lnTo>
                    <a:lnTo>
                      <a:pt x="125" y="36"/>
                    </a:lnTo>
                    <a:lnTo>
                      <a:pt x="125" y="35"/>
                    </a:lnTo>
                    <a:lnTo>
                      <a:pt x="121" y="32"/>
                    </a:lnTo>
                    <a:lnTo>
                      <a:pt x="122" y="31"/>
                    </a:lnTo>
                    <a:lnTo>
                      <a:pt x="123" y="31"/>
                    </a:lnTo>
                    <a:lnTo>
                      <a:pt x="126" y="32"/>
                    </a:lnTo>
                    <a:lnTo>
                      <a:pt x="131" y="32"/>
                    </a:lnTo>
                    <a:lnTo>
                      <a:pt x="132" y="32"/>
                    </a:lnTo>
                    <a:lnTo>
                      <a:pt x="132" y="29"/>
                    </a:lnTo>
                    <a:lnTo>
                      <a:pt x="132" y="28"/>
                    </a:lnTo>
                    <a:lnTo>
                      <a:pt x="134" y="26"/>
                    </a:lnTo>
                    <a:lnTo>
                      <a:pt x="134" y="25"/>
                    </a:lnTo>
                    <a:lnTo>
                      <a:pt x="132" y="23"/>
                    </a:lnTo>
                    <a:lnTo>
                      <a:pt x="131" y="20"/>
                    </a:lnTo>
                    <a:lnTo>
                      <a:pt x="131" y="18"/>
                    </a:lnTo>
                    <a:lnTo>
                      <a:pt x="129" y="16"/>
                    </a:lnTo>
                    <a:lnTo>
                      <a:pt x="129" y="15"/>
                    </a:lnTo>
                    <a:lnTo>
                      <a:pt x="129" y="13"/>
                    </a:lnTo>
                    <a:lnTo>
                      <a:pt x="131" y="10"/>
                    </a:lnTo>
                    <a:lnTo>
                      <a:pt x="129" y="9"/>
                    </a:lnTo>
                    <a:lnTo>
                      <a:pt x="128" y="8"/>
                    </a:lnTo>
                    <a:lnTo>
                      <a:pt x="126" y="6"/>
                    </a:lnTo>
                    <a:lnTo>
                      <a:pt x="125" y="6"/>
                    </a:lnTo>
                    <a:lnTo>
                      <a:pt x="123" y="6"/>
                    </a:lnTo>
                    <a:lnTo>
                      <a:pt x="119" y="6"/>
                    </a:lnTo>
                    <a:lnTo>
                      <a:pt x="118" y="6"/>
                    </a:lnTo>
                    <a:lnTo>
                      <a:pt x="116" y="6"/>
                    </a:lnTo>
                    <a:lnTo>
                      <a:pt x="115" y="6"/>
                    </a:lnTo>
                    <a:lnTo>
                      <a:pt x="113" y="5"/>
                    </a:lnTo>
                    <a:lnTo>
                      <a:pt x="112" y="5"/>
                    </a:lnTo>
                    <a:lnTo>
                      <a:pt x="112" y="3"/>
                    </a:lnTo>
                    <a:lnTo>
                      <a:pt x="109" y="3"/>
                    </a:lnTo>
                    <a:lnTo>
                      <a:pt x="109" y="3"/>
                    </a:lnTo>
                    <a:lnTo>
                      <a:pt x="105" y="2"/>
                    </a:lnTo>
                    <a:lnTo>
                      <a:pt x="103" y="0"/>
                    </a:lnTo>
                    <a:lnTo>
                      <a:pt x="102" y="0"/>
                    </a:lnTo>
                    <a:lnTo>
                      <a:pt x="101" y="2"/>
                    </a:lnTo>
                    <a:lnTo>
                      <a:pt x="99" y="2"/>
                    </a:lnTo>
                    <a:lnTo>
                      <a:pt x="98" y="0"/>
                    </a:lnTo>
                    <a:lnTo>
                      <a:pt x="98" y="0"/>
                    </a:lnTo>
                    <a:lnTo>
                      <a:pt x="96" y="0"/>
                    </a:lnTo>
                    <a:lnTo>
                      <a:pt x="96" y="2"/>
                    </a:lnTo>
                    <a:lnTo>
                      <a:pt x="95" y="3"/>
                    </a:lnTo>
                    <a:lnTo>
                      <a:pt x="95" y="5"/>
                    </a:lnTo>
                    <a:lnTo>
                      <a:pt x="95" y="5"/>
                    </a:lnTo>
                    <a:lnTo>
                      <a:pt x="95" y="5"/>
                    </a:lnTo>
                    <a:lnTo>
                      <a:pt x="95" y="5"/>
                    </a:lnTo>
                    <a:lnTo>
                      <a:pt x="93" y="5"/>
                    </a:lnTo>
                    <a:lnTo>
                      <a:pt x="93" y="6"/>
                    </a:lnTo>
                    <a:lnTo>
                      <a:pt x="92" y="9"/>
                    </a:lnTo>
                    <a:lnTo>
                      <a:pt x="90" y="9"/>
                    </a:lnTo>
                    <a:lnTo>
                      <a:pt x="90" y="9"/>
                    </a:lnTo>
                    <a:lnTo>
                      <a:pt x="83" y="10"/>
                    </a:lnTo>
                    <a:lnTo>
                      <a:pt x="80" y="10"/>
                    </a:lnTo>
                    <a:lnTo>
                      <a:pt x="79" y="9"/>
                    </a:lnTo>
                    <a:lnTo>
                      <a:pt x="78" y="8"/>
                    </a:lnTo>
                    <a:lnTo>
                      <a:pt x="76" y="6"/>
                    </a:lnTo>
                    <a:lnTo>
                      <a:pt x="75" y="9"/>
                    </a:lnTo>
                    <a:lnTo>
                      <a:pt x="75" y="10"/>
                    </a:lnTo>
                    <a:lnTo>
                      <a:pt x="73" y="12"/>
                    </a:lnTo>
                    <a:lnTo>
                      <a:pt x="73" y="12"/>
                    </a:lnTo>
                    <a:lnTo>
                      <a:pt x="72" y="10"/>
                    </a:lnTo>
                    <a:lnTo>
                      <a:pt x="70" y="10"/>
                    </a:lnTo>
                    <a:lnTo>
                      <a:pt x="70" y="10"/>
                    </a:lnTo>
                    <a:lnTo>
                      <a:pt x="69" y="10"/>
                    </a:lnTo>
                    <a:lnTo>
                      <a:pt x="69" y="10"/>
                    </a:lnTo>
                    <a:lnTo>
                      <a:pt x="69" y="12"/>
                    </a:lnTo>
                    <a:lnTo>
                      <a:pt x="69" y="13"/>
                    </a:lnTo>
                    <a:lnTo>
                      <a:pt x="69" y="13"/>
                    </a:lnTo>
                    <a:lnTo>
                      <a:pt x="67" y="15"/>
                    </a:lnTo>
                    <a:lnTo>
                      <a:pt x="67" y="16"/>
                    </a:lnTo>
                    <a:lnTo>
                      <a:pt x="66" y="16"/>
                    </a:lnTo>
                    <a:lnTo>
                      <a:pt x="63" y="18"/>
                    </a:lnTo>
                    <a:lnTo>
                      <a:pt x="60" y="19"/>
                    </a:lnTo>
                    <a:lnTo>
                      <a:pt x="59" y="20"/>
                    </a:lnTo>
                    <a:lnTo>
                      <a:pt x="57" y="22"/>
                    </a:lnTo>
                    <a:lnTo>
                      <a:pt x="57" y="25"/>
                    </a:lnTo>
                    <a:lnTo>
                      <a:pt x="59" y="26"/>
                    </a:lnTo>
                    <a:lnTo>
                      <a:pt x="60" y="28"/>
                    </a:lnTo>
                    <a:lnTo>
                      <a:pt x="59" y="31"/>
                    </a:lnTo>
                    <a:lnTo>
                      <a:pt x="60" y="32"/>
                    </a:lnTo>
                    <a:lnTo>
                      <a:pt x="62" y="33"/>
                    </a:lnTo>
                    <a:lnTo>
                      <a:pt x="62" y="35"/>
                    </a:lnTo>
                    <a:lnTo>
                      <a:pt x="62" y="36"/>
                    </a:lnTo>
                    <a:lnTo>
                      <a:pt x="60" y="38"/>
                    </a:lnTo>
                    <a:lnTo>
                      <a:pt x="59" y="36"/>
                    </a:lnTo>
                    <a:lnTo>
                      <a:pt x="57" y="33"/>
                    </a:lnTo>
                    <a:lnTo>
                      <a:pt x="56" y="33"/>
                    </a:lnTo>
                    <a:lnTo>
                      <a:pt x="55" y="33"/>
                    </a:lnTo>
                    <a:lnTo>
                      <a:pt x="55" y="33"/>
                    </a:lnTo>
                    <a:lnTo>
                      <a:pt x="53" y="33"/>
                    </a:lnTo>
                    <a:lnTo>
                      <a:pt x="52" y="33"/>
                    </a:lnTo>
                    <a:lnTo>
                      <a:pt x="50" y="32"/>
                    </a:lnTo>
                    <a:lnTo>
                      <a:pt x="49" y="32"/>
                    </a:lnTo>
                    <a:lnTo>
                      <a:pt x="47" y="32"/>
                    </a:lnTo>
                    <a:lnTo>
                      <a:pt x="47" y="31"/>
                    </a:lnTo>
                    <a:lnTo>
                      <a:pt x="47" y="32"/>
                    </a:lnTo>
                    <a:lnTo>
                      <a:pt x="47" y="32"/>
                    </a:lnTo>
                    <a:lnTo>
                      <a:pt x="47" y="32"/>
                    </a:lnTo>
                    <a:lnTo>
                      <a:pt x="47" y="33"/>
                    </a:lnTo>
                    <a:lnTo>
                      <a:pt x="44" y="33"/>
                    </a:lnTo>
                    <a:lnTo>
                      <a:pt x="42" y="33"/>
                    </a:lnTo>
                    <a:lnTo>
                      <a:pt x="37" y="35"/>
                    </a:lnTo>
                    <a:lnTo>
                      <a:pt x="33" y="38"/>
                    </a:lnTo>
                    <a:lnTo>
                      <a:pt x="29" y="38"/>
                    </a:lnTo>
                    <a:lnTo>
                      <a:pt x="24" y="38"/>
                    </a:lnTo>
                    <a:lnTo>
                      <a:pt x="24" y="38"/>
                    </a:lnTo>
                    <a:lnTo>
                      <a:pt x="23" y="36"/>
                    </a:lnTo>
                    <a:lnTo>
                      <a:pt x="22" y="36"/>
                    </a:lnTo>
                    <a:lnTo>
                      <a:pt x="20" y="35"/>
                    </a:lnTo>
                    <a:lnTo>
                      <a:pt x="19" y="35"/>
                    </a:lnTo>
                    <a:lnTo>
                      <a:pt x="17" y="35"/>
                    </a:lnTo>
                    <a:lnTo>
                      <a:pt x="16" y="35"/>
                    </a:lnTo>
                    <a:lnTo>
                      <a:pt x="16" y="36"/>
                    </a:lnTo>
                    <a:lnTo>
                      <a:pt x="14" y="39"/>
                    </a:lnTo>
                    <a:lnTo>
                      <a:pt x="14" y="41"/>
                    </a:lnTo>
                    <a:lnTo>
                      <a:pt x="11" y="42"/>
                    </a:lnTo>
                    <a:lnTo>
                      <a:pt x="11" y="41"/>
                    </a:lnTo>
                    <a:lnTo>
                      <a:pt x="11" y="39"/>
                    </a:lnTo>
                    <a:lnTo>
                      <a:pt x="10" y="38"/>
                    </a:lnTo>
                    <a:lnTo>
                      <a:pt x="9" y="38"/>
                    </a:lnTo>
                    <a:lnTo>
                      <a:pt x="6" y="36"/>
                    </a:lnTo>
                    <a:lnTo>
                      <a:pt x="4" y="36"/>
                    </a:lnTo>
                    <a:lnTo>
                      <a:pt x="3" y="36"/>
                    </a:lnTo>
                    <a:lnTo>
                      <a:pt x="0" y="36"/>
                    </a:lnTo>
                    <a:lnTo>
                      <a:pt x="1" y="38"/>
                    </a:lnTo>
                    <a:lnTo>
                      <a:pt x="1" y="39"/>
                    </a:lnTo>
                    <a:lnTo>
                      <a:pt x="1" y="41"/>
                    </a:lnTo>
                    <a:lnTo>
                      <a:pt x="0" y="42"/>
                    </a:lnTo>
                    <a:lnTo>
                      <a:pt x="0" y="43"/>
                    </a:lnTo>
                    <a:lnTo>
                      <a:pt x="1" y="45"/>
                    </a:lnTo>
                    <a:lnTo>
                      <a:pt x="1" y="45"/>
                    </a:lnTo>
                    <a:lnTo>
                      <a:pt x="1" y="46"/>
                    </a:lnTo>
                    <a:lnTo>
                      <a:pt x="3" y="48"/>
                    </a:lnTo>
                    <a:lnTo>
                      <a:pt x="6" y="49"/>
                    </a:lnTo>
                    <a:lnTo>
                      <a:pt x="7" y="49"/>
                    </a:lnTo>
                    <a:lnTo>
                      <a:pt x="9" y="51"/>
                    </a:lnTo>
                    <a:lnTo>
                      <a:pt x="11" y="51"/>
                    </a:lnTo>
                    <a:lnTo>
                      <a:pt x="13" y="49"/>
                    </a:lnTo>
                    <a:lnTo>
                      <a:pt x="16" y="49"/>
                    </a:lnTo>
                    <a:lnTo>
                      <a:pt x="16" y="52"/>
                    </a:lnTo>
                    <a:lnTo>
                      <a:pt x="23" y="54"/>
                    </a:lnTo>
                    <a:lnTo>
                      <a:pt x="24" y="54"/>
                    </a:lnTo>
                    <a:lnTo>
                      <a:pt x="26" y="54"/>
                    </a:lnTo>
                    <a:lnTo>
                      <a:pt x="27" y="52"/>
                    </a:lnTo>
                    <a:lnTo>
                      <a:pt x="29" y="51"/>
                    </a:lnTo>
                    <a:lnTo>
                      <a:pt x="30" y="49"/>
                    </a:lnTo>
                    <a:lnTo>
                      <a:pt x="32" y="48"/>
                    </a:lnTo>
                    <a:lnTo>
                      <a:pt x="34" y="48"/>
                    </a:lnTo>
                    <a:lnTo>
                      <a:pt x="37" y="49"/>
                    </a:lnTo>
                    <a:lnTo>
                      <a:pt x="39" y="49"/>
                    </a:lnTo>
                    <a:lnTo>
                      <a:pt x="42" y="48"/>
                    </a:lnTo>
                    <a:lnTo>
                      <a:pt x="44" y="46"/>
                    </a:lnTo>
                    <a:lnTo>
                      <a:pt x="47" y="46"/>
                    </a:lnTo>
                    <a:lnTo>
                      <a:pt x="46" y="49"/>
                    </a:lnTo>
                    <a:lnTo>
                      <a:pt x="49" y="52"/>
                    </a:lnTo>
                    <a:lnTo>
                      <a:pt x="52" y="55"/>
                    </a:lnTo>
                    <a:lnTo>
                      <a:pt x="55" y="56"/>
                    </a:lnTo>
                    <a:lnTo>
                      <a:pt x="73" y="59"/>
                    </a:lnTo>
                    <a:lnTo>
                      <a:pt x="83" y="61"/>
                    </a:lnTo>
                    <a:lnTo>
                      <a:pt x="86" y="62"/>
                    </a:lnTo>
                    <a:lnTo>
                      <a:pt x="89" y="61"/>
                    </a:lnTo>
                    <a:lnTo>
                      <a:pt x="90" y="61"/>
                    </a:lnTo>
                    <a:lnTo>
                      <a:pt x="92" y="59"/>
                    </a:lnTo>
                    <a:lnTo>
                      <a:pt x="93" y="58"/>
                    </a:lnTo>
                    <a:lnTo>
                      <a:pt x="96" y="56"/>
                    </a:lnTo>
                    <a:lnTo>
                      <a:pt x="112" y="55"/>
                    </a:lnTo>
                    <a:lnTo>
                      <a:pt x="113" y="55"/>
                    </a:lnTo>
                    <a:lnTo>
                      <a:pt x="113" y="54"/>
                    </a:lnTo>
                    <a:lnTo>
                      <a:pt x="115" y="52"/>
                    </a:lnTo>
                    <a:lnTo>
                      <a:pt x="115" y="52"/>
                    </a:lnTo>
                    <a:lnTo>
                      <a:pt x="118" y="51"/>
                    </a:lnTo>
                    <a:lnTo>
                      <a:pt x="121" y="4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48" name="Freeform 54">
                <a:extLst>
                  <a:ext uri="{FF2B5EF4-FFF2-40B4-BE49-F238E27FC236}">
                    <a16:creationId xmlns:a16="http://schemas.microsoft.com/office/drawing/2014/main" id="{52131393-B284-6701-D48E-F21B12E7909C}"/>
                  </a:ext>
                </a:extLst>
              </p:cNvPr>
              <p:cNvSpPr>
                <a:spLocks/>
              </p:cNvSpPr>
              <p:nvPr/>
            </p:nvSpPr>
            <p:spPr bwMode="auto">
              <a:xfrm>
                <a:off x="3900" y="1895"/>
                <a:ext cx="29" cy="31"/>
              </a:xfrm>
              <a:custGeom>
                <a:avLst/>
                <a:gdLst>
                  <a:gd name="T0" fmla="*/ 13 w 29"/>
                  <a:gd name="T1" fmla="*/ 28 h 31"/>
                  <a:gd name="T2" fmla="*/ 15 w 29"/>
                  <a:gd name="T3" fmla="*/ 26 h 31"/>
                  <a:gd name="T4" fmla="*/ 16 w 29"/>
                  <a:gd name="T5" fmla="*/ 25 h 31"/>
                  <a:gd name="T6" fmla="*/ 19 w 29"/>
                  <a:gd name="T7" fmla="*/ 23 h 31"/>
                  <a:gd name="T8" fmla="*/ 20 w 29"/>
                  <a:gd name="T9" fmla="*/ 25 h 31"/>
                  <a:gd name="T10" fmla="*/ 22 w 29"/>
                  <a:gd name="T11" fmla="*/ 25 h 31"/>
                  <a:gd name="T12" fmla="*/ 23 w 29"/>
                  <a:gd name="T13" fmla="*/ 22 h 31"/>
                  <a:gd name="T14" fmla="*/ 26 w 29"/>
                  <a:gd name="T15" fmla="*/ 22 h 31"/>
                  <a:gd name="T16" fmla="*/ 26 w 29"/>
                  <a:gd name="T17" fmla="*/ 22 h 31"/>
                  <a:gd name="T18" fmla="*/ 26 w 29"/>
                  <a:gd name="T19" fmla="*/ 22 h 31"/>
                  <a:gd name="T20" fmla="*/ 26 w 29"/>
                  <a:gd name="T21" fmla="*/ 22 h 31"/>
                  <a:gd name="T22" fmla="*/ 26 w 29"/>
                  <a:gd name="T23" fmla="*/ 22 h 31"/>
                  <a:gd name="T24" fmla="*/ 26 w 29"/>
                  <a:gd name="T25" fmla="*/ 19 h 31"/>
                  <a:gd name="T26" fmla="*/ 29 w 29"/>
                  <a:gd name="T27" fmla="*/ 15 h 31"/>
                  <a:gd name="T28" fmla="*/ 29 w 29"/>
                  <a:gd name="T29" fmla="*/ 12 h 31"/>
                  <a:gd name="T30" fmla="*/ 28 w 29"/>
                  <a:gd name="T31" fmla="*/ 12 h 31"/>
                  <a:gd name="T32" fmla="*/ 26 w 29"/>
                  <a:gd name="T33" fmla="*/ 12 h 31"/>
                  <a:gd name="T34" fmla="*/ 25 w 29"/>
                  <a:gd name="T35" fmla="*/ 10 h 31"/>
                  <a:gd name="T36" fmla="*/ 25 w 29"/>
                  <a:gd name="T37" fmla="*/ 10 h 31"/>
                  <a:gd name="T38" fmla="*/ 23 w 29"/>
                  <a:gd name="T39" fmla="*/ 9 h 31"/>
                  <a:gd name="T40" fmla="*/ 23 w 29"/>
                  <a:gd name="T41" fmla="*/ 9 h 31"/>
                  <a:gd name="T42" fmla="*/ 23 w 29"/>
                  <a:gd name="T43" fmla="*/ 8 h 31"/>
                  <a:gd name="T44" fmla="*/ 19 w 29"/>
                  <a:gd name="T45" fmla="*/ 5 h 31"/>
                  <a:gd name="T46" fmla="*/ 16 w 29"/>
                  <a:gd name="T47" fmla="*/ 2 h 31"/>
                  <a:gd name="T48" fmla="*/ 13 w 29"/>
                  <a:gd name="T49" fmla="*/ 0 h 31"/>
                  <a:gd name="T50" fmla="*/ 12 w 29"/>
                  <a:gd name="T51" fmla="*/ 0 h 31"/>
                  <a:gd name="T52" fmla="*/ 10 w 29"/>
                  <a:gd name="T53" fmla="*/ 2 h 31"/>
                  <a:gd name="T54" fmla="*/ 10 w 29"/>
                  <a:gd name="T55" fmla="*/ 2 h 31"/>
                  <a:gd name="T56" fmla="*/ 10 w 29"/>
                  <a:gd name="T57" fmla="*/ 2 h 31"/>
                  <a:gd name="T58" fmla="*/ 10 w 29"/>
                  <a:gd name="T59" fmla="*/ 3 h 31"/>
                  <a:gd name="T60" fmla="*/ 10 w 29"/>
                  <a:gd name="T61" fmla="*/ 3 h 31"/>
                  <a:gd name="T62" fmla="*/ 10 w 29"/>
                  <a:gd name="T63" fmla="*/ 3 h 31"/>
                  <a:gd name="T64" fmla="*/ 9 w 29"/>
                  <a:gd name="T65" fmla="*/ 5 h 31"/>
                  <a:gd name="T66" fmla="*/ 9 w 29"/>
                  <a:gd name="T67" fmla="*/ 6 h 31"/>
                  <a:gd name="T68" fmla="*/ 7 w 29"/>
                  <a:gd name="T69" fmla="*/ 6 h 31"/>
                  <a:gd name="T70" fmla="*/ 7 w 29"/>
                  <a:gd name="T71" fmla="*/ 8 h 31"/>
                  <a:gd name="T72" fmla="*/ 7 w 29"/>
                  <a:gd name="T73" fmla="*/ 9 h 31"/>
                  <a:gd name="T74" fmla="*/ 5 w 29"/>
                  <a:gd name="T75" fmla="*/ 9 h 31"/>
                  <a:gd name="T76" fmla="*/ 0 w 29"/>
                  <a:gd name="T77" fmla="*/ 10 h 31"/>
                  <a:gd name="T78" fmla="*/ 0 w 29"/>
                  <a:gd name="T79" fmla="*/ 12 h 31"/>
                  <a:gd name="T80" fmla="*/ 0 w 29"/>
                  <a:gd name="T81" fmla="*/ 13 h 31"/>
                  <a:gd name="T82" fmla="*/ 0 w 29"/>
                  <a:gd name="T83" fmla="*/ 15 h 31"/>
                  <a:gd name="T84" fmla="*/ 2 w 29"/>
                  <a:gd name="T85" fmla="*/ 16 h 31"/>
                  <a:gd name="T86" fmla="*/ 2 w 29"/>
                  <a:gd name="T87" fmla="*/ 18 h 31"/>
                  <a:gd name="T88" fmla="*/ 3 w 29"/>
                  <a:gd name="T89" fmla="*/ 19 h 31"/>
                  <a:gd name="T90" fmla="*/ 3 w 29"/>
                  <a:gd name="T91" fmla="*/ 19 h 31"/>
                  <a:gd name="T92" fmla="*/ 6 w 29"/>
                  <a:gd name="T93" fmla="*/ 21 h 31"/>
                  <a:gd name="T94" fmla="*/ 7 w 29"/>
                  <a:gd name="T95" fmla="*/ 22 h 31"/>
                  <a:gd name="T96" fmla="*/ 7 w 29"/>
                  <a:gd name="T97" fmla="*/ 23 h 31"/>
                  <a:gd name="T98" fmla="*/ 9 w 29"/>
                  <a:gd name="T99" fmla="*/ 25 h 31"/>
                  <a:gd name="T100" fmla="*/ 9 w 29"/>
                  <a:gd name="T101" fmla="*/ 28 h 31"/>
                  <a:gd name="T102" fmla="*/ 9 w 29"/>
                  <a:gd name="T103" fmla="*/ 31 h 31"/>
                  <a:gd name="T104" fmla="*/ 12 w 29"/>
                  <a:gd name="T105" fmla="*/ 31 h 31"/>
                  <a:gd name="T106" fmla="*/ 13 w 29"/>
                  <a:gd name="T10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 h="31">
                    <a:moveTo>
                      <a:pt x="13" y="28"/>
                    </a:moveTo>
                    <a:lnTo>
                      <a:pt x="15" y="26"/>
                    </a:lnTo>
                    <a:lnTo>
                      <a:pt x="16" y="25"/>
                    </a:lnTo>
                    <a:lnTo>
                      <a:pt x="19" y="23"/>
                    </a:lnTo>
                    <a:lnTo>
                      <a:pt x="20" y="25"/>
                    </a:lnTo>
                    <a:lnTo>
                      <a:pt x="22" y="25"/>
                    </a:lnTo>
                    <a:lnTo>
                      <a:pt x="23" y="22"/>
                    </a:lnTo>
                    <a:lnTo>
                      <a:pt x="26" y="22"/>
                    </a:lnTo>
                    <a:lnTo>
                      <a:pt x="26" y="22"/>
                    </a:lnTo>
                    <a:lnTo>
                      <a:pt x="26" y="22"/>
                    </a:lnTo>
                    <a:lnTo>
                      <a:pt x="26" y="22"/>
                    </a:lnTo>
                    <a:lnTo>
                      <a:pt x="26" y="22"/>
                    </a:lnTo>
                    <a:lnTo>
                      <a:pt x="26" y="19"/>
                    </a:lnTo>
                    <a:lnTo>
                      <a:pt x="29" y="15"/>
                    </a:lnTo>
                    <a:lnTo>
                      <a:pt x="29" y="12"/>
                    </a:lnTo>
                    <a:lnTo>
                      <a:pt x="28" y="12"/>
                    </a:lnTo>
                    <a:lnTo>
                      <a:pt x="26" y="12"/>
                    </a:lnTo>
                    <a:lnTo>
                      <a:pt x="25" y="10"/>
                    </a:lnTo>
                    <a:lnTo>
                      <a:pt x="25" y="10"/>
                    </a:lnTo>
                    <a:lnTo>
                      <a:pt x="23" y="9"/>
                    </a:lnTo>
                    <a:lnTo>
                      <a:pt x="23" y="9"/>
                    </a:lnTo>
                    <a:lnTo>
                      <a:pt x="23" y="8"/>
                    </a:lnTo>
                    <a:lnTo>
                      <a:pt x="19" y="5"/>
                    </a:lnTo>
                    <a:lnTo>
                      <a:pt x="16" y="2"/>
                    </a:lnTo>
                    <a:lnTo>
                      <a:pt x="13" y="0"/>
                    </a:lnTo>
                    <a:lnTo>
                      <a:pt x="12" y="0"/>
                    </a:lnTo>
                    <a:lnTo>
                      <a:pt x="10" y="2"/>
                    </a:lnTo>
                    <a:lnTo>
                      <a:pt x="10" y="2"/>
                    </a:lnTo>
                    <a:lnTo>
                      <a:pt x="10" y="2"/>
                    </a:lnTo>
                    <a:lnTo>
                      <a:pt x="10" y="3"/>
                    </a:lnTo>
                    <a:lnTo>
                      <a:pt x="10" y="3"/>
                    </a:lnTo>
                    <a:lnTo>
                      <a:pt x="10" y="3"/>
                    </a:lnTo>
                    <a:lnTo>
                      <a:pt x="9" y="5"/>
                    </a:lnTo>
                    <a:lnTo>
                      <a:pt x="9" y="6"/>
                    </a:lnTo>
                    <a:lnTo>
                      <a:pt x="7" y="6"/>
                    </a:lnTo>
                    <a:lnTo>
                      <a:pt x="7" y="8"/>
                    </a:lnTo>
                    <a:lnTo>
                      <a:pt x="7" y="9"/>
                    </a:lnTo>
                    <a:lnTo>
                      <a:pt x="5" y="9"/>
                    </a:lnTo>
                    <a:lnTo>
                      <a:pt x="0" y="10"/>
                    </a:lnTo>
                    <a:lnTo>
                      <a:pt x="0" y="12"/>
                    </a:lnTo>
                    <a:lnTo>
                      <a:pt x="0" y="13"/>
                    </a:lnTo>
                    <a:lnTo>
                      <a:pt x="0" y="15"/>
                    </a:lnTo>
                    <a:lnTo>
                      <a:pt x="2" y="16"/>
                    </a:lnTo>
                    <a:lnTo>
                      <a:pt x="2" y="18"/>
                    </a:lnTo>
                    <a:lnTo>
                      <a:pt x="3" y="19"/>
                    </a:lnTo>
                    <a:lnTo>
                      <a:pt x="3" y="19"/>
                    </a:lnTo>
                    <a:lnTo>
                      <a:pt x="6" y="21"/>
                    </a:lnTo>
                    <a:lnTo>
                      <a:pt x="7" y="22"/>
                    </a:lnTo>
                    <a:lnTo>
                      <a:pt x="7" y="23"/>
                    </a:lnTo>
                    <a:lnTo>
                      <a:pt x="9" y="25"/>
                    </a:lnTo>
                    <a:lnTo>
                      <a:pt x="9" y="28"/>
                    </a:lnTo>
                    <a:lnTo>
                      <a:pt x="9" y="31"/>
                    </a:lnTo>
                    <a:lnTo>
                      <a:pt x="12" y="31"/>
                    </a:lnTo>
                    <a:lnTo>
                      <a:pt x="13" y="2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49" name="Freeform 55">
                <a:extLst>
                  <a:ext uri="{FF2B5EF4-FFF2-40B4-BE49-F238E27FC236}">
                    <a16:creationId xmlns:a16="http://schemas.microsoft.com/office/drawing/2014/main" id="{706A3E1D-79C3-3EA8-AD8D-B10A2DE4508B}"/>
                  </a:ext>
                </a:extLst>
              </p:cNvPr>
              <p:cNvSpPr>
                <a:spLocks/>
              </p:cNvSpPr>
              <p:nvPr/>
            </p:nvSpPr>
            <p:spPr bwMode="auto">
              <a:xfrm>
                <a:off x="3652" y="1791"/>
                <a:ext cx="79" cy="44"/>
              </a:xfrm>
              <a:custGeom>
                <a:avLst/>
                <a:gdLst>
                  <a:gd name="T0" fmla="*/ 72 w 79"/>
                  <a:gd name="T1" fmla="*/ 20 h 44"/>
                  <a:gd name="T2" fmla="*/ 66 w 79"/>
                  <a:gd name="T3" fmla="*/ 17 h 44"/>
                  <a:gd name="T4" fmla="*/ 62 w 79"/>
                  <a:gd name="T5" fmla="*/ 14 h 44"/>
                  <a:gd name="T6" fmla="*/ 64 w 79"/>
                  <a:gd name="T7" fmla="*/ 10 h 44"/>
                  <a:gd name="T8" fmla="*/ 63 w 79"/>
                  <a:gd name="T9" fmla="*/ 5 h 44"/>
                  <a:gd name="T10" fmla="*/ 56 w 79"/>
                  <a:gd name="T11" fmla="*/ 1 h 44"/>
                  <a:gd name="T12" fmla="*/ 47 w 79"/>
                  <a:gd name="T13" fmla="*/ 0 h 44"/>
                  <a:gd name="T14" fmla="*/ 44 w 79"/>
                  <a:gd name="T15" fmla="*/ 1 h 44"/>
                  <a:gd name="T16" fmla="*/ 43 w 79"/>
                  <a:gd name="T17" fmla="*/ 4 h 44"/>
                  <a:gd name="T18" fmla="*/ 31 w 79"/>
                  <a:gd name="T19" fmla="*/ 4 h 44"/>
                  <a:gd name="T20" fmla="*/ 27 w 79"/>
                  <a:gd name="T21" fmla="*/ 7 h 44"/>
                  <a:gd name="T22" fmla="*/ 23 w 79"/>
                  <a:gd name="T23" fmla="*/ 7 h 44"/>
                  <a:gd name="T24" fmla="*/ 18 w 79"/>
                  <a:gd name="T25" fmla="*/ 7 h 44"/>
                  <a:gd name="T26" fmla="*/ 17 w 79"/>
                  <a:gd name="T27" fmla="*/ 8 h 44"/>
                  <a:gd name="T28" fmla="*/ 18 w 79"/>
                  <a:gd name="T29" fmla="*/ 10 h 44"/>
                  <a:gd name="T30" fmla="*/ 11 w 79"/>
                  <a:gd name="T31" fmla="*/ 17 h 44"/>
                  <a:gd name="T32" fmla="*/ 8 w 79"/>
                  <a:gd name="T33" fmla="*/ 20 h 44"/>
                  <a:gd name="T34" fmla="*/ 8 w 79"/>
                  <a:gd name="T35" fmla="*/ 23 h 44"/>
                  <a:gd name="T36" fmla="*/ 3 w 79"/>
                  <a:gd name="T37" fmla="*/ 27 h 44"/>
                  <a:gd name="T38" fmla="*/ 3 w 79"/>
                  <a:gd name="T39" fmla="*/ 30 h 44"/>
                  <a:gd name="T40" fmla="*/ 3 w 79"/>
                  <a:gd name="T41" fmla="*/ 31 h 44"/>
                  <a:gd name="T42" fmla="*/ 0 w 79"/>
                  <a:gd name="T43" fmla="*/ 35 h 44"/>
                  <a:gd name="T44" fmla="*/ 1 w 79"/>
                  <a:gd name="T45" fmla="*/ 37 h 44"/>
                  <a:gd name="T46" fmla="*/ 6 w 79"/>
                  <a:gd name="T47" fmla="*/ 35 h 44"/>
                  <a:gd name="T48" fmla="*/ 7 w 79"/>
                  <a:gd name="T49" fmla="*/ 31 h 44"/>
                  <a:gd name="T50" fmla="*/ 11 w 79"/>
                  <a:gd name="T51" fmla="*/ 30 h 44"/>
                  <a:gd name="T52" fmla="*/ 14 w 79"/>
                  <a:gd name="T53" fmla="*/ 33 h 44"/>
                  <a:gd name="T54" fmla="*/ 16 w 79"/>
                  <a:gd name="T55" fmla="*/ 37 h 44"/>
                  <a:gd name="T56" fmla="*/ 18 w 79"/>
                  <a:gd name="T57" fmla="*/ 41 h 44"/>
                  <a:gd name="T58" fmla="*/ 24 w 79"/>
                  <a:gd name="T59" fmla="*/ 43 h 44"/>
                  <a:gd name="T60" fmla="*/ 31 w 79"/>
                  <a:gd name="T61" fmla="*/ 41 h 44"/>
                  <a:gd name="T62" fmla="*/ 36 w 79"/>
                  <a:gd name="T63" fmla="*/ 40 h 44"/>
                  <a:gd name="T64" fmla="*/ 39 w 79"/>
                  <a:gd name="T65" fmla="*/ 35 h 44"/>
                  <a:gd name="T66" fmla="*/ 39 w 79"/>
                  <a:gd name="T67" fmla="*/ 34 h 44"/>
                  <a:gd name="T68" fmla="*/ 43 w 79"/>
                  <a:gd name="T69" fmla="*/ 31 h 44"/>
                  <a:gd name="T70" fmla="*/ 44 w 79"/>
                  <a:gd name="T71" fmla="*/ 31 h 44"/>
                  <a:gd name="T72" fmla="*/ 46 w 79"/>
                  <a:gd name="T73" fmla="*/ 35 h 44"/>
                  <a:gd name="T74" fmla="*/ 50 w 79"/>
                  <a:gd name="T75" fmla="*/ 38 h 44"/>
                  <a:gd name="T76" fmla="*/ 50 w 79"/>
                  <a:gd name="T77" fmla="*/ 40 h 44"/>
                  <a:gd name="T78" fmla="*/ 53 w 79"/>
                  <a:gd name="T79" fmla="*/ 44 h 44"/>
                  <a:gd name="T80" fmla="*/ 54 w 79"/>
                  <a:gd name="T81" fmla="*/ 43 h 44"/>
                  <a:gd name="T82" fmla="*/ 54 w 79"/>
                  <a:gd name="T83" fmla="*/ 38 h 44"/>
                  <a:gd name="T84" fmla="*/ 57 w 79"/>
                  <a:gd name="T85" fmla="*/ 35 h 44"/>
                  <a:gd name="T86" fmla="*/ 59 w 79"/>
                  <a:gd name="T87" fmla="*/ 30 h 44"/>
                  <a:gd name="T88" fmla="*/ 62 w 79"/>
                  <a:gd name="T89" fmla="*/ 31 h 44"/>
                  <a:gd name="T90" fmla="*/ 64 w 79"/>
                  <a:gd name="T91" fmla="*/ 33 h 44"/>
                  <a:gd name="T92" fmla="*/ 69 w 79"/>
                  <a:gd name="T93" fmla="*/ 33 h 44"/>
                  <a:gd name="T94" fmla="*/ 72 w 79"/>
                  <a:gd name="T95" fmla="*/ 33 h 44"/>
                  <a:gd name="T96" fmla="*/ 74 w 79"/>
                  <a:gd name="T97" fmla="*/ 34 h 44"/>
                  <a:gd name="T98" fmla="*/ 72 w 79"/>
                  <a:gd name="T99" fmla="*/ 28 h 44"/>
                  <a:gd name="T100" fmla="*/ 77 w 79"/>
                  <a:gd name="T101" fmla="*/ 27 h 44"/>
                  <a:gd name="T102" fmla="*/ 79 w 79"/>
                  <a:gd name="T103" fmla="*/ 23 h 44"/>
                  <a:gd name="T104" fmla="*/ 76 w 79"/>
                  <a:gd name="T10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 h="44">
                    <a:moveTo>
                      <a:pt x="76" y="18"/>
                    </a:moveTo>
                    <a:lnTo>
                      <a:pt x="74" y="20"/>
                    </a:lnTo>
                    <a:lnTo>
                      <a:pt x="72" y="20"/>
                    </a:lnTo>
                    <a:lnTo>
                      <a:pt x="70" y="18"/>
                    </a:lnTo>
                    <a:lnTo>
                      <a:pt x="69" y="18"/>
                    </a:lnTo>
                    <a:lnTo>
                      <a:pt x="66" y="17"/>
                    </a:lnTo>
                    <a:lnTo>
                      <a:pt x="64" y="15"/>
                    </a:lnTo>
                    <a:lnTo>
                      <a:pt x="63" y="15"/>
                    </a:lnTo>
                    <a:lnTo>
                      <a:pt x="62" y="14"/>
                    </a:lnTo>
                    <a:lnTo>
                      <a:pt x="63" y="12"/>
                    </a:lnTo>
                    <a:lnTo>
                      <a:pt x="63" y="11"/>
                    </a:lnTo>
                    <a:lnTo>
                      <a:pt x="64" y="10"/>
                    </a:lnTo>
                    <a:lnTo>
                      <a:pt x="64" y="8"/>
                    </a:lnTo>
                    <a:lnTo>
                      <a:pt x="64" y="7"/>
                    </a:lnTo>
                    <a:lnTo>
                      <a:pt x="63" y="5"/>
                    </a:lnTo>
                    <a:lnTo>
                      <a:pt x="59" y="2"/>
                    </a:lnTo>
                    <a:lnTo>
                      <a:pt x="57" y="1"/>
                    </a:lnTo>
                    <a:lnTo>
                      <a:pt x="56" y="1"/>
                    </a:lnTo>
                    <a:lnTo>
                      <a:pt x="53" y="1"/>
                    </a:lnTo>
                    <a:lnTo>
                      <a:pt x="51" y="1"/>
                    </a:lnTo>
                    <a:lnTo>
                      <a:pt x="47" y="0"/>
                    </a:lnTo>
                    <a:lnTo>
                      <a:pt x="44" y="0"/>
                    </a:lnTo>
                    <a:lnTo>
                      <a:pt x="43" y="1"/>
                    </a:lnTo>
                    <a:lnTo>
                      <a:pt x="44" y="1"/>
                    </a:lnTo>
                    <a:lnTo>
                      <a:pt x="46" y="2"/>
                    </a:lnTo>
                    <a:lnTo>
                      <a:pt x="46" y="2"/>
                    </a:lnTo>
                    <a:lnTo>
                      <a:pt x="43" y="4"/>
                    </a:lnTo>
                    <a:lnTo>
                      <a:pt x="41" y="4"/>
                    </a:lnTo>
                    <a:lnTo>
                      <a:pt x="33" y="4"/>
                    </a:lnTo>
                    <a:lnTo>
                      <a:pt x="31" y="4"/>
                    </a:lnTo>
                    <a:lnTo>
                      <a:pt x="30" y="4"/>
                    </a:lnTo>
                    <a:lnTo>
                      <a:pt x="29" y="4"/>
                    </a:lnTo>
                    <a:lnTo>
                      <a:pt x="27" y="7"/>
                    </a:lnTo>
                    <a:lnTo>
                      <a:pt x="26" y="7"/>
                    </a:lnTo>
                    <a:lnTo>
                      <a:pt x="24" y="7"/>
                    </a:lnTo>
                    <a:lnTo>
                      <a:pt x="23" y="7"/>
                    </a:lnTo>
                    <a:lnTo>
                      <a:pt x="23" y="7"/>
                    </a:lnTo>
                    <a:lnTo>
                      <a:pt x="21" y="7"/>
                    </a:lnTo>
                    <a:lnTo>
                      <a:pt x="18" y="7"/>
                    </a:lnTo>
                    <a:lnTo>
                      <a:pt x="18" y="7"/>
                    </a:lnTo>
                    <a:lnTo>
                      <a:pt x="17" y="8"/>
                    </a:lnTo>
                    <a:lnTo>
                      <a:pt x="17" y="8"/>
                    </a:lnTo>
                    <a:lnTo>
                      <a:pt x="17" y="8"/>
                    </a:lnTo>
                    <a:lnTo>
                      <a:pt x="18" y="10"/>
                    </a:lnTo>
                    <a:lnTo>
                      <a:pt x="18" y="10"/>
                    </a:lnTo>
                    <a:lnTo>
                      <a:pt x="17" y="12"/>
                    </a:lnTo>
                    <a:lnTo>
                      <a:pt x="16" y="14"/>
                    </a:lnTo>
                    <a:lnTo>
                      <a:pt x="11" y="17"/>
                    </a:lnTo>
                    <a:lnTo>
                      <a:pt x="11" y="18"/>
                    </a:lnTo>
                    <a:lnTo>
                      <a:pt x="10" y="18"/>
                    </a:lnTo>
                    <a:lnTo>
                      <a:pt x="8" y="20"/>
                    </a:lnTo>
                    <a:lnTo>
                      <a:pt x="8" y="20"/>
                    </a:lnTo>
                    <a:lnTo>
                      <a:pt x="8" y="23"/>
                    </a:lnTo>
                    <a:lnTo>
                      <a:pt x="8" y="23"/>
                    </a:lnTo>
                    <a:lnTo>
                      <a:pt x="7" y="24"/>
                    </a:lnTo>
                    <a:lnTo>
                      <a:pt x="4" y="25"/>
                    </a:lnTo>
                    <a:lnTo>
                      <a:pt x="3" y="27"/>
                    </a:lnTo>
                    <a:lnTo>
                      <a:pt x="3" y="30"/>
                    </a:lnTo>
                    <a:lnTo>
                      <a:pt x="3" y="30"/>
                    </a:lnTo>
                    <a:lnTo>
                      <a:pt x="3" y="30"/>
                    </a:lnTo>
                    <a:lnTo>
                      <a:pt x="3" y="31"/>
                    </a:lnTo>
                    <a:lnTo>
                      <a:pt x="3" y="31"/>
                    </a:lnTo>
                    <a:lnTo>
                      <a:pt x="3" y="31"/>
                    </a:lnTo>
                    <a:lnTo>
                      <a:pt x="3" y="33"/>
                    </a:lnTo>
                    <a:lnTo>
                      <a:pt x="1" y="35"/>
                    </a:lnTo>
                    <a:lnTo>
                      <a:pt x="0" y="35"/>
                    </a:lnTo>
                    <a:lnTo>
                      <a:pt x="1" y="37"/>
                    </a:lnTo>
                    <a:lnTo>
                      <a:pt x="1" y="37"/>
                    </a:lnTo>
                    <a:lnTo>
                      <a:pt x="1" y="37"/>
                    </a:lnTo>
                    <a:lnTo>
                      <a:pt x="3" y="37"/>
                    </a:lnTo>
                    <a:lnTo>
                      <a:pt x="4" y="35"/>
                    </a:lnTo>
                    <a:lnTo>
                      <a:pt x="6" y="35"/>
                    </a:lnTo>
                    <a:lnTo>
                      <a:pt x="6" y="34"/>
                    </a:lnTo>
                    <a:lnTo>
                      <a:pt x="6" y="33"/>
                    </a:lnTo>
                    <a:lnTo>
                      <a:pt x="7" y="31"/>
                    </a:lnTo>
                    <a:lnTo>
                      <a:pt x="8" y="31"/>
                    </a:lnTo>
                    <a:lnTo>
                      <a:pt x="10" y="30"/>
                    </a:lnTo>
                    <a:lnTo>
                      <a:pt x="11" y="30"/>
                    </a:lnTo>
                    <a:lnTo>
                      <a:pt x="14" y="31"/>
                    </a:lnTo>
                    <a:lnTo>
                      <a:pt x="14" y="31"/>
                    </a:lnTo>
                    <a:lnTo>
                      <a:pt x="14" y="33"/>
                    </a:lnTo>
                    <a:lnTo>
                      <a:pt x="16" y="35"/>
                    </a:lnTo>
                    <a:lnTo>
                      <a:pt x="16" y="35"/>
                    </a:lnTo>
                    <a:lnTo>
                      <a:pt x="16" y="37"/>
                    </a:lnTo>
                    <a:lnTo>
                      <a:pt x="16" y="38"/>
                    </a:lnTo>
                    <a:lnTo>
                      <a:pt x="17" y="40"/>
                    </a:lnTo>
                    <a:lnTo>
                      <a:pt x="18" y="41"/>
                    </a:lnTo>
                    <a:lnTo>
                      <a:pt x="18" y="43"/>
                    </a:lnTo>
                    <a:lnTo>
                      <a:pt x="21" y="43"/>
                    </a:lnTo>
                    <a:lnTo>
                      <a:pt x="24" y="43"/>
                    </a:lnTo>
                    <a:lnTo>
                      <a:pt x="27" y="41"/>
                    </a:lnTo>
                    <a:lnTo>
                      <a:pt x="30" y="41"/>
                    </a:lnTo>
                    <a:lnTo>
                      <a:pt x="31" y="41"/>
                    </a:lnTo>
                    <a:lnTo>
                      <a:pt x="33" y="41"/>
                    </a:lnTo>
                    <a:lnTo>
                      <a:pt x="34" y="41"/>
                    </a:lnTo>
                    <a:lnTo>
                      <a:pt x="36" y="40"/>
                    </a:lnTo>
                    <a:lnTo>
                      <a:pt x="37" y="40"/>
                    </a:lnTo>
                    <a:lnTo>
                      <a:pt x="37" y="38"/>
                    </a:lnTo>
                    <a:lnTo>
                      <a:pt x="39" y="35"/>
                    </a:lnTo>
                    <a:lnTo>
                      <a:pt x="39" y="35"/>
                    </a:lnTo>
                    <a:lnTo>
                      <a:pt x="39" y="35"/>
                    </a:lnTo>
                    <a:lnTo>
                      <a:pt x="39" y="34"/>
                    </a:lnTo>
                    <a:lnTo>
                      <a:pt x="39" y="34"/>
                    </a:lnTo>
                    <a:lnTo>
                      <a:pt x="41" y="31"/>
                    </a:lnTo>
                    <a:lnTo>
                      <a:pt x="43" y="31"/>
                    </a:lnTo>
                    <a:lnTo>
                      <a:pt x="43" y="31"/>
                    </a:lnTo>
                    <a:lnTo>
                      <a:pt x="43" y="31"/>
                    </a:lnTo>
                    <a:lnTo>
                      <a:pt x="44" y="31"/>
                    </a:lnTo>
                    <a:lnTo>
                      <a:pt x="44" y="33"/>
                    </a:lnTo>
                    <a:lnTo>
                      <a:pt x="44" y="34"/>
                    </a:lnTo>
                    <a:lnTo>
                      <a:pt x="46" y="35"/>
                    </a:lnTo>
                    <a:lnTo>
                      <a:pt x="46" y="37"/>
                    </a:lnTo>
                    <a:lnTo>
                      <a:pt x="47" y="37"/>
                    </a:lnTo>
                    <a:lnTo>
                      <a:pt x="50" y="38"/>
                    </a:lnTo>
                    <a:lnTo>
                      <a:pt x="50" y="38"/>
                    </a:lnTo>
                    <a:lnTo>
                      <a:pt x="50" y="38"/>
                    </a:lnTo>
                    <a:lnTo>
                      <a:pt x="50" y="40"/>
                    </a:lnTo>
                    <a:lnTo>
                      <a:pt x="50" y="41"/>
                    </a:lnTo>
                    <a:lnTo>
                      <a:pt x="51" y="43"/>
                    </a:lnTo>
                    <a:lnTo>
                      <a:pt x="53" y="44"/>
                    </a:lnTo>
                    <a:lnTo>
                      <a:pt x="53" y="44"/>
                    </a:lnTo>
                    <a:lnTo>
                      <a:pt x="54" y="43"/>
                    </a:lnTo>
                    <a:lnTo>
                      <a:pt x="54" y="43"/>
                    </a:lnTo>
                    <a:lnTo>
                      <a:pt x="54" y="41"/>
                    </a:lnTo>
                    <a:lnTo>
                      <a:pt x="54" y="40"/>
                    </a:lnTo>
                    <a:lnTo>
                      <a:pt x="54" y="38"/>
                    </a:lnTo>
                    <a:lnTo>
                      <a:pt x="56" y="38"/>
                    </a:lnTo>
                    <a:lnTo>
                      <a:pt x="56" y="37"/>
                    </a:lnTo>
                    <a:lnTo>
                      <a:pt x="57" y="35"/>
                    </a:lnTo>
                    <a:lnTo>
                      <a:pt x="57" y="34"/>
                    </a:lnTo>
                    <a:lnTo>
                      <a:pt x="59" y="31"/>
                    </a:lnTo>
                    <a:lnTo>
                      <a:pt x="59" y="30"/>
                    </a:lnTo>
                    <a:lnTo>
                      <a:pt x="60" y="28"/>
                    </a:lnTo>
                    <a:lnTo>
                      <a:pt x="60" y="30"/>
                    </a:lnTo>
                    <a:lnTo>
                      <a:pt x="62" y="31"/>
                    </a:lnTo>
                    <a:lnTo>
                      <a:pt x="63" y="33"/>
                    </a:lnTo>
                    <a:lnTo>
                      <a:pt x="63" y="33"/>
                    </a:lnTo>
                    <a:lnTo>
                      <a:pt x="64" y="33"/>
                    </a:lnTo>
                    <a:lnTo>
                      <a:pt x="66" y="33"/>
                    </a:lnTo>
                    <a:lnTo>
                      <a:pt x="67" y="33"/>
                    </a:lnTo>
                    <a:lnTo>
                      <a:pt x="69" y="33"/>
                    </a:lnTo>
                    <a:lnTo>
                      <a:pt x="69" y="33"/>
                    </a:lnTo>
                    <a:lnTo>
                      <a:pt x="70" y="33"/>
                    </a:lnTo>
                    <a:lnTo>
                      <a:pt x="72" y="33"/>
                    </a:lnTo>
                    <a:lnTo>
                      <a:pt x="72" y="34"/>
                    </a:lnTo>
                    <a:lnTo>
                      <a:pt x="73" y="35"/>
                    </a:lnTo>
                    <a:lnTo>
                      <a:pt x="74" y="34"/>
                    </a:lnTo>
                    <a:lnTo>
                      <a:pt x="74" y="33"/>
                    </a:lnTo>
                    <a:lnTo>
                      <a:pt x="73" y="30"/>
                    </a:lnTo>
                    <a:lnTo>
                      <a:pt x="72" y="28"/>
                    </a:lnTo>
                    <a:lnTo>
                      <a:pt x="74" y="27"/>
                    </a:lnTo>
                    <a:lnTo>
                      <a:pt x="76" y="27"/>
                    </a:lnTo>
                    <a:lnTo>
                      <a:pt x="77" y="27"/>
                    </a:lnTo>
                    <a:lnTo>
                      <a:pt x="77" y="28"/>
                    </a:lnTo>
                    <a:lnTo>
                      <a:pt x="79" y="27"/>
                    </a:lnTo>
                    <a:lnTo>
                      <a:pt x="79" y="23"/>
                    </a:lnTo>
                    <a:lnTo>
                      <a:pt x="79" y="21"/>
                    </a:lnTo>
                    <a:lnTo>
                      <a:pt x="79" y="18"/>
                    </a:lnTo>
                    <a:lnTo>
                      <a:pt x="76" y="1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50" name="Freeform 56">
                <a:extLst>
                  <a:ext uri="{FF2B5EF4-FFF2-40B4-BE49-F238E27FC236}">
                    <a16:creationId xmlns:a16="http://schemas.microsoft.com/office/drawing/2014/main" id="{07412B7D-64F9-E9EF-F212-55C7F95850B2}"/>
                  </a:ext>
                </a:extLst>
              </p:cNvPr>
              <p:cNvSpPr>
                <a:spLocks/>
              </p:cNvSpPr>
              <p:nvPr/>
            </p:nvSpPr>
            <p:spPr bwMode="auto">
              <a:xfrm>
                <a:off x="3759" y="1707"/>
                <a:ext cx="120" cy="63"/>
              </a:xfrm>
              <a:custGeom>
                <a:avLst/>
                <a:gdLst>
                  <a:gd name="T0" fmla="*/ 39 w 120"/>
                  <a:gd name="T1" fmla="*/ 63 h 63"/>
                  <a:gd name="T2" fmla="*/ 48 w 120"/>
                  <a:gd name="T3" fmla="*/ 62 h 63"/>
                  <a:gd name="T4" fmla="*/ 51 w 120"/>
                  <a:gd name="T5" fmla="*/ 58 h 63"/>
                  <a:gd name="T6" fmla="*/ 51 w 120"/>
                  <a:gd name="T7" fmla="*/ 58 h 63"/>
                  <a:gd name="T8" fmla="*/ 52 w 120"/>
                  <a:gd name="T9" fmla="*/ 53 h 63"/>
                  <a:gd name="T10" fmla="*/ 55 w 120"/>
                  <a:gd name="T11" fmla="*/ 55 h 63"/>
                  <a:gd name="T12" fmla="*/ 59 w 120"/>
                  <a:gd name="T13" fmla="*/ 53 h 63"/>
                  <a:gd name="T14" fmla="*/ 65 w 120"/>
                  <a:gd name="T15" fmla="*/ 56 h 63"/>
                  <a:gd name="T16" fmla="*/ 69 w 120"/>
                  <a:gd name="T17" fmla="*/ 58 h 63"/>
                  <a:gd name="T18" fmla="*/ 74 w 120"/>
                  <a:gd name="T19" fmla="*/ 59 h 63"/>
                  <a:gd name="T20" fmla="*/ 81 w 120"/>
                  <a:gd name="T21" fmla="*/ 59 h 63"/>
                  <a:gd name="T22" fmla="*/ 85 w 120"/>
                  <a:gd name="T23" fmla="*/ 62 h 63"/>
                  <a:gd name="T24" fmla="*/ 88 w 120"/>
                  <a:gd name="T25" fmla="*/ 59 h 63"/>
                  <a:gd name="T26" fmla="*/ 92 w 120"/>
                  <a:gd name="T27" fmla="*/ 56 h 63"/>
                  <a:gd name="T28" fmla="*/ 100 w 120"/>
                  <a:gd name="T29" fmla="*/ 56 h 63"/>
                  <a:gd name="T30" fmla="*/ 107 w 120"/>
                  <a:gd name="T31" fmla="*/ 52 h 63"/>
                  <a:gd name="T32" fmla="*/ 107 w 120"/>
                  <a:gd name="T33" fmla="*/ 48 h 63"/>
                  <a:gd name="T34" fmla="*/ 115 w 120"/>
                  <a:gd name="T35" fmla="*/ 42 h 63"/>
                  <a:gd name="T36" fmla="*/ 118 w 120"/>
                  <a:gd name="T37" fmla="*/ 38 h 63"/>
                  <a:gd name="T38" fmla="*/ 114 w 120"/>
                  <a:gd name="T39" fmla="*/ 30 h 63"/>
                  <a:gd name="T40" fmla="*/ 108 w 120"/>
                  <a:gd name="T41" fmla="*/ 27 h 63"/>
                  <a:gd name="T42" fmla="*/ 105 w 120"/>
                  <a:gd name="T43" fmla="*/ 26 h 63"/>
                  <a:gd name="T44" fmla="*/ 102 w 120"/>
                  <a:gd name="T45" fmla="*/ 27 h 63"/>
                  <a:gd name="T46" fmla="*/ 98 w 120"/>
                  <a:gd name="T47" fmla="*/ 23 h 63"/>
                  <a:gd name="T48" fmla="*/ 100 w 120"/>
                  <a:gd name="T49" fmla="*/ 22 h 63"/>
                  <a:gd name="T50" fmla="*/ 100 w 120"/>
                  <a:gd name="T51" fmla="*/ 20 h 63"/>
                  <a:gd name="T52" fmla="*/ 94 w 120"/>
                  <a:gd name="T53" fmla="*/ 20 h 63"/>
                  <a:gd name="T54" fmla="*/ 85 w 120"/>
                  <a:gd name="T55" fmla="*/ 16 h 63"/>
                  <a:gd name="T56" fmla="*/ 87 w 120"/>
                  <a:gd name="T57" fmla="*/ 19 h 63"/>
                  <a:gd name="T58" fmla="*/ 87 w 120"/>
                  <a:gd name="T59" fmla="*/ 20 h 63"/>
                  <a:gd name="T60" fmla="*/ 82 w 120"/>
                  <a:gd name="T61" fmla="*/ 25 h 63"/>
                  <a:gd name="T62" fmla="*/ 74 w 120"/>
                  <a:gd name="T63" fmla="*/ 17 h 63"/>
                  <a:gd name="T64" fmla="*/ 77 w 120"/>
                  <a:gd name="T65" fmla="*/ 15 h 63"/>
                  <a:gd name="T66" fmla="*/ 74 w 120"/>
                  <a:gd name="T67" fmla="*/ 10 h 63"/>
                  <a:gd name="T68" fmla="*/ 69 w 120"/>
                  <a:gd name="T69" fmla="*/ 10 h 63"/>
                  <a:gd name="T70" fmla="*/ 64 w 120"/>
                  <a:gd name="T71" fmla="*/ 7 h 63"/>
                  <a:gd name="T72" fmla="*/ 58 w 120"/>
                  <a:gd name="T73" fmla="*/ 4 h 63"/>
                  <a:gd name="T74" fmla="*/ 54 w 120"/>
                  <a:gd name="T75" fmla="*/ 0 h 63"/>
                  <a:gd name="T76" fmla="*/ 49 w 120"/>
                  <a:gd name="T77" fmla="*/ 4 h 63"/>
                  <a:gd name="T78" fmla="*/ 39 w 120"/>
                  <a:gd name="T79" fmla="*/ 0 h 63"/>
                  <a:gd name="T80" fmla="*/ 39 w 120"/>
                  <a:gd name="T81" fmla="*/ 2 h 63"/>
                  <a:gd name="T82" fmla="*/ 41 w 120"/>
                  <a:gd name="T83" fmla="*/ 3 h 63"/>
                  <a:gd name="T84" fmla="*/ 41 w 120"/>
                  <a:gd name="T85" fmla="*/ 3 h 63"/>
                  <a:gd name="T86" fmla="*/ 35 w 120"/>
                  <a:gd name="T87" fmla="*/ 6 h 63"/>
                  <a:gd name="T88" fmla="*/ 26 w 120"/>
                  <a:gd name="T89" fmla="*/ 9 h 63"/>
                  <a:gd name="T90" fmla="*/ 25 w 120"/>
                  <a:gd name="T91" fmla="*/ 12 h 63"/>
                  <a:gd name="T92" fmla="*/ 23 w 120"/>
                  <a:gd name="T93" fmla="*/ 10 h 63"/>
                  <a:gd name="T94" fmla="*/ 16 w 120"/>
                  <a:gd name="T95" fmla="*/ 16 h 63"/>
                  <a:gd name="T96" fmla="*/ 12 w 120"/>
                  <a:gd name="T97" fmla="*/ 16 h 63"/>
                  <a:gd name="T98" fmla="*/ 6 w 120"/>
                  <a:gd name="T99" fmla="*/ 20 h 63"/>
                  <a:gd name="T100" fmla="*/ 3 w 120"/>
                  <a:gd name="T101" fmla="*/ 20 h 63"/>
                  <a:gd name="T102" fmla="*/ 2 w 120"/>
                  <a:gd name="T103" fmla="*/ 20 h 63"/>
                  <a:gd name="T104" fmla="*/ 6 w 120"/>
                  <a:gd name="T105" fmla="*/ 27 h 63"/>
                  <a:gd name="T106" fmla="*/ 8 w 120"/>
                  <a:gd name="T107" fmla="*/ 32 h 63"/>
                  <a:gd name="T108" fmla="*/ 6 w 120"/>
                  <a:gd name="T109" fmla="*/ 35 h 63"/>
                  <a:gd name="T110" fmla="*/ 8 w 120"/>
                  <a:gd name="T111" fmla="*/ 36 h 63"/>
                  <a:gd name="T112" fmla="*/ 13 w 120"/>
                  <a:gd name="T113" fmla="*/ 43 h 63"/>
                  <a:gd name="T114" fmla="*/ 25 w 120"/>
                  <a:gd name="T115" fmla="*/ 53 h 63"/>
                  <a:gd name="T116" fmla="*/ 29 w 120"/>
                  <a:gd name="T117" fmla="*/ 56 h 63"/>
                  <a:gd name="T118" fmla="*/ 35 w 120"/>
                  <a:gd name="T119"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63">
                    <a:moveTo>
                      <a:pt x="35" y="62"/>
                    </a:moveTo>
                    <a:lnTo>
                      <a:pt x="36" y="63"/>
                    </a:lnTo>
                    <a:lnTo>
                      <a:pt x="39" y="63"/>
                    </a:lnTo>
                    <a:lnTo>
                      <a:pt x="46" y="62"/>
                    </a:lnTo>
                    <a:lnTo>
                      <a:pt x="46" y="62"/>
                    </a:lnTo>
                    <a:lnTo>
                      <a:pt x="48" y="62"/>
                    </a:lnTo>
                    <a:lnTo>
                      <a:pt x="49" y="59"/>
                    </a:lnTo>
                    <a:lnTo>
                      <a:pt x="49" y="58"/>
                    </a:lnTo>
                    <a:lnTo>
                      <a:pt x="51" y="58"/>
                    </a:lnTo>
                    <a:lnTo>
                      <a:pt x="51" y="58"/>
                    </a:lnTo>
                    <a:lnTo>
                      <a:pt x="51" y="58"/>
                    </a:lnTo>
                    <a:lnTo>
                      <a:pt x="51" y="58"/>
                    </a:lnTo>
                    <a:lnTo>
                      <a:pt x="51" y="56"/>
                    </a:lnTo>
                    <a:lnTo>
                      <a:pt x="52" y="55"/>
                    </a:lnTo>
                    <a:lnTo>
                      <a:pt x="52" y="53"/>
                    </a:lnTo>
                    <a:lnTo>
                      <a:pt x="54" y="53"/>
                    </a:lnTo>
                    <a:lnTo>
                      <a:pt x="54" y="53"/>
                    </a:lnTo>
                    <a:lnTo>
                      <a:pt x="55" y="55"/>
                    </a:lnTo>
                    <a:lnTo>
                      <a:pt x="57" y="55"/>
                    </a:lnTo>
                    <a:lnTo>
                      <a:pt x="58" y="53"/>
                    </a:lnTo>
                    <a:lnTo>
                      <a:pt x="59" y="53"/>
                    </a:lnTo>
                    <a:lnTo>
                      <a:pt x="61" y="55"/>
                    </a:lnTo>
                    <a:lnTo>
                      <a:pt x="65" y="56"/>
                    </a:lnTo>
                    <a:lnTo>
                      <a:pt x="65" y="56"/>
                    </a:lnTo>
                    <a:lnTo>
                      <a:pt x="68" y="56"/>
                    </a:lnTo>
                    <a:lnTo>
                      <a:pt x="68" y="58"/>
                    </a:lnTo>
                    <a:lnTo>
                      <a:pt x="69" y="58"/>
                    </a:lnTo>
                    <a:lnTo>
                      <a:pt x="71" y="59"/>
                    </a:lnTo>
                    <a:lnTo>
                      <a:pt x="72" y="59"/>
                    </a:lnTo>
                    <a:lnTo>
                      <a:pt x="74" y="59"/>
                    </a:lnTo>
                    <a:lnTo>
                      <a:pt x="75" y="59"/>
                    </a:lnTo>
                    <a:lnTo>
                      <a:pt x="79" y="59"/>
                    </a:lnTo>
                    <a:lnTo>
                      <a:pt x="81" y="59"/>
                    </a:lnTo>
                    <a:lnTo>
                      <a:pt x="82" y="59"/>
                    </a:lnTo>
                    <a:lnTo>
                      <a:pt x="84" y="61"/>
                    </a:lnTo>
                    <a:lnTo>
                      <a:pt x="85" y="62"/>
                    </a:lnTo>
                    <a:lnTo>
                      <a:pt x="87" y="63"/>
                    </a:lnTo>
                    <a:lnTo>
                      <a:pt x="87" y="61"/>
                    </a:lnTo>
                    <a:lnTo>
                      <a:pt x="88" y="59"/>
                    </a:lnTo>
                    <a:lnTo>
                      <a:pt x="90" y="58"/>
                    </a:lnTo>
                    <a:lnTo>
                      <a:pt x="91" y="56"/>
                    </a:lnTo>
                    <a:lnTo>
                      <a:pt x="92" y="56"/>
                    </a:lnTo>
                    <a:lnTo>
                      <a:pt x="95" y="58"/>
                    </a:lnTo>
                    <a:lnTo>
                      <a:pt x="97" y="58"/>
                    </a:lnTo>
                    <a:lnTo>
                      <a:pt x="100" y="56"/>
                    </a:lnTo>
                    <a:lnTo>
                      <a:pt x="102" y="55"/>
                    </a:lnTo>
                    <a:lnTo>
                      <a:pt x="104" y="53"/>
                    </a:lnTo>
                    <a:lnTo>
                      <a:pt x="107" y="52"/>
                    </a:lnTo>
                    <a:lnTo>
                      <a:pt x="107" y="50"/>
                    </a:lnTo>
                    <a:lnTo>
                      <a:pt x="107" y="48"/>
                    </a:lnTo>
                    <a:lnTo>
                      <a:pt x="107" y="48"/>
                    </a:lnTo>
                    <a:lnTo>
                      <a:pt x="108" y="46"/>
                    </a:lnTo>
                    <a:lnTo>
                      <a:pt x="114" y="42"/>
                    </a:lnTo>
                    <a:lnTo>
                      <a:pt x="115" y="42"/>
                    </a:lnTo>
                    <a:lnTo>
                      <a:pt x="120" y="40"/>
                    </a:lnTo>
                    <a:lnTo>
                      <a:pt x="120" y="39"/>
                    </a:lnTo>
                    <a:lnTo>
                      <a:pt x="118" y="38"/>
                    </a:lnTo>
                    <a:lnTo>
                      <a:pt x="117" y="36"/>
                    </a:lnTo>
                    <a:lnTo>
                      <a:pt x="115" y="32"/>
                    </a:lnTo>
                    <a:lnTo>
                      <a:pt x="114" y="30"/>
                    </a:lnTo>
                    <a:lnTo>
                      <a:pt x="113" y="30"/>
                    </a:lnTo>
                    <a:lnTo>
                      <a:pt x="110" y="29"/>
                    </a:lnTo>
                    <a:lnTo>
                      <a:pt x="108" y="27"/>
                    </a:lnTo>
                    <a:lnTo>
                      <a:pt x="107" y="27"/>
                    </a:lnTo>
                    <a:lnTo>
                      <a:pt x="105" y="26"/>
                    </a:lnTo>
                    <a:lnTo>
                      <a:pt x="105" y="26"/>
                    </a:lnTo>
                    <a:lnTo>
                      <a:pt x="104" y="27"/>
                    </a:lnTo>
                    <a:lnTo>
                      <a:pt x="104" y="27"/>
                    </a:lnTo>
                    <a:lnTo>
                      <a:pt x="102" y="27"/>
                    </a:lnTo>
                    <a:lnTo>
                      <a:pt x="101" y="27"/>
                    </a:lnTo>
                    <a:lnTo>
                      <a:pt x="100" y="26"/>
                    </a:lnTo>
                    <a:lnTo>
                      <a:pt x="98" y="23"/>
                    </a:lnTo>
                    <a:lnTo>
                      <a:pt x="98" y="23"/>
                    </a:lnTo>
                    <a:lnTo>
                      <a:pt x="100" y="22"/>
                    </a:lnTo>
                    <a:lnTo>
                      <a:pt x="100" y="22"/>
                    </a:lnTo>
                    <a:lnTo>
                      <a:pt x="100" y="20"/>
                    </a:lnTo>
                    <a:lnTo>
                      <a:pt x="100" y="19"/>
                    </a:lnTo>
                    <a:lnTo>
                      <a:pt x="100" y="20"/>
                    </a:lnTo>
                    <a:lnTo>
                      <a:pt x="98" y="20"/>
                    </a:lnTo>
                    <a:lnTo>
                      <a:pt x="97" y="20"/>
                    </a:lnTo>
                    <a:lnTo>
                      <a:pt x="94" y="20"/>
                    </a:lnTo>
                    <a:lnTo>
                      <a:pt x="90" y="17"/>
                    </a:lnTo>
                    <a:lnTo>
                      <a:pt x="87" y="16"/>
                    </a:lnTo>
                    <a:lnTo>
                      <a:pt x="85" y="16"/>
                    </a:lnTo>
                    <a:lnTo>
                      <a:pt x="85" y="17"/>
                    </a:lnTo>
                    <a:lnTo>
                      <a:pt x="87" y="17"/>
                    </a:lnTo>
                    <a:lnTo>
                      <a:pt x="87" y="19"/>
                    </a:lnTo>
                    <a:lnTo>
                      <a:pt x="87" y="20"/>
                    </a:lnTo>
                    <a:lnTo>
                      <a:pt x="87" y="20"/>
                    </a:lnTo>
                    <a:lnTo>
                      <a:pt x="87" y="20"/>
                    </a:lnTo>
                    <a:lnTo>
                      <a:pt x="85" y="22"/>
                    </a:lnTo>
                    <a:lnTo>
                      <a:pt x="84" y="23"/>
                    </a:lnTo>
                    <a:lnTo>
                      <a:pt x="82" y="25"/>
                    </a:lnTo>
                    <a:lnTo>
                      <a:pt x="81" y="25"/>
                    </a:lnTo>
                    <a:lnTo>
                      <a:pt x="79" y="23"/>
                    </a:lnTo>
                    <a:lnTo>
                      <a:pt x="74" y="17"/>
                    </a:lnTo>
                    <a:lnTo>
                      <a:pt x="74" y="16"/>
                    </a:lnTo>
                    <a:lnTo>
                      <a:pt x="75" y="15"/>
                    </a:lnTo>
                    <a:lnTo>
                      <a:pt x="77" y="15"/>
                    </a:lnTo>
                    <a:lnTo>
                      <a:pt x="77" y="13"/>
                    </a:lnTo>
                    <a:lnTo>
                      <a:pt x="77" y="10"/>
                    </a:lnTo>
                    <a:lnTo>
                      <a:pt x="74" y="10"/>
                    </a:lnTo>
                    <a:lnTo>
                      <a:pt x="72" y="10"/>
                    </a:lnTo>
                    <a:lnTo>
                      <a:pt x="69" y="12"/>
                    </a:lnTo>
                    <a:lnTo>
                      <a:pt x="69" y="10"/>
                    </a:lnTo>
                    <a:lnTo>
                      <a:pt x="68" y="10"/>
                    </a:lnTo>
                    <a:lnTo>
                      <a:pt x="68" y="9"/>
                    </a:lnTo>
                    <a:lnTo>
                      <a:pt x="64" y="7"/>
                    </a:lnTo>
                    <a:lnTo>
                      <a:pt x="59" y="6"/>
                    </a:lnTo>
                    <a:lnTo>
                      <a:pt x="59" y="6"/>
                    </a:lnTo>
                    <a:lnTo>
                      <a:pt x="58" y="4"/>
                    </a:lnTo>
                    <a:lnTo>
                      <a:pt x="57" y="3"/>
                    </a:lnTo>
                    <a:lnTo>
                      <a:pt x="57" y="2"/>
                    </a:lnTo>
                    <a:lnTo>
                      <a:pt x="54" y="0"/>
                    </a:lnTo>
                    <a:lnTo>
                      <a:pt x="52" y="2"/>
                    </a:lnTo>
                    <a:lnTo>
                      <a:pt x="51" y="3"/>
                    </a:lnTo>
                    <a:lnTo>
                      <a:pt x="49" y="4"/>
                    </a:lnTo>
                    <a:lnTo>
                      <a:pt x="46" y="6"/>
                    </a:lnTo>
                    <a:lnTo>
                      <a:pt x="42" y="0"/>
                    </a:lnTo>
                    <a:lnTo>
                      <a:pt x="39" y="0"/>
                    </a:lnTo>
                    <a:lnTo>
                      <a:pt x="39" y="0"/>
                    </a:lnTo>
                    <a:lnTo>
                      <a:pt x="39" y="2"/>
                    </a:lnTo>
                    <a:lnTo>
                      <a:pt x="39" y="2"/>
                    </a:lnTo>
                    <a:lnTo>
                      <a:pt x="39" y="2"/>
                    </a:lnTo>
                    <a:lnTo>
                      <a:pt x="41" y="2"/>
                    </a:lnTo>
                    <a:lnTo>
                      <a:pt x="41" y="3"/>
                    </a:lnTo>
                    <a:lnTo>
                      <a:pt x="41" y="3"/>
                    </a:lnTo>
                    <a:lnTo>
                      <a:pt x="41" y="3"/>
                    </a:lnTo>
                    <a:lnTo>
                      <a:pt x="41" y="3"/>
                    </a:lnTo>
                    <a:lnTo>
                      <a:pt x="39" y="4"/>
                    </a:lnTo>
                    <a:lnTo>
                      <a:pt x="38" y="4"/>
                    </a:lnTo>
                    <a:lnTo>
                      <a:pt x="35" y="6"/>
                    </a:lnTo>
                    <a:lnTo>
                      <a:pt x="31" y="7"/>
                    </a:lnTo>
                    <a:lnTo>
                      <a:pt x="28" y="9"/>
                    </a:lnTo>
                    <a:lnTo>
                      <a:pt x="26" y="9"/>
                    </a:lnTo>
                    <a:lnTo>
                      <a:pt x="26" y="10"/>
                    </a:lnTo>
                    <a:lnTo>
                      <a:pt x="25" y="12"/>
                    </a:lnTo>
                    <a:lnTo>
                      <a:pt x="25" y="12"/>
                    </a:lnTo>
                    <a:lnTo>
                      <a:pt x="25" y="12"/>
                    </a:lnTo>
                    <a:lnTo>
                      <a:pt x="23" y="10"/>
                    </a:lnTo>
                    <a:lnTo>
                      <a:pt x="23" y="10"/>
                    </a:lnTo>
                    <a:lnTo>
                      <a:pt x="22" y="12"/>
                    </a:lnTo>
                    <a:lnTo>
                      <a:pt x="19" y="13"/>
                    </a:lnTo>
                    <a:lnTo>
                      <a:pt x="16" y="16"/>
                    </a:lnTo>
                    <a:lnTo>
                      <a:pt x="15" y="16"/>
                    </a:lnTo>
                    <a:lnTo>
                      <a:pt x="13" y="16"/>
                    </a:lnTo>
                    <a:lnTo>
                      <a:pt x="12" y="16"/>
                    </a:lnTo>
                    <a:lnTo>
                      <a:pt x="9" y="17"/>
                    </a:lnTo>
                    <a:lnTo>
                      <a:pt x="8" y="19"/>
                    </a:lnTo>
                    <a:lnTo>
                      <a:pt x="6" y="20"/>
                    </a:lnTo>
                    <a:lnTo>
                      <a:pt x="5" y="23"/>
                    </a:lnTo>
                    <a:lnTo>
                      <a:pt x="3" y="22"/>
                    </a:lnTo>
                    <a:lnTo>
                      <a:pt x="3" y="20"/>
                    </a:lnTo>
                    <a:lnTo>
                      <a:pt x="2" y="19"/>
                    </a:lnTo>
                    <a:lnTo>
                      <a:pt x="0" y="20"/>
                    </a:lnTo>
                    <a:lnTo>
                      <a:pt x="2" y="20"/>
                    </a:lnTo>
                    <a:lnTo>
                      <a:pt x="2" y="23"/>
                    </a:lnTo>
                    <a:lnTo>
                      <a:pt x="3" y="26"/>
                    </a:lnTo>
                    <a:lnTo>
                      <a:pt x="6" y="27"/>
                    </a:lnTo>
                    <a:lnTo>
                      <a:pt x="6" y="27"/>
                    </a:lnTo>
                    <a:lnTo>
                      <a:pt x="8" y="29"/>
                    </a:lnTo>
                    <a:lnTo>
                      <a:pt x="8" y="32"/>
                    </a:lnTo>
                    <a:lnTo>
                      <a:pt x="8" y="32"/>
                    </a:lnTo>
                    <a:lnTo>
                      <a:pt x="6" y="33"/>
                    </a:lnTo>
                    <a:lnTo>
                      <a:pt x="6" y="35"/>
                    </a:lnTo>
                    <a:lnTo>
                      <a:pt x="6" y="35"/>
                    </a:lnTo>
                    <a:lnTo>
                      <a:pt x="8" y="35"/>
                    </a:lnTo>
                    <a:lnTo>
                      <a:pt x="8" y="36"/>
                    </a:lnTo>
                    <a:lnTo>
                      <a:pt x="8" y="36"/>
                    </a:lnTo>
                    <a:lnTo>
                      <a:pt x="11" y="40"/>
                    </a:lnTo>
                    <a:lnTo>
                      <a:pt x="13" y="43"/>
                    </a:lnTo>
                    <a:lnTo>
                      <a:pt x="19" y="49"/>
                    </a:lnTo>
                    <a:lnTo>
                      <a:pt x="23" y="52"/>
                    </a:lnTo>
                    <a:lnTo>
                      <a:pt x="25" y="53"/>
                    </a:lnTo>
                    <a:lnTo>
                      <a:pt x="26" y="55"/>
                    </a:lnTo>
                    <a:lnTo>
                      <a:pt x="28" y="56"/>
                    </a:lnTo>
                    <a:lnTo>
                      <a:pt x="29" y="56"/>
                    </a:lnTo>
                    <a:lnTo>
                      <a:pt x="32" y="59"/>
                    </a:lnTo>
                    <a:lnTo>
                      <a:pt x="34" y="61"/>
                    </a:lnTo>
                    <a:lnTo>
                      <a:pt x="35" y="6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51" name="Freeform 57">
                <a:extLst>
                  <a:ext uri="{FF2B5EF4-FFF2-40B4-BE49-F238E27FC236}">
                    <a16:creationId xmlns:a16="http://schemas.microsoft.com/office/drawing/2014/main" id="{752187F7-7315-C8C9-EB1B-513C0733A72A}"/>
                  </a:ext>
                </a:extLst>
              </p:cNvPr>
              <p:cNvSpPr>
                <a:spLocks/>
              </p:cNvSpPr>
              <p:nvPr/>
            </p:nvSpPr>
            <p:spPr bwMode="auto">
              <a:xfrm>
                <a:off x="3649" y="1730"/>
                <a:ext cx="13" cy="19"/>
              </a:xfrm>
              <a:custGeom>
                <a:avLst/>
                <a:gdLst>
                  <a:gd name="T0" fmla="*/ 13 w 13"/>
                  <a:gd name="T1" fmla="*/ 12 h 19"/>
                  <a:gd name="T2" fmla="*/ 13 w 13"/>
                  <a:gd name="T3" fmla="*/ 9 h 19"/>
                  <a:gd name="T4" fmla="*/ 11 w 13"/>
                  <a:gd name="T5" fmla="*/ 9 h 19"/>
                  <a:gd name="T6" fmla="*/ 9 w 13"/>
                  <a:gd name="T7" fmla="*/ 7 h 19"/>
                  <a:gd name="T8" fmla="*/ 7 w 13"/>
                  <a:gd name="T9" fmla="*/ 6 h 19"/>
                  <a:gd name="T10" fmla="*/ 7 w 13"/>
                  <a:gd name="T11" fmla="*/ 6 h 19"/>
                  <a:gd name="T12" fmla="*/ 6 w 13"/>
                  <a:gd name="T13" fmla="*/ 4 h 19"/>
                  <a:gd name="T14" fmla="*/ 6 w 13"/>
                  <a:gd name="T15" fmla="*/ 3 h 19"/>
                  <a:gd name="T16" fmla="*/ 6 w 13"/>
                  <a:gd name="T17" fmla="*/ 2 h 19"/>
                  <a:gd name="T18" fmla="*/ 4 w 13"/>
                  <a:gd name="T19" fmla="*/ 0 h 19"/>
                  <a:gd name="T20" fmla="*/ 1 w 13"/>
                  <a:gd name="T21" fmla="*/ 2 h 19"/>
                  <a:gd name="T22" fmla="*/ 0 w 13"/>
                  <a:gd name="T23" fmla="*/ 6 h 19"/>
                  <a:gd name="T24" fmla="*/ 0 w 13"/>
                  <a:gd name="T25" fmla="*/ 7 h 19"/>
                  <a:gd name="T26" fmla="*/ 0 w 13"/>
                  <a:gd name="T27" fmla="*/ 10 h 19"/>
                  <a:gd name="T28" fmla="*/ 1 w 13"/>
                  <a:gd name="T29" fmla="*/ 12 h 19"/>
                  <a:gd name="T30" fmla="*/ 1 w 13"/>
                  <a:gd name="T31" fmla="*/ 15 h 19"/>
                  <a:gd name="T32" fmla="*/ 0 w 13"/>
                  <a:gd name="T33" fmla="*/ 16 h 19"/>
                  <a:gd name="T34" fmla="*/ 1 w 13"/>
                  <a:gd name="T35" fmla="*/ 17 h 19"/>
                  <a:gd name="T36" fmla="*/ 3 w 13"/>
                  <a:gd name="T37" fmla="*/ 17 h 19"/>
                  <a:gd name="T38" fmla="*/ 4 w 13"/>
                  <a:gd name="T39" fmla="*/ 19 h 19"/>
                  <a:gd name="T40" fmla="*/ 4 w 13"/>
                  <a:gd name="T41" fmla="*/ 19 h 19"/>
                  <a:gd name="T42" fmla="*/ 6 w 13"/>
                  <a:gd name="T43" fmla="*/ 19 h 19"/>
                  <a:gd name="T44" fmla="*/ 7 w 13"/>
                  <a:gd name="T45" fmla="*/ 17 h 19"/>
                  <a:gd name="T46" fmla="*/ 9 w 13"/>
                  <a:gd name="T47" fmla="*/ 17 h 19"/>
                  <a:gd name="T48" fmla="*/ 10 w 13"/>
                  <a:gd name="T49" fmla="*/ 19 h 19"/>
                  <a:gd name="T50" fmla="*/ 10 w 13"/>
                  <a:gd name="T51" fmla="*/ 16 h 19"/>
                  <a:gd name="T52" fmla="*/ 13 w 13"/>
                  <a:gd name="T53"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 h="19">
                    <a:moveTo>
                      <a:pt x="13" y="12"/>
                    </a:moveTo>
                    <a:lnTo>
                      <a:pt x="13" y="9"/>
                    </a:lnTo>
                    <a:lnTo>
                      <a:pt x="11" y="9"/>
                    </a:lnTo>
                    <a:lnTo>
                      <a:pt x="9" y="7"/>
                    </a:lnTo>
                    <a:lnTo>
                      <a:pt x="7" y="6"/>
                    </a:lnTo>
                    <a:lnTo>
                      <a:pt x="7" y="6"/>
                    </a:lnTo>
                    <a:lnTo>
                      <a:pt x="6" y="4"/>
                    </a:lnTo>
                    <a:lnTo>
                      <a:pt x="6" y="3"/>
                    </a:lnTo>
                    <a:lnTo>
                      <a:pt x="6" y="2"/>
                    </a:lnTo>
                    <a:lnTo>
                      <a:pt x="4" y="0"/>
                    </a:lnTo>
                    <a:lnTo>
                      <a:pt x="1" y="2"/>
                    </a:lnTo>
                    <a:lnTo>
                      <a:pt x="0" y="6"/>
                    </a:lnTo>
                    <a:lnTo>
                      <a:pt x="0" y="7"/>
                    </a:lnTo>
                    <a:lnTo>
                      <a:pt x="0" y="10"/>
                    </a:lnTo>
                    <a:lnTo>
                      <a:pt x="1" y="12"/>
                    </a:lnTo>
                    <a:lnTo>
                      <a:pt x="1" y="15"/>
                    </a:lnTo>
                    <a:lnTo>
                      <a:pt x="0" y="16"/>
                    </a:lnTo>
                    <a:lnTo>
                      <a:pt x="1" y="17"/>
                    </a:lnTo>
                    <a:lnTo>
                      <a:pt x="3" y="17"/>
                    </a:lnTo>
                    <a:lnTo>
                      <a:pt x="4" y="19"/>
                    </a:lnTo>
                    <a:lnTo>
                      <a:pt x="4" y="19"/>
                    </a:lnTo>
                    <a:lnTo>
                      <a:pt x="6" y="19"/>
                    </a:lnTo>
                    <a:lnTo>
                      <a:pt x="7" y="17"/>
                    </a:lnTo>
                    <a:lnTo>
                      <a:pt x="9" y="17"/>
                    </a:lnTo>
                    <a:lnTo>
                      <a:pt x="10" y="19"/>
                    </a:lnTo>
                    <a:lnTo>
                      <a:pt x="10" y="16"/>
                    </a:lnTo>
                    <a:lnTo>
                      <a:pt x="13" y="1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52" name="Freeform 58">
                <a:extLst>
                  <a:ext uri="{FF2B5EF4-FFF2-40B4-BE49-F238E27FC236}">
                    <a16:creationId xmlns:a16="http://schemas.microsoft.com/office/drawing/2014/main" id="{D52A57F3-1AF8-AE52-B6E7-72E4321BAD49}"/>
                  </a:ext>
                </a:extLst>
              </p:cNvPr>
              <p:cNvSpPr>
                <a:spLocks/>
              </p:cNvSpPr>
              <p:nvPr/>
            </p:nvSpPr>
            <p:spPr bwMode="auto">
              <a:xfrm>
                <a:off x="3714" y="1802"/>
                <a:ext cx="2" cy="4"/>
              </a:xfrm>
              <a:custGeom>
                <a:avLst/>
                <a:gdLst>
                  <a:gd name="T0" fmla="*/ 0 w 2"/>
                  <a:gd name="T1" fmla="*/ 3 h 4"/>
                  <a:gd name="T2" fmla="*/ 1 w 2"/>
                  <a:gd name="T3" fmla="*/ 4 h 4"/>
                  <a:gd name="T4" fmla="*/ 2 w 2"/>
                  <a:gd name="T5" fmla="*/ 4 h 4"/>
                  <a:gd name="T6" fmla="*/ 2 w 2"/>
                  <a:gd name="T7" fmla="*/ 3 h 4"/>
                  <a:gd name="T8" fmla="*/ 2 w 2"/>
                  <a:gd name="T9" fmla="*/ 3 h 4"/>
                  <a:gd name="T10" fmla="*/ 1 w 2"/>
                  <a:gd name="T11" fmla="*/ 1 h 4"/>
                  <a:gd name="T12" fmla="*/ 1 w 2"/>
                  <a:gd name="T13" fmla="*/ 0 h 4"/>
                  <a:gd name="T14" fmla="*/ 1 w 2"/>
                  <a:gd name="T15" fmla="*/ 1 h 4"/>
                  <a:gd name="T16" fmla="*/ 0 w 2"/>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4">
                    <a:moveTo>
                      <a:pt x="0" y="3"/>
                    </a:moveTo>
                    <a:lnTo>
                      <a:pt x="1" y="4"/>
                    </a:lnTo>
                    <a:lnTo>
                      <a:pt x="2" y="4"/>
                    </a:lnTo>
                    <a:lnTo>
                      <a:pt x="2" y="3"/>
                    </a:lnTo>
                    <a:lnTo>
                      <a:pt x="2" y="3"/>
                    </a:lnTo>
                    <a:lnTo>
                      <a:pt x="1" y="1"/>
                    </a:lnTo>
                    <a:lnTo>
                      <a:pt x="1" y="0"/>
                    </a:lnTo>
                    <a:lnTo>
                      <a:pt x="1" y="1"/>
                    </a:lnTo>
                    <a:lnTo>
                      <a:pt x="0" y="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53" name="Freeform 59">
                <a:extLst>
                  <a:ext uri="{FF2B5EF4-FFF2-40B4-BE49-F238E27FC236}">
                    <a16:creationId xmlns:a16="http://schemas.microsoft.com/office/drawing/2014/main" id="{F694BC8F-DC68-8DBB-0F95-38B74C83C5C1}"/>
                  </a:ext>
                </a:extLst>
              </p:cNvPr>
              <p:cNvSpPr>
                <a:spLocks/>
              </p:cNvSpPr>
              <p:nvPr/>
            </p:nvSpPr>
            <p:spPr bwMode="auto">
              <a:xfrm>
                <a:off x="3887" y="1908"/>
                <a:ext cx="30" cy="65"/>
              </a:xfrm>
              <a:custGeom>
                <a:avLst/>
                <a:gdLst>
                  <a:gd name="T0" fmla="*/ 18 w 30"/>
                  <a:gd name="T1" fmla="*/ 64 h 65"/>
                  <a:gd name="T2" fmla="*/ 18 w 30"/>
                  <a:gd name="T3" fmla="*/ 61 h 65"/>
                  <a:gd name="T4" fmla="*/ 19 w 30"/>
                  <a:gd name="T5" fmla="*/ 58 h 65"/>
                  <a:gd name="T6" fmla="*/ 22 w 30"/>
                  <a:gd name="T7" fmla="*/ 56 h 65"/>
                  <a:gd name="T8" fmla="*/ 23 w 30"/>
                  <a:gd name="T9" fmla="*/ 55 h 65"/>
                  <a:gd name="T10" fmla="*/ 25 w 30"/>
                  <a:gd name="T11" fmla="*/ 54 h 65"/>
                  <a:gd name="T12" fmla="*/ 26 w 30"/>
                  <a:gd name="T13" fmla="*/ 49 h 65"/>
                  <a:gd name="T14" fmla="*/ 28 w 30"/>
                  <a:gd name="T15" fmla="*/ 48 h 65"/>
                  <a:gd name="T16" fmla="*/ 30 w 30"/>
                  <a:gd name="T17" fmla="*/ 45 h 65"/>
                  <a:gd name="T18" fmla="*/ 29 w 30"/>
                  <a:gd name="T19" fmla="*/ 41 h 65"/>
                  <a:gd name="T20" fmla="*/ 28 w 30"/>
                  <a:gd name="T21" fmla="*/ 38 h 65"/>
                  <a:gd name="T22" fmla="*/ 26 w 30"/>
                  <a:gd name="T23" fmla="*/ 38 h 65"/>
                  <a:gd name="T24" fmla="*/ 23 w 30"/>
                  <a:gd name="T25" fmla="*/ 36 h 65"/>
                  <a:gd name="T26" fmla="*/ 20 w 30"/>
                  <a:gd name="T27" fmla="*/ 31 h 65"/>
                  <a:gd name="T28" fmla="*/ 20 w 30"/>
                  <a:gd name="T29" fmla="*/ 23 h 65"/>
                  <a:gd name="T30" fmla="*/ 22 w 30"/>
                  <a:gd name="T31" fmla="*/ 18 h 65"/>
                  <a:gd name="T32" fmla="*/ 22 w 30"/>
                  <a:gd name="T33" fmla="*/ 12 h 65"/>
                  <a:gd name="T34" fmla="*/ 20 w 30"/>
                  <a:gd name="T35" fmla="*/ 9 h 65"/>
                  <a:gd name="T36" fmla="*/ 16 w 30"/>
                  <a:gd name="T37" fmla="*/ 6 h 65"/>
                  <a:gd name="T38" fmla="*/ 15 w 30"/>
                  <a:gd name="T39" fmla="*/ 5 h 65"/>
                  <a:gd name="T40" fmla="*/ 13 w 30"/>
                  <a:gd name="T41" fmla="*/ 2 h 65"/>
                  <a:gd name="T42" fmla="*/ 10 w 30"/>
                  <a:gd name="T43" fmla="*/ 3 h 65"/>
                  <a:gd name="T44" fmla="*/ 7 w 30"/>
                  <a:gd name="T45" fmla="*/ 3 h 65"/>
                  <a:gd name="T46" fmla="*/ 7 w 30"/>
                  <a:gd name="T47" fmla="*/ 2 h 65"/>
                  <a:gd name="T48" fmla="*/ 7 w 30"/>
                  <a:gd name="T49" fmla="*/ 0 h 65"/>
                  <a:gd name="T50" fmla="*/ 6 w 30"/>
                  <a:gd name="T51" fmla="*/ 2 h 65"/>
                  <a:gd name="T52" fmla="*/ 2 w 30"/>
                  <a:gd name="T53" fmla="*/ 8 h 65"/>
                  <a:gd name="T54" fmla="*/ 0 w 30"/>
                  <a:gd name="T55" fmla="*/ 10 h 65"/>
                  <a:gd name="T56" fmla="*/ 0 w 30"/>
                  <a:gd name="T57" fmla="*/ 16 h 65"/>
                  <a:gd name="T58" fmla="*/ 3 w 30"/>
                  <a:gd name="T59" fmla="*/ 18 h 65"/>
                  <a:gd name="T60" fmla="*/ 5 w 30"/>
                  <a:gd name="T61" fmla="*/ 20 h 65"/>
                  <a:gd name="T62" fmla="*/ 3 w 30"/>
                  <a:gd name="T63" fmla="*/ 29 h 65"/>
                  <a:gd name="T64" fmla="*/ 3 w 30"/>
                  <a:gd name="T65" fmla="*/ 35 h 65"/>
                  <a:gd name="T66" fmla="*/ 2 w 30"/>
                  <a:gd name="T67" fmla="*/ 43 h 65"/>
                  <a:gd name="T68" fmla="*/ 2 w 30"/>
                  <a:gd name="T69" fmla="*/ 49 h 65"/>
                  <a:gd name="T70" fmla="*/ 0 w 30"/>
                  <a:gd name="T71" fmla="*/ 49 h 65"/>
                  <a:gd name="T72" fmla="*/ 3 w 30"/>
                  <a:gd name="T73" fmla="*/ 52 h 65"/>
                  <a:gd name="T74" fmla="*/ 10 w 30"/>
                  <a:gd name="T75" fmla="*/ 59 h 65"/>
                  <a:gd name="T76" fmla="*/ 15 w 30"/>
                  <a:gd name="T7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 h="65">
                    <a:moveTo>
                      <a:pt x="16" y="65"/>
                    </a:moveTo>
                    <a:lnTo>
                      <a:pt x="18" y="64"/>
                    </a:lnTo>
                    <a:lnTo>
                      <a:pt x="18" y="62"/>
                    </a:lnTo>
                    <a:lnTo>
                      <a:pt x="18" y="61"/>
                    </a:lnTo>
                    <a:lnTo>
                      <a:pt x="18" y="59"/>
                    </a:lnTo>
                    <a:lnTo>
                      <a:pt x="19" y="58"/>
                    </a:lnTo>
                    <a:lnTo>
                      <a:pt x="20" y="56"/>
                    </a:lnTo>
                    <a:lnTo>
                      <a:pt x="22" y="56"/>
                    </a:lnTo>
                    <a:lnTo>
                      <a:pt x="22" y="55"/>
                    </a:lnTo>
                    <a:lnTo>
                      <a:pt x="23" y="55"/>
                    </a:lnTo>
                    <a:lnTo>
                      <a:pt x="23" y="55"/>
                    </a:lnTo>
                    <a:lnTo>
                      <a:pt x="25" y="54"/>
                    </a:lnTo>
                    <a:lnTo>
                      <a:pt x="25" y="51"/>
                    </a:lnTo>
                    <a:lnTo>
                      <a:pt x="26" y="49"/>
                    </a:lnTo>
                    <a:lnTo>
                      <a:pt x="28" y="48"/>
                    </a:lnTo>
                    <a:lnTo>
                      <a:pt x="28" y="48"/>
                    </a:lnTo>
                    <a:lnTo>
                      <a:pt x="29" y="46"/>
                    </a:lnTo>
                    <a:lnTo>
                      <a:pt x="30" y="45"/>
                    </a:lnTo>
                    <a:lnTo>
                      <a:pt x="30" y="43"/>
                    </a:lnTo>
                    <a:lnTo>
                      <a:pt x="29" y="41"/>
                    </a:lnTo>
                    <a:lnTo>
                      <a:pt x="29" y="39"/>
                    </a:lnTo>
                    <a:lnTo>
                      <a:pt x="28" y="38"/>
                    </a:lnTo>
                    <a:lnTo>
                      <a:pt x="28" y="38"/>
                    </a:lnTo>
                    <a:lnTo>
                      <a:pt x="26" y="38"/>
                    </a:lnTo>
                    <a:lnTo>
                      <a:pt x="25" y="38"/>
                    </a:lnTo>
                    <a:lnTo>
                      <a:pt x="23" y="36"/>
                    </a:lnTo>
                    <a:lnTo>
                      <a:pt x="22" y="33"/>
                    </a:lnTo>
                    <a:lnTo>
                      <a:pt x="20" y="31"/>
                    </a:lnTo>
                    <a:lnTo>
                      <a:pt x="20" y="28"/>
                    </a:lnTo>
                    <a:lnTo>
                      <a:pt x="20" y="23"/>
                    </a:lnTo>
                    <a:lnTo>
                      <a:pt x="20" y="20"/>
                    </a:lnTo>
                    <a:lnTo>
                      <a:pt x="22" y="18"/>
                    </a:lnTo>
                    <a:lnTo>
                      <a:pt x="22" y="15"/>
                    </a:lnTo>
                    <a:lnTo>
                      <a:pt x="22" y="12"/>
                    </a:lnTo>
                    <a:lnTo>
                      <a:pt x="20" y="10"/>
                    </a:lnTo>
                    <a:lnTo>
                      <a:pt x="20" y="9"/>
                    </a:lnTo>
                    <a:lnTo>
                      <a:pt x="19" y="8"/>
                    </a:lnTo>
                    <a:lnTo>
                      <a:pt x="16" y="6"/>
                    </a:lnTo>
                    <a:lnTo>
                      <a:pt x="16" y="6"/>
                    </a:lnTo>
                    <a:lnTo>
                      <a:pt x="15" y="5"/>
                    </a:lnTo>
                    <a:lnTo>
                      <a:pt x="15" y="3"/>
                    </a:lnTo>
                    <a:lnTo>
                      <a:pt x="13" y="2"/>
                    </a:lnTo>
                    <a:lnTo>
                      <a:pt x="12" y="3"/>
                    </a:lnTo>
                    <a:lnTo>
                      <a:pt x="10" y="3"/>
                    </a:lnTo>
                    <a:lnTo>
                      <a:pt x="9" y="3"/>
                    </a:lnTo>
                    <a:lnTo>
                      <a:pt x="7" y="3"/>
                    </a:lnTo>
                    <a:lnTo>
                      <a:pt x="7" y="2"/>
                    </a:lnTo>
                    <a:lnTo>
                      <a:pt x="7" y="2"/>
                    </a:lnTo>
                    <a:lnTo>
                      <a:pt x="7" y="0"/>
                    </a:lnTo>
                    <a:lnTo>
                      <a:pt x="7" y="0"/>
                    </a:lnTo>
                    <a:lnTo>
                      <a:pt x="6" y="0"/>
                    </a:lnTo>
                    <a:lnTo>
                      <a:pt x="6" y="2"/>
                    </a:lnTo>
                    <a:lnTo>
                      <a:pt x="5" y="3"/>
                    </a:lnTo>
                    <a:lnTo>
                      <a:pt x="2" y="8"/>
                    </a:lnTo>
                    <a:lnTo>
                      <a:pt x="0" y="9"/>
                    </a:lnTo>
                    <a:lnTo>
                      <a:pt x="0" y="10"/>
                    </a:lnTo>
                    <a:lnTo>
                      <a:pt x="0" y="12"/>
                    </a:lnTo>
                    <a:lnTo>
                      <a:pt x="0" y="16"/>
                    </a:lnTo>
                    <a:lnTo>
                      <a:pt x="0" y="18"/>
                    </a:lnTo>
                    <a:lnTo>
                      <a:pt x="3" y="18"/>
                    </a:lnTo>
                    <a:lnTo>
                      <a:pt x="5" y="19"/>
                    </a:lnTo>
                    <a:lnTo>
                      <a:pt x="5" y="20"/>
                    </a:lnTo>
                    <a:lnTo>
                      <a:pt x="3" y="28"/>
                    </a:lnTo>
                    <a:lnTo>
                      <a:pt x="3" y="29"/>
                    </a:lnTo>
                    <a:lnTo>
                      <a:pt x="3" y="32"/>
                    </a:lnTo>
                    <a:lnTo>
                      <a:pt x="3" y="35"/>
                    </a:lnTo>
                    <a:lnTo>
                      <a:pt x="0" y="42"/>
                    </a:lnTo>
                    <a:lnTo>
                      <a:pt x="2" y="43"/>
                    </a:lnTo>
                    <a:lnTo>
                      <a:pt x="2" y="48"/>
                    </a:lnTo>
                    <a:lnTo>
                      <a:pt x="2" y="49"/>
                    </a:lnTo>
                    <a:lnTo>
                      <a:pt x="2" y="49"/>
                    </a:lnTo>
                    <a:lnTo>
                      <a:pt x="0" y="49"/>
                    </a:lnTo>
                    <a:lnTo>
                      <a:pt x="0" y="49"/>
                    </a:lnTo>
                    <a:lnTo>
                      <a:pt x="3" y="52"/>
                    </a:lnTo>
                    <a:lnTo>
                      <a:pt x="7" y="55"/>
                    </a:lnTo>
                    <a:lnTo>
                      <a:pt x="10" y="59"/>
                    </a:lnTo>
                    <a:lnTo>
                      <a:pt x="12" y="64"/>
                    </a:lnTo>
                    <a:lnTo>
                      <a:pt x="15" y="65"/>
                    </a:lnTo>
                    <a:lnTo>
                      <a:pt x="16" y="6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54" name="Freeform 60">
                <a:extLst>
                  <a:ext uri="{FF2B5EF4-FFF2-40B4-BE49-F238E27FC236}">
                    <a16:creationId xmlns:a16="http://schemas.microsoft.com/office/drawing/2014/main" id="{44059C29-D637-77A6-1831-AD6344CDFCEA}"/>
                  </a:ext>
                </a:extLst>
              </p:cNvPr>
              <p:cNvSpPr>
                <a:spLocks/>
              </p:cNvSpPr>
              <p:nvPr/>
            </p:nvSpPr>
            <p:spPr bwMode="auto">
              <a:xfrm>
                <a:off x="3903" y="1778"/>
                <a:ext cx="167" cy="106"/>
              </a:xfrm>
              <a:custGeom>
                <a:avLst/>
                <a:gdLst>
                  <a:gd name="T0" fmla="*/ 151 w 167"/>
                  <a:gd name="T1" fmla="*/ 71 h 106"/>
                  <a:gd name="T2" fmla="*/ 142 w 167"/>
                  <a:gd name="T3" fmla="*/ 69 h 106"/>
                  <a:gd name="T4" fmla="*/ 138 w 167"/>
                  <a:gd name="T5" fmla="*/ 63 h 106"/>
                  <a:gd name="T6" fmla="*/ 139 w 167"/>
                  <a:gd name="T7" fmla="*/ 57 h 106"/>
                  <a:gd name="T8" fmla="*/ 141 w 167"/>
                  <a:gd name="T9" fmla="*/ 41 h 106"/>
                  <a:gd name="T10" fmla="*/ 137 w 167"/>
                  <a:gd name="T11" fmla="*/ 28 h 106"/>
                  <a:gd name="T12" fmla="*/ 121 w 167"/>
                  <a:gd name="T13" fmla="*/ 4 h 106"/>
                  <a:gd name="T14" fmla="*/ 109 w 167"/>
                  <a:gd name="T15" fmla="*/ 1 h 106"/>
                  <a:gd name="T16" fmla="*/ 108 w 167"/>
                  <a:gd name="T17" fmla="*/ 2 h 106"/>
                  <a:gd name="T18" fmla="*/ 104 w 167"/>
                  <a:gd name="T19" fmla="*/ 5 h 106"/>
                  <a:gd name="T20" fmla="*/ 89 w 167"/>
                  <a:gd name="T21" fmla="*/ 10 h 106"/>
                  <a:gd name="T22" fmla="*/ 82 w 167"/>
                  <a:gd name="T23" fmla="*/ 13 h 106"/>
                  <a:gd name="T24" fmla="*/ 75 w 167"/>
                  <a:gd name="T25" fmla="*/ 8 h 106"/>
                  <a:gd name="T26" fmla="*/ 62 w 167"/>
                  <a:gd name="T27" fmla="*/ 7 h 106"/>
                  <a:gd name="T28" fmla="*/ 56 w 167"/>
                  <a:gd name="T29" fmla="*/ 7 h 106"/>
                  <a:gd name="T30" fmla="*/ 52 w 167"/>
                  <a:gd name="T31" fmla="*/ 5 h 106"/>
                  <a:gd name="T32" fmla="*/ 46 w 167"/>
                  <a:gd name="T33" fmla="*/ 8 h 106"/>
                  <a:gd name="T34" fmla="*/ 32 w 167"/>
                  <a:gd name="T35" fmla="*/ 18 h 106"/>
                  <a:gd name="T36" fmla="*/ 27 w 167"/>
                  <a:gd name="T37" fmla="*/ 27 h 106"/>
                  <a:gd name="T38" fmla="*/ 20 w 167"/>
                  <a:gd name="T39" fmla="*/ 38 h 106"/>
                  <a:gd name="T40" fmla="*/ 19 w 167"/>
                  <a:gd name="T41" fmla="*/ 43 h 106"/>
                  <a:gd name="T42" fmla="*/ 14 w 167"/>
                  <a:gd name="T43" fmla="*/ 47 h 106"/>
                  <a:gd name="T44" fmla="*/ 12 w 167"/>
                  <a:gd name="T45" fmla="*/ 47 h 106"/>
                  <a:gd name="T46" fmla="*/ 4 w 167"/>
                  <a:gd name="T47" fmla="*/ 50 h 106"/>
                  <a:gd name="T48" fmla="*/ 0 w 167"/>
                  <a:gd name="T49" fmla="*/ 51 h 106"/>
                  <a:gd name="T50" fmla="*/ 10 w 167"/>
                  <a:gd name="T51" fmla="*/ 59 h 106"/>
                  <a:gd name="T52" fmla="*/ 10 w 167"/>
                  <a:gd name="T53" fmla="*/ 64 h 106"/>
                  <a:gd name="T54" fmla="*/ 19 w 167"/>
                  <a:gd name="T55" fmla="*/ 70 h 106"/>
                  <a:gd name="T56" fmla="*/ 22 w 167"/>
                  <a:gd name="T57" fmla="*/ 74 h 106"/>
                  <a:gd name="T58" fmla="*/ 20 w 167"/>
                  <a:gd name="T59" fmla="*/ 77 h 106"/>
                  <a:gd name="T60" fmla="*/ 22 w 167"/>
                  <a:gd name="T61" fmla="*/ 79 h 106"/>
                  <a:gd name="T62" fmla="*/ 23 w 167"/>
                  <a:gd name="T63" fmla="*/ 80 h 106"/>
                  <a:gd name="T64" fmla="*/ 20 w 167"/>
                  <a:gd name="T65" fmla="*/ 80 h 106"/>
                  <a:gd name="T66" fmla="*/ 20 w 167"/>
                  <a:gd name="T67" fmla="*/ 82 h 106"/>
                  <a:gd name="T68" fmla="*/ 30 w 167"/>
                  <a:gd name="T69" fmla="*/ 84 h 106"/>
                  <a:gd name="T70" fmla="*/ 36 w 167"/>
                  <a:gd name="T71" fmla="*/ 86 h 106"/>
                  <a:gd name="T72" fmla="*/ 40 w 167"/>
                  <a:gd name="T73" fmla="*/ 84 h 106"/>
                  <a:gd name="T74" fmla="*/ 45 w 167"/>
                  <a:gd name="T75" fmla="*/ 86 h 106"/>
                  <a:gd name="T76" fmla="*/ 42 w 167"/>
                  <a:gd name="T77" fmla="*/ 87 h 106"/>
                  <a:gd name="T78" fmla="*/ 42 w 167"/>
                  <a:gd name="T79" fmla="*/ 92 h 106"/>
                  <a:gd name="T80" fmla="*/ 45 w 167"/>
                  <a:gd name="T81" fmla="*/ 94 h 106"/>
                  <a:gd name="T82" fmla="*/ 49 w 167"/>
                  <a:gd name="T83" fmla="*/ 99 h 106"/>
                  <a:gd name="T84" fmla="*/ 47 w 167"/>
                  <a:gd name="T85" fmla="*/ 100 h 106"/>
                  <a:gd name="T86" fmla="*/ 46 w 167"/>
                  <a:gd name="T87" fmla="*/ 102 h 106"/>
                  <a:gd name="T88" fmla="*/ 49 w 167"/>
                  <a:gd name="T89" fmla="*/ 103 h 106"/>
                  <a:gd name="T90" fmla="*/ 66 w 167"/>
                  <a:gd name="T91" fmla="*/ 105 h 106"/>
                  <a:gd name="T92" fmla="*/ 78 w 167"/>
                  <a:gd name="T93" fmla="*/ 105 h 106"/>
                  <a:gd name="T94" fmla="*/ 95 w 167"/>
                  <a:gd name="T95" fmla="*/ 106 h 106"/>
                  <a:gd name="T96" fmla="*/ 109 w 167"/>
                  <a:gd name="T97" fmla="*/ 99 h 106"/>
                  <a:gd name="T98" fmla="*/ 119 w 167"/>
                  <a:gd name="T99" fmla="*/ 96 h 106"/>
                  <a:gd name="T100" fmla="*/ 134 w 167"/>
                  <a:gd name="T101" fmla="*/ 100 h 106"/>
                  <a:gd name="T102" fmla="*/ 139 w 167"/>
                  <a:gd name="T103" fmla="*/ 105 h 106"/>
                  <a:gd name="T104" fmla="*/ 144 w 167"/>
                  <a:gd name="T105" fmla="*/ 106 h 106"/>
                  <a:gd name="T106" fmla="*/ 148 w 167"/>
                  <a:gd name="T107" fmla="*/ 94 h 106"/>
                  <a:gd name="T108" fmla="*/ 151 w 167"/>
                  <a:gd name="T109" fmla="*/ 89 h 106"/>
                  <a:gd name="T110" fmla="*/ 152 w 167"/>
                  <a:gd name="T111" fmla="*/ 83 h 106"/>
                  <a:gd name="T112" fmla="*/ 154 w 167"/>
                  <a:gd name="T113" fmla="*/ 77 h 106"/>
                  <a:gd name="T114" fmla="*/ 155 w 167"/>
                  <a:gd name="T115" fmla="*/ 82 h 106"/>
                  <a:gd name="T116" fmla="*/ 162 w 167"/>
                  <a:gd name="T117" fmla="*/ 80 h 106"/>
                  <a:gd name="T118" fmla="*/ 167 w 167"/>
                  <a:gd name="T119" fmla="*/ 76 h 106"/>
                  <a:gd name="T120" fmla="*/ 157 w 167"/>
                  <a:gd name="T121" fmla="*/ 6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7" h="106">
                    <a:moveTo>
                      <a:pt x="157" y="69"/>
                    </a:moveTo>
                    <a:lnTo>
                      <a:pt x="152" y="69"/>
                    </a:lnTo>
                    <a:lnTo>
                      <a:pt x="151" y="71"/>
                    </a:lnTo>
                    <a:lnTo>
                      <a:pt x="148" y="71"/>
                    </a:lnTo>
                    <a:lnTo>
                      <a:pt x="145" y="70"/>
                    </a:lnTo>
                    <a:lnTo>
                      <a:pt x="142" y="69"/>
                    </a:lnTo>
                    <a:lnTo>
                      <a:pt x="141" y="66"/>
                    </a:lnTo>
                    <a:lnTo>
                      <a:pt x="139" y="64"/>
                    </a:lnTo>
                    <a:lnTo>
                      <a:pt x="138" y="63"/>
                    </a:lnTo>
                    <a:lnTo>
                      <a:pt x="139" y="61"/>
                    </a:lnTo>
                    <a:lnTo>
                      <a:pt x="139" y="60"/>
                    </a:lnTo>
                    <a:lnTo>
                      <a:pt x="139" y="57"/>
                    </a:lnTo>
                    <a:lnTo>
                      <a:pt x="139" y="54"/>
                    </a:lnTo>
                    <a:lnTo>
                      <a:pt x="139" y="51"/>
                    </a:lnTo>
                    <a:lnTo>
                      <a:pt x="141" y="41"/>
                    </a:lnTo>
                    <a:lnTo>
                      <a:pt x="141" y="37"/>
                    </a:lnTo>
                    <a:lnTo>
                      <a:pt x="138" y="33"/>
                    </a:lnTo>
                    <a:lnTo>
                      <a:pt x="137" y="28"/>
                    </a:lnTo>
                    <a:lnTo>
                      <a:pt x="126" y="17"/>
                    </a:lnTo>
                    <a:lnTo>
                      <a:pt x="124" y="14"/>
                    </a:lnTo>
                    <a:lnTo>
                      <a:pt x="121" y="4"/>
                    </a:lnTo>
                    <a:lnTo>
                      <a:pt x="116" y="1"/>
                    </a:lnTo>
                    <a:lnTo>
                      <a:pt x="112" y="0"/>
                    </a:lnTo>
                    <a:lnTo>
                      <a:pt x="109" y="1"/>
                    </a:lnTo>
                    <a:lnTo>
                      <a:pt x="109" y="1"/>
                    </a:lnTo>
                    <a:lnTo>
                      <a:pt x="108" y="2"/>
                    </a:lnTo>
                    <a:lnTo>
                      <a:pt x="108" y="2"/>
                    </a:lnTo>
                    <a:lnTo>
                      <a:pt x="106" y="4"/>
                    </a:lnTo>
                    <a:lnTo>
                      <a:pt x="106" y="4"/>
                    </a:lnTo>
                    <a:lnTo>
                      <a:pt x="104" y="5"/>
                    </a:lnTo>
                    <a:lnTo>
                      <a:pt x="102" y="7"/>
                    </a:lnTo>
                    <a:lnTo>
                      <a:pt x="92" y="10"/>
                    </a:lnTo>
                    <a:lnTo>
                      <a:pt x="89" y="10"/>
                    </a:lnTo>
                    <a:lnTo>
                      <a:pt x="85" y="13"/>
                    </a:lnTo>
                    <a:lnTo>
                      <a:pt x="83" y="13"/>
                    </a:lnTo>
                    <a:lnTo>
                      <a:pt x="82" y="13"/>
                    </a:lnTo>
                    <a:lnTo>
                      <a:pt x="79" y="10"/>
                    </a:lnTo>
                    <a:lnTo>
                      <a:pt x="76" y="8"/>
                    </a:lnTo>
                    <a:lnTo>
                      <a:pt x="75" y="8"/>
                    </a:lnTo>
                    <a:lnTo>
                      <a:pt x="69" y="8"/>
                    </a:lnTo>
                    <a:lnTo>
                      <a:pt x="68" y="8"/>
                    </a:lnTo>
                    <a:lnTo>
                      <a:pt x="62" y="7"/>
                    </a:lnTo>
                    <a:lnTo>
                      <a:pt x="59" y="7"/>
                    </a:lnTo>
                    <a:lnTo>
                      <a:pt x="58" y="7"/>
                    </a:lnTo>
                    <a:lnTo>
                      <a:pt x="56" y="7"/>
                    </a:lnTo>
                    <a:lnTo>
                      <a:pt x="53" y="5"/>
                    </a:lnTo>
                    <a:lnTo>
                      <a:pt x="53" y="4"/>
                    </a:lnTo>
                    <a:lnTo>
                      <a:pt x="52" y="5"/>
                    </a:lnTo>
                    <a:lnTo>
                      <a:pt x="50" y="5"/>
                    </a:lnTo>
                    <a:lnTo>
                      <a:pt x="49" y="7"/>
                    </a:lnTo>
                    <a:lnTo>
                      <a:pt x="46" y="8"/>
                    </a:lnTo>
                    <a:lnTo>
                      <a:pt x="43" y="11"/>
                    </a:lnTo>
                    <a:lnTo>
                      <a:pt x="35" y="14"/>
                    </a:lnTo>
                    <a:lnTo>
                      <a:pt x="32" y="18"/>
                    </a:lnTo>
                    <a:lnTo>
                      <a:pt x="30" y="20"/>
                    </a:lnTo>
                    <a:lnTo>
                      <a:pt x="29" y="24"/>
                    </a:lnTo>
                    <a:lnTo>
                      <a:pt x="27" y="27"/>
                    </a:lnTo>
                    <a:lnTo>
                      <a:pt x="25" y="31"/>
                    </a:lnTo>
                    <a:lnTo>
                      <a:pt x="23" y="36"/>
                    </a:lnTo>
                    <a:lnTo>
                      <a:pt x="20" y="38"/>
                    </a:lnTo>
                    <a:lnTo>
                      <a:pt x="19" y="40"/>
                    </a:lnTo>
                    <a:lnTo>
                      <a:pt x="19" y="41"/>
                    </a:lnTo>
                    <a:lnTo>
                      <a:pt x="19" y="43"/>
                    </a:lnTo>
                    <a:lnTo>
                      <a:pt x="17" y="46"/>
                    </a:lnTo>
                    <a:lnTo>
                      <a:pt x="16" y="47"/>
                    </a:lnTo>
                    <a:lnTo>
                      <a:pt x="14" y="47"/>
                    </a:lnTo>
                    <a:lnTo>
                      <a:pt x="14" y="47"/>
                    </a:lnTo>
                    <a:lnTo>
                      <a:pt x="13" y="47"/>
                    </a:lnTo>
                    <a:lnTo>
                      <a:pt x="12" y="47"/>
                    </a:lnTo>
                    <a:lnTo>
                      <a:pt x="9" y="48"/>
                    </a:lnTo>
                    <a:lnTo>
                      <a:pt x="6" y="50"/>
                    </a:lnTo>
                    <a:lnTo>
                      <a:pt x="4" y="50"/>
                    </a:lnTo>
                    <a:lnTo>
                      <a:pt x="3" y="50"/>
                    </a:lnTo>
                    <a:lnTo>
                      <a:pt x="2" y="50"/>
                    </a:lnTo>
                    <a:lnTo>
                      <a:pt x="0" y="51"/>
                    </a:lnTo>
                    <a:lnTo>
                      <a:pt x="4" y="56"/>
                    </a:lnTo>
                    <a:lnTo>
                      <a:pt x="7" y="59"/>
                    </a:lnTo>
                    <a:lnTo>
                      <a:pt x="10" y="59"/>
                    </a:lnTo>
                    <a:lnTo>
                      <a:pt x="10" y="61"/>
                    </a:lnTo>
                    <a:lnTo>
                      <a:pt x="10" y="63"/>
                    </a:lnTo>
                    <a:lnTo>
                      <a:pt x="10" y="64"/>
                    </a:lnTo>
                    <a:lnTo>
                      <a:pt x="12" y="67"/>
                    </a:lnTo>
                    <a:lnTo>
                      <a:pt x="13" y="69"/>
                    </a:lnTo>
                    <a:lnTo>
                      <a:pt x="19" y="70"/>
                    </a:lnTo>
                    <a:lnTo>
                      <a:pt x="20" y="71"/>
                    </a:lnTo>
                    <a:lnTo>
                      <a:pt x="22" y="74"/>
                    </a:lnTo>
                    <a:lnTo>
                      <a:pt x="22" y="74"/>
                    </a:lnTo>
                    <a:lnTo>
                      <a:pt x="20" y="76"/>
                    </a:lnTo>
                    <a:lnTo>
                      <a:pt x="20" y="76"/>
                    </a:lnTo>
                    <a:lnTo>
                      <a:pt x="20" y="77"/>
                    </a:lnTo>
                    <a:lnTo>
                      <a:pt x="22" y="77"/>
                    </a:lnTo>
                    <a:lnTo>
                      <a:pt x="22" y="79"/>
                    </a:lnTo>
                    <a:lnTo>
                      <a:pt x="22" y="79"/>
                    </a:lnTo>
                    <a:lnTo>
                      <a:pt x="22" y="79"/>
                    </a:lnTo>
                    <a:lnTo>
                      <a:pt x="23" y="79"/>
                    </a:lnTo>
                    <a:lnTo>
                      <a:pt x="23" y="80"/>
                    </a:lnTo>
                    <a:lnTo>
                      <a:pt x="22" y="80"/>
                    </a:lnTo>
                    <a:lnTo>
                      <a:pt x="20" y="80"/>
                    </a:lnTo>
                    <a:lnTo>
                      <a:pt x="20" y="80"/>
                    </a:lnTo>
                    <a:lnTo>
                      <a:pt x="20" y="80"/>
                    </a:lnTo>
                    <a:lnTo>
                      <a:pt x="20" y="80"/>
                    </a:lnTo>
                    <a:lnTo>
                      <a:pt x="20" y="82"/>
                    </a:lnTo>
                    <a:lnTo>
                      <a:pt x="23" y="82"/>
                    </a:lnTo>
                    <a:lnTo>
                      <a:pt x="29" y="84"/>
                    </a:lnTo>
                    <a:lnTo>
                      <a:pt x="30" y="84"/>
                    </a:lnTo>
                    <a:lnTo>
                      <a:pt x="33" y="87"/>
                    </a:lnTo>
                    <a:lnTo>
                      <a:pt x="35" y="87"/>
                    </a:lnTo>
                    <a:lnTo>
                      <a:pt x="36" y="86"/>
                    </a:lnTo>
                    <a:lnTo>
                      <a:pt x="37" y="84"/>
                    </a:lnTo>
                    <a:lnTo>
                      <a:pt x="39" y="84"/>
                    </a:lnTo>
                    <a:lnTo>
                      <a:pt x="40" y="84"/>
                    </a:lnTo>
                    <a:lnTo>
                      <a:pt x="42" y="84"/>
                    </a:lnTo>
                    <a:lnTo>
                      <a:pt x="43" y="86"/>
                    </a:lnTo>
                    <a:lnTo>
                      <a:pt x="45" y="86"/>
                    </a:lnTo>
                    <a:lnTo>
                      <a:pt x="43" y="87"/>
                    </a:lnTo>
                    <a:lnTo>
                      <a:pt x="43" y="87"/>
                    </a:lnTo>
                    <a:lnTo>
                      <a:pt x="42" y="87"/>
                    </a:lnTo>
                    <a:lnTo>
                      <a:pt x="42" y="87"/>
                    </a:lnTo>
                    <a:lnTo>
                      <a:pt x="40" y="90"/>
                    </a:lnTo>
                    <a:lnTo>
                      <a:pt x="42" y="92"/>
                    </a:lnTo>
                    <a:lnTo>
                      <a:pt x="43" y="93"/>
                    </a:lnTo>
                    <a:lnTo>
                      <a:pt x="43" y="94"/>
                    </a:lnTo>
                    <a:lnTo>
                      <a:pt x="45" y="94"/>
                    </a:lnTo>
                    <a:lnTo>
                      <a:pt x="47" y="96"/>
                    </a:lnTo>
                    <a:lnTo>
                      <a:pt x="47" y="97"/>
                    </a:lnTo>
                    <a:lnTo>
                      <a:pt x="49" y="99"/>
                    </a:lnTo>
                    <a:lnTo>
                      <a:pt x="49" y="99"/>
                    </a:lnTo>
                    <a:lnTo>
                      <a:pt x="49" y="99"/>
                    </a:lnTo>
                    <a:lnTo>
                      <a:pt x="47" y="100"/>
                    </a:lnTo>
                    <a:lnTo>
                      <a:pt x="47" y="100"/>
                    </a:lnTo>
                    <a:lnTo>
                      <a:pt x="47" y="100"/>
                    </a:lnTo>
                    <a:lnTo>
                      <a:pt x="46" y="102"/>
                    </a:lnTo>
                    <a:lnTo>
                      <a:pt x="46" y="102"/>
                    </a:lnTo>
                    <a:lnTo>
                      <a:pt x="47" y="103"/>
                    </a:lnTo>
                    <a:lnTo>
                      <a:pt x="49" y="103"/>
                    </a:lnTo>
                    <a:lnTo>
                      <a:pt x="52" y="103"/>
                    </a:lnTo>
                    <a:lnTo>
                      <a:pt x="56" y="103"/>
                    </a:lnTo>
                    <a:lnTo>
                      <a:pt x="66" y="105"/>
                    </a:lnTo>
                    <a:lnTo>
                      <a:pt x="69" y="105"/>
                    </a:lnTo>
                    <a:lnTo>
                      <a:pt x="75" y="105"/>
                    </a:lnTo>
                    <a:lnTo>
                      <a:pt x="78" y="105"/>
                    </a:lnTo>
                    <a:lnTo>
                      <a:pt x="85" y="106"/>
                    </a:lnTo>
                    <a:lnTo>
                      <a:pt x="91" y="106"/>
                    </a:lnTo>
                    <a:lnTo>
                      <a:pt x="95" y="106"/>
                    </a:lnTo>
                    <a:lnTo>
                      <a:pt x="104" y="100"/>
                    </a:lnTo>
                    <a:lnTo>
                      <a:pt x="106" y="99"/>
                    </a:lnTo>
                    <a:lnTo>
                      <a:pt x="109" y="99"/>
                    </a:lnTo>
                    <a:lnTo>
                      <a:pt x="112" y="97"/>
                    </a:lnTo>
                    <a:lnTo>
                      <a:pt x="116" y="96"/>
                    </a:lnTo>
                    <a:lnTo>
                      <a:pt x="119" y="96"/>
                    </a:lnTo>
                    <a:lnTo>
                      <a:pt x="122" y="97"/>
                    </a:lnTo>
                    <a:lnTo>
                      <a:pt x="128" y="99"/>
                    </a:lnTo>
                    <a:lnTo>
                      <a:pt x="134" y="100"/>
                    </a:lnTo>
                    <a:lnTo>
                      <a:pt x="135" y="100"/>
                    </a:lnTo>
                    <a:lnTo>
                      <a:pt x="137" y="102"/>
                    </a:lnTo>
                    <a:lnTo>
                      <a:pt x="139" y="105"/>
                    </a:lnTo>
                    <a:lnTo>
                      <a:pt x="141" y="105"/>
                    </a:lnTo>
                    <a:lnTo>
                      <a:pt x="142" y="105"/>
                    </a:lnTo>
                    <a:lnTo>
                      <a:pt x="144" y="106"/>
                    </a:lnTo>
                    <a:lnTo>
                      <a:pt x="145" y="106"/>
                    </a:lnTo>
                    <a:lnTo>
                      <a:pt x="147" y="106"/>
                    </a:lnTo>
                    <a:lnTo>
                      <a:pt x="148" y="94"/>
                    </a:lnTo>
                    <a:lnTo>
                      <a:pt x="149" y="93"/>
                    </a:lnTo>
                    <a:lnTo>
                      <a:pt x="149" y="90"/>
                    </a:lnTo>
                    <a:lnTo>
                      <a:pt x="151" y="89"/>
                    </a:lnTo>
                    <a:lnTo>
                      <a:pt x="152" y="87"/>
                    </a:lnTo>
                    <a:lnTo>
                      <a:pt x="151" y="87"/>
                    </a:lnTo>
                    <a:lnTo>
                      <a:pt x="152" y="83"/>
                    </a:lnTo>
                    <a:lnTo>
                      <a:pt x="152" y="82"/>
                    </a:lnTo>
                    <a:lnTo>
                      <a:pt x="154" y="79"/>
                    </a:lnTo>
                    <a:lnTo>
                      <a:pt x="154" y="77"/>
                    </a:lnTo>
                    <a:lnTo>
                      <a:pt x="157" y="77"/>
                    </a:lnTo>
                    <a:lnTo>
                      <a:pt x="155" y="79"/>
                    </a:lnTo>
                    <a:lnTo>
                      <a:pt x="155" y="82"/>
                    </a:lnTo>
                    <a:lnTo>
                      <a:pt x="155" y="83"/>
                    </a:lnTo>
                    <a:lnTo>
                      <a:pt x="161" y="82"/>
                    </a:lnTo>
                    <a:lnTo>
                      <a:pt x="162" y="80"/>
                    </a:lnTo>
                    <a:lnTo>
                      <a:pt x="165" y="79"/>
                    </a:lnTo>
                    <a:lnTo>
                      <a:pt x="165" y="77"/>
                    </a:lnTo>
                    <a:lnTo>
                      <a:pt x="167" y="76"/>
                    </a:lnTo>
                    <a:lnTo>
                      <a:pt x="167" y="70"/>
                    </a:lnTo>
                    <a:lnTo>
                      <a:pt x="162" y="69"/>
                    </a:lnTo>
                    <a:lnTo>
                      <a:pt x="157" y="6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55" name="Freeform 61">
                <a:extLst>
                  <a:ext uri="{FF2B5EF4-FFF2-40B4-BE49-F238E27FC236}">
                    <a16:creationId xmlns:a16="http://schemas.microsoft.com/office/drawing/2014/main" id="{068DBE3E-BB60-A778-9A7A-7CAF5C6B1D8C}"/>
                  </a:ext>
                </a:extLst>
              </p:cNvPr>
              <p:cNvSpPr>
                <a:spLocks/>
              </p:cNvSpPr>
              <p:nvPr/>
            </p:nvSpPr>
            <p:spPr bwMode="auto">
              <a:xfrm>
                <a:off x="3940" y="1872"/>
                <a:ext cx="110" cy="67"/>
              </a:xfrm>
              <a:custGeom>
                <a:avLst/>
                <a:gdLst>
                  <a:gd name="T0" fmla="*/ 104 w 110"/>
                  <a:gd name="T1" fmla="*/ 11 h 67"/>
                  <a:gd name="T2" fmla="*/ 98 w 110"/>
                  <a:gd name="T3" fmla="*/ 6 h 67"/>
                  <a:gd name="T4" fmla="*/ 85 w 110"/>
                  <a:gd name="T5" fmla="*/ 3 h 67"/>
                  <a:gd name="T6" fmla="*/ 75 w 110"/>
                  <a:gd name="T7" fmla="*/ 3 h 67"/>
                  <a:gd name="T8" fmla="*/ 67 w 110"/>
                  <a:gd name="T9" fmla="*/ 6 h 67"/>
                  <a:gd name="T10" fmla="*/ 48 w 110"/>
                  <a:gd name="T11" fmla="*/ 12 h 67"/>
                  <a:gd name="T12" fmla="*/ 32 w 110"/>
                  <a:gd name="T13" fmla="*/ 11 h 67"/>
                  <a:gd name="T14" fmla="*/ 15 w 110"/>
                  <a:gd name="T15" fmla="*/ 9 h 67"/>
                  <a:gd name="T16" fmla="*/ 9 w 110"/>
                  <a:gd name="T17" fmla="*/ 8 h 67"/>
                  <a:gd name="T18" fmla="*/ 10 w 110"/>
                  <a:gd name="T19" fmla="*/ 6 h 67"/>
                  <a:gd name="T20" fmla="*/ 12 w 110"/>
                  <a:gd name="T21" fmla="*/ 5 h 67"/>
                  <a:gd name="T22" fmla="*/ 10 w 110"/>
                  <a:gd name="T23" fmla="*/ 2 h 67"/>
                  <a:gd name="T24" fmla="*/ 6 w 110"/>
                  <a:gd name="T25" fmla="*/ 0 h 67"/>
                  <a:gd name="T26" fmla="*/ 2 w 110"/>
                  <a:gd name="T27" fmla="*/ 5 h 67"/>
                  <a:gd name="T28" fmla="*/ 0 w 110"/>
                  <a:gd name="T29" fmla="*/ 9 h 67"/>
                  <a:gd name="T30" fmla="*/ 2 w 110"/>
                  <a:gd name="T31" fmla="*/ 15 h 67"/>
                  <a:gd name="T32" fmla="*/ 6 w 110"/>
                  <a:gd name="T33" fmla="*/ 19 h 67"/>
                  <a:gd name="T34" fmla="*/ 10 w 110"/>
                  <a:gd name="T35" fmla="*/ 23 h 67"/>
                  <a:gd name="T36" fmla="*/ 9 w 110"/>
                  <a:gd name="T37" fmla="*/ 28 h 67"/>
                  <a:gd name="T38" fmla="*/ 5 w 110"/>
                  <a:gd name="T39" fmla="*/ 31 h 67"/>
                  <a:gd name="T40" fmla="*/ 2 w 110"/>
                  <a:gd name="T41" fmla="*/ 32 h 67"/>
                  <a:gd name="T42" fmla="*/ 3 w 110"/>
                  <a:gd name="T43" fmla="*/ 41 h 67"/>
                  <a:gd name="T44" fmla="*/ 10 w 110"/>
                  <a:gd name="T45" fmla="*/ 54 h 67"/>
                  <a:gd name="T46" fmla="*/ 12 w 110"/>
                  <a:gd name="T47" fmla="*/ 62 h 67"/>
                  <a:gd name="T48" fmla="*/ 21 w 110"/>
                  <a:gd name="T49" fmla="*/ 64 h 67"/>
                  <a:gd name="T50" fmla="*/ 31 w 110"/>
                  <a:gd name="T51" fmla="*/ 62 h 67"/>
                  <a:gd name="T52" fmla="*/ 36 w 110"/>
                  <a:gd name="T53" fmla="*/ 61 h 67"/>
                  <a:gd name="T54" fmla="*/ 42 w 110"/>
                  <a:gd name="T55" fmla="*/ 64 h 67"/>
                  <a:gd name="T56" fmla="*/ 46 w 110"/>
                  <a:gd name="T57" fmla="*/ 64 h 67"/>
                  <a:gd name="T58" fmla="*/ 51 w 110"/>
                  <a:gd name="T59" fmla="*/ 67 h 67"/>
                  <a:gd name="T60" fmla="*/ 59 w 110"/>
                  <a:gd name="T61" fmla="*/ 65 h 67"/>
                  <a:gd name="T62" fmla="*/ 67 w 110"/>
                  <a:gd name="T63" fmla="*/ 62 h 67"/>
                  <a:gd name="T64" fmla="*/ 67 w 110"/>
                  <a:gd name="T65" fmla="*/ 56 h 67"/>
                  <a:gd name="T66" fmla="*/ 71 w 110"/>
                  <a:gd name="T67" fmla="*/ 55 h 67"/>
                  <a:gd name="T68" fmla="*/ 72 w 110"/>
                  <a:gd name="T69" fmla="*/ 55 h 67"/>
                  <a:gd name="T70" fmla="*/ 74 w 110"/>
                  <a:gd name="T71" fmla="*/ 52 h 67"/>
                  <a:gd name="T72" fmla="*/ 77 w 110"/>
                  <a:gd name="T73" fmla="*/ 51 h 67"/>
                  <a:gd name="T74" fmla="*/ 88 w 110"/>
                  <a:gd name="T75" fmla="*/ 49 h 67"/>
                  <a:gd name="T76" fmla="*/ 94 w 110"/>
                  <a:gd name="T77" fmla="*/ 52 h 67"/>
                  <a:gd name="T78" fmla="*/ 100 w 110"/>
                  <a:gd name="T79" fmla="*/ 51 h 67"/>
                  <a:gd name="T80" fmla="*/ 94 w 110"/>
                  <a:gd name="T81" fmla="*/ 42 h 67"/>
                  <a:gd name="T82" fmla="*/ 95 w 110"/>
                  <a:gd name="T83" fmla="*/ 35 h 67"/>
                  <a:gd name="T84" fmla="*/ 98 w 110"/>
                  <a:gd name="T85" fmla="*/ 32 h 67"/>
                  <a:gd name="T86" fmla="*/ 100 w 110"/>
                  <a:gd name="T87" fmla="*/ 22 h 67"/>
                  <a:gd name="T88" fmla="*/ 105 w 110"/>
                  <a:gd name="T89" fmla="*/ 19 h 67"/>
                  <a:gd name="T90" fmla="*/ 108 w 110"/>
                  <a:gd name="T91" fmla="*/ 19 h 67"/>
                  <a:gd name="T92" fmla="*/ 110 w 110"/>
                  <a:gd name="T93" fmla="*/ 15 h 67"/>
                  <a:gd name="T94" fmla="*/ 107 w 110"/>
                  <a:gd name="T95" fmla="*/ 1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 h="67">
                    <a:moveTo>
                      <a:pt x="107" y="12"/>
                    </a:moveTo>
                    <a:lnTo>
                      <a:pt x="105" y="11"/>
                    </a:lnTo>
                    <a:lnTo>
                      <a:pt x="104" y="11"/>
                    </a:lnTo>
                    <a:lnTo>
                      <a:pt x="102" y="11"/>
                    </a:lnTo>
                    <a:lnTo>
                      <a:pt x="100" y="8"/>
                    </a:lnTo>
                    <a:lnTo>
                      <a:pt x="98" y="6"/>
                    </a:lnTo>
                    <a:lnTo>
                      <a:pt x="97" y="6"/>
                    </a:lnTo>
                    <a:lnTo>
                      <a:pt x="91" y="5"/>
                    </a:lnTo>
                    <a:lnTo>
                      <a:pt x="85" y="3"/>
                    </a:lnTo>
                    <a:lnTo>
                      <a:pt x="82" y="2"/>
                    </a:lnTo>
                    <a:lnTo>
                      <a:pt x="79" y="2"/>
                    </a:lnTo>
                    <a:lnTo>
                      <a:pt x="75" y="3"/>
                    </a:lnTo>
                    <a:lnTo>
                      <a:pt x="72" y="5"/>
                    </a:lnTo>
                    <a:lnTo>
                      <a:pt x="69" y="5"/>
                    </a:lnTo>
                    <a:lnTo>
                      <a:pt x="67" y="6"/>
                    </a:lnTo>
                    <a:lnTo>
                      <a:pt x="58" y="12"/>
                    </a:lnTo>
                    <a:lnTo>
                      <a:pt x="54" y="12"/>
                    </a:lnTo>
                    <a:lnTo>
                      <a:pt x="48" y="12"/>
                    </a:lnTo>
                    <a:lnTo>
                      <a:pt x="41" y="11"/>
                    </a:lnTo>
                    <a:lnTo>
                      <a:pt x="38" y="11"/>
                    </a:lnTo>
                    <a:lnTo>
                      <a:pt x="32" y="11"/>
                    </a:lnTo>
                    <a:lnTo>
                      <a:pt x="29" y="11"/>
                    </a:lnTo>
                    <a:lnTo>
                      <a:pt x="19" y="9"/>
                    </a:lnTo>
                    <a:lnTo>
                      <a:pt x="15" y="9"/>
                    </a:lnTo>
                    <a:lnTo>
                      <a:pt x="12" y="9"/>
                    </a:lnTo>
                    <a:lnTo>
                      <a:pt x="10" y="9"/>
                    </a:lnTo>
                    <a:lnTo>
                      <a:pt x="9" y="8"/>
                    </a:lnTo>
                    <a:lnTo>
                      <a:pt x="9" y="8"/>
                    </a:lnTo>
                    <a:lnTo>
                      <a:pt x="10" y="6"/>
                    </a:lnTo>
                    <a:lnTo>
                      <a:pt x="10" y="6"/>
                    </a:lnTo>
                    <a:lnTo>
                      <a:pt x="10" y="6"/>
                    </a:lnTo>
                    <a:lnTo>
                      <a:pt x="12" y="5"/>
                    </a:lnTo>
                    <a:lnTo>
                      <a:pt x="12" y="5"/>
                    </a:lnTo>
                    <a:lnTo>
                      <a:pt x="12" y="5"/>
                    </a:lnTo>
                    <a:lnTo>
                      <a:pt x="10" y="3"/>
                    </a:lnTo>
                    <a:lnTo>
                      <a:pt x="10" y="2"/>
                    </a:lnTo>
                    <a:lnTo>
                      <a:pt x="8" y="0"/>
                    </a:lnTo>
                    <a:lnTo>
                      <a:pt x="6" y="0"/>
                    </a:lnTo>
                    <a:lnTo>
                      <a:pt x="6" y="0"/>
                    </a:lnTo>
                    <a:lnTo>
                      <a:pt x="6" y="2"/>
                    </a:lnTo>
                    <a:lnTo>
                      <a:pt x="5" y="2"/>
                    </a:lnTo>
                    <a:lnTo>
                      <a:pt x="2" y="5"/>
                    </a:lnTo>
                    <a:lnTo>
                      <a:pt x="2" y="6"/>
                    </a:lnTo>
                    <a:lnTo>
                      <a:pt x="0" y="8"/>
                    </a:lnTo>
                    <a:lnTo>
                      <a:pt x="0" y="9"/>
                    </a:lnTo>
                    <a:lnTo>
                      <a:pt x="0" y="12"/>
                    </a:lnTo>
                    <a:lnTo>
                      <a:pt x="2" y="13"/>
                    </a:lnTo>
                    <a:lnTo>
                      <a:pt x="2" y="15"/>
                    </a:lnTo>
                    <a:lnTo>
                      <a:pt x="3" y="16"/>
                    </a:lnTo>
                    <a:lnTo>
                      <a:pt x="5" y="18"/>
                    </a:lnTo>
                    <a:lnTo>
                      <a:pt x="6" y="19"/>
                    </a:lnTo>
                    <a:lnTo>
                      <a:pt x="8" y="21"/>
                    </a:lnTo>
                    <a:lnTo>
                      <a:pt x="10" y="22"/>
                    </a:lnTo>
                    <a:lnTo>
                      <a:pt x="10" y="23"/>
                    </a:lnTo>
                    <a:lnTo>
                      <a:pt x="10" y="25"/>
                    </a:lnTo>
                    <a:lnTo>
                      <a:pt x="10" y="26"/>
                    </a:lnTo>
                    <a:lnTo>
                      <a:pt x="9" y="28"/>
                    </a:lnTo>
                    <a:lnTo>
                      <a:pt x="8" y="29"/>
                    </a:lnTo>
                    <a:lnTo>
                      <a:pt x="5" y="31"/>
                    </a:lnTo>
                    <a:lnTo>
                      <a:pt x="5" y="31"/>
                    </a:lnTo>
                    <a:lnTo>
                      <a:pt x="3" y="31"/>
                    </a:lnTo>
                    <a:lnTo>
                      <a:pt x="3" y="32"/>
                    </a:lnTo>
                    <a:lnTo>
                      <a:pt x="2" y="32"/>
                    </a:lnTo>
                    <a:lnTo>
                      <a:pt x="2" y="35"/>
                    </a:lnTo>
                    <a:lnTo>
                      <a:pt x="3" y="38"/>
                    </a:lnTo>
                    <a:lnTo>
                      <a:pt x="3" y="41"/>
                    </a:lnTo>
                    <a:lnTo>
                      <a:pt x="0" y="44"/>
                    </a:lnTo>
                    <a:lnTo>
                      <a:pt x="8" y="51"/>
                    </a:lnTo>
                    <a:lnTo>
                      <a:pt x="10" y="54"/>
                    </a:lnTo>
                    <a:lnTo>
                      <a:pt x="10" y="56"/>
                    </a:lnTo>
                    <a:lnTo>
                      <a:pt x="12" y="59"/>
                    </a:lnTo>
                    <a:lnTo>
                      <a:pt x="12" y="62"/>
                    </a:lnTo>
                    <a:lnTo>
                      <a:pt x="10" y="65"/>
                    </a:lnTo>
                    <a:lnTo>
                      <a:pt x="13" y="65"/>
                    </a:lnTo>
                    <a:lnTo>
                      <a:pt x="21" y="64"/>
                    </a:lnTo>
                    <a:lnTo>
                      <a:pt x="26" y="62"/>
                    </a:lnTo>
                    <a:lnTo>
                      <a:pt x="29" y="62"/>
                    </a:lnTo>
                    <a:lnTo>
                      <a:pt x="31" y="62"/>
                    </a:lnTo>
                    <a:lnTo>
                      <a:pt x="32" y="61"/>
                    </a:lnTo>
                    <a:lnTo>
                      <a:pt x="33" y="61"/>
                    </a:lnTo>
                    <a:lnTo>
                      <a:pt x="36" y="61"/>
                    </a:lnTo>
                    <a:lnTo>
                      <a:pt x="38" y="61"/>
                    </a:lnTo>
                    <a:lnTo>
                      <a:pt x="39" y="61"/>
                    </a:lnTo>
                    <a:lnTo>
                      <a:pt x="42" y="64"/>
                    </a:lnTo>
                    <a:lnTo>
                      <a:pt x="44" y="64"/>
                    </a:lnTo>
                    <a:lnTo>
                      <a:pt x="45" y="64"/>
                    </a:lnTo>
                    <a:lnTo>
                      <a:pt x="46" y="64"/>
                    </a:lnTo>
                    <a:lnTo>
                      <a:pt x="48" y="65"/>
                    </a:lnTo>
                    <a:lnTo>
                      <a:pt x="49" y="65"/>
                    </a:lnTo>
                    <a:lnTo>
                      <a:pt x="51" y="67"/>
                    </a:lnTo>
                    <a:lnTo>
                      <a:pt x="52" y="67"/>
                    </a:lnTo>
                    <a:lnTo>
                      <a:pt x="55" y="67"/>
                    </a:lnTo>
                    <a:lnTo>
                      <a:pt x="59" y="65"/>
                    </a:lnTo>
                    <a:lnTo>
                      <a:pt x="65" y="65"/>
                    </a:lnTo>
                    <a:lnTo>
                      <a:pt x="67" y="64"/>
                    </a:lnTo>
                    <a:lnTo>
                      <a:pt x="67" y="62"/>
                    </a:lnTo>
                    <a:lnTo>
                      <a:pt x="67" y="59"/>
                    </a:lnTo>
                    <a:lnTo>
                      <a:pt x="67" y="58"/>
                    </a:lnTo>
                    <a:lnTo>
                      <a:pt x="67" y="56"/>
                    </a:lnTo>
                    <a:lnTo>
                      <a:pt x="68" y="55"/>
                    </a:lnTo>
                    <a:lnTo>
                      <a:pt x="71" y="56"/>
                    </a:lnTo>
                    <a:lnTo>
                      <a:pt x="71" y="55"/>
                    </a:lnTo>
                    <a:lnTo>
                      <a:pt x="71" y="55"/>
                    </a:lnTo>
                    <a:lnTo>
                      <a:pt x="71" y="55"/>
                    </a:lnTo>
                    <a:lnTo>
                      <a:pt x="72" y="55"/>
                    </a:lnTo>
                    <a:lnTo>
                      <a:pt x="72" y="55"/>
                    </a:lnTo>
                    <a:lnTo>
                      <a:pt x="74" y="54"/>
                    </a:lnTo>
                    <a:lnTo>
                      <a:pt x="74" y="52"/>
                    </a:lnTo>
                    <a:lnTo>
                      <a:pt x="75" y="52"/>
                    </a:lnTo>
                    <a:lnTo>
                      <a:pt x="75" y="51"/>
                    </a:lnTo>
                    <a:lnTo>
                      <a:pt x="77" y="51"/>
                    </a:lnTo>
                    <a:lnTo>
                      <a:pt x="84" y="49"/>
                    </a:lnTo>
                    <a:lnTo>
                      <a:pt x="87" y="49"/>
                    </a:lnTo>
                    <a:lnTo>
                      <a:pt x="88" y="49"/>
                    </a:lnTo>
                    <a:lnTo>
                      <a:pt x="89" y="51"/>
                    </a:lnTo>
                    <a:lnTo>
                      <a:pt x="92" y="52"/>
                    </a:lnTo>
                    <a:lnTo>
                      <a:pt x="94" y="52"/>
                    </a:lnTo>
                    <a:lnTo>
                      <a:pt x="97" y="51"/>
                    </a:lnTo>
                    <a:lnTo>
                      <a:pt x="98" y="51"/>
                    </a:lnTo>
                    <a:lnTo>
                      <a:pt x="100" y="51"/>
                    </a:lnTo>
                    <a:lnTo>
                      <a:pt x="98" y="48"/>
                    </a:lnTo>
                    <a:lnTo>
                      <a:pt x="97" y="45"/>
                    </a:lnTo>
                    <a:lnTo>
                      <a:pt x="94" y="42"/>
                    </a:lnTo>
                    <a:lnTo>
                      <a:pt x="91" y="39"/>
                    </a:lnTo>
                    <a:lnTo>
                      <a:pt x="95" y="35"/>
                    </a:lnTo>
                    <a:lnTo>
                      <a:pt x="95" y="35"/>
                    </a:lnTo>
                    <a:lnTo>
                      <a:pt x="97" y="33"/>
                    </a:lnTo>
                    <a:lnTo>
                      <a:pt x="98" y="33"/>
                    </a:lnTo>
                    <a:lnTo>
                      <a:pt x="98" y="32"/>
                    </a:lnTo>
                    <a:lnTo>
                      <a:pt x="98" y="26"/>
                    </a:lnTo>
                    <a:lnTo>
                      <a:pt x="100" y="23"/>
                    </a:lnTo>
                    <a:lnTo>
                      <a:pt x="100" y="22"/>
                    </a:lnTo>
                    <a:lnTo>
                      <a:pt x="101" y="21"/>
                    </a:lnTo>
                    <a:lnTo>
                      <a:pt x="104" y="19"/>
                    </a:lnTo>
                    <a:lnTo>
                      <a:pt x="105" y="19"/>
                    </a:lnTo>
                    <a:lnTo>
                      <a:pt x="107" y="19"/>
                    </a:lnTo>
                    <a:lnTo>
                      <a:pt x="108" y="19"/>
                    </a:lnTo>
                    <a:lnTo>
                      <a:pt x="108" y="19"/>
                    </a:lnTo>
                    <a:lnTo>
                      <a:pt x="110" y="18"/>
                    </a:lnTo>
                    <a:lnTo>
                      <a:pt x="110" y="16"/>
                    </a:lnTo>
                    <a:lnTo>
                      <a:pt x="110" y="15"/>
                    </a:lnTo>
                    <a:lnTo>
                      <a:pt x="110" y="12"/>
                    </a:lnTo>
                    <a:lnTo>
                      <a:pt x="108" y="12"/>
                    </a:lnTo>
                    <a:lnTo>
                      <a:pt x="107" y="1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56" name="Freeform 62">
                <a:extLst>
                  <a:ext uri="{FF2B5EF4-FFF2-40B4-BE49-F238E27FC236}">
                    <a16:creationId xmlns:a16="http://schemas.microsoft.com/office/drawing/2014/main" id="{F1CC7F90-8569-0432-24B2-8795012344F4}"/>
                  </a:ext>
                </a:extLst>
              </p:cNvPr>
              <p:cNvSpPr>
                <a:spLocks/>
              </p:cNvSpPr>
              <p:nvPr/>
            </p:nvSpPr>
            <p:spPr bwMode="auto">
              <a:xfrm>
                <a:off x="3573" y="1908"/>
                <a:ext cx="4" cy="5"/>
              </a:xfrm>
              <a:custGeom>
                <a:avLst/>
                <a:gdLst>
                  <a:gd name="T0" fmla="*/ 1 w 4"/>
                  <a:gd name="T1" fmla="*/ 5 h 5"/>
                  <a:gd name="T2" fmla="*/ 3 w 4"/>
                  <a:gd name="T3" fmla="*/ 5 h 5"/>
                  <a:gd name="T4" fmla="*/ 4 w 4"/>
                  <a:gd name="T5" fmla="*/ 3 h 5"/>
                  <a:gd name="T6" fmla="*/ 4 w 4"/>
                  <a:gd name="T7" fmla="*/ 2 h 5"/>
                  <a:gd name="T8" fmla="*/ 3 w 4"/>
                  <a:gd name="T9" fmla="*/ 0 h 5"/>
                  <a:gd name="T10" fmla="*/ 1 w 4"/>
                  <a:gd name="T11" fmla="*/ 0 h 5"/>
                  <a:gd name="T12" fmla="*/ 0 w 4"/>
                  <a:gd name="T13" fmla="*/ 2 h 5"/>
                  <a:gd name="T14" fmla="*/ 0 w 4"/>
                  <a:gd name="T15" fmla="*/ 3 h 5"/>
                  <a:gd name="T16" fmla="*/ 1 w 4"/>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1" y="5"/>
                    </a:moveTo>
                    <a:lnTo>
                      <a:pt x="3" y="5"/>
                    </a:lnTo>
                    <a:lnTo>
                      <a:pt x="4" y="3"/>
                    </a:lnTo>
                    <a:lnTo>
                      <a:pt x="4" y="2"/>
                    </a:lnTo>
                    <a:lnTo>
                      <a:pt x="3" y="0"/>
                    </a:lnTo>
                    <a:lnTo>
                      <a:pt x="1" y="0"/>
                    </a:lnTo>
                    <a:lnTo>
                      <a:pt x="0" y="2"/>
                    </a:lnTo>
                    <a:lnTo>
                      <a:pt x="0" y="3"/>
                    </a:lnTo>
                    <a:lnTo>
                      <a:pt x="1" y="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57" name="Freeform 63">
                <a:extLst>
                  <a:ext uri="{FF2B5EF4-FFF2-40B4-BE49-F238E27FC236}">
                    <a16:creationId xmlns:a16="http://schemas.microsoft.com/office/drawing/2014/main" id="{6203C0E3-E9BE-7E20-D189-7FD97FD760E1}"/>
                  </a:ext>
                </a:extLst>
              </p:cNvPr>
              <p:cNvSpPr>
                <a:spLocks/>
              </p:cNvSpPr>
              <p:nvPr/>
            </p:nvSpPr>
            <p:spPr bwMode="auto">
              <a:xfrm>
                <a:off x="3872" y="1888"/>
                <a:ext cx="33" cy="38"/>
              </a:xfrm>
              <a:custGeom>
                <a:avLst/>
                <a:gdLst>
                  <a:gd name="T0" fmla="*/ 15 w 33"/>
                  <a:gd name="T1" fmla="*/ 32 h 38"/>
                  <a:gd name="T2" fmla="*/ 15 w 33"/>
                  <a:gd name="T3" fmla="*/ 30 h 38"/>
                  <a:gd name="T4" fmla="*/ 15 w 33"/>
                  <a:gd name="T5" fmla="*/ 29 h 38"/>
                  <a:gd name="T6" fmla="*/ 17 w 33"/>
                  <a:gd name="T7" fmla="*/ 28 h 38"/>
                  <a:gd name="T8" fmla="*/ 20 w 33"/>
                  <a:gd name="T9" fmla="*/ 23 h 38"/>
                  <a:gd name="T10" fmla="*/ 21 w 33"/>
                  <a:gd name="T11" fmla="*/ 22 h 38"/>
                  <a:gd name="T12" fmla="*/ 21 w 33"/>
                  <a:gd name="T13" fmla="*/ 20 h 38"/>
                  <a:gd name="T14" fmla="*/ 22 w 33"/>
                  <a:gd name="T15" fmla="*/ 20 h 38"/>
                  <a:gd name="T16" fmla="*/ 22 w 33"/>
                  <a:gd name="T17" fmla="*/ 20 h 38"/>
                  <a:gd name="T18" fmla="*/ 22 w 33"/>
                  <a:gd name="T19" fmla="*/ 22 h 38"/>
                  <a:gd name="T20" fmla="*/ 22 w 33"/>
                  <a:gd name="T21" fmla="*/ 22 h 38"/>
                  <a:gd name="T22" fmla="*/ 22 w 33"/>
                  <a:gd name="T23" fmla="*/ 23 h 38"/>
                  <a:gd name="T24" fmla="*/ 24 w 33"/>
                  <a:gd name="T25" fmla="*/ 23 h 38"/>
                  <a:gd name="T26" fmla="*/ 25 w 33"/>
                  <a:gd name="T27" fmla="*/ 23 h 38"/>
                  <a:gd name="T28" fmla="*/ 27 w 33"/>
                  <a:gd name="T29" fmla="*/ 23 h 38"/>
                  <a:gd name="T30" fmla="*/ 28 w 33"/>
                  <a:gd name="T31" fmla="*/ 22 h 38"/>
                  <a:gd name="T32" fmla="*/ 28 w 33"/>
                  <a:gd name="T33" fmla="*/ 20 h 38"/>
                  <a:gd name="T34" fmla="*/ 28 w 33"/>
                  <a:gd name="T35" fmla="*/ 19 h 38"/>
                  <a:gd name="T36" fmla="*/ 28 w 33"/>
                  <a:gd name="T37" fmla="*/ 17 h 38"/>
                  <a:gd name="T38" fmla="*/ 33 w 33"/>
                  <a:gd name="T39" fmla="*/ 16 h 38"/>
                  <a:gd name="T40" fmla="*/ 33 w 33"/>
                  <a:gd name="T41" fmla="*/ 13 h 38"/>
                  <a:gd name="T42" fmla="*/ 28 w 33"/>
                  <a:gd name="T43" fmla="*/ 12 h 38"/>
                  <a:gd name="T44" fmla="*/ 22 w 33"/>
                  <a:gd name="T45" fmla="*/ 9 h 38"/>
                  <a:gd name="T46" fmla="*/ 20 w 33"/>
                  <a:gd name="T47" fmla="*/ 7 h 38"/>
                  <a:gd name="T48" fmla="*/ 17 w 33"/>
                  <a:gd name="T49" fmla="*/ 5 h 38"/>
                  <a:gd name="T50" fmla="*/ 14 w 33"/>
                  <a:gd name="T51" fmla="*/ 3 h 38"/>
                  <a:gd name="T52" fmla="*/ 12 w 33"/>
                  <a:gd name="T53" fmla="*/ 0 h 38"/>
                  <a:gd name="T54" fmla="*/ 12 w 33"/>
                  <a:gd name="T55" fmla="*/ 0 h 38"/>
                  <a:gd name="T56" fmla="*/ 10 w 33"/>
                  <a:gd name="T57" fmla="*/ 0 h 38"/>
                  <a:gd name="T58" fmla="*/ 10 w 33"/>
                  <a:gd name="T59" fmla="*/ 0 h 38"/>
                  <a:gd name="T60" fmla="*/ 8 w 33"/>
                  <a:gd name="T61" fmla="*/ 2 h 38"/>
                  <a:gd name="T62" fmla="*/ 10 w 33"/>
                  <a:gd name="T63" fmla="*/ 2 h 38"/>
                  <a:gd name="T64" fmla="*/ 10 w 33"/>
                  <a:gd name="T65" fmla="*/ 3 h 38"/>
                  <a:gd name="T66" fmla="*/ 10 w 33"/>
                  <a:gd name="T67" fmla="*/ 5 h 38"/>
                  <a:gd name="T68" fmla="*/ 10 w 33"/>
                  <a:gd name="T69" fmla="*/ 5 h 38"/>
                  <a:gd name="T70" fmla="*/ 8 w 33"/>
                  <a:gd name="T71" fmla="*/ 5 h 38"/>
                  <a:gd name="T72" fmla="*/ 5 w 33"/>
                  <a:gd name="T73" fmla="*/ 5 h 38"/>
                  <a:gd name="T74" fmla="*/ 4 w 33"/>
                  <a:gd name="T75" fmla="*/ 7 h 38"/>
                  <a:gd name="T76" fmla="*/ 4 w 33"/>
                  <a:gd name="T77" fmla="*/ 7 h 38"/>
                  <a:gd name="T78" fmla="*/ 4 w 33"/>
                  <a:gd name="T79" fmla="*/ 10 h 38"/>
                  <a:gd name="T80" fmla="*/ 2 w 33"/>
                  <a:gd name="T81" fmla="*/ 12 h 38"/>
                  <a:gd name="T82" fmla="*/ 2 w 33"/>
                  <a:gd name="T83" fmla="*/ 12 h 38"/>
                  <a:gd name="T84" fmla="*/ 1 w 33"/>
                  <a:gd name="T85" fmla="*/ 12 h 38"/>
                  <a:gd name="T86" fmla="*/ 1 w 33"/>
                  <a:gd name="T87" fmla="*/ 12 h 38"/>
                  <a:gd name="T88" fmla="*/ 0 w 33"/>
                  <a:gd name="T89" fmla="*/ 13 h 38"/>
                  <a:gd name="T90" fmla="*/ 0 w 33"/>
                  <a:gd name="T91" fmla="*/ 16 h 38"/>
                  <a:gd name="T92" fmla="*/ 1 w 33"/>
                  <a:gd name="T93" fmla="*/ 17 h 38"/>
                  <a:gd name="T94" fmla="*/ 1 w 33"/>
                  <a:gd name="T95" fmla="*/ 20 h 38"/>
                  <a:gd name="T96" fmla="*/ 0 w 33"/>
                  <a:gd name="T97" fmla="*/ 22 h 38"/>
                  <a:gd name="T98" fmla="*/ 0 w 33"/>
                  <a:gd name="T99" fmla="*/ 23 h 38"/>
                  <a:gd name="T100" fmla="*/ 0 w 33"/>
                  <a:gd name="T101" fmla="*/ 23 h 38"/>
                  <a:gd name="T102" fmla="*/ 1 w 33"/>
                  <a:gd name="T103" fmla="*/ 25 h 38"/>
                  <a:gd name="T104" fmla="*/ 1 w 33"/>
                  <a:gd name="T105" fmla="*/ 25 h 38"/>
                  <a:gd name="T106" fmla="*/ 1 w 33"/>
                  <a:gd name="T107" fmla="*/ 25 h 38"/>
                  <a:gd name="T108" fmla="*/ 4 w 33"/>
                  <a:gd name="T109" fmla="*/ 25 h 38"/>
                  <a:gd name="T110" fmla="*/ 5 w 33"/>
                  <a:gd name="T111" fmla="*/ 26 h 38"/>
                  <a:gd name="T112" fmla="*/ 12 w 33"/>
                  <a:gd name="T113" fmla="*/ 35 h 38"/>
                  <a:gd name="T114" fmla="*/ 15 w 33"/>
                  <a:gd name="T115" fmla="*/ 38 h 38"/>
                  <a:gd name="T116" fmla="*/ 15 w 33"/>
                  <a:gd name="T117" fmla="*/ 36 h 38"/>
                  <a:gd name="T118" fmla="*/ 15 w 33"/>
                  <a:gd name="T119" fmla="*/ 3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 h="38">
                    <a:moveTo>
                      <a:pt x="15" y="32"/>
                    </a:moveTo>
                    <a:lnTo>
                      <a:pt x="15" y="30"/>
                    </a:lnTo>
                    <a:lnTo>
                      <a:pt x="15" y="29"/>
                    </a:lnTo>
                    <a:lnTo>
                      <a:pt x="17" y="28"/>
                    </a:lnTo>
                    <a:lnTo>
                      <a:pt x="20" y="23"/>
                    </a:lnTo>
                    <a:lnTo>
                      <a:pt x="21" y="22"/>
                    </a:lnTo>
                    <a:lnTo>
                      <a:pt x="21" y="20"/>
                    </a:lnTo>
                    <a:lnTo>
                      <a:pt x="22" y="20"/>
                    </a:lnTo>
                    <a:lnTo>
                      <a:pt x="22" y="20"/>
                    </a:lnTo>
                    <a:lnTo>
                      <a:pt x="22" y="22"/>
                    </a:lnTo>
                    <a:lnTo>
                      <a:pt x="22" y="22"/>
                    </a:lnTo>
                    <a:lnTo>
                      <a:pt x="22" y="23"/>
                    </a:lnTo>
                    <a:lnTo>
                      <a:pt x="24" y="23"/>
                    </a:lnTo>
                    <a:lnTo>
                      <a:pt x="25" y="23"/>
                    </a:lnTo>
                    <a:lnTo>
                      <a:pt x="27" y="23"/>
                    </a:lnTo>
                    <a:lnTo>
                      <a:pt x="28" y="22"/>
                    </a:lnTo>
                    <a:lnTo>
                      <a:pt x="28" y="20"/>
                    </a:lnTo>
                    <a:lnTo>
                      <a:pt x="28" y="19"/>
                    </a:lnTo>
                    <a:lnTo>
                      <a:pt x="28" y="17"/>
                    </a:lnTo>
                    <a:lnTo>
                      <a:pt x="33" y="16"/>
                    </a:lnTo>
                    <a:lnTo>
                      <a:pt x="33" y="13"/>
                    </a:lnTo>
                    <a:lnTo>
                      <a:pt x="28" y="12"/>
                    </a:lnTo>
                    <a:lnTo>
                      <a:pt x="22" y="9"/>
                    </a:lnTo>
                    <a:lnTo>
                      <a:pt x="20" y="7"/>
                    </a:lnTo>
                    <a:lnTo>
                      <a:pt x="17" y="5"/>
                    </a:lnTo>
                    <a:lnTo>
                      <a:pt x="14" y="3"/>
                    </a:lnTo>
                    <a:lnTo>
                      <a:pt x="12" y="0"/>
                    </a:lnTo>
                    <a:lnTo>
                      <a:pt x="12" y="0"/>
                    </a:lnTo>
                    <a:lnTo>
                      <a:pt x="10" y="0"/>
                    </a:lnTo>
                    <a:lnTo>
                      <a:pt x="10" y="0"/>
                    </a:lnTo>
                    <a:lnTo>
                      <a:pt x="8" y="2"/>
                    </a:lnTo>
                    <a:lnTo>
                      <a:pt x="10" y="2"/>
                    </a:lnTo>
                    <a:lnTo>
                      <a:pt x="10" y="3"/>
                    </a:lnTo>
                    <a:lnTo>
                      <a:pt x="10" y="5"/>
                    </a:lnTo>
                    <a:lnTo>
                      <a:pt x="10" y="5"/>
                    </a:lnTo>
                    <a:lnTo>
                      <a:pt x="8" y="5"/>
                    </a:lnTo>
                    <a:lnTo>
                      <a:pt x="5" y="5"/>
                    </a:lnTo>
                    <a:lnTo>
                      <a:pt x="4" y="7"/>
                    </a:lnTo>
                    <a:lnTo>
                      <a:pt x="4" y="7"/>
                    </a:lnTo>
                    <a:lnTo>
                      <a:pt x="4" y="10"/>
                    </a:lnTo>
                    <a:lnTo>
                      <a:pt x="2" y="12"/>
                    </a:lnTo>
                    <a:lnTo>
                      <a:pt x="2" y="12"/>
                    </a:lnTo>
                    <a:lnTo>
                      <a:pt x="1" y="12"/>
                    </a:lnTo>
                    <a:lnTo>
                      <a:pt x="1" y="12"/>
                    </a:lnTo>
                    <a:lnTo>
                      <a:pt x="0" y="13"/>
                    </a:lnTo>
                    <a:lnTo>
                      <a:pt x="0" y="16"/>
                    </a:lnTo>
                    <a:lnTo>
                      <a:pt x="1" y="17"/>
                    </a:lnTo>
                    <a:lnTo>
                      <a:pt x="1" y="20"/>
                    </a:lnTo>
                    <a:lnTo>
                      <a:pt x="0" y="22"/>
                    </a:lnTo>
                    <a:lnTo>
                      <a:pt x="0" y="23"/>
                    </a:lnTo>
                    <a:lnTo>
                      <a:pt x="0" y="23"/>
                    </a:lnTo>
                    <a:lnTo>
                      <a:pt x="1" y="25"/>
                    </a:lnTo>
                    <a:lnTo>
                      <a:pt x="1" y="25"/>
                    </a:lnTo>
                    <a:lnTo>
                      <a:pt x="1" y="25"/>
                    </a:lnTo>
                    <a:lnTo>
                      <a:pt x="4" y="25"/>
                    </a:lnTo>
                    <a:lnTo>
                      <a:pt x="5" y="26"/>
                    </a:lnTo>
                    <a:lnTo>
                      <a:pt x="12" y="35"/>
                    </a:lnTo>
                    <a:lnTo>
                      <a:pt x="15" y="38"/>
                    </a:lnTo>
                    <a:lnTo>
                      <a:pt x="15" y="36"/>
                    </a:lnTo>
                    <a:lnTo>
                      <a:pt x="15" y="3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58" name="Freeform 64">
                <a:extLst>
                  <a:ext uri="{FF2B5EF4-FFF2-40B4-BE49-F238E27FC236}">
                    <a16:creationId xmlns:a16="http://schemas.microsoft.com/office/drawing/2014/main" id="{FFC928CE-784B-9231-0289-9E2E38E15FB3}"/>
                  </a:ext>
                </a:extLst>
              </p:cNvPr>
              <p:cNvSpPr>
                <a:spLocks/>
              </p:cNvSpPr>
              <p:nvPr/>
            </p:nvSpPr>
            <p:spPr bwMode="auto">
              <a:xfrm>
                <a:off x="3830" y="1770"/>
                <a:ext cx="119" cy="68"/>
              </a:xfrm>
              <a:custGeom>
                <a:avLst/>
                <a:gdLst>
                  <a:gd name="T0" fmla="*/ 98 w 119"/>
                  <a:gd name="T1" fmla="*/ 3 h 68"/>
                  <a:gd name="T2" fmla="*/ 90 w 119"/>
                  <a:gd name="T3" fmla="*/ 2 h 68"/>
                  <a:gd name="T4" fmla="*/ 85 w 119"/>
                  <a:gd name="T5" fmla="*/ 2 h 68"/>
                  <a:gd name="T6" fmla="*/ 79 w 119"/>
                  <a:gd name="T7" fmla="*/ 2 h 68"/>
                  <a:gd name="T8" fmla="*/ 76 w 119"/>
                  <a:gd name="T9" fmla="*/ 6 h 68"/>
                  <a:gd name="T10" fmla="*/ 72 w 119"/>
                  <a:gd name="T11" fmla="*/ 9 h 68"/>
                  <a:gd name="T12" fmla="*/ 67 w 119"/>
                  <a:gd name="T13" fmla="*/ 10 h 68"/>
                  <a:gd name="T14" fmla="*/ 63 w 119"/>
                  <a:gd name="T15" fmla="*/ 9 h 68"/>
                  <a:gd name="T16" fmla="*/ 60 w 119"/>
                  <a:gd name="T17" fmla="*/ 10 h 68"/>
                  <a:gd name="T18" fmla="*/ 50 w 119"/>
                  <a:gd name="T19" fmla="*/ 13 h 68"/>
                  <a:gd name="T20" fmla="*/ 47 w 119"/>
                  <a:gd name="T21" fmla="*/ 18 h 68"/>
                  <a:gd name="T22" fmla="*/ 46 w 119"/>
                  <a:gd name="T23" fmla="*/ 19 h 68"/>
                  <a:gd name="T24" fmla="*/ 34 w 119"/>
                  <a:gd name="T25" fmla="*/ 21 h 68"/>
                  <a:gd name="T26" fmla="*/ 24 w 119"/>
                  <a:gd name="T27" fmla="*/ 16 h 68"/>
                  <a:gd name="T28" fmla="*/ 19 w 119"/>
                  <a:gd name="T29" fmla="*/ 16 h 68"/>
                  <a:gd name="T30" fmla="*/ 17 w 119"/>
                  <a:gd name="T31" fmla="*/ 22 h 68"/>
                  <a:gd name="T32" fmla="*/ 8 w 119"/>
                  <a:gd name="T33" fmla="*/ 21 h 68"/>
                  <a:gd name="T34" fmla="*/ 10 w 119"/>
                  <a:gd name="T35" fmla="*/ 25 h 68"/>
                  <a:gd name="T36" fmla="*/ 8 w 119"/>
                  <a:gd name="T37" fmla="*/ 29 h 68"/>
                  <a:gd name="T38" fmla="*/ 7 w 119"/>
                  <a:gd name="T39" fmla="*/ 32 h 68"/>
                  <a:gd name="T40" fmla="*/ 7 w 119"/>
                  <a:gd name="T41" fmla="*/ 36 h 68"/>
                  <a:gd name="T42" fmla="*/ 3 w 119"/>
                  <a:gd name="T43" fmla="*/ 41 h 68"/>
                  <a:gd name="T44" fmla="*/ 6 w 119"/>
                  <a:gd name="T45" fmla="*/ 44 h 68"/>
                  <a:gd name="T46" fmla="*/ 23 w 119"/>
                  <a:gd name="T47" fmla="*/ 61 h 68"/>
                  <a:gd name="T48" fmla="*/ 34 w 119"/>
                  <a:gd name="T49" fmla="*/ 67 h 68"/>
                  <a:gd name="T50" fmla="*/ 42 w 119"/>
                  <a:gd name="T51" fmla="*/ 67 h 68"/>
                  <a:gd name="T52" fmla="*/ 46 w 119"/>
                  <a:gd name="T53" fmla="*/ 64 h 68"/>
                  <a:gd name="T54" fmla="*/ 50 w 119"/>
                  <a:gd name="T55" fmla="*/ 62 h 68"/>
                  <a:gd name="T56" fmla="*/ 53 w 119"/>
                  <a:gd name="T57" fmla="*/ 62 h 68"/>
                  <a:gd name="T58" fmla="*/ 57 w 119"/>
                  <a:gd name="T59" fmla="*/ 61 h 68"/>
                  <a:gd name="T60" fmla="*/ 64 w 119"/>
                  <a:gd name="T61" fmla="*/ 58 h 68"/>
                  <a:gd name="T62" fmla="*/ 73 w 119"/>
                  <a:gd name="T63" fmla="*/ 59 h 68"/>
                  <a:gd name="T64" fmla="*/ 77 w 119"/>
                  <a:gd name="T65" fmla="*/ 58 h 68"/>
                  <a:gd name="T66" fmla="*/ 85 w 119"/>
                  <a:gd name="T67" fmla="*/ 55 h 68"/>
                  <a:gd name="T68" fmla="*/ 87 w 119"/>
                  <a:gd name="T69" fmla="*/ 55 h 68"/>
                  <a:gd name="T70" fmla="*/ 92 w 119"/>
                  <a:gd name="T71" fmla="*/ 51 h 68"/>
                  <a:gd name="T72" fmla="*/ 93 w 119"/>
                  <a:gd name="T73" fmla="*/ 46 h 68"/>
                  <a:gd name="T74" fmla="*/ 100 w 119"/>
                  <a:gd name="T75" fmla="*/ 35 h 68"/>
                  <a:gd name="T76" fmla="*/ 105 w 119"/>
                  <a:gd name="T77" fmla="*/ 26 h 68"/>
                  <a:gd name="T78" fmla="*/ 119 w 119"/>
                  <a:gd name="T79" fmla="*/ 16 h 68"/>
                  <a:gd name="T80" fmla="*/ 113 w 119"/>
                  <a:gd name="T81" fmla="*/ 10 h 68"/>
                  <a:gd name="T82" fmla="*/ 109 w 119"/>
                  <a:gd name="T83" fmla="*/ 5 h 68"/>
                  <a:gd name="T84" fmla="*/ 102 w 119"/>
                  <a:gd name="T85" fmla="*/ 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 h="68">
                    <a:moveTo>
                      <a:pt x="102" y="6"/>
                    </a:moveTo>
                    <a:lnTo>
                      <a:pt x="99" y="5"/>
                    </a:lnTo>
                    <a:lnTo>
                      <a:pt x="98" y="3"/>
                    </a:lnTo>
                    <a:lnTo>
                      <a:pt x="95" y="2"/>
                    </a:lnTo>
                    <a:lnTo>
                      <a:pt x="93" y="2"/>
                    </a:lnTo>
                    <a:lnTo>
                      <a:pt x="90" y="2"/>
                    </a:lnTo>
                    <a:lnTo>
                      <a:pt x="87" y="2"/>
                    </a:lnTo>
                    <a:lnTo>
                      <a:pt x="86" y="2"/>
                    </a:lnTo>
                    <a:lnTo>
                      <a:pt x="85" y="2"/>
                    </a:lnTo>
                    <a:lnTo>
                      <a:pt x="82" y="0"/>
                    </a:lnTo>
                    <a:lnTo>
                      <a:pt x="80" y="0"/>
                    </a:lnTo>
                    <a:lnTo>
                      <a:pt x="79" y="2"/>
                    </a:lnTo>
                    <a:lnTo>
                      <a:pt x="77" y="2"/>
                    </a:lnTo>
                    <a:lnTo>
                      <a:pt x="77" y="3"/>
                    </a:lnTo>
                    <a:lnTo>
                      <a:pt x="76" y="6"/>
                    </a:lnTo>
                    <a:lnTo>
                      <a:pt x="75" y="8"/>
                    </a:lnTo>
                    <a:lnTo>
                      <a:pt x="73" y="8"/>
                    </a:lnTo>
                    <a:lnTo>
                      <a:pt x="72" y="9"/>
                    </a:lnTo>
                    <a:lnTo>
                      <a:pt x="70" y="10"/>
                    </a:lnTo>
                    <a:lnTo>
                      <a:pt x="69" y="10"/>
                    </a:lnTo>
                    <a:lnTo>
                      <a:pt x="67" y="10"/>
                    </a:lnTo>
                    <a:lnTo>
                      <a:pt x="66" y="10"/>
                    </a:lnTo>
                    <a:lnTo>
                      <a:pt x="64" y="10"/>
                    </a:lnTo>
                    <a:lnTo>
                      <a:pt x="63" y="9"/>
                    </a:lnTo>
                    <a:lnTo>
                      <a:pt x="62" y="10"/>
                    </a:lnTo>
                    <a:lnTo>
                      <a:pt x="62" y="10"/>
                    </a:lnTo>
                    <a:lnTo>
                      <a:pt x="60" y="10"/>
                    </a:lnTo>
                    <a:lnTo>
                      <a:pt x="59" y="12"/>
                    </a:lnTo>
                    <a:lnTo>
                      <a:pt x="57" y="12"/>
                    </a:lnTo>
                    <a:lnTo>
                      <a:pt x="50" y="13"/>
                    </a:lnTo>
                    <a:lnTo>
                      <a:pt x="49" y="15"/>
                    </a:lnTo>
                    <a:lnTo>
                      <a:pt x="47" y="16"/>
                    </a:lnTo>
                    <a:lnTo>
                      <a:pt x="47" y="18"/>
                    </a:lnTo>
                    <a:lnTo>
                      <a:pt x="47" y="18"/>
                    </a:lnTo>
                    <a:lnTo>
                      <a:pt x="47" y="19"/>
                    </a:lnTo>
                    <a:lnTo>
                      <a:pt x="46" y="19"/>
                    </a:lnTo>
                    <a:lnTo>
                      <a:pt x="43" y="21"/>
                    </a:lnTo>
                    <a:lnTo>
                      <a:pt x="39" y="21"/>
                    </a:lnTo>
                    <a:lnTo>
                      <a:pt x="34" y="21"/>
                    </a:lnTo>
                    <a:lnTo>
                      <a:pt x="30" y="21"/>
                    </a:lnTo>
                    <a:lnTo>
                      <a:pt x="27" y="19"/>
                    </a:lnTo>
                    <a:lnTo>
                      <a:pt x="24" y="16"/>
                    </a:lnTo>
                    <a:lnTo>
                      <a:pt x="21" y="15"/>
                    </a:lnTo>
                    <a:lnTo>
                      <a:pt x="19" y="15"/>
                    </a:lnTo>
                    <a:lnTo>
                      <a:pt x="19" y="16"/>
                    </a:lnTo>
                    <a:lnTo>
                      <a:pt x="17" y="18"/>
                    </a:lnTo>
                    <a:lnTo>
                      <a:pt x="17" y="19"/>
                    </a:lnTo>
                    <a:lnTo>
                      <a:pt x="17" y="22"/>
                    </a:lnTo>
                    <a:lnTo>
                      <a:pt x="16" y="22"/>
                    </a:lnTo>
                    <a:lnTo>
                      <a:pt x="11" y="22"/>
                    </a:lnTo>
                    <a:lnTo>
                      <a:pt x="8" y="21"/>
                    </a:lnTo>
                    <a:lnTo>
                      <a:pt x="7" y="21"/>
                    </a:lnTo>
                    <a:lnTo>
                      <a:pt x="6" y="22"/>
                    </a:lnTo>
                    <a:lnTo>
                      <a:pt x="10" y="25"/>
                    </a:lnTo>
                    <a:lnTo>
                      <a:pt x="10" y="26"/>
                    </a:lnTo>
                    <a:lnTo>
                      <a:pt x="10" y="28"/>
                    </a:lnTo>
                    <a:lnTo>
                      <a:pt x="8" y="29"/>
                    </a:lnTo>
                    <a:lnTo>
                      <a:pt x="7" y="29"/>
                    </a:lnTo>
                    <a:lnTo>
                      <a:pt x="7" y="31"/>
                    </a:lnTo>
                    <a:lnTo>
                      <a:pt x="7" y="32"/>
                    </a:lnTo>
                    <a:lnTo>
                      <a:pt x="7" y="33"/>
                    </a:lnTo>
                    <a:lnTo>
                      <a:pt x="7" y="35"/>
                    </a:lnTo>
                    <a:lnTo>
                      <a:pt x="7" y="36"/>
                    </a:lnTo>
                    <a:lnTo>
                      <a:pt x="7" y="38"/>
                    </a:lnTo>
                    <a:lnTo>
                      <a:pt x="6" y="38"/>
                    </a:lnTo>
                    <a:lnTo>
                      <a:pt x="3" y="41"/>
                    </a:lnTo>
                    <a:lnTo>
                      <a:pt x="0" y="42"/>
                    </a:lnTo>
                    <a:lnTo>
                      <a:pt x="3" y="42"/>
                    </a:lnTo>
                    <a:lnTo>
                      <a:pt x="6" y="44"/>
                    </a:lnTo>
                    <a:lnTo>
                      <a:pt x="8" y="49"/>
                    </a:lnTo>
                    <a:lnTo>
                      <a:pt x="13" y="54"/>
                    </a:lnTo>
                    <a:lnTo>
                      <a:pt x="23" y="61"/>
                    </a:lnTo>
                    <a:lnTo>
                      <a:pt x="29" y="65"/>
                    </a:lnTo>
                    <a:lnTo>
                      <a:pt x="31" y="67"/>
                    </a:lnTo>
                    <a:lnTo>
                      <a:pt x="34" y="67"/>
                    </a:lnTo>
                    <a:lnTo>
                      <a:pt x="37" y="68"/>
                    </a:lnTo>
                    <a:lnTo>
                      <a:pt x="40" y="67"/>
                    </a:lnTo>
                    <a:lnTo>
                      <a:pt x="42" y="67"/>
                    </a:lnTo>
                    <a:lnTo>
                      <a:pt x="43" y="65"/>
                    </a:lnTo>
                    <a:lnTo>
                      <a:pt x="44" y="65"/>
                    </a:lnTo>
                    <a:lnTo>
                      <a:pt x="46" y="64"/>
                    </a:lnTo>
                    <a:lnTo>
                      <a:pt x="46" y="64"/>
                    </a:lnTo>
                    <a:lnTo>
                      <a:pt x="49" y="64"/>
                    </a:lnTo>
                    <a:lnTo>
                      <a:pt x="50" y="62"/>
                    </a:lnTo>
                    <a:lnTo>
                      <a:pt x="52" y="62"/>
                    </a:lnTo>
                    <a:lnTo>
                      <a:pt x="53" y="62"/>
                    </a:lnTo>
                    <a:lnTo>
                      <a:pt x="53" y="62"/>
                    </a:lnTo>
                    <a:lnTo>
                      <a:pt x="54" y="62"/>
                    </a:lnTo>
                    <a:lnTo>
                      <a:pt x="54" y="62"/>
                    </a:lnTo>
                    <a:lnTo>
                      <a:pt x="57" y="61"/>
                    </a:lnTo>
                    <a:lnTo>
                      <a:pt x="62" y="59"/>
                    </a:lnTo>
                    <a:lnTo>
                      <a:pt x="63" y="58"/>
                    </a:lnTo>
                    <a:lnTo>
                      <a:pt x="64" y="58"/>
                    </a:lnTo>
                    <a:lnTo>
                      <a:pt x="70" y="58"/>
                    </a:lnTo>
                    <a:lnTo>
                      <a:pt x="72" y="58"/>
                    </a:lnTo>
                    <a:lnTo>
                      <a:pt x="73" y="59"/>
                    </a:lnTo>
                    <a:lnTo>
                      <a:pt x="75" y="58"/>
                    </a:lnTo>
                    <a:lnTo>
                      <a:pt x="76" y="58"/>
                    </a:lnTo>
                    <a:lnTo>
                      <a:pt x="77" y="58"/>
                    </a:lnTo>
                    <a:lnTo>
                      <a:pt x="79" y="58"/>
                    </a:lnTo>
                    <a:lnTo>
                      <a:pt x="82" y="56"/>
                    </a:lnTo>
                    <a:lnTo>
                      <a:pt x="85" y="55"/>
                    </a:lnTo>
                    <a:lnTo>
                      <a:pt x="86" y="55"/>
                    </a:lnTo>
                    <a:lnTo>
                      <a:pt x="87" y="55"/>
                    </a:lnTo>
                    <a:lnTo>
                      <a:pt x="87" y="55"/>
                    </a:lnTo>
                    <a:lnTo>
                      <a:pt x="89" y="55"/>
                    </a:lnTo>
                    <a:lnTo>
                      <a:pt x="90" y="54"/>
                    </a:lnTo>
                    <a:lnTo>
                      <a:pt x="92" y="51"/>
                    </a:lnTo>
                    <a:lnTo>
                      <a:pt x="92" y="49"/>
                    </a:lnTo>
                    <a:lnTo>
                      <a:pt x="92" y="48"/>
                    </a:lnTo>
                    <a:lnTo>
                      <a:pt x="93" y="46"/>
                    </a:lnTo>
                    <a:lnTo>
                      <a:pt x="96" y="44"/>
                    </a:lnTo>
                    <a:lnTo>
                      <a:pt x="98" y="39"/>
                    </a:lnTo>
                    <a:lnTo>
                      <a:pt x="100" y="35"/>
                    </a:lnTo>
                    <a:lnTo>
                      <a:pt x="102" y="32"/>
                    </a:lnTo>
                    <a:lnTo>
                      <a:pt x="103" y="28"/>
                    </a:lnTo>
                    <a:lnTo>
                      <a:pt x="105" y="26"/>
                    </a:lnTo>
                    <a:lnTo>
                      <a:pt x="108" y="22"/>
                    </a:lnTo>
                    <a:lnTo>
                      <a:pt x="116" y="19"/>
                    </a:lnTo>
                    <a:lnTo>
                      <a:pt x="119" y="16"/>
                    </a:lnTo>
                    <a:lnTo>
                      <a:pt x="119" y="13"/>
                    </a:lnTo>
                    <a:lnTo>
                      <a:pt x="118" y="12"/>
                    </a:lnTo>
                    <a:lnTo>
                      <a:pt x="113" y="10"/>
                    </a:lnTo>
                    <a:lnTo>
                      <a:pt x="112" y="9"/>
                    </a:lnTo>
                    <a:lnTo>
                      <a:pt x="110" y="6"/>
                    </a:lnTo>
                    <a:lnTo>
                      <a:pt x="109" y="5"/>
                    </a:lnTo>
                    <a:lnTo>
                      <a:pt x="106" y="5"/>
                    </a:lnTo>
                    <a:lnTo>
                      <a:pt x="103" y="6"/>
                    </a:lnTo>
                    <a:lnTo>
                      <a:pt x="102" y="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59" name="Freeform 65">
                <a:extLst>
                  <a:ext uri="{FF2B5EF4-FFF2-40B4-BE49-F238E27FC236}">
                    <a16:creationId xmlns:a16="http://schemas.microsoft.com/office/drawing/2014/main" id="{B26F8150-E39B-8B0A-15E3-223F53779892}"/>
                  </a:ext>
                </a:extLst>
              </p:cNvPr>
              <p:cNvSpPr>
                <a:spLocks/>
              </p:cNvSpPr>
              <p:nvPr/>
            </p:nvSpPr>
            <p:spPr bwMode="auto">
              <a:xfrm>
                <a:off x="3844" y="1746"/>
                <a:ext cx="99" cy="45"/>
              </a:xfrm>
              <a:custGeom>
                <a:avLst/>
                <a:gdLst>
                  <a:gd name="T0" fmla="*/ 81 w 99"/>
                  <a:gd name="T1" fmla="*/ 3 h 45"/>
                  <a:gd name="T2" fmla="*/ 73 w 99"/>
                  <a:gd name="T3" fmla="*/ 4 h 45"/>
                  <a:gd name="T4" fmla="*/ 72 w 99"/>
                  <a:gd name="T5" fmla="*/ 6 h 45"/>
                  <a:gd name="T6" fmla="*/ 69 w 99"/>
                  <a:gd name="T7" fmla="*/ 6 h 45"/>
                  <a:gd name="T8" fmla="*/ 63 w 99"/>
                  <a:gd name="T9" fmla="*/ 4 h 45"/>
                  <a:gd name="T10" fmla="*/ 59 w 99"/>
                  <a:gd name="T11" fmla="*/ 6 h 45"/>
                  <a:gd name="T12" fmla="*/ 56 w 99"/>
                  <a:gd name="T13" fmla="*/ 9 h 45"/>
                  <a:gd name="T14" fmla="*/ 53 w 99"/>
                  <a:gd name="T15" fmla="*/ 9 h 45"/>
                  <a:gd name="T16" fmla="*/ 52 w 99"/>
                  <a:gd name="T17" fmla="*/ 9 h 45"/>
                  <a:gd name="T18" fmla="*/ 52 w 99"/>
                  <a:gd name="T19" fmla="*/ 9 h 45"/>
                  <a:gd name="T20" fmla="*/ 52 w 99"/>
                  <a:gd name="T21" fmla="*/ 7 h 45"/>
                  <a:gd name="T22" fmla="*/ 50 w 99"/>
                  <a:gd name="T23" fmla="*/ 4 h 45"/>
                  <a:gd name="T24" fmla="*/ 49 w 99"/>
                  <a:gd name="T25" fmla="*/ 3 h 45"/>
                  <a:gd name="T26" fmla="*/ 46 w 99"/>
                  <a:gd name="T27" fmla="*/ 1 h 45"/>
                  <a:gd name="T28" fmla="*/ 45 w 99"/>
                  <a:gd name="T29" fmla="*/ 0 h 45"/>
                  <a:gd name="T30" fmla="*/ 40 w 99"/>
                  <a:gd name="T31" fmla="*/ 1 h 45"/>
                  <a:gd name="T32" fmla="*/ 39 w 99"/>
                  <a:gd name="T33" fmla="*/ 4 h 45"/>
                  <a:gd name="T34" fmla="*/ 38 w 99"/>
                  <a:gd name="T35" fmla="*/ 3 h 45"/>
                  <a:gd name="T36" fmla="*/ 36 w 99"/>
                  <a:gd name="T37" fmla="*/ 1 h 45"/>
                  <a:gd name="T38" fmla="*/ 30 w 99"/>
                  <a:gd name="T39" fmla="*/ 3 h 45"/>
                  <a:gd name="T40" fmla="*/ 23 w 99"/>
                  <a:gd name="T41" fmla="*/ 7 h 45"/>
                  <a:gd name="T42" fmla="*/ 22 w 99"/>
                  <a:gd name="T43" fmla="*/ 9 h 45"/>
                  <a:gd name="T44" fmla="*/ 22 w 99"/>
                  <a:gd name="T45" fmla="*/ 13 h 45"/>
                  <a:gd name="T46" fmla="*/ 17 w 99"/>
                  <a:gd name="T47" fmla="*/ 16 h 45"/>
                  <a:gd name="T48" fmla="*/ 12 w 99"/>
                  <a:gd name="T49" fmla="*/ 19 h 45"/>
                  <a:gd name="T50" fmla="*/ 7 w 99"/>
                  <a:gd name="T51" fmla="*/ 17 h 45"/>
                  <a:gd name="T52" fmla="*/ 5 w 99"/>
                  <a:gd name="T53" fmla="*/ 19 h 45"/>
                  <a:gd name="T54" fmla="*/ 2 w 99"/>
                  <a:gd name="T55" fmla="*/ 22 h 45"/>
                  <a:gd name="T56" fmla="*/ 0 w 99"/>
                  <a:gd name="T57" fmla="*/ 27 h 45"/>
                  <a:gd name="T58" fmla="*/ 0 w 99"/>
                  <a:gd name="T59" fmla="*/ 30 h 45"/>
                  <a:gd name="T60" fmla="*/ 2 w 99"/>
                  <a:gd name="T61" fmla="*/ 34 h 45"/>
                  <a:gd name="T62" fmla="*/ 5 w 99"/>
                  <a:gd name="T63" fmla="*/ 39 h 45"/>
                  <a:gd name="T64" fmla="*/ 10 w 99"/>
                  <a:gd name="T65" fmla="*/ 40 h 45"/>
                  <a:gd name="T66" fmla="*/ 16 w 99"/>
                  <a:gd name="T67" fmla="*/ 45 h 45"/>
                  <a:gd name="T68" fmla="*/ 25 w 99"/>
                  <a:gd name="T69" fmla="*/ 45 h 45"/>
                  <a:gd name="T70" fmla="*/ 32 w 99"/>
                  <a:gd name="T71" fmla="*/ 43 h 45"/>
                  <a:gd name="T72" fmla="*/ 33 w 99"/>
                  <a:gd name="T73" fmla="*/ 42 h 45"/>
                  <a:gd name="T74" fmla="*/ 33 w 99"/>
                  <a:gd name="T75" fmla="*/ 40 h 45"/>
                  <a:gd name="T76" fmla="*/ 36 w 99"/>
                  <a:gd name="T77" fmla="*/ 37 h 45"/>
                  <a:gd name="T78" fmla="*/ 45 w 99"/>
                  <a:gd name="T79" fmla="*/ 36 h 45"/>
                  <a:gd name="T80" fmla="*/ 48 w 99"/>
                  <a:gd name="T81" fmla="*/ 34 h 45"/>
                  <a:gd name="T82" fmla="*/ 49 w 99"/>
                  <a:gd name="T83" fmla="*/ 33 h 45"/>
                  <a:gd name="T84" fmla="*/ 52 w 99"/>
                  <a:gd name="T85" fmla="*/ 34 h 45"/>
                  <a:gd name="T86" fmla="*/ 55 w 99"/>
                  <a:gd name="T87" fmla="*/ 34 h 45"/>
                  <a:gd name="T88" fmla="*/ 58 w 99"/>
                  <a:gd name="T89" fmla="*/ 33 h 45"/>
                  <a:gd name="T90" fmla="*/ 61 w 99"/>
                  <a:gd name="T91" fmla="*/ 32 h 45"/>
                  <a:gd name="T92" fmla="*/ 63 w 99"/>
                  <a:gd name="T93" fmla="*/ 27 h 45"/>
                  <a:gd name="T94" fmla="*/ 65 w 99"/>
                  <a:gd name="T95" fmla="*/ 26 h 45"/>
                  <a:gd name="T96" fmla="*/ 68 w 99"/>
                  <a:gd name="T97" fmla="*/ 24 h 45"/>
                  <a:gd name="T98" fmla="*/ 72 w 99"/>
                  <a:gd name="T99" fmla="*/ 26 h 45"/>
                  <a:gd name="T100" fmla="*/ 76 w 99"/>
                  <a:gd name="T101" fmla="*/ 26 h 45"/>
                  <a:gd name="T102" fmla="*/ 81 w 99"/>
                  <a:gd name="T103" fmla="*/ 26 h 45"/>
                  <a:gd name="T104" fmla="*/ 85 w 99"/>
                  <a:gd name="T105" fmla="*/ 29 h 45"/>
                  <a:gd name="T106" fmla="*/ 89 w 99"/>
                  <a:gd name="T107" fmla="*/ 30 h 45"/>
                  <a:gd name="T108" fmla="*/ 94 w 99"/>
                  <a:gd name="T109" fmla="*/ 24 h 45"/>
                  <a:gd name="T110" fmla="*/ 99 w 99"/>
                  <a:gd name="T111" fmla="*/ 11 h 45"/>
                  <a:gd name="T112" fmla="*/ 88 w 99"/>
                  <a:gd name="T113" fmla="*/ 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9" h="45">
                    <a:moveTo>
                      <a:pt x="88" y="6"/>
                    </a:moveTo>
                    <a:lnTo>
                      <a:pt x="81" y="3"/>
                    </a:lnTo>
                    <a:lnTo>
                      <a:pt x="73" y="3"/>
                    </a:lnTo>
                    <a:lnTo>
                      <a:pt x="73" y="4"/>
                    </a:lnTo>
                    <a:lnTo>
                      <a:pt x="72" y="4"/>
                    </a:lnTo>
                    <a:lnTo>
                      <a:pt x="72" y="6"/>
                    </a:lnTo>
                    <a:lnTo>
                      <a:pt x="69" y="6"/>
                    </a:lnTo>
                    <a:lnTo>
                      <a:pt x="69" y="6"/>
                    </a:lnTo>
                    <a:lnTo>
                      <a:pt x="66" y="4"/>
                    </a:lnTo>
                    <a:lnTo>
                      <a:pt x="63" y="4"/>
                    </a:lnTo>
                    <a:lnTo>
                      <a:pt x="62" y="4"/>
                    </a:lnTo>
                    <a:lnTo>
                      <a:pt x="59" y="6"/>
                    </a:lnTo>
                    <a:lnTo>
                      <a:pt x="58" y="7"/>
                    </a:lnTo>
                    <a:lnTo>
                      <a:pt x="56" y="9"/>
                    </a:lnTo>
                    <a:lnTo>
                      <a:pt x="55" y="9"/>
                    </a:lnTo>
                    <a:lnTo>
                      <a:pt x="53" y="9"/>
                    </a:lnTo>
                    <a:lnTo>
                      <a:pt x="52" y="9"/>
                    </a:lnTo>
                    <a:lnTo>
                      <a:pt x="52" y="9"/>
                    </a:lnTo>
                    <a:lnTo>
                      <a:pt x="52" y="9"/>
                    </a:lnTo>
                    <a:lnTo>
                      <a:pt x="52" y="9"/>
                    </a:lnTo>
                    <a:lnTo>
                      <a:pt x="52" y="7"/>
                    </a:lnTo>
                    <a:lnTo>
                      <a:pt x="52" y="7"/>
                    </a:lnTo>
                    <a:lnTo>
                      <a:pt x="50" y="6"/>
                    </a:lnTo>
                    <a:lnTo>
                      <a:pt x="50" y="4"/>
                    </a:lnTo>
                    <a:lnTo>
                      <a:pt x="50" y="4"/>
                    </a:lnTo>
                    <a:lnTo>
                      <a:pt x="49" y="3"/>
                    </a:lnTo>
                    <a:lnTo>
                      <a:pt x="48" y="3"/>
                    </a:lnTo>
                    <a:lnTo>
                      <a:pt x="46" y="1"/>
                    </a:lnTo>
                    <a:lnTo>
                      <a:pt x="46" y="0"/>
                    </a:lnTo>
                    <a:lnTo>
                      <a:pt x="45" y="0"/>
                    </a:lnTo>
                    <a:lnTo>
                      <a:pt x="42" y="1"/>
                    </a:lnTo>
                    <a:lnTo>
                      <a:pt x="40" y="1"/>
                    </a:lnTo>
                    <a:lnTo>
                      <a:pt x="40" y="3"/>
                    </a:lnTo>
                    <a:lnTo>
                      <a:pt x="39" y="4"/>
                    </a:lnTo>
                    <a:lnTo>
                      <a:pt x="38" y="4"/>
                    </a:lnTo>
                    <a:lnTo>
                      <a:pt x="38" y="3"/>
                    </a:lnTo>
                    <a:lnTo>
                      <a:pt x="36" y="3"/>
                    </a:lnTo>
                    <a:lnTo>
                      <a:pt x="36" y="1"/>
                    </a:lnTo>
                    <a:lnTo>
                      <a:pt x="35" y="1"/>
                    </a:lnTo>
                    <a:lnTo>
                      <a:pt x="30" y="3"/>
                    </a:lnTo>
                    <a:lnTo>
                      <a:pt x="29" y="3"/>
                    </a:lnTo>
                    <a:lnTo>
                      <a:pt x="23" y="7"/>
                    </a:lnTo>
                    <a:lnTo>
                      <a:pt x="22" y="9"/>
                    </a:lnTo>
                    <a:lnTo>
                      <a:pt x="22" y="9"/>
                    </a:lnTo>
                    <a:lnTo>
                      <a:pt x="22" y="11"/>
                    </a:lnTo>
                    <a:lnTo>
                      <a:pt x="22" y="13"/>
                    </a:lnTo>
                    <a:lnTo>
                      <a:pt x="19" y="14"/>
                    </a:lnTo>
                    <a:lnTo>
                      <a:pt x="17" y="16"/>
                    </a:lnTo>
                    <a:lnTo>
                      <a:pt x="15" y="17"/>
                    </a:lnTo>
                    <a:lnTo>
                      <a:pt x="12" y="19"/>
                    </a:lnTo>
                    <a:lnTo>
                      <a:pt x="10" y="19"/>
                    </a:lnTo>
                    <a:lnTo>
                      <a:pt x="7" y="17"/>
                    </a:lnTo>
                    <a:lnTo>
                      <a:pt x="6" y="17"/>
                    </a:lnTo>
                    <a:lnTo>
                      <a:pt x="5" y="19"/>
                    </a:lnTo>
                    <a:lnTo>
                      <a:pt x="3" y="20"/>
                    </a:lnTo>
                    <a:lnTo>
                      <a:pt x="2" y="22"/>
                    </a:lnTo>
                    <a:lnTo>
                      <a:pt x="2" y="24"/>
                    </a:lnTo>
                    <a:lnTo>
                      <a:pt x="0" y="27"/>
                    </a:lnTo>
                    <a:lnTo>
                      <a:pt x="0" y="29"/>
                    </a:lnTo>
                    <a:lnTo>
                      <a:pt x="0" y="30"/>
                    </a:lnTo>
                    <a:lnTo>
                      <a:pt x="2" y="32"/>
                    </a:lnTo>
                    <a:lnTo>
                      <a:pt x="2" y="34"/>
                    </a:lnTo>
                    <a:lnTo>
                      <a:pt x="3" y="37"/>
                    </a:lnTo>
                    <a:lnTo>
                      <a:pt x="5" y="39"/>
                    </a:lnTo>
                    <a:lnTo>
                      <a:pt x="7" y="39"/>
                    </a:lnTo>
                    <a:lnTo>
                      <a:pt x="10" y="40"/>
                    </a:lnTo>
                    <a:lnTo>
                      <a:pt x="13" y="43"/>
                    </a:lnTo>
                    <a:lnTo>
                      <a:pt x="16" y="45"/>
                    </a:lnTo>
                    <a:lnTo>
                      <a:pt x="20" y="45"/>
                    </a:lnTo>
                    <a:lnTo>
                      <a:pt x="25" y="45"/>
                    </a:lnTo>
                    <a:lnTo>
                      <a:pt x="29" y="45"/>
                    </a:lnTo>
                    <a:lnTo>
                      <a:pt x="32" y="43"/>
                    </a:lnTo>
                    <a:lnTo>
                      <a:pt x="33" y="43"/>
                    </a:lnTo>
                    <a:lnTo>
                      <a:pt x="33" y="42"/>
                    </a:lnTo>
                    <a:lnTo>
                      <a:pt x="33" y="42"/>
                    </a:lnTo>
                    <a:lnTo>
                      <a:pt x="33" y="40"/>
                    </a:lnTo>
                    <a:lnTo>
                      <a:pt x="35" y="39"/>
                    </a:lnTo>
                    <a:lnTo>
                      <a:pt x="36" y="37"/>
                    </a:lnTo>
                    <a:lnTo>
                      <a:pt x="43" y="36"/>
                    </a:lnTo>
                    <a:lnTo>
                      <a:pt x="45" y="36"/>
                    </a:lnTo>
                    <a:lnTo>
                      <a:pt x="46" y="34"/>
                    </a:lnTo>
                    <a:lnTo>
                      <a:pt x="48" y="34"/>
                    </a:lnTo>
                    <a:lnTo>
                      <a:pt x="48" y="34"/>
                    </a:lnTo>
                    <a:lnTo>
                      <a:pt x="49" y="33"/>
                    </a:lnTo>
                    <a:lnTo>
                      <a:pt x="50" y="34"/>
                    </a:lnTo>
                    <a:lnTo>
                      <a:pt x="52" y="34"/>
                    </a:lnTo>
                    <a:lnTo>
                      <a:pt x="53" y="34"/>
                    </a:lnTo>
                    <a:lnTo>
                      <a:pt x="55" y="34"/>
                    </a:lnTo>
                    <a:lnTo>
                      <a:pt x="56" y="34"/>
                    </a:lnTo>
                    <a:lnTo>
                      <a:pt x="58" y="33"/>
                    </a:lnTo>
                    <a:lnTo>
                      <a:pt x="59" y="32"/>
                    </a:lnTo>
                    <a:lnTo>
                      <a:pt x="61" y="32"/>
                    </a:lnTo>
                    <a:lnTo>
                      <a:pt x="62" y="30"/>
                    </a:lnTo>
                    <a:lnTo>
                      <a:pt x="63" y="27"/>
                    </a:lnTo>
                    <a:lnTo>
                      <a:pt x="63" y="26"/>
                    </a:lnTo>
                    <a:lnTo>
                      <a:pt x="65" y="26"/>
                    </a:lnTo>
                    <a:lnTo>
                      <a:pt x="66" y="24"/>
                    </a:lnTo>
                    <a:lnTo>
                      <a:pt x="68" y="24"/>
                    </a:lnTo>
                    <a:lnTo>
                      <a:pt x="71" y="26"/>
                    </a:lnTo>
                    <a:lnTo>
                      <a:pt x="72" y="26"/>
                    </a:lnTo>
                    <a:lnTo>
                      <a:pt x="73" y="26"/>
                    </a:lnTo>
                    <a:lnTo>
                      <a:pt x="76" y="26"/>
                    </a:lnTo>
                    <a:lnTo>
                      <a:pt x="79" y="26"/>
                    </a:lnTo>
                    <a:lnTo>
                      <a:pt x="81" y="26"/>
                    </a:lnTo>
                    <a:lnTo>
                      <a:pt x="84" y="27"/>
                    </a:lnTo>
                    <a:lnTo>
                      <a:pt x="85" y="29"/>
                    </a:lnTo>
                    <a:lnTo>
                      <a:pt x="88" y="30"/>
                    </a:lnTo>
                    <a:lnTo>
                      <a:pt x="89" y="30"/>
                    </a:lnTo>
                    <a:lnTo>
                      <a:pt x="92" y="29"/>
                    </a:lnTo>
                    <a:lnTo>
                      <a:pt x="94" y="24"/>
                    </a:lnTo>
                    <a:lnTo>
                      <a:pt x="98" y="16"/>
                    </a:lnTo>
                    <a:lnTo>
                      <a:pt x="99" y="11"/>
                    </a:lnTo>
                    <a:lnTo>
                      <a:pt x="94" y="10"/>
                    </a:lnTo>
                    <a:lnTo>
                      <a:pt x="88" y="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60" name="Freeform 66">
                <a:extLst>
                  <a:ext uri="{FF2B5EF4-FFF2-40B4-BE49-F238E27FC236}">
                    <a16:creationId xmlns:a16="http://schemas.microsoft.com/office/drawing/2014/main" id="{A298A2B6-8386-0D83-D451-FD87E86123E2}"/>
                  </a:ext>
                </a:extLst>
              </p:cNvPr>
              <p:cNvSpPr>
                <a:spLocks/>
              </p:cNvSpPr>
              <p:nvPr/>
            </p:nvSpPr>
            <p:spPr bwMode="auto">
              <a:xfrm>
                <a:off x="3591" y="1696"/>
                <a:ext cx="68" cy="50"/>
              </a:xfrm>
              <a:custGeom>
                <a:avLst/>
                <a:gdLst>
                  <a:gd name="T0" fmla="*/ 2 w 68"/>
                  <a:gd name="T1" fmla="*/ 15 h 50"/>
                  <a:gd name="T2" fmla="*/ 6 w 68"/>
                  <a:gd name="T3" fmla="*/ 18 h 50"/>
                  <a:gd name="T4" fmla="*/ 9 w 68"/>
                  <a:gd name="T5" fmla="*/ 18 h 50"/>
                  <a:gd name="T6" fmla="*/ 13 w 68"/>
                  <a:gd name="T7" fmla="*/ 20 h 50"/>
                  <a:gd name="T8" fmla="*/ 15 w 68"/>
                  <a:gd name="T9" fmla="*/ 26 h 50"/>
                  <a:gd name="T10" fmla="*/ 19 w 68"/>
                  <a:gd name="T11" fmla="*/ 26 h 50"/>
                  <a:gd name="T12" fmla="*/ 21 w 68"/>
                  <a:gd name="T13" fmla="*/ 27 h 50"/>
                  <a:gd name="T14" fmla="*/ 22 w 68"/>
                  <a:gd name="T15" fmla="*/ 30 h 50"/>
                  <a:gd name="T16" fmla="*/ 23 w 68"/>
                  <a:gd name="T17" fmla="*/ 30 h 50"/>
                  <a:gd name="T18" fmla="*/ 28 w 68"/>
                  <a:gd name="T19" fmla="*/ 30 h 50"/>
                  <a:gd name="T20" fmla="*/ 29 w 68"/>
                  <a:gd name="T21" fmla="*/ 33 h 50"/>
                  <a:gd name="T22" fmla="*/ 31 w 68"/>
                  <a:gd name="T23" fmla="*/ 36 h 50"/>
                  <a:gd name="T24" fmla="*/ 29 w 68"/>
                  <a:gd name="T25" fmla="*/ 38 h 50"/>
                  <a:gd name="T26" fmla="*/ 33 w 68"/>
                  <a:gd name="T27" fmla="*/ 40 h 50"/>
                  <a:gd name="T28" fmla="*/ 41 w 68"/>
                  <a:gd name="T29" fmla="*/ 34 h 50"/>
                  <a:gd name="T30" fmla="*/ 41 w 68"/>
                  <a:gd name="T31" fmla="*/ 37 h 50"/>
                  <a:gd name="T32" fmla="*/ 42 w 68"/>
                  <a:gd name="T33" fmla="*/ 43 h 50"/>
                  <a:gd name="T34" fmla="*/ 42 w 68"/>
                  <a:gd name="T35" fmla="*/ 44 h 50"/>
                  <a:gd name="T36" fmla="*/ 45 w 68"/>
                  <a:gd name="T37" fmla="*/ 44 h 50"/>
                  <a:gd name="T38" fmla="*/ 52 w 68"/>
                  <a:gd name="T39" fmla="*/ 50 h 50"/>
                  <a:gd name="T40" fmla="*/ 58 w 68"/>
                  <a:gd name="T41" fmla="*/ 50 h 50"/>
                  <a:gd name="T42" fmla="*/ 59 w 68"/>
                  <a:gd name="T43" fmla="*/ 46 h 50"/>
                  <a:gd name="T44" fmla="*/ 58 w 68"/>
                  <a:gd name="T45" fmla="*/ 41 h 50"/>
                  <a:gd name="T46" fmla="*/ 59 w 68"/>
                  <a:gd name="T47" fmla="*/ 36 h 50"/>
                  <a:gd name="T48" fmla="*/ 64 w 68"/>
                  <a:gd name="T49" fmla="*/ 36 h 50"/>
                  <a:gd name="T50" fmla="*/ 67 w 68"/>
                  <a:gd name="T51" fmla="*/ 31 h 50"/>
                  <a:gd name="T52" fmla="*/ 68 w 68"/>
                  <a:gd name="T53" fmla="*/ 27 h 50"/>
                  <a:gd name="T54" fmla="*/ 67 w 68"/>
                  <a:gd name="T55" fmla="*/ 26 h 50"/>
                  <a:gd name="T56" fmla="*/ 67 w 68"/>
                  <a:gd name="T57" fmla="*/ 23 h 50"/>
                  <a:gd name="T58" fmla="*/ 61 w 68"/>
                  <a:gd name="T59" fmla="*/ 18 h 50"/>
                  <a:gd name="T60" fmla="*/ 58 w 68"/>
                  <a:gd name="T61" fmla="*/ 18 h 50"/>
                  <a:gd name="T62" fmla="*/ 56 w 68"/>
                  <a:gd name="T63" fmla="*/ 18 h 50"/>
                  <a:gd name="T64" fmla="*/ 56 w 68"/>
                  <a:gd name="T65" fmla="*/ 17 h 50"/>
                  <a:gd name="T66" fmla="*/ 58 w 68"/>
                  <a:gd name="T67" fmla="*/ 13 h 50"/>
                  <a:gd name="T68" fmla="*/ 58 w 68"/>
                  <a:gd name="T69" fmla="*/ 7 h 50"/>
                  <a:gd name="T70" fmla="*/ 52 w 68"/>
                  <a:gd name="T71" fmla="*/ 4 h 50"/>
                  <a:gd name="T72" fmla="*/ 49 w 68"/>
                  <a:gd name="T73" fmla="*/ 4 h 50"/>
                  <a:gd name="T74" fmla="*/ 48 w 68"/>
                  <a:gd name="T75" fmla="*/ 4 h 50"/>
                  <a:gd name="T76" fmla="*/ 46 w 68"/>
                  <a:gd name="T77" fmla="*/ 1 h 50"/>
                  <a:gd name="T78" fmla="*/ 45 w 68"/>
                  <a:gd name="T79" fmla="*/ 1 h 50"/>
                  <a:gd name="T80" fmla="*/ 45 w 68"/>
                  <a:gd name="T81" fmla="*/ 0 h 50"/>
                  <a:gd name="T82" fmla="*/ 44 w 68"/>
                  <a:gd name="T83" fmla="*/ 1 h 50"/>
                  <a:gd name="T84" fmla="*/ 42 w 68"/>
                  <a:gd name="T85" fmla="*/ 1 h 50"/>
                  <a:gd name="T86" fmla="*/ 39 w 68"/>
                  <a:gd name="T87" fmla="*/ 0 h 50"/>
                  <a:gd name="T88" fmla="*/ 38 w 68"/>
                  <a:gd name="T89" fmla="*/ 0 h 50"/>
                  <a:gd name="T90" fmla="*/ 36 w 68"/>
                  <a:gd name="T91" fmla="*/ 0 h 50"/>
                  <a:gd name="T92" fmla="*/ 36 w 68"/>
                  <a:gd name="T93" fmla="*/ 0 h 50"/>
                  <a:gd name="T94" fmla="*/ 35 w 68"/>
                  <a:gd name="T95" fmla="*/ 0 h 50"/>
                  <a:gd name="T96" fmla="*/ 33 w 68"/>
                  <a:gd name="T97" fmla="*/ 1 h 50"/>
                  <a:gd name="T98" fmla="*/ 31 w 68"/>
                  <a:gd name="T99" fmla="*/ 1 h 50"/>
                  <a:gd name="T100" fmla="*/ 28 w 68"/>
                  <a:gd name="T101" fmla="*/ 5 h 50"/>
                  <a:gd name="T102" fmla="*/ 22 w 68"/>
                  <a:gd name="T103" fmla="*/ 5 h 50"/>
                  <a:gd name="T104" fmla="*/ 16 w 68"/>
                  <a:gd name="T105" fmla="*/ 4 h 50"/>
                  <a:gd name="T106" fmla="*/ 12 w 68"/>
                  <a:gd name="T107" fmla="*/ 3 h 50"/>
                  <a:gd name="T108" fmla="*/ 2 w 68"/>
                  <a:gd name="T109"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8" h="50">
                    <a:moveTo>
                      <a:pt x="2" y="13"/>
                    </a:moveTo>
                    <a:lnTo>
                      <a:pt x="2" y="15"/>
                    </a:lnTo>
                    <a:lnTo>
                      <a:pt x="3" y="17"/>
                    </a:lnTo>
                    <a:lnTo>
                      <a:pt x="6" y="18"/>
                    </a:lnTo>
                    <a:lnTo>
                      <a:pt x="8" y="18"/>
                    </a:lnTo>
                    <a:lnTo>
                      <a:pt x="9" y="18"/>
                    </a:lnTo>
                    <a:lnTo>
                      <a:pt x="12" y="18"/>
                    </a:lnTo>
                    <a:lnTo>
                      <a:pt x="13" y="20"/>
                    </a:lnTo>
                    <a:lnTo>
                      <a:pt x="13" y="23"/>
                    </a:lnTo>
                    <a:lnTo>
                      <a:pt x="15" y="26"/>
                    </a:lnTo>
                    <a:lnTo>
                      <a:pt x="16" y="26"/>
                    </a:lnTo>
                    <a:lnTo>
                      <a:pt x="19" y="26"/>
                    </a:lnTo>
                    <a:lnTo>
                      <a:pt x="21" y="26"/>
                    </a:lnTo>
                    <a:lnTo>
                      <a:pt x="21" y="27"/>
                    </a:lnTo>
                    <a:lnTo>
                      <a:pt x="21" y="30"/>
                    </a:lnTo>
                    <a:lnTo>
                      <a:pt x="22" y="30"/>
                    </a:lnTo>
                    <a:lnTo>
                      <a:pt x="22" y="30"/>
                    </a:lnTo>
                    <a:lnTo>
                      <a:pt x="23" y="30"/>
                    </a:lnTo>
                    <a:lnTo>
                      <a:pt x="26" y="30"/>
                    </a:lnTo>
                    <a:lnTo>
                      <a:pt x="28" y="30"/>
                    </a:lnTo>
                    <a:lnTo>
                      <a:pt x="29" y="31"/>
                    </a:lnTo>
                    <a:lnTo>
                      <a:pt x="29" y="33"/>
                    </a:lnTo>
                    <a:lnTo>
                      <a:pt x="29" y="34"/>
                    </a:lnTo>
                    <a:lnTo>
                      <a:pt x="31" y="36"/>
                    </a:lnTo>
                    <a:lnTo>
                      <a:pt x="29" y="38"/>
                    </a:lnTo>
                    <a:lnTo>
                      <a:pt x="29" y="38"/>
                    </a:lnTo>
                    <a:lnTo>
                      <a:pt x="31" y="40"/>
                    </a:lnTo>
                    <a:lnTo>
                      <a:pt x="33" y="40"/>
                    </a:lnTo>
                    <a:lnTo>
                      <a:pt x="36" y="40"/>
                    </a:lnTo>
                    <a:lnTo>
                      <a:pt x="41" y="34"/>
                    </a:lnTo>
                    <a:lnTo>
                      <a:pt x="42" y="36"/>
                    </a:lnTo>
                    <a:lnTo>
                      <a:pt x="41" y="37"/>
                    </a:lnTo>
                    <a:lnTo>
                      <a:pt x="41" y="38"/>
                    </a:lnTo>
                    <a:lnTo>
                      <a:pt x="42" y="43"/>
                    </a:lnTo>
                    <a:lnTo>
                      <a:pt x="42" y="43"/>
                    </a:lnTo>
                    <a:lnTo>
                      <a:pt x="42" y="44"/>
                    </a:lnTo>
                    <a:lnTo>
                      <a:pt x="44" y="44"/>
                    </a:lnTo>
                    <a:lnTo>
                      <a:pt x="45" y="44"/>
                    </a:lnTo>
                    <a:lnTo>
                      <a:pt x="48" y="46"/>
                    </a:lnTo>
                    <a:lnTo>
                      <a:pt x="52" y="50"/>
                    </a:lnTo>
                    <a:lnTo>
                      <a:pt x="54" y="50"/>
                    </a:lnTo>
                    <a:lnTo>
                      <a:pt x="58" y="50"/>
                    </a:lnTo>
                    <a:lnTo>
                      <a:pt x="59" y="49"/>
                    </a:lnTo>
                    <a:lnTo>
                      <a:pt x="59" y="46"/>
                    </a:lnTo>
                    <a:lnTo>
                      <a:pt x="58" y="44"/>
                    </a:lnTo>
                    <a:lnTo>
                      <a:pt x="58" y="41"/>
                    </a:lnTo>
                    <a:lnTo>
                      <a:pt x="58" y="40"/>
                    </a:lnTo>
                    <a:lnTo>
                      <a:pt x="59" y="36"/>
                    </a:lnTo>
                    <a:lnTo>
                      <a:pt x="62" y="34"/>
                    </a:lnTo>
                    <a:lnTo>
                      <a:pt x="64" y="36"/>
                    </a:lnTo>
                    <a:lnTo>
                      <a:pt x="65" y="33"/>
                    </a:lnTo>
                    <a:lnTo>
                      <a:pt x="67" y="31"/>
                    </a:lnTo>
                    <a:lnTo>
                      <a:pt x="68" y="30"/>
                    </a:lnTo>
                    <a:lnTo>
                      <a:pt x="68" y="27"/>
                    </a:lnTo>
                    <a:lnTo>
                      <a:pt x="67" y="26"/>
                    </a:lnTo>
                    <a:lnTo>
                      <a:pt x="67" y="26"/>
                    </a:lnTo>
                    <a:lnTo>
                      <a:pt x="65" y="24"/>
                    </a:lnTo>
                    <a:lnTo>
                      <a:pt x="67" y="23"/>
                    </a:lnTo>
                    <a:lnTo>
                      <a:pt x="62" y="18"/>
                    </a:lnTo>
                    <a:lnTo>
                      <a:pt x="61" y="18"/>
                    </a:lnTo>
                    <a:lnTo>
                      <a:pt x="58" y="18"/>
                    </a:lnTo>
                    <a:lnTo>
                      <a:pt x="58" y="18"/>
                    </a:lnTo>
                    <a:lnTo>
                      <a:pt x="58" y="18"/>
                    </a:lnTo>
                    <a:lnTo>
                      <a:pt x="56" y="18"/>
                    </a:lnTo>
                    <a:lnTo>
                      <a:pt x="56" y="18"/>
                    </a:lnTo>
                    <a:lnTo>
                      <a:pt x="56" y="17"/>
                    </a:lnTo>
                    <a:lnTo>
                      <a:pt x="56" y="14"/>
                    </a:lnTo>
                    <a:lnTo>
                      <a:pt x="58" y="13"/>
                    </a:lnTo>
                    <a:lnTo>
                      <a:pt x="58" y="10"/>
                    </a:lnTo>
                    <a:lnTo>
                      <a:pt x="58" y="7"/>
                    </a:lnTo>
                    <a:lnTo>
                      <a:pt x="52" y="4"/>
                    </a:lnTo>
                    <a:lnTo>
                      <a:pt x="52" y="4"/>
                    </a:lnTo>
                    <a:lnTo>
                      <a:pt x="51" y="4"/>
                    </a:lnTo>
                    <a:lnTo>
                      <a:pt x="49" y="4"/>
                    </a:lnTo>
                    <a:lnTo>
                      <a:pt x="48" y="4"/>
                    </a:lnTo>
                    <a:lnTo>
                      <a:pt x="48" y="4"/>
                    </a:lnTo>
                    <a:lnTo>
                      <a:pt x="46" y="3"/>
                    </a:lnTo>
                    <a:lnTo>
                      <a:pt x="46" y="1"/>
                    </a:lnTo>
                    <a:lnTo>
                      <a:pt x="45" y="1"/>
                    </a:lnTo>
                    <a:lnTo>
                      <a:pt x="45" y="1"/>
                    </a:lnTo>
                    <a:lnTo>
                      <a:pt x="45" y="0"/>
                    </a:lnTo>
                    <a:lnTo>
                      <a:pt x="45" y="0"/>
                    </a:lnTo>
                    <a:lnTo>
                      <a:pt x="45" y="0"/>
                    </a:lnTo>
                    <a:lnTo>
                      <a:pt x="44" y="1"/>
                    </a:lnTo>
                    <a:lnTo>
                      <a:pt x="44" y="1"/>
                    </a:lnTo>
                    <a:lnTo>
                      <a:pt x="42" y="1"/>
                    </a:lnTo>
                    <a:lnTo>
                      <a:pt x="41" y="0"/>
                    </a:lnTo>
                    <a:lnTo>
                      <a:pt x="39" y="0"/>
                    </a:lnTo>
                    <a:lnTo>
                      <a:pt x="39" y="0"/>
                    </a:lnTo>
                    <a:lnTo>
                      <a:pt x="38" y="0"/>
                    </a:lnTo>
                    <a:lnTo>
                      <a:pt x="36" y="0"/>
                    </a:lnTo>
                    <a:lnTo>
                      <a:pt x="36" y="0"/>
                    </a:lnTo>
                    <a:lnTo>
                      <a:pt x="36" y="0"/>
                    </a:lnTo>
                    <a:lnTo>
                      <a:pt x="36" y="0"/>
                    </a:lnTo>
                    <a:lnTo>
                      <a:pt x="35" y="0"/>
                    </a:lnTo>
                    <a:lnTo>
                      <a:pt x="35" y="0"/>
                    </a:lnTo>
                    <a:lnTo>
                      <a:pt x="33" y="1"/>
                    </a:lnTo>
                    <a:lnTo>
                      <a:pt x="33" y="1"/>
                    </a:lnTo>
                    <a:lnTo>
                      <a:pt x="33" y="3"/>
                    </a:lnTo>
                    <a:lnTo>
                      <a:pt x="31" y="1"/>
                    </a:lnTo>
                    <a:lnTo>
                      <a:pt x="29" y="4"/>
                    </a:lnTo>
                    <a:lnTo>
                      <a:pt x="28" y="5"/>
                    </a:lnTo>
                    <a:lnTo>
                      <a:pt x="25" y="5"/>
                    </a:lnTo>
                    <a:lnTo>
                      <a:pt x="22" y="5"/>
                    </a:lnTo>
                    <a:lnTo>
                      <a:pt x="18" y="5"/>
                    </a:lnTo>
                    <a:lnTo>
                      <a:pt x="16" y="4"/>
                    </a:lnTo>
                    <a:lnTo>
                      <a:pt x="15" y="1"/>
                    </a:lnTo>
                    <a:lnTo>
                      <a:pt x="12" y="3"/>
                    </a:lnTo>
                    <a:lnTo>
                      <a:pt x="0" y="10"/>
                    </a:lnTo>
                    <a:lnTo>
                      <a:pt x="2" y="11"/>
                    </a:lnTo>
                    <a:lnTo>
                      <a:pt x="2" y="1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61" name="Freeform 67">
                <a:extLst>
                  <a:ext uri="{FF2B5EF4-FFF2-40B4-BE49-F238E27FC236}">
                    <a16:creationId xmlns:a16="http://schemas.microsoft.com/office/drawing/2014/main" id="{7525520C-F3CC-56FA-AC6C-766DC9BC0B89}"/>
                  </a:ext>
                </a:extLst>
              </p:cNvPr>
              <p:cNvSpPr>
                <a:spLocks/>
              </p:cNvSpPr>
              <p:nvPr/>
            </p:nvSpPr>
            <p:spPr bwMode="auto">
              <a:xfrm>
                <a:off x="3879" y="1828"/>
                <a:ext cx="71" cy="89"/>
              </a:xfrm>
              <a:custGeom>
                <a:avLst/>
                <a:gdLst>
                  <a:gd name="T0" fmla="*/ 14 w 71"/>
                  <a:gd name="T1" fmla="*/ 0 h 89"/>
                  <a:gd name="T2" fmla="*/ 5 w 71"/>
                  <a:gd name="T3" fmla="*/ 4 h 89"/>
                  <a:gd name="T4" fmla="*/ 4 w 71"/>
                  <a:gd name="T5" fmla="*/ 4 h 89"/>
                  <a:gd name="T6" fmla="*/ 0 w 71"/>
                  <a:gd name="T7" fmla="*/ 7 h 89"/>
                  <a:gd name="T8" fmla="*/ 4 w 71"/>
                  <a:gd name="T9" fmla="*/ 14 h 89"/>
                  <a:gd name="T10" fmla="*/ 8 w 71"/>
                  <a:gd name="T11" fmla="*/ 20 h 89"/>
                  <a:gd name="T12" fmla="*/ 7 w 71"/>
                  <a:gd name="T13" fmla="*/ 23 h 89"/>
                  <a:gd name="T14" fmla="*/ 4 w 71"/>
                  <a:gd name="T15" fmla="*/ 29 h 89"/>
                  <a:gd name="T16" fmla="*/ 8 w 71"/>
                  <a:gd name="T17" fmla="*/ 30 h 89"/>
                  <a:gd name="T18" fmla="*/ 7 w 71"/>
                  <a:gd name="T19" fmla="*/ 43 h 89"/>
                  <a:gd name="T20" fmla="*/ 13 w 71"/>
                  <a:gd name="T21" fmla="*/ 49 h 89"/>
                  <a:gd name="T22" fmla="*/ 8 w 71"/>
                  <a:gd name="T23" fmla="*/ 50 h 89"/>
                  <a:gd name="T24" fmla="*/ 11 w 71"/>
                  <a:gd name="T25" fmla="*/ 57 h 89"/>
                  <a:gd name="T26" fmla="*/ 8 w 71"/>
                  <a:gd name="T27" fmla="*/ 59 h 89"/>
                  <a:gd name="T28" fmla="*/ 7 w 71"/>
                  <a:gd name="T29" fmla="*/ 63 h 89"/>
                  <a:gd name="T30" fmla="*/ 15 w 71"/>
                  <a:gd name="T31" fmla="*/ 69 h 89"/>
                  <a:gd name="T32" fmla="*/ 26 w 71"/>
                  <a:gd name="T33" fmla="*/ 76 h 89"/>
                  <a:gd name="T34" fmla="*/ 28 w 71"/>
                  <a:gd name="T35" fmla="*/ 73 h 89"/>
                  <a:gd name="T36" fmla="*/ 31 w 71"/>
                  <a:gd name="T37" fmla="*/ 70 h 89"/>
                  <a:gd name="T38" fmla="*/ 31 w 71"/>
                  <a:gd name="T39" fmla="*/ 69 h 89"/>
                  <a:gd name="T40" fmla="*/ 33 w 71"/>
                  <a:gd name="T41" fmla="*/ 67 h 89"/>
                  <a:gd name="T42" fmla="*/ 40 w 71"/>
                  <a:gd name="T43" fmla="*/ 72 h 89"/>
                  <a:gd name="T44" fmla="*/ 44 w 71"/>
                  <a:gd name="T45" fmla="*/ 76 h 89"/>
                  <a:gd name="T46" fmla="*/ 47 w 71"/>
                  <a:gd name="T47" fmla="*/ 79 h 89"/>
                  <a:gd name="T48" fmla="*/ 50 w 71"/>
                  <a:gd name="T49" fmla="*/ 82 h 89"/>
                  <a:gd name="T50" fmla="*/ 51 w 71"/>
                  <a:gd name="T51" fmla="*/ 89 h 89"/>
                  <a:gd name="T52" fmla="*/ 61 w 71"/>
                  <a:gd name="T53" fmla="*/ 88 h 89"/>
                  <a:gd name="T54" fmla="*/ 63 w 71"/>
                  <a:gd name="T55" fmla="*/ 79 h 89"/>
                  <a:gd name="T56" fmla="*/ 64 w 71"/>
                  <a:gd name="T57" fmla="*/ 75 h 89"/>
                  <a:gd name="T58" fmla="*/ 69 w 71"/>
                  <a:gd name="T59" fmla="*/ 73 h 89"/>
                  <a:gd name="T60" fmla="*/ 71 w 71"/>
                  <a:gd name="T61" fmla="*/ 69 h 89"/>
                  <a:gd name="T62" fmla="*/ 69 w 71"/>
                  <a:gd name="T63" fmla="*/ 65 h 89"/>
                  <a:gd name="T64" fmla="*/ 64 w 71"/>
                  <a:gd name="T65" fmla="*/ 60 h 89"/>
                  <a:gd name="T66" fmla="*/ 61 w 71"/>
                  <a:gd name="T67" fmla="*/ 56 h 89"/>
                  <a:gd name="T68" fmla="*/ 63 w 71"/>
                  <a:gd name="T69" fmla="*/ 50 h 89"/>
                  <a:gd name="T70" fmla="*/ 67 w 71"/>
                  <a:gd name="T71" fmla="*/ 46 h 89"/>
                  <a:gd name="T72" fmla="*/ 67 w 71"/>
                  <a:gd name="T73" fmla="*/ 43 h 89"/>
                  <a:gd name="T74" fmla="*/ 66 w 71"/>
                  <a:gd name="T75" fmla="*/ 37 h 89"/>
                  <a:gd name="T76" fmla="*/ 67 w 71"/>
                  <a:gd name="T77" fmla="*/ 37 h 89"/>
                  <a:gd name="T78" fmla="*/ 66 w 71"/>
                  <a:gd name="T79" fmla="*/ 34 h 89"/>
                  <a:gd name="T80" fmla="*/ 61 w 71"/>
                  <a:gd name="T81" fmla="*/ 34 h 89"/>
                  <a:gd name="T82" fmla="*/ 57 w 71"/>
                  <a:gd name="T83" fmla="*/ 37 h 89"/>
                  <a:gd name="T84" fmla="*/ 47 w 71"/>
                  <a:gd name="T85" fmla="*/ 32 h 89"/>
                  <a:gd name="T86" fmla="*/ 44 w 71"/>
                  <a:gd name="T87" fmla="*/ 30 h 89"/>
                  <a:gd name="T88" fmla="*/ 46 w 71"/>
                  <a:gd name="T89" fmla="*/ 30 h 89"/>
                  <a:gd name="T90" fmla="*/ 46 w 71"/>
                  <a:gd name="T91" fmla="*/ 29 h 89"/>
                  <a:gd name="T92" fmla="*/ 46 w 71"/>
                  <a:gd name="T93" fmla="*/ 27 h 89"/>
                  <a:gd name="T94" fmla="*/ 44 w 71"/>
                  <a:gd name="T95" fmla="*/ 26 h 89"/>
                  <a:gd name="T96" fmla="*/ 44 w 71"/>
                  <a:gd name="T97" fmla="*/ 21 h 89"/>
                  <a:gd name="T98" fmla="*/ 36 w 71"/>
                  <a:gd name="T99" fmla="*/ 17 h 89"/>
                  <a:gd name="T100" fmla="*/ 34 w 71"/>
                  <a:gd name="T101" fmla="*/ 11 h 89"/>
                  <a:gd name="T102" fmla="*/ 28 w 71"/>
                  <a:gd name="T103" fmla="*/ 6 h 89"/>
                  <a:gd name="T104" fmla="*/ 21 w 71"/>
                  <a:gd name="T10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1" h="89">
                    <a:moveTo>
                      <a:pt x="21" y="0"/>
                    </a:moveTo>
                    <a:lnTo>
                      <a:pt x="15" y="0"/>
                    </a:lnTo>
                    <a:lnTo>
                      <a:pt x="14" y="0"/>
                    </a:lnTo>
                    <a:lnTo>
                      <a:pt x="13" y="1"/>
                    </a:lnTo>
                    <a:lnTo>
                      <a:pt x="8" y="3"/>
                    </a:lnTo>
                    <a:lnTo>
                      <a:pt x="5" y="4"/>
                    </a:lnTo>
                    <a:lnTo>
                      <a:pt x="5" y="4"/>
                    </a:lnTo>
                    <a:lnTo>
                      <a:pt x="4" y="4"/>
                    </a:lnTo>
                    <a:lnTo>
                      <a:pt x="4" y="4"/>
                    </a:lnTo>
                    <a:lnTo>
                      <a:pt x="3" y="4"/>
                    </a:lnTo>
                    <a:lnTo>
                      <a:pt x="1" y="4"/>
                    </a:lnTo>
                    <a:lnTo>
                      <a:pt x="0" y="7"/>
                    </a:lnTo>
                    <a:lnTo>
                      <a:pt x="1" y="10"/>
                    </a:lnTo>
                    <a:lnTo>
                      <a:pt x="1" y="13"/>
                    </a:lnTo>
                    <a:lnTo>
                      <a:pt x="4" y="14"/>
                    </a:lnTo>
                    <a:lnTo>
                      <a:pt x="3" y="17"/>
                    </a:lnTo>
                    <a:lnTo>
                      <a:pt x="4" y="19"/>
                    </a:lnTo>
                    <a:lnTo>
                      <a:pt x="8" y="20"/>
                    </a:lnTo>
                    <a:lnTo>
                      <a:pt x="10" y="21"/>
                    </a:lnTo>
                    <a:lnTo>
                      <a:pt x="8" y="23"/>
                    </a:lnTo>
                    <a:lnTo>
                      <a:pt x="7" y="23"/>
                    </a:lnTo>
                    <a:lnTo>
                      <a:pt x="5" y="23"/>
                    </a:lnTo>
                    <a:lnTo>
                      <a:pt x="4" y="24"/>
                    </a:lnTo>
                    <a:lnTo>
                      <a:pt x="4" y="29"/>
                    </a:lnTo>
                    <a:lnTo>
                      <a:pt x="3" y="30"/>
                    </a:lnTo>
                    <a:lnTo>
                      <a:pt x="7" y="29"/>
                    </a:lnTo>
                    <a:lnTo>
                      <a:pt x="8" y="30"/>
                    </a:lnTo>
                    <a:lnTo>
                      <a:pt x="5" y="37"/>
                    </a:lnTo>
                    <a:lnTo>
                      <a:pt x="5" y="42"/>
                    </a:lnTo>
                    <a:lnTo>
                      <a:pt x="7" y="43"/>
                    </a:lnTo>
                    <a:lnTo>
                      <a:pt x="10" y="44"/>
                    </a:lnTo>
                    <a:lnTo>
                      <a:pt x="11" y="47"/>
                    </a:lnTo>
                    <a:lnTo>
                      <a:pt x="13" y="49"/>
                    </a:lnTo>
                    <a:lnTo>
                      <a:pt x="13" y="50"/>
                    </a:lnTo>
                    <a:lnTo>
                      <a:pt x="11" y="50"/>
                    </a:lnTo>
                    <a:lnTo>
                      <a:pt x="8" y="50"/>
                    </a:lnTo>
                    <a:lnTo>
                      <a:pt x="7" y="50"/>
                    </a:lnTo>
                    <a:lnTo>
                      <a:pt x="11" y="56"/>
                    </a:lnTo>
                    <a:lnTo>
                      <a:pt x="11" y="57"/>
                    </a:lnTo>
                    <a:lnTo>
                      <a:pt x="11" y="59"/>
                    </a:lnTo>
                    <a:lnTo>
                      <a:pt x="10" y="60"/>
                    </a:lnTo>
                    <a:lnTo>
                      <a:pt x="8" y="59"/>
                    </a:lnTo>
                    <a:lnTo>
                      <a:pt x="7" y="59"/>
                    </a:lnTo>
                    <a:lnTo>
                      <a:pt x="5" y="60"/>
                    </a:lnTo>
                    <a:lnTo>
                      <a:pt x="7" y="63"/>
                    </a:lnTo>
                    <a:lnTo>
                      <a:pt x="10" y="65"/>
                    </a:lnTo>
                    <a:lnTo>
                      <a:pt x="13" y="67"/>
                    </a:lnTo>
                    <a:lnTo>
                      <a:pt x="15" y="69"/>
                    </a:lnTo>
                    <a:lnTo>
                      <a:pt x="21" y="72"/>
                    </a:lnTo>
                    <a:lnTo>
                      <a:pt x="26" y="73"/>
                    </a:lnTo>
                    <a:lnTo>
                      <a:pt x="26" y="76"/>
                    </a:lnTo>
                    <a:lnTo>
                      <a:pt x="28" y="76"/>
                    </a:lnTo>
                    <a:lnTo>
                      <a:pt x="28" y="75"/>
                    </a:lnTo>
                    <a:lnTo>
                      <a:pt x="28" y="73"/>
                    </a:lnTo>
                    <a:lnTo>
                      <a:pt x="30" y="73"/>
                    </a:lnTo>
                    <a:lnTo>
                      <a:pt x="30" y="72"/>
                    </a:lnTo>
                    <a:lnTo>
                      <a:pt x="31" y="70"/>
                    </a:lnTo>
                    <a:lnTo>
                      <a:pt x="31" y="70"/>
                    </a:lnTo>
                    <a:lnTo>
                      <a:pt x="31" y="70"/>
                    </a:lnTo>
                    <a:lnTo>
                      <a:pt x="31" y="69"/>
                    </a:lnTo>
                    <a:lnTo>
                      <a:pt x="31" y="69"/>
                    </a:lnTo>
                    <a:lnTo>
                      <a:pt x="31" y="69"/>
                    </a:lnTo>
                    <a:lnTo>
                      <a:pt x="33" y="67"/>
                    </a:lnTo>
                    <a:lnTo>
                      <a:pt x="34" y="67"/>
                    </a:lnTo>
                    <a:lnTo>
                      <a:pt x="37" y="69"/>
                    </a:lnTo>
                    <a:lnTo>
                      <a:pt x="40" y="72"/>
                    </a:lnTo>
                    <a:lnTo>
                      <a:pt x="44" y="75"/>
                    </a:lnTo>
                    <a:lnTo>
                      <a:pt x="44" y="76"/>
                    </a:lnTo>
                    <a:lnTo>
                      <a:pt x="44" y="76"/>
                    </a:lnTo>
                    <a:lnTo>
                      <a:pt x="46" y="77"/>
                    </a:lnTo>
                    <a:lnTo>
                      <a:pt x="46" y="77"/>
                    </a:lnTo>
                    <a:lnTo>
                      <a:pt x="47" y="79"/>
                    </a:lnTo>
                    <a:lnTo>
                      <a:pt x="49" y="79"/>
                    </a:lnTo>
                    <a:lnTo>
                      <a:pt x="50" y="79"/>
                    </a:lnTo>
                    <a:lnTo>
                      <a:pt x="50" y="82"/>
                    </a:lnTo>
                    <a:lnTo>
                      <a:pt x="47" y="86"/>
                    </a:lnTo>
                    <a:lnTo>
                      <a:pt x="47" y="89"/>
                    </a:lnTo>
                    <a:lnTo>
                      <a:pt x="51" y="89"/>
                    </a:lnTo>
                    <a:lnTo>
                      <a:pt x="54" y="88"/>
                    </a:lnTo>
                    <a:lnTo>
                      <a:pt x="59" y="86"/>
                    </a:lnTo>
                    <a:lnTo>
                      <a:pt x="61" y="88"/>
                    </a:lnTo>
                    <a:lnTo>
                      <a:pt x="64" y="85"/>
                    </a:lnTo>
                    <a:lnTo>
                      <a:pt x="64" y="82"/>
                    </a:lnTo>
                    <a:lnTo>
                      <a:pt x="63" y="79"/>
                    </a:lnTo>
                    <a:lnTo>
                      <a:pt x="63" y="76"/>
                    </a:lnTo>
                    <a:lnTo>
                      <a:pt x="64" y="76"/>
                    </a:lnTo>
                    <a:lnTo>
                      <a:pt x="64" y="75"/>
                    </a:lnTo>
                    <a:lnTo>
                      <a:pt x="66" y="75"/>
                    </a:lnTo>
                    <a:lnTo>
                      <a:pt x="66" y="75"/>
                    </a:lnTo>
                    <a:lnTo>
                      <a:pt x="69" y="73"/>
                    </a:lnTo>
                    <a:lnTo>
                      <a:pt x="70" y="72"/>
                    </a:lnTo>
                    <a:lnTo>
                      <a:pt x="71" y="70"/>
                    </a:lnTo>
                    <a:lnTo>
                      <a:pt x="71" y="69"/>
                    </a:lnTo>
                    <a:lnTo>
                      <a:pt x="71" y="67"/>
                    </a:lnTo>
                    <a:lnTo>
                      <a:pt x="71" y="66"/>
                    </a:lnTo>
                    <a:lnTo>
                      <a:pt x="69" y="65"/>
                    </a:lnTo>
                    <a:lnTo>
                      <a:pt x="67" y="63"/>
                    </a:lnTo>
                    <a:lnTo>
                      <a:pt x="66" y="62"/>
                    </a:lnTo>
                    <a:lnTo>
                      <a:pt x="64" y="60"/>
                    </a:lnTo>
                    <a:lnTo>
                      <a:pt x="63" y="59"/>
                    </a:lnTo>
                    <a:lnTo>
                      <a:pt x="63" y="57"/>
                    </a:lnTo>
                    <a:lnTo>
                      <a:pt x="61" y="56"/>
                    </a:lnTo>
                    <a:lnTo>
                      <a:pt x="61" y="53"/>
                    </a:lnTo>
                    <a:lnTo>
                      <a:pt x="61" y="52"/>
                    </a:lnTo>
                    <a:lnTo>
                      <a:pt x="63" y="50"/>
                    </a:lnTo>
                    <a:lnTo>
                      <a:pt x="63" y="49"/>
                    </a:lnTo>
                    <a:lnTo>
                      <a:pt x="66" y="46"/>
                    </a:lnTo>
                    <a:lnTo>
                      <a:pt x="67" y="46"/>
                    </a:lnTo>
                    <a:lnTo>
                      <a:pt x="67" y="44"/>
                    </a:lnTo>
                    <a:lnTo>
                      <a:pt x="67" y="44"/>
                    </a:lnTo>
                    <a:lnTo>
                      <a:pt x="67" y="43"/>
                    </a:lnTo>
                    <a:lnTo>
                      <a:pt x="66" y="42"/>
                    </a:lnTo>
                    <a:lnTo>
                      <a:pt x="64" y="40"/>
                    </a:lnTo>
                    <a:lnTo>
                      <a:pt x="66" y="37"/>
                    </a:lnTo>
                    <a:lnTo>
                      <a:pt x="66" y="37"/>
                    </a:lnTo>
                    <a:lnTo>
                      <a:pt x="67" y="37"/>
                    </a:lnTo>
                    <a:lnTo>
                      <a:pt x="67" y="37"/>
                    </a:lnTo>
                    <a:lnTo>
                      <a:pt x="69" y="36"/>
                    </a:lnTo>
                    <a:lnTo>
                      <a:pt x="67" y="36"/>
                    </a:lnTo>
                    <a:lnTo>
                      <a:pt x="66" y="34"/>
                    </a:lnTo>
                    <a:lnTo>
                      <a:pt x="64" y="34"/>
                    </a:lnTo>
                    <a:lnTo>
                      <a:pt x="63" y="34"/>
                    </a:lnTo>
                    <a:lnTo>
                      <a:pt x="61" y="34"/>
                    </a:lnTo>
                    <a:lnTo>
                      <a:pt x="60" y="36"/>
                    </a:lnTo>
                    <a:lnTo>
                      <a:pt x="59" y="37"/>
                    </a:lnTo>
                    <a:lnTo>
                      <a:pt x="57" y="37"/>
                    </a:lnTo>
                    <a:lnTo>
                      <a:pt x="54" y="34"/>
                    </a:lnTo>
                    <a:lnTo>
                      <a:pt x="53" y="34"/>
                    </a:lnTo>
                    <a:lnTo>
                      <a:pt x="47" y="32"/>
                    </a:lnTo>
                    <a:lnTo>
                      <a:pt x="44" y="32"/>
                    </a:lnTo>
                    <a:lnTo>
                      <a:pt x="44" y="30"/>
                    </a:lnTo>
                    <a:lnTo>
                      <a:pt x="44" y="30"/>
                    </a:lnTo>
                    <a:lnTo>
                      <a:pt x="44" y="30"/>
                    </a:lnTo>
                    <a:lnTo>
                      <a:pt x="44" y="30"/>
                    </a:lnTo>
                    <a:lnTo>
                      <a:pt x="46" y="30"/>
                    </a:lnTo>
                    <a:lnTo>
                      <a:pt x="47" y="30"/>
                    </a:lnTo>
                    <a:lnTo>
                      <a:pt x="47" y="29"/>
                    </a:lnTo>
                    <a:lnTo>
                      <a:pt x="46" y="29"/>
                    </a:lnTo>
                    <a:lnTo>
                      <a:pt x="46" y="29"/>
                    </a:lnTo>
                    <a:lnTo>
                      <a:pt x="46" y="29"/>
                    </a:lnTo>
                    <a:lnTo>
                      <a:pt x="46" y="27"/>
                    </a:lnTo>
                    <a:lnTo>
                      <a:pt x="44" y="27"/>
                    </a:lnTo>
                    <a:lnTo>
                      <a:pt x="44" y="26"/>
                    </a:lnTo>
                    <a:lnTo>
                      <a:pt x="44" y="26"/>
                    </a:lnTo>
                    <a:lnTo>
                      <a:pt x="46" y="24"/>
                    </a:lnTo>
                    <a:lnTo>
                      <a:pt x="46" y="24"/>
                    </a:lnTo>
                    <a:lnTo>
                      <a:pt x="44" y="21"/>
                    </a:lnTo>
                    <a:lnTo>
                      <a:pt x="43" y="20"/>
                    </a:lnTo>
                    <a:lnTo>
                      <a:pt x="37" y="19"/>
                    </a:lnTo>
                    <a:lnTo>
                      <a:pt x="36" y="17"/>
                    </a:lnTo>
                    <a:lnTo>
                      <a:pt x="34" y="14"/>
                    </a:lnTo>
                    <a:lnTo>
                      <a:pt x="34" y="13"/>
                    </a:lnTo>
                    <a:lnTo>
                      <a:pt x="34" y="11"/>
                    </a:lnTo>
                    <a:lnTo>
                      <a:pt x="34" y="9"/>
                    </a:lnTo>
                    <a:lnTo>
                      <a:pt x="31" y="9"/>
                    </a:lnTo>
                    <a:lnTo>
                      <a:pt x="28" y="6"/>
                    </a:lnTo>
                    <a:lnTo>
                      <a:pt x="24" y="1"/>
                    </a:lnTo>
                    <a:lnTo>
                      <a:pt x="23" y="0"/>
                    </a:lnTo>
                    <a:lnTo>
                      <a:pt x="21"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62" name="Freeform 68">
                <a:extLst>
                  <a:ext uri="{FF2B5EF4-FFF2-40B4-BE49-F238E27FC236}">
                    <a16:creationId xmlns:a16="http://schemas.microsoft.com/office/drawing/2014/main" id="{0556B00D-0562-3D0E-4D4F-747290BF5376}"/>
                  </a:ext>
                </a:extLst>
              </p:cNvPr>
              <p:cNvSpPr>
                <a:spLocks/>
              </p:cNvSpPr>
              <p:nvPr/>
            </p:nvSpPr>
            <p:spPr bwMode="auto">
              <a:xfrm>
                <a:off x="3795" y="1614"/>
                <a:ext cx="176" cy="145"/>
              </a:xfrm>
              <a:custGeom>
                <a:avLst/>
                <a:gdLst>
                  <a:gd name="T0" fmla="*/ 0 w 176"/>
                  <a:gd name="T1" fmla="*/ 46 h 145"/>
                  <a:gd name="T2" fmla="*/ 9 w 176"/>
                  <a:gd name="T3" fmla="*/ 56 h 145"/>
                  <a:gd name="T4" fmla="*/ 10 w 176"/>
                  <a:gd name="T5" fmla="*/ 62 h 145"/>
                  <a:gd name="T6" fmla="*/ 10 w 176"/>
                  <a:gd name="T7" fmla="*/ 73 h 145"/>
                  <a:gd name="T8" fmla="*/ 12 w 176"/>
                  <a:gd name="T9" fmla="*/ 79 h 145"/>
                  <a:gd name="T10" fmla="*/ 16 w 176"/>
                  <a:gd name="T11" fmla="*/ 86 h 145"/>
                  <a:gd name="T12" fmla="*/ 15 w 176"/>
                  <a:gd name="T13" fmla="*/ 96 h 145"/>
                  <a:gd name="T14" fmla="*/ 21 w 176"/>
                  <a:gd name="T15" fmla="*/ 96 h 145"/>
                  <a:gd name="T16" fmla="*/ 28 w 176"/>
                  <a:gd name="T17" fmla="*/ 100 h 145"/>
                  <a:gd name="T18" fmla="*/ 33 w 176"/>
                  <a:gd name="T19" fmla="*/ 105 h 145"/>
                  <a:gd name="T20" fmla="*/ 41 w 176"/>
                  <a:gd name="T21" fmla="*/ 106 h 145"/>
                  <a:gd name="T22" fmla="*/ 38 w 176"/>
                  <a:gd name="T23" fmla="*/ 110 h 145"/>
                  <a:gd name="T24" fmla="*/ 48 w 176"/>
                  <a:gd name="T25" fmla="*/ 116 h 145"/>
                  <a:gd name="T26" fmla="*/ 51 w 176"/>
                  <a:gd name="T27" fmla="*/ 113 h 145"/>
                  <a:gd name="T28" fmla="*/ 49 w 176"/>
                  <a:gd name="T29" fmla="*/ 109 h 145"/>
                  <a:gd name="T30" fmla="*/ 61 w 176"/>
                  <a:gd name="T31" fmla="*/ 113 h 145"/>
                  <a:gd name="T32" fmla="*/ 64 w 176"/>
                  <a:gd name="T33" fmla="*/ 113 h 145"/>
                  <a:gd name="T34" fmla="*/ 62 w 176"/>
                  <a:gd name="T35" fmla="*/ 116 h 145"/>
                  <a:gd name="T36" fmla="*/ 68 w 176"/>
                  <a:gd name="T37" fmla="*/ 120 h 145"/>
                  <a:gd name="T38" fmla="*/ 71 w 176"/>
                  <a:gd name="T39" fmla="*/ 120 h 145"/>
                  <a:gd name="T40" fmla="*/ 78 w 176"/>
                  <a:gd name="T41" fmla="*/ 123 h 145"/>
                  <a:gd name="T42" fmla="*/ 84 w 176"/>
                  <a:gd name="T43" fmla="*/ 132 h 145"/>
                  <a:gd name="T44" fmla="*/ 87 w 176"/>
                  <a:gd name="T45" fmla="*/ 135 h 145"/>
                  <a:gd name="T46" fmla="*/ 89 w 176"/>
                  <a:gd name="T47" fmla="*/ 133 h 145"/>
                  <a:gd name="T48" fmla="*/ 95 w 176"/>
                  <a:gd name="T49" fmla="*/ 133 h 145"/>
                  <a:gd name="T50" fmla="*/ 99 w 176"/>
                  <a:gd name="T51" fmla="*/ 136 h 145"/>
                  <a:gd name="T52" fmla="*/ 101 w 176"/>
                  <a:gd name="T53" fmla="*/ 141 h 145"/>
                  <a:gd name="T54" fmla="*/ 102 w 176"/>
                  <a:gd name="T55" fmla="*/ 141 h 145"/>
                  <a:gd name="T56" fmla="*/ 108 w 176"/>
                  <a:gd name="T57" fmla="*/ 138 h 145"/>
                  <a:gd name="T58" fmla="*/ 118 w 176"/>
                  <a:gd name="T59" fmla="*/ 138 h 145"/>
                  <a:gd name="T60" fmla="*/ 122 w 176"/>
                  <a:gd name="T61" fmla="*/ 136 h 145"/>
                  <a:gd name="T62" fmla="*/ 143 w 176"/>
                  <a:gd name="T63" fmla="*/ 142 h 145"/>
                  <a:gd name="T64" fmla="*/ 154 w 176"/>
                  <a:gd name="T65" fmla="*/ 145 h 145"/>
                  <a:gd name="T66" fmla="*/ 151 w 176"/>
                  <a:gd name="T67" fmla="*/ 135 h 145"/>
                  <a:gd name="T68" fmla="*/ 166 w 176"/>
                  <a:gd name="T69" fmla="*/ 115 h 145"/>
                  <a:gd name="T70" fmla="*/ 174 w 176"/>
                  <a:gd name="T71" fmla="*/ 109 h 145"/>
                  <a:gd name="T72" fmla="*/ 176 w 176"/>
                  <a:gd name="T73" fmla="*/ 102 h 145"/>
                  <a:gd name="T74" fmla="*/ 176 w 176"/>
                  <a:gd name="T75" fmla="*/ 99 h 145"/>
                  <a:gd name="T76" fmla="*/ 176 w 176"/>
                  <a:gd name="T77" fmla="*/ 96 h 145"/>
                  <a:gd name="T78" fmla="*/ 170 w 176"/>
                  <a:gd name="T79" fmla="*/ 87 h 145"/>
                  <a:gd name="T80" fmla="*/ 168 w 176"/>
                  <a:gd name="T81" fmla="*/ 82 h 145"/>
                  <a:gd name="T82" fmla="*/ 167 w 176"/>
                  <a:gd name="T83" fmla="*/ 66 h 145"/>
                  <a:gd name="T84" fmla="*/ 160 w 176"/>
                  <a:gd name="T85" fmla="*/ 60 h 145"/>
                  <a:gd name="T86" fmla="*/ 166 w 176"/>
                  <a:gd name="T87" fmla="*/ 54 h 145"/>
                  <a:gd name="T88" fmla="*/ 173 w 176"/>
                  <a:gd name="T89" fmla="*/ 46 h 145"/>
                  <a:gd name="T90" fmla="*/ 166 w 176"/>
                  <a:gd name="T91" fmla="*/ 17 h 145"/>
                  <a:gd name="T92" fmla="*/ 155 w 176"/>
                  <a:gd name="T93" fmla="*/ 10 h 145"/>
                  <a:gd name="T94" fmla="*/ 147 w 176"/>
                  <a:gd name="T95" fmla="*/ 11 h 145"/>
                  <a:gd name="T96" fmla="*/ 124 w 176"/>
                  <a:gd name="T97" fmla="*/ 10 h 145"/>
                  <a:gd name="T98" fmla="*/ 95 w 176"/>
                  <a:gd name="T99" fmla="*/ 8 h 145"/>
                  <a:gd name="T100" fmla="*/ 79 w 176"/>
                  <a:gd name="T101" fmla="*/ 8 h 145"/>
                  <a:gd name="T102" fmla="*/ 81 w 176"/>
                  <a:gd name="T103" fmla="*/ 4 h 145"/>
                  <a:gd name="T104" fmla="*/ 68 w 176"/>
                  <a:gd name="T105" fmla="*/ 0 h 145"/>
                  <a:gd name="T106" fmla="*/ 41 w 176"/>
                  <a:gd name="T107" fmla="*/ 8 h 145"/>
                  <a:gd name="T108" fmla="*/ 22 w 176"/>
                  <a:gd name="T109" fmla="*/ 16 h 145"/>
                  <a:gd name="T110" fmla="*/ 2 w 176"/>
                  <a:gd name="T111" fmla="*/ 21 h 145"/>
                  <a:gd name="T112" fmla="*/ 6 w 176"/>
                  <a:gd name="T113" fmla="*/ 23 h 145"/>
                  <a:gd name="T114" fmla="*/ 9 w 176"/>
                  <a:gd name="T115" fmla="*/ 27 h 145"/>
                  <a:gd name="T116" fmla="*/ 6 w 176"/>
                  <a:gd name="T117" fmla="*/ 3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6" h="145">
                    <a:moveTo>
                      <a:pt x="6" y="37"/>
                    </a:moveTo>
                    <a:lnTo>
                      <a:pt x="5" y="40"/>
                    </a:lnTo>
                    <a:lnTo>
                      <a:pt x="2" y="44"/>
                    </a:lnTo>
                    <a:lnTo>
                      <a:pt x="0" y="46"/>
                    </a:lnTo>
                    <a:lnTo>
                      <a:pt x="2" y="49"/>
                    </a:lnTo>
                    <a:lnTo>
                      <a:pt x="8" y="51"/>
                    </a:lnTo>
                    <a:lnTo>
                      <a:pt x="9" y="54"/>
                    </a:lnTo>
                    <a:lnTo>
                      <a:pt x="9" y="56"/>
                    </a:lnTo>
                    <a:lnTo>
                      <a:pt x="9" y="59"/>
                    </a:lnTo>
                    <a:lnTo>
                      <a:pt x="9" y="59"/>
                    </a:lnTo>
                    <a:lnTo>
                      <a:pt x="9" y="60"/>
                    </a:lnTo>
                    <a:lnTo>
                      <a:pt x="10" y="62"/>
                    </a:lnTo>
                    <a:lnTo>
                      <a:pt x="10" y="63"/>
                    </a:lnTo>
                    <a:lnTo>
                      <a:pt x="12" y="64"/>
                    </a:lnTo>
                    <a:lnTo>
                      <a:pt x="12" y="66"/>
                    </a:lnTo>
                    <a:lnTo>
                      <a:pt x="10" y="73"/>
                    </a:lnTo>
                    <a:lnTo>
                      <a:pt x="10" y="73"/>
                    </a:lnTo>
                    <a:lnTo>
                      <a:pt x="10" y="74"/>
                    </a:lnTo>
                    <a:lnTo>
                      <a:pt x="12" y="79"/>
                    </a:lnTo>
                    <a:lnTo>
                      <a:pt x="12" y="79"/>
                    </a:lnTo>
                    <a:lnTo>
                      <a:pt x="13" y="82"/>
                    </a:lnTo>
                    <a:lnTo>
                      <a:pt x="15" y="82"/>
                    </a:lnTo>
                    <a:lnTo>
                      <a:pt x="16" y="83"/>
                    </a:lnTo>
                    <a:lnTo>
                      <a:pt x="16" y="86"/>
                    </a:lnTo>
                    <a:lnTo>
                      <a:pt x="16" y="89"/>
                    </a:lnTo>
                    <a:lnTo>
                      <a:pt x="15" y="92"/>
                    </a:lnTo>
                    <a:lnTo>
                      <a:pt x="13" y="97"/>
                    </a:lnTo>
                    <a:lnTo>
                      <a:pt x="15" y="96"/>
                    </a:lnTo>
                    <a:lnTo>
                      <a:pt x="16" y="95"/>
                    </a:lnTo>
                    <a:lnTo>
                      <a:pt x="18" y="93"/>
                    </a:lnTo>
                    <a:lnTo>
                      <a:pt x="21" y="95"/>
                    </a:lnTo>
                    <a:lnTo>
                      <a:pt x="21" y="96"/>
                    </a:lnTo>
                    <a:lnTo>
                      <a:pt x="22" y="97"/>
                    </a:lnTo>
                    <a:lnTo>
                      <a:pt x="23" y="99"/>
                    </a:lnTo>
                    <a:lnTo>
                      <a:pt x="23" y="99"/>
                    </a:lnTo>
                    <a:lnTo>
                      <a:pt x="28" y="100"/>
                    </a:lnTo>
                    <a:lnTo>
                      <a:pt x="32" y="102"/>
                    </a:lnTo>
                    <a:lnTo>
                      <a:pt x="32" y="103"/>
                    </a:lnTo>
                    <a:lnTo>
                      <a:pt x="33" y="103"/>
                    </a:lnTo>
                    <a:lnTo>
                      <a:pt x="33" y="105"/>
                    </a:lnTo>
                    <a:lnTo>
                      <a:pt x="36" y="103"/>
                    </a:lnTo>
                    <a:lnTo>
                      <a:pt x="38" y="103"/>
                    </a:lnTo>
                    <a:lnTo>
                      <a:pt x="41" y="103"/>
                    </a:lnTo>
                    <a:lnTo>
                      <a:pt x="41" y="106"/>
                    </a:lnTo>
                    <a:lnTo>
                      <a:pt x="41" y="108"/>
                    </a:lnTo>
                    <a:lnTo>
                      <a:pt x="39" y="108"/>
                    </a:lnTo>
                    <a:lnTo>
                      <a:pt x="38" y="109"/>
                    </a:lnTo>
                    <a:lnTo>
                      <a:pt x="38" y="110"/>
                    </a:lnTo>
                    <a:lnTo>
                      <a:pt x="43" y="116"/>
                    </a:lnTo>
                    <a:lnTo>
                      <a:pt x="45" y="118"/>
                    </a:lnTo>
                    <a:lnTo>
                      <a:pt x="46" y="118"/>
                    </a:lnTo>
                    <a:lnTo>
                      <a:pt x="48" y="116"/>
                    </a:lnTo>
                    <a:lnTo>
                      <a:pt x="49" y="115"/>
                    </a:lnTo>
                    <a:lnTo>
                      <a:pt x="51" y="113"/>
                    </a:lnTo>
                    <a:lnTo>
                      <a:pt x="51" y="113"/>
                    </a:lnTo>
                    <a:lnTo>
                      <a:pt x="51" y="113"/>
                    </a:lnTo>
                    <a:lnTo>
                      <a:pt x="51" y="112"/>
                    </a:lnTo>
                    <a:lnTo>
                      <a:pt x="51" y="110"/>
                    </a:lnTo>
                    <a:lnTo>
                      <a:pt x="49" y="110"/>
                    </a:lnTo>
                    <a:lnTo>
                      <a:pt x="49" y="109"/>
                    </a:lnTo>
                    <a:lnTo>
                      <a:pt x="51" y="109"/>
                    </a:lnTo>
                    <a:lnTo>
                      <a:pt x="54" y="110"/>
                    </a:lnTo>
                    <a:lnTo>
                      <a:pt x="58" y="113"/>
                    </a:lnTo>
                    <a:lnTo>
                      <a:pt x="61" y="113"/>
                    </a:lnTo>
                    <a:lnTo>
                      <a:pt x="62" y="113"/>
                    </a:lnTo>
                    <a:lnTo>
                      <a:pt x="64" y="113"/>
                    </a:lnTo>
                    <a:lnTo>
                      <a:pt x="64" y="112"/>
                    </a:lnTo>
                    <a:lnTo>
                      <a:pt x="64" y="113"/>
                    </a:lnTo>
                    <a:lnTo>
                      <a:pt x="64" y="115"/>
                    </a:lnTo>
                    <a:lnTo>
                      <a:pt x="64" y="115"/>
                    </a:lnTo>
                    <a:lnTo>
                      <a:pt x="62" y="116"/>
                    </a:lnTo>
                    <a:lnTo>
                      <a:pt x="62" y="116"/>
                    </a:lnTo>
                    <a:lnTo>
                      <a:pt x="64" y="119"/>
                    </a:lnTo>
                    <a:lnTo>
                      <a:pt x="65" y="120"/>
                    </a:lnTo>
                    <a:lnTo>
                      <a:pt x="66" y="120"/>
                    </a:lnTo>
                    <a:lnTo>
                      <a:pt x="68" y="120"/>
                    </a:lnTo>
                    <a:lnTo>
                      <a:pt x="68" y="120"/>
                    </a:lnTo>
                    <a:lnTo>
                      <a:pt x="69" y="119"/>
                    </a:lnTo>
                    <a:lnTo>
                      <a:pt x="69" y="119"/>
                    </a:lnTo>
                    <a:lnTo>
                      <a:pt x="71" y="120"/>
                    </a:lnTo>
                    <a:lnTo>
                      <a:pt x="72" y="120"/>
                    </a:lnTo>
                    <a:lnTo>
                      <a:pt x="74" y="122"/>
                    </a:lnTo>
                    <a:lnTo>
                      <a:pt x="77" y="123"/>
                    </a:lnTo>
                    <a:lnTo>
                      <a:pt x="78" y="123"/>
                    </a:lnTo>
                    <a:lnTo>
                      <a:pt x="79" y="125"/>
                    </a:lnTo>
                    <a:lnTo>
                      <a:pt x="81" y="129"/>
                    </a:lnTo>
                    <a:lnTo>
                      <a:pt x="82" y="131"/>
                    </a:lnTo>
                    <a:lnTo>
                      <a:pt x="84" y="132"/>
                    </a:lnTo>
                    <a:lnTo>
                      <a:pt x="84" y="133"/>
                    </a:lnTo>
                    <a:lnTo>
                      <a:pt x="85" y="133"/>
                    </a:lnTo>
                    <a:lnTo>
                      <a:pt x="85" y="135"/>
                    </a:lnTo>
                    <a:lnTo>
                      <a:pt x="87" y="135"/>
                    </a:lnTo>
                    <a:lnTo>
                      <a:pt x="87" y="136"/>
                    </a:lnTo>
                    <a:lnTo>
                      <a:pt x="88" y="136"/>
                    </a:lnTo>
                    <a:lnTo>
                      <a:pt x="89" y="135"/>
                    </a:lnTo>
                    <a:lnTo>
                      <a:pt x="89" y="133"/>
                    </a:lnTo>
                    <a:lnTo>
                      <a:pt x="91" y="133"/>
                    </a:lnTo>
                    <a:lnTo>
                      <a:pt x="94" y="132"/>
                    </a:lnTo>
                    <a:lnTo>
                      <a:pt x="95" y="132"/>
                    </a:lnTo>
                    <a:lnTo>
                      <a:pt x="95" y="133"/>
                    </a:lnTo>
                    <a:lnTo>
                      <a:pt x="97" y="135"/>
                    </a:lnTo>
                    <a:lnTo>
                      <a:pt x="98" y="135"/>
                    </a:lnTo>
                    <a:lnTo>
                      <a:pt x="99" y="136"/>
                    </a:lnTo>
                    <a:lnTo>
                      <a:pt x="99" y="136"/>
                    </a:lnTo>
                    <a:lnTo>
                      <a:pt x="99" y="138"/>
                    </a:lnTo>
                    <a:lnTo>
                      <a:pt x="101" y="139"/>
                    </a:lnTo>
                    <a:lnTo>
                      <a:pt x="101" y="139"/>
                    </a:lnTo>
                    <a:lnTo>
                      <a:pt x="101" y="141"/>
                    </a:lnTo>
                    <a:lnTo>
                      <a:pt x="101" y="141"/>
                    </a:lnTo>
                    <a:lnTo>
                      <a:pt x="101" y="141"/>
                    </a:lnTo>
                    <a:lnTo>
                      <a:pt x="101" y="141"/>
                    </a:lnTo>
                    <a:lnTo>
                      <a:pt x="102" y="141"/>
                    </a:lnTo>
                    <a:lnTo>
                      <a:pt x="104" y="141"/>
                    </a:lnTo>
                    <a:lnTo>
                      <a:pt x="105" y="141"/>
                    </a:lnTo>
                    <a:lnTo>
                      <a:pt x="107" y="139"/>
                    </a:lnTo>
                    <a:lnTo>
                      <a:pt x="108" y="138"/>
                    </a:lnTo>
                    <a:lnTo>
                      <a:pt x="111" y="136"/>
                    </a:lnTo>
                    <a:lnTo>
                      <a:pt x="112" y="136"/>
                    </a:lnTo>
                    <a:lnTo>
                      <a:pt x="115" y="136"/>
                    </a:lnTo>
                    <a:lnTo>
                      <a:pt x="118" y="138"/>
                    </a:lnTo>
                    <a:lnTo>
                      <a:pt x="118" y="138"/>
                    </a:lnTo>
                    <a:lnTo>
                      <a:pt x="121" y="138"/>
                    </a:lnTo>
                    <a:lnTo>
                      <a:pt x="121" y="136"/>
                    </a:lnTo>
                    <a:lnTo>
                      <a:pt x="122" y="136"/>
                    </a:lnTo>
                    <a:lnTo>
                      <a:pt x="122" y="135"/>
                    </a:lnTo>
                    <a:lnTo>
                      <a:pt x="130" y="135"/>
                    </a:lnTo>
                    <a:lnTo>
                      <a:pt x="137" y="138"/>
                    </a:lnTo>
                    <a:lnTo>
                      <a:pt x="143" y="142"/>
                    </a:lnTo>
                    <a:lnTo>
                      <a:pt x="148" y="143"/>
                    </a:lnTo>
                    <a:lnTo>
                      <a:pt x="153" y="145"/>
                    </a:lnTo>
                    <a:lnTo>
                      <a:pt x="154" y="145"/>
                    </a:lnTo>
                    <a:lnTo>
                      <a:pt x="154" y="145"/>
                    </a:lnTo>
                    <a:lnTo>
                      <a:pt x="154" y="143"/>
                    </a:lnTo>
                    <a:lnTo>
                      <a:pt x="153" y="143"/>
                    </a:lnTo>
                    <a:lnTo>
                      <a:pt x="153" y="142"/>
                    </a:lnTo>
                    <a:lnTo>
                      <a:pt x="151" y="135"/>
                    </a:lnTo>
                    <a:lnTo>
                      <a:pt x="151" y="132"/>
                    </a:lnTo>
                    <a:lnTo>
                      <a:pt x="151" y="129"/>
                    </a:lnTo>
                    <a:lnTo>
                      <a:pt x="154" y="126"/>
                    </a:lnTo>
                    <a:lnTo>
                      <a:pt x="166" y="115"/>
                    </a:lnTo>
                    <a:lnTo>
                      <a:pt x="168" y="112"/>
                    </a:lnTo>
                    <a:lnTo>
                      <a:pt x="170" y="110"/>
                    </a:lnTo>
                    <a:lnTo>
                      <a:pt x="173" y="110"/>
                    </a:lnTo>
                    <a:lnTo>
                      <a:pt x="174" y="109"/>
                    </a:lnTo>
                    <a:lnTo>
                      <a:pt x="176" y="106"/>
                    </a:lnTo>
                    <a:lnTo>
                      <a:pt x="176" y="105"/>
                    </a:lnTo>
                    <a:lnTo>
                      <a:pt x="176" y="103"/>
                    </a:lnTo>
                    <a:lnTo>
                      <a:pt x="176" y="102"/>
                    </a:lnTo>
                    <a:lnTo>
                      <a:pt x="176" y="100"/>
                    </a:lnTo>
                    <a:lnTo>
                      <a:pt x="176" y="99"/>
                    </a:lnTo>
                    <a:lnTo>
                      <a:pt x="176" y="99"/>
                    </a:lnTo>
                    <a:lnTo>
                      <a:pt x="176" y="99"/>
                    </a:lnTo>
                    <a:lnTo>
                      <a:pt x="176" y="97"/>
                    </a:lnTo>
                    <a:lnTo>
                      <a:pt x="176" y="97"/>
                    </a:lnTo>
                    <a:lnTo>
                      <a:pt x="176" y="97"/>
                    </a:lnTo>
                    <a:lnTo>
                      <a:pt x="176" y="96"/>
                    </a:lnTo>
                    <a:lnTo>
                      <a:pt x="174" y="96"/>
                    </a:lnTo>
                    <a:lnTo>
                      <a:pt x="173" y="90"/>
                    </a:lnTo>
                    <a:lnTo>
                      <a:pt x="171" y="89"/>
                    </a:lnTo>
                    <a:lnTo>
                      <a:pt x="170" y="87"/>
                    </a:lnTo>
                    <a:lnTo>
                      <a:pt x="168" y="86"/>
                    </a:lnTo>
                    <a:lnTo>
                      <a:pt x="168" y="85"/>
                    </a:lnTo>
                    <a:lnTo>
                      <a:pt x="168" y="83"/>
                    </a:lnTo>
                    <a:lnTo>
                      <a:pt x="168" y="82"/>
                    </a:lnTo>
                    <a:lnTo>
                      <a:pt x="167" y="80"/>
                    </a:lnTo>
                    <a:lnTo>
                      <a:pt x="167" y="76"/>
                    </a:lnTo>
                    <a:lnTo>
                      <a:pt x="168" y="69"/>
                    </a:lnTo>
                    <a:lnTo>
                      <a:pt x="167" y="66"/>
                    </a:lnTo>
                    <a:lnTo>
                      <a:pt x="166" y="64"/>
                    </a:lnTo>
                    <a:lnTo>
                      <a:pt x="161" y="63"/>
                    </a:lnTo>
                    <a:lnTo>
                      <a:pt x="160" y="62"/>
                    </a:lnTo>
                    <a:lnTo>
                      <a:pt x="160" y="60"/>
                    </a:lnTo>
                    <a:lnTo>
                      <a:pt x="161" y="57"/>
                    </a:lnTo>
                    <a:lnTo>
                      <a:pt x="163" y="56"/>
                    </a:lnTo>
                    <a:lnTo>
                      <a:pt x="164" y="54"/>
                    </a:lnTo>
                    <a:lnTo>
                      <a:pt x="166" y="54"/>
                    </a:lnTo>
                    <a:lnTo>
                      <a:pt x="171" y="51"/>
                    </a:lnTo>
                    <a:lnTo>
                      <a:pt x="173" y="50"/>
                    </a:lnTo>
                    <a:lnTo>
                      <a:pt x="173" y="49"/>
                    </a:lnTo>
                    <a:lnTo>
                      <a:pt x="173" y="46"/>
                    </a:lnTo>
                    <a:lnTo>
                      <a:pt x="173" y="44"/>
                    </a:lnTo>
                    <a:lnTo>
                      <a:pt x="173" y="41"/>
                    </a:lnTo>
                    <a:lnTo>
                      <a:pt x="166" y="20"/>
                    </a:lnTo>
                    <a:lnTo>
                      <a:pt x="166" y="17"/>
                    </a:lnTo>
                    <a:lnTo>
                      <a:pt x="164" y="16"/>
                    </a:lnTo>
                    <a:lnTo>
                      <a:pt x="161" y="14"/>
                    </a:lnTo>
                    <a:lnTo>
                      <a:pt x="158" y="13"/>
                    </a:lnTo>
                    <a:lnTo>
                      <a:pt x="155" y="10"/>
                    </a:lnTo>
                    <a:lnTo>
                      <a:pt x="154" y="10"/>
                    </a:lnTo>
                    <a:lnTo>
                      <a:pt x="153" y="11"/>
                    </a:lnTo>
                    <a:lnTo>
                      <a:pt x="153" y="11"/>
                    </a:lnTo>
                    <a:lnTo>
                      <a:pt x="147" y="11"/>
                    </a:lnTo>
                    <a:lnTo>
                      <a:pt x="145" y="11"/>
                    </a:lnTo>
                    <a:lnTo>
                      <a:pt x="138" y="10"/>
                    </a:lnTo>
                    <a:lnTo>
                      <a:pt x="131" y="10"/>
                    </a:lnTo>
                    <a:lnTo>
                      <a:pt x="124" y="10"/>
                    </a:lnTo>
                    <a:lnTo>
                      <a:pt x="120" y="10"/>
                    </a:lnTo>
                    <a:lnTo>
                      <a:pt x="101" y="8"/>
                    </a:lnTo>
                    <a:lnTo>
                      <a:pt x="98" y="8"/>
                    </a:lnTo>
                    <a:lnTo>
                      <a:pt x="95" y="8"/>
                    </a:lnTo>
                    <a:lnTo>
                      <a:pt x="89" y="11"/>
                    </a:lnTo>
                    <a:lnTo>
                      <a:pt x="87" y="11"/>
                    </a:lnTo>
                    <a:lnTo>
                      <a:pt x="82" y="10"/>
                    </a:lnTo>
                    <a:lnTo>
                      <a:pt x="79" y="8"/>
                    </a:lnTo>
                    <a:lnTo>
                      <a:pt x="78" y="5"/>
                    </a:lnTo>
                    <a:lnTo>
                      <a:pt x="77" y="1"/>
                    </a:lnTo>
                    <a:lnTo>
                      <a:pt x="78" y="3"/>
                    </a:lnTo>
                    <a:lnTo>
                      <a:pt x="81" y="4"/>
                    </a:lnTo>
                    <a:lnTo>
                      <a:pt x="84" y="4"/>
                    </a:lnTo>
                    <a:lnTo>
                      <a:pt x="79" y="1"/>
                    </a:lnTo>
                    <a:lnTo>
                      <a:pt x="74" y="0"/>
                    </a:lnTo>
                    <a:lnTo>
                      <a:pt x="68" y="0"/>
                    </a:lnTo>
                    <a:lnTo>
                      <a:pt x="59" y="1"/>
                    </a:lnTo>
                    <a:lnTo>
                      <a:pt x="46" y="5"/>
                    </a:lnTo>
                    <a:lnTo>
                      <a:pt x="43" y="7"/>
                    </a:lnTo>
                    <a:lnTo>
                      <a:pt x="41" y="8"/>
                    </a:lnTo>
                    <a:lnTo>
                      <a:pt x="38" y="11"/>
                    </a:lnTo>
                    <a:lnTo>
                      <a:pt x="36" y="11"/>
                    </a:lnTo>
                    <a:lnTo>
                      <a:pt x="35" y="13"/>
                    </a:lnTo>
                    <a:lnTo>
                      <a:pt x="22" y="16"/>
                    </a:lnTo>
                    <a:lnTo>
                      <a:pt x="12" y="18"/>
                    </a:lnTo>
                    <a:lnTo>
                      <a:pt x="6" y="20"/>
                    </a:lnTo>
                    <a:lnTo>
                      <a:pt x="2" y="20"/>
                    </a:lnTo>
                    <a:lnTo>
                      <a:pt x="2" y="21"/>
                    </a:lnTo>
                    <a:lnTo>
                      <a:pt x="2" y="21"/>
                    </a:lnTo>
                    <a:lnTo>
                      <a:pt x="2" y="21"/>
                    </a:lnTo>
                    <a:lnTo>
                      <a:pt x="2" y="23"/>
                    </a:lnTo>
                    <a:lnTo>
                      <a:pt x="6" y="23"/>
                    </a:lnTo>
                    <a:lnTo>
                      <a:pt x="8" y="23"/>
                    </a:lnTo>
                    <a:lnTo>
                      <a:pt x="9" y="24"/>
                    </a:lnTo>
                    <a:lnTo>
                      <a:pt x="9" y="24"/>
                    </a:lnTo>
                    <a:lnTo>
                      <a:pt x="9" y="27"/>
                    </a:lnTo>
                    <a:lnTo>
                      <a:pt x="9" y="27"/>
                    </a:lnTo>
                    <a:lnTo>
                      <a:pt x="3" y="26"/>
                    </a:lnTo>
                    <a:lnTo>
                      <a:pt x="6" y="34"/>
                    </a:lnTo>
                    <a:lnTo>
                      <a:pt x="6" y="3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63" name="Freeform 69">
                <a:extLst>
                  <a:ext uri="{FF2B5EF4-FFF2-40B4-BE49-F238E27FC236}">
                    <a16:creationId xmlns:a16="http://schemas.microsoft.com/office/drawing/2014/main" id="{A83781B8-6A35-D94A-56CA-46318828C0B9}"/>
                  </a:ext>
                </a:extLst>
              </p:cNvPr>
              <p:cNvSpPr>
                <a:spLocks/>
              </p:cNvSpPr>
              <p:nvPr/>
            </p:nvSpPr>
            <p:spPr bwMode="auto">
              <a:xfrm>
                <a:off x="3782" y="1812"/>
                <a:ext cx="56" cy="33"/>
              </a:xfrm>
              <a:custGeom>
                <a:avLst/>
                <a:gdLst>
                  <a:gd name="T0" fmla="*/ 9 w 56"/>
                  <a:gd name="T1" fmla="*/ 33 h 33"/>
                  <a:gd name="T2" fmla="*/ 11 w 56"/>
                  <a:gd name="T3" fmla="*/ 32 h 33"/>
                  <a:gd name="T4" fmla="*/ 11 w 56"/>
                  <a:gd name="T5" fmla="*/ 32 h 33"/>
                  <a:gd name="T6" fmla="*/ 12 w 56"/>
                  <a:gd name="T7" fmla="*/ 32 h 33"/>
                  <a:gd name="T8" fmla="*/ 13 w 56"/>
                  <a:gd name="T9" fmla="*/ 32 h 33"/>
                  <a:gd name="T10" fmla="*/ 19 w 56"/>
                  <a:gd name="T11" fmla="*/ 30 h 33"/>
                  <a:gd name="T12" fmla="*/ 21 w 56"/>
                  <a:gd name="T13" fmla="*/ 29 h 33"/>
                  <a:gd name="T14" fmla="*/ 22 w 56"/>
                  <a:gd name="T15" fmla="*/ 27 h 33"/>
                  <a:gd name="T16" fmla="*/ 23 w 56"/>
                  <a:gd name="T17" fmla="*/ 30 h 33"/>
                  <a:gd name="T18" fmla="*/ 26 w 56"/>
                  <a:gd name="T19" fmla="*/ 32 h 33"/>
                  <a:gd name="T20" fmla="*/ 28 w 56"/>
                  <a:gd name="T21" fmla="*/ 32 h 33"/>
                  <a:gd name="T22" fmla="*/ 29 w 56"/>
                  <a:gd name="T23" fmla="*/ 32 h 33"/>
                  <a:gd name="T24" fmla="*/ 34 w 56"/>
                  <a:gd name="T25" fmla="*/ 33 h 33"/>
                  <a:gd name="T26" fmla="*/ 35 w 56"/>
                  <a:gd name="T27" fmla="*/ 32 h 33"/>
                  <a:gd name="T28" fmla="*/ 35 w 56"/>
                  <a:gd name="T29" fmla="*/ 30 h 33"/>
                  <a:gd name="T30" fmla="*/ 35 w 56"/>
                  <a:gd name="T31" fmla="*/ 29 h 33"/>
                  <a:gd name="T32" fmla="*/ 35 w 56"/>
                  <a:gd name="T33" fmla="*/ 27 h 33"/>
                  <a:gd name="T34" fmla="*/ 35 w 56"/>
                  <a:gd name="T35" fmla="*/ 27 h 33"/>
                  <a:gd name="T36" fmla="*/ 34 w 56"/>
                  <a:gd name="T37" fmla="*/ 26 h 33"/>
                  <a:gd name="T38" fmla="*/ 39 w 56"/>
                  <a:gd name="T39" fmla="*/ 25 h 33"/>
                  <a:gd name="T40" fmla="*/ 41 w 56"/>
                  <a:gd name="T41" fmla="*/ 22 h 33"/>
                  <a:gd name="T42" fmla="*/ 41 w 56"/>
                  <a:gd name="T43" fmla="*/ 17 h 33"/>
                  <a:gd name="T44" fmla="*/ 42 w 56"/>
                  <a:gd name="T45" fmla="*/ 14 h 33"/>
                  <a:gd name="T46" fmla="*/ 49 w 56"/>
                  <a:gd name="T47" fmla="*/ 10 h 33"/>
                  <a:gd name="T48" fmla="*/ 51 w 56"/>
                  <a:gd name="T49" fmla="*/ 10 h 33"/>
                  <a:gd name="T50" fmla="*/ 51 w 56"/>
                  <a:gd name="T51" fmla="*/ 10 h 33"/>
                  <a:gd name="T52" fmla="*/ 51 w 56"/>
                  <a:gd name="T53" fmla="*/ 7 h 33"/>
                  <a:gd name="T54" fmla="*/ 54 w 56"/>
                  <a:gd name="T55" fmla="*/ 7 h 33"/>
                  <a:gd name="T56" fmla="*/ 56 w 56"/>
                  <a:gd name="T57" fmla="*/ 7 h 33"/>
                  <a:gd name="T58" fmla="*/ 51 w 56"/>
                  <a:gd name="T59" fmla="*/ 0 h 33"/>
                  <a:gd name="T60" fmla="*/ 48 w 56"/>
                  <a:gd name="T61" fmla="*/ 0 h 33"/>
                  <a:gd name="T62" fmla="*/ 46 w 56"/>
                  <a:gd name="T63" fmla="*/ 3 h 33"/>
                  <a:gd name="T64" fmla="*/ 29 w 56"/>
                  <a:gd name="T65" fmla="*/ 4 h 33"/>
                  <a:gd name="T66" fmla="*/ 25 w 56"/>
                  <a:gd name="T67" fmla="*/ 7 h 33"/>
                  <a:gd name="T68" fmla="*/ 22 w 56"/>
                  <a:gd name="T69" fmla="*/ 9 h 33"/>
                  <a:gd name="T70" fmla="*/ 16 w 56"/>
                  <a:gd name="T71" fmla="*/ 9 h 33"/>
                  <a:gd name="T72" fmla="*/ 5 w 56"/>
                  <a:gd name="T73" fmla="*/ 9 h 33"/>
                  <a:gd name="T74" fmla="*/ 0 w 56"/>
                  <a:gd name="T75" fmla="*/ 12 h 33"/>
                  <a:gd name="T76" fmla="*/ 2 w 56"/>
                  <a:gd name="T77" fmla="*/ 14 h 33"/>
                  <a:gd name="T78" fmla="*/ 3 w 56"/>
                  <a:gd name="T79" fmla="*/ 14 h 33"/>
                  <a:gd name="T80" fmla="*/ 5 w 56"/>
                  <a:gd name="T81" fmla="*/ 16 h 33"/>
                  <a:gd name="T82" fmla="*/ 5 w 56"/>
                  <a:gd name="T83" fmla="*/ 16 h 33"/>
                  <a:gd name="T84" fmla="*/ 5 w 56"/>
                  <a:gd name="T85" fmla="*/ 16 h 33"/>
                  <a:gd name="T86" fmla="*/ 3 w 56"/>
                  <a:gd name="T87" fmla="*/ 17 h 33"/>
                  <a:gd name="T88" fmla="*/ 3 w 56"/>
                  <a:gd name="T89" fmla="*/ 19 h 33"/>
                  <a:gd name="T90" fmla="*/ 3 w 56"/>
                  <a:gd name="T91" fmla="*/ 20 h 33"/>
                  <a:gd name="T92" fmla="*/ 5 w 56"/>
                  <a:gd name="T93" fmla="*/ 20 h 33"/>
                  <a:gd name="T94" fmla="*/ 5 w 56"/>
                  <a:gd name="T95" fmla="*/ 25 h 33"/>
                  <a:gd name="T96" fmla="*/ 9 w 56"/>
                  <a:gd name="T97" fmla="*/ 29 h 33"/>
                  <a:gd name="T98" fmla="*/ 6 w 56"/>
                  <a:gd name="T99" fmla="*/ 29 h 33"/>
                  <a:gd name="T100" fmla="*/ 5 w 56"/>
                  <a:gd name="T101" fmla="*/ 30 h 33"/>
                  <a:gd name="T102" fmla="*/ 5 w 56"/>
                  <a:gd name="T103"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 h="33">
                    <a:moveTo>
                      <a:pt x="6" y="32"/>
                    </a:moveTo>
                    <a:lnTo>
                      <a:pt x="9" y="33"/>
                    </a:lnTo>
                    <a:lnTo>
                      <a:pt x="11" y="33"/>
                    </a:lnTo>
                    <a:lnTo>
                      <a:pt x="11" y="32"/>
                    </a:lnTo>
                    <a:lnTo>
                      <a:pt x="11" y="32"/>
                    </a:lnTo>
                    <a:lnTo>
                      <a:pt x="11" y="32"/>
                    </a:lnTo>
                    <a:lnTo>
                      <a:pt x="11" y="32"/>
                    </a:lnTo>
                    <a:lnTo>
                      <a:pt x="12" y="32"/>
                    </a:lnTo>
                    <a:lnTo>
                      <a:pt x="13" y="32"/>
                    </a:lnTo>
                    <a:lnTo>
                      <a:pt x="13" y="32"/>
                    </a:lnTo>
                    <a:lnTo>
                      <a:pt x="18" y="32"/>
                    </a:lnTo>
                    <a:lnTo>
                      <a:pt x="19" y="30"/>
                    </a:lnTo>
                    <a:lnTo>
                      <a:pt x="19" y="30"/>
                    </a:lnTo>
                    <a:lnTo>
                      <a:pt x="21" y="29"/>
                    </a:lnTo>
                    <a:lnTo>
                      <a:pt x="21" y="27"/>
                    </a:lnTo>
                    <a:lnTo>
                      <a:pt x="22" y="27"/>
                    </a:lnTo>
                    <a:lnTo>
                      <a:pt x="22" y="27"/>
                    </a:lnTo>
                    <a:lnTo>
                      <a:pt x="23" y="30"/>
                    </a:lnTo>
                    <a:lnTo>
                      <a:pt x="25" y="30"/>
                    </a:lnTo>
                    <a:lnTo>
                      <a:pt x="26" y="32"/>
                    </a:lnTo>
                    <a:lnTo>
                      <a:pt x="26" y="32"/>
                    </a:lnTo>
                    <a:lnTo>
                      <a:pt x="28" y="32"/>
                    </a:lnTo>
                    <a:lnTo>
                      <a:pt x="28" y="32"/>
                    </a:lnTo>
                    <a:lnTo>
                      <a:pt x="29" y="32"/>
                    </a:lnTo>
                    <a:lnTo>
                      <a:pt x="32" y="32"/>
                    </a:lnTo>
                    <a:lnTo>
                      <a:pt x="34" y="33"/>
                    </a:lnTo>
                    <a:lnTo>
                      <a:pt x="35" y="32"/>
                    </a:lnTo>
                    <a:lnTo>
                      <a:pt x="35" y="32"/>
                    </a:lnTo>
                    <a:lnTo>
                      <a:pt x="35" y="30"/>
                    </a:lnTo>
                    <a:lnTo>
                      <a:pt x="35" y="30"/>
                    </a:lnTo>
                    <a:lnTo>
                      <a:pt x="35" y="29"/>
                    </a:lnTo>
                    <a:lnTo>
                      <a:pt x="35" y="29"/>
                    </a:lnTo>
                    <a:lnTo>
                      <a:pt x="35" y="29"/>
                    </a:lnTo>
                    <a:lnTo>
                      <a:pt x="35" y="27"/>
                    </a:lnTo>
                    <a:lnTo>
                      <a:pt x="35" y="27"/>
                    </a:lnTo>
                    <a:lnTo>
                      <a:pt x="35" y="27"/>
                    </a:lnTo>
                    <a:lnTo>
                      <a:pt x="34" y="26"/>
                    </a:lnTo>
                    <a:lnTo>
                      <a:pt x="34" y="26"/>
                    </a:lnTo>
                    <a:lnTo>
                      <a:pt x="35" y="25"/>
                    </a:lnTo>
                    <a:lnTo>
                      <a:pt x="39" y="25"/>
                    </a:lnTo>
                    <a:lnTo>
                      <a:pt x="41" y="23"/>
                    </a:lnTo>
                    <a:lnTo>
                      <a:pt x="41" y="22"/>
                    </a:lnTo>
                    <a:lnTo>
                      <a:pt x="41" y="19"/>
                    </a:lnTo>
                    <a:lnTo>
                      <a:pt x="41" y="17"/>
                    </a:lnTo>
                    <a:lnTo>
                      <a:pt x="41" y="14"/>
                    </a:lnTo>
                    <a:lnTo>
                      <a:pt x="42" y="14"/>
                    </a:lnTo>
                    <a:lnTo>
                      <a:pt x="46" y="12"/>
                    </a:lnTo>
                    <a:lnTo>
                      <a:pt x="49" y="10"/>
                    </a:lnTo>
                    <a:lnTo>
                      <a:pt x="49" y="10"/>
                    </a:lnTo>
                    <a:lnTo>
                      <a:pt x="51" y="10"/>
                    </a:lnTo>
                    <a:lnTo>
                      <a:pt x="51" y="10"/>
                    </a:lnTo>
                    <a:lnTo>
                      <a:pt x="51" y="10"/>
                    </a:lnTo>
                    <a:lnTo>
                      <a:pt x="51" y="9"/>
                    </a:lnTo>
                    <a:lnTo>
                      <a:pt x="51" y="7"/>
                    </a:lnTo>
                    <a:lnTo>
                      <a:pt x="52" y="7"/>
                    </a:lnTo>
                    <a:lnTo>
                      <a:pt x="54" y="7"/>
                    </a:lnTo>
                    <a:lnTo>
                      <a:pt x="55" y="7"/>
                    </a:lnTo>
                    <a:lnTo>
                      <a:pt x="56" y="7"/>
                    </a:lnTo>
                    <a:lnTo>
                      <a:pt x="54" y="2"/>
                    </a:lnTo>
                    <a:lnTo>
                      <a:pt x="51" y="0"/>
                    </a:lnTo>
                    <a:lnTo>
                      <a:pt x="48" y="0"/>
                    </a:lnTo>
                    <a:lnTo>
                      <a:pt x="48" y="0"/>
                    </a:lnTo>
                    <a:lnTo>
                      <a:pt x="46" y="2"/>
                    </a:lnTo>
                    <a:lnTo>
                      <a:pt x="46" y="3"/>
                    </a:lnTo>
                    <a:lnTo>
                      <a:pt x="45" y="3"/>
                    </a:lnTo>
                    <a:lnTo>
                      <a:pt x="29" y="4"/>
                    </a:lnTo>
                    <a:lnTo>
                      <a:pt x="26" y="6"/>
                    </a:lnTo>
                    <a:lnTo>
                      <a:pt x="25" y="7"/>
                    </a:lnTo>
                    <a:lnTo>
                      <a:pt x="23" y="9"/>
                    </a:lnTo>
                    <a:lnTo>
                      <a:pt x="22" y="9"/>
                    </a:lnTo>
                    <a:lnTo>
                      <a:pt x="19" y="10"/>
                    </a:lnTo>
                    <a:lnTo>
                      <a:pt x="16" y="9"/>
                    </a:lnTo>
                    <a:lnTo>
                      <a:pt x="6" y="7"/>
                    </a:lnTo>
                    <a:lnTo>
                      <a:pt x="5" y="9"/>
                    </a:lnTo>
                    <a:lnTo>
                      <a:pt x="3" y="10"/>
                    </a:lnTo>
                    <a:lnTo>
                      <a:pt x="0" y="12"/>
                    </a:lnTo>
                    <a:lnTo>
                      <a:pt x="0" y="14"/>
                    </a:lnTo>
                    <a:lnTo>
                      <a:pt x="2" y="14"/>
                    </a:lnTo>
                    <a:lnTo>
                      <a:pt x="2" y="14"/>
                    </a:lnTo>
                    <a:lnTo>
                      <a:pt x="3" y="14"/>
                    </a:lnTo>
                    <a:lnTo>
                      <a:pt x="3" y="14"/>
                    </a:lnTo>
                    <a:lnTo>
                      <a:pt x="5" y="16"/>
                    </a:lnTo>
                    <a:lnTo>
                      <a:pt x="5" y="16"/>
                    </a:lnTo>
                    <a:lnTo>
                      <a:pt x="5" y="16"/>
                    </a:lnTo>
                    <a:lnTo>
                      <a:pt x="5" y="16"/>
                    </a:lnTo>
                    <a:lnTo>
                      <a:pt x="5" y="16"/>
                    </a:lnTo>
                    <a:lnTo>
                      <a:pt x="3" y="17"/>
                    </a:lnTo>
                    <a:lnTo>
                      <a:pt x="3" y="17"/>
                    </a:lnTo>
                    <a:lnTo>
                      <a:pt x="3" y="17"/>
                    </a:lnTo>
                    <a:lnTo>
                      <a:pt x="3" y="19"/>
                    </a:lnTo>
                    <a:lnTo>
                      <a:pt x="2" y="19"/>
                    </a:lnTo>
                    <a:lnTo>
                      <a:pt x="3" y="20"/>
                    </a:lnTo>
                    <a:lnTo>
                      <a:pt x="3" y="20"/>
                    </a:lnTo>
                    <a:lnTo>
                      <a:pt x="5" y="20"/>
                    </a:lnTo>
                    <a:lnTo>
                      <a:pt x="5" y="23"/>
                    </a:lnTo>
                    <a:lnTo>
                      <a:pt x="5" y="25"/>
                    </a:lnTo>
                    <a:lnTo>
                      <a:pt x="8" y="27"/>
                    </a:lnTo>
                    <a:lnTo>
                      <a:pt x="9" y="29"/>
                    </a:lnTo>
                    <a:lnTo>
                      <a:pt x="6" y="29"/>
                    </a:lnTo>
                    <a:lnTo>
                      <a:pt x="6" y="29"/>
                    </a:lnTo>
                    <a:lnTo>
                      <a:pt x="6" y="30"/>
                    </a:lnTo>
                    <a:lnTo>
                      <a:pt x="5" y="30"/>
                    </a:lnTo>
                    <a:lnTo>
                      <a:pt x="5" y="30"/>
                    </a:lnTo>
                    <a:lnTo>
                      <a:pt x="5" y="32"/>
                    </a:lnTo>
                    <a:lnTo>
                      <a:pt x="6" y="3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64" name="Freeform 70">
                <a:extLst>
                  <a:ext uri="{FF2B5EF4-FFF2-40B4-BE49-F238E27FC236}">
                    <a16:creationId xmlns:a16="http://schemas.microsoft.com/office/drawing/2014/main" id="{60AA6500-EFC7-88E5-B15B-9A16846416C6}"/>
                  </a:ext>
                </a:extLst>
              </p:cNvPr>
              <p:cNvSpPr>
                <a:spLocks/>
              </p:cNvSpPr>
              <p:nvPr/>
            </p:nvSpPr>
            <p:spPr bwMode="auto">
              <a:xfrm>
                <a:off x="3824" y="1848"/>
                <a:ext cx="68" cy="62"/>
              </a:xfrm>
              <a:custGeom>
                <a:avLst/>
                <a:gdLst>
                  <a:gd name="T0" fmla="*/ 48 w 68"/>
                  <a:gd name="T1" fmla="*/ 62 h 62"/>
                  <a:gd name="T2" fmla="*/ 49 w 68"/>
                  <a:gd name="T3" fmla="*/ 57 h 62"/>
                  <a:gd name="T4" fmla="*/ 48 w 68"/>
                  <a:gd name="T5" fmla="*/ 53 h 62"/>
                  <a:gd name="T6" fmla="*/ 49 w 68"/>
                  <a:gd name="T7" fmla="*/ 52 h 62"/>
                  <a:gd name="T8" fmla="*/ 50 w 68"/>
                  <a:gd name="T9" fmla="*/ 52 h 62"/>
                  <a:gd name="T10" fmla="*/ 52 w 68"/>
                  <a:gd name="T11" fmla="*/ 47 h 62"/>
                  <a:gd name="T12" fmla="*/ 53 w 68"/>
                  <a:gd name="T13" fmla="*/ 45 h 62"/>
                  <a:gd name="T14" fmla="*/ 58 w 68"/>
                  <a:gd name="T15" fmla="*/ 45 h 62"/>
                  <a:gd name="T16" fmla="*/ 58 w 68"/>
                  <a:gd name="T17" fmla="*/ 43 h 62"/>
                  <a:gd name="T18" fmla="*/ 56 w 68"/>
                  <a:gd name="T19" fmla="*/ 42 h 62"/>
                  <a:gd name="T20" fmla="*/ 58 w 68"/>
                  <a:gd name="T21" fmla="*/ 40 h 62"/>
                  <a:gd name="T22" fmla="*/ 60 w 68"/>
                  <a:gd name="T23" fmla="*/ 40 h 62"/>
                  <a:gd name="T24" fmla="*/ 63 w 68"/>
                  <a:gd name="T25" fmla="*/ 39 h 62"/>
                  <a:gd name="T26" fmla="*/ 66 w 68"/>
                  <a:gd name="T27" fmla="*/ 39 h 62"/>
                  <a:gd name="T28" fmla="*/ 66 w 68"/>
                  <a:gd name="T29" fmla="*/ 36 h 62"/>
                  <a:gd name="T30" fmla="*/ 63 w 68"/>
                  <a:gd name="T31" fmla="*/ 30 h 62"/>
                  <a:gd name="T32" fmla="*/ 68 w 68"/>
                  <a:gd name="T33" fmla="*/ 30 h 62"/>
                  <a:gd name="T34" fmla="*/ 66 w 68"/>
                  <a:gd name="T35" fmla="*/ 27 h 62"/>
                  <a:gd name="T36" fmla="*/ 62 w 68"/>
                  <a:gd name="T37" fmla="*/ 23 h 62"/>
                  <a:gd name="T38" fmla="*/ 60 w 68"/>
                  <a:gd name="T39" fmla="*/ 17 h 62"/>
                  <a:gd name="T40" fmla="*/ 62 w 68"/>
                  <a:gd name="T41" fmla="*/ 9 h 62"/>
                  <a:gd name="T42" fmla="*/ 56 w 68"/>
                  <a:gd name="T43" fmla="*/ 10 h 62"/>
                  <a:gd name="T44" fmla="*/ 52 w 68"/>
                  <a:gd name="T45" fmla="*/ 6 h 62"/>
                  <a:gd name="T46" fmla="*/ 49 w 68"/>
                  <a:gd name="T47" fmla="*/ 4 h 62"/>
                  <a:gd name="T48" fmla="*/ 39 w 68"/>
                  <a:gd name="T49" fmla="*/ 4 h 62"/>
                  <a:gd name="T50" fmla="*/ 25 w 68"/>
                  <a:gd name="T51" fmla="*/ 3 h 62"/>
                  <a:gd name="T52" fmla="*/ 22 w 68"/>
                  <a:gd name="T53" fmla="*/ 1 h 62"/>
                  <a:gd name="T54" fmla="*/ 20 w 68"/>
                  <a:gd name="T55" fmla="*/ 1 h 62"/>
                  <a:gd name="T56" fmla="*/ 16 w 68"/>
                  <a:gd name="T57" fmla="*/ 1 h 62"/>
                  <a:gd name="T58" fmla="*/ 14 w 68"/>
                  <a:gd name="T59" fmla="*/ 1 h 62"/>
                  <a:gd name="T60" fmla="*/ 13 w 68"/>
                  <a:gd name="T61" fmla="*/ 3 h 62"/>
                  <a:gd name="T62" fmla="*/ 12 w 68"/>
                  <a:gd name="T63" fmla="*/ 6 h 62"/>
                  <a:gd name="T64" fmla="*/ 9 w 68"/>
                  <a:gd name="T65" fmla="*/ 6 h 62"/>
                  <a:gd name="T66" fmla="*/ 6 w 68"/>
                  <a:gd name="T67" fmla="*/ 3 h 62"/>
                  <a:gd name="T68" fmla="*/ 2 w 68"/>
                  <a:gd name="T69" fmla="*/ 3 h 62"/>
                  <a:gd name="T70" fmla="*/ 0 w 68"/>
                  <a:gd name="T71" fmla="*/ 9 h 62"/>
                  <a:gd name="T72" fmla="*/ 3 w 68"/>
                  <a:gd name="T73" fmla="*/ 14 h 62"/>
                  <a:gd name="T74" fmla="*/ 7 w 68"/>
                  <a:gd name="T75" fmla="*/ 20 h 62"/>
                  <a:gd name="T76" fmla="*/ 9 w 68"/>
                  <a:gd name="T77" fmla="*/ 24 h 62"/>
                  <a:gd name="T78" fmla="*/ 12 w 68"/>
                  <a:gd name="T79" fmla="*/ 29 h 62"/>
                  <a:gd name="T80" fmla="*/ 27 w 68"/>
                  <a:gd name="T81" fmla="*/ 43 h 62"/>
                  <a:gd name="T82" fmla="*/ 27 w 68"/>
                  <a:gd name="T83" fmla="*/ 45 h 62"/>
                  <a:gd name="T84" fmla="*/ 29 w 68"/>
                  <a:gd name="T85" fmla="*/ 47 h 62"/>
                  <a:gd name="T86" fmla="*/ 33 w 68"/>
                  <a:gd name="T87" fmla="*/ 52 h 62"/>
                  <a:gd name="T88" fmla="*/ 35 w 68"/>
                  <a:gd name="T89" fmla="*/ 55 h 62"/>
                  <a:gd name="T90" fmla="*/ 45 w 68"/>
                  <a:gd name="T91" fmla="*/ 6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 h="62">
                    <a:moveTo>
                      <a:pt x="45" y="60"/>
                    </a:moveTo>
                    <a:lnTo>
                      <a:pt x="48" y="62"/>
                    </a:lnTo>
                    <a:lnTo>
                      <a:pt x="49" y="60"/>
                    </a:lnTo>
                    <a:lnTo>
                      <a:pt x="49" y="57"/>
                    </a:lnTo>
                    <a:lnTo>
                      <a:pt x="48" y="56"/>
                    </a:lnTo>
                    <a:lnTo>
                      <a:pt x="48" y="53"/>
                    </a:lnTo>
                    <a:lnTo>
                      <a:pt x="49" y="52"/>
                    </a:lnTo>
                    <a:lnTo>
                      <a:pt x="49" y="52"/>
                    </a:lnTo>
                    <a:lnTo>
                      <a:pt x="50" y="52"/>
                    </a:lnTo>
                    <a:lnTo>
                      <a:pt x="50" y="52"/>
                    </a:lnTo>
                    <a:lnTo>
                      <a:pt x="52" y="50"/>
                    </a:lnTo>
                    <a:lnTo>
                      <a:pt x="52" y="47"/>
                    </a:lnTo>
                    <a:lnTo>
                      <a:pt x="52" y="47"/>
                    </a:lnTo>
                    <a:lnTo>
                      <a:pt x="53" y="45"/>
                    </a:lnTo>
                    <a:lnTo>
                      <a:pt x="56" y="45"/>
                    </a:lnTo>
                    <a:lnTo>
                      <a:pt x="58" y="45"/>
                    </a:lnTo>
                    <a:lnTo>
                      <a:pt x="58" y="45"/>
                    </a:lnTo>
                    <a:lnTo>
                      <a:pt x="58" y="43"/>
                    </a:lnTo>
                    <a:lnTo>
                      <a:pt x="58" y="42"/>
                    </a:lnTo>
                    <a:lnTo>
                      <a:pt x="56" y="42"/>
                    </a:lnTo>
                    <a:lnTo>
                      <a:pt x="58" y="40"/>
                    </a:lnTo>
                    <a:lnTo>
                      <a:pt x="58" y="40"/>
                    </a:lnTo>
                    <a:lnTo>
                      <a:pt x="60" y="40"/>
                    </a:lnTo>
                    <a:lnTo>
                      <a:pt x="60" y="40"/>
                    </a:lnTo>
                    <a:lnTo>
                      <a:pt x="62" y="39"/>
                    </a:lnTo>
                    <a:lnTo>
                      <a:pt x="63" y="39"/>
                    </a:lnTo>
                    <a:lnTo>
                      <a:pt x="65" y="40"/>
                    </a:lnTo>
                    <a:lnTo>
                      <a:pt x="66" y="39"/>
                    </a:lnTo>
                    <a:lnTo>
                      <a:pt x="66" y="37"/>
                    </a:lnTo>
                    <a:lnTo>
                      <a:pt x="66" y="36"/>
                    </a:lnTo>
                    <a:lnTo>
                      <a:pt x="62" y="30"/>
                    </a:lnTo>
                    <a:lnTo>
                      <a:pt x="63" y="30"/>
                    </a:lnTo>
                    <a:lnTo>
                      <a:pt x="66" y="30"/>
                    </a:lnTo>
                    <a:lnTo>
                      <a:pt x="68" y="30"/>
                    </a:lnTo>
                    <a:lnTo>
                      <a:pt x="68" y="29"/>
                    </a:lnTo>
                    <a:lnTo>
                      <a:pt x="66" y="27"/>
                    </a:lnTo>
                    <a:lnTo>
                      <a:pt x="65" y="24"/>
                    </a:lnTo>
                    <a:lnTo>
                      <a:pt x="62" y="23"/>
                    </a:lnTo>
                    <a:lnTo>
                      <a:pt x="60" y="22"/>
                    </a:lnTo>
                    <a:lnTo>
                      <a:pt x="60" y="17"/>
                    </a:lnTo>
                    <a:lnTo>
                      <a:pt x="63" y="10"/>
                    </a:lnTo>
                    <a:lnTo>
                      <a:pt x="62" y="9"/>
                    </a:lnTo>
                    <a:lnTo>
                      <a:pt x="58" y="10"/>
                    </a:lnTo>
                    <a:lnTo>
                      <a:pt x="56" y="10"/>
                    </a:lnTo>
                    <a:lnTo>
                      <a:pt x="55" y="10"/>
                    </a:lnTo>
                    <a:lnTo>
                      <a:pt x="52" y="6"/>
                    </a:lnTo>
                    <a:lnTo>
                      <a:pt x="50" y="6"/>
                    </a:lnTo>
                    <a:lnTo>
                      <a:pt x="49" y="4"/>
                    </a:lnTo>
                    <a:lnTo>
                      <a:pt x="46" y="4"/>
                    </a:lnTo>
                    <a:lnTo>
                      <a:pt x="39" y="4"/>
                    </a:lnTo>
                    <a:lnTo>
                      <a:pt x="26" y="3"/>
                    </a:lnTo>
                    <a:lnTo>
                      <a:pt x="25" y="3"/>
                    </a:lnTo>
                    <a:lnTo>
                      <a:pt x="23" y="1"/>
                    </a:lnTo>
                    <a:lnTo>
                      <a:pt x="22" y="1"/>
                    </a:lnTo>
                    <a:lnTo>
                      <a:pt x="20" y="0"/>
                    </a:lnTo>
                    <a:lnTo>
                      <a:pt x="20" y="1"/>
                    </a:lnTo>
                    <a:lnTo>
                      <a:pt x="17" y="1"/>
                    </a:lnTo>
                    <a:lnTo>
                      <a:pt x="16" y="1"/>
                    </a:lnTo>
                    <a:lnTo>
                      <a:pt x="16" y="1"/>
                    </a:lnTo>
                    <a:lnTo>
                      <a:pt x="14" y="1"/>
                    </a:lnTo>
                    <a:lnTo>
                      <a:pt x="13" y="3"/>
                    </a:lnTo>
                    <a:lnTo>
                      <a:pt x="13" y="3"/>
                    </a:lnTo>
                    <a:lnTo>
                      <a:pt x="12" y="4"/>
                    </a:lnTo>
                    <a:lnTo>
                      <a:pt x="12" y="6"/>
                    </a:lnTo>
                    <a:lnTo>
                      <a:pt x="10" y="6"/>
                    </a:lnTo>
                    <a:lnTo>
                      <a:pt x="9" y="6"/>
                    </a:lnTo>
                    <a:lnTo>
                      <a:pt x="7" y="4"/>
                    </a:lnTo>
                    <a:lnTo>
                      <a:pt x="6" y="3"/>
                    </a:lnTo>
                    <a:lnTo>
                      <a:pt x="3" y="1"/>
                    </a:lnTo>
                    <a:lnTo>
                      <a:pt x="2" y="3"/>
                    </a:lnTo>
                    <a:lnTo>
                      <a:pt x="0" y="6"/>
                    </a:lnTo>
                    <a:lnTo>
                      <a:pt x="0" y="9"/>
                    </a:lnTo>
                    <a:lnTo>
                      <a:pt x="2" y="12"/>
                    </a:lnTo>
                    <a:lnTo>
                      <a:pt x="3" y="14"/>
                    </a:lnTo>
                    <a:lnTo>
                      <a:pt x="6" y="17"/>
                    </a:lnTo>
                    <a:lnTo>
                      <a:pt x="7" y="20"/>
                    </a:lnTo>
                    <a:lnTo>
                      <a:pt x="7" y="22"/>
                    </a:lnTo>
                    <a:lnTo>
                      <a:pt x="9" y="24"/>
                    </a:lnTo>
                    <a:lnTo>
                      <a:pt x="10" y="26"/>
                    </a:lnTo>
                    <a:lnTo>
                      <a:pt x="12" y="29"/>
                    </a:lnTo>
                    <a:lnTo>
                      <a:pt x="25" y="40"/>
                    </a:lnTo>
                    <a:lnTo>
                      <a:pt x="27" y="43"/>
                    </a:lnTo>
                    <a:lnTo>
                      <a:pt x="27" y="43"/>
                    </a:lnTo>
                    <a:lnTo>
                      <a:pt x="27" y="45"/>
                    </a:lnTo>
                    <a:lnTo>
                      <a:pt x="27" y="46"/>
                    </a:lnTo>
                    <a:lnTo>
                      <a:pt x="29" y="47"/>
                    </a:lnTo>
                    <a:lnTo>
                      <a:pt x="33" y="52"/>
                    </a:lnTo>
                    <a:lnTo>
                      <a:pt x="33" y="52"/>
                    </a:lnTo>
                    <a:lnTo>
                      <a:pt x="33" y="53"/>
                    </a:lnTo>
                    <a:lnTo>
                      <a:pt x="35" y="55"/>
                    </a:lnTo>
                    <a:lnTo>
                      <a:pt x="37" y="55"/>
                    </a:lnTo>
                    <a:lnTo>
                      <a:pt x="45" y="6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65" name="Freeform 71">
                <a:extLst>
                  <a:ext uri="{FF2B5EF4-FFF2-40B4-BE49-F238E27FC236}">
                    <a16:creationId xmlns:a16="http://schemas.microsoft.com/office/drawing/2014/main" id="{E8DC05A6-5071-836A-7F6E-29BA889E91DB}"/>
                  </a:ext>
                </a:extLst>
              </p:cNvPr>
              <p:cNvSpPr>
                <a:spLocks/>
              </p:cNvSpPr>
              <p:nvPr/>
            </p:nvSpPr>
            <p:spPr bwMode="auto">
              <a:xfrm>
                <a:off x="3382" y="1920"/>
                <a:ext cx="56" cy="108"/>
              </a:xfrm>
              <a:custGeom>
                <a:avLst/>
                <a:gdLst>
                  <a:gd name="T0" fmla="*/ 36 w 56"/>
                  <a:gd name="T1" fmla="*/ 92 h 108"/>
                  <a:gd name="T2" fmla="*/ 40 w 56"/>
                  <a:gd name="T3" fmla="*/ 88 h 108"/>
                  <a:gd name="T4" fmla="*/ 43 w 56"/>
                  <a:gd name="T5" fmla="*/ 85 h 108"/>
                  <a:gd name="T6" fmla="*/ 39 w 56"/>
                  <a:gd name="T7" fmla="*/ 82 h 108"/>
                  <a:gd name="T8" fmla="*/ 37 w 56"/>
                  <a:gd name="T9" fmla="*/ 75 h 108"/>
                  <a:gd name="T10" fmla="*/ 41 w 56"/>
                  <a:gd name="T11" fmla="*/ 69 h 108"/>
                  <a:gd name="T12" fmla="*/ 40 w 56"/>
                  <a:gd name="T13" fmla="*/ 63 h 108"/>
                  <a:gd name="T14" fmla="*/ 37 w 56"/>
                  <a:gd name="T15" fmla="*/ 57 h 108"/>
                  <a:gd name="T16" fmla="*/ 34 w 56"/>
                  <a:gd name="T17" fmla="*/ 54 h 108"/>
                  <a:gd name="T18" fmla="*/ 43 w 56"/>
                  <a:gd name="T19" fmla="*/ 50 h 108"/>
                  <a:gd name="T20" fmla="*/ 43 w 56"/>
                  <a:gd name="T21" fmla="*/ 43 h 108"/>
                  <a:gd name="T22" fmla="*/ 44 w 56"/>
                  <a:gd name="T23" fmla="*/ 39 h 108"/>
                  <a:gd name="T24" fmla="*/ 46 w 56"/>
                  <a:gd name="T25" fmla="*/ 31 h 108"/>
                  <a:gd name="T26" fmla="*/ 47 w 56"/>
                  <a:gd name="T27" fmla="*/ 20 h 108"/>
                  <a:gd name="T28" fmla="*/ 54 w 56"/>
                  <a:gd name="T29" fmla="*/ 11 h 108"/>
                  <a:gd name="T30" fmla="*/ 51 w 56"/>
                  <a:gd name="T31" fmla="*/ 10 h 108"/>
                  <a:gd name="T32" fmla="*/ 50 w 56"/>
                  <a:gd name="T33" fmla="*/ 8 h 108"/>
                  <a:gd name="T34" fmla="*/ 50 w 56"/>
                  <a:gd name="T35" fmla="*/ 4 h 108"/>
                  <a:gd name="T36" fmla="*/ 46 w 56"/>
                  <a:gd name="T37" fmla="*/ 3 h 108"/>
                  <a:gd name="T38" fmla="*/ 40 w 56"/>
                  <a:gd name="T39" fmla="*/ 4 h 108"/>
                  <a:gd name="T40" fmla="*/ 33 w 56"/>
                  <a:gd name="T41" fmla="*/ 6 h 108"/>
                  <a:gd name="T42" fmla="*/ 24 w 56"/>
                  <a:gd name="T43" fmla="*/ 6 h 108"/>
                  <a:gd name="T44" fmla="*/ 21 w 56"/>
                  <a:gd name="T45" fmla="*/ 6 h 108"/>
                  <a:gd name="T46" fmla="*/ 23 w 56"/>
                  <a:gd name="T47" fmla="*/ 1 h 108"/>
                  <a:gd name="T48" fmla="*/ 14 w 56"/>
                  <a:gd name="T49" fmla="*/ 1 h 108"/>
                  <a:gd name="T50" fmla="*/ 10 w 56"/>
                  <a:gd name="T51" fmla="*/ 7 h 108"/>
                  <a:gd name="T52" fmla="*/ 10 w 56"/>
                  <a:gd name="T53" fmla="*/ 11 h 108"/>
                  <a:gd name="T54" fmla="*/ 13 w 56"/>
                  <a:gd name="T55" fmla="*/ 23 h 108"/>
                  <a:gd name="T56" fmla="*/ 8 w 56"/>
                  <a:gd name="T57" fmla="*/ 44 h 108"/>
                  <a:gd name="T58" fmla="*/ 1 w 56"/>
                  <a:gd name="T59" fmla="*/ 59 h 108"/>
                  <a:gd name="T60" fmla="*/ 0 w 56"/>
                  <a:gd name="T61" fmla="*/ 72 h 108"/>
                  <a:gd name="T62" fmla="*/ 6 w 56"/>
                  <a:gd name="T63" fmla="*/ 72 h 108"/>
                  <a:gd name="T64" fmla="*/ 8 w 56"/>
                  <a:gd name="T65" fmla="*/ 66 h 108"/>
                  <a:gd name="T66" fmla="*/ 7 w 56"/>
                  <a:gd name="T67" fmla="*/ 72 h 108"/>
                  <a:gd name="T68" fmla="*/ 4 w 56"/>
                  <a:gd name="T69" fmla="*/ 75 h 108"/>
                  <a:gd name="T70" fmla="*/ 10 w 56"/>
                  <a:gd name="T71" fmla="*/ 77 h 108"/>
                  <a:gd name="T72" fmla="*/ 10 w 56"/>
                  <a:gd name="T73" fmla="*/ 79 h 108"/>
                  <a:gd name="T74" fmla="*/ 10 w 56"/>
                  <a:gd name="T75" fmla="*/ 82 h 108"/>
                  <a:gd name="T76" fmla="*/ 11 w 56"/>
                  <a:gd name="T77" fmla="*/ 96 h 108"/>
                  <a:gd name="T78" fmla="*/ 7 w 56"/>
                  <a:gd name="T79" fmla="*/ 108 h 108"/>
                  <a:gd name="T80" fmla="*/ 14 w 56"/>
                  <a:gd name="T81" fmla="*/ 106 h 108"/>
                  <a:gd name="T82" fmla="*/ 21 w 56"/>
                  <a:gd name="T83" fmla="*/ 106 h 108"/>
                  <a:gd name="T84" fmla="*/ 29 w 56"/>
                  <a:gd name="T85" fmla="*/ 108 h 108"/>
                  <a:gd name="T86" fmla="*/ 36 w 56"/>
                  <a:gd name="T87" fmla="*/ 10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8">
                    <a:moveTo>
                      <a:pt x="34" y="98"/>
                    </a:moveTo>
                    <a:lnTo>
                      <a:pt x="34" y="95"/>
                    </a:lnTo>
                    <a:lnTo>
                      <a:pt x="36" y="92"/>
                    </a:lnTo>
                    <a:lnTo>
                      <a:pt x="37" y="90"/>
                    </a:lnTo>
                    <a:lnTo>
                      <a:pt x="37" y="89"/>
                    </a:lnTo>
                    <a:lnTo>
                      <a:pt x="40" y="88"/>
                    </a:lnTo>
                    <a:lnTo>
                      <a:pt x="41" y="86"/>
                    </a:lnTo>
                    <a:lnTo>
                      <a:pt x="41" y="86"/>
                    </a:lnTo>
                    <a:lnTo>
                      <a:pt x="43" y="85"/>
                    </a:lnTo>
                    <a:lnTo>
                      <a:pt x="43" y="83"/>
                    </a:lnTo>
                    <a:lnTo>
                      <a:pt x="41" y="83"/>
                    </a:lnTo>
                    <a:lnTo>
                      <a:pt x="39" y="82"/>
                    </a:lnTo>
                    <a:lnTo>
                      <a:pt x="37" y="80"/>
                    </a:lnTo>
                    <a:lnTo>
                      <a:pt x="37" y="77"/>
                    </a:lnTo>
                    <a:lnTo>
                      <a:pt x="37" y="75"/>
                    </a:lnTo>
                    <a:lnTo>
                      <a:pt x="39" y="73"/>
                    </a:lnTo>
                    <a:lnTo>
                      <a:pt x="40" y="72"/>
                    </a:lnTo>
                    <a:lnTo>
                      <a:pt x="41" y="69"/>
                    </a:lnTo>
                    <a:lnTo>
                      <a:pt x="43" y="66"/>
                    </a:lnTo>
                    <a:lnTo>
                      <a:pt x="41" y="65"/>
                    </a:lnTo>
                    <a:lnTo>
                      <a:pt x="40" y="63"/>
                    </a:lnTo>
                    <a:lnTo>
                      <a:pt x="39" y="62"/>
                    </a:lnTo>
                    <a:lnTo>
                      <a:pt x="37" y="60"/>
                    </a:lnTo>
                    <a:lnTo>
                      <a:pt x="37" y="57"/>
                    </a:lnTo>
                    <a:lnTo>
                      <a:pt x="36" y="57"/>
                    </a:lnTo>
                    <a:lnTo>
                      <a:pt x="36" y="56"/>
                    </a:lnTo>
                    <a:lnTo>
                      <a:pt x="34" y="54"/>
                    </a:lnTo>
                    <a:lnTo>
                      <a:pt x="33" y="53"/>
                    </a:lnTo>
                    <a:lnTo>
                      <a:pt x="40" y="52"/>
                    </a:lnTo>
                    <a:lnTo>
                      <a:pt x="43" y="50"/>
                    </a:lnTo>
                    <a:lnTo>
                      <a:pt x="44" y="46"/>
                    </a:lnTo>
                    <a:lnTo>
                      <a:pt x="44" y="44"/>
                    </a:lnTo>
                    <a:lnTo>
                      <a:pt x="43" y="43"/>
                    </a:lnTo>
                    <a:lnTo>
                      <a:pt x="41" y="42"/>
                    </a:lnTo>
                    <a:lnTo>
                      <a:pt x="43" y="40"/>
                    </a:lnTo>
                    <a:lnTo>
                      <a:pt x="44" y="39"/>
                    </a:lnTo>
                    <a:lnTo>
                      <a:pt x="46" y="37"/>
                    </a:lnTo>
                    <a:lnTo>
                      <a:pt x="46" y="36"/>
                    </a:lnTo>
                    <a:lnTo>
                      <a:pt x="46" y="31"/>
                    </a:lnTo>
                    <a:lnTo>
                      <a:pt x="44" y="23"/>
                    </a:lnTo>
                    <a:lnTo>
                      <a:pt x="44" y="23"/>
                    </a:lnTo>
                    <a:lnTo>
                      <a:pt x="47" y="20"/>
                    </a:lnTo>
                    <a:lnTo>
                      <a:pt x="56" y="14"/>
                    </a:lnTo>
                    <a:lnTo>
                      <a:pt x="56" y="13"/>
                    </a:lnTo>
                    <a:lnTo>
                      <a:pt x="54" y="11"/>
                    </a:lnTo>
                    <a:lnTo>
                      <a:pt x="53" y="10"/>
                    </a:lnTo>
                    <a:lnTo>
                      <a:pt x="51" y="10"/>
                    </a:lnTo>
                    <a:lnTo>
                      <a:pt x="51" y="10"/>
                    </a:lnTo>
                    <a:lnTo>
                      <a:pt x="50" y="10"/>
                    </a:lnTo>
                    <a:lnTo>
                      <a:pt x="50" y="8"/>
                    </a:lnTo>
                    <a:lnTo>
                      <a:pt x="50" y="8"/>
                    </a:lnTo>
                    <a:lnTo>
                      <a:pt x="50" y="6"/>
                    </a:lnTo>
                    <a:lnTo>
                      <a:pt x="50" y="6"/>
                    </a:lnTo>
                    <a:lnTo>
                      <a:pt x="50" y="4"/>
                    </a:lnTo>
                    <a:lnTo>
                      <a:pt x="49" y="4"/>
                    </a:lnTo>
                    <a:lnTo>
                      <a:pt x="47" y="3"/>
                    </a:lnTo>
                    <a:lnTo>
                      <a:pt x="46" y="3"/>
                    </a:lnTo>
                    <a:lnTo>
                      <a:pt x="43" y="3"/>
                    </a:lnTo>
                    <a:lnTo>
                      <a:pt x="41" y="3"/>
                    </a:lnTo>
                    <a:lnTo>
                      <a:pt x="40" y="4"/>
                    </a:lnTo>
                    <a:lnTo>
                      <a:pt x="39" y="4"/>
                    </a:lnTo>
                    <a:lnTo>
                      <a:pt x="36" y="6"/>
                    </a:lnTo>
                    <a:lnTo>
                      <a:pt x="33" y="6"/>
                    </a:lnTo>
                    <a:lnTo>
                      <a:pt x="30" y="6"/>
                    </a:lnTo>
                    <a:lnTo>
                      <a:pt x="27" y="6"/>
                    </a:lnTo>
                    <a:lnTo>
                      <a:pt x="24" y="6"/>
                    </a:lnTo>
                    <a:lnTo>
                      <a:pt x="23" y="7"/>
                    </a:lnTo>
                    <a:lnTo>
                      <a:pt x="21" y="6"/>
                    </a:lnTo>
                    <a:lnTo>
                      <a:pt x="21" y="6"/>
                    </a:lnTo>
                    <a:lnTo>
                      <a:pt x="21" y="4"/>
                    </a:lnTo>
                    <a:lnTo>
                      <a:pt x="23" y="3"/>
                    </a:lnTo>
                    <a:lnTo>
                      <a:pt x="23" y="1"/>
                    </a:lnTo>
                    <a:lnTo>
                      <a:pt x="20" y="0"/>
                    </a:lnTo>
                    <a:lnTo>
                      <a:pt x="17" y="0"/>
                    </a:lnTo>
                    <a:lnTo>
                      <a:pt x="14" y="1"/>
                    </a:lnTo>
                    <a:lnTo>
                      <a:pt x="11" y="4"/>
                    </a:lnTo>
                    <a:lnTo>
                      <a:pt x="10" y="6"/>
                    </a:lnTo>
                    <a:lnTo>
                      <a:pt x="10" y="7"/>
                    </a:lnTo>
                    <a:lnTo>
                      <a:pt x="10" y="8"/>
                    </a:lnTo>
                    <a:lnTo>
                      <a:pt x="11" y="8"/>
                    </a:lnTo>
                    <a:lnTo>
                      <a:pt x="10" y="11"/>
                    </a:lnTo>
                    <a:lnTo>
                      <a:pt x="11" y="14"/>
                    </a:lnTo>
                    <a:lnTo>
                      <a:pt x="13" y="20"/>
                    </a:lnTo>
                    <a:lnTo>
                      <a:pt x="13" y="23"/>
                    </a:lnTo>
                    <a:lnTo>
                      <a:pt x="13" y="26"/>
                    </a:lnTo>
                    <a:lnTo>
                      <a:pt x="13" y="27"/>
                    </a:lnTo>
                    <a:lnTo>
                      <a:pt x="8" y="44"/>
                    </a:lnTo>
                    <a:lnTo>
                      <a:pt x="7" y="49"/>
                    </a:lnTo>
                    <a:lnTo>
                      <a:pt x="6" y="52"/>
                    </a:lnTo>
                    <a:lnTo>
                      <a:pt x="1" y="59"/>
                    </a:lnTo>
                    <a:lnTo>
                      <a:pt x="0" y="62"/>
                    </a:lnTo>
                    <a:lnTo>
                      <a:pt x="0" y="70"/>
                    </a:lnTo>
                    <a:lnTo>
                      <a:pt x="0" y="72"/>
                    </a:lnTo>
                    <a:lnTo>
                      <a:pt x="0" y="73"/>
                    </a:lnTo>
                    <a:lnTo>
                      <a:pt x="3" y="73"/>
                    </a:lnTo>
                    <a:lnTo>
                      <a:pt x="6" y="72"/>
                    </a:lnTo>
                    <a:lnTo>
                      <a:pt x="8" y="66"/>
                    </a:lnTo>
                    <a:lnTo>
                      <a:pt x="11" y="65"/>
                    </a:lnTo>
                    <a:lnTo>
                      <a:pt x="8" y="66"/>
                    </a:lnTo>
                    <a:lnTo>
                      <a:pt x="8" y="67"/>
                    </a:lnTo>
                    <a:lnTo>
                      <a:pt x="8" y="70"/>
                    </a:lnTo>
                    <a:lnTo>
                      <a:pt x="7" y="72"/>
                    </a:lnTo>
                    <a:lnTo>
                      <a:pt x="6" y="73"/>
                    </a:lnTo>
                    <a:lnTo>
                      <a:pt x="4" y="73"/>
                    </a:lnTo>
                    <a:lnTo>
                      <a:pt x="4" y="75"/>
                    </a:lnTo>
                    <a:lnTo>
                      <a:pt x="4" y="76"/>
                    </a:lnTo>
                    <a:lnTo>
                      <a:pt x="4" y="77"/>
                    </a:lnTo>
                    <a:lnTo>
                      <a:pt x="10" y="77"/>
                    </a:lnTo>
                    <a:lnTo>
                      <a:pt x="13" y="79"/>
                    </a:lnTo>
                    <a:lnTo>
                      <a:pt x="13" y="79"/>
                    </a:lnTo>
                    <a:lnTo>
                      <a:pt x="10" y="79"/>
                    </a:lnTo>
                    <a:lnTo>
                      <a:pt x="10" y="79"/>
                    </a:lnTo>
                    <a:lnTo>
                      <a:pt x="10" y="80"/>
                    </a:lnTo>
                    <a:lnTo>
                      <a:pt x="10" y="82"/>
                    </a:lnTo>
                    <a:lnTo>
                      <a:pt x="10" y="88"/>
                    </a:lnTo>
                    <a:lnTo>
                      <a:pt x="11" y="93"/>
                    </a:lnTo>
                    <a:lnTo>
                      <a:pt x="11" y="96"/>
                    </a:lnTo>
                    <a:lnTo>
                      <a:pt x="10" y="100"/>
                    </a:lnTo>
                    <a:lnTo>
                      <a:pt x="8" y="103"/>
                    </a:lnTo>
                    <a:lnTo>
                      <a:pt x="7" y="108"/>
                    </a:lnTo>
                    <a:lnTo>
                      <a:pt x="8" y="108"/>
                    </a:lnTo>
                    <a:lnTo>
                      <a:pt x="11" y="106"/>
                    </a:lnTo>
                    <a:lnTo>
                      <a:pt x="14" y="106"/>
                    </a:lnTo>
                    <a:lnTo>
                      <a:pt x="16" y="106"/>
                    </a:lnTo>
                    <a:lnTo>
                      <a:pt x="20" y="106"/>
                    </a:lnTo>
                    <a:lnTo>
                      <a:pt x="21" y="106"/>
                    </a:lnTo>
                    <a:lnTo>
                      <a:pt x="26" y="108"/>
                    </a:lnTo>
                    <a:lnTo>
                      <a:pt x="27" y="108"/>
                    </a:lnTo>
                    <a:lnTo>
                      <a:pt x="29" y="108"/>
                    </a:lnTo>
                    <a:lnTo>
                      <a:pt x="30" y="106"/>
                    </a:lnTo>
                    <a:lnTo>
                      <a:pt x="33" y="105"/>
                    </a:lnTo>
                    <a:lnTo>
                      <a:pt x="36" y="105"/>
                    </a:lnTo>
                    <a:lnTo>
                      <a:pt x="34" y="100"/>
                    </a:lnTo>
                    <a:lnTo>
                      <a:pt x="34" y="9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66" name="Freeform 72">
                <a:extLst>
                  <a:ext uri="{FF2B5EF4-FFF2-40B4-BE49-F238E27FC236}">
                    <a16:creationId xmlns:a16="http://schemas.microsoft.com/office/drawing/2014/main" id="{A2203481-DA5A-9707-403A-3911045CA861}"/>
                  </a:ext>
                </a:extLst>
              </p:cNvPr>
              <p:cNvSpPr>
                <a:spLocks/>
              </p:cNvSpPr>
              <p:nvPr/>
            </p:nvSpPr>
            <p:spPr bwMode="auto">
              <a:xfrm>
                <a:off x="3955" y="1584"/>
                <a:ext cx="168" cy="116"/>
              </a:xfrm>
              <a:custGeom>
                <a:avLst/>
                <a:gdLst>
                  <a:gd name="T0" fmla="*/ 77 w 168"/>
                  <a:gd name="T1" fmla="*/ 7 h 116"/>
                  <a:gd name="T2" fmla="*/ 62 w 168"/>
                  <a:gd name="T3" fmla="*/ 10 h 116"/>
                  <a:gd name="T4" fmla="*/ 60 w 168"/>
                  <a:gd name="T5" fmla="*/ 18 h 116"/>
                  <a:gd name="T6" fmla="*/ 59 w 168"/>
                  <a:gd name="T7" fmla="*/ 23 h 116"/>
                  <a:gd name="T8" fmla="*/ 50 w 168"/>
                  <a:gd name="T9" fmla="*/ 27 h 116"/>
                  <a:gd name="T10" fmla="*/ 46 w 168"/>
                  <a:gd name="T11" fmla="*/ 34 h 116"/>
                  <a:gd name="T12" fmla="*/ 43 w 168"/>
                  <a:gd name="T13" fmla="*/ 41 h 116"/>
                  <a:gd name="T14" fmla="*/ 46 w 168"/>
                  <a:gd name="T15" fmla="*/ 44 h 116"/>
                  <a:gd name="T16" fmla="*/ 40 w 168"/>
                  <a:gd name="T17" fmla="*/ 43 h 116"/>
                  <a:gd name="T18" fmla="*/ 31 w 168"/>
                  <a:gd name="T19" fmla="*/ 46 h 116"/>
                  <a:gd name="T20" fmla="*/ 29 w 168"/>
                  <a:gd name="T21" fmla="*/ 48 h 116"/>
                  <a:gd name="T22" fmla="*/ 20 w 168"/>
                  <a:gd name="T23" fmla="*/ 50 h 116"/>
                  <a:gd name="T24" fmla="*/ 13 w 168"/>
                  <a:gd name="T25" fmla="*/ 71 h 116"/>
                  <a:gd name="T26" fmla="*/ 6 w 168"/>
                  <a:gd name="T27" fmla="*/ 84 h 116"/>
                  <a:gd name="T28" fmla="*/ 1 w 168"/>
                  <a:gd name="T29" fmla="*/ 93 h 116"/>
                  <a:gd name="T30" fmla="*/ 7 w 168"/>
                  <a:gd name="T31" fmla="*/ 107 h 116"/>
                  <a:gd name="T32" fmla="*/ 17 w 168"/>
                  <a:gd name="T33" fmla="*/ 106 h 116"/>
                  <a:gd name="T34" fmla="*/ 44 w 168"/>
                  <a:gd name="T35" fmla="*/ 100 h 116"/>
                  <a:gd name="T36" fmla="*/ 72 w 168"/>
                  <a:gd name="T37" fmla="*/ 107 h 116"/>
                  <a:gd name="T38" fmla="*/ 77 w 168"/>
                  <a:gd name="T39" fmla="*/ 107 h 116"/>
                  <a:gd name="T40" fmla="*/ 79 w 168"/>
                  <a:gd name="T41" fmla="*/ 110 h 116"/>
                  <a:gd name="T42" fmla="*/ 83 w 168"/>
                  <a:gd name="T43" fmla="*/ 109 h 116"/>
                  <a:gd name="T44" fmla="*/ 96 w 168"/>
                  <a:gd name="T45" fmla="*/ 110 h 116"/>
                  <a:gd name="T46" fmla="*/ 100 w 168"/>
                  <a:gd name="T47" fmla="*/ 110 h 116"/>
                  <a:gd name="T48" fmla="*/ 120 w 168"/>
                  <a:gd name="T49" fmla="*/ 112 h 116"/>
                  <a:gd name="T50" fmla="*/ 126 w 168"/>
                  <a:gd name="T51" fmla="*/ 115 h 116"/>
                  <a:gd name="T52" fmla="*/ 130 w 168"/>
                  <a:gd name="T53" fmla="*/ 104 h 116"/>
                  <a:gd name="T54" fmla="*/ 151 w 168"/>
                  <a:gd name="T55" fmla="*/ 94 h 116"/>
                  <a:gd name="T56" fmla="*/ 148 w 168"/>
                  <a:gd name="T57" fmla="*/ 90 h 116"/>
                  <a:gd name="T58" fmla="*/ 148 w 168"/>
                  <a:gd name="T59" fmla="*/ 84 h 116"/>
                  <a:gd name="T60" fmla="*/ 148 w 168"/>
                  <a:gd name="T61" fmla="*/ 80 h 116"/>
                  <a:gd name="T62" fmla="*/ 143 w 168"/>
                  <a:gd name="T63" fmla="*/ 71 h 116"/>
                  <a:gd name="T64" fmla="*/ 149 w 168"/>
                  <a:gd name="T65" fmla="*/ 69 h 116"/>
                  <a:gd name="T66" fmla="*/ 158 w 168"/>
                  <a:gd name="T67" fmla="*/ 71 h 116"/>
                  <a:gd name="T68" fmla="*/ 165 w 168"/>
                  <a:gd name="T69" fmla="*/ 66 h 116"/>
                  <a:gd name="T70" fmla="*/ 168 w 168"/>
                  <a:gd name="T71" fmla="*/ 63 h 116"/>
                  <a:gd name="T72" fmla="*/ 164 w 168"/>
                  <a:gd name="T73" fmla="*/ 58 h 116"/>
                  <a:gd name="T74" fmla="*/ 156 w 168"/>
                  <a:gd name="T75" fmla="*/ 54 h 116"/>
                  <a:gd name="T76" fmla="*/ 151 w 168"/>
                  <a:gd name="T77" fmla="*/ 54 h 116"/>
                  <a:gd name="T78" fmla="*/ 151 w 168"/>
                  <a:gd name="T79" fmla="*/ 47 h 116"/>
                  <a:gd name="T80" fmla="*/ 139 w 168"/>
                  <a:gd name="T81" fmla="*/ 37 h 116"/>
                  <a:gd name="T82" fmla="*/ 139 w 168"/>
                  <a:gd name="T83" fmla="*/ 34 h 116"/>
                  <a:gd name="T84" fmla="*/ 135 w 168"/>
                  <a:gd name="T85" fmla="*/ 28 h 116"/>
                  <a:gd name="T86" fmla="*/ 136 w 168"/>
                  <a:gd name="T87" fmla="*/ 21 h 116"/>
                  <a:gd name="T88" fmla="*/ 135 w 168"/>
                  <a:gd name="T89" fmla="*/ 18 h 116"/>
                  <a:gd name="T90" fmla="*/ 136 w 168"/>
                  <a:gd name="T91" fmla="*/ 12 h 116"/>
                  <a:gd name="T92" fmla="*/ 130 w 168"/>
                  <a:gd name="T93" fmla="*/ 10 h 116"/>
                  <a:gd name="T94" fmla="*/ 125 w 168"/>
                  <a:gd name="T95" fmla="*/ 7 h 116"/>
                  <a:gd name="T96" fmla="*/ 119 w 168"/>
                  <a:gd name="T97" fmla="*/ 7 h 116"/>
                  <a:gd name="T98" fmla="*/ 116 w 168"/>
                  <a:gd name="T99" fmla="*/ 8 h 116"/>
                  <a:gd name="T100" fmla="*/ 110 w 168"/>
                  <a:gd name="T101" fmla="*/ 10 h 116"/>
                  <a:gd name="T102" fmla="*/ 109 w 168"/>
                  <a:gd name="T103" fmla="*/ 5 h 116"/>
                  <a:gd name="T104" fmla="*/ 105 w 168"/>
                  <a:gd name="T105" fmla="*/ 2 h 116"/>
                  <a:gd name="T106" fmla="*/ 99 w 168"/>
                  <a:gd name="T107" fmla="*/ 4 h 116"/>
                  <a:gd name="T108" fmla="*/ 92 w 168"/>
                  <a:gd name="T109" fmla="*/ 1 h 116"/>
                  <a:gd name="T110" fmla="*/ 87 w 168"/>
                  <a:gd name="T111"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116">
                    <a:moveTo>
                      <a:pt x="86" y="1"/>
                    </a:moveTo>
                    <a:lnTo>
                      <a:pt x="83" y="1"/>
                    </a:lnTo>
                    <a:lnTo>
                      <a:pt x="82" y="2"/>
                    </a:lnTo>
                    <a:lnTo>
                      <a:pt x="80" y="4"/>
                    </a:lnTo>
                    <a:lnTo>
                      <a:pt x="77" y="7"/>
                    </a:lnTo>
                    <a:lnTo>
                      <a:pt x="77" y="7"/>
                    </a:lnTo>
                    <a:lnTo>
                      <a:pt x="74" y="8"/>
                    </a:lnTo>
                    <a:lnTo>
                      <a:pt x="73" y="8"/>
                    </a:lnTo>
                    <a:lnTo>
                      <a:pt x="69" y="7"/>
                    </a:lnTo>
                    <a:lnTo>
                      <a:pt x="67" y="7"/>
                    </a:lnTo>
                    <a:lnTo>
                      <a:pt x="66" y="8"/>
                    </a:lnTo>
                    <a:lnTo>
                      <a:pt x="62" y="10"/>
                    </a:lnTo>
                    <a:lnTo>
                      <a:pt x="60" y="11"/>
                    </a:lnTo>
                    <a:lnTo>
                      <a:pt x="60" y="12"/>
                    </a:lnTo>
                    <a:lnTo>
                      <a:pt x="59" y="17"/>
                    </a:lnTo>
                    <a:lnTo>
                      <a:pt x="57" y="17"/>
                    </a:lnTo>
                    <a:lnTo>
                      <a:pt x="59" y="18"/>
                    </a:lnTo>
                    <a:lnTo>
                      <a:pt x="60" y="18"/>
                    </a:lnTo>
                    <a:lnTo>
                      <a:pt x="62" y="20"/>
                    </a:lnTo>
                    <a:lnTo>
                      <a:pt x="63" y="20"/>
                    </a:lnTo>
                    <a:lnTo>
                      <a:pt x="63" y="20"/>
                    </a:lnTo>
                    <a:lnTo>
                      <a:pt x="62" y="23"/>
                    </a:lnTo>
                    <a:lnTo>
                      <a:pt x="60" y="23"/>
                    </a:lnTo>
                    <a:lnTo>
                      <a:pt x="59" y="23"/>
                    </a:lnTo>
                    <a:lnTo>
                      <a:pt x="56" y="23"/>
                    </a:lnTo>
                    <a:lnTo>
                      <a:pt x="54" y="24"/>
                    </a:lnTo>
                    <a:lnTo>
                      <a:pt x="53" y="24"/>
                    </a:lnTo>
                    <a:lnTo>
                      <a:pt x="52" y="25"/>
                    </a:lnTo>
                    <a:lnTo>
                      <a:pt x="52" y="27"/>
                    </a:lnTo>
                    <a:lnTo>
                      <a:pt x="50" y="27"/>
                    </a:lnTo>
                    <a:lnTo>
                      <a:pt x="49" y="28"/>
                    </a:lnTo>
                    <a:lnTo>
                      <a:pt x="47" y="28"/>
                    </a:lnTo>
                    <a:lnTo>
                      <a:pt x="46" y="30"/>
                    </a:lnTo>
                    <a:lnTo>
                      <a:pt x="46" y="31"/>
                    </a:lnTo>
                    <a:lnTo>
                      <a:pt x="46" y="33"/>
                    </a:lnTo>
                    <a:lnTo>
                      <a:pt x="46" y="34"/>
                    </a:lnTo>
                    <a:lnTo>
                      <a:pt x="44" y="35"/>
                    </a:lnTo>
                    <a:lnTo>
                      <a:pt x="44" y="37"/>
                    </a:lnTo>
                    <a:lnTo>
                      <a:pt x="43" y="38"/>
                    </a:lnTo>
                    <a:lnTo>
                      <a:pt x="43" y="38"/>
                    </a:lnTo>
                    <a:lnTo>
                      <a:pt x="41" y="40"/>
                    </a:lnTo>
                    <a:lnTo>
                      <a:pt x="43" y="41"/>
                    </a:lnTo>
                    <a:lnTo>
                      <a:pt x="43" y="41"/>
                    </a:lnTo>
                    <a:lnTo>
                      <a:pt x="44" y="41"/>
                    </a:lnTo>
                    <a:lnTo>
                      <a:pt x="44" y="43"/>
                    </a:lnTo>
                    <a:lnTo>
                      <a:pt x="46" y="43"/>
                    </a:lnTo>
                    <a:lnTo>
                      <a:pt x="46" y="44"/>
                    </a:lnTo>
                    <a:lnTo>
                      <a:pt x="46" y="44"/>
                    </a:lnTo>
                    <a:lnTo>
                      <a:pt x="44" y="46"/>
                    </a:lnTo>
                    <a:lnTo>
                      <a:pt x="43" y="46"/>
                    </a:lnTo>
                    <a:lnTo>
                      <a:pt x="43" y="46"/>
                    </a:lnTo>
                    <a:lnTo>
                      <a:pt x="41" y="46"/>
                    </a:lnTo>
                    <a:lnTo>
                      <a:pt x="40" y="44"/>
                    </a:lnTo>
                    <a:lnTo>
                      <a:pt x="40" y="43"/>
                    </a:lnTo>
                    <a:lnTo>
                      <a:pt x="40" y="43"/>
                    </a:lnTo>
                    <a:lnTo>
                      <a:pt x="37" y="43"/>
                    </a:lnTo>
                    <a:lnTo>
                      <a:pt x="37" y="44"/>
                    </a:lnTo>
                    <a:lnTo>
                      <a:pt x="34" y="46"/>
                    </a:lnTo>
                    <a:lnTo>
                      <a:pt x="33" y="46"/>
                    </a:lnTo>
                    <a:lnTo>
                      <a:pt x="31" y="46"/>
                    </a:lnTo>
                    <a:lnTo>
                      <a:pt x="31" y="46"/>
                    </a:lnTo>
                    <a:lnTo>
                      <a:pt x="30" y="46"/>
                    </a:lnTo>
                    <a:lnTo>
                      <a:pt x="30" y="46"/>
                    </a:lnTo>
                    <a:lnTo>
                      <a:pt x="29" y="47"/>
                    </a:lnTo>
                    <a:lnTo>
                      <a:pt x="29" y="48"/>
                    </a:lnTo>
                    <a:lnTo>
                      <a:pt x="29" y="48"/>
                    </a:lnTo>
                    <a:lnTo>
                      <a:pt x="27" y="50"/>
                    </a:lnTo>
                    <a:lnTo>
                      <a:pt x="26" y="50"/>
                    </a:lnTo>
                    <a:lnTo>
                      <a:pt x="23" y="51"/>
                    </a:lnTo>
                    <a:lnTo>
                      <a:pt x="21" y="51"/>
                    </a:lnTo>
                    <a:lnTo>
                      <a:pt x="20" y="51"/>
                    </a:lnTo>
                    <a:lnTo>
                      <a:pt x="20" y="50"/>
                    </a:lnTo>
                    <a:lnTo>
                      <a:pt x="18" y="50"/>
                    </a:lnTo>
                    <a:lnTo>
                      <a:pt x="14" y="50"/>
                    </a:lnTo>
                    <a:lnTo>
                      <a:pt x="11" y="51"/>
                    </a:lnTo>
                    <a:lnTo>
                      <a:pt x="8" y="51"/>
                    </a:lnTo>
                    <a:lnTo>
                      <a:pt x="6" y="50"/>
                    </a:lnTo>
                    <a:lnTo>
                      <a:pt x="13" y="71"/>
                    </a:lnTo>
                    <a:lnTo>
                      <a:pt x="13" y="74"/>
                    </a:lnTo>
                    <a:lnTo>
                      <a:pt x="13" y="76"/>
                    </a:lnTo>
                    <a:lnTo>
                      <a:pt x="13" y="79"/>
                    </a:lnTo>
                    <a:lnTo>
                      <a:pt x="13" y="80"/>
                    </a:lnTo>
                    <a:lnTo>
                      <a:pt x="11" y="81"/>
                    </a:lnTo>
                    <a:lnTo>
                      <a:pt x="6" y="84"/>
                    </a:lnTo>
                    <a:lnTo>
                      <a:pt x="4" y="84"/>
                    </a:lnTo>
                    <a:lnTo>
                      <a:pt x="3" y="86"/>
                    </a:lnTo>
                    <a:lnTo>
                      <a:pt x="1" y="87"/>
                    </a:lnTo>
                    <a:lnTo>
                      <a:pt x="0" y="90"/>
                    </a:lnTo>
                    <a:lnTo>
                      <a:pt x="0" y="92"/>
                    </a:lnTo>
                    <a:lnTo>
                      <a:pt x="1" y="93"/>
                    </a:lnTo>
                    <a:lnTo>
                      <a:pt x="6" y="94"/>
                    </a:lnTo>
                    <a:lnTo>
                      <a:pt x="7" y="96"/>
                    </a:lnTo>
                    <a:lnTo>
                      <a:pt x="8" y="99"/>
                    </a:lnTo>
                    <a:lnTo>
                      <a:pt x="7" y="106"/>
                    </a:lnTo>
                    <a:lnTo>
                      <a:pt x="7" y="110"/>
                    </a:lnTo>
                    <a:lnTo>
                      <a:pt x="7" y="107"/>
                    </a:lnTo>
                    <a:lnTo>
                      <a:pt x="8" y="107"/>
                    </a:lnTo>
                    <a:lnTo>
                      <a:pt x="14" y="107"/>
                    </a:lnTo>
                    <a:lnTo>
                      <a:pt x="14" y="107"/>
                    </a:lnTo>
                    <a:lnTo>
                      <a:pt x="16" y="107"/>
                    </a:lnTo>
                    <a:lnTo>
                      <a:pt x="17" y="106"/>
                    </a:lnTo>
                    <a:lnTo>
                      <a:pt x="17" y="106"/>
                    </a:lnTo>
                    <a:lnTo>
                      <a:pt x="20" y="103"/>
                    </a:lnTo>
                    <a:lnTo>
                      <a:pt x="20" y="102"/>
                    </a:lnTo>
                    <a:lnTo>
                      <a:pt x="24" y="100"/>
                    </a:lnTo>
                    <a:lnTo>
                      <a:pt x="29" y="100"/>
                    </a:lnTo>
                    <a:lnTo>
                      <a:pt x="39" y="100"/>
                    </a:lnTo>
                    <a:lnTo>
                      <a:pt x="44" y="100"/>
                    </a:lnTo>
                    <a:lnTo>
                      <a:pt x="60" y="103"/>
                    </a:lnTo>
                    <a:lnTo>
                      <a:pt x="67" y="103"/>
                    </a:lnTo>
                    <a:lnTo>
                      <a:pt x="70" y="104"/>
                    </a:lnTo>
                    <a:lnTo>
                      <a:pt x="70" y="104"/>
                    </a:lnTo>
                    <a:lnTo>
                      <a:pt x="72" y="107"/>
                    </a:lnTo>
                    <a:lnTo>
                      <a:pt x="72" y="107"/>
                    </a:lnTo>
                    <a:lnTo>
                      <a:pt x="73" y="109"/>
                    </a:lnTo>
                    <a:lnTo>
                      <a:pt x="74" y="107"/>
                    </a:lnTo>
                    <a:lnTo>
                      <a:pt x="74" y="107"/>
                    </a:lnTo>
                    <a:lnTo>
                      <a:pt x="76" y="107"/>
                    </a:lnTo>
                    <a:lnTo>
                      <a:pt x="77" y="107"/>
                    </a:lnTo>
                    <a:lnTo>
                      <a:pt x="77" y="107"/>
                    </a:lnTo>
                    <a:lnTo>
                      <a:pt x="77" y="109"/>
                    </a:lnTo>
                    <a:lnTo>
                      <a:pt x="79" y="109"/>
                    </a:lnTo>
                    <a:lnTo>
                      <a:pt x="79" y="109"/>
                    </a:lnTo>
                    <a:lnTo>
                      <a:pt x="79" y="110"/>
                    </a:lnTo>
                    <a:lnTo>
                      <a:pt x="79" y="110"/>
                    </a:lnTo>
                    <a:lnTo>
                      <a:pt x="79" y="110"/>
                    </a:lnTo>
                    <a:lnTo>
                      <a:pt x="80" y="110"/>
                    </a:lnTo>
                    <a:lnTo>
                      <a:pt x="80" y="110"/>
                    </a:lnTo>
                    <a:lnTo>
                      <a:pt x="80" y="110"/>
                    </a:lnTo>
                    <a:lnTo>
                      <a:pt x="82" y="110"/>
                    </a:lnTo>
                    <a:lnTo>
                      <a:pt x="82" y="110"/>
                    </a:lnTo>
                    <a:lnTo>
                      <a:pt x="83" y="109"/>
                    </a:lnTo>
                    <a:lnTo>
                      <a:pt x="87" y="107"/>
                    </a:lnTo>
                    <a:lnTo>
                      <a:pt x="90" y="109"/>
                    </a:lnTo>
                    <a:lnTo>
                      <a:pt x="92" y="109"/>
                    </a:lnTo>
                    <a:lnTo>
                      <a:pt x="93" y="109"/>
                    </a:lnTo>
                    <a:lnTo>
                      <a:pt x="96" y="110"/>
                    </a:lnTo>
                    <a:lnTo>
                      <a:pt x="96" y="110"/>
                    </a:lnTo>
                    <a:lnTo>
                      <a:pt x="96" y="112"/>
                    </a:lnTo>
                    <a:lnTo>
                      <a:pt x="96" y="112"/>
                    </a:lnTo>
                    <a:lnTo>
                      <a:pt x="97" y="112"/>
                    </a:lnTo>
                    <a:lnTo>
                      <a:pt x="97" y="112"/>
                    </a:lnTo>
                    <a:lnTo>
                      <a:pt x="99" y="110"/>
                    </a:lnTo>
                    <a:lnTo>
                      <a:pt x="100" y="110"/>
                    </a:lnTo>
                    <a:lnTo>
                      <a:pt x="103" y="107"/>
                    </a:lnTo>
                    <a:lnTo>
                      <a:pt x="105" y="109"/>
                    </a:lnTo>
                    <a:lnTo>
                      <a:pt x="106" y="112"/>
                    </a:lnTo>
                    <a:lnTo>
                      <a:pt x="109" y="113"/>
                    </a:lnTo>
                    <a:lnTo>
                      <a:pt x="110" y="113"/>
                    </a:lnTo>
                    <a:lnTo>
                      <a:pt x="120" y="112"/>
                    </a:lnTo>
                    <a:lnTo>
                      <a:pt x="122" y="112"/>
                    </a:lnTo>
                    <a:lnTo>
                      <a:pt x="123" y="112"/>
                    </a:lnTo>
                    <a:lnTo>
                      <a:pt x="125" y="112"/>
                    </a:lnTo>
                    <a:lnTo>
                      <a:pt x="125" y="113"/>
                    </a:lnTo>
                    <a:lnTo>
                      <a:pt x="125" y="115"/>
                    </a:lnTo>
                    <a:lnTo>
                      <a:pt x="126" y="115"/>
                    </a:lnTo>
                    <a:lnTo>
                      <a:pt x="129" y="116"/>
                    </a:lnTo>
                    <a:lnTo>
                      <a:pt x="130" y="116"/>
                    </a:lnTo>
                    <a:lnTo>
                      <a:pt x="130" y="115"/>
                    </a:lnTo>
                    <a:lnTo>
                      <a:pt x="130" y="112"/>
                    </a:lnTo>
                    <a:lnTo>
                      <a:pt x="130" y="107"/>
                    </a:lnTo>
                    <a:lnTo>
                      <a:pt x="130" y="104"/>
                    </a:lnTo>
                    <a:lnTo>
                      <a:pt x="132" y="103"/>
                    </a:lnTo>
                    <a:lnTo>
                      <a:pt x="136" y="99"/>
                    </a:lnTo>
                    <a:lnTo>
                      <a:pt x="141" y="96"/>
                    </a:lnTo>
                    <a:lnTo>
                      <a:pt x="145" y="96"/>
                    </a:lnTo>
                    <a:lnTo>
                      <a:pt x="151" y="96"/>
                    </a:lnTo>
                    <a:lnTo>
                      <a:pt x="151" y="94"/>
                    </a:lnTo>
                    <a:lnTo>
                      <a:pt x="149" y="92"/>
                    </a:lnTo>
                    <a:lnTo>
                      <a:pt x="149" y="92"/>
                    </a:lnTo>
                    <a:lnTo>
                      <a:pt x="149" y="92"/>
                    </a:lnTo>
                    <a:lnTo>
                      <a:pt x="149" y="92"/>
                    </a:lnTo>
                    <a:lnTo>
                      <a:pt x="148" y="90"/>
                    </a:lnTo>
                    <a:lnTo>
                      <a:pt x="148" y="90"/>
                    </a:lnTo>
                    <a:lnTo>
                      <a:pt x="148" y="90"/>
                    </a:lnTo>
                    <a:lnTo>
                      <a:pt x="148" y="89"/>
                    </a:lnTo>
                    <a:lnTo>
                      <a:pt x="148" y="89"/>
                    </a:lnTo>
                    <a:lnTo>
                      <a:pt x="148" y="87"/>
                    </a:lnTo>
                    <a:lnTo>
                      <a:pt x="148" y="86"/>
                    </a:lnTo>
                    <a:lnTo>
                      <a:pt x="148" y="84"/>
                    </a:lnTo>
                    <a:lnTo>
                      <a:pt x="148" y="83"/>
                    </a:lnTo>
                    <a:lnTo>
                      <a:pt x="146" y="81"/>
                    </a:lnTo>
                    <a:lnTo>
                      <a:pt x="146" y="81"/>
                    </a:lnTo>
                    <a:lnTo>
                      <a:pt x="146" y="80"/>
                    </a:lnTo>
                    <a:lnTo>
                      <a:pt x="148" y="80"/>
                    </a:lnTo>
                    <a:lnTo>
                      <a:pt x="148" y="80"/>
                    </a:lnTo>
                    <a:lnTo>
                      <a:pt x="148" y="79"/>
                    </a:lnTo>
                    <a:lnTo>
                      <a:pt x="148" y="79"/>
                    </a:lnTo>
                    <a:lnTo>
                      <a:pt x="148" y="79"/>
                    </a:lnTo>
                    <a:lnTo>
                      <a:pt x="148" y="79"/>
                    </a:lnTo>
                    <a:lnTo>
                      <a:pt x="142" y="73"/>
                    </a:lnTo>
                    <a:lnTo>
                      <a:pt x="143" y="71"/>
                    </a:lnTo>
                    <a:lnTo>
                      <a:pt x="145" y="69"/>
                    </a:lnTo>
                    <a:lnTo>
                      <a:pt x="145" y="69"/>
                    </a:lnTo>
                    <a:lnTo>
                      <a:pt x="146" y="69"/>
                    </a:lnTo>
                    <a:lnTo>
                      <a:pt x="148" y="69"/>
                    </a:lnTo>
                    <a:lnTo>
                      <a:pt x="148" y="69"/>
                    </a:lnTo>
                    <a:lnTo>
                      <a:pt x="149" y="69"/>
                    </a:lnTo>
                    <a:lnTo>
                      <a:pt x="151" y="69"/>
                    </a:lnTo>
                    <a:lnTo>
                      <a:pt x="152" y="70"/>
                    </a:lnTo>
                    <a:lnTo>
                      <a:pt x="152" y="70"/>
                    </a:lnTo>
                    <a:lnTo>
                      <a:pt x="155" y="70"/>
                    </a:lnTo>
                    <a:lnTo>
                      <a:pt x="156" y="71"/>
                    </a:lnTo>
                    <a:lnTo>
                      <a:pt x="158" y="71"/>
                    </a:lnTo>
                    <a:lnTo>
                      <a:pt x="159" y="70"/>
                    </a:lnTo>
                    <a:lnTo>
                      <a:pt x="161" y="70"/>
                    </a:lnTo>
                    <a:lnTo>
                      <a:pt x="162" y="69"/>
                    </a:lnTo>
                    <a:lnTo>
                      <a:pt x="162" y="67"/>
                    </a:lnTo>
                    <a:lnTo>
                      <a:pt x="164" y="67"/>
                    </a:lnTo>
                    <a:lnTo>
                      <a:pt x="165" y="66"/>
                    </a:lnTo>
                    <a:lnTo>
                      <a:pt x="165" y="66"/>
                    </a:lnTo>
                    <a:lnTo>
                      <a:pt x="166" y="66"/>
                    </a:lnTo>
                    <a:lnTo>
                      <a:pt x="168" y="64"/>
                    </a:lnTo>
                    <a:lnTo>
                      <a:pt x="168" y="64"/>
                    </a:lnTo>
                    <a:lnTo>
                      <a:pt x="168" y="63"/>
                    </a:lnTo>
                    <a:lnTo>
                      <a:pt x="168" y="63"/>
                    </a:lnTo>
                    <a:lnTo>
                      <a:pt x="168" y="63"/>
                    </a:lnTo>
                    <a:lnTo>
                      <a:pt x="165" y="61"/>
                    </a:lnTo>
                    <a:lnTo>
                      <a:pt x="165" y="60"/>
                    </a:lnTo>
                    <a:lnTo>
                      <a:pt x="164" y="60"/>
                    </a:lnTo>
                    <a:lnTo>
                      <a:pt x="164" y="60"/>
                    </a:lnTo>
                    <a:lnTo>
                      <a:pt x="164" y="58"/>
                    </a:lnTo>
                    <a:lnTo>
                      <a:pt x="164" y="58"/>
                    </a:lnTo>
                    <a:lnTo>
                      <a:pt x="164" y="57"/>
                    </a:lnTo>
                    <a:lnTo>
                      <a:pt x="164" y="57"/>
                    </a:lnTo>
                    <a:lnTo>
                      <a:pt x="164" y="56"/>
                    </a:lnTo>
                    <a:lnTo>
                      <a:pt x="159" y="54"/>
                    </a:lnTo>
                    <a:lnTo>
                      <a:pt x="156" y="54"/>
                    </a:lnTo>
                    <a:lnTo>
                      <a:pt x="155" y="54"/>
                    </a:lnTo>
                    <a:lnTo>
                      <a:pt x="153" y="54"/>
                    </a:lnTo>
                    <a:lnTo>
                      <a:pt x="153" y="54"/>
                    </a:lnTo>
                    <a:lnTo>
                      <a:pt x="152" y="54"/>
                    </a:lnTo>
                    <a:lnTo>
                      <a:pt x="152" y="54"/>
                    </a:lnTo>
                    <a:lnTo>
                      <a:pt x="151" y="54"/>
                    </a:lnTo>
                    <a:lnTo>
                      <a:pt x="152" y="53"/>
                    </a:lnTo>
                    <a:lnTo>
                      <a:pt x="152" y="51"/>
                    </a:lnTo>
                    <a:lnTo>
                      <a:pt x="152" y="50"/>
                    </a:lnTo>
                    <a:lnTo>
                      <a:pt x="152" y="50"/>
                    </a:lnTo>
                    <a:lnTo>
                      <a:pt x="152" y="48"/>
                    </a:lnTo>
                    <a:lnTo>
                      <a:pt x="151" y="47"/>
                    </a:lnTo>
                    <a:lnTo>
                      <a:pt x="145" y="44"/>
                    </a:lnTo>
                    <a:lnTo>
                      <a:pt x="143" y="43"/>
                    </a:lnTo>
                    <a:lnTo>
                      <a:pt x="142" y="40"/>
                    </a:lnTo>
                    <a:lnTo>
                      <a:pt x="141" y="38"/>
                    </a:lnTo>
                    <a:lnTo>
                      <a:pt x="139" y="37"/>
                    </a:lnTo>
                    <a:lnTo>
                      <a:pt x="139" y="37"/>
                    </a:lnTo>
                    <a:lnTo>
                      <a:pt x="139" y="37"/>
                    </a:lnTo>
                    <a:lnTo>
                      <a:pt x="139" y="37"/>
                    </a:lnTo>
                    <a:lnTo>
                      <a:pt x="139" y="35"/>
                    </a:lnTo>
                    <a:lnTo>
                      <a:pt x="141" y="34"/>
                    </a:lnTo>
                    <a:lnTo>
                      <a:pt x="141" y="34"/>
                    </a:lnTo>
                    <a:lnTo>
                      <a:pt x="139" y="34"/>
                    </a:lnTo>
                    <a:lnTo>
                      <a:pt x="138" y="33"/>
                    </a:lnTo>
                    <a:lnTo>
                      <a:pt x="136" y="33"/>
                    </a:lnTo>
                    <a:lnTo>
                      <a:pt x="135" y="31"/>
                    </a:lnTo>
                    <a:lnTo>
                      <a:pt x="133" y="30"/>
                    </a:lnTo>
                    <a:lnTo>
                      <a:pt x="133" y="30"/>
                    </a:lnTo>
                    <a:lnTo>
                      <a:pt x="135" y="28"/>
                    </a:lnTo>
                    <a:lnTo>
                      <a:pt x="135" y="27"/>
                    </a:lnTo>
                    <a:lnTo>
                      <a:pt x="135" y="27"/>
                    </a:lnTo>
                    <a:lnTo>
                      <a:pt x="136" y="25"/>
                    </a:lnTo>
                    <a:lnTo>
                      <a:pt x="138" y="24"/>
                    </a:lnTo>
                    <a:lnTo>
                      <a:pt x="138" y="23"/>
                    </a:lnTo>
                    <a:lnTo>
                      <a:pt x="136" y="21"/>
                    </a:lnTo>
                    <a:lnTo>
                      <a:pt x="135" y="21"/>
                    </a:lnTo>
                    <a:lnTo>
                      <a:pt x="135" y="20"/>
                    </a:lnTo>
                    <a:lnTo>
                      <a:pt x="135" y="20"/>
                    </a:lnTo>
                    <a:lnTo>
                      <a:pt x="135" y="20"/>
                    </a:lnTo>
                    <a:lnTo>
                      <a:pt x="135" y="18"/>
                    </a:lnTo>
                    <a:lnTo>
                      <a:pt x="135" y="18"/>
                    </a:lnTo>
                    <a:lnTo>
                      <a:pt x="135" y="18"/>
                    </a:lnTo>
                    <a:lnTo>
                      <a:pt x="136" y="17"/>
                    </a:lnTo>
                    <a:lnTo>
                      <a:pt x="136" y="15"/>
                    </a:lnTo>
                    <a:lnTo>
                      <a:pt x="136" y="14"/>
                    </a:lnTo>
                    <a:lnTo>
                      <a:pt x="136" y="12"/>
                    </a:lnTo>
                    <a:lnTo>
                      <a:pt x="136" y="12"/>
                    </a:lnTo>
                    <a:lnTo>
                      <a:pt x="135" y="12"/>
                    </a:lnTo>
                    <a:lnTo>
                      <a:pt x="135" y="12"/>
                    </a:lnTo>
                    <a:lnTo>
                      <a:pt x="135" y="12"/>
                    </a:lnTo>
                    <a:lnTo>
                      <a:pt x="132" y="11"/>
                    </a:lnTo>
                    <a:lnTo>
                      <a:pt x="130" y="11"/>
                    </a:lnTo>
                    <a:lnTo>
                      <a:pt x="130" y="10"/>
                    </a:lnTo>
                    <a:lnTo>
                      <a:pt x="130" y="10"/>
                    </a:lnTo>
                    <a:lnTo>
                      <a:pt x="130" y="10"/>
                    </a:lnTo>
                    <a:lnTo>
                      <a:pt x="129" y="10"/>
                    </a:lnTo>
                    <a:lnTo>
                      <a:pt x="129" y="8"/>
                    </a:lnTo>
                    <a:lnTo>
                      <a:pt x="128" y="8"/>
                    </a:lnTo>
                    <a:lnTo>
                      <a:pt x="125" y="7"/>
                    </a:lnTo>
                    <a:lnTo>
                      <a:pt x="122" y="7"/>
                    </a:lnTo>
                    <a:lnTo>
                      <a:pt x="120" y="7"/>
                    </a:lnTo>
                    <a:lnTo>
                      <a:pt x="120" y="7"/>
                    </a:lnTo>
                    <a:lnTo>
                      <a:pt x="119" y="7"/>
                    </a:lnTo>
                    <a:lnTo>
                      <a:pt x="119" y="7"/>
                    </a:lnTo>
                    <a:lnTo>
                      <a:pt x="119" y="7"/>
                    </a:lnTo>
                    <a:lnTo>
                      <a:pt x="118" y="7"/>
                    </a:lnTo>
                    <a:lnTo>
                      <a:pt x="118" y="7"/>
                    </a:lnTo>
                    <a:lnTo>
                      <a:pt x="118" y="7"/>
                    </a:lnTo>
                    <a:lnTo>
                      <a:pt x="118" y="8"/>
                    </a:lnTo>
                    <a:lnTo>
                      <a:pt x="118" y="8"/>
                    </a:lnTo>
                    <a:lnTo>
                      <a:pt x="116" y="8"/>
                    </a:lnTo>
                    <a:lnTo>
                      <a:pt x="116" y="8"/>
                    </a:lnTo>
                    <a:lnTo>
                      <a:pt x="115" y="8"/>
                    </a:lnTo>
                    <a:lnTo>
                      <a:pt x="115" y="8"/>
                    </a:lnTo>
                    <a:lnTo>
                      <a:pt x="113" y="8"/>
                    </a:lnTo>
                    <a:lnTo>
                      <a:pt x="113" y="10"/>
                    </a:lnTo>
                    <a:lnTo>
                      <a:pt x="110" y="10"/>
                    </a:lnTo>
                    <a:lnTo>
                      <a:pt x="110" y="10"/>
                    </a:lnTo>
                    <a:lnTo>
                      <a:pt x="109" y="10"/>
                    </a:lnTo>
                    <a:lnTo>
                      <a:pt x="109" y="8"/>
                    </a:lnTo>
                    <a:lnTo>
                      <a:pt x="109" y="8"/>
                    </a:lnTo>
                    <a:lnTo>
                      <a:pt x="109" y="7"/>
                    </a:lnTo>
                    <a:lnTo>
                      <a:pt x="109" y="5"/>
                    </a:lnTo>
                    <a:lnTo>
                      <a:pt x="109" y="5"/>
                    </a:lnTo>
                    <a:lnTo>
                      <a:pt x="109" y="5"/>
                    </a:lnTo>
                    <a:lnTo>
                      <a:pt x="109" y="5"/>
                    </a:lnTo>
                    <a:lnTo>
                      <a:pt x="109" y="4"/>
                    </a:lnTo>
                    <a:lnTo>
                      <a:pt x="108" y="4"/>
                    </a:lnTo>
                    <a:lnTo>
                      <a:pt x="105" y="2"/>
                    </a:lnTo>
                    <a:lnTo>
                      <a:pt x="103" y="2"/>
                    </a:lnTo>
                    <a:lnTo>
                      <a:pt x="102" y="2"/>
                    </a:lnTo>
                    <a:lnTo>
                      <a:pt x="100" y="4"/>
                    </a:lnTo>
                    <a:lnTo>
                      <a:pt x="99" y="4"/>
                    </a:lnTo>
                    <a:lnTo>
                      <a:pt x="99" y="4"/>
                    </a:lnTo>
                    <a:lnTo>
                      <a:pt x="99" y="4"/>
                    </a:lnTo>
                    <a:lnTo>
                      <a:pt x="99" y="4"/>
                    </a:lnTo>
                    <a:lnTo>
                      <a:pt x="97" y="4"/>
                    </a:lnTo>
                    <a:lnTo>
                      <a:pt x="97" y="2"/>
                    </a:lnTo>
                    <a:lnTo>
                      <a:pt x="96" y="1"/>
                    </a:lnTo>
                    <a:lnTo>
                      <a:pt x="95" y="1"/>
                    </a:lnTo>
                    <a:lnTo>
                      <a:pt x="92" y="1"/>
                    </a:lnTo>
                    <a:lnTo>
                      <a:pt x="92" y="1"/>
                    </a:lnTo>
                    <a:lnTo>
                      <a:pt x="90" y="2"/>
                    </a:lnTo>
                    <a:lnTo>
                      <a:pt x="90" y="2"/>
                    </a:lnTo>
                    <a:lnTo>
                      <a:pt x="89" y="1"/>
                    </a:lnTo>
                    <a:lnTo>
                      <a:pt x="89" y="1"/>
                    </a:lnTo>
                    <a:lnTo>
                      <a:pt x="87" y="1"/>
                    </a:lnTo>
                    <a:lnTo>
                      <a:pt x="87" y="0"/>
                    </a:lnTo>
                    <a:lnTo>
                      <a:pt x="87" y="0"/>
                    </a:lnTo>
                    <a:lnTo>
                      <a:pt x="86" y="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67" name="Freeform 73">
                <a:extLst>
                  <a:ext uri="{FF2B5EF4-FFF2-40B4-BE49-F238E27FC236}">
                    <a16:creationId xmlns:a16="http://schemas.microsoft.com/office/drawing/2014/main" id="{16C0D53E-BA4C-2F4F-7646-3FAF7D89AF21}"/>
                  </a:ext>
                </a:extLst>
              </p:cNvPr>
              <p:cNvSpPr>
                <a:spLocks/>
              </p:cNvSpPr>
              <p:nvPr/>
            </p:nvSpPr>
            <p:spPr bwMode="auto">
              <a:xfrm>
                <a:off x="3916" y="1539"/>
                <a:ext cx="128" cy="56"/>
              </a:xfrm>
              <a:custGeom>
                <a:avLst/>
                <a:gdLst>
                  <a:gd name="T0" fmla="*/ 22 w 128"/>
                  <a:gd name="T1" fmla="*/ 40 h 56"/>
                  <a:gd name="T2" fmla="*/ 62 w 128"/>
                  <a:gd name="T3" fmla="*/ 42 h 56"/>
                  <a:gd name="T4" fmla="*/ 68 w 128"/>
                  <a:gd name="T5" fmla="*/ 39 h 56"/>
                  <a:gd name="T6" fmla="*/ 70 w 128"/>
                  <a:gd name="T7" fmla="*/ 42 h 56"/>
                  <a:gd name="T8" fmla="*/ 73 w 128"/>
                  <a:gd name="T9" fmla="*/ 43 h 56"/>
                  <a:gd name="T10" fmla="*/ 83 w 128"/>
                  <a:gd name="T11" fmla="*/ 46 h 56"/>
                  <a:gd name="T12" fmla="*/ 93 w 128"/>
                  <a:gd name="T13" fmla="*/ 53 h 56"/>
                  <a:gd name="T14" fmla="*/ 101 w 128"/>
                  <a:gd name="T15" fmla="*/ 55 h 56"/>
                  <a:gd name="T16" fmla="*/ 108 w 128"/>
                  <a:gd name="T17" fmla="*/ 52 h 56"/>
                  <a:gd name="T18" fmla="*/ 116 w 128"/>
                  <a:gd name="T19" fmla="*/ 52 h 56"/>
                  <a:gd name="T20" fmla="*/ 121 w 128"/>
                  <a:gd name="T21" fmla="*/ 47 h 56"/>
                  <a:gd name="T22" fmla="*/ 126 w 128"/>
                  <a:gd name="T23" fmla="*/ 45 h 56"/>
                  <a:gd name="T24" fmla="*/ 126 w 128"/>
                  <a:gd name="T25" fmla="*/ 45 h 56"/>
                  <a:gd name="T26" fmla="*/ 128 w 128"/>
                  <a:gd name="T27" fmla="*/ 42 h 56"/>
                  <a:gd name="T28" fmla="*/ 126 w 128"/>
                  <a:gd name="T29" fmla="*/ 39 h 56"/>
                  <a:gd name="T30" fmla="*/ 122 w 128"/>
                  <a:gd name="T31" fmla="*/ 30 h 56"/>
                  <a:gd name="T32" fmla="*/ 121 w 128"/>
                  <a:gd name="T33" fmla="*/ 29 h 56"/>
                  <a:gd name="T34" fmla="*/ 118 w 128"/>
                  <a:gd name="T35" fmla="*/ 29 h 56"/>
                  <a:gd name="T36" fmla="*/ 118 w 128"/>
                  <a:gd name="T37" fmla="*/ 27 h 56"/>
                  <a:gd name="T38" fmla="*/ 119 w 128"/>
                  <a:gd name="T39" fmla="*/ 26 h 56"/>
                  <a:gd name="T40" fmla="*/ 119 w 128"/>
                  <a:gd name="T41" fmla="*/ 24 h 56"/>
                  <a:gd name="T42" fmla="*/ 121 w 128"/>
                  <a:gd name="T43" fmla="*/ 22 h 56"/>
                  <a:gd name="T44" fmla="*/ 121 w 128"/>
                  <a:gd name="T45" fmla="*/ 20 h 56"/>
                  <a:gd name="T46" fmla="*/ 116 w 128"/>
                  <a:gd name="T47" fmla="*/ 14 h 56"/>
                  <a:gd name="T48" fmla="*/ 111 w 128"/>
                  <a:gd name="T49" fmla="*/ 13 h 56"/>
                  <a:gd name="T50" fmla="*/ 103 w 128"/>
                  <a:gd name="T51" fmla="*/ 11 h 56"/>
                  <a:gd name="T52" fmla="*/ 95 w 128"/>
                  <a:gd name="T53" fmla="*/ 11 h 56"/>
                  <a:gd name="T54" fmla="*/ 89 w 128"/>
                  <a:gd name="T55" fmla="*/ 6 h 56"/>
                  <a:gd name="T56" fmla="*/ 76 w 128"/>
                  <a:gd name="T57" fmla="*/ 0 h 56"/>
                  <a:gd name="T58" fmla="*/ 68 w 128"/>
                  <a:gd name="T59" fmla="*/ 0 h 56"/>
                  <a:gd name="T60" fmla="*/ 59 w 128"/>
                  <a:gd name="T61" fmla="*/ 7 h 56"/>
                  <a:gd name="T62" fmla="*/ 59 w 128"/>
                  <a:gd name="T63" fmla="*/ 22 h 56"/>
                  <a:gd name="T64" fmla="*/ 52 w 128"/>
                  <a:gd name="T65" fmla="*/ 26 h 56"/>
                  <a:gd name="T66" fmla="*/ 46 w 128"/>
                  <a:gd name="T67" fmla="*/ 26 h 56"/>
                  <a:gd name="T68" fmla="*/ 42 w 128"/>
                  <a:gd name="T69" fmla="*/ 23 h 56"/>
                  <a:gd name="T70" fmla="*/ 34 w 128"/>
                  <a:gd name="T71" fmla="*/ 14 h 56"/>
                  <a:gd name="T72" fmla="*/ 26 w 128"/>
                  <a:gd name="T73" fmla="*/ 9 h 56"/>
                  <a:gd name="T74" fmla="*/ 12 w 128"/>
                  <a:gd name="T75" fmla="*/ 14 h 56"/>
                  <a:gd name="T76" fmla="*/ 7 w 128"/>
                  <a:gd name="T77" fmla="*/ 22 h 56"/>
                  <a:gd name="T78" fmla="*/ 7 w 128"/>
                  <a:gd name="T79" fmla="*/ 26 h 56"/>
                  <a:gd name="T80" fmla="*/ 1 w 128"/>
                  <a:gd name="T81" fmla="*/ 30 h 56"/>
                  <a:gd name="T82" fmla="*/ 1 w 128"/>
                  <a:gd name="T83"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8" h="56">
                    <a:moveTo>
                      <a:pt x="14" y="40"/>
                    </a:moveTo>
                    <a:lnTo>
                      <a:pt x="19" y="40"/>
                    </a:lnTo>
                    <a:lnTo>
                      <a:pt x="22" y="40"/>
                    </a:lnTo>
                    <a:lnTo>
                      <a:pt x="59" y="42"/>
                    </a:lnTo>
                    <a:lnTo>
                      <a:pt x="60" y="42"/>
                    </a:lnTo>
                    <a:lnTo>
                      <a:pt x="62" y="42"/>
                    </a:lnTo>
                    <a:lnTo>
                      <a:pt x="63" y="42"/>
                    </a:lnTo>
                    <a:lnTo>
                      <a:pt x="66" y="40"/>
                    </a:lnTo>
                    <a:lnTo>
                      <a:pt x="68" y="39"/>
                    </a:lnTo>
                    <a:lnTo>
                      <a:pt x="69" y="40"/>
                    </a:lnTo>
                    <a:lnTo>
                      <a:pt x="69" y="40"/>
                    </a:lnTo>
                    <a:lnTo>
                      <a:pt x="70" y="42"/>
                    </a:lnTo>
                    <a:lnTo>
                      <a:pt x="72" y="42"/>
                    </a:lnTo>
                    <a:lnTo>
                      <a:pt x="72" y="43"/>
                    </a:lnTo>
                    <a:lnTo>
                      <a:pt x="73" y="43"/>
                    </a:lnTo>
                    <a:lnTo>
                      <a:pt x="75" y="45"/>
                    </a:lnTo>
                    <a:lnTo>
                      <a:pt x="79" y="45"/>
                    </a:lnTo>
                    <a:lnTo>
                      <a:pt x="83" y="46"/>
                    </a:lnTo>
                    <a:lnTo>
                      <a:pt x="86" y="47"/>
                    </a:lnTo>
                    <a:lnTo>
                      <a:pt x="89" y="49"/>
                    </a:lnTo>
                    <a:lnTo>
                      <a:pt x="93" y="53"/>
                    </a:lnTo>
                    <a:lnTo>
                      <a:pt x="96" y="55"/>
                    </a:lnTo>
                    <a:lnTo>
                      <a:pt x="99" y="56"/>
                    </a:lnTo>
                    <a:lnTo>
                      <a:pt x="101" y="55"/>
                    </a:lnTo>
                    <a:lnTo>
                      <a:pt x="105" y="53"/>
                    </a:lnTo>
                    <a:lnTo>
                      <a:pt x="106" y="52"/>
                    </a:lnTo>
                    <a:lnTo>
                      <a:pt x="108" y="52"/>
                    </a:lnTo>
                    <a:lnTo>
                      <a:pt x="112" y="53"/>
                    </a:lnTo>
                    <a:lnTo>
                      <a:pt x="113" y="53"/>
                    </a:lnTo>
                    <a:lnTo>
                      <a:pt x="116" y="52"/>
                    </a:lnTo>
                    <a:lnTo>
                      <a:pt x="116" y="52"/>
                    </a:lnTo>
                    <a:lnTo>
                      <a:pt x="119" y="49"/>
                    </a:lnTo>
                    <a:lnTo>
                      <a:pt x="121" y="47"/>
                    </a:lnTo>
                    <a:lnTo>
                      <a:pt x="122" y="46"/>
                    </a:lnTo>
                    <a:lnTo>
                      <a:pt x="125" y="46"/>
                    </a:lnTo>
                    <a:lnTo>
                      <a:pt x="126" y="45"/>
                    </a:lnTo>
                    <a:lnTo>
                      <a:pt x="126" y="45"/>
                    </a:lnTo>
                    <a:lnTo>
                      <a:pt x="126" y="45"/>
                    </a:lnTo>
                    <a:lnTo>
                      <a:pt x="126" y="45"/>
                    </a:lnTo>
                    <a:lnTo>
                      <a:pt x="128" y="43"/>
                    </a:lnTo>
                    <a:lnTo>
                      <a:pt x="128" y="42"/>
                    </a:lnTo>
                    <a:lnTo>
                      <a:pt x="128" y="42"/>
                    </a:lnTo>
                    <a:lnTo>
                      <a:pt x="126" y="40"/>
                    </a:lnTo>
                    <a:lnTo>
                      <a:pt x="126" y="39"/>
                    </a:lnTo>
                    <a:lnTo>
                      <a:pt x="126" y="39"/>
                    </a:lnTo>
                    <a:lnTo>
                      <a:pt x="125" y="36"/>
                    </a:lnTo>
                    <a:lnTo>
                      <a:pt x="124" y="33"/>
                    </a:lnTo>
                    <a:lnTo>
                      <a:pt x="122" y="30"/>
                    </a:lnTo>
                    <a:lnTo>
                      <a:pt x="122" y="30"/>
                    </a:lnTo>
                    <a:lnTo>
                      <a:pt x="122" y="30"/>
                    </a:lnTo>
                    <a:lnTo>
                      <a:pt x="121" y="29"/>
                    </a:lnTo>
                    <a:lnTo>
                      <a:pt x="121" y="29"/>
                    </a:lnTo>
                    <a:lnTo>
                      <a:pt x="118" y="30"/>
                    </a:lnTo>
                    <a:lnTo>
                      <a:pt x="118" y="29"/>
                    </a:lnTo>
                    <a:lnTo>
                      <a:pt x="118" y="29"/>
                    </a:lnTo>
                    <a:lnTo>
                      <a:pt x="118" y="29"/>
                    </a:lnTo>
                    <a:lnTo>
                      <a:pt x="118" y="27"/>
                    </a:lnTo>
                    <a:lnTo>
                      <a:pt x="118" y="27"/>
                    </a:lnTo>
                    <a:lnTo>
                      <a:pt x="119" y="27"/>
                    </a:lnTo>
                    <a:lnTo>
                      <a:pt x="119" y="26"/>
                    </a:lnTo>
                    <a:lnTo>
                      <a:pt x="119" y="26"/>
                    </a:lnTo>
                    <a:lnTo>
                      <a:pt x="119" y="24"/>
                    </a:lnTo>
                    <a:lnTo>
                      <a:pt x="119" y="24"/>
                    </a:lnTo>
                    <a:lnTo>
                      <a:pt x="119" y="23"/>
                    </a:lnTo>
                    <a:lnTo>
                      <a:pt x="121" y="23"/>
                    </a:lnTo>
                    <a:lnTo>
                      <a:pt x="121" y="22"/>
                    </a:lnTo>
                    <a:lnTo>
                      <a:pt x="121" y="22"/>
                    </a:lnTo>
                    <a:lnTo>
                      <a:pt x="121" y="20"/>
                    </a:lnTo>
                    <a:lnTo>
                      <a:pt x="121" y="20"/>
                    </a:lnTo>
                    <a:lnTo>
                      <a:pt x="121" y="19"/>
                    </a:lnTo>
                    <a:lnTo>
                      <a:pt x="118" y="16"/>
                    </a:lnTo>
                    <a:lnTo>
                      <a:pt x="116" y="14"/>
                    </a:lnTo>
                    <a:lnTo>
                      <a:pt x="115" y="13"/>
                    </a:lnTo>
                    <a:lnTo>
                      <a:pt x="112" y="13"/>
                    </a:lnTo>
                    <a:lnTo>
                      <a:pt x="111" y="13"/>
                    </a:lnTo>
                    <a:lnTo>
                      <a:pt x="106" y="11"/>
                    </a:lnTo>
                    <a:lnTo>
                      <a:pt x="105" y="10"/>
                    </a:lnTo>
                    <a:lnTo>
                      <a:pt x="103" y="11"/>
                    </a:lnTo>
                    <a:lnTo>
                      <a:pt x="99" y="13"/>
                    </a:lnTo>
                    <a:lnTo>
                      <a:pt x="98" y="13"/>
                    </a:lnTo>
                    <a:lnTo>
                      <a:pt x="95" y="11"/>
                    </a:lnTo>
                    <a:lnTo>
                      <a:pt x="93" y="10"/>
                    </a:lnTo>
                    <a:lnTo>
                      <a:pt x="89" y="6"/>
                    </a:lnTo>
                    <a:lnTo>
                      <a:pt x="89" y="6"/>
                    </a:lnTo>
                    <a:lnTo>
                      <a:pt x="88" y="4"/>
                    </a:lnTo>
                    <a:lnTo>
                      <a:pt x="86" y="4"/>
                    </a:lnTo>
                    <a:lnTo>
                      <a:pt x="76" y="0"/>
                    </a:lnTo>
                    <a:lnTo>
                      <a:pt x="75" y="0"/>
                    </a:lnTo>
                    <a:lnTo>
                      <a:pt x="70" y="0"/>
                    </a:lnTo>
                    <a:lnTo>
                      <a:pt x="68" y="0"/>
                    </a:lnTo>
                    <a:lnTo>
                      <a:pt x="62" y="3"/>
                    </a:lnTo>
                    <a:lnTo>
                      <a:pt x="59" y="4"/>
                    </a:lnTo>
                    <a:lnTo>
                      <a:pt x="59" y="7"/>
                    </a:lnTo>
                    <a:lnTo>
                      <a:pt x="60" y="14"/>
                    </a:lnTo>
                    <a:lnTo>
                      <a:pt x="60" y="19"/>
                    </a:lnTo>
                    <a:lnTo>
                      <a:pt x="59" y="22"/>
                    </a:lnTo>
                    <a:lnTo>
                      <a:pt x="57" y="23"/>
                    </a:lnTo>
                    <a:lnTo>
                      <a:pt x="55" y="24"/>
                    </a:lnTo>
                    <a:lnTo>
                      <a:pt x="52" y="26"/>
                    </a:lnTo>
                    <a:lnTo>
                      <a:pt x="50" y="26"/>
                    </a:lnTo>
                    <a:lnTo>
                      <a:pt x="49" y="26"/>
                    </a:lnTo>
                    <a:lnTo>
                      <a:pt x="46" y="26"/>
                    </a:lnTo>
                    <a:lnTo>
                      <a:pt x="45" y="26"/>
                    </a:lnTo>
                    <a:lnTo>
                      <a:pt x="43" y="24"/>
                    </a:lnTo>
                    <a:lnTo>
                      <a:pt x="42" y="23"/>
                    </a:lnTo>
                    <a:lnTo>
                      <a:pt x="39" y="20"/>
                    </a:lnTo>
                    <a:lnTo>
                      <a:pt x="37" y="17"/>
                    </a:lnTo>
                    <a:lnTo>
                      <a:pt x="34" y="14"/>
                    </a:lnTo>
                    <a:lnTo>
                      <a:pt x="30" y="10"/>
                    </a:lnTo>
                    <a:lnTo>
                      <a:pt x="27" y="9"/>
                    </a:lnTo>
                    <a:lnTo>
                      <a:pt x="26" y="9"/>
                    </a:lnTo>
                    <a:lnTo>
                      <a:pt x="17" y="11"/>
                    </a:lnTo>
                    <a:lnTo>
                      <a:pt x="14" y="13"/>
                    </a:lnTo>
                    <a:lnTo>
                      <a:pt x="12" y="14"/>
                    </a:lnTo>
                    <a:lnTo>
                      <a:pt x="10" y="17"/>
                    </a:lnTo>
                    <a:lnTo>
                      <a:pt x="9" y="20"/>
                    </a:lnTo>
                    <a:lnTo>
                      <a:pt x="7" y="22"/>
                    </a:lnTo>
                    <a:lnTo>
                      <a:pt x="7" y="23"/>
                    </a:lnTo>
                    <a:lnTo>
                      <a:pt x="7" y="24"/>
                    </a:lnTo>
                    <a:lnTo>
                      <a:pt x="7" y="26"/>
                    </a:lnTo>
                    <a:lnTo>
                      <a:pt x="6" y="27"/>
                    </a:lnTo>
                    <a:lnTo>
                      <a:pt x="3" y="29"/>
                    </a:lnTo>
                    <a:lnTo>
                      <a:pt x="1" y="30"/>
                    </a:lnTo>
                    <a:lnTo>
                      <a:pt x="1" y="34"/>
                    </a:lnTo>
                    <a:lnTo>
                      <a:pt x="0" y="39"/>
                    </a:lnTo>
                    <a:lnTo>
                      <a:pt x="1" y="46"/>
                    </a:lnTo>
                    <a:lnTo>
                      <a:pt x="9" y="43"/>
                    </a:lnTo>
                    <a:lnTo>
                      <a:pt x="14" y="4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68" name="Freeform 74">
                <a:extLst>
                  <a:ext uri="{FF2B5EF4-FFF2-40B4-BE49-F238E27FC236}">
                    <a16:creationId xmlns:a16="http://schemas.microsoft.com/office/drawing/2014/main" id="{28754CD9-1005-214F-9909-605583F4ADA5}"/>
                  </a:ext>
                </a:extLst>
              </p:cNvPr>
              <p:cNvSpPr>
                <a:spLocks/>
              </p:cNvSpPr>
              <p:nvPr/>
            </p:nvSpPr>
            <p:spPr bwMode="auto">
              <a:xfrm>
                <a:off x="3118" y="1283"/>
                <a:ext cx="191" cy="107"/>
              </a:xfrm>
              <a:custGeom>
                <a:avLst/>
                <a:gdLst>
                  <a:gd name="T0" fmla="*/ 165 w 191"/>
                  <a:gd name="T1" fmla="*/ 81 h 107"/>
                  <a:gd name="T2" fmla="*/ 175 w 191"/>
                  <a:gd name="T3" fmla="*/ 72 h 107"/>
                  <a:gd name="T4" fmla="*/ 179 w 191"/>
                  <a:gd name="T5" fmla="*/ 66 h 107"/>
                  <a:gd name="T6" fmla="*/ 186 w 191"/>
                  <a:gd name="T7" fmla="*/ 59 h 107"/>
                  <a:gd name="T8" fmla="*/ 191 w 191"/>
                  <a:gd name="T9" fmla="*/ 53 h 107"/>
                  <a:gd name="T10" fmla="*/ 189 w 191"/>
                  <a:gd name="T11" fmla="*/ 46 h 107"/>
                  <a:gd name="T12" fmla="*/ 189 w 191"/>
                  <a:gd name="T13" fmla="*/ 42 h 107"/>
                  <a:gd name="T14" fmla="*/ 188 w 191"/>
                  <a:gd name="T15" fmla="*/ 38 h 107"/>
                  <a:gd name="T16" fmla="*/ 178 w 191"/>
                  <a:gd name="T17" fmla="*/ 35 h 107"/>
                  <a:gd name="T18" fmla="*/ 173 w 191"/>
                  <a:gd name="T19" fmla="*/ 27 h 107"/>
                  <a:gd name="T20" fmla="*/ 172 w 191"/>
                  <a:gd name="T21" fmla="*/ 22 h 107"/>
                  <a:gd name="T22" fmla="*/ 168 w 191"/>
                  <a:gd name="T23" fmla="*/ 10 h 107"/>
                  <a:gd name="T24" fmla="*/ 158 w 191"/>
                  <a:gd name="T25" fmla="*/ 10 h 107"/>
                  <a:gd name="T26" fmla="*/ 149 w 191"/>
                  <a:gd name="T27" fmla="*/ 0 h 107"/>
                  <a:gd name="T28" fmla="*/ 140 w 191"/>
                  <a:gd name="T29" fmla="*/ 9 h 107"/>
                  <a:gd name="T30" fmla="*/ 130 w 191"/>
                  <a:gd name="T31" fmla="*/ 13 h 107"/>
                  <a:gd name="T32" fmla="*/ 120 w 191"/>
                  <a:gd name="T33" fmla="*/ 22 h 107"/>
                  <a:gd name="T34" fmla="*/ 110 w 191"/>
                  <a:gd name="T35" fmla="*/ 30 h 107"/>
                  <a:gd name="T36" fmla="*/ 89 w 191"/>
                  <a:gd name="T37" fmla="*/ 17 h 107"/>
                  <a:gd name="T38" fmla="*/ 73 w 191"/>
                  <a:gd name="T39" fmla="*/ 17 h 107"/>
                  <a:gd name="T40" fmla="*/ 67 w 191"/>
                  <a:gd name="T41" fmla="*/ 33 h 107"/>
                  <a:gd name="T42" fmla="*/ 60 w 191"/>
                  <a:gd name="T43" fmla="*/ 40 h 107"/>
                  <a:gd name="T44" fmla="*/ 54 w 191"/>
                  <a:gd name="T45" fmla="*/ 36 h 107"/>
                  <a:gd name="T46" fmla="*/ 50 w 191"/>
                  <a:gd name="T47" fmla="*/ 32 h 107"/>
                  <a:gd name="T48" fmla="*/ 53 w 191"/>
                  <a:gd name="T49" fmla="*/ 19 h 107"/>
                  <a:gd name="T50" fmla="*/ 35 w 191"/>
                  <a:gd name="T51" fmla="*/ 4 h 107"/>
                  <a:gd name="T52" fmla="*/ 24 w 191"/>
                  <a:gd name="T53" fmla="*/ 7 h 107"/>
                  <a:gd name="T54" fmla="*/ 27 w 191"/>
                  <a:gd name="T55" fmla="*/ 12 h 107"/>
                  <a:gd name="T56" fmla="*/ 34 w 191"/>
                  <a:gd name="T57" fmla="*/ 23 h 107"/>
                  <a:gd name="T58" fmla="*/ 30 w 191"/>
                  <a:gd name="T59" fmla="*/ 19 h 107"/>
                  <a:gd name="T60" fmla="*/ 17 w 191"/>
                  <a:gd name="T61" fmla="*/ 19 h 107"/>
                  <a:gd name="T62" fmla="*/ 12 w 191"/>
                  <a:gd name="T63" fmla="*/ 22 h 107"/>
                  <a:gd name="T64" fmla="*/ 14 w 191"/>
                  <a:gd name="T65" fmla="*/ 29 h 107"/>
                  <a:gd name="T66" fmla="*/ 14 w 191"/>
                  <a:gd name="T67" fmla="*/ 32 h 107"/>
                  <a:gd name="T68" fmla="*/ 7 w 191"/>
                  <a:gd name="T69" fmla="*/ 33 h 107"/>
                  <a:gd name="T70" fmla="*/ 1 w 191"/>
                  <a:gd name="T71" fmla="*/ 36 h 107"/>
                  <a:gd name="T72" fmla="*/ 15 w 191"/>
                  <a:gd name="T73" fmla="*/ 40 h 107"/>
                  <a:gd name="T74" fmla="*/ 34 w 191"/>
                  <a:gd name="T75" fmla="*/ 38 h 107"/>
                  <a:gd name="T76" fmla="*/ 45 w 191"/>
                  <a:gd name="T77" fmla="*/ 40 h 107"/>
                  <a:gd name="T78" fmla="*/ 37 w 191"/>
                  <a:gd name="T79" fmla="*/ 52 h 107"/>
                  <a:gd name="T80" fmla="*/ 44 w 191"/>
                  <a:gd name="T81" fmla="*/ 55 h 107"/>
                  <a:gd name="T82" fmla="*/ 25 w 191"/>
                  <a:gd name="T83" fmla="*/ 58 h 107"/>
                  <a:gd name="T84" fmla="*/ 10 w 191"/>
                  <a:gd name="T85" fmla="*/ 59 h 107"/>
                  <a:gd name="T86" fmla="*/ 20 w 191"/>
                  <a:gd name="T87" fmla="*/ 63 h 107"/>
                  <a:gd name="T88" fmla="*/ 37 w 191"/>
                  <a:gd name="T89" fmla="*/ 69 h 107"/>
                  <a:gd name="T90" fmla="*/ 44 w 191"/>
                  <a:gd name="T91" fmla="*/ 73 h 107"/>
                  <a:gd name="T92" fmla="*/ 44 w 191"/>
                  <a:gd name="T93" fmla="*/ 79 h 107"/>
                  <a:gd name="T94" fmla="*/ 44 w 191"/>
                  <a:gd name="T95" fmla="*/ 85 h 107"/>
                  <a:gd name="T96" fmla="*/ 33 w 191"/>
                  <a:gd name="T97" fmla="*/ 89 h 107"/>
                  <a:gd name="T98" fmla="*/ 31 w 191"/>
                  <a:gd name="T99" fmla="*/ 94 h 107"/>
                  <a:gd name="T100" fmla="*/ 54 w 191"/>
                  <a:gd name="T101" fmla="*/ 94 h 107"/>
                  <a:gd name="T102" fmla="*/ 66 w 191"/>
                  <a:gd name="T103" fmla="*/ 96 h 107"/>
                  <a:gd name="T104" fmla="*/ 70 w 191"/>
                  <a:gd name="T105" fmla="*/ 96 h 107"/>
                  <a:gd name="T106" fmla="*/ 70 w 191"/>
                  <a:gd name="T107" fmla="*/ 101 h 107"/>
                  <a:gd name="T108" fmla="*/ 109 w 191"/>
                  <a:gd name="T109" fmla="*/ 105 h 107"/>
                  <a:gd name="T110" fmla="*/ 116 w 191"/>
                  <a:gd name="T111"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1" h="107">
                    <a:moveTo>
                      <a:pt x="136" y="94"/>
                    </a:moveTo>
                    <a:lnTo>
                      <a:pt x="142" y="91"/>
                    </a:lnTo>
                    <a:lnTo>
                      <a:pt x="149" y="85"/>
                    </a:lnTo>
                    <a:lnTo>
                      <a:pt x="152" y="84"/>
                    </a:lnTo>
                    <a:lnTo>
                      <a:pt x="155" y="82"/>
                    </a:lnTo>
                    <a:lnTo>
                      <a:pt x="165" y="81"/>
                    </a:lnTo>
                    <a:lnTo>
                      <a:pt x="168" y="79"/>
                    </a:lnTo>
                    <a:lnTo>
                      <a:pt x="170" y="78"/>
                    </a:lnTo>
                    <a:lnTo>
                      <a:pt x="173" y="76"/>
                    </a:lnTo>
                    <a:lnTo>
                      <a:pt x="175" y="73"/>
                    </a:lnTo>
                    <a:lnTo>
                      <a:pt x="175" y="73"/>
                    </a:lnTo>
                    <a:lnTo>
                      <a:pt x="175" y="72"/>
                    </a:lnTo>
                    <a:lnTo>
                      <a:pt x="175" y="71"/>
                    </a:lnTo>
                    <a:lnTo>
                      <a:pt x="175" y="71"/>
                    </a:lnTo>
                    <a:lnTo>
                      <a:pt x="176" y="68"/>
                    </a:lnTo>
                    <a:lnTo>
                      <a:pt x="176" y="66"/>
                    </a:lnTo>
                    <a:lnTo>
                      <a:pt x="176" y="66"/>
                    </a:lnTo>
                    <a:lnTo>
                      <a:pt x="179" y="66"/>
                    </a:lnTo>
                    <a:lnTo>
                      <a:pt x="180" y="66"/>
                    </a:lnTo>
                    <a:lnTo>
                      <a:pt x="182" y="66"/>
                    </a:lnTo>
                    <a:lnTo>
                      <a:pt x="185" y="65"/>
                    </a:lnTo>
                    <a:lnTo>
                      <a:pt x="185" y="62"/>
                    </a:lnTo>
                    <a:lnTo>
                      <a:pt x="185" y="61"/>
                    </a:lnTo>
                    <a:lnTo>
                      <a:pt x="186" y="59"/>
                    </a:lnTo>
                    <a:lnTo>
                      <a:pt x="186" y="58"/>
                    </a:lnTo>
                    <a:lnTo>
                      <a:pt x="188" y="56"/>
                    </a:lnTo>
                    <a:lnTo>
                      <a:pt x="189" y="56"/>
                    </a:lnTo>
                    <a:lnTo>
                      <a:pt x="191" y="56"/>
                    </a:lnTo>
                    <a:lnTo>
                      <a:pt x="191" y="55"/>
                    </a:lnTo>
                    <a:lnTo>
                      <a:pt x="191" y="53"/>
                    </a:lnTo>
                    <a:lnTo>
                      <a:pt x="191" y="52"/>
                    </a:lnTo>
                    <a:lnTo>
                      <a:pt x="189" y="50"/>
                    </a:lnTo>
                    <a:lnTo>
                      <a:pt x="188" y="50"/>
                    </a:lnTo>
                    <a:lnTo>
                      <a:pt x="189" y="49"/>
                    </a:lnTo>
                    <a:lnTo>
                      <a:pt x="189" y="48"/>
                    </a:lnTo>
                    <a:lnTo>
                      <a:pt x="189" y="46"/>
                    </a:lnTo>
                    <a:lnTo>
                      <a:pt x="188" y="46"/>
                    </a:lnTo>
                    <a:lnTo>
                      <a:pt x="188" y="45"/>
                    </a:lnTo>
                    <a:lnTo>
                      <a:pt x="186" y="43"/>
                    </a:lnTo>
                    <a:lnTo>
                      <a:pt x="188" y="43"/>
                    </a:lnTo>
                    <a:lnTo>
                      <a:pt x="189" y="42"/>
                    </a:lnTo>
                    <a:lnTo>
                      <a:pt x="189" y="42"/>
                    </a:lnTo>
                    <a:lnTo>
                      <a:pt x="189" y="40"/>
                    </a:lnTo>
                    <a:lnTo>
                      <a:pt x="191" y="39"/>
                    </a:lnTo>
                    <a:lnTo>
                      <a:pt x="189" y="38"/>
                    </a:lnTo>
                    <a:lnTo>
                      <a:pt x="189" y="38"/>
                    </a:lnTo>
                    <a:lnTo>
                      <a:pt x="189" y="38"/>
                    </a:lnTo>
                    <a:lnTo>
                      <a:pt x="188" y="38"/>
                    </a:lnTo>
                    <a:lnTo>
                      <a:pt x="188" y="38"/>
                    </a:lnTo>
                    <a:lnTo>
                      <a:pt x="188" y="38"/>
                    </a:lnTo>
                    <a:lnTo>
                      <a:pt x="186" y="36"/>
                    </a:lnTo>
                    <a:lnTo>
                      <a:pt x="183" y="35"/>
                    </a:lnTo>
                    <a:lnTo>
                      <a:pt x="180" y="33"/>
                    </a:lnTo>
                    <a:lnTo>
                      <a:pt x="178" y="35"/>
                    </a:lnTo>
                    <a:lnTo>
                      <a:pt x="175" y="36"/>
                    </a:lnTo>
                    <a:lnTo>
                      <a:pt x="176" y="35"/>
                    </a:lnTo>
                    <a:lnTo>
                      <a:pt x="178" y="32"/>
                    </a:lnTo>
                    <a:lnTo>
                      <a:pt x="178" y="29"/>
                    </a:lnTo>
                    <a:lnTo>
                      <a:pt x="175" y="27"/>
                    </a:lnTo>
                    <a:lnTo>
                      <a:pt x="173" y="27"/>
                    </a:lnTo>
                    <a:lnTo>
                      <a:pt x="172" y="29"/>
                    </a:lnTo>
                    <a:lnTo>
                      <a:pt x="170" y="29"/>
                    </a:lnTo>
                    <a:lnTo>
                      <a:pt x="169" y="29"/>
                    </a:lnTo>
                    <a:lnTo>
                      <a:pt x="169" y="27"/>
                    </a:lnTo>
                    <a:lnTo>
                      <a:pt x="170" y="23"/>
                    </a:lnTo>
                    <a:lnTo>
                      <a:pt x="172" y="22"/>
                    </a:lnTo>
                    <a:lnTo>
                      <a:pt x="170" y="19"/>
                    </a:lnTo>
                    <a:lnTo>
                      <a:pt x="169" y="17"/>
                    </a:lnTo>
                    <a:lnTo>
                      <a:pt x="166" y="17"/>
                    </a:lnTo>
                    <a:lnTo>
                      <a:pt x="163" y="16"/>
                    </a:lnTo>
                    <a:lnTo>
                      <a:pt x="165" y="13"/>
                    </a:lnTo>
                    <a:lnTo>
                      <a:pt x="168" y="10"/>
                    </a:lnTo>
                    <a:lnTo>
                      <a:pt x="173" y="6"/>
                    </a:lnTo>
                    <a:lnTo>
                      <a:pt x="170" y="6"/>
                    </a:lnTo>
                    <a:lnTo>
                      <a:pt x="168" y="6"/>
                    </a:lnTo>
                    <a:lnTo>
                      <a:pt x="165" y="7"/>
                    </a:lnTo>
                    <a:lnTo>
                      <a:pt x="160" y="10"/>
                    </a:lnTo>
                    <a:lnTo>
                      <a:pt x="158" y="10"/>
                    </a:lnTo>
                    <a:lnTo>
                      <a:pt x="156" y="10"/>
                    </a:lnTo>
                    <a:lnTo>
                      <a:pt x="153" y="9"/>
                    </a:lnTo>
                    <a:lnTo>
                      <a:pt x="153" y="7"/>
                    </a:lnTo>
                    <a:lnTo>
                      <a:pt x="152" y="4"/>
                    </a:lnTo>
                    <a:lnTo>
                      <a:pt x="150" y="3"/>
                    </a:lnTo>
                    <a:lnTo>
                      <a:pt x="149" y="0"/>
                    </a:lnTo>
                    <a:lnTo>
                      <a:pt x="146" y="0"/>
                    </a:lnTo>
                    <a:lnTo>
                      <a:pt x="143" y="0"/>
                    </a:lnTo>
                    <a:lnTo>
                      <a:pt x="142" y="2"/>
                    </a:lnTo>
                    <a:lnTo>
                      <a:pt x="139" y="2"/>
                    </a:lnTo>
                    <a:lnTo>
                      <a:pt x="139" y="4"/>
                    </a:lnTo>
                    <a:lnTo>
                      <a:pt x="140" y="9"/>
                    </a:lnTo>
                    <a:lnTo>
                      <a:pt x="140" y="10"/>
                    </a:lnTo>
                    <a:lnTo>
                      <a:pt x="139" y="13"/>
                    </a:lnTo>
                    <a:lnTo>
                      <a:pt x="136" y="13"/>
                    </a:lnTo>
                    <a:lnTo>
                      <a:pt x="135" y="15"/>
                    </a:lnTo>
                    <a:lnTo>
                      <a:pt x="132" y="15"/>
                    </a:lnTo>
                    <a:lnTo>
                      <a:pt x="130" y="13"/>
                    </a:lnTo>
                    <a:lnTo>
                      <a:pt x="129" y="12"/>
                    </a:lnTo>
                    <a:lnTo>
                      <a:pt x="127" y="12"/>
                    </a:lnTo>
                    <a:lnTo>
                      <a:pt x="126" y="15"/>
                    </a:lnTo>
                    <a:lnTo>
                      <a:pt x="124" y="16"/>
                    </a:lnTo>
                    <a:lnTo>
                      <a:pt x="123" y="19"/>
                    </a:lnTo>
                    <a:lnTo>
                      <a:pt x="120" y="22"/>
                    </a:lnTo>
                    <a:lnTo>
                      <a:pt x="114" y="15"/>
                    </a:lnTo>
                    <a:lnTo>
                      <a:pt x="112" y="13"/>
                    </a:lnTo>
                    <a:lnTo>
                      <a:pt x="107" y="15"/>
                    </a:lnTo>
                    <a:lnTo>
                      <a:pt x="107" y="17"/>
                    </a:lnTo>
                    <a:lnTo>
                      <a:pt x="112" y="26"/>
                    </a:lnTo>
                    <a:lnTo>
                      <a:pt x="110" y="30"/>
                    </a:lnTo>
                    <a:lnTo>
                      <a:pt x="106" y="20"/>
                    </a:lnTo>
                    <a:lnTo>
                      <a:pt x="102" y="15"/>
                    </a:lnTo>
                    <a:lnTo>
                      <a:pt x="97" y="13"/>
                    </a:lnTo>
                    <a:lnTo>
                      <a:pt x="96" y="13"/>
                    </a:lnTo>
                    <a:lnTo>
                      <a:pt x="90" y="16"/>
                    </a:lnTo>
                    <a:lnTo>
                      <a:pt x="89" y="17"/>
                    </a:lnTo>
                    <a:lnTo>
                      <a:pt x="87" y="20"/>
                    </a:lnTo>
                    <a:lnTo>
                      <a:pt x="89" y="26"/>
                    </a:lnTo>
                    <a:lnTo>
                      <a:pt x="87" y="27"/>
                    </a:lnTo>
                    <a:lnTo>
                      <a:pt x="84" y="27"/>
                    </a:lnTo>
                    <a:lnTo>
                      <a:pt x="76" y="17"/>
                    </a:lnTo>
                    <a:lnTo>
                      <a:pt x="73" y="17"/>
                    </a:lnTo>
                    <a:lnTo>
                      <a:pt x="71" y="22"/>
                    </a:lnTo>
                    <a:lnTo>
                      <a:pt x="71" y="29"/>
                    </a:lnTo>
                    <a:lnTo>
                      <a:pt x="71" y="35"/>
                    </a:lnTo>
                    <a:lnTo>
                      <a:pt x="68" y="36"/>
                    </a:lnTo>
                    <a:lnTo>
                      <a:pt x="67" y="35"/>
                    </a:lnTo>
                    <a:lnTo>
                      <a:pt x="67" y="33"/>
                    </a:lnTo>
                    <a:lnTo>
                      <a:pt x="66" y="33"/>
                    </a:lnTo>
                    <a:lnTo>
                      <a:pt x="64" y="33"/>
                    </a:lnTo>
                    <a:lnTo>
                      <a:pt x="63" y="33"/>
                    </a:lnTo>
                    <a:lnTo>
                      <a:pt x="63" y="35"/>
                    </a:lnTo>
                    <a:lnTo>
                      <a:pt x="61" y="38"/>
                    </a:lnTo>
                    <a:lnTo>
                      <a:pt x="60" y="40"/>
                    </a:lnTo>
                    <a:lnTo>
                      <a:pt x="58" y="48"/>
                    </a:lnTo>
                    <a:lnTo>
                      <a:pt x="57" y="43"/>
                    </a:lnTo>
                    <a:lnTo>
                      <a:pt x="56" y="40"/>
                    </a:lnTo>
                    <a:lnTo>
                      <a:pt x="53" y="40"/>
                    </a:lnTo>
                    <a:lnTo>
                      <a:pt x="54" y="38"/>
                    </a:lnTo>
                    <a:lnTo>
                      <a:pt x="54" y="36"/>
                    </a:lnTo>
                    <a:lnTo>
                      <a:pt x="54" y="36"/>
                    </a:lnTo>
                    <a:lnTo>
                      <a:pt x="53" y="36"/>
                    </a:lnTo>
                    <a:lnTo>
                      <a:pt x="53" y="36"/>
                    </a:lnTo>
                    <a:lnTo>
                      <a:pt x="53" y="35"/>
                    </a:lnTo>
                    <a:lnTo>
                      <a:pt x="51" y="33"/>
                    </a:lnTo>
                    <a:lnTo>
                      <a:pt x="50" y="32"/>
                    </a:lnTo>
                    <a:lnTo>
                      <a:pt x="48" y="30"/>
                    </a:lnTo>
                    <a:lnTo>
                      <a:pt x="53" y="30"/>
                    </a:lnTo>
                    <a:lnTo>
                      <a:pt x="54" y="27"/>
                    </a:lnTo>
                    <a:lnTo>
                      <a:pt x="54" y="25"/>
                    </a:lnTo>
                    <a:lnTo>
                      <a:pt x="51" y="22"/>
                    </a:lnTo>
                    <a:lnTo>
                      <a:pt x="53" y="19"/>
                    </a:lnTo>
                    <a:lnTo>
                      <a:pt x="51" y="16"/>
                    </a:lnTo>
                    <a:lnTo>
                      <a:pt x="44" y="10"/>
                    </a:lnTo>
                    <a:lnTo>
                      <a:pt x="40" y="9"/>
                    </a:lnTo>
                    <a:lnTo>
                      <a:pt x="38" y="7"/>
                    </a:lnTo>
                    <a:lnTo>
                      <a:pt x="37" y="6"/>
                    </a:lnTo>
                    <a:lnTo>
                      <a:pt x="35" y="4"/>
                    </a:lnTo>
                    <a:lnTo>
                      <a:pt x="34" y="3"/>
                    </a:lnTo>
                    <a:lnTo>
                      <a:pt x="33" y="3"/>
                    </a:lnTo>
                    <a:lnTo>
                      <a:pt x="28" y="3"/>
                    </a:lnTo>
                    <a:lnTo>
                      <a:pt x="24" y="4"/>
                    </a:lnTo>
                    <a:lnTo>
                      <a:pt x="23" y="7"/>
                    </a:lnTo>
                    <a:lnTo>
                      <a:pt x="24" y="7"/>
                    </a:lnTo>
                    <a:lnTo>
                      <a:pt x="27" y="7"/>
                    </a:lnTo>
                    <a:lnTo>
                      <a:pt x="30" y="7"/>
                    </a:lnTo>
                    <a:lnTo>
                      <a:pt x="31" y="7"/>
                    </a:lnTo>
                    <a:lnTo>
                      <a:pt x="34" y="9"/>
                    </a:lnTo>
                    <a:lnTo>
                      <a:pt x="27" y="10"/>
                    </a:lnTo>
                    <a:lnTo>
                      <a:pt x="27" y="12"/>
                    </a:lnTo>
                    <a:lnTo>
                      <a:pt x="30" y="15"/>
                    </a:lnTo>
                    <a:lnTo>
                      <a:pt x="34" y="16"/>
                    </a:lnTo>
                    <a:lnTo>
                      <a:pt x="35" y="17"/>
                    </a:lnTo>
                    <a:lnTo>
                      <a:pt x="35" y="20"/>
                    </a:lnTo>
                    <a:lnTo>
                      <a:pt x="35" y="22"/>
                    </a:lnTo>
                    <a:lnTo>
                      <a:pt x="34" y="23"/>
                    </a:lnTo>
                    <a:lnTo>
                      <a:pt x="33" y="23"/>
                    </a:lnTo>
                    <a:lnTo>
                      <a:pt x="31" y="25"/>
                    </a:lnTo>
                    <a:lnTo>
                      <a:pt x="33" y="22"/>
                    </a:lnTo>
                    <a:lnTo>
                      <a:pt x="31" y="20"/>
                    </a:lnTo>
                    <a:lnTo>
                      <a:pt x="31" y="19"/>
                    </a:lnTo>
                    <a:lnTo>
                      <a:pt x="30" y="19"/>
                    </a:lnTo>
                    <a:lnTo>
                      <a:pt x="27" y="20"/>
                    </a:lnTo>
                    <a:lnTo>
                      <a:pt x="25" y="20"/>
                    </a:lnTo>
                    <a:lnTo>
                      <a:pt x="23" y="16"/>
                    </a:lnTo>
                    <a:lnTo>
                      <a:pt x="18" y="13"/>
                    </a:lnTo>
                    <a:lnTo>
                      <a:pt x="15" y="15"/>
                    </a:lnTo>
                    <a:lnTo>
                      <a:pt x="17" y="19"/>
                    </a:lnTo>
                    <a:lnTo>
                      <a:pt x="15" y="19"/>
                    </a:lnTo>
                    <a:lnTo>
                      <a:pt x="14" y="17"/>
                    </a:lnTo>
                    <a:lnTo>
                      <a:pt x="12" y="17"/>
                    </a:lnTo>
                    <a:lnTo>
                      <a:pt x="11" y="19"/>
                    </a:lnTo>
                    <a:lnTo>
                      <a:pt x="12" y="20"/>
                    </a:lnTo>
                    <a:lnTo>
                      <a:pt x="12" y="22"/>
                    </a:lnTo>
                    <a:lnTo>
                      <a:pt x="15" y="25"/>
                    </a:lnTo>
                    <a:lnTo>
                      <a:pt x="14" y="25"/>
                    </a:lnTo>
                    <a:lnTo>
                      <a:pt x="11" y="25"/>
                    </a:lnTo>
                    <a:lnTo>
                      <a:pt x="11" y="26"/>
                    </a:lnTo>
                    <a:lnTo>
                      <a:pt x="12" y="27"/>
                    </a:lnTo>
                    <a:lnTo>
                      <a:pt x="14" y="29"/>
                    </a:lnTo>
                    <a:lnTo>
                      <a:pt x="15" y="29"/>
                    </a:lnTo>
                    <a:lnTo>
                      <a:pt x="18" y="29"/>
                    </a:lnTo>
                    <a:lnTo>
                      <a:pt x="20" y="29"/>
                    </a:lnTo>
                    <a:lnTo>
                      <a:pt x="17" y="32"/>
                    </a:lnTo>
                    <a:lnTo>
                      <a:pt x="15" y="32"/>
                    </a:lnTo>
                    <a:lnTo>
                      <a:pt x="14" y="32"/>
                    </a:lnTo>
                    <a:lnTo>
                      <a:pt x="12" y="32"/>
                    </a:lnTo>
                    <a:lnTo>
                      <a:pt x="11" y="30"/>
                    </a:lnTo>
                    <a:lnTo>
                      <a:pt x="8" y="29"/>
                    </a:lnTo>
                    <a:lnTo>
                      <a:pt x="7" y="29"/>
                    </a:lnTo>
                    <a:lnTo>
                      <a:pt x="7" y="30"/>
                    </a:lnTo>
                    <a:lnTo>
                      <a:pt x="7" y="33"/>
                    </a:lnTo>
                    <a:lnTo>
                      <a:pt x="8" y="36"/>
                    </a:lnTo>
                    <a:lnTo>
                      <a:pt x="10" y="38"/>
                    </a:lnTo>
                    <a:lnTo>
                      <a:pt x="8" y="36"/>
                    </a:lnTo>
                    <a:lnTo>
                      <a:pt x="5" y="35"/>
                    </a:lnTo>
                    <a:lnTo>
                      <a:pt x="2" y="35"/>
                    </a:lnTo>
                    <a:lnTo>
                      <a:pt x="1" y="36"/>
                    </a:lnTo>
                    <a:lnTo>
                      <a:pt x="0" y="38"/>
                    </a:lnTo>
                    <a:lnTo>
                      <a:pt x="1" y="39"/>
                    </a:lnTo>
                    <a:lnTo>
                      <a:pt x="4" y="40"/>
                    </a:lnTo>
                    <a:lnTo>
                      <a:pt x="7" y="40"/>
                    </a:lnTo>
                    <a:lnTo>
                      <a:pt x="11" y="42"/>
                    </a:lnTo>
                    <a:lnTo>
                      <a:pt x="15" y="40"/>
                    </a:lnTo>
                    <a:lnTo>
                      <a:pt x="21" y="38"/>
                    </a:lnTo>
                    <a:lnTo>
                      <a:pt x="25" y="36"/>
                    </a:lnTo>
                    <a:lnTo>
                      <a:pt x="30" y="36"/>
                    </a:lnTo>
                    <a:lnTo>
                      <a:pt x="31" y="36"/>
                    </a:lnTo>
                    <a:lnTo>
                      <a:pt x="34" y="38"/>
                    </a:lnTo>
                    <a:lnTo>
                      <a:pt x="34" y="38"/>
                    </a:lnTo>
                    <a:lnTo>
                      <a:pt x="35" y="39"/>
                    </a:lnTo>
                    <a:lnTo>
                      <a:pt x="37" y="39"/>
                    </a:lnTo>
                    <a:lnTo>
                      <a:pt x="38" y="39"/>
                    </a:lnTo>
                    <a:lnTo>
                      <a:pt x="41" y="39"/>
                    </a:lnTo>
                    <a:lnTo>
                      <a:pt x="43" y="39"/>
                    </a:lnTo>
                    <a:lnTo>
                      <a:pt x="45" y="40"/>
                    </a:lnTo>
                    <a:lnTo>
                      <a:pt x="43" y="43"/>
                    </a:lnTo>
                    <a:lnTo>
                      <a:pt x="37" y="48"/>
                    </a:lnTo>
                    <a:lnTo>
                      <a:pt x="34" y="49"/>
                    </a:lnTo>
                    <a:lnTo>
                      <a:pt x="34" y="50"/>
                    </a:lnTo>
                    <a:lnTo>
                      <a:pt x="35" y="50"/>
                    </a:lnTo>
                    <a:lnTo>
                      <a:pt x="37" y="52"/>
                    </a:lnTo>
                    <a:lnTo>
                      <a:pt x="40" y="52"/>
                    </a:lnTo>
                    <a:lnTo>
                      <a:pt x="43" y="52"/>
                    </a:lnTo>
                    <a:lnTo>
                      <a:pt x="44" y="52"/>
                    </a:lnTo>
                    <a:lnTo>
                      <a:pt x="47" y="50"/>
                    </a:lnTo>
                    <a:lnTo>
                      <a:pt x="45" y="53"/>
                    </a:lnTo>
                    <a:lnTo>
                      <a:pt x="44" y="55"/>
                    </a:lnTo>
                    <a:lnTo>
                      <a:pt x="40" y="55"/>
                    </a:lnTo>
                    <a:lnTo>
                      <a:pt x="31" y="55"/>
                    </a:lnTo>
                    <a:lnTo>
                      <a:pt x="30" y="56"/>
                    </a:lnTo>
                    <a:lnTo>
                      <a:pt x="28" y="56"/>
                    </a:lnTo>
                    <a:lnTo>
                      <a:pt x="27" y="58"/>
                    </a:lnTo>
                    <a:lnTo>
                      <a:pt x="25" y="58"/>
                    </a:lnTo>
                    <a:lnTo>
                      <a:pt x="24" y="58"/>
                    </a:lnTo>
                    <a:lnTo>
                      <a:pt x="23" y="58"/>
                    </a:lnTo>
                    <a:lnTo>
                      <a:pt x="21" y="58"/>
                    </a:lnTo>
                    <a:lnTo>
                      <a:pt x="20" y="58"/>
                    </a:lnTo>
                    <a:lnTo>
                      <a:pt x="17" y="59"/>
                    </a:lnTo>
                    <a:lnTo>
                      <a:pt x="10" y="59"/>
                    </a:lnTo>
                    <a:lnTo>
                      <a:pt x="8" y="61"/>
                    </a:lnTo>
                    <a:lnTo>
                      <a:pt x="8" y="63"/>
                    </a:lnTo>
                    <a:lnTo>
                      <a:pt x="11" y="65"/>
                    </a:lnTo>
                    <a:lnTo>
                      <a:pt x="14" y="65"/>
                    </a:lnTo>
                    <a:lnTo>
                      <a:pt x="17" y="63"/>
                    </a:lnTo>
                    <a:lnTo>
                      <a:pt x="20" y="63"/>
                    </a:lnTo>
                    <a:lnTo>
                      <a:pt x="23" y="63"/>
                    </a:lnTo>
                    <a:lnTo>
                      <a:pt x="31" y="63"/>
                    </a:lnTo>
                    <a:lnTo>
                      <a:pt x="35" y="65"/>
                    </a:lnTo>
                    <a:lnTo>
                      <a:pt x="37" y="66"/>
                    </a:lnTo>
                    <a:lnTo>
                      <a:pt x="37" y="68"/>
                    </a:lnTo>
                    <a:lnTo>
                      <a:pt x="37" y="69"/>
                    </a:lnTo>
                    <a:lnTo>
                      <a:pt x="38" y="72"/>
                    </a:lnTo>
                    <a:lnTo>
                      <a:pt x="43" y="72"/>
                    </a:lnTo>
                    <a:lnTo>
                      <a:pt x="47" y="69"/>
                    </a:lnTo>
                    <a:lnTo>
                      <a:pt x="50" y="69"/>
                    </a:lnTo>
                    <a:lnTo>
                      <a:pt x="47" y="71"/>
                    </a:lnTo>
                    <a:lnTo>
                      <a:pt x="44" y="73"/>
                    </a:lnTo>
                    <a:lnTo>
                      <a:pt x="43" y="76"/>
                    </a:lnTo>
                    <a:lnTo>
                      <a:pt x="44" y="78"/>
                    </a:lnTo>
                    <a:lnTo>
                      <a:pt x="44" y="78"/>
                    </a:lnTo>
                    <a:lnTo>
                      <a:pt x="43" y="78"/>
                    </a:lnTo>
                    <a:lnTo>
                      <a:pt x="41" y="79"/>
                    </a:lnTo>
                    <a:lnTo>
                      <a:pt x="44" y="79"/>
                    </a:lnTo>
                    <a:lnTo>
                      <a:pt x="47" y="78"/>
                    </a:lnTo>
                    <a:lnTo>
                      <a:pt x="50" y="78"/>
                    </a:lnTo>
                    <a:lnTo>
                      <a:pt x="53" y="78"/>
                    </a:lnTo>
                    <a:lnTo>
                      <a:pt x="48" y="79"/>
                    </a:lnTo>
                    <a:lnTo>
                      <a:pt x="47" y="82"/>
                    </a:lnTo>
                    <a:lnTo>
                      <a:pt x="44" y="85"/>
                    </a:lnTo>
                    <a:lnTo>
                      <a:pt x="41" y="88"/>
                    </a:lnTo>
                    <a:lnTo>
                      <a:pt x="40" y="88"/>
                    </a:lnTo>
                    <a:lnTo>
                      <a:pt x="37" y="89"/>
                    </a:lnTo>
                    <a:lnTo>
                      <a:pt x="35" y="89"/>
                    </a:lnTo>
                    <a:lnTo>
                      <a:pt x="34" y="89"/>
                    </a:lnTo>
                    <a:lnTo>
                      <a:pt x="33" y="89"/>
                    </a:lnTo>
                    <a:lnTo>
                      <a:pt x="31" y="88"/>
                    </a:lnTo>
                    <a:lnTo>
                      <a:pt x="31" y="88"/>
                    </a:lnTo>
                    <a:lnTo>
                      <a:pt x="30" y="88"/>
                    </a:lnTo>
                    <a:lnTo>
                      <a:pt x="30" y="91"/>
                    </a:lnTo>
                    <a:lnTo>
                      <a:pt x="30" y="92"/>
                    </a:lnTo>
                    <a:lnTo>
                      <a:pt x="31" y="94"/>
                    </a:lnTo>
                    <a:lnTo>
                      <a:pt x="31" y="95"/>
                    </a:lnTo>
                    <a:lnTo>
                      <a:pt x="33" y="95"/>
                    </a:lnTo>
                    <a:lnTo>
                      <a:pt x="40" y="95"/>
                    </a:lnTo>
                    <a:lnTo>
                      <a:pt x="50" y="95"/>
                    </a:lnTo>
                    <a:lnTo>
                      <a:pt x="53" y="94"/>
                    </a:lnTo>
                    <a:lnTo>
                      <a:pt x="54" y="94"/>
                    </a:lnTo>
                    <a:lnTo>
                      <a:pt x="56" y="92"/>
                    </a:lnTo>
                    <a:lnTo>
                      <a:pt x="57" y="92"/>
                    </a:lnTo>
                    <a:lnTo>
                      <a:pt x="58" y="92"/>
                    </a:lnTo>
                    <a:lnTo>
                      <a:pt x="58" y="94"/>
                    </a:lnTo>
                    <a:lnTo>
                      <a:pt x="60" y="95"/>
                    </a:lnTo>
                    <a:lnTo>
                      <a:pt x="66" y="96"/>
                    </a:lnTo>
                    <a:lnTo>
                      <a:pt x="66" y="96"/>
                    </a:lnTo>
                    <a:lnTo>
                      <a:pt x="66" y="96"/>
                    </a:lnTo>
                    <a:lnTo>
                      <a:pt x="67" y="98"/>
                    </a:lnTo>
                    <a:lnTo>
                      <a:pt x="67" y="98"/>
                    </a:lnTo>
                    <a:lnTo>
                      <a:pt x="68" y="98"/>
                    </a:lnTo>
                    <a:lnTo>
                      <a:pt x="70" y="96"/>
                    </a:lnTo>
                    <a:lnTo>
                      <a:pt x="70" y="96"/>
                    </a:lnTo>
                    <a:lnTo>
                      <a:pt x="71" y="96"/>
                    </a:lnTo>
                    <a:lnTo>
                      <a:pt x="70" y="98"/>
                    </a:lnTo>
                    <a:lnTo>
                      <a:pt x="70" y="98"/>
                    </a:lnTo>
                    <a:lnTo>
                      <a:pt x="70" y="99"/>
                    </a:lnTo>
                    <a:lnTo>
                      <a:pt x="70" y="101"/>
                    </a:lnTo>
                    <a:lnTo>
                      <a:pt x="73" y="102"/>
                    </a:lnTo>
                    <a:lnTo>
                      <a:pt x="76" y="104"/>
                    </a:lnTo>
                    <a:lnTo>
                      <a:pt x="83" y="104"/>
                    </a:lnTo>
                    <a:lnTo>
                      <a:pt x="96" y="107"/>
                    </a:lnTo>
                    <a:lnTo>
                      <a:pt x="103" y="107"/>
                    </a:lnTo>
                    <a:lnTo>
                      <a:pt x="109" y="105"/>
                    </a:lnTo>
                    <a:lnTo>
                      <a:pt x="109" y="104"/>
                    </a:lnTo>
                    <a:lnTo>
                      <a:pt x="110" y="104"/>
                    </a:lnTo>
                    <a:lnTo>
                      <a:pt x="112" y="105"/>
                    </a:lnTo>
                    <a:lnTo>
                      <a:pt x="114" y="104"/>
                    </a:lnTo>
                    <a:lnTo>
                      <a:pt x="114" y="102"/>
                    </a:lnTo>
                    <a:lnTo>
                      <a:pt x="116" y="101"/>
                    </a:lnTo>
                    <a:lnTo>
                      <a:pt x="116" y="99"/>
                    </a:lnTo>
                    <a:lnTo>
                      <a:pt x="119" y="98"/>
                    </a:lnTo>
                    <a:lnTo>
                      <a:pt x="124" y="96"/>
                    </a:lnTo>
                    <a:lnTo>
                      <a:pt x="136" y="9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69" name="Freeform 75">
                <a:extLst>
                  <a:ext uri="{FF2B5EF4-FFF2-40B4-BE49-F238E27FC236}">
                    <a16:creationId xmlns:a16="http://schemas.microsoft.com/office/drawing/2014/main" id="{E5E8EBC9-35A2-76CF-9F27-D6C67303FE4E}"/>
                  </a:ext>
                </a:extLst>
              </p:cNvPr>
              <p:cNvSpPr>
                <a:spLocks/>
              </p:cNvSpPr>
              <p:nvPr/>
            </p:nvSpPr>
            <p:spPr bwMode="auto">
              <a:xfrm>
                <a:off x="3464" y="1624"/>
                <a:ext cx="7" cy="7"/>
              </a:xfrm>
              <a:custGeom>
                <a:avLst/>
                <a:gdLst>
                  <a:gd name="T0" fmla="*/ 3 w 7"/>
                  <a:gd name="T1" fmla="*/ 1 h 7"/>
                  <a:gd name="T2" fmla="*/ 1 w 7"/>
                  <a:gd name="T3" fmla="*/ 4 h 7"/>
                  <a:gd name="T4" fmla="*/ 0 w 7"/>
                  <a:gd name="T5" fmla="*/ 7 h 7"/>
                  <a:gd name="T6" fmla="*/ 3 w 7"/>
                  <a:gd name="T7" fmla="*/ 7 h 7"/>
                  <a:gd name="T8" fmla="*/ 5 w 7"/>
                  <a:gd name="T9" fmla="*/ 6 h 7"/>
                  <a:gd name="T10" fmla="*/ 7 w 7"/>
                  <a:gd name="T11" fmla="*/ 4 h 7"/>
                  <a:gd name="T12" fmla="*/ 7 w 7"/>
                  <a:gd name="T13" fmla="*/ 1 h 7"/>
                  <a:gd name="T14" fmla="*/ 5 w 7"/>
                  <a:gd name="T15" fmla="*/ 0 h 7"/>
                  <a:gd name="T16" fmla="*/ 3 w 7"/>
                  <a:gd name="T17"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1"/>
                    </a:moveTo>
                    <a:lnTo>
                      <a:pt x="1" y="4"/>
                    </a:lnTo>
                    <a:lnTo>
                      <a:pt x="0" y="7"/>
                    </a:lnTo>
                    <a:lnTo>
                      <a:pt x="3" y="7"/>
                    </a:lnTo>
                    <a:lnTo>
                      <a:pt x="5" y="6"/>
                    </a:lnTo>
                    <a:lnTo>
                      <a:pt x="7" y="4"/>
                    </a:lnTo>
                    <a:lnTo>
                      <a:pt x="7" y="1"/>
                    </a:lnTo>
                    <a:lnTo>
                      <a:pt x="5" y="0"/>
                    </a:lnTo>
                    <a:lnTo>
                      <a:pt x="3" y="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70" name="Freeform 76">
                <a:extLst>
                  <a:ext uri="{FF2B5EF4-FFF2-40B4-BE49-F238E27FC236}">
                    <a16:creationId xmlns:a16="http://schemas.microsoft.com/office/drawing/2014/main" id="{E3E8C212-1621-999F-618B-083D0703818D}"/>
                  </a:ext>
                </a:extLst>
              </p:cNvPr>
              <p:cNvSpPr>
                <a:spLocks/>
              </p:cNvSpPr>
              <p:nvPr/>
            </p:nvSpPr>
            <p:spPr bwMode="auto">
              <a:xfrm>
                <a:off x="3508" y="1753"/>
                <a:ext cx="4" cy="3"/>
              </a:xfrm>
              <a:custGeom>
                <a:avLst/>
                <a:gdLst>
                  <a:gd name="T0" fmla="*/ 3 w 4"/>
                  <a:gd name="T1" fmla="*/ 0 h 3"/>
                  <a:gd name="T2" fmla="*/ 4 w 4"/>
                  <a:gd name="T3" fmla="*/ 2 h 3"/>
                  <a:gd name="T4" fmla="*/ 3 w 4"/>
                  <a:gd name="T5" fmla="*/ 2 h 3"/>
                  <a:gd name="T6" fmla="*/ 3 w 4"/>
                  <a:gd name="T7" fmla="*/ 3 h 3"/>
                  <a:gd name="T8" fmla="*/ 0 w 4"/>
                  <a:gd name="T9" fmla="*/ 3 h 3"/>
                  <a:gd name="T10" fmla="*/ 0 w 4"/>
                  <a:gd name="T11" fmla="*/ 0 h 3"/>
                  <a:gd name="T12" fmla="*/ 2 w 4"/>
                  <a:gd name="T13" fmla="*/ 0 h 3"/>
                  <a:gd name="T14" fmla="*/ 3 w 4"/>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3" y="0"/>
                    </a:moveTo>
                    <a:lnTo>
                      <a:pt x="4" y="2"/>
                    </a:lnTo>
                    <a:lnTo>
                      <a:pt x="3" y="2"/>
                    </a:lnTo>
                    <a:lnTo>
                      <a:pt x="3" y="3"/>
                    </a:lnTo>
                    <a:lnTo>
                      <a:pt x="0" y="3"/>
                    </a:lnTo>
                    <a:lnTo>
                      <a:pt x="0" y="0"/>
                    </a:lnTo>
                    <a:lnTo>
                      <a:pt x="2" y="0"/>
                    </a:lnTo>
                    <a:lnTo>
                      <a:pt x="3"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71" name="Freeform 77">
                <a:extLst>
                  <a:ext uri="{FF2B5EF4-FFF2-40B4-BE49-F238E27FC236}">
                    <a16:creationId xmlns:a16="http://schemas.microsoft.com/office/drawing/2014/main" id="{E23151FF-1A53-1373-9ED8-B79669218F9B}"/>
                  </a:ext>
                </a:extLst>
              </p:cNvPr>
              <p:cNvSpPr>
                <a:spLocks/>
              </p:cNvSpPr>
              <p:nvPr/>
            </p:nvSpPr>
            <p:spPr bwMode="auto">
              <a:xfrm>
                <a:off x="3501" y="1747"/>
                <a:ext cx="3" cy="2"/>
              </a:xfrm>
              <a:custGeom>
                <a:avLst/>
                <a:gdLst>
                  <a:gd name="T0" fmla="*/ 1 w 3"/>
                  <a:gd name="T1" fmla="*/ 0 h 2"/>
                  <a:gd name="T2" fmla="*/ 0 w 3"/>
                  <a:gd name="T3" fmla="*/ 0 h 2"/>
                  <a:gd name="T4" fmla="*/ 0 w 3"/>
                  <a:gd name="T5" fmla="*/ 0 h 2"/>
                  <a:gd name="T6" fmla="*/ 1 w 3"/>
                  <a:gd name="T7" fmla="*/ 2 h 2"/>
                  <a:gd name="T8" fmla="*/ 1 w 3"/>
                  <a:gd name="T9" fmla="*/ 2 h 2"/>
                  <a:gd name="T10" fmla="*/ 1 w 3"/>
                  <a:gd name="T11" fmla="*/ 2 h 2"/>
                  <a:gd name="T12" fmla="*/ 3 w 3"/>
                  <a:gd name="T13" fmla="*/ 0 h 2"/>
                  <a:gd name="T14" fmla="*/ 1 w 3"/>
                  <a:gd name="T15" fmla="*/ 0 h 2"/>
                  <a:gd name="T16" fmla="*/ 1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1" y="0"/>
                    </a:moveTo>
                    <a:lnTo>
                      <a:pt x="0" y="0"/>
                    </a:lnTo>
                    <a:lnTo>
                      <a:pt x="0" y="0"/>
                    </a:lnTo>
                    <a:lnTo>
                      <a:pt x="1" y="2"/>
                    </a:lnTo>
                    <a:lnTo>
                      <a:pt x="1" y="2"/>
                    </a:lnTo>
                    <a:lnTo>
                      <a:pt x="1" y="2"/>
                    </a:lnTo>
                    <a:lnTo>
                      <a:pt x="3" y="0"/>
                    </a:lnTo>
                    <a:lnTo>
                      <a:pt x="1" y="0"/>
                    </a:lnTo>
                    <a:lnTo>
                      <a:pt x="1"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72" name="Freeform 78">
                <a:extLst>
                  <a:ext uri="{FF2B5EF4-FFF2-40B4-BE49-F238E27FC236}">
                    <a16:creationId xmlns:a16="http://schemas.microsoft.com/office/drawing/2014/main" id="{9589A65D-35BD-33C2-B10D-950C7575E64A}"/>
                  </a:ext>
                </a:extLst>
              </p:cNvPr>
              <p:cNvSpPr>
                <a:spLocks noEditPoints="1"/>
              </p:cNvSpPr>
              <p:nvPr/>
            </p:nvSpPr>
            <p:spPr bwMode="auto">
              <a:xfrm>
                <a:off x="3366" y="1602"/>
                <a:ext cx="76" cy="94"/>
              </a:xfrm>
              <a:custGeom>
                <a:avLst/>
                <a:gdLst>
                  <a:gd name="T0" fmla="*/ 4 w 76"/>
                  <a:gd name="T1" fmla="*/ 74 h 94"/>
                  <a:gd name="T2" fmla="*/ 9 w 76"/>
                  <a:gd name="T3" fmla="*/ 71 h 94"/>
                  <a:gd name="T4" fmla="*/ 29 w 76"/>
                  <a:gd name="T5" fmla="*/ 63 h 94"/>
                  <a:gd name="T6" fmla="*/ 24 w 76"/>
                  <a:gd name="T7" fmla="*/ 61 h 94"/>
                  <a:gd name="T8" fmla="*/ 10 w 76"/>
                  <a:gd name="T9" fmla="*/ 65 h 94"/>
                  <a:gd name="T10" fmla="*/ 17 w 76"/>
                  <a:gd name="T11" fmla="*/ 58 h 94"/>
                  <a:gd name="T12" fmla="*/ 20 w 76"/>
                  <a:gd name="T13" fmla="*/ 53 h 94"/>
                  <a:gd name="T14" fmla="*/ 24 w 76"/>
                  <a:gd name="T15" fmla="*/ 51 h 94"/>
                  <a:gd name="T16" fmla="*/ 14 w 76"/>
                  <a:gd name="T17" fmla="*/ 49 h 94"/>
                  <a:gd name="T18" fmla="*/ 11 w 76"/>
                  <a:gd name="T19" fmla="*/ 46 h 94"/>
                  <a:gd name="T20" fmla="*/ 7 w 76"/>
                  <a:gd name="T21" fmla="*/ 45 h 94"/>
                  <a:gd name="T22" fmla="*/ 7 w 76"/>
                  <a:gd name="T23" fmla="*/ 40 h 94"/>
                  <a:gd name="T24" fmla="*/ 9 w 76"/>
                  <a:gd name="T25" fmla="*/ 38 h 94"/>
                  <a:gd name="T26" fmla="*/ 14 w 76"/>
                  <a:gd name="T27" fmla="*/ 33 h 94"/>
                  <a:gd name="T28" fmla="*/ 9 w 76"/>
                  <a:gd name="T29" fmla="*/ 35 h 94"/>
                  <a:gd name="T30" fmla="*/ 7 w 76"/>
                  <a:gd name="T31" fmla="*/ 28 h 94"/>
                  <a:gd name="T32" fmla="*/ 7 w 76"/>
                  <a:gd name="T33" fmla="*/ 25 h 94"/>
                  <a:gd name="T34" fmla="*/ 20 w 76"/>
                  <a:gd name="T35" fmla="*/ 25 h 94"/>
                  <a:gd name="T36" fmla="*/ 24 w 76"/>
                  <a:gd name="T37" fmla="*/ 25 h 94"/>
                  <a:gd name="T38" fmla="*/ 33 w 76"/>
                  <a:gd name="T39" fmla="*/ 25 h 94"/>
                  <a:gd name="T40" fmla="*/ 37 w 76"/>
                  <a:gd name="T41" fmla="*/ 19 h 94"/>
                  <a:gd name="T42" fmla="*/ 34 w 76"/>
                  <a:gd name="T43" fmla="*/ 16 h 94"/>
                  <a:gd name="T44" fmla="*/ 30 w 76"/>
                  <a:gd name="T45" fmla="*/ 13 h 94"/>
                  <a:gd name="T46" fmla="*/ 34 w 76"/>
                  <a:gd name="T47" fmla="*/ 9 h 94"/>
                  <a:gd name="T48" fmla="*/ 40 w 76"/>
                  <a:gd name="T49" fmla="*/ 3 h 94"/>
                  <a:gd name="T50" fmla="*/ 47 w 76"/>
                  <a:gd name="T51" fmla="*/ 2 h 94"/>
                  <a:gd name="T52" fmla="*/ 49 w 76"/>
                  <a:gd name="T53" fmla="*/ 7 h 94"/>
                  <a:gd name="T54" fmla="*/ 52 w 76"/>
                  <a:gd name="T55" fmla="*/ 2 h 94"/>
                  <a:gd name="T56" fmla="*/ 56 w 76"/>
                  <a:gd name="T57" fmla="*/ 0 h 94"/>
                  <a:gd name="T58" fmla="*/ 56 w 76"/>
                  <a:gd name="T59" fmla="*/ 5 h 94"/>
                  <a:gd name="T60" fmla="*/ 49 w 76"/>
                  <a:gd name="T61" fmla="*/ 13 h 94"/>
                  <a:gd name="T62" fmla="*/ 43 w 76"/>
                  <a:gd name="T63" fmla="*/ 15 h 94"/>
                  <a:gd name="T64" fmla="*/ 43 w 76"/>
                  <a:gd name="T65" fmla="*/ 19 h 94"/>
                  <a:gd name="T66" fmla="*/ 42 w 76"/>
                  <a:gd name="T67" fmla="*/ 25 h 94"/>
                  <a:gd name="T68" fmla="*/ 50 w 76"/>
                  <a:gd name="T69" fmla="*/ 28 h 94"/>
                  <a:gd name="T70" fmla="*/ 52 w 76"/>
                  <a:gd name="T71" fmla="*/ 28 h 94"/>
                  <a:gd name="T72" fmla="*/ 56 w 76"/>
                  <a:gd name="T73" fmla="*/ 25 h 94"/>
                  <a:gd name="T74" fmla="*/ 60 w 76"/>
                  <a:gd name="T75" fmla="*/ 22 h 94"/>
                  <a:gd name="T76" fmla="*/ 63 w 76"/>
                  <a:gd name="T77" fmla="*/ 26 h 94"/>
                  <a:gd name="T78" fmla="*/ 66 w 76"/>
                  <a:gd name="T79" fmla="*/ 29 h 94"/>
                  <a:gd name="T80" fmla="*/ 69 w 76"/>
                  <a:gd name="T81" fmla="*/ 29 h 94"/>
                  <a:gd name="T82" fmla="*/ 69 w 76"/>
                  <a:gd name="T83" fmla="*/ 29 h 94"/>
                  <a:gd name="T84" fmla="*/ 72 w 76"/>
                  <a:gd name="T85" fmla="*/ 29 h 94"/>
                  <a:gd name="T86" fmla="*/ 73 w 76"/>
                  <a:gd name="T87" fmla="*/ 29 h 94"/>
                  <a:gd name="T88" fmla="*/ 72 w 76"/>
                  <a:gd name="T89" fmla="*/ 30 h 94"/>
                  <a:gd name="T90" fmla="*/ 73 w 76"/>
                  <a:gd name="T91" fmla="*/ 39 h 94"/>
                  <a:gd name="T92" fmla="*/ 73 w 76"/>
                  <a:gd name="T93" fmla="*/ 66 h 94"/>
                  <a:gd name="T94" fmla="*/ 70 w 76"/>
                  <a:gd name="T95" fmla="*/ 74 h 94"/>
                  <a:gd name="T96" fmla="*/ 62 w 76"/>
                  <a:gd name="T97" fmla="*/ 75 h 94"/>
                  <a:gd name="T98" fmla="*/ 55 w 76"/>
                  <a:gd name="T99" fmla="*/ 76 h 94"/>
                  <a:gd name="T100" fmla="*/ 47 w 76"/>
                  <a:gd name="T101" fmla="*/ 81 h 94"/>
                  <a:gd name="T102" fmla="*/ 43 w 76"/>
                  <a:gd name="T103" fmla="*/ 82 h 94"/>
                  <a:gd name="T104" fmla="*/ 39 w 76"/>
                  <a:gd name="T105" fmla="*/ 84 h 94"/>
                  <a:gd name="T106" fmla="*/ 34 w 76"/>
                  <a:gd name="T107" fmla="*/ 88 h 94"/>
                  <a:gd name="T108" fmla="*/ 23 w 76"/>
                  <a:gd name="T109" fmla="*/ 92 h 94"/>
                  <a:gd name="T110" fmla="*/ 11 w 76"/>
                  <a:gd name="T111" fmla="*/ 91 h 94"/>
                  <a:gd name="T112" fmla="*/ 7 w 76"/>
                  <a:gd name="T113" fmla="*/ 89 h 94"/>
                  <a:gd name="T114" fmla="*/ 11 w 76"/>
                  <a:gd name="T115" fmla="*/ 84 h 94"/>
                  <a:gd name="T116" fmla="*/ 1 w 76"/>
                  <a:gd name="T117" fmla="*/ 85 h 94"/>
                  <a:gd name="T118" fmla="*/ 9 w 76"/>
                  <a:gd name="T119" fmla="*/ 76 h 94"/>
                  <a:gd name="T120" fmla="*/ 7 w 76"/>
                  <a:gd name="T121" fmla="*/ 33 h 94"/>
                  <a:gd name="T122" fmla="*/ 7 w 76"/>
                  <a:gd name="T123" fmla="*/ 32 h 94"/>
                  <a:gd name="T124" fmla="*/ 3 w 76"/>
                  <a:gd name="T125" fmla="*/ 3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 h="94">
                    <a:moveTo>
                      <a:pt x="1" y="76"/>
                    </a:moveTo>
                    <a:lnTo>
                      <a:pt x="0" y="76"/>
                    </a:lnTo>
                    <a:lnTo>
                      <a:pt x="1" y="74"/>
                    </a:lnTo>
                    <a:lnTo>
                      <a:pt x="4" y="74"/>
                    </a:lnTo>
                    <a:lnTo>
                      <a:pt x="7" y="74"/>
                    </a:lnTo>
                    <a:lnTo>
                      <a:pt x="11" y="74"/>
                    </a:lnTo>
                    <a:lnTo>
                      <a:pt x="10" y="72"/>
                    </a:lnTo>
                    <a:lnTo>
                      <a:pt x="9" y="71"/>
                    </a:lnTo>
                    <a:lnTo>
                      <a:pt x="9" y="69"/>
                    </a:lnTo>
                    <a:lnTo>
                      <a:pt x="13" y="68"/>
                    </a:lnTo>
                    <a:lnTo>
                      <a:pt x="14" y="66"/>
                    </a:lnTo>
                    <a:lnTo>
                      <a:pt x="29" y="63"/>
                    </a:lnTo>
                    <a:lnTo>
                      <a:pt x="27" y="62"/>
                    </a:lnTo>
                    <a:lnTo>
                      <a:pt x="26" y="62"/>
                    </a:lnTo>
                    <a:lnTo>
                      <a:pt x="26" y="62"/>
                    </a:lnTo>
                    <a:lnTo>
                      <a:pt x="24" y="61"/>
                    </a:lnTo>
                    <a:lnTo>
                      <a:pt x="23" y="63"/>
                    </a:lnTo>
                    <a:lnTo>
                      <a:pt x="20" y="63"/>
                    </a:lnTo>
                    <a:lnTo>
                      <a:pt x="16" y="63"/>
                    </a:lnTo>
                    <a:lnTo>
                      <a:pt x="10" y="65"/>
                    </a:lnTo>
                    <a:lnTo>
                      <a:pt x="9" y="65"/>
                    </a:lnTo>
                    <a:lnTo>
                      <a:pt x="11" y="63"/>
                    </a:lnTo>
                    <a:lnTo>
                      <a:pt x="14" y="61"/>
                    </a:lnTo>
                    <a:lnTo>
                      <a:pt x="17" y="58"/>
                    </a:lnTo>
                    <a:lnTo>
                      <a:pt x="16" y="56"/>
                    </a:lnTo>
                    <a:lnTo>
                      <a:pt x="17" y="55"/>
                    </a:lnTo>
                    <a:lnTo>
                      <a:pt x="19" y="53"/>
                    </a:lnTo>
                    <a:lnTo>
                      <a:pt x="20" y="53"/>
                    </a:lnTo>
                    <a:lnTo>
                      <a:pt x="22" y="52"/>
                    </a:lnTo>
                    <a:lnTo>
                      <a:pt x="23" y="52"/>
                    </a:lnTo>
                    <a:lnTo>
                      <a:pt x="23" y="51"/>
                    </a:lnTo>
                    <a:lnTo>
                      <a:pt x="24" y="51"/>
                    </a:lnTo>
                    <a:lnTo>
                      <a:pt x="26" y="51"/>
                    </a:lnTo>
                    <a:lnTo>
                      <a:pt x="23" y="49"/>
                    </a:lnTo>
                    <a:lnTo>
                      <a:pt x="17" y="49"/>
                    </a:lnTo>
                    <a:lnTo>
                      <a:pt x="14" y="49"/>
                    </a:lnTo>
                    <a:lnTo>
                      <a:pt x="14" y="49"/>
                    </a:lnTo>
                    <a:lnTo>
                      <a:pt x="13" y="48"/>
                    </a:lnTo>
                    <a:lnTo>
                      <a:pt x="13" y="46"/>
                    </a:lnTo>
                    <a:lnTo>
                      <a:pt x="11" y="46"/>
                    </a:lnTo>
                    <a:lnTo>
                      <a:pt x="10" y="46"/>
                    </a:lnTo>
                    <a:lnTo>
                      <a:pt x="9" y="46"/>
                    </a:lnTo>
                    <a:lnTo>
                      <a:pt x="10" y="45"/>
                    </a:lnTo>
                    <a:lnTo>
                      <a:pt x="7" y="45"/>
                    </a:lnTo>
                    <a:lnTo>
                      <a:pt x="6" y="45"/>
                    </a:lnTo>
                    <a:lnTo>
                      <a:pt x="6" y="43"/>
                    </a:lnTo>
                    <a:lnTo>
                      <a:pt x="6" y="42"/>
                    </a:lnTo>
                    <a:lnTo>
                      <a:pt x="7" y="40"/>
                    </a:lnTo>
                    <a:lnTo>
                      <a:pt x="10" y="40"/>
                    </a:lnTo>
                    <a:lnTo>
                      <a:pt x="11" y="40"/>
                    </a:lnTo>
                    <a:lnTo>
                      <a:pt x="9" y="39"/>
                    </a:lnTo>
                    <a:lnTo>
                      <a:pt x="9" y="38"/>
                    </a:lnTo>
                    <a:lnTo>
                      <a:pt x="11" y="36"/>
                    </a:lnTo>
                    <a:lnTo>
                      <a:pt x="14" y="36"/>
                    </a:lnTo>
                    <a:lnTo>
                      <a:pt x="14" y="35"/>
                    </a:lnTo>
                    <a:lnTo>
                      <a:pt x="14" y="33"/>
                    </a:lnTo>
                    <a:lnTo>
                      <a:pt x="13" y="33"/>
                    </a:lnTo>
                    <a:lnTo>
                      <a:pt x="11" y="33"/>
                    </a:lnTo>
                    <a:lnTo>
                      <a:pt x="10" y="33"/>
                    </a:lnTo>
                    <a:lnTo>
                      <a:pt x="9" y="35"/>
                    </a:lnTo>
                    <a:lnTo>
                      <a:pt x="9" y="30"/>
                    </a:lnTo>
                    <a:lnTo>
                      <a:pt x="9" y="29"/>
                    </a:lnTo>
                    <a:lnTo>
                      <a:pt x="9" y="29"/>
                    </a:lnTo>
                    <a:lnTo>
                      <a:pt x="7" y="28"/>
                    </a:lnTo>
                    <a:lnTo>
                      <a:pt x="7" y="28"/>
                    </a:lnTo>
                    <a:lnTo>
                      <a:pt x="6" y="26"/>
                    </a:lnTo>
                    <a:lnTo>
                      <a:pt x="6" y="28"/>
                    </a:lnTo>
                    <a:lnTo>
                      <a:pt x="7" y="25"/>
                    </a:lnTo>
                    <a:lnTo>
                      <a:pt x="11" y="23"/>
                    </a:lnTo>
                    <a:lnTo>
                      <a:pt x="16" y="23"/>
                    </a:lnTo>
                    <a:lnTo>
                      <a:pt x="19" y="25"/>
                    </a:lnTo>
                    <a:lnTo>
                      <a:pt x="20" y="25"/>
                    </a:lnTo>
                    <a:lnTo>
                      <a:pt x="22" y="26"/>
                    </a:lnTo>
                    <a:lnTo>
                      <a:pt x="23" y="26"/>
                    </a:lnTo>
                    <a:lnTo>
                      <a:pt x="23" y="26"/>
                    </a:lnTo>
                    <a:lnTo>
                      <a:pt x="24" y="25"/>
                    </a:lnTo>
                    <a:lnTo>
                      <a:pt x="24" y="25"/>
                    </a:lnTo>
                    <a:lnTo>
                      <a:pt x="26" y="25"/>
                    </a:lnTo>
                    <a:lnTo>
                      <a:pt x="30" y="25"/>
                    </a:lnTo>
                    <a:lnTo>
                      <a:pt x="33" y="25"/>
                    </a:lnTo>
                    <a:lnTo>
                      <a:pt x="32" y="23"/>
                    </a:lnTo>
                    <a:lnTo>
                      <a:pt x="32" y="22"/>
                    </a:lnTo>
                    <a:lnTo>
                      <a:pt x="33" y="22"/>
                    </a:lnTo>
                    <a:lnTo>
                      <a:pt x="37" y="19"/>
                    </a:lnTo>
                    <a:lnTo>
                      <a:pt x="39" y="17"/>
                    </a:lnTo>
                    <a:lnTo>
                      <a:pt x="40" y="16"/>
                    </a:lnTo>
                    <a:lnTo>
                      <a:pt x="36" y="16"/>
                    </a:lnTo>
                    <a:lnTo>
                      <a:pt x="34" y="16"/>
                    </a:lnTo>
                    <a:lnTo>
                      <a:pt x="32" y="16"/>
                    </a:lnTo>
                    <a:lnTo>
                      <a:pt x="29" y="15"/>
                    </a:lnTo>
                    <a:lnTo>
                      <a:pt x="30" y="15"/>
                    </a:lnTo>
                    <a:lnTo>
                      <a:pt x="30" y="13"/>
                    </a:lnTo>
                    <a:lnTo>
                      <a:pt x="32" y="13"/>
                    </a:lnTo>
                    <a:lnTo>
                      <a:pt x="33" y="12"/>
                    </a:lnTo>
                    <a:lnTo>
                      <a:pt x="34" y="10"/>
                    </a:lnTo>
                    <a:lnTo>
                      <a:pt x="34" y="9"/>
                    </a:lnTo>
                    <a:lnTo>
                      <a:pt x="36" y="9"/>
                    </a:lnTo>
                    <a:lnTo>
                      <a:pt x="36" y="7"/>
                    </a:lnTo>
                    <a:lnTo>
                      <a:pt x="37" y="5"/>
                    </a:lnTo>
                    <a:lnTo>
                      <a:pt x="40" y="3"/>
                    </a:lnTo>
                    <a:lnTo>
                      <a:pt x="43" y="3"/>
                    </a:lnTo>
                    <a:lnTo>
                      <a:pt x="46" y="3"/>
                    </a:lnTo>
                    <a:lnTo>
                      <a:pt x="46" y="2"/>
                    </a:lnTo>
                    <a:lnTo>
                      <a:pt x="47" y="2"/>
                    </a:lnTo>
                    <a:lnTo>
                      <a:pt x="49" y="3"/>
                    </a:lnTo>
                    <a:lnTo>
                      <a:pt x="49" y="5"/>
                    </a:lnTo>
                    <a:lnTo>
                      <a:pt x="49" y="6"/>
                    </a:lnTo>
                    <a:lnTo>
                      <a:pt x="49" y="7"/>
                    </a:lnTo>
                    <a:lnTo>
                      <a:pt x="47" y="9"/>
                    </a:lnTo>
                    <a:lnTo>
                      <a:pt x="50" y="6"/>
                    </a:lnTo>
                    <a:lnTo>
                      <a:pt x="50" y="5"/>
                    </a:lnTo>
                    <a:lnTo>
                      <a:pt x="52" y="2"/>
                    </a:lnTo>
                    <a:lnTo>
                      <a:pt x="55" y="2"/>
                    </a:lnTo>
                    <a:lnTo>
                      <a:pt x="53" y="0"/>
                    </a:lnTo>
                    <a:lnTo>
                      <a:pt x="55" y="0"/>
                    </a:lnTo>
                    <a:lnTo>
                      <a:pt x="56" y="0"/>
                    </a:lnTo>
                    <a:lnTo>
                      <a:pt x="59" y="2"/>
                    </a:lnTo>
                    <a:lnTo>
                      <a:pt x="60" y="2"/>
                    </a:lnTo>
                    <a:lnTo>
                      <a:pt x="59" y="3"/>
                    </a:lnTo>
                    <a:lnTo>
                      <a:pt x="56" y="5"/>
                    </a:lnTo>
                    <a:lnTo>
                      <a:pt x="55" y="6"/>
                    </a:lnTo>
                    <a:lnTo>
                      <a:pt x="52" y="7"/>
                    </a:lnTo>
                    <a:lnTo>
                      <a:pt x="50" y="10"/>
                    </a:lnTo>
                    <a:lnTo>
                      <a:pt x="49" y="13"/>
                    </a:lnTo>
                    <a:lnTo>
                      <a:pt x="46" y="15"/>
                    </a:lnTo>
                    <a:lnTo>
                      <a:pt x="45" y="15"/>
                    </a:lnTo>
                    <a:lnTo>
                      <a:pt x="45" y="15"/>
                    </a:lnTo>
                    <a:lnTo>
                      <a:pt x="43" y="15"/>
                    </a:lnTo>
                    <a:lnTo>
                      <a:pt x="43" y="15"/>
                    </a:lnTo>
                    <a:lnTo>
                      <a:pt x="43" y="16"/>
                    </a:lnTo>
                    <a:lnTo>
                      <a:pt x="46" y="16"/>
                    </a:lnTo>
                    <a:lnTo>
                      <a:pt x="43" y="19"/>
                    </a:lnTo>
                    <a:lnTo>
                      <a:pt x="40" y="19"/>
                    </a:lnTo>
                    <a:lnTo>
                      <a:pt x="39" y="20"/>
                    </a:lnTo>
                    <a:lnTo>
                      <a:pt x="40" y="22"/>
                    </a:lnTo>
                    <a:lnTo>
                      <a:pt x="42" y="25"/>
                    </a:lnTo>
                    <a:lnTo>
                      <a:pt x="45" y="26"/>
                    </a:lnTo>
                    <a:lnTo>
                      <a:pt x="47" y="28"/>
                    </a:lnTo>
                    <a:lnTo>
                      <a:pt x="50" y="28"/>
                    </a:lnTo>
                    <a:lnTo>
                      <a:pt x="50" y="28"/>
                    </a:lnTo>
                    <a:lnTo>
                      <a:pt x="52" y="28"/>
                    </a:lnTo>
                    <a:lnTo>
                      <a:pt x="52" y="28"/>
                    </a:lnTo>
                    <a:lnTo>
                      <a:pt x="52" y="28"/>
                    </a:lnTo>
                    <a:lnTo>
                      <a:pt x="52" y="28"/>
                    </a:lnTo>
                    <a:lnTo>
                      <a:pt x="53" y="28"/>
                    </a:lnTo>
                    <a:lnTo>
                      <a:pt x="53" y="28"/>
                    </a:lnTo>
                    <a:lnTo>
                      <a:pt x="55" y="26"/>
                    </a:lnTo>
                    <a:lnTo>
                      <a:pt x="56" y="25"/>
                    </a:lnTo>
                    <a:lnTo>
                      <a:pt x="56" y="23"/>
                    </a:lnTo>
                    <a:lnTo>
                      <a:pt x="57" y="22"/>
                    </a:lnTo>
                    <a:lnTo>
                      <a:pt x="59" y="22"/>
                    </a:lnTo>
                    <a:lnTo>
                      <a:pt x="60" y="22"/>
                    </a:lnTo>
                    <a:lnTo>
                      <a:pt x="62" y="23"/>
                    </a:lnTo>
                    <a:lnTo>
                      <a:pt x="62" y="25"/>
                    </a:lnTo>
                    <a:lnTo>
                      <a:pt x="63" y="26"/>
                    </a:lnTo>
                    <a:lnTo>
                      <a:pt x="63" y="26"/>
                    </a:lnTo>
                    <a:lnTo>
                      <a:pt x="65" y="26"/>
                    </a:lnTo>
                    <a:lnTo>
                      <a:pt x="66" y="28"/>
                    </a:lnTo>
                    <a:lnTo>
                      <a:pt x="66" y="28"/>
                    </a:lnTo>
                    <a:lnTo>
                      <a:pt x="66" y="29"/>
                    </a:lnTo>
                    <a:lnTo>
                      <a:pt x="66" y="29"/>
                    </a:lnTo>
                    <a:lnTo>
                      <a:pt x="66" y="29"/>
                    </a:lnTo>
                    <a:lnTo>
                      <a:pt x="67" y="29"/>
                    </a:lnTo>
                    <a:lnTo>
                      <a:pt x="69" y="29"/>
                    </a:lnTo>
                    <a:lnTo>
                      <a:pt x="69" y="29"/>
                    </a:lnTo>
                    <a:lnTo>
                      <a:pt x="69" y="29"/>
                    </a:lnTo>
                    <a:lnTo>
                      <a:pt x="69" y="29"/>
                    </a:lnTo>
                    <a:lnTo>
                      <a:pt x="69" y="29"/>
                    </a:lnTo>
                    <a:lnTo>
                      <a:pt x="69" y="29"/>
                    </a:lnTo>
                    <a:lnTo>
                      <a:pt x="70" y="29"/>
                    </a:lnTo>
                    <a:lnTo>
                      <a:pt x="70" y="29"/>
                    </a:lnTo>
                    <a:lnTo>
                      <a:pt x="72" y="29"/>
                    </a:lnTo>
                    <a:lnTo>
                      <a:pt x="72" y="29"/>
                    </a:lnTo>
                    <a:lnTo>
                      <a:pt x="73" y="29"/>
                    </a:lnTo>
                    <a:lnTo>
                      <a:pt x="73" y="29"/>
                    </a:lnTo>
                    <a:lnTo>
                      <a:pt x="73" y="29"/>
                    </a:lnTo>
                    <a:lnTo>
                      <a:pt x="75" y="30"/>
                    </a:lnTo>
                    <a:lnTo>
                      <a:pt x="75" y="30"/>
                    </a:lnTo>
                    <a:lnTo>
                      <a:pt x="75" y="30"/>
                    </a:lnTo>
                    <a:lnTo>
                      <a:pt x="72" y="30"/>
                    </a:lnTo>
                    <a:lnTo>
                      <a:pt x="72" y="32"/>
                    </a:lnTo>
                    <a:lnTo>
                      <a:pt x="72" y="35"/>
                    </a:lnTo>
                    <a:lnTo>
                      <a:pt x="73" y="38"/>
                    </a:lnTo>
                    <a:lnTo>
                      <a:pt x="73" y="39"/>
                    </a:lnTo>
                    <a:lnTo>
                      <a:pt x="75" y="48"/>
                    </a:lnTo>
                    <a:lnTo>
                      <a:pt x="76" y="53"/>
                    </a:lnTo>
                    <a:lnTo>
                      <a:pt x="76" y="56"/>
                    </a:lnTo>
                    <a:lnTo>
                      <a:pt x="73" y="66"/>
                    </a:lnTo>
                    <a:lnTo>
                      <a:pt x="72" y="69"/>
                    </a:lnTo>
                    <a:lnTo>
                      <a:pt x="69" y="71"/>
                    </a:lnTo>
                    <a:lnTo>
                      <a:pt x="69" y="72"/>
                    </a:lnTo>
                    <a:lnTo>
                      <a:pt x="70" y="74"/>
                    </a:lnTo>
                    <a:lnTo>
                      <a:pt x="72" y="74"/>
                    </a:lnTo>
                    <a:lnTo>
                      <a:pt x="69" y="75"/>
                    </a:lnTo>
                    <a:lnTo>
                      <a:pt x="65" y="75"/>
                    </a:lnTo>
                    <a:lnTo>
                      <a:pt x="62" y="75"/>
                    </a:lnTo>
                    <a:lnTo>
                      <a:pt x="60" y="74"/>
                    </a:lnTo>
                    <a:lnTo>
                      <a:pt x="59" y="75"/>
                    </a:lnTo>
                    <a:lnTo>
                      <a:pt x="57" y="76"/>
                    </a:lnTo>
                    <a:lnTo>
                      <a:pt x="55" y="76"/>
                    </a:lnTo>
                    <a:lnTo>
                      <a:pt x="52" y="76"/>
                    </a:lnTo>
                    <a:lnTo>
                      <a:pt x="50" y="78"/>
                    </a:lnTo>
                    <a:lnTo>
                      <a:pt x="49" y="79"/>
                    </a:lnTo>
                    <a:lnTo>
                      <a:pt x="47" y="81"/>
                    </a:lnTo>
                    <a:lnTo>
                      <a:pt x="47" y="81"/>
                    </a:lnTo>
                    <a:lnTo>
                      <a:pt x="45" y="81"/>
                    </a:lnTo>
                    <a:lnTo>
                      <a:pt x="45" y="82"/>
                    </a:lnTo>
                    <a:lnTo>
                      <a:pt x="43" y="82"/>
                    </a:lnTo>
                    <a:lnTo>
                      <a:pt x="43" y="84"/>
                    </a:lnTo>
                    <a:lnTo>
                      <a:pt x="42" y="84"/>
                    </a:lnTo>
                    <a:lnTo>
                      <a:pt x="42" y="84"/>
                    </a:lnTo>
                    <a:lnTo>
                      <a:pt x="39" y="84"/>
                    </a:lnTo>
                    <a:lnTo>
                      <a:pt x="36" y="82"/>
                    </a:lnTo>
                    <a:lnTo>
                      <a:pt x="34" y="82"/>
                    </a:lnTo>
                    <a:lnTo>
                      <a:pt x="36" y="85"/>
                    </a:lnTo>
                    <a:lnTo>
                      <a:pt x="34" y="88"/>
                    </a:lnTo>
                    <a:lnTo>
                      <a:pt x="30" y="89"/>
                    </a:lnTo>
                    <a:lnTo>
                      <a:pt x="27" y="91"/>
                    </a:lnTo>
                    <a:lnTo>
                      <a:pt x="24" y="91"/>
                    </a:lnTo>
                    <a:lnTo>
                      <a:pt x="23" y="92"/>
                    </a:lnTo>
                    <a:lnTo>
                      <a:pt x="17" y="92"/>
                    </a:lnTo>
                    <a:lnTo>
                      <a:pt x="11" y="94"/>
                    </a:lnTo>
                    <a:lnTo>
                      <a:pt x="10" y="94"/>
                    </a:lnTo>
                    <a:lnTo>
                      <a:pt x="11" y="91"/>
                    </a:lnTo>
                    <a:lnTo>
                      <a:pt x="11" y="91"/>
                    </a:lnTo>
                    <a:lnTo>
                      <a:pt x="16" y="88"/>
                    </a:lnTo>
                    <a:lnTo>
                      <a:pt x="13" y="88"/>
                    </a:lnTo>
                    <a:lnTo>
                      <a:pt x="7" y="89"/>
                    </a:lnTo>
                    <a:lnTo>
                      <a:pt x="4" y="89"/>
                    </a:lnTo>
                    <a:lnTo>
                      <a:pt x="6" y="88"/>
                    </a:lnTo>
                    <a:lnTo>
                      <a:pt x="9" y="86"/>
                    </a:lnTo>
                    <a:lnTo>
                      <a:pt x="11" y="84"/>
                    </a:lnTo>
                    <a:lnTo>
                      <a:pt x="14" y="84"/>
                    </a:lnTo>
                    <a:lnTo>
                      <a:pt x="7" y="85"/>
                    </a:lnTo>
                    <a:lnTo>
                      <a:pt x="4" y="85"/>
                    </a:lnTo>
                    <a:lnTo>
                      <a:pt x="1" y="85"/>
                    </a:lnTo>
                    <a:lnTo>
                      <a:pt x="0" y="82"/>
                    </a:lnTo>
                    <a:lnTo>
                      <a:pt x="3" y="81"/>
                    </a:lnTo>
                    <a:lnTo>
                      <a:pt x="6" y="79"/>
                    </a:lnTo>
                    <a:lnTo>
                      <a:pt x="9" y="76"/>
                    </a:lnTo>
                    <a:lnTo>
                      <a:pt x="6" y="76"/>
                    </a:lnTo>
                    <a:lnTo>
                      <a:pt x="1" y="76"/>
                    </a:lnTo>
                    <a:close/>
                    <a:moveTo>
                      <a:pt x="6" y="32"/>
                    </a:moveTo>
                    <a:lnTo>
                      <a:pt x="7" y="33"/>
                    </a:lnTo>
                    <a:lnTo>
                      <a:pt x="7" y="33"/>
                    </a:lnTo>
                    <a:lnTo>
                      <a:pt x="7" y="33"/>
                    </a:lnTo>
                    <a:lnTo>
                      <a:pt x="7" y="32"/>
                    </a:lnTo>
                    <a:lnTo>
                      <a:pt x="7" y="32"/>
                    </a:lnTo>
                    <a:lnTo>
                      <a:pt x="7" y="30"/>
                    </a:lnTo>
                    <a:lnTo>
                      <a:pt x="6" y="30"/>
                    </a:lnTo>
                    <a:lnTo>
                      <a:pt x="4" y="30"/>
                    </a:lnTo>
                    <a:lnTo>
                      <a:pt x="3" y="30"/>
                    </a:lnTo>
                    <a:lnTo>
                      <a:pt x="1" y="32"/>
                    </a:lnTo>
                    <a:lnTo>
                      <a:pt x="4" y="32"/>
                    </a:lnTo>
                    <a:lnTo>
                      <a:pt x="6" y="3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73" name="Freeform 79">
                <a:extLst>
                  <a:ext uri="{FF2B5EF4-FFF2-40B4-BE49-F238E27FC236}">
                    <a16:creationId xmlns:a16="http://schemas.microsoft.com/office/drawing/2014/main" id="{9A3B8244-06CF-38DD-73E1-38D4ACAC85AB}"/>
                  </a:ext>
                </a:extLst>
              </p:cNvPr>
              <p:cNvSpPr>
                <a:spLocks noEditPoints="1"/>
              </p:cNvSpPr>
              <p:nvPr/>
            </p:nvSpPr>
            <p:spPr bwMode="auto">
              <a:xfrm>
                <a:off x="3405" y="1463"/>
                <a:ext cx="174" cy="270"/>
              </a:xfrm>
              <a:custGeom>
                <a:avLst/>
                <a:gdLst>
                  <a:gd name="T0" fmla="*/ 123 w 174"/>
                  <a:gd name="T1" fmla="*/ 4 h 270"/>
                  <a:gd name="T2" fmla="*/ 119 w 174"/>
                  <a:gd name="T3" fmla="*/ 17 h 270"/>
                  <a:gd name="T4" fmla="*/ 119 w 174"/>
                  <a:gd name="T5" fmla="*/ 8 h 270"/>
                  <a:gd name="T6" fmla="*/ 115 w 174"/>
                  <a:gd name="T7" fmla="*/ 16 h 270"/>
                  <a:gd name="T8" fmla="*/ 122 w 174"/>
                  <a:gd name="T9" fmla="*/ 251 h 270"/>
                  <a:gd name="T10" fmla="*/ 84 w 174"/>
                  <a:gd name="T11" fmla="*/ 53 h 270"/>
                  <a:gd name="T12" fmla="*/ 62 w 174"/>
                  <a:gd name="T13" fmla="*/ 185 h 270"/>
                  <a:gd name="T14" fmla="*/ 86 w 174"/>
                  <a:gd name="T15" fmla="*/ 50 h 270"/>
                  <a:gd name="T16" fmla="*/ 99 w 174"/>
                  <a:gd name="T17" fmla="*/ 43 h 270"/>
                  <a:gd name="T18" fmla="*/ 93 w 174"/>
                  <a:gd name="T19" fmla="*/ 46 h 270"/>
                  <a:gd name="T20" fmla="*/ 4 w 174"/>
                  <a:gd name="T21" fmla="*/ 154 h 270"/>
                  <a:gd name="T22" fmla="*/ 13 w 174"/>
                  <a:gd name="T23" fmla="*/ 167 h 270"/>
                  <a:gd name="T24" fmla="*/ 23 w 174"/>
                  <a:gd name="T25" fmla="*/ 164 h 270"/>
                  <a:gd name="T26" fmla="*/ 30 w 174"/>
                  <a:gd name="T27" fmla="*/ 168 h 270"/>
                  <a:gd name="T28" fmla="*/ 40 w 174"/>
                  <a:gd name="T29" fmla="*/ 165 h 270"/>
                  <a:gd name="T30" fmla="*/ 44 w 174"/>
                  <a:gd name="T31" fmla="*/ 155 h 270"/>
                  <a:gd name="T32" fmla="*/ 23 w 174"/>
                  <a:gd name="T33" fmla="*/ 142 h 270"/>
                  <a:gd name="T34" fmla="*/ 28 w 174"/>
                  <a:gd name="T35" fmla="*/ 109 h 270"/>
                  <a:gd name="T36" fmla="*/ 44 w 174"/>
                  <a:gd name="T37" fmla="*/ 100 h 270"/>
                  <a:gd name="T38" fmla="*/ 47 w 174"/>
                  <a:gd name="T39" fmla="*/ 110 h 270"/>
                  <a:gd name="T40" fmla="*/ 41 w 174"/>
                  <a:gd name="T41" fmla="*/ 138 h 270"/>
                  <a:gd name="T42" fmla="*/ 53 w 174"/>
                  <a:gd name="T43" fmla="*/ 121 h 270"/>
                  <a:gd name="T44" fmla="*/ 59 w 174"/>
                  <a:gd name="T45" fmla="*/ 126 h 270"/>
                  <a:gd name="T46" fmla="*/ 56 w 174"/>
                  <a:gd name="T47" fmla="*/ 154 h 270"/>
                  <a:gd name="T48" fmla="*/ 79 w 174"/>
                  <a:gd name="T49" fmla="*/ 149 h 270"/>
                  <a:gd name="T50" fmla="*/ 92 w 174"/>
                  <a:gd name="T51" fmla="*/ 171 h 270"/>
                  <a:gd name="T52" fmla="*/ 87 w 174"/>
                  <a:gd name="T53" fmla="*/ 185 h 270"/>
                  <a:gd name="T54" fmla="*/ 70 w 174"/>
                  <a:gd name="T55" fmla="*/ 197 h 270"/>
                  <a:gd name="T56" fmla="*/ 51 w 174"/>
                  <a:gd name="T57" fmla="*/ 225 h 270"/>
                  <a:gd name="T58" fmla="*/ 70 w 174"/>
                  <a:gd name="T59" fmla="*/ 228 h 270"/>
                  <a:gd name="T60" fmla="*/ 93 w 174"/>
                  <a:gd name="T61" fmla="*/ 234 h 270"/>
                  <a:gd name="T62" fmla="*/ 63 w 174"/>
                  <a:gd name="T63" fmla="*/ 247 h 270"/>
                  <a:gd name="T64" fmla="*/ 53 w 174"/>
                  <a:gd name="T65" fmla="*/ 270 h 270"/>
                  <a:gd name="T66" fmla="*/ 80 w 174"/>
                  <a:gd name="T67" fmla="*/ 261 h 270"/>
                  <a:gd name="T68" fmla="*/ 106 w 174"/>
                  <a:gd name="T69" fmla="*/ 256 h 270"/>
                  <a:gd name="T70" fmla="*/ 139 w 174"/>
                  <a:gd name="T71" fmla="*/ 250 h 270"/>
                  <a:gd name="T72" fmla="*/ 163 w 174"/>
                  <a:gd name="T73" fmla="*/ 241 h 270"/>
                  <a:gd name="T74" fmla="*/ 152 w 174"/>
                  <a:gd name="T75" fmla="*/ 231 h 270"/>
                  <a:gd name="T76" fmla="*/ 163 w 174"/>
                  <a:gd name="T77" fmla="*/ 223 h 270"/>
                  <a:gd name="T78" fmla="*/ 172 w 174"/>
                  <a:gd name="T79" fmla="*/ 214 h 270"/>
                  <a:gd name="T80" fmla="*/ 146 w 174"/>
                  <a:gd name="T81" fmla="*/ 198 h 270"/>
                  <a:gd name="T82" fmla="*/ 130 w 174"/>
                  <a:gd name="T83" fmla="*/ 177 h 270"/>
                  <a:gd name="T84" fmla="*/ 119 w 174"/>
                  <a:gd name="T85" fmla="*/ 151 h 270"/>
                  <a:gd name="T86" fmla="*/ 82 w 174"/>
                  <a:gd name="T87" fmla="*/ 125 h 270"/>
                  <a:gd name="T88" fmla="*/ 93 w 174"/>
                  <a:gd name="T89" fmla="*/ 116 h 270"/>
                  <a:gd name="T90" fmla="*/ 102 w 174"/>
                  <a:gd name="T91" fmla="*/ 85 h 270"/>
                  <a:gd name="T92" fmla="*/ 79 w 174"/>
                  <a:gd name="T93" fmla="*/ 73 h 270"/>
                  <a:gd name="T94" fmla="*/ 63 w 174"/>
                  <a:gd name="T95" fmla="*/ 62 h 270"/>
                  <a:gd name="T96" fmla="*/ 51 w 174"/>
                  <a:gd name="T97" fmla="*/ 70 h 270"/>
                  <a:gd name="T98" fmla="*/ 41 w 174"/>
                  <a:gd name="T99" fmla="*/ 85 h 270"/>
                  <a:gd name="T100" fmla="*/ 36 w 174"/>
                  <a:gd name="T101" fmla="*/ 129 h 270"/>
                  <a:gd name="T102" fmla="*/ 31 w 174"/>
                  <a:gd name="T103" fmla="*/ 132 h 270"/>
                  <a:gd name="T104" fmla="*/ 36 w 174"/>
                  <a:gd name="T105" fmla="*/ 118 h 270"/>
                  <a:gd name="T106" fmla="*/ 14 w 174"/>
                  <a:gd name="T107" fmla="*/ 96 h 270"/>
                  <a:gd name="T108" fmla="*/ 30 w 174"/>
                  <a:gd name="T109" fmla="*/ 96 h 270"/>
                  <a:gd name="T110" fmla="*/ 33 w 174"/>
                  <a:gd name="T111" fmla="*/ 86 h 270"/>
                  <a:gd name="T112" fmla="*/ 24 w 174"/>
                  <a:gd name="T113" fmla="*/ 72 h 270"/>
                  <a:gd name="T114" fmla="*/ 18 w 174"/>
                  <a:gd name="T115" fmla="*/ 80 h 270"/>
                  <a:gd name="T116" fmla="*/ 33 w 174"/>
                  <a:gd name="T117" fmla="*/ 63 h 270"/>
                  <a:gd name="T118" fmla="*/ 36 w 174"/>
                  <a:gd name="T119" fmla="*/ 12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4" h="270">
                    <a:moveTo>
                      <a:pt x="126" y="3"/>
                    </a:moveTo>
                    <a:lnTo>
                      <a:pt x="126" y="1"/>
                    </a:lnTo>
                    <a:lnTo>
                      <a:pt x="128" y="0"/>
                    </a:lnTo>
                    <a:lnTo>
                      <a:pt x="129" y="0"/>
                    </a:lnTo>
                    <a:lnTo>
                      <a:pt x="129" y="1"/>
                    </a:lnTo>
                    <a:lnTo>
                      <a:pt x="128" y="3"/>
                    </a:lnTo>
                    <a:lnTo>
                      <a:pt x="128" y="4"/>
                    </a:lnTo>
                    <a:lnTo>
                      <a:pt x="126" y="3"/>
                    </a:lnTo>
                    <a:close/>
                    <a:moveTo>
                      <a:pt x="125" y="7"/>
                    </a:moveTo>
                    <a:lnTo>
                      <a:pt x="125" y="4"/>
                    </a:lnTo>
                    <a:lnTo>
                      <a:pt x="125" y="4"/>
                    </a:lnTo>
                    <a:lnTo>
                      <a:pt x="123" y="3"/>
                    </a:lnTo>
                    <a:lnTo>
                      <a:pt x="123" y="4"/>
                    </a:lnTo>
                    <a:lnTo>
                      <a:pt x="123" y="7"/>
                    </a:lnTo>
                    <a:lnTo>
                      <a:pt x="123" y="8"/>
                    </a:lnTo>
                    <a:lnTo>
                      <a:pt x="125" y="7"/>
                    </a:lnTo>
                    <a:close/>
                    <a:moveTo>
                      <a:pt x="115" y="16"/>
                    </a:moveTo>
                    <a:lnTo>
                      <a:pt x="113" y="16"/>
                    </a:lnTo>
                    <a:lnTo>
                      <a:pt x="115" y="16"/>
                    </a:lnTo>
                    <a:lnTo>
                      <a:pt x="115" y="16"/>
                    </a:lnTo>
                    <a:close/>
                    <a:moveTo>
                      <a:pt x="116" y="17"/>
                    </a:moveTo>
                    <a:lnTo>
                      <a:pt x="116" y="17"/>
                    </a:lnTo>
                    <a:lnTo>
                      <a:pt x="116" y="19"/>
                    </a:lnTo>
                    <a:lnTo>
                      <a:pt x="118" y="19"/>
                    </a:lnTo>
                    <a:lnTo>
                      <a:pt x="118" y="17"/>
                    </a:lnTo>
                    <a:lnTo>
                      <a:pt x="119" y="17"/>
                    </a:lnTo>
                    <a:lnTo>
                      <a:pt x="119" y="19"/>
                    </a:lnTo>
                    <a:lnTo>
                      <a:pt x="120" y="20"/>
                    </a:lnTo>
                    <a:lnTo>
                      <a:pt x="119" y="24"/>
                    </a:lnTo>
                    <a:lnTo>
                      <a:pt x="119" y="26"/>
                    </a:lnTo>
                    <a:lnTo>
                      <a:pt x="123" y="14"/>
                    </a:lnTo>
                    <a:lnTo>
                      <a:pt x="123" y="10"/>
                    </a:lnTo>
                    <a:lnTo>
                      <a:pt x="123" y="11"/>
                    </a:lnTo>
                    <a:lnTo>
                      <a:pt x="122" y="11"/>
                    </a:lnTo>
                    <a:lnTo>
                      <a:pt x="122" y="10"/>
                    </a:lnTo>
                    <a:lnTo>
                      <a:pt x="120" y="10"/>
                    </a:lnTo>
                    <a:lnTo>
                      <a:pt x="120" y="10"/>
                    </a:lnTo>
                    <a:lnTo>
                      <a:pt x="119" y="8"/>
                    </a:lnTo>
                    <a:lnTo>
                      <a:pt x="119" y="8"/>
                    </a:lnTo>
                    <a:lnTo>
                      <a:pt x="119" y="7"/>
                    </a:lnTo>
                    <a:lnTo>
                      <a:pt x="119" y="6"/>
                    </a:lnTo>
                    <a:lnTo>
                      <a:pt x="118" y="6"/>
                    </a:lnTo>
                    <a:lnTo>
                      <a:pt x="118" y="7"/>
                    </a:lnTo>
                    <a:lnTo>
                      <a:pt x="115" y="8"/>
                    </a:lnTo>
                    <a:lnTo>
                      <a:pt x="116" y="10"/>
                    </a:lnTo>
                    <a:lnTo>
                      <a:pt x="116" y="10"/>
                    </a:lnTo>
                    <a:lnTo>
                      <a:pt x="118" y="11"/>
                    </a:lnTo>
                    <a:lnTo>
                      <a:pt x="118" y="11"/>
                    </a:lnTo>
                    <a:lnTo>
                      <a:pt x="118" y="13"/>
                    </a:lnTo>
                    <a:lnTo>
                      <a:pt x="118" y="14"/>
                    </a:lnTo>
                    <a:lnTo>
                      <a:pt x="118" y="14"/>
                    </a:lnTo>
                    <a:lnTo>
                      <a:pt x="115" y="16"/>
                    </a:lnTo>
                    <a:lnTo>
                      <a:pt x="115" y="16"/>
                    </a:lnTo>
                    <a:lnTo>
                      <a:pt x="116" y="17"/>
                    </a:lnTo>
                    <a:lnTo>
                      <a:pt x="116" y="17"/>
                    </a:lnTo>
                    <a:close/>
                    <a:moveTo>
                      <a:pt x="51" y="136"/>
                    </a:moveTo>
                    <a:lnTo>
                      <a:pt x="53" y="136"/>
                    </a:lnTo>
                    <a:lnTo>
                      <a:pt x="53" y="133"/>
                    </a:lnTo>
                    <a:lnTo>
                      <a:pt x="51" y="132"/>
                    </a:lnTo>
                    <a:lnTo>
                      <a:pt x="50" y="131"/>
                    </a:lnTo>
                    <a:lnTo>
                      <a:pt x="49" y="131"/>
                    </a:lnTo>
                    <a:lnTo>
                      <a:pt x="47" y="133"/>
                    </a:lnTo>
                    <a:lnTo>
                      <a:pt x="49" y="135"/>
                    </a:lnTo>
                    <a:lnTo>
                      <a:pt x="51" y="136"/>
                    </a:lnTo>
                    <a:close/>
                    <a:moveTo>
                      <a:pt x="122" y="251"/>
                    </a:moveTo>
                    <a:lnTo>
                      <a:pt x="123" y="253"/>
                    </a:lnTo>
                    <a:lnTo>
                      <a:pt x="122" y="256"/>
                    </a:lnTo>
                    <a:lnTo>
                      <a:pt x="120" y="256"/>
                    </a:lnTo>
                    <a:lnTo>
                      <a:pt x="118" y="254"/>
                    </a:lnTo>
                    <a:lnTo>
                      <a:pt x="115" y="254"/>
                    </a:lnTo>
                    <a:lnTo>
                      <a:pt x="118" y="251"/>
                    </a:lnTo>
                    <a:lnTo>
                      <a:pt x="119" y="251"/>
                    </a:lnTo>
                    <a:lnTo>
                      <a:pt x="122" y="251"/>
                    </a:lnTo>
                    <a:close/>
                    <a:moveTo>
                      <a:pt x="86" y="56"/>
                    </a:moveTo>
                    <a:lnTo>
                      <a:pt x="87" y="54"/>
                    </a:lnTo>
                    <a:lnTo>
                      <a:pt x="86" y="54"/>
                    </a:lnTo>
                    <a:lnTo>
                      <a:pt x="86" y="53"/>
                    </a:lnTo>
                    <a:lnTo>
                      <a:pt x="84" y="53"/>
                    </a:lnTo>
                    <a:lnTo>
                      <a:pt x="83" y="52"/>
                    </a:lnTo>
                    <a:lnTo>
                      <a:pt x="83" y="53"/>
                    </a:lnTo>
                    <a:lnTo>
                      <a:pt x="84" y="54"/>
                    </a:lnTo>
                    <a:lnTo>
                      <a:pt x="86" y="56"/>
                    </a:lnTo>
                    <a:close/>
                    <a:moveTo>
                      <a:pt x="62" y="185"/>
                    </a:moveTo>
                    <a:lnTo>
                      <a:pt x="63" y="188"/>
                    </a:lnTo>
                    <a:lnTo>
                      <a:pt x="66" y="190"/>
                    </a:lnTo>
                    <a:lnTo>
                      <a:pt x="69" y="190"/>
                    </a:lnTo>
                    <a:lnTo>
                      <a:pt x="72" y="187"/>
                    </a:lnTo>
                    <a:lnTo>
                      <a:pt x="69" y="187"/>
                    </a:lnTo>
                    <a:lnTo>
                      <a:pt x="67" y="185"/>
                    </a:lnTo>
                    <a:lnTo>
                      <a:pt x="64" y="184"/>
                    </a:lnTo>
                    <a:lnTo>
                      <a:pt x="62" y="185"/>
                    </a:lnTo>
                    <a:close/>
                    <a:moveTo>
                      <a:pt x="90" y="54"/>
                    </a:moveTo>
                    <a:lnTo>
                      <a:pt x="89" y="54"/>
                    </a:lnTo>
                    <a:lnTo>
                      <a:pt x="89" y="56"/>
                    </a:lnTo>
                    <a:lnTo>
                      <a:pt x="90" y="56"/>
                    </a:lnTo>
                    <a:lnTo>
                      <a:pt x="90" y="56"/>
                    </a:lnTo>
                    <a:lnTo>
                      <a:pt x="90" y="57"/>
                    </a:lnTo>
                    <a:lnTo>
                      <a:pt x="92" y="56"/>
                    </a:lnTo>
                    <a:lnTo>
                      <a:pt x="92" y="54"/>
                    </a:lnTo>
                    <a:lnTo>
                      <a:pt x="92" y="54"/>
                    </a:lnTo>
                    <a:lnTo>
                      <a:pt x="90" y="54"/>
                    </a:lnTo>
                    <a:lnTo>
                      <a:pt x="90" y="54"/>
                    </a:lnTo>
                    <a:lnTo>
                      <a:pt x="90" y="54"/>
                    </a:lnTo>
                    <a:close/>
                    <a:moveTo>
                      <a:pt x="86" y="50"/>
                    </a:moveTo>
                    <a:lnTo>
                      <a:pt x="87" y="52"/>
                    </a:lnTo>
                    <a:lnTo>
                      <a:pt x="92" y="52"/>
                    </a:lnTo>
                    <a:lnTo>
                      <a:pt x="93" y="52"/>
                    </a:lnTo>
                    <a:lnTo>
                      <a:pt x="89" y="50"/>
                    </a:lnTo>
                    <a:lnTo>
                      <a:pt x="89" y="49"/>
                    </a:lnTo>
                    <a:lnTo>
                      <a:pt x="89" y="47"/>
                    </a:lnTo>
                    <a:lnTo>
                      <a:pt x="89" y="47"/>
                    </a:lnTo>
                    <a:lnTo>
                      <a:pt x="87" y="46"/>
                    </a:lnTo>
                    <a:lnTo>
                      <a:pt x="84" y="46"/>
                    </a:lnTo>
                    <a:lnTo>
                      <a:pt x="83" y="49"/>
                    </a:lnTo>
                    <a:lnTo>
                      <a:pt x="84" y="50"/>
                    </a:lnTo>
                    <a:lnTo>
                      <a:pt x="86" y="50"/>
                    </a:lnTo>
                    <a:close/>
                    <a:moveTo>
                      <a:pt x="99" y="43"/>
                    </a:moveTo>
                    <a:lnTo>
                      <a:pt x="99" y="43"/>
                    </a:lnTo>
                    <a:lnTo>
                      <a:pt x="100" y="42"/>
                    </a:lnTo>
                    <a:lnTo>
                      <a:pt x="99" y="42"/>
                    </a:lnTo>
                    <a:lnTo>
                      <a:pt x="97" y="42"/>
                    </a:lnTo>
                    <a:lnTo>
                      <a:pt x="96" y="43"/>
                    </a:lnTo>
                    <a:lnTo>
                      <a:pt x="96" y="44"/>
                    </a:lnTo>
                    <a:lnTo>
                      <a:pt x="97" y="44"/>
                    </a:lnTo>
                    <a:lnTo>
                      <a:pt x="99" y="43"/>
                    </a:lnTo>
                    <a:close/>
                    <a:moveTo>
                      <a:pt x="92" y="44"/>
                    </a:moveTo>
                    <a:lnTo>
                      <a:pt x="92" y="44"/>
                    </a:lnTo>
                    <a:lnTo>
                      <a:pt x="93" y="44"/>
                    </a:lnTo>
                    <a:lnTo>
                      <a:pt x="93" y="46"/>
                    </a:lnTo>
                    <a:lnTo>
                      <a:pt x="93" y="46"/>
                    </a:lnTo>
                    <a:lnTo>
                      <a:pt x="95" y="44"/>
                    </a:lnTo>
                    <a:lnTo>
                      <a:pt x="93" y="43"/>
                    </a:lnTo>
                    <a:lnTo>
                      <a:pt x="92" y="42"/>
                    </a:lnTo>
                    <a:lnTo>
                      <a:pt x="90" y="42"/>
                    </a:lnTo>
                    <a:lnTo>
                      <a:pt x="89" y="42"/>
                    </a:lnTo>
                    <a:lnTo>
                      <a:pt x="90" y="42"/>
                    </a:lnTo>
                    <a:lnTo>
                      <a:pt x="92" y="44"/>
                    </a:lnTo>
                    <a:close/>
                    <a:moveTo>
                      <a:pt x="11" y="149"/>
                    </a:moveTo>
                    <a:lnTo>
                      <a:pt x="10" y="152"/>
                    </a:lnTo>
                    <a:lnTo>
                      <a:pt x="7" y="154"/>
                    </a:lnTo>
                    <a:lnTo>
                      <a:pt x="6" y="154"/>
                    </a:lnTo>
                    <a:lnTo>
                      <a:pt x="6" y="154"/>
                    </a:lnTo>
                    <a:lnTo>
                      <a:pt x="4" y="154"/>
                    </a:lnTo>
                    <a:lnTo>
                      <a:pt x="4" y="154"/>
                    </a:lnTo>
                    <a:lnTo>
                      <a:pt x="4" y="155"/>
                    </a:lnTo>
                    <a:lnTo>
                      <a:pt x="7" y="155"/>
                    </a:lnTo>
                    <a:lnTo>
                      <a:pt x="4" y="158"/>
                    </a:lnTo>
                    <a:lnTo>
                      <a:pt x="1" y="158"/>
                    </a:lnTo>
                    <a:lnTo>
                      <a:pt x="0" y="159"/>
                    </a:lnTo>
                    <a:lnTo>
                      <a:pt x="1" y="161"/>
                    </a:lnTo>
                    <a:lnTo>
                      <a:pt x="3" y="164"/>
                    </a:lnTo>
                    <a:lnTo>
                      <a:pt x="6" y="165"/>
                    </a:lnTo>
                    <a:lnTo>
                      <a:pt x="8" y="167"/>
                    </a:lnTo>
                    <a:lnTo>
                      <a:pt x="11" y="167"/>
                    </a:lnTo>
                    <a:lnTo>
                      <a:pt x="11" y="167"/>
                    </a:lnTo>
                    <a:lnTo>
                      <a:pt x="13" y="167"/>
                    </a:lnTo>
                    <a:lnTo>
                      <a:pt x="13" y="167"/>
                    </a:lnTo>
                    <a:lnTo>
                      <a:pt x="13" y="167"/>
                    </a:lnTo>
                    <a:lnTo>
                      <a:pt x="13" y="167"/>
                    </a:lnTo>
                    <a:lnTo>
                      <a:pt x="14" y="167"/>
                    </a:lnTo>
                    <a:lnTo>
                      <a:pt x="14" y="167"/>
                    </a:lnTo>
                    <a:lnTo>
                      <a:pt x="16" y="165"/>
                    </a:lnTo>
                    <a:lnTo>
                      <a:pt x="17" y="164"/>
                    </a:lnTo>
                    <a:lnTo>
                      <a:pt x="17" y="162"/>
                    </a:lnTo>
                    <a:lnTo>
                      <a:pt x="18" y="161"/>
                    </a:lnTo>
                    <a:lnTo>
                      <a:pt x="20" y="161"/>
                    </a:lnTo>
                    <a:lnTo>
                      <a:pt x="21" y="161"/>
                    </a:lnTo>
                    <a:lnTo>
                      <a:pt x="23" y="162"/>
                    </a:lnTo>
                    <a:lnTo>
                      <a:pt x="23" y="164"/>
                    </a:lnTo>
                    <a:lnTo>
                      <a:pt x="24" y="165"/>
                    </a:lnTo>
                    <a:lnTo>
                      <a:pt x="24" y="165"/>
                    </a:lnTo>
                    <a:lnTo>
                      <a:pt x="26" y="165"/>
                    </a:lnTo>
                    <a:lnTo>
                      <a:pt x="27" y="167"/>
                    </a:lnTo>
                    <a:lnTo>
                      <a:pt x="27" y="167"/>
                    </a:lnTo>
                    <a:lnTo>
                      <a:pt x="27" y="168"/>
                    </a:lnTo>
                    <a:lnTo>
                      <a:pt x="27" y="168"/>
                    </a:lnTo>
                    <a:lnTo>
                      <a:pt x="27" y="168"/>
                    </a:lnTo>
                    <a:lnTo>
                      <a:pt x="28" y="168"/>
                    </a:lnTo>
                    <a:lnTo>
                      <a:pt x="30" y="168"/>
                    </a:lnTo>
                    <a:lnTo>
                      <a:pt x="30" y="168"/>
                    </a:lnTo>
                    <a:lnTo>
                      <a:pt x="30" y="168"/>
                    </a:lnTo>
                    <a:lnTo>
                      <a:pt x="30" y="168"/>
                    </a:lnTo>
                    <a:lnTo>
                      <a:pt x="30" y="168"/>
                    </a:lnTo>
                    <a:lnTo>
                      <a:pt x="30" y="168"/>
                    </a:lnTo>
                    <a:lnTo>
                      <a:pt x="31" y="168"/>
                    </a:lnTo>
                    <a:lnTo>
                      <a:pt x="31" y="168"/>
                    </a:lnTo>
                    <a:lnTo>
                      <a:pt x="33" y="168"/>
                    </a:lnTo>
                    <a:lnTo>
                      <a:pt x="33" y="168"/>
                    </a:lnTo>
                    <a:lnTo>
                      <a:pt x="34" y="168"/>
                    </a:lnTo>
                    <a:lnTo>
                      <a:pt x="34" y="168"/>
                    </a:lnTo>
                    <a:lnTo>
                      <a:pt x="34" y="168"/>
                    </a:lnTo>
                    <a:lnTo>
                      <a:pt x="37" y="168"/>
                    </a:lnTo>
                    <a:lnTo>
                      <a:pt x="39" y="168"/>
                    </a:lnTo>
                    <a:lnTo>
                      <a:pt x="39" y="167"/>
                    </a:lnTo>
                    <a:lnTo>
                      <a:pt x="40" y="165"/>
                    </a:lnTo>
                    <a:lnTo>
                      <a:pt x="41" y="164"/>
                    </a:lnTo>
                    <a:lnTo>
                      <a:pt x="43" y="164"/>
                    </a:lnTo>
                    <a:lnTo>
                      <a:pt x="44" y="164"/>
                    </a:lnTo>
                    <a:lnTo>
                      <a:pt x="44" y="161"/>
                    </a:lnTo>
                    <a:lnTo>
                      <a:pt x="43" y="161"/>
                    </a:lnTo>
                    <a:lnTo>
                      <a:pt x="43" y="159"/>
                    </a:lnTo>
                    <a:lnTo>
                      <a:pt x="43" y="156"/>
                    </a:lnTo>
                    <a:lnTo>
                      <a:pt x="44" y="158"/>
                    </a:lnTo>
                    <a:lnTo>
                      <a:pt x="44" y="158"/>
                    </a:lnTo>
                    <a:lnTo>
                      <a:pt x="46" y="159"/>
                    </a:lnTo>
                    <a:lnTo>
                      <a:pt x="46" y="159"/>
                    </a:lnTo>
                    <a:lnTo>
                      <a:pt x="46" y="156"/>
                    </a:lnTo>
                    <a:lnTo>
                      <a:pt x="44" y="155"/>
                    </a:lnTo>
                    <a:lnTo>
                      <a:pt x="41" y="155"/>
                    </a:lnTo>
                    <a:lnTo>
                      <a:pt x="39" y="155"/>
                    </a:lnTo>
                    <a:lnTo>
                      <a:pt x="40" y="152"/>
                    </a:lnTo>
                    <a:lnTo>
                      <a:pt x="41" y="152"/>
                    </a:lnTo>
                    <a:lnTo>
                      <a:pt x="41" y="151"/>
                    </a:lnTo>
                    <a:lnTo>
                      <a:pt x="37" y="146"/>
                    </a:lnTo>
                    <a:lnTo>
                      <a:pt x="37" y="145"/>
                    </a:lnTo>
                    <a:lnTo>
                      <a:pt x="36" y="144"/>
                    </a:lnTo>
                    <a:lnTo>
                      <a:pt x="33" y="142"/>
                    </a:lnTo>
                    <a:lnTo>
                      <a:pt x="30" y="142"/>
                    </a:lnTo>
                    <a:lnTo>
                      <a:pt x="27" y="142"/>
                    </a:lnTo>
                    <a:lnTo>
                      <a:pt x="26" y="142"/>
                    </a:lnTo>
                    <a:lnTo>
                      <a:pt x="23" y="142"/>
                    </a:lnTo>
                    <a:lnTo>
                      <a:pt x="23" y="142"/>
                    </a:lnTo>
                    <a:lnTo>
                      <a:pt x="21" y="142"/>
                    </a:lnTo>
                    <a:lnTo>
                      <a:pt x="21" y="142"/>
                    </a:lnTo>
                    <a:lnTo>
                      <a:pt x="20" y="144"/>
                    </a:lnTo>
                    <a:lnTo>
                      <a:pt x="20" y="144"/>
                    </a:lnTo>
                    <a:lnTo>
                      <a:pt x="20" y="145"/>
                    </a:lnTo>
                    <a:lnTo>
                      <a:pt x="18" y="145"/>
                    </a:lnTo>
                    <a:lnTo>
                      <a:pt x="18" y="145"/>
                    </a:lnTo>
                    <a:lnTo>
                      <a:pt x="17" y="145"/>
                    </a:lnTo>
                    <a:lnTo>
                      <a:pt x="16" y="145"/>
                    </a:lnTo>
                    <a:lnTo>
                      <a:pt x="13" y="146"/>
                    </a:lnTo>
                    <a:lnTo>
                      <a:pt x="11" y="149"/>
                    </a:lnTo>
                    <a:close/>
                    <a:moveTo>
                      <a:pt x="28" y="109"/>
                    </a:moveTo>
                    <a:lnTo>
                      <a:pt x="28" y="110"/>
                    </a:lnTo>
                    <a:lnTo>
                      <a:pt x="27" y="110"/>
                    </a:lnTo>
                    <a:lnTo>
                      <a:pt x="26" y="110"/>
                    </a:lnTo>
                    <a:lnTo>
                      <a:pt x="26" y="112"/>
                    </a:lnTo>
                    <a:lnTo>
                      <a:pt x="26" y="110"/>
                    </a:lnTo>
                    <a:lnTo>
                      <a:pt x="27" y="110"/>
                    </a:lnTo>
                    <a:lnTo>
                      <a:pt x="27" y="109"/>
                    </a:lnTo>
                    <a:lnTo>
                      <a:pt x="28" y="109"/>
                    </a:lnTo>
                    <a:close/>
                    <a:moveTo>
                      <a:pt x="41" y="93"/>
                    </a:moveTo>
                    <a:lnTo>
                      <a:pt x="43" y="93"/>
                    </a:lnTo>
                    <a:lnTo>
                      <a:pt x="43" y="95"/>
                    </a:lnTo>
                    <a:lnTo>
                      <a:pt x="44" y="98"/>
                    </a:lnTo>
                    <a:lnTo>
                      <a:pt x="44" y="100"/>
                    </a:lnTo>
                    <a:lnTo>
                      <a:pt x="43" y="102"/>
                    </a:lnTo>
                    <a:lnTo>
                      <a:pt x="40" y="105"/>
                    </a:lnTo>
                    <a:lnTo>
                      <a:pt x="40" y="105"/>
                    </a:lnTo>
                    <a:lnTo>
                      <a:pt x="41" y="105"/>
                    </a:lnTo>
                    <a:lnTo>
                      <a:pt x="41" y="105"/>
                    </a:lnTo>
                    <a:lnTo>
                      <a:pt x="40" y="106"/>
                    </a:lnTo>
                    <a:lnTo>
                      <a:pt x="36" y="108"/>
                    </a:lnTo>
                    <a:lnTo>
                      <a:pt x="34" y="109"/>
                    </a:lnTo>
                    <a:lnTo>
                      <a:pt x="37" y="109"/>
                    </a:lnTo>
                    <a:lnTo>
                      <a:pt x="40" y="112"/>
                    </a:lnTo>
                    <a:lnTo>
                      <a:pt x="41" y="112"/>
                    </a:lnTo>
                    <a:lnTo>
                      <a:pt x="44" y="112"/>
                    </a:lnTo>
                    <a:lnTo>
                      <a:pt x="47" y="110"/>
                    </a:lnTo>
                    <a:lnTo>
                      <a:pt x="49" y="109"/>
                    </a:lnTo>
                    <a:lnTo>
                      <a:pt x="51" y="108"/>
                    </a:lnTo>
                    <a:lnTo>
                      <a:pt x="49" y="112"/>
                    </a:lnTo>
                    <a:lnTo>
                      <a:pt x="47" y="115"/>
                    </a:lnTo>
                    <a:lnTo>
                      <a:pt x="46" y="118"/>
                    </a:lnTo>
                    <a:lnTo>
                      <a:pt x="44" y="121"/>
                    </a:lnTo>
                    <a:lnTo>
                      <a:pt x="44" y="125"/>
                    </a:lnTo>
                    <a:lnTo>
                      <a:pt x="44" y="128"/>
                    </a:lnTo>
                    <a:lnTo>
                      <a:pt x="46" y="129"/>
                    </a:lnTo>
                    <a:lnTo>
                      <a:pt x="44" y="131"/>
                    </a:lnTo>
                    <a:lnTo>
                      <a:pt x="43" y="132"/>
                    </a:lnTo>
                    <a:lnTo>
                      <a:pt x="41" y="135"/>
                    </a:lnTo>
                    <a:lnTo>
                      <a:pt x="41" y="138"/>
                    </a:lnTo>
                    <a:lnTo>
                      <a:pt x="41" y="139"/>
                    </a:lnTo>
                    <a:lnTo>
                      <a:pt x="43" y="139"/>
                    </a:lnTo>
                    <a:lnTo>
                      <a:pt x="44" y="139"/>
                    </a:lnTo>
                    <a:lnTo>
                      <a:pt x="44" y="138"/>
                    </a:lnTo>
                    <a:lnTo>
                      <a:pt x="46" y="136"/>
                    </a:lnTo>
                    <a:lnTo>
                      <a:pt x="47" y="133"/>
                    </a:lnTo>
                    <a:lnTo>
                      <a:pt x="47" y="131"/>
                    </a:lnTo>
                    <a:lnTo>
                      <a:pt x="47" y="129"/>
                    </a:lnTo>
                    <a:lnTo>
                      <a:pt x="47" y="126"/>
                    </a:lnTo>
                    <a:lnTo>
                      <a:pt x="47" y="125"/>
                    </a:lnTo>
                    <a:lnTo>
                      <a:pt x="49" y="123"/>
                    </a:lnTo>
                    <a:lnTo>
                      <a:pt x="50" y="122"/>
                    </a:lnTo>
                    <a:lnTo>
                      <a:pt x="53" y="121"/>
                    </a:lnTo>
                    <a:lnTo>
                      <a:pt x="54" y="119"/>
                    </a:lnTo>
                    <a:lnTo>
                      <a:pt x="53" y="121"/>
                    </a:lnTo>
                    <a:lnTo>
                      <a:pt x="51" y="122"/>
                    </a:lnTo>
                    <a:lnTo>
                      <a:pt x="50" y="125"/>
                    </a:lnTo>
                    <a:lnTo>
                      <a:pt x="50" y="126"/>
                    </a:lnTo>
                    <a:lnTo>
                      <a:pt x="56" y="122"/>
                    </a:lnTo>
                    <a:lnTo>
                      <a:pt x="59" y="121"/>
                    </a:lnTo>
                    <a:lnTo>
                      <a:pt x="57" y="122"/>
                    </a:lnTo>
                    <a:lnTo>
                      <a:pt x="59" y="123"/>
                    </a:lnTo>
                    <a:lnTo>
                      <a:pt x="60" y="125"/>
                    </a:lnTo>
                    <a:lnTo>
                      <a:pt x="62" y="125"/>
                    </a:lnTo>
                    <a:lnTo>
                      <a:pt x="60" y="125"/>
                    </a:lnTo>
                    <a:lnTo>
                      <a:pt x="59" y="126"/>
                    </a:lnTo>
                    <a:lnTo>
                      <a:pt x="57" y="126"/>
                    </a:lnTo>
                    <a:lnTo>
                      <a:pt x="57" y="128"/>
                    </a:lnTo>
                    <a:lnTo>
                      <a:pt x="57" y="131"/>
                    </a:lnTo>
                    <a:lnTo>
                      <a:pt x="57" y="132"/>
                    </a:lnTo>
                    <a:lnTo>
                      <a:pt x="59" y="132"/>
                    </a:lnTo>
                    <a:lnTo>
                      <a:pt x="60" y="133"/>
                    </a:lnTo>
                    <a:lnTo>
                      <a:pt x="60" y="136"/>
                    </a:lnTo>
                    <a:lnTo>
                      <a:pt x="57" y="141"/>
                    </a:lnTo>
                    <a:lnTo>
                      <a:pt x="53" y="146"/>
                    </a:lnTo>
                    <a:lnTo>
                      <a:pt x="51" y="148"/>
                    </a:lnTo>
                    <a:lnTo>
                      <a:pt x="53" y="149"/>
                    </a:lnTo>
                    <a:lnTo>
                      <a:pt x="54" y="152"/>
                    </a:lnTo>
                    <a:lnTo>
                      <a:pt x="56" y="154"/>
                    </a:lnTo>
                    <a:lnTo>
                      <a:pt x="57" y="151"/>
                    </a:lnTo>
                    <a:lnTo>
                      <a:pt x="59" y="151"/>
                    </a:lnTo>
                    <a:lnTo>
                      <a:pt x="62" y="152"/>
                    </a:lnTo>
                    <a:lnTo>
                      <a:pt x="64" y="152"/>
                    </a:lnTo>
                    <a:lnTo>
                      <a:pt x="64" y="152"/>
                    </a:lnTo>
                    <a:lnTo>
                      <a:pt x="67" y="151"/>
                    </a:lnTo>
                    <a:lnTo>
                      <a:pt x="69" y="151"/>
                    </a:lnTo>
                    <a:lnTo>
                      <a:pt x="69" y="151"/>
                    </a:lnTo>
                    <a:lnTo>
                      <a:pt x="70" y="152"/>
                    </a:lnTo>
                    <a:lnTo>
                      <a:pt x="70" y="152"/>
                    </a:lnTo>
                    <a:lnTo>
                      <a:pt x="73" y="152"/>
                    </a:lnTo>
                    <a:lnTo>
                      <a:pt x="74" y="151"/>
                    </a:lnTo>
                    <a:lnTo>
                      <a:pt x="79" y="149"/>
                    </a:lnTo>
                    <a:lnTo>
                      <a:pt x="80" y="148"/>
                    </a:lnTo>
                    <a:lnTo>
                      <a:pt x="83" y="148"/>
                    </a:lnTo>
                    <a:lnTo>
                      <a:pt x="86" y="148"/>
                    </a:lnTo>
                    <a:lnTo>
                      <a:pt x="89" y="148"/>
                    </a:lnTo>
                    <a:lnTo>
                      <a:pt x="83" y="151"/>
                    </a:lnTo>
                    <a:lnTo>
                      <a:pt x="80" y="155"/>
                    </a:lnTo>
                    <a:lnTo>
                      <a:pt x="80" y="161"/>
                    </a:lnTo>
                    <a:lnTo>
                      <a:pt x="86" y="165"/>
                    </a:lnTo>
                    <a:lnTo>
                      <a:pt x="87" y="167"/>
                    </a:lnTo>
                    <a:lnTo>
                      <a:pt x="90" y="167"/>
                    </a:lnTo>
                    <a:lnTo>
                      <a:pt x="92" y="167"/>
                    </a:lnTo>
                    <a:lnTo>
                      <a:pt x="92" y="168"/>
                    </a:lnTo>
                    <a:lnTo>
                      <a:pt x="92" y="171"/>
                    </a:lnTo>
                    <a:lnTo>
                      <a:pt x="90" y="172"/>
                    </a:lnTo>
                    <a:lnTo>
                      <a:pt x="89" y="175"/>
                    </a:lnTo>
                    <a:lnTo>
                      <a:pt x="92" y="177"/>
                    </a:lnTo>
                    <a:lnTo>
                      <a:pt x="89" y="179"/>
                    </a:lnTo>
                    <a:lnTo>
                      <a:pt x="89" y="182"/>
                    </a:lnTo>
                    <a:lnTo>
                      <a:pt x="90" y="185"/>
                    </a:lnTo>
                    <a:lnTo>
                      <a:pt x="95" y="187"/>
                    </a:lnTo>
                    <a:lnTo>
                      <a:pt x="92" y="187"/>
                    </a:lnTo>
                    <a:lnTo>
                      <a:pt x="92" y="187"/>
                    </a:lnTo>
                    <a:lnTo>
                      <a:pt x="90" y="185"/>
                    </a:lnTo>
                    <a:lnTo>
                      <a:pt x="89" y="184"/>
                    </a:lnTo>
                    <a:lnTo>
                      <a:pt x="87" y="184"/>
                    </a:lnTo>
                    <a:lnTo>
                      <a:pt x="87" y="185"/>
                    </a:lnTo>
                    <a:lnTo>
                      <a:pt x="87" y="187"/>
                    </a:lnTo>
                    <a:lnTo>
                      <a:pt x="87" y="188"/>
                    </a:lnTo>
                    <a:lnTo>
                      <a:pt x="84" y="187"/>
                    </a:lnTo>
                    <a:lnTo>
                      <a:pt x="79" y="187"/>
                    </a:lnTo>
                    <a:lnTo>
                      <a:pt x="74" y="187"/>
                    </a:lnTo>
                    <a:lnTo>
                      <a:pt x="70" y="188"/>
                    </a:lnTo>
                    <a:lnTo>
                      <a:pt x="67" y="190"/>
                    </a:lnTo>
                    <a:lnTo>
                      <a:pt x="64" y="192"/>
                    </a:lnTo>
                    <a:lnTo>
                      <a:pt x="62" y="197"/>
                    </a:lnTo>
                    <a:lnTo>
                      <a:pt x="60" y="198"/>
                    </a:lnTo>
                    <a:lnTo>
                      <a:pt x="63" y="198"/>
                    </a:lnTo>
                    <a:lnTo>
                      <a:pt x="67" y="197"/>
                    </a:lnTo>
                    <a:lnTo>
                      <a:pt x="70" y="197"/>
                    </a:lnTo>
                    <a:lnTo>
                      <a:pt x="70" y="198"/>
                    </a:lnTo>
                    <a:lnTo>
                      <a:pt x="70" y="201"/>
                    </a:lnTo>
                    <a:lnTo>
                      <a:pt x="72" y="204"/>
                    </a:lnTo>
                    <a:lnTo>
                      <a:pt x="73" y="205"/>
                    </a:lnTo>
                    <a:lnTo>
                      <a:pt x="69" y="211"/>
                    </a:lnTo>
                    <a:lnTo>
                      <a:pt x="66" y="213"/>
                    </a:lnTo>
                    <a:lnTo>
                      <a:pt x="63" y="215"/>
                    </a:lnTo>
                    <a:lnTo>
                      <a:pt x="56" y="218"/>
                    </a:lnTo>
                    <a:lnTo>
                      <a:pt x="53" y="220"/>
                    </a:lnTo>
                    <a:lnTo>
                      <a:pt x="50" y="221"/>
                    </a:lnTo>
                    <a:lnTo>
                      <a:pt x="51" y="223"/>
                    </a:lnTo>
                    <a:lnTo>
                      <a:pt x="51" y="224"/>
                    </a:lnTo>
                    <a:lnTo>
                      <a:pt x="51" y="225"/>
                    </a:lnTo>
                    <a:lnTo>
                      <a:pt x="53" y="227"/>
                    </a:lnTo>
                    <a:lnTo>
                      <a:pt x="54" y="228"/>
                    </a:lnTo>
                    <a:lnTo>
                      <a:pt x="56" y="228"/>
                    </a:lnTo>
                    <a:lnTo>
                      <a:pt x="57" y="227"/>
                    </a:lnTo>
                    <a:lnTo>
                      <a:pt x="59" y="227"/>
                    </a:lnTo>
                    <a:lnTo>
                      <a:pt x="60" y="227"/>
                    </a:lnTo>
                    <a:lnTo>
                      <a:pt x="62" y="225"/>
                    </a:lnTo>
                    <a:lnTo>
                      <a:pt x="63" y="225"/>
                    </a:lnTo>
                    <a:lnTo>
                      <a:pt x="64" y="225"/>
                    </a:lnTo>
                    <a:lnTo>
                      <a:pt x="66" y="225"/>
                    </a:lnTo>
                    <a:lnTo>
                      <a:pt x="69" y="227"/>
                    </a:lnTo>
                    <a:lnTo>
                      <a:pt x="70" y="227"/>
                    </a:lnTo>
                    <a:lnTo>
                      <a:pt x="70" y="228"/>
                    </a:lnTo>
                    <a:lnTo>
                      <a:pt x="69" y="230"/>
                    </a:lnTo>
                    <a:lnTo>
                      <a:pt x="70" y="230"/>
                    </a:lnTo>
                    <a:lnTo>
                      <a:pt x="72" y="230"/>
                    </a:lnTo>
                    <a:lnTo>
                      <a:pt x="74" y="230"/>
                    </a:lnTo>
                    <a:lnTo>
                      <a:pt x="76" y="230"/>
                    </a:lnTo>
                    <a:lnTo>
                      <a:pt x="77" y="231"/>
                    </a:lnTo>
                    <a:lnTo>
                      <a:pt x="80" y="233"/>
                    </a:lnTo>
                    <a:lnTo>
                      <a:pt x="82" y="234"/>
                    </a:lnTo>
                    <a:lnTo>
                      <a:pt x="84" y="234"/>
                    </a:lnTo>
                    <a:lnTo>
                      <a:pt x="86" y="234"/>
                    </a:lnTo>
                    <a:lnTo>
                      <a:pt x="89" y="231"/>
                    </a:lnTo>
                    <a:lnTo>
                      <a:pt x="100" y="225"/>
                    </a:lnTo>
                    <a:lnTo>
                      <a:pt x="93" y="234"/>
                    </a:lnTo>
                    <a:lnTo>
                      <a:pt x="89" y="237"/>
                    </a:lnTo>
                    <a:lnTo>
                      <a:pt x="86" y="240"/>
                    </a:lnTo>
                    <a:lnTo>
                      <a:pt x="83" y="240"/>
                    </a:lnTo>
                    <a:lnTo>
                      <a:pt x="77" y="238"/>
                    </a:lnTo>
                    <a:lnTo>
                      <a:pt x="74" y="238"/>
                    </a:lnTo>
                    <a:lnTo>
                      <a:pt x="72" y="238"/>
                    </a:lnTo>
                    <a:lnTo>
                      <a:pt x="70" y="240"/>
                    </a:lnTo>
                    <a:lnTo>
                      <a:pt x="69" y="241"/>
                    </a:lnTo>
                    <a:lnTo>
                      <a:pt x="67" y="244"/>
                    </a:lnTo>
                    <a:lnTo>
                      <a:pt x="66" y="244"/>
                    </a:lnTo>
                    <a:lnTo>
                      <a:pt x="64" y="246"/>
                    </a:lnTo>
                    <a:lnTo>
                      <a:pt x="63" y="246"/>
                    </a:lnTo>
                    <a:lnTo>
                      <a:pt x="63" y="247"/>
                    </a:lnTo>
                    <a:lnTo>
                      <a:pt x="62" y="250"/>
                    </a:lnTo>
                    <a:lnTo>
                      <a:pt x="62" y="251"/>
                    </a:lnTo>
                    <a:lnTo>
                      <a:pt x="60" y="253"/>
                    </a:lnTo>
                    <a:lnTo>
                      <a:pt x="56" y="257"/>
                    </a:lnTo>
                    <a:lnTo>
                      <a:pt x="50" y="263"/>
                    </a:lnTo>
                    <a:lnTo>
                      <a:pt x="49" y="264"/>
                    </a:lnTo>
                    <a:lnTo>
                      <a:pt x="44" y="266"/>
                    </a:lnTo>
                    <a:lnTo>
                      <a:pt x="43" y="267"/>
                    </a:lnTo>
                    <a:lnTo>
                      <a:pt x="44" y="270"/>
                    </a:lnTo>
                    <a:lnTo>
                      <a:pt x="46" y="269"/>
                    </a:lnTo>
                    <a:lnTo>
                      <a:pt x="49" y="269"/>
                    </a:lnTo>
                    <a:lnTo>
                      <a:pt x="50" y="270"/>
                    </a:lnTo>
                    <a:lnTo>
                      <a:pt x="53" y="270"/>
                    </a:lnTo>
                    <a:lnTo>
                      <a:pt x="53" y="269"/>
                    </a:lnTo>
                    <a:lnTo>
                      <a:pt x="56" y="266"/>
                    </a:lnTo>
                    <a:lnTo>
                      <a:pt x="57" y="264"/>
                    </a:lnTo>
                    <a:lnTo>
                      <a:pt x="59" y="264"/>
                    </a:lnTo>
                    <a:lnTo>
                      <a:pt x="62" y="263"/>
                    </a:lnTo>
                    <a:lnTo>
                      <a:pt x="66" y="261"/>
                    </a:lnTo>
                    <a:lnTo>
                      <a:pt x="67" y="261"/>
                    </a:lnTo>
                    <a:lnTo>
                      <a:pt x="69" y="261"/>
                    </a:lnTo>
                    <a:lnTo>
                      <a:pt x="72" y="263"/>
                    </a:lnTo>
                    <a:lnTo>
                      <a:pt x="74" y="264"/>
                    </a:lnTo>
                    <a:lnTo>
                      <a:pt x="76" y="264"/>
                    </a:lnTo>
                    <a:lnTo>
                      <a:pt x="79" y="264"/>
                    </a:lnTo>
                    <a:lnTo>
                      <a:pt x="80" y="261"/>
                    </a:lnTo>
                    <a:lnTo>
                      <a:pt x="82" y="257"/>
                    </a:lnTo>
                    <a:lnTo>
                      <a:pt x="83" y="254"/>
                    </a:lnTo>
                    <a:lnTo>
                      <a:pt x="86" y="253"/>
                    </a:lnTo>
                    <a:lnTo>
                      <a:pt x="89" y="253"/>
                    </a:lnTo>
                    <a:lnTo>
                      <a:pt x="92" y="253"/>
                    </a:lnTo>
                    <a:lnTo>
                      <a:pt x="95" y="253"/>
                    </a:lnTo>
                    <a:lnTo>
                      <a:pt x="96" y="254"/>
                    </a:lnTo>
                    <a:lnTo>
                      <a:pt x="97" y="254"/>
                    </a:lnTo>
                    <a:lnTo>
                      <a:pt x="99" y="256"/>
                    </a:lnTo>
                    <a:lnTo>
                      <a:pt x="100" y="256"/>
                    </a:lnTo>
                    <a:lnTo>
                      <a:pt x="102" y="254"/>
                    </a:lnTo>
                    <a:lnTo>
                      <a:pt x="102" y="254"/>
                    </a:lnTo>
                    <a:lnTo>
                      <a:pt x="106" y="256"/>
                    </a:lnTo>
                    <a:lnTo>
                      <a:pt x="107" y="254"/>
                    </a:lnTo>
                    <a:lnTo>
                      <a:pt x="107" y="253"/>
                    </a:lnTo>
                    <a:lnTo>
                      <a:pt x="110" y="253"/>
                    </a:lnTo>
                    <a:lnTo>
                      <a:pt x="113" y="251"/>
                    </a:lnTo>
                    <a:lnTo>
                      <a:pt x="116" y="251"/>
                    </a:lnTo>
                    <a:lnTo>
                      <a:pt x="119" y="250"/>
                    </a:lnTo>
                    <a:lnTo>
                      <a:pt x="119" y="248"/>
                    </a:lnTo>
                    <a:lnTo>
                      <a:pt x="118" y="248"/>
                    </a:lnTo>
                    <a:lnTo>
                      <a:pt x="118" y="247"/>
                    </a:lnTo>
                    <a:lnTo>
                      <a:pt x="122" y="250"/>
                    </a:lnTo>
                    <a:lnTo>
                      <a:pt x="128" y="250"/>
                    </a:lnTo>
                    <a:lnTo>
                      <a:pt x="136" y="250"/>
                    </a:lnTo>
                    <a:lnTo>
                      <a:pt x="139" y="250"/>
                    </a:lnTo>
                    <a:lnTo>
                      <a:pt x="145" y="251"/>
                    </a:lnTo>
                    <a:lnTo>
                      <a:pt x="148" y="251"/>
                    </a:lnTo>
                    <a:lnTo>
                      <a:pt x="151" y="250"/>
                    </a:lnTo>
                    <a:lnTo>
                      <a:pt x="153" y="247"/>
                    </a:lnTo>
                    <a:lnTo>
                      <a:pt x="156" y="247"/>
                    </a:lnTo>
                    <a:lnTo>
                      <a:pt x="156" y="247"/>
                    </a:lnTo>
                    <a:lnTo>
                      <a:pt x="158" y="247"/>
                    </a:lnTo>
                    <a:lnTo>
                      <a:pt x="159" y="247"/>
                    </a:lnTo>
                    <a:lnTo>
                      <a:pt x="159" y="247"/>
                    </a:lnTo>
                    <a:lnTo>
                      <a:pt x="159" y="246"/>
                    </a:lnTo>
                    <a:lnTo>
                      <a:pt x="159" y="246"/>
                    </a:lnTo>
                    <a:lnTo>
                      <a:pt x="161" y="244"/>
                    </a:lnTo>
                    <a:lnTo>
                      <a:pt x="163" y="241"/>
                    </a:lnTo>
                    <a:lnTo>
                      <a:pt x="165" y="241"/>
                    </a:lnTo>
                    <a:lnTo>
                      <a:pt x="166" y="240"/>
                    </a:lnTo>
                    <a:lnTo>
                      <a:pt x="168" y="237"/>
                    </a:lnTo>
                    <a:lnTo>
                      <a:pt x="168" y="236"/>
                    </a:lnTo>
                    <a:lnTo>
                      <a:pt x="165" y="234"/>
                    </a:lnTo>
                    <a:lnTo>
                      <a:pt x="163" y="234"/>
                    </a:lnTo>
                    <a:lnTo>
                      <a:pt x="161" y="236"/>
                    </a:lnTo>
                    <a:lnTo>
                      <a:pt x="158" y="236"/>
                    </a:lnTo>
                    <a:lnTo>
                      <a:pt x="156" y="234"/>
                    </a:lnTo>
                    <a:lnTo>
                      <a:pt x="153" y="233"/>
                    </a:lnTo>
                    <a:lnTo>
                      <a:pt x="152" y="233"/>
                    </a:lnTo>
                    <a:lnTo>
                      <a:pt x="151" y="233"/>
                    </a:lnTo>
                    <a:lnTo>
                      <a:pt x="152" y="231"/>
                    </a:lnTo>
                    <a:lnTo>
                      <a:pt x="155" y="231"/>
                    </a:lnTo>
                    <a:lnTo>
                      <a:pt x="156" y="230"/>
                    </a:lnTo>
                    <a:lnTo>
                      <a:pt x="158" y="228"/>
                    </a:lnTo>
                    <a:lnTo>
                      <a:pt x="159" y="227"/>
                    </a:lnTo>
                    <a:lnTo>
                      <a:pt x="158" y="227"/>
                    </a:lnTo>
                    <a:lnTo>
                      <a:pt x="156" y="225"/>
                    </a:lnTo>
                    <a:lnTo>
                      <a:pt x="158" y="224"/>
                    </a:lnTo>
                    <a:lnTo>
                      <a:pt x="159" y="224"/>
                    </a:lnTo>
                    <a:lnTo>
                      <a:pt x="161" y="224"/>
                    </a:lnTo>
                    <a:lnTo>
                      <a:pt x="161" y="224"/>
                    </a:lnTo>
                    <a:lnTo>
                      <a:pt x="162" y="224"/>
                    </a:lnTo>
                    <a:lnTo>
                      <a:pt x="163" y="224"/>
                    </a:lnTo>
                    <a:lnTo>
                      <a:pt x="163" y="223"/>
                    </a:lnTo>
                    <a:lnTo>
                      <a:pt x="165" y="223"/>
                    </a:lnTo>
                    <a:lnTo>
                      <a:pt x="165" y="221"/>
                    </a:lnTo>
                    <a:lnTo>
                      <a:pt x="163" y="221"/>
                    </a:lnTo>
                    <a:lnTo>
                      <a:pt x="163" y="220"/>
                    </a:lnTo>
                    <a:lnTo>
                      <a:pt x="165" y="220"/>
                    </a:lnTo>
                    <a:lnTo>
                      <a:pt x="165" y="220"/>
                    </a:lnTo>
                    <a:lnTo>
                      <a:pt x="165" y="220"/>
                    </a:lnTo>
                    <a:lnTo>
                      <a:pt x="165" y="220"/>
                    </a:lnTo>
                    <a:lnTo>
                      <a:pt x="166" y="218"/>
                    </a:lnTo>
                    <a:lnTo>
                      <a:pt x="168" y="218"/>
                    </a:lnTo>
                    <a:lnTo>
                      <a:pt x="169" y="217"/>
                    </a:lnTo>
                    <a:lnTo>
                      <a:pt x="171" y="215"/>
                    </a:lnTo>
                    <a:lnTo>
                      <a:pt x="172" y="214"/>
                    </a:lnTo>
                    <a:lnTo>
                      <a:pt x="174" y="207"/>
                    </a:lnTo>
                    <a:lnTo>
                      <a:pt x="172" y="201"/>
                    </a:lnTo>
                    <a:lnTo>
                      <a:pt x="169" y="198"/>
                    </a:lnTo>
                    <a:lnTo>
                      <a:pt x="163" y="195"/>
                    </a:lnTo>
                    <a:lnTo>
                      <a:pt x="156" y="194"/>
                    </a:lnTo>
                    <a:lnTo>
                      <a:pt x="155" y="194"/>
                    </a:lnTo>
                    <a:lnTo>
                      <a:pt x="153" y="195"/>
                    </a:lnTo>
                    <a:lnTo>
                      <a:pt x="152" y="195"/>
                    </a:lnTo>
                    <a:lnTo>
                      <a:pt x="151" y="197"/>
                    </a:lnTo>
                    <a:lnTo>
                      <a:pt x="151" y="197"/>
                    </a:lnTo>
                    <a:lnTo>
                      <a:pt x="148" y="198"/>
                    </a:lnTo>
                    <a:lnTo>
                      <a:pt x="148" y="198"/>
                    </a:lnTo>
                    <a:lnTo>
                      <a:pt x="146" y="198"/>
                    </a:lnTo>
                    <a:lnTo>
                      <a:pt x="143" y="197"/>
                    </a:lnTo>
                    <a:lnTo>
                      <a:pt x="148" y="192"/>
                    </a:lnTo>
                    <a:lnTo>
                      <a:pt x="149" y="190"/>
                    </a:lnTo>
                    <a:lnTo>
                      <a:pt x="149" y="188"/>
                    </a:lnTo>
                    <a:lnTo>
                      <a:pt x="148" y="187"/>
                    </a:lnTo>
                    <a:lnTo>
                      <a:pt x="146" y="184"/>
                    </a:lnTo>
                    <a:lnTo>
                      <a:pt x="145" y="182"/>
                    </a:lnTo>
                    <a:lnTo>
                      <a:pt x="142" y="179"/>
                    </a:lnTo>
                    <a:lnTo>
                      <a:pt x="139" y="178"/>
                    </a:lnTo>
                    <a:lnTo>
                      <a:pt x="138" y="178"/>
                    </a:lnTo>
                    <a:lnTo>
                      <a:pt x="136" y="177"/>
                    </a:lnTo>
                    <a:lnTo>
                      <a:pt x="133" y="177"/>
                    </a:lnTo>
                    <a:lnTo>
                      <a:pt x="130" y="177"/>
                    </a:lnTo>
                    <a:lnTo>
                      <a:pt x="135" y="177"/>
                    </a:lnTo>
                    <a:lnTo>
                      <a:pt x="138" y="177"/>
                    </a:lnTo>
                    <a:lnTo>
                      <a:pt x="141" y="178"/>
                    </a:lnTo>
                    <a:lnTo>
                      <a:pt x="145" y="179"/>
                    </a:lnTo>
                    <a:lnTo>
                      <a:pt x="141" y="172"/>
                    </a:lnTo>
                    <a:lnTo>
                      <a:pt x="139" y="169"/>
                    </a:lnTo>
                    <a:lnTo>
                      <a:pt x="141" y="167"/>
                    </a:lnTo>
                    <a:lnTo>
                      <a:pt x="139" y="165"/>
                    </a:lnTo>
                    <a:lnTo>
                      <a:pt x="132" y="159"/>
                    </a:lnTo>
                    <a:lnTo>
                      <a:pt x="130" y="158"/>
                    </a:lnTo>
                    <a:lnTo>
                      <a:pt x="125" y="156"/>
                    </a:lnTo>
                    <a:lnTo>
                      <a:pt x="122" y="155"/>
                    </a:lnTo>
                    <a:lnTo>
                      <a:pt x="119" y="151"/>
                    </a:lnTo>
                    <a:lnTo>
                      <a:pt x="118" y="146"/>
                    </a:lnTo>
                    <a:lnTo>
                      <a:pt x="116" y="141"/>
                    </a:lnTo>
                    <a:lnTo>
                      <a:pt x="115" y="135"/>
                    </a:lnTo>
                    <a:lnTo>
                      <a:pt x="112" y="132"/>
                    </a:lnTo>
                    <a:lnTo>
                      <a:pt x="106" y="128"/>
                    </a:lnTo>
                    <a:lnTo>
                      <a:pt x="102" y="125"/>
                    </a:lnTo>
                    <a:lnTo>
                      <a:pt x="97" y="123"/>
                    </a:lnTo>
                    <a:lnTo>
                      <a:pt x="95" y="123"/>
                    </a:lnTo>
                    <a:lnTo>
                      <a:pt x="93" y="123"/>
                    </a:lnTo>
                    <a:lnTo>
                      <a:pt x="90" y="125"/>
                    </a:lnTo>
                    <a:lnTo>
                      <a:pt x="89" y="125"/>
                    </a:lnTo>
                    <a:lnTo>
                      <a:pt x="86" y="125"/>
                    </a:lnTo>
                    <a:lnTo>
                      <a:pt x="82" y="125"/>
                    </a:lnTo>
                    <a:lnTo>
                      <a:pt x="79" y="123"/>
                    </a:lnTo>
                    <a:lnTo>
                      <a:pt x="76" y="122"/>
                    </a:lnTo>
                    <a:lnTo>
                      <a:pt x="77" y="123"/>
                    </a:lnTo>
                    <a:lnTo>
                      <a:pt x="80" y="123"/>
                    </a:lnTo>
                    <a:lnTo>
                      <a:pt x="82" y="123"/>
                    </a:lnTo>
                    <a:lnTo>
                      <a:pt x="84" y="123"/>
                    </a:lnTo>
                    <a:lnTo>
                      <a:pt x="86" y="123"/>
                    </a:lnTo>
                    <a:lnTo>
                      <a:pt x="89" y="121"/>
                    </a:lnTo>
                    <a:lnTo>
                      <a:pt x="89" y="121"/>
                    </a:lnTo>
                    <a:lnTo>
                      <a:pt x="92" y="121"/>
                    </a:lnTo>
                    <a:lnTo>
                      <a:pt x="93" y="119"/>
                    </a:lnTo>
                    <a:lnTo>
                      <a:pt x="96" y="118"/>
                    </a:lnTo>
                    <a:lnTo>
                      <a:pt x="93" y="116"/>
                    </a:lnTo>
                    <a:lnTo>
                      <a:pt x="84" y="116"/>
                    </a:lnTo>
                    <a:lnTo>
                      <a:pt x="89" y="115"/>
                    </a:lnTo>
                    <a:lnTo>
                      <a:pt x="95" y="113"/>
                    </a:lnTo>
                    <a:lnTo>
                      <a:pt x="97" y="110"/>
                    </a:lnTo>
                    <a:lnTo>
                      <a:pt x="102" y="106"/>
                    </a:lnTo>
                    <a:lnTo>
                      <a:pt x="103" y="103"/>
                    </a:lnTo>
                    <a:lnTo>
                      <a:pt x="106" y="98"/>
                    </a:lnTo>
                    <a:lnTo>
                      <a:pt x="107" y="95"/>
                    </a:lnTo>
                    <a:lnTo>
                      <a:pt x="109" y="93"/>
                    </a:lnTo>
                    <a:lnTo>
                      <a:pt x="110" y="92"/>
                    </a:lnTo>
                    <a:lnTo>
                      <a:pt x="110" y="89"/>
                    </a:lnTo>
                    <a:lnTo>
                      <a:pt x="109" y="85"/>
                    </a:lnTo>
                    <a:lnTo>
                      <a:pt x="102" y="85"/>
                    </a:lnTo>
                    <a:lnTo>
                      <a:pt x="90" y="85"/>
                    </a:lnTo>
                    <a:lnTo>
                      <a:pt x="83" y="85"/>
                    </a:lnTo>
                    <a:lnTo>
                      <a:pt x="80" y="85"/>
                    </a:lnTo>
                    <a:lnTo>
                      <a:pt x="73" y="87"/>
                    </a:lnTo>
                    <a:lnTo>
                      <a:pt x="70" y="87"/>
                    </a:lnTo>
                    <a:lnTo>
                      <a:pt x="70" y="86"/>
                    </a:lnTo>
                    <a:lnTo>
                      <a:pt x="72" y="85"/>
                    </a:lnTo>
                    <a:lnTo>
                      <a:pt x="73" y="83"/>
                    </a:lnTo>
                    <a:lnTo>
                      <a:pt x="74" y="82"/>
                    </a:lnTo>
                    <a:lnTo>
                      <a:pt x="73" y="80"/>
                    </a:lnTo>
                    <a:lnTo>
                      <a:pt x="72" y="80"/>
                    </a:lnTo>
                    <a:lnTo>
                      <a:pt x="73" y="76"/>
                    </a:lnTo>
                    <a:lnTo>
                      <a:pt x="79" y="73"/>
                    </a:lnTo>
                    <a:lnTo>
                      <a:pt x="83" y="70"/>
                    </a:lnTo>
                    <a:lnTo>
                      <a:pt x="87" y="66"/>
                    </a:lnTo>
                    <a:lnTo>
                      <a:pt x="87" y="64"/>
                    </a:lnTo>
                    <a:lnTo>
                      <a:pt x="89" y="63"/>
                    </a:lnTo>
                    <a:lnTo>
                      <a:pt x="89" y="60"/>
                    </a:lnTo>
                    <a:lnTo>
                      <a:pt x="89" y="59"/>
                    </a:lnTo>
                    <a:lnTo>
                      <a:pt x="86" y="59"/>
                    </a:lnTo>
                    <a:lnTo>
                      <a:pt x="83" y="59"/>
                    </a:lnTo>
                    <a:lnTo>
                      <a:pt x="69" y="62"/>
                    </a:lnTo>
                    <a:lnTo>
                      <a:pt x="64" y="63"/>
                    </a:lnTo>
                    <a:lnTo>
                      <a:pt x="64" y="62"/>
                    </a:lnTo>
                    <a:lnTo>
                      <a:pt x="64" y="62"/>
                    </a:lnTo>
                    <a:lnTo>
                      <a:pt x="63" y="62"/>
                    </a:lnTo>
                    <a:lnTo>
                      <a:pt x="63" y="62"/>
                    </a:lnTo>
                    <a:lnTo>
                      <a:pt x="62" y="62"/>
                    </a:lnTo>
                    <a:lnTo>
                      <a:pt x="60" y="63"/>
                    </a:lnTo>
                    <a:lnTo>
                      <a:pt x="60" y="63"/>
                    </a:lnTo>
                    <a:lnTo>
                      <a:pt x="59" y="62"/>
                    </a:lnTo>
                    <a:lnTo>
                      <a:pt x="57" y="62"/>
                    </a:lnTo>
                    <a:lnTo>
                      <a:pt x="56" y="62"/>
                    </a:lnTo>
                    <a:lnTo>
                      <a:pt x="53" y="63"/>
                    </a:lnTo>
                    <a:lnTo>
                      <a:pt x="53" y="64"/>
                    </a:lnTo>
                    <a:lnTo>
                      <a:pt x="53" y="66"/>
                    </a:lnTo>
                    <a:lnTo>
                      <a:pt x="53" y="67"/>
                    </a:lnTo>
                    <a:lnTo>
                      <a:pt x="54" y="69"/>
                    </a:lnTo>
                    <a:lnTo>
                      <a:pt x="51" y="70"/>
                    </a:lnTo>
                    <a:lnTo>
                      <a:pt x="50" y="70"/>
                    </a:lnTo>
                    <a:lnTo>
                      <a:pt x="50" y="70"/>
                    </a:lnTo>
                    <a:lnTo>
                      <a:pt x="49" y="72"/>
                    </a:lnTo>
                    <a:lnTo>
                      <a:pt x="49" y="75"/>
                    </a:lnTo>
                    <a:lnTo>
                      <a:pt x="49" y="76"/>
                    </a:lnTo>
                    <a:lnTo>
                      <a:pt x="50" y="77"/>
                    </a:lnTo>
                    <a:lnTo>
                      <a:pt x="51" y="79"/>
                    </a:lnTo>
                    <a:lnTo>
                      <a:pt x="50" y="79"/>
                    </a:lnTo>
                    <a:lnTo>
                      <a:pt x="47" y="79"/>
                    </a:lnTo>
                    <a:lnTo>
                      <a:pt x="44" y="80"/>
                    </a:lnTo>
                    <a:lnTo>
                      <a:pt x="43" y="80"/>
                    </a:lnTo>
                    <a:lnTo>
                      <a:pt x="41" y="83"/>
                    </a:lnTo>
                    <a:lnTo>
                      <a:pt x="41" y="85"/>
                    </a:lnTo>
                    <a:lnTo>
                      <a:pt x="43" y="87"/>
                    </a:lnTo>
                    <a:lnTo>
                      <a:pt x="44" y="89"/>
                    </a:lnTo>
                    <a:lnTo>
                      <a:pt x="43" y="89"/>
                    </a:lnTo>
                    <a:lnTo>
                      <a:pt x="41" y="89"/>
                    </a:lnTo>
                    <a:lnTo>
                      <a:pt x="41" y="90"/>
                    </a:lnTo>
                    <a:lnTo>
                      <a:pt x="40" y="90"/>
                    </a:lnTo>
                    <a:lnTo>
                      <a:pt x="40" y="92"/>
                    </a:lnTo>
                    <a:lnTo>
                      <a:pt x="41" y="93"/>
                    </a:lnTo>
                    <a:close/>
                    <a:moveTo>
                      <a:pt x="31" y="132"/>
                    </a:moveTo>
                    <a:lnTo>
                      <a:pt x="31" y="133"/>
                    </a:lnTo>
                    <a:lnTo>
                      <a:pt x="34" y="132"/>
                    </a:lnTo>
                    <a:lnTo>
                      <a:pt x="36" y="131"/>
                    </a:lnTo>
                    <a:lnTo>
                      <a:pt x="36" y="129"/>
                    </a:lnTo>
                    <a:lnTo>
                      <a:pt x="34" y="126"/>
                    </a:lnTo>
                    <a:lnTo>
                      <a:pt x="33" y="126"/>
                    </a:lnTo>
                    <a:lnTo>
                      <a:pt x="28" y="128"/>
                    </a:lnTo>
                    <a:lnTo>
                      <a:pt x="28" y="129"/>
                    </a:lnTo>
                    <a:lnTo>
                      <a:pt x="28" y="131"/>
                    </a:lnTo>
                    <a:lnTo>
                      <a:pt x="28" y="131"/>
                    </a:lnTo>
                    <a:lnTo>
                      <a:pt x="28" y="131"/>
                    </a:lnTo>
                    <a:lnTo>
                      <a:pt x="30" y="131"/>
                    </a:lnTo>
                    <a:lnTo>
                      <a:pt x="31" y="129"/>
                    </a:lnTo>
                    <a:lnTo>
                      <a:pt x="31" y="129"/>
                    </a:lnTo>
                    <a:lnTo>
                      <a:pt x="31" y="131"/>
                    </a:lnTo>
                    <a:lnTo>
                      <a:pt x="31" y="131"/>
                    </a:lnTo>
                    <a:lnTo>
                      <a:pt x="31" y="132"/>
                    </a:lnTo>
                    <a:close/>
                    <a:moveTo>
                      <a:pt x="39" y="118"/>
                    </a:moveTo>
                    <a:lnTo>
                      <a:pt x="41" y="116"/>
                    </a:lnTo>
                    <a:lnTo>
                      <a:pt x="41" y="113"/>
                    </a:lnTo>
                    <a:lnTo>
                      <a:pt x="40" y="112"/>
                    </a:lnTo>
                    <a:lnTo>
                      <a:pt x="36" y="110"/>
                    </a:lnTo>
                    <a:lnTo>
                      <a:pt x="34" y="110"/>
                    </a:lnTo>
                    <a:lnTo>
                      <a:pt x="31" y="110"/>
                    </a:lnTo>
                    <a:lnTo>
                      <a:pt x="31" y="112"/>
                    </a:lnTo>
                    <a:lnTo>
                      <a:pt x="34" y="113"/>
                    </a:lnTo>
                    <a:lnTo>
                      <a:pt x="34" y="116"/>
                    </a:lnTo>
                    <a:lnTo>
                      <a:pt x="31" y="118"/>
                    </a:lnTo>
                    <a:lnTo>
                      <a:pt x="33" y="118"/>
                    </a:lnTo>
                    <a:lnTo>
                      <a:pt x="36" y="118"/>
                    </a:lnTo>
                    <a:lnTo>
                      <a:pt x="39" y="118"/>
                    </a:lnTo>
                    <a:close/>
                    <a:moveTo>
                      <a:pt x="11" y="103"/>
                    </a:moveTo>
                    <a:lnTo>
                      <a:pt x="11" y="102"/>
                    </a:lnTo>
                    <a:lnTo>
                      <a:pt x="10" y="102"/>
                    </a:lnTo>
                    <a:lnTo>
                      <a:pt x="11" y="103"/>
                    </a:lnTo>
                    <a:lnTo>
                      <a:pt x="11" y="103"/>
                    </a:lnTo>
                    <a:close/>
                    <a:moveTo>
                      <a:pt x="13" y="92"/>
                    </a:moveTo>
                    <a:lnTo>
                      <a:pt x="13" y="95"/>
                    </a:lnTo>
                    <a:lnTo>
                      <a:pt x="13" y="98"/>
                    </a:lnTo>
                    <a:lnTo>
                      <a:pt x="13" y="99"/>
                    </a:lnTo>
                    <a:lnTo>
                      <a:pt x="14" y="99"/>
                    </a:lnTo>
                    <a:lnTo>
                      <a:pt x="16" y="99"/>
                    </a:lnTo>
                    <a:lnTo>
                      <a:pt x="14" y="96"/>
                    </a:lnTo>
                    <a:lnTo>
                      <a:pt x="14" y="93"/>
                    </a:lnTo>
                    <a:lnTo>
                      <a:pt x="13" y="92"/>
                    </a:lnTo>
                    <a:close/>
                    <a:moveTo>
                      <a:pt x="31" y="86"/>
                    </a:moveTo>
                    <a:lnTo>
                      <a:pt x="26" y="87"/>
                    </a:lnTo>
                    <a:lnTo>
                      <a:pt x="26" y="89"/>
                    </a:lnTo>
                    <a:lnTo>
                      <a:pt x="24" y="90"/>
                    </a:lnTo>
                    <a:lnTo>
                      <a:pt x="24" y="90"/>
                    </a:lnTo>
                    <a:lnTo>
                      <a:pt x="24" y="93"/>
                    </a:lnTo>
                    <a:lnTo>
                      <a:pt x="26" y="93"/>
                    </a:lnTo>
                    <a:lnTo>
                      <a:pt x="28" y="93"/>
                    </a:lnTo>
                    <a:lnTo>
                      <a:pt x="28" y="95"/>
                    </a:lnTo>
                    <a:lnTo>
                      <a:pt x="30" y="95"/>
                    </a:lnTo>
                    <a:lnTo>
                      <a:pt x="30" y="96"/>
                    </a:lnTo>
                    <a:lnTo>
                      <a:pt x="31" y="96"/>
                    </a:lnTo>
                    <a:lnTo>
                      <a:pt x="33" y="98"/>
                    </a:lnTo>
                    <a:lnTo>
                      <a:pt x="33" y="98"/>
                    </a:lnTo>
                    <a:lnTo>
                      <a:pt x="34" y="98"/>
                    </a:lnTo>
                    <a:lnTo>
                      <a:pt x="36" y="98"/>
                    </a:lnTo>
                    <a:lnTo>
                      <a:pt x="37" y="100"/>
                    </a:lnTo>
                    <a:lnTo>
                      <a:pt x="41" y="99"/>
                    </a:lnTo>
                    <a:lnTo>
                      <a:pt x="43" y="96"/>
                    </a:lnTo>
                    <a:lnTo>
                      <a:pt x="39" y="96"/>
                    </a:lnTo>
                    <a:lnTo>
                      <a:pt x="36" y="95"/>
                    </a:lnTo>
                    <a:lnTo>
                      <a:pt x="36" y="95"/>
                    </a:lnTo>
                    <a:lnTo>
                      <a:pt x="34" y="90"/>
                    </a:lnTo>
                    <a:lnTo>
                      <a:pt x="33" y="86"/>
                    </a:lnTo>
                    <a:lnTo>
                      <a:pt x="31" y="86"/>
                    </a:lnTo>
                    <a:close/>
                    <a:moveTo>
                      <a:pt x="31" y="103"/>
                    </a:moveTo>
                    <a:lnTo>
                      <a:pt x="33" y="102"/>
                    </a:lnTo>
                    <a:lnTo>
                      <a:pt x="31" y="102"/>
                    </a:lnTo>
                    <a:lnTo>
                      <a:pt x="31" y="100"/>
                    </a:lnTo>
                    <a:lnTo>
                      <a:pt x="30" y="102"/>
                    </a:lnTo>
                    <a:lnTo>
                      <a:pt x="30" y="102"/>
                    </a:lnTo>
                    <a:lnTo>
                      <a:pt x="30" y="103"/>
                    </a:lnTo>
                    <a:lnTo>
                      <a:pt x="31" y="103"/>
                    </a:lnTo>
                    <a:lnTo>
                      <a:pt x="31" y="103"/>
                    </a:lnTo>
                    <a:close/>
                    <a:moveTo>
                      <a:pt x="24" y="69"/>
                    </a:moveTo>
                    <a:lnTo>
                      <a:pt x="23" y="69"/>
                    </a:lnTo>
                    <a:lnTo>
                      <a:pt x="24" y="72"/>
                    </a:lnTo>
                    <a:lnTo>
                      <a:pt x="23" y="72"/>
                    </a:lnTo>
                    <a:lnTo>
                      <a:pt x="21" y="70"/>
                    </a:lnTo>
                    <a:lnTo>
                      <a:pt x="20" y="70"/>
                    </a:lnTo>
                    <a:lnTo>
                      <a:pt x="18" y="72"/>
                    </a:lnTo>
                    <a:lnTo>
                      <a:pt x="18" y="72"/>
                    </a:lnTo>
                    <a:lnTo>
                      <a:pt x="18" y="73"/>
                    </a:lnTo>
                    <a:lnTo>
                      <a:pt x="18" y="75"/>
                    </a:lnTo>
                    <a:lnTo>
                      <a:pt x="20" y="75"/>
                    </a:lnTo>
                    <a:lnTo>
                      <a:pt x="18" y="76"/>
                    </a:lnTo>
                    <a:lnTo>
                      <a:pt x="20" y="77"/>
                    </a:lnTo>
                    <a:lnTo>
                      <a:pt x="20" y="77"/>
                    </a:lnTo>
                    <a:lnTo>
                      <a:pt x="21" y="79"/>
                    </a:lnTo>
                    <a:lnTo>
                      <a:pt x="18" y="80"/>
                    </a:lnTo>
                    <a:lnTo>
                      <a:pt x="18" y="82"/>
                    </a:lnTo>
                    <a:lnTo>
                      <a:pt x="20" y="83"/>
                    </a:lnTo>
                    <a:lnTo>
                      <a:pt x="21" y="82"/>
                    </a:lnTo>
                    <a:lnTo>
                      <a:pt x="26" y="79"/>
                    </a:lnTo>
                    <a:lnTo>
                      <a:pt x="27" y="77"/>
                    </a:lnTo>
                    <a:lnTo>
                      <a:pt x="28" y="76"/>
                    </a:lnTo>
                    <a:lnTo>
                      <a:pt x="30" y="75"/>
                    </a:lnTo>
                    <a:lnTo>
                      <a:pt x="27" y="73"/>
                    </a:lnTo>
                    <a:lnTo>
                      <a:pt x="30" y="73"/>
                    </a:lnTo>
                    <a:lnTo>
                      <a:pt x="31" y="70"/>
                    </a:lnTo>
                    <a:lnTo>
                      <a:pt x="33" y="67"/>
                    </a:lnTo>
                    <a:lnTo>
                      <a:pt x="34" y="64"/>
                    </a:lnTo>
                    <a:lnTo>
                      <a:pt x="33" y="63"/>
                    </a:lnTo>
                    <a:lnTo>
                      <a:pt x="31" y="64"/>
                    </a:lnTo>
                    <a:lnTo>
                      <a:pt x="27" y="66"/>
                    </a:lnTo>
                    <a:lnTo>
                      <a:pt x="26" y="67"/>
                    </a:lnTo>
                    <a:lnTo>
                      <a:pt x="24" y="69"/>
                    </a:lnTo>
                    <a:close/>
                    <a:moveTo>
                      <a:pt x="40" y="123"/>
                    </a:moveTo>
                    <a:lnTo>
                      <a:pt x="41" y="123"/>
                    </a:lnTo>
                    <a:lnTo>
                      <a:pt x="41" y="122"/>
                    </a:lnTo>
                    <a:lnTo>
                      <a:pt x="40" y="122"/>
                    </a:lnTo>
                    <a:lnTo>
                      <a:pt x="39" y="122"/>
                    </a:lnTo>
                    <a:lnTo>
                      <a:pt x="37" y="123"/>
                    </a:lnTo>
                    <a:lnTo>
                      <a:pt x="39" y="125"/>
                    </a:lnTo>
                    <a:lnTo>
                      <a:pt x="37" y="126"/>
                    </a:lnTo>
                    <a:lnTo>
                      <a:pt x="36" y="128"/>
                    </a:lnTo>
                    <a:lnTo>
                      <a:pt x="37" y="128"/>
                    </a:lnTo>
                    <a:lnTo>
                      <a:pt x="40" y="123"/>
                    </a:lnTo>
                    <a:close/>
                    <a:moveTo>
                      <a:pt x="14" y="89"/>
                    </a:moveTo>
                    <a:lnTo>
                      <a:pt x="17" y="89"/>
                    </a:lnTo>
                    <a:lnTo>
                      <a:pt x="18" y="86"/>
                    </a:lnTo>
                    <a:lnTo>
                      <a:pt x="17" y="86"/>
                    </a:lnTo>
                    <a:lnTo>
                      <a:pt x="11" y="86"/>
                    </a:lnTo>
                    <a:lnTo>
                      <a:pt x="11" y="86"/>
                    </a:lnTo>
                    <a:lnTo>
                      <a:pt x="13" y="87"/>
                    </a:lnTo>
                    <a:lnTo>
                      <a:pt x="14" y="8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74" name="Freeform 80">
                <a:extLst>
                  <a:ext uri="{FF2B5EF4-FFF2-40B4-BE49-F238E27FC236}">
                    <a16:creationId xmlns:a16="http://schemas.microsoft.com/office/drawing/2014/main" id="{26283D86-8B5C-EBBD-3710-4F76BF716CB5}"/>
                  </a:ext>
                </a:extLst>
              </p:cNvPr>
              <p:cNvSpPr>
                <a:spLocks noEditPoints="1"/>
              </p:cNvSpPr>
              <p:nvPr/>
            </p:nvSpPr>
            <p:spPr bwMode="auto">
              <a:xfrm>
                <a:off x="3418" y="1420"/>
                <a:ext cx="17" cy="26"/>
              </a:xfrm>
              <a:custGeom>
                <a:avLst/>
                <a:gdLst>
                  <a:gd name="T0" fmla="*/ 14 w 17"/>
                  <a:gd name="T1" fmla="*/ 1 h 26"/>
                  <a:gd name="T2" fmla="*/ 14 w 17"/>
                  <a:gd name="T3" fmla="*/ 0 h 26"/>
                  <a:gd name="T4" fmla="*/ 15 w 17"/>
                  <a:gd name="T5" fmla="*/ 0 h 26"/>
                  <a:gd name="T6" fmla="*/ 17 w 17"/>
                  <a:gd name="T7" fmla="*/ 3 h 26"/>
                  <a:gd name="T8" fmla="*/ 15 w 17"/>
                  <a:gd name="T9" fmla="*/ 4 h 26"/>
                  <a:gd name="T10" fmla="*/ 15 w 17"/>
                  <a:gd name="T11" fmla="*/ 4 h 26"/>
                  <a:gd name="T12" fmla="*/ 14 w 17"/>
                  <a:gd name="T13" fmla="*/ 1 h 26"/>
                  <a:gd name="T14" fmla="*/ 7 w 17"/>
                  <a:gd name="T15" fmla="*/ 7 h 26"/>
                  <a:gd name="T16" fmla="*/ 8 w 17"/>
                  <a:gd name="T17" fmla="*/ 8 h 26"/>
                  <a:gd name="T18" fmla="*/ 11 w 17"/>
                  <a:gd name="T19" fmla="*/ 10 h 26"/>
                  <a:gd name="T20" fmla="*/ 11 w 17"/>
                  <a:gd name="T21" fmla="*/ 8 h 26"/>
                  <a:gd name="T22" fmla="*/ 10 w 17"/>
                  <a:gd name="T23" fmla="*/ 7 h 26"/>
                  <a:gd name="T24" fmla="*/ 10 w 17"/>
                  <a:gd name="T25" fmla="*/ 5 h 26"/>
                  <a:gd name="T26" fmla="*/ 13 w 17"/>
                  <a:gd name="T27" fmla="*/ 7 h 26"/>
                  <a:gd name="T28" fmla="*/ 13 w 17"/>
                  <a:gd name="T29" fmla="*/ 4 h 26"/>
                  <a:gd name="T30" fmla="*/ 13 w 17"/>
                  <a:gd name="T31" fmla="*/ 3 h 26"/>
                  <a:gd name="T32" fmla="*/ 8 w 17"/>
                  <a:gd name="T33" fmla="*/ 1 h 26"/>
                  <a:gd name="T34" fmla="*/ 5 w 17"/>
                  <a:gd name="T35" fmla="*/ 1 h 26"/>
                  <a:gd name="T36" fmla="*/ 4 w 17"/>
                  <a:gd name="T37" fmla="*/ 1 h 26"/>
                  <a:gd name="T38" fmla="*/ 5 w 17"/>
                  <a:gd name="T39" fmla="*/ 4 h 26"/>
                  <a:gd name="T40" fmla="*/ 7 w 17"/>
                  <a:gd name="T41" fmla="*/ 7 h 26"/>
                  <a:gd name="T42" fmla="*/ 8 w 17"/>
                  <a:gd name="T43" fmla="*/ 23 h 26"/>
                  <a:gd name="T44" fmla="*/ 10 w 17"/>
                  <a:gd name="T45" fmla="*/ 24 h 26"/>
                  <a:gd name="T46" fmla="*/ 13 w 17"/>
                  <a:gd name="T47" fmla="*/ 26 h 26"/>
                  <a:gd name="T48" fmla="*/ 11 w 17"/>
                  <a:gd name="T49" fmla="*/ 23 h 26"/>
                  <a:gd name="T50" fmla="*/ 11 w 17"/>
                  <a:gd name="T51" fmla="*/ 21 h 26"/>
                  <a:gd name="T52" fmla="*/ 10 w 17"/>
                  <a:gd name="T53" fmla="*/ 21 h 26"/>
                  <a:gd name="T54" fmla="*/ 7 w 17"/>
                  <a:gd name="T55" fmla="*/ 20 h 26"/>
                  <a:gd name="T56" fmla="*/ 8 w 17"/>
                  <a:gd name="T57" fmla="*/ 21 h 26"/>
                  <a:gd name="T58" fmla="*/ 8 w 17"/>
                  <a:gd name="T59" fmla="*/ 23 h 26"/>
                  <a:gd name="T60" fmla="*/ 1 w 17"/>
                  <a:gd name="T61" fmla="*/ 8 h 26"/>
                  <a:gd name="T62" fmla="*/ 4 w 17"/>
                  <a:gd name="T63" fmla="*/ 8 h 26"/>
                  <a:gd name="T64" fmla="*/ 5 w 17"/>
                  <a:gd name="T65" fmla="*/ 7 h 26"/>
                  <a:gd name="T66" fmla="*/ 5 w 17"/>
                  <a:gd name="T67" fmla="*/ 7 h 26"/>
                  <a:gd name="T68" fmla="*/ 4 w 17"/>
                  <a:gd name="T69" fmla="*/ 5 h 26"/>
                  <a:gd name="T70" fmla="*/ 4 w 17"/>
                  <a:gd name="T71" fmla="*/ 5 h 26"/>
                  <a:gd name="T72" fmla="*/ 3 w 17"/>
                  <a:gd name="T73" fmla="*/ 5 h 26"/>
                  <a:gd name="T74" fmla="*/ 1 w 17"/>
                  <a:gd name="T75" fmla="*/ 5 h 26"/>
                  <a:gd name="T76" fmla="*/ 0 w 17"/>
                  <a:gd name="T77" fmla="*/ 5 h 26"/>
                  <a:gd name="T78" fmla="*/ 0 w 17"/>
                  <a:gd name="T79" fmla="*/ 7 h 26"/>
                  <a:gd name="T80" fmla="*/ 1 w 17"/>
                  <a:gd name="T81" fmla="*/ 8 h 26"/>
                  <a:gd name="T82" fmla="*/ 11 w 17"/>
                  <a:gd name="T83" fmla="*/ 13 h 26"/>
                  <a:gd name="T84" fmla="*/ 10 w 17"/>
                  <a:gd name="T85" fmla="*/ 11 h 26"/>
                  <a:gd name="T86" fmla="*/ 8 w 17"/>
                  <a:gd name="T87" fmla="*/ 11 h 26"/>
                  <a:gd name="T88" fmla="*/ 10 w 17"/>
                  <a:gd name="T89" fmla="*/ 13 h 26"/>
                  <a:gd name="T90" fmla="*/ 11 w 17"/>
                  <a:gd name="T91" fmla="*/ 14 h 26"/>
                  <a:gd name="T92" fmla="*/ 13 w 17"/>
                  <a:gd name="T93" fmla="*/ 16 h 26"/>
                  <a:gd name="T94" fmla="*/ 13 w 17"/>
                  <a:gd name="T95" fmla="*/ 14 h 26"/>
                  <a:gd name="T96" fmla="*/ 13 w 17"/>
                  <a:gd name="T97" fmla="*/ 13 h 26"/>
                  <a:gd name="T98" fmla="*/ 11 w 17"/>
                  <a:gd name="T9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 h="26">
                    <a:moveTo>
                      <a:pt x="14" y="1"/>
                    </a:moveTo>
                    <a:lnTo>
                      <a:pt x="14" y="0"/>
                    </a:lnTo>
                    <a:lnTo>
                      <a:pt x="15" y="0"/>
                    </a:lnTo>
                    <a:lnTo>
                      <a:pt x="17" y="3"/>
                    </a:lnTo>
                    <a:lnTo>
                      <a:pt x="15" y="4"/>
                    </a:lnTo>
                    <a:lnTo>
                      <a:pt x="15" y="4"/>
                    </a:lnTo>
                    <a:lnTo>
                      <a:pt x="14" y="1"/>
                    </a:lnTo>
                    <a:close/>
                    <a:moveTo>
                      <a:pt x="7" y="7"/>
                    </a:moveTo>
                    <a:lnTo>
                      <a:pt x="8" y="8"/>
                    </a:lnTo>
                    <a:lnTo>
                      <a:pt x="11" y="10"/>
                    </a:lnTo>
                    <a:lnTo>
                      <a:pt x="11" y="8"/>
                    </a:lnTo>
                    <a:lnTo>
                      <a:pt x="10" y="7"/>
                    </a:lnTo>
                    <a:lnTo>
                      <a:pt x="10" y="5"/>
                    </a:lnTo>
                    <a:lnTo>
                      <a:pt x="13" y="7"/>
                    </a:lnTo>
                    <a:lnTo>
                      <a:pt x="13" y="4"/>
                    </a:lnTo>
                    <a:lnTo>
                      <a:pt x="13" y="3"/>
                    </a:lnTo>
                    <a:lnTo>
                      <a:pt x="8" y="1"/>
                    </a:lnTo>
                    <a:lnTo>
                      <a:pt x="5" y="1"/>
                    </a:lnTo>
                    <a:lnTo>
                      <a:pt x="4" y="1"/>
                    </a:lnTo>
                    <a:lnTo>
                      <a:pt x="5" y="4"/>
                    </a:lnTo>
                    <a:lnTo>
                      <a:pt x="7" y="7"/>
                    </a:lnTo>
                    <a:close/>
                    <a:moveTo>
                      <a:pt x="8" y="23"/>
                    </a:moveTo>
                    <a:lnTo>
                      <a:pt x="10" y="24"/>
                    </a:lnTo>
                    <a:lnTo>
                      <a:pt x="13" y="26"/>
                    </a:lnTo>
                    <a:lnTo>
                      <a:pt x="11" y="23"/>
                    </a:lnTo>
                    <a:lnTo>
                      <a:pt x="11" y="21"/>
                    </a:lnTo>
                    <a:lnTo>
                      <a:pt x="10" y="21"/>
                    </a:lnTo>
                    <a:lnTo>
                      <a:pt x="7" y="20"/>
                    </a:lnTo>
                    <a:lnTo>
                      <a:pt x="8" y="21"/>
                    </a:lnTo>
                    <a:lnTo>
                      <a:pt x="8" y="23"/>
                    </a:lnTo>
                    <a:close/>
                    <a:moveTo>
                      <a:pt x="1" y="8"/>
                    </a:moveTo>
                    <a:lnTo>
                      <a:pt x="4" y="8"/>
                    </a:lnTo>
                    <a:lnTo>
                      <a:pt x="5" y="7"/>
                    </a:lnTo>
                    <a:lnTo>
                      <a:pt x="5" y="7"/>
                    </a:lnTo>
                    <a:lnTo>
                      <a:pt x="4" y="5"/>
                    </a:lnTo>
                    <a:lnTo>
                      <a:pt x="4" y="5"/>
                    </a:lnTo>
                    <a:lnTo>
                      <a:pt x="3" y="5"/>
                    </a:lnTo>
                    <a:lnTo>
                      <a:pt x="1" y="5"/>
                    </a:lnTo>
                    <a:lnTo>
                      <a:pt x="0" y="5"/>
                    </a:lnTo>
                    <a:lnTo>
                      <a:pt x="0" y="7"/>
                    </a:lnTo>
                    <a:lnTo>
                      <a:pt x="1" y="8"/>
                    </a:lnTo>
                    <a:close/>
                    <a:moveTo>
                      <a:pt x="11" y="13"/>
                    </a:moveTo>
                    <a:lnTo>
                      <a:pt x="10" y="11"/>
                    </a:lnTo>
                    <a:lnTo>
                      <a:pt x="8" y="11"/>
                    </a:lnTo>
                    <a:lnTo>
                      <a:pt x="10" y="13"/>
                    </a:lnTo>
                    <a:lnTo>
                      <a:pt x="11" y="14"/>
                    </a:lnTo>
                    <a:lnTo>
                      <a:pt x="13" y="16"/>
                    </a:lnTo>
                    <a:lnTo>
                      <a:pt x="13" y="14"/>
                    </a:lnTo>
                    <a:lnTo>
                      <a:pt x="13" y="13"/>
                    </a:lnTo>
                    <a:lnTo>
                      <a:pt x="11" y="1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75" name="Freeform 81">
                <a:extLst>
                  <a:ext uri="{FF2B5EF4-FFF2-40B4-BE49-F238E27FC236}">
                    <a16:creationId xmlns:a16="http://schemas.microsoft.com/office/drawing/2014/main" id="{1F849A6B-9453-590D-9CBF-D47943442ABE}"/>
                  </a:ext>
                </a:extLst>
              </p:cNvPr>
              <p:cNvSpPr>
                <a:spLocks noEditPoints="1"/>
              </p:cNvSpPr>
              <p:nvPr/>
            </p:nvSpPr>
            <p:spPr bwMode="auto">
              <a:xfrm>
                <a:off x="3936" y="1673"/>
                <a:ext cx="318" cy="195"/>
              </a:xfrm>
              <a:custGeom>
                <a:avLst/>
                <a:gdLst>
                  <a:gd name="T0" fmla="*/ 264 w 318"/>
                  <a:gd name="T1" fmla="*/ 138 h 195"/>
                  <a:gd name="T2" fmla="*/ 249 w 318"/>
                  <a:gd name="T3" fmla="*/ 143 h 195"/>
                  <a:gd name="T4" fmla="*/ 231 w 318"/>
                  <a:gd name="T5" fmla="*/ 152 h 195"/>
                  <a:gd name="T6" fmla="*/ 236 w 318"/>
                  <a:gd name="T7" fmla="*/ 174 h 195"/>
                  <a:gd name="T8" fmla="*/ 237 w 318"/>
                  <a:gd name="T9" fmla="*/ 179 h 195"/>
                  <a:gd name="T10" fmla="*/ 214 w 318"/>
                  <a:gd name="T11" fmla="*/ 194 h 195"/>
                  <a:gd name="T12" fmla="*/ 200 w 318"/>
                  <a:gd name="T13" fmla="*/ 178 h 195"/>
                  <a:gd name="T14" fmla="*/ 187 w 318"/>
                  <a:gd name="T15" fmla="*/ 169 h 195"/>
                  <a:gd name="T16" fmla="*/ 201 w 318"/>
                  <a:gd name="T17" fmla="*/ 156 h 195"/>
                  <a:gd name="T18" fmla="*/ 171 w 318"/>
                  <a:gd name="T19" fmla="*/ 152 h 195"/>
                  <a:gd name="T20" fmla="*/ 184 w 318"/>
                  <a:gd name="T21" fmla="*/ 145 h 195"/>
                  <a:gd name="T22" fmla="*/ 172 w 318"/>
                  <a:gd name="T23" fmla="*/ 139 h 195"/>
                  <a:gd name="T24" fmla="*/ 152 w 318"/>
                  <a:gd name="T25" fmla="*/ 146 h 195"/>
                  <a:gd name="T26" fmla="*/ 129 w 318"/>
                  <a:gd name="T27" fmla="*/ 174 h 195"/>
                  <a:gd name="T28" fmla="*/ 112 w 318"/>
                  <a:gd name="T29" fmla="*/ 169 h 195"/>
                  <a:gd name="T30" fmla="*/ 121 w 318"/>
                  <a:gd name="T31" fmla="*/ 158 h 195"/>
                  <a:gd name="T32" fmla="*/ 127 w 318"/>
                  <a:gd name="T33" fmla="*/ 148 h 195"/>
                  <a:gd name="T34" fmla="*/ 138 w 318"/>
                  <a:gd name="T35" fmla="*/ 141 h 195"/>
                  <a:gd name="T36" fmla="*/ 125 w 318"/>
                  <a:gd name="T37" fmla="*/ 125 h 195"/>
                  <a:gd name="T38" fmla="*/ 116 w 318"/>
                  <a:gd name="T39" fmla="*/ 109 h 195"/>
                  <a:gd name="T40" fmla="*/ 92 w 318"/>
                  <a:gd name="T41" fmla="*/ 102 h 195"/>
                  <a:gd name="T42" fmla="*/ 71 w 318"/>
                  <a:gd name="T43" fmla="*/ 110 h 195"/>
                  <a:gd name="T44" fmla="*/ 35 w 318"/>
                  <a:gd name="T45" fmla="*/ 113 h 195"/>
                  <a:gd name="T46" fmla="*/ 13 w 318"/>
                  <a:gd name="T47" fmla="*/ 110 h 195"/>
                  <a:gd name="T48" fmla="*/ 13 w 318"/>
                  <a:gd name="T49" fmla="*/ 86 h 195"/>
                  <a:gd name="T50" fmla="*/ 29 w 318"/>
                  <a:gd name="T51" fmla="*/ 51 h 195"/>
                  <a:gd name="T52" fmla="*/ 35 w 318"/>
                  <a:gd name="T53" fmla="*/ 38 h 195"/>
                  <a:gd name="T54" fmla="*/ 27 w 318"/>
                  <a:gd name="T55" fmla="*/ 23 h 195"/>
                  <a:gd name="T56" fmla="*/ 43 w 318"/>
                  <a:gd name="T57" fmla="*/ 11 h 195"/>
                  <a:gd name="T58" fmla="*/ 93 w 318"/>
                  <a:gd name="T59" fmla="*/ 18 h 195"/>
                  <a:gd name="T60" fmla="*/ 99 w 318"/>
                  <a:gd name="T61" fmla="*/ 21 h 195"/>
                  <a:gd name="T62" fmla="*/ 115 w 318"/>
                  <a:gd name="T63" fmla="*/ 21 h 195"/>
                  <a:gd name="T64" fmla="*/ 129 w 318"/>
                  <a:gd name="T65" fmla="*/ 24 h 195"/>
                  <a:gd name="T66" fmla="*/ 149 w 318"/>
                  <a:gd name="T67" fmla="*/ 23 h 195"/>
                  <a:gd name="T68" fmla="*/ 174 w 318"/>
                  <a:gd name="T69" fmla="*/ 8 h 195"/>
                  <a:gd name="T70" fmla="*/ 181 w 318"/>
                  <a:gd name="T71" fmla="*/ 1 h 195"/>
                  <a:gd name="T72" fmla="*/ 195 w 318"/>
                  <a:gd name="T73" fmla="*/ 0 h 195"/>
                  <a:gd name="T74" fmla="*/ 208 w 318"/>
                  <a:gd name="T75" fmla="*/ 3 h 195"/>
                  <a:gd name="T76" fmla="*/ 217 w 318"/>
                  <a:gd name="T77" fmla="*/ 15 h 195"/>
                  <a:gd name="T78" fmla="*/ 213 w 318"/>
                  <a:gd name="T79" fmla="*/ 21 h 195"/>
                  <a:gd name="T80" fmla="*/ 213 w 318"/>
                  <a:gd name="T81" fmla="*/ 28 h 195"/>
                  <a:gd name="T82" fmla="*/ 228 w 318"/>
                  <a:gd name="T83" fmla="*/ 30 h 195"/>
                  <a:gd name="T84" fmla="*/ 233 w 318"/>
                  <a:gd name="T85" fmla="*/ 34 h 195"/>
                  <a:gd name="T86" fmla="*/ 234 w 318"/>
                  <a:gd name="T87" fmla="*/ 44 h 195"/>
                  <a:gd name="T88" fmla="*/ 241 w 318"/>
                  <a:gd name="T89" fmla="*/ 50 h 195"/>
                  <a:gd name="T90" fmla="*/ 251 w 318"/>
                  <a:gd name="T91" fmla="*/ 53 h 195"/>
                  <a:gd name="T92" fmla="*/ 264 w 318"/>
                  <a:gd name="T93" fmla="*/ 51 h 195"/>
                  <a:gd name="T94" fmla="*/ 273 w 318"/>
                  <a:gd name="T95" fmla="*/ 57 h 195"/>
                  <a:gd name="T96" fmla="*/ 283 w 318"/>
                  <a:gd name="T97" fmla="*/ 63 h 195"/>
                  <a:gd name="T98" fmla="*/ 300 w 318"/>
                  <a:gd name="T99" fmla="*/ 66 h 195"/>
                  <a:gd name="T100" fmla="*/ 313 w 318"/>
                  <a:gd name="T101" fmla="*/ 72 h 195"/>
                  <a:gd name="T102" fmla="*/ 318 w 318"/>
                  <a:gd name="T103" fmla="*/ 79 h 195"/>
                  <a:gd name="T104" fmla="*/ 312 w 318"/>
                  <a:gd name="T105" fmla="*/ 86 h 195"/>
                  <a:gd name="T106" fmla="*/ 313 w 318"/>
                  <a:gd name="T107" fmla="*/ 92 h 195"/>
                  <a:gd name="T108" fmla="*/ 312 w 318"/>
                  <a:gd name="T109" fmla="*/ 97 h 195"/>
                  <a:gd name="T110" fmla="*/ 315 w 318"/>
                  <a:gd name="T111" fmla="*/ 105 h 195"/>
                  <a:gd name="T112" fmla="*/ 310 w 318"/>
                  <a:gd name="T113" fmla="*/ 115 h 195"/>
                  <a:gd name="T114" fmla="*/ 292 w 318"/>
                  <a:gd name="T115" fmla="*/ 119 h 195"/>
                  <a:gd name="T116" fmla="*/ 284 w 318"/>
                  <a:gd name="T117" fmla="*/ 126 h 195"/>
                  <a:gd name="T118" fmla="*/ 283 w 318"/>
                  <a:gd name="T119" fmla="*/ 13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8" h="195">
                    <a:moveTo>
                      <a:pt x="283" y="130"/>
                    </a:moveTo>
                    <a:lnTo>
                      <a:pt x="283" y="130"/>
                    </a:lnTo>
                    <a:lnTo>
                      <a:pt x="283" y="133"/>
                    </a:lnTo>
                    <a:lnTo>
                      <a:pt x="279" y="133"/>
                    </a:lnTo>
                    <a:lnTo>
                      <a:pt x="274" y="133"/>
                    </a:lnTo>
                    <a:lnTo>
                      <a:pt x="272" y="133"/>
                    </a:lnTo>
                    <a:lnTo>
                      <a:pt x="270" y="135"/>
                    </a:lnTo>
                    <a:lnTo>
                      <a:pt x="269" y="136"/>
                    </a:lnTo>
                    <a:lnTo>
                      <a:pt x="267" y="138"/>
                    </a:lnTo>
                    <a:lnTo>
                      <a:pt x="266" y="138"/>
                    </a:lnTo>
                    <a:lnTo>
                      <a:pt x="264" y="138"/>
                    </a:lnTo>
                    <a:lnTo>
                      <a:pt x="263" y="138"/>
                    </a:lnTo>
                    <a:lnTo>
                      <a:pt x="262" y="139"/>
                    </a:lnTo>
                    <a:lnTo>
                      <a:pt x="260" y="141"/>
                    </a:lnTo>
                    <a:lnTo>
                      <a:pt x="259" y="141"/>
                    </a:lnTo>
                    <a:lnTo>
                      <a:pt x="259" y="141"/>
                    </a:lnTo>
                    <a:lnTo>
                      <a:pt x="257" y="141"/>
                    </a:lnTo>
                    <a:lnTo>
                      <a:pt x="257" y="141"/>
                    </a:lnTo>
                    <a:lnTo>
                      <a:pt x="256" y="141"/>
                    </a:lnTo>
                    <a:lnTo>
                      <a:pt x="254" y="141"/>
                    </a:lnTo>
                    <a:lnTo>
                      <a:pt x="250" y="143"/>
                    </a:lnTo>
                    <a:lnTo>
                      <a:pt x="249" y="143"/>
                    </a:lnTo>
                    <a:lnTo>
                      <a:pt x="246" y="143"/>
                    </a:lnTo>
                    <a:lnTo>
                      <a:pt x="244" y="143"/>
                    </a:lnTo>
                    <a:lnTo>
                      <a:pt x="241" y="145"/>
                    </a:lnTo>
                    <a:lnTo>
                      <a:pt x="240" y="145"/>
                    </a:lnTo>
                    <a:lnTo>
                      <a:pt x="237" y="146"/>
                    </a:lnTo>
                    <a:lnTo>
                      <a:pt x="236" y="148"/>
                    </a:lnTo>
                    <a:lnTo>
                      <a:pt x="230" y="155"/>
                    </a:lnTo>
                    <a:lnTo>
                      <a:pt x="228" y="155"/>
                    </a:lnTo>
                    <a:lnTo>
                      <a:pt x="227" y="156"/>
                    </a:lnTo>
                    <a:lnTo>
                      <a:pt x="228" y="155"/>
                    </a:lnTo>
                    <a:lnTo>
                      <a:pt x="231" y="152"/>
                    </a:lnTo>
                    <a:lnTo>
                      <a:pt x="233" y="151"/>
                    </a:lnTo>
                    <a:lnTo>
                      <a:pt x="231" y="148"/>
                    </a:lnTo>
                    <a:lnTo>
                      <a:pt x="228" y="151"/>
                    </a:lnTo>
                    <a:lnTo>
                      <a:pt x="226" y="153"/>
                    </a:lnTo>
                    <a:lnTo>
                      <a:pt x="224" y="155"/>
                    </a:lnTo>
                    <a:lnTo>
                      <a:pt x="224" y="159"/>
                    </a:lnTo>
                    <a:lnTo>
                      <a:pt x="226" y="162"/>
                    </a:lnTo>
                    <a:lnTo>
                      <a:pt x="227" y="165"/>
                    </a:lnTo>
                    <a:lnTo>
                      <a:pt x="228" y="168"/>
                    </a:lnTo>
                    <a:lnTo>
                      <a:pt x="231" y="171"/>
                    </a:lnTo>
                    <a:lnTo>
                      <a:pt x="236" y="174"/>
                    </a:lnTo>
                    <a:lnTo>
                      <a:pt x="241" y="174"/>
                    </a:lnTo>
                    <a:lnTo>
                      <a:pt x="249" y="172"/>
                    </a:lnTo>
                    <a:lnTo>
                      <a:pt x="254" y="172"/>
                    </a:lnTo>
                    <a:lnTo>
                      <a:pt x="253" y="176"/>
                    </a:lnTo>
                    <a:lnTo>
                      <a:pt x="251" y="179"/>
                    </a:lnTo>
                    <a:lnTo>
                      <a:pt x="250" y="181"/>
                    </a:lnTo>
                    <a:lnTo>
                      <a:pt x="249" y="181"/>
                    </a:lnTo>
                    <a:lnTo>
                      <a:pt x="246" y="181"/>
                    </a:lnTo>
                    <a:lnTo>
                      <a:pt x="243" y="181"/>
                    </a:lnTo>
                    <a:lnTo>
                      <a:pt x="241" y="181"/>
                    </a:lnTo>
                    <a:lnTo>
                      <a:pt x="237" y="179"/>
                    </a:lnTo>
                    <a:lnTo>
                      <a:pt x="236" y="179"/>
                    </a:lnTo>
                    <a:lnTo>
                      <a:pt x="234" y="181"/>
                    </a:lnTo>
                    <a:lnTo>
                      <a:pt x="233" y="182"/>
                    </a:lnTo>
                    <a:lnTo>
                      <a:pt x="230" y="185"/>
                    </a:lnTo>
                    <a:lnTo>
                      <a:pt x="228" y="187"/>
                    </a:lnTo>
                    <a:lnTo>
                      <a:pt x="226" y="187"/>
                    </a:lnTo>
                    <a:lnTo>
                      <a:pt x="224" y="187"/>
                    </a:lnTo>
                    <a:lnTo>
                      <a:pt x="221" y="187"/>
                    </a:lnTo>
                    <a:lnTo>
                      <a:pt x="220" y="188"/>
                    </a:lnTo>
                    <a:lnTo>
                      <a:pt x="217" y="189"/>
                    </a:lnTo>
                    <a:lnTo>
                      <a:pt x="214" y="194"/>
                    </a:lnTo>
                    <a:lnTo>
                      <a:pt x="210" y="195"/>
                    </a:lnTo>
                    <a:lnTo>
                      <a:pt x="206" y="195"/>
                    </a:lnTo>
                    <a:lnTo>
                      <a:pt x="201" y="195"/>
                    </a:lnTo>
                    <a:lnTo>
                      <a:pt x="200" y="192"/>
                    </a:lnTo>
                    <a:lnTo>
                      <a:pt x="200" y="189"/>
                    </a:lnTo>
                    <a:lnTo>
                      <a:pt x="201" y="187"/>
                    </a:lnTo>
                    <a:lnTo>
                      <a:pt x="203" y="185"/>
                    </a:lnTo>
                    <a:lnTo>
                      <a:pt x="203" y="182"/>
                    </a:lnTo>
                    <a:lnTo>
                      <a:pt x="201" y="181"/>
                    </a:lnTo>
                    <a:lnTo>
                      <a:pt x="201" y="179"/>
                    </a:lnTo>
                    <a:lnTo>
                      <a:pt x="200" y="178"/>
                    </a:lnTo>
                    <a:lnTo>
                      <a:pt x="198" y="178"/>
                    </a:lnTo>
                    <a:lnTo>
                      <a:pt x="197" y="178"/>
                    </a:lnTo>
                    <a:lnTo>
                      <a:pt x="195" y="178"/>
                    </a:lnTo>
                    <a:lnTo>
                      <a:pt x="195" y="176"/>
                    </a:lnTo>
                    <a:lnTo>
                      <a:pt x="191" y="174"/>
                    </a:lnTo>
                    <a:lnTo>
                      <a:pt x="190" y="174"/>
                    </a:lnTo>
                    <a:lnTo>
                      <a:pt x="188" y="174"/>
                    </a:lnTo>
                    <a:lnTo>
                      <a:pt x="187" y="174"/>
                    </a:lnTo>
                    <a:lnTo>
                      <a:pt x="185" y="174"/>
                    </a:lnTo>
                    <a:lnTo>
                      <a:pt x="184" y="172"/>
                    </a:lnTo>
                    <a:lnTo>
                      <a:pt x="187" y="169"/>
                    </a:lnTo>
                    <a:lnTo>
                      <a:pt x="191" y="166"/>
                    </a:lnTo>
                    <a:lnTo>
                      <a:pt x="194" y="164"/>
                    </a:lnTo>
                    <a:lnTo>
                      <a:pt x="198" y="164"/>
                    </a:lnTo>
                    <a:lnTo>
                      <a:pt x="200" y="162"/>
                    </a:lnTo>
                    <a:lnTo>
                      <a:pt x="201" y="161"/>
                    </a:lnTo>
                    <a:lnTo>
                      <a:pt x="203" y="159"/>
                    </a:lnTo>
                    <a:lnTo>
                      <a:pt x="204" y="158"/>
                    </a:lnTo>
                    <a:lnTo>
                      <a:pt x="203" y="158"/>
                    </a:lnTo>
                    <a:lnTo>
                      <a:pt x="203" y="156"/>
                    </a:lnTo>
                    <a:lnTo>
                      <a:pt x="201" y="156"/>
                    </a:lnTo>
                    <a:lnTo>
                      <a:pt x="201" y="156"/>
                    </a:lnTo>
                    <a:lnTo>
                      <a:pt x="200" y="156"/>
                    </a:lnTo>
                    <a:lnTo>
                      <a:pt x="198" y="156"/>
                    </a:lnTo>
                    <a:lnTo>
                      <a:pt x="197" y="155"/>
                    </a:lnTo>
                    <a:lnTo>
                      <a:pt x="194" y="155"/>
                    </a:lnTo>
                    <a:lnTo>
                      <a:pt x="193" y="155"/>
                    </a:lnTo>
                    <a:lnTo>
                      <a:pt x="185" y="156"/>
                    </a:lnTo>
                    <a:lnTo>
                      <a:pt x="183" y="156"/>
                    </a:lnTo>
                    <a:lnTo>
                      <a:pt x="181" y="155"/>
                    </a:lnTo>
                    <a:lnTo>
                      <a:pt x="180" y="155"/>
                    </a:lnTo>
                    <a:lnTo>
                      <a:pt x="177" y="153"/>
                    </a:lnTo>
                    <a:lnTo>
                      <a:pt x="171" y="152"/>
                    </a:lnTo>
                    <a:lnTo>
                      <a:pt x="171" y="151"/>
                    </a:lnTo>
                    <a:lnTo>
                      <a:pt x="172" y="151"/>
                    </a:lnTo>
                    <a:lnTo>
                      <a:pt x="174" y="149"/>
                    </a:lnTo>
                    <a:lnTo>
                      <a:pt x="174" y="149"/>
                    </a:lnTo>
                    <a:lnTo>
                      <a:pt x="172" y="148"/>
                    </a:lnTo>
                    <a:lnTo>
                      <a:pt x="168" y="146"/>
                    </a:lnTo>
                    <a:lnTo>
                      <a:pt x="167" y="146"/>
                    </a:lnTo>
                    <a:lnTo>
                      <a:pt x="171" y="146"/>
                    </a:lnTo>
                    <a:lnTo>
                      <a:pt x="175" y="146"/>
                    </a:lnTo>
                    <a:lnTo>
                      <a:pt x="180" y="146"/>
                    </a:lnTo>
                    <a:lnTo>
                      <a:pt x="184" y="145"/>
                    </a:lnTo>
                    <a:lnTo>
                      <a:pt x="181" y="145"/>
                    </a:lnTo>
                    <a:lnTo>
                      <a:pt x="178" y="145"/>
                    </a:lnTo>
                    <a:lnTo>
                      <a:pt x="175" y="143"/>
                    </a:lnTo>
                    <a:lnTo>
                      <a:pt x="174" y="141"/>
                    </a:lnTo>
                    <a:lnTo>
                      <a:pt x="174" y="138"/>
                    </a:lnTo>
                    <a:lnTo>
                      <a:pt x="172" y="136"/>
                    </a:lnTo>
                    <a:lnTo>
                      <a:pt x="172" y="133"/>
                    </a:lnTo>
                    <a:lnTo>
                      <a:pt x="170" y="130"/>
                    </a:lnTo>
                    <a:lnTo>
                      <a:pt x="171" y="133"/>
                    </a:lnTo>
                    <a:lnTo>
                      <a:pt x="172" y="136"/>
                    </a:lnTo>
                    <a:lnTo>
                      <a:pt x="172" y="139"/>
                    </a:lnTo>
                    <a:lnTo>
                      <a:pt x="172" y="142"/>
                    </a:lnTo>
                    <a:lnTo>
                      <a:pt x="171" y="143"/>
                    </a:lnTo>
                    <a:lnTo>
                      <a:pt x="168" y="143"/>
                    </a:lnTo>
                    <a:lnTo>
                      <a:pt x="167" y="143"/>
                    </a:lnTo>
                    <a:lnTo>
                      <a:pt x="167" y="141"/>
                    </a:lnTo>
                    <a:lnTo>
                      <a:pt x="164" y="143"/>
                    </a:lnTo>
                    <a:lnTo>
                      <a:pt x="162" y="143"/>
                    </a:lnTo>
                    <a:lnTo>
                      <a:pt x="161" y="145"/>
                    </a:lnTo>
                    <a:lnTo>
                      <a:pt x="157" y="145"/>
                    </a:lnTo>
                    <a:lnTo>
                      <a:pt x="154" y="145"/>
                    </a:lnTo>
                    <a:lnTo>
                      <a:pt x="152" y="146"/>
                    </a:lnTo>
                    <a:lnTo>
                      <a:pt x="151" y="149"/>
                    </a:lnTo>
                    <a:lnTo>
                      <a:pt x="148" y="155"/>
                    </a:lnTo>
                    <a:lnTo>
                      <a:pt x="147" y="158"/>
                    </a:lnTo>
                    <a:lnTo>
                      <a:pt x="144" y="161"/>
                    </a:lnTo>
                    <a:lnTo>
                      <a:pt x="141" y="162"/>
                    </a:lnTo>
                    <a:lnTo>
                      <a:pt x="135" y="165"/>
                    </a:lnTo>
                    <a:lnTo>
                      <a:pt x="132" y="166"/>
                    </a:lnTo>
                    <a:lnTo>
                      <a:pt x="132" y="169"/>
                    </a:lnTo>
                    <a:lnTo>
                      <a:pt x="134" y="172"/>
                    </a:lnTo>
                    <a:lnTo>
                      <a:pt x="134" y="175"/>
                    </a:lnTo>
                    <a:lnTo>
                      <a:pt x="129" y="174"/>
                    </a:lnTo>
                    <a:lnTo>
                      <a:pt x="124" y="174"/>
                    </a:lnTo>
                    <a:lnTo>
                      <a:pt x="119" y="174"/>
                    </a:lnTo>
                    <a:lnTo>
                      <a:pt x="118" y="176"/>
                    </a:lnTo>
                    <a:lnTo>
                      <a:pt x="115" y="176"/>
                    </a:lnTo>
                    <a:lnTo>
                      <a:pt x="112" y="175"/>
                    </a:lnTo>
                    <a:lnTo>
                      <a:pt x="109" y="174"/>
                    </a:lnTo>
                    <a:lnTo>
                      <a:pt x="108" y="171"/>
                    </a:lnTo>
                    <a:lnTo>
                      <a:pt x="109" y="171"/>
                    </a:lnTo>
                    <a:lnTo>
                      <a:pt x="111" y="171"/>
                    </a:lnTo>
                    <a:lnTo>
                      <a:pt x="112" y="169"/>
                    </a:lnTo>
                    <a:lnTo>
                      <a:pt x="112" y="169"/>
                    </a:lnTo>
                    <a:lnTo>
                      <a:pt x="112" y="168"/>
                    </a:lnTo>
                    <a:lnTo>
                      <a:pt x="112" y="168"/>
                    </a:lnTo>
                    <a:lnTo>
                      <a:pt x="114" y="168"/>
                    </a:lnTo>
                    <a:lnTo>
                      <a:pt x="114" y="166"/>
                    </a:lnTo>
                    <a:lnTo>
                      <a:pt x="114" y="165"/>
                    </a:lnTo>
                    <a:lnTo>
                      <a:pt x="114" y="165"/>
                    </a:lnTo>
                    <a:lnTo>
                      <a:pt x="115" y="164"/>
                    </a:lnTo>
                    <a:lnTo>
                      <a:pt x="115" y="164"/>
                    </a:lnTo>
                    <a:lnTo>
                      <a:pt x="118" y="159"/>
                    </a:lnTo>
                    <a:lnTo>
                      <a:pt x="119" y="158"/>
                    </a:lnTo>
                    <a:lnTo>
                      <a:pt x="121" y="158"/>
                    </a:lnTo>
                    <a:lnTo>
                      <a:pt x="121" y="156"/>
                    </a:lnTo>
                    <a:lnTo>
                      <a:pt x="121" y="155"/>
                    </a:lnTo>
                    <a:lnTo>
                      <a:pt x="121" y="153"/>
                    </a:lnTo>
                    <a:lnTo>
                      <a:pt x="121" y="151"/>
                    </a:lnTo>
                    <a:lnTo>
                      <a:pt x="121" y="149"/>
                    </a:lnTo>
                    <a:lnTo>
                      <a:pt x="121" y="148"/>
                    </a:lnTo>
                    <a:lnTo>
                      <a:pt x="124" y="146"/>
                    </a:lnTo>
                    <a:lnTo>
                      <a:pt x="125" y="146"/>
                    </a:lnTo>
                    <a:lnTo>
                      <a:pt x="125" y="149"/>
                    </a:lnTo>
                    <a:lnTo>
                      <a:pt x="127" y="149"/>
                    </a:lnTo>
                    <a:lnTo>
                      <a:pt x="127" y="148"/>
                    </a:lnTo>
                    <a:lnTo>
                      <a:pt x="127" y="148"/>
                    </a:lnTo>
                    <a:lnTo>
                      <a:pt x="129" y="148"/>
                    </a:lnTo>
                    <a:lnTo>
                      <a:pt x="134" y="148"/>
                    </a:lnTo>
                    <a:lnTo>
                      <a:pt x="134" y="148"/>
                    </a:lnTo>
                    <a:lnTo>
                      <a:pt x="137" y="151"/>
                    </a:lnTo>
                    <a:lnTo>
                      <a:pt x="139" y="151"/>
                    </a:lnTo>
                    <a:lnTo>
                      <a:pt x="141" y="149"/>
                    </a:lnTo>
                    <a:lnTo>
                      <a:pt x="139" y="146"/>
                    </a:lnTo>
                    <a:lnTo>
                      <a:pt x="138" y="145"/>
                    </a:lnTo>
                    <a:lnTo>
                      <a:pt x="138" y="143"/>
                    </a:lnTo>
                    <a:lnTo>
                      <a:pt x="138" y="141"/>
                    </a:lnTo>
                    <a:lnTo>
                      <a:pt x="137" y="139"/>
                    </a:lnTo>
                    <a:lnTo>
                      <a:pt x="134" y="138"/>
                    </a:lnTo>
                    <a:lnTo>
                      <a:pt x="131" y="136"/>
                    </a:lnTo>
                    <a:lnTo>
                      <a:pt x="131" y="135"/>
                    </a:lnTo>
                    <a:lnTo>
                      <a:pt x="131" y="133"/>
                    </a:lnTo>
                    <a:lnTo>
                      <a:pt x="131" y="132"/>
                    </a:lnTo>
                    <a:lnTo>
                      <a:pt x="131" y="130"/>
                    </a:lnTo>
                    <a:lnTo>
                      <a:pt x="131" y="129"/>
                    </a:lnTo>
                    <a:lnTo>
                      <a:pt x="129" y="128"/>
                    </a:lnTo>
                    <a:lnTo>
                      <a:pt x="128" y="128"/>
                    </a:lnTo>
                    <a:lnTo>
                      <a:pt x="125" y="125"/>
                    </a:lnTo>
                    <a:lnTo>
                      <a:pt x="125" y="125"/>
                    </a:lnTo>
                    <a:lnTo>
                      <a:pt x="124" y="123"/>
                    </a:lnTo>
                    <a:lnTo>
                      <a:pt x="124" y="122"/>
                    </a:lnTo>
                    <a:lnTo>
                      <a:pt x="125" y="119"/>
                    </a:lnTo>
                    <a:lnTo>
                      <a:pt x="125" y="118"/>
                    </a:lnTo>
                    <a:lnTo>
                      <a:pt x="125" y="115"/>
                    </a:lnTo>
                    <a:lnTo>
                      <a:pt x="124" y="113"/>
                    </a:lnTo>
                    <a:lnTo>
                      <a:pt x="122" y="112"/>
                    </a:lnTo>
                    <a:lnTo>
                      <a:pt x="121" y="112"/>
                    </a:lnTo>
                    <a:lnTo>
                      <a:pt x="119" y="112"/>
                    </a:lnTo>
                    <a:lnTo>
                      <a:pt x="116" y="109"/>
                    </a:lnTo>
                    <a:lnTo>
                      <a:pt x="114" y="107"/>
                    </a:lnTo>
                    <a:lnTo>
                      <a:pt x="112" y="109"/>
                    </a:lnTo>
                    <a:lnTo>
                      <a:pt x="111" y="109"/>
                    </a:lnTo>
                    <a:lnTo>
                      <a:pt x="111" y="109"/>
                    </a:lnTo>
                    <a:lnTo>
                      <a:pt x="109" y="107"/>
                    </a:lnTo>
                    <a:lnTo>
                      <a:pt x="108" y="106"/>
                    </a:lnTo>
                    <a:lnTo>
                      <a:pt x="105" y="103"/>
                    </a:lnTo>
                    <a:lnTo>
                      <a:pt x="99" y="102"/>
                    </a:lnTo>
                    <a:lnTo>
                      <a:pt x="96" y="100"/>
                    </a:lnTo>
                    <a:lnTo>
                      <a:pt x="95" y="100"/>
                    </a:lnTo>
                    <a:lnTo>
                      <a:pt x="92" y="102"/>
                    </a:lnTo>
                    <a:lnTo>
                      <a:pt x="89" y="102"/>
                    </a:lnTo>
                    <a:lnTo>
                      <a:pt x="83" y="103"/>
                    </a:lnTo>
                    <a:lnTo>
                      <a:pt x="82" y="103"/>
                    </a:lnTo>
                    <a:lnTo>
                      <a:pt x="79" y="105"/>
                    </a:lnTo>
                    <a:lnTo>
                      <a:pt x="76" y="106"/>
                    </a:lnTo>
                    <a:lnTo>
                      <a:pt x="76" y="106"/>
                    </a:lnTo>
                    <a:lnTo>
                      <a:pt x="75" y="107"/>
                    </a:lnTo>
                    <a:lnTo>
                      <a:pt x="75" y="107"/>
                    </a:lnTo>
                    <a:lnTo>
                      <a:pt x="73" y="109"/>
                    </a:lnTo>
                    <a:lnTo>
                      <a:pt x="73" y="109"/>
                    </a:lnTo>
                    <a:lnTo>
                      <a:pt x="71" y="110"/>
                    </a:lnTo>
                    <a:lnTo>
                      <a:pt x="69" y="112"/>
                    </a:lnTo>
                    <a:lnTo>
                      <a:pt x="59" y="115"/>
                    </a:lnTo>
                    <a:lnTo>
                      <a:pt x="56" y="115"/>
                    </a:lnTo>
                    <a:lnTo>
                      <a:pt x="52" y="118"/>
                    </a:lnTo>
                    <a:lnTo>
                      <a:pt x="50" y="118"/>
                    </a:lnTo>
                    <a:lnTo>
                      <a:pt x="49" y="118"/>
                    </a:lnTo>
                    <a:lnTo>
                      <a:pt x="46" y="115"/>
                    </a:lnTo>
                    <a:lnTo>
                      <a:pt x="43" y="113"/>
                    </a:lnTo>
                    <a:lnTo>
                      <a:pt x="42" y="113"/>
                    </a:lnTo>
                    <a:lnTo>
                      <a:pt x="36" y="113"/>
                    </a:lnTo>
                    <a:lnTo>
                      <a:pt x="35" y="113"/>
                    </a:lnTo>
                    <a:lnTo>
                      <a:pt x="29" y="112"/>
                    </a:lnTo>
                    <a:lnTo>
                      <a:pt x="26" y="112"/>
                    </a:lnTo>
                    <a:lnTo>
                      <a:pt x="25" y="112"/>
                    </a:lnTo>
                    <a:lnTo>
                      <a:pt x="23" y="112"/>
                    </a:lnTo>
                    <a:lnTo>
                      <a:pt x="20" y="110"/>
                    </a:lnTo>
                    <a:lnTo>
                      <a:pt x="20" y="109"/>
                    </a:lnTo>
                    <a:lnTo>
                      <a:pt x="19" y="110"/>
                    </a:lnTo>
                    <a:lnTo>
                      <a:pt x="17" y="110"/>
                    </a:lnTo>
                    <a:lnTo>
                      <a:pt x="16" y="112"/>
                    </a:lnTo>
                    <a:lnTo>
                      <a:pt x="13" y="113"/>
                    </a:lnTo>
                    <a:lnTo>
                      <a:pt x="13" y="110"/>
                    </a:lnTo>
                    <a:lnTo>
                      <a:pt x="12" y="109"/>
                    </a:lnTo>
                    <a:lnTo>
                      <a:pt x="7" y="107"/>
                    </a:lnTo>
                    <a:lnTo>
                      <a:pt x="6" y="106"/>
                    </a:lnTo>
                    <a:lnTo>
                      <a:pt x="4" y="103"/>
                    </a:lnTo>
                    <a:lnTo>
                      <a:pt x="3" y="102"/>
                    </a:lnTo>
                    <a:lnTo>
                      <a:pt x="0" y="102"/>
                    </a:lnTo>
                    <a:lnTo>
                      <a:pt x="2" y="97"/>
                    </a:lnTo>
                    <a:lnTo>
                      <a:pt x="6" y="89"/>
                    </a:lnTo>
                    <a:lnTo>
                      <a:pt x="7" y="84"/>
                    </a:lnTo>
                    <a:lnTo>
                      <a:pt x="12" y="86"/>
                    </a:lnTo>
                    <a:lnTo>
                      <a:pt x="13" y="86"/>
                    </a:lnTo>
                    <a:lnTo>
                      <a:pt x="13" y="86"/>
                    </a:lnTo>
                    <a:lnTo>
                      <a:pt x="13" y="84"/>
                    </a:lnTo>
                    <a:lnTo>
                      <a:pt x="12" y="84"/>
                    </a:lnTo>
                    <a:lnTo>
                      <a:pt x="12" y="83"/>
                    </a:lnTo>
                    <a:lnTo>
                      <a:pt x="10" y="76"/>
                    </a:lnTo>
                    <a:lnTo>
                      <a:pt x="10" y="73"/>
                    </a:lnTo>
                    <a:lnTo>
                      <a:pt x="10" y="70"/>
                    </a:lnTo>
                    <a:lnTo>
                      <a:pt x="13" y="67"/>
                    </a:lnTo>
                    <a:lnTo>
                      <a:pt x="25" y="56"/>
                    </a:lnTo>
                    <a:lnTo>
                      <a:pt x="27" y="53"/>
                    </a:lnTo>
                    <a:lnTo>
                      <a:pt x="29" y="51"/>
                    </a:lnTo>
                    <a:lnTo>
                      <a:pt x="32" y="51"/>
                    </a:lnTo>
                    <a:lnTo>
                      <a:pt x="33" y="50"/>
                    </a:lnTo>
                    <a:lnTo>
                      <a:pt x="35" y="47"/>
                    </a:lnTo>
                    <a:lnTo>
                      <a:pt x="35" y="46"/>
                    </a:lnTo>
                    <a:lnTo>
                      <a:pt x="35" y="44"/>
                    </a:lnTo>
                    <a:lnTo>
                      <a:pt x="35" y="43"/>
                    </a:lnTo>
                    <a:lnTo>
                      <a:pt x="35" y="41"/>
                    </a:lnTo>
                    <a:lnTo>
                      <a:pt x="35" y="40"/>
                    </a:lnTo>
                    <a:lnTo>
                      <a:pt x="35" y="40"/>
                    </a:lnTo>
                    <a:lnTo>
                      <a:pt x="35" y="40"/>
                    </a:lnTo>
                    <a:lnTo>
                      <a:pt x="35" y="38"/>
                    </a:lnTo>
                    <a:lnTo>
                      <a:pt x="35" y="38"/>
                    </a:lnTo>
                    <a:lnTo>
                      <a:pt x="35" y="38"/>
                    </a:lnTo>
                    <a:lnTo>
                      <a:pt x="35" y="37"/>
                    </a:lnTo>
                    <a:lnTo>
                      <a:pt x="33" y="37"/>
                    </a:lnTo>
                    <a:lnTo>
                      <a:pt x="32" y="31"/>
                    </a:lnTo>
                    <a:lnTo>
                      <a:pt x="30" y="30"/>
                    </a:lnTo>
                    <a:lnTo>
                      <a:pt x="29" y="28"/>
                    </a:lnTo>
                    <a:lnTo>
                      <a:pt x="27" y="27"/>
                    </a:lnTo>
                    <a:lnTo>
                      <a:pt x="27" y="26"/>
                    </a:lnTo>
                    <a:lnTo>
                      <a:pt x="27" y="24"/>
                    </a:lnTo>
                    <a:lnTo>
                      <a:pt x="27" y="23"/>
                    </a:lnTo>
                    <a:lnTo>
                      <a:pt x="26" y="21"/>
                    </a:lnTo>
                    <a:lnTo>
                      <a:pt x="26" y="18"/>
                    </a:lnTo>
                    <a:lnTo>
                      <a:pt x="27" y="18"/>
                    </a:lnTo>
                    <a:lnTo>
                      <a:pt x="33" y="18"/>
                    </a:lnTo>
                    <a:lnTo>
                      <a:pt x="33" y="18"/>
                    </a:lnTo>
                    <a:lnTo>
                      <a:pt x="35" y="18"/>
                    </a:lnTo>
                    <a:lnTo>
                      <a:pt x="36" y="17"/>
                    </a:lnTo>
                    <a:lnTo>
                      <a:pt x="36" y="17"/>
                    </a:lnTo>
                    <a:lnTo>
                      <a:pt x="39" y="14"/>
                    </a:lnTo>
                    <a:lnTo>
                      <a:pt x="39" y="13"/>
                    </a:lnTo>
                    <a:lnTo>
                      <a:pt x="43" y="11"/>
                    </a:lnTo>
                    <a:lnTo>
                      <a:pt x="48" y="11"/>
                    </a:lnTo>
                    <a:lnTo>
                      <a:pt x="58" y="11"/>
                    </a:lnTo>
                    <a:lnTo>
                      <a:pt x="63" y="11"/>
                    </a:lnTo>
                    <a:lnTo>
                      <a:pt x="79" y="14"/>
                    </a:lnTo>
                    <a:lnTo>
                      <a:pt x="86" y="14"/>
                    </a:lnTo>
                    <a:lnTo>
                      <a:pt x="89" y="15"/>
                    </a:lnTo>
                    <a:lnTo>
                      <a:pt x="89" y="15"/>
                    </a:lnTo>
                    <a:lnTo>
                      <a:pt x="91" y="18"/>
                    </a:lnTo>
                    <a:lnTo>
                      <a:pt x="91" y="18"/>
                    </a:lnTo>
                    <a:lnTo>
                      <a:pt x="92" y="20"/>
                    </a:lnTo>
                    <a:lnTo>
                      <a:pt x="93" y="18"/>
                    </a:lnTo>
                    <a:lnTo>
                      <a:pt x="93" y="18"/>
                    </a:lnTo>
                    <a:lnTo>
                      <a:pt x="95" y="18"/>
                    </a:lnTo>
                    <a:lnTo>
                      <a:pt x="96" y="18"/>
                    </a:lnTo>
                    <a:lnTo>
                      <a:pt x="96" y="18"/>
                    </a:lnTo>
                    <a:lnTo>
                      <a:pt x="96" y="20"/>
                    </a:lnTo>
                    <a:lnTo>
                      <a:pt x="98" y="20"/>
                    </a:lnTo>
                    <a:lnTo>
                      <a:pt x="98" y="20"/>
                    </a:lnTo>
                    <a:lnTo>
                      <a:pt x="98" y="21"/>
                    </a:lnTo>
                    <a:lnTo>
                      <a:pt x="98" y="21"/>
                    </a:lnTo>
                    <a:lnTo>
                      <a:pt x="98" y="21"/>
                    </a:lnTo>
                    <a:lnTo>
                      <a:pt x="99" y="21"/>
                    </a:lnTo>
                    <a:lnTo>
                      <a:pt x="99" y="21"/>
                    </a:lnTo>
                    <a:lnTo>
                      <a:pt x="99" y="21"/>
                    </a:lnTo>
                    <a:lnTo>
                      <a:pt x="101" y="21"/>
                    </a:lnTo>
                    <a:lnTo>
                      <a:pt x="101" y="21"/>
                    </a:lnTo>
                    <a:lnTo>
                      <a:pt x="102" y="20"/>
                    </a:lnTo>
                    <a:lnTo>
                      <a:pt x="106" y="18"/>
                    </a:lnTo>
                    <a:lnTo>
                      <a:pt x="109" y="20"/>
                    </a:lnTo>
                    <a:lnTo>
                      <a:pt x="111" y="20"/>
                    </a:lnTo>
                    <a:lnTo>
                      <a:pt x="112" y="20"/>
                    </a:lnTo>
                    <a:lnTo>
                      <a:pt x="115" y="21"/>
                    </a:lnTo>
                    <a:lnTo>
                      <a:pt x="115" y="21"/>
                    </a:lnTo>
                    <a:lnTo>
                      <a:pt x="115" y="23"/>
                    </a:lnTo>
                    <a:lnTo>
                      <a:pt x="115" y="23"/>
                    </a:lnTo>
                    <a:lnTo>
                      <a:pt x="116" y="23"/>
                    </a:lnTo>
                    <a:lnTo>
                      <a:pt x="116" y="23"/>
                    </a:lnTo>
                    <a:lnTo>
                      <a:pt x="118" y="21"/>
                    </a:lnTo>
                    <a:lnTo>
                      <a:pt x="119" y="21"/>
                    </a:lnTo>
                    <a:lnTo>
                      <a:pt x="122" y="18"/>
                    </a:lnTo>
                    <a:lnTo>
                      <a:pt x="124" y="20"/>
                    </a:lnTo>
                    <a:lnTo>
                      <a:pt x="125" y="23"/>
                    </a:lnTo>
                    <a:lnTo>
                      <a:pt x="128" y="24"/>
                    </a:lnTo>
                    <a:lnTo>
                      <a:pt x="129" y="24"/>
                    </a:lnTo>
                    <a:lnTo>
                      <a:pt x="139" y="23"/>
                    </a:lnTo>
                    <a:lnTo>
                      <a:pt x="141" y="23"/>
                    </a:lnTo>
                    <a:lnTo>
                      <a:pt x="142" y="23"/>
                    </a:lnTo>
                    <a:lnTo>
                      <a:pt x="144" y="23"/>
                    </a:lnTo>
                    <a:lnTo>
                      <a:pt x="144" y="24"/>
                    </a:lnTo>
                    <a:lnTo>
                      <a:pt x="144" y="26"/>
                    </a:lnTo>
                    <a:lnTo>
                      <a:pt x="145" y="26"/>
                    </a:lnTo>
                    <a:lnTo>
                      <a:pt x="148" y="27"/>
                    </a:lnTo>
                    <a:lnTo>
                      <a:pt x="149" y="27"/>
                    </a:lnTo>
                    <a:lnTo>
                      <a:pt x="149" y="26"/>
                    </a:lnTo>
                    <a:lnTo>
                      <a:pt x="149" y="23"/>
                    </a:lnTo>
                    <a:lnTo>
                      <a:pt x="149" y="18"/>
                    </a:lnTo>
                    <a:lnTo>
                      <a:pt x="149" y="15"/>
                    </a:lnTo>
                    <a:lnTo>
                      <a:pt x="151" y="14"/>
                    </a:lnTo>
                    <a:lnTo>
                      <a:pt x="155" y="10"/>
                    </a:lnTo>
                    <a:lnTo>
                      <a:pt x="160" y="7"/>
                    </a:lnTo>
                    <a:lnTo>
                      <a:pt x="164" y="7"/>
                    </a:lnTo>
                    <a:lnTo>
                      <a:pt x="170" y="7"/>
                    </a:lnTo>
                    <a:lnTo>
                      <a:pt x="171" y="7"/>
                    </a:lnTo>
                    <a:lnTo>
                      <a:pt x="171" y="7"/>
                    </a:lnTo>
                    <a:lnTo>
                      <a:pt x="172" y="7"/>
                    </a:lnTo>
                    <a:lnTo>
                      <a:pt x="174" y="8"/>
                    </a:lnTo>
                    <a:lnTo>
                      <a:pt x="174" y="8"/>
                    </a:lnTo>
                    <a:lnTo>
                      <a:pt x="175" y="8"/>
                    </a:lnTo>
                    <a:lnTo>
                      <a:pt x="177" y="7"/>
                    </a:lnTo>
                    <a:lnTo>
                      <a:pt x="177" y="7"/>
                    </a:lnTo>
                    <a:lnTo>
                      <a:pt x="178" y="7"/>
                    </a:lnTo>
                    <a:lnTo>
                      <a:pt x="178" y="7"/>
                    </a:lnTo>
                    <a:lnTo>
                      <a:pt x="180" y="5"/>
                    </a:lnTo>
                    <a:lnTo>
                      <a:pt x="180" y="4"/>
                    </a:lnTo>
                    <a:lnTo>
                      <a:pt x="181" y="3"/>
                    </a:lnTo>
                    <a:lnTo>
                      <a:pt x="181" y="1"/>
                    </a:lnTo>
                    <a:lnTo>
                      <a:pt x="181" y="1"/>
                    </a:lnTo>
                    <a:lnTo>
                      <a:pt x="181" y="1"/>
                    </a:lnTo>
                    <a:lnTo>
                      <a:pt x="183" y="1"/>
                    </a:lnTo>
                    <a:lnTo>
                      <a:pt x="183" y="1"/>
                    </a:lnTo>
                    <a:lnTo>
                      <a:pt x="185" y="1"/>
                    </a:lnTo>
                    <a:lnTo>
                      <a:pt x="188" y="3"/>
                    </a:lnTo>
                    <a:lnTo>
                      <a:pt x="190" y="3"/>
                    </a:lnTo>
                    <a:lnTo>
                      <a:pt x="193" y="1"/>
                    </a:lnTo>
                    <a:lnTo>
                      <a:pt x="193" y="1"/>
                    </a:lnTo>
                    <a:lnTo>
                      <a:pt x="194" y="1"/>
                    </a:lnTo>
                    <a:lnTo>
                      <a:pt x="194" y="0"/>
                    </a:lnTo>
                    <a:lnTo>
                      <a:pt x="195" y="0"/>
                    </a:lnTo>
                    <a:lnTo>
                      <a:pt x="197" y="0"/>
                    </a:lnTo>
                    <a:lnTo>
                      <a:pt x="197" y="0"/>
                    </a:lnTo>
                    <a:lnTo>
                      <a:pt x="198" y="0"/>
                    </a:lnTo>
                    <a:lnTo>
                      <a:pt x="198" y="0"/>
                    </a:lnTo>
                    <a:lnTo>
                      <a:pt x="200" y="0"/>
                    </a:lnTo>
                    <a:lnTo>
                      <a:pt x="201" y="1"/>
                    </a:lnTo>
                    <a:lnTo>
                      <a:pt x="203" y="1"/>
                    </a:lnTo>
                    <a:lnTo>
                      <a:pt x="204" y="0"/>
                    </a:lnTo>
                    <a:lnTo>
                      <a:pt x="204" y="0"/>
                    </a:lnTo>
                    <a:lnTo>
                      <a:pt x="206" y="1"/>
                    </a:lnTo>
                    <a:lnTo>
                      <a:pt x="208" y="3"/>
                    </a:lnTo>
                    <a:lnTo>
                      <a:pt x="208" y="4"/>
                    </a:lnTo>
                    <a:lnTo>
                      <a:pt x="210" y="4"/>
                    </a:lnTo>
                    <a:lnTo>
                      <a:pt x="210" y="5"/>
                    </a:lnTo>
                    <a:lnTo>
                      <a:pt x="210" y="7"/>
                    </a:lnTo>
                    <a:lnTo>
                      <a:pt x="210" y="7"/>
                    </a:lnTo>
                    <a:lnTo>
                      <a:pt x="211" y="10"/>
                    </a:lnTo>
                    <a:lnTo>
                      <a:pt x="213" y="11"/>
                    </a:lnTo>
                    <a:lnTo>
                      <a:pt x="217" y="14"/>
                    </a:lnTo>
                    <a:lnTo>
                      <a:pt x="217" y="15"/>
                    </a:lnTo>
                    <a:lnTo>
                      <a:pt x="217" y="15"/>
                    </a:lnTo>
                    <a:lnTo>
                      <a:pt x="217" y="15"/>
                    </a:lnTo>
                    <a:lnTo>
                      <a:pt x="216" y="15"/>
                    </a:lnTo>
                    <a:lnTo>
                      <a:pt x="214" y="17"/>
                    </a:lnTo>
                    <a:lnTo>
                      <a:pt x="213" y="17"/>
                    </a:lnTo>
                    <a:lnTo>
                      <a:pt x="213" y="17"/>
                    </a:lnTo>
                    <a:lnTo>
                      <a:pt x="211" y="17"/>
                    </a:lnTo>
                    <a:lnTo>
                      <a:pt x="211" y="18"/>
                    </a:lnTo>
                    <a:lnTo>
                      <a:pt x="211" y="18"/>
                    </a:lnTo>
                    <a:lnTo>
                      <a:pt x="211" y="18"/>
                    </a:lnTo>
                    <a:lnTo>
                      <a:pt x="213" y="20"/>
                    </a:lnTo>
                    <a:lnTo>
                      <a:pt x="213" y="20"/>
                    </a:lnTo>
                    <a:lnTo>
                      <a:pt x="213" y="21"/>
                    </a:lnTo>
                    <a:lnTo>
                      <a:pt x="213" y="23"/>
                    </a:lnTo>
                    <a:lnTo>
                      <a:pt x="213" y="23"/>
                    </a:lnTo>
                    <a:lnTo>
                      <a:pt x="213" y="24"/>
                    </a:lnTo>
                    <a:lnTo>
                      <a:pt x="214" y="24"/>
                    </a:lnTo>
                    <a:lnTo>
                      <a:pt x="214" y="26"/>
                    </a:lnTo>
                    <a:lnTo>
                      <a:pt x="214" y="27"/>
                    </a:lnTo>
                    <a:lnTo>
                      <a:pt x="213" y="27"/>
                    </a:lnTo>
                    <a:lnTo>
                      <a:pt x="213" y="28"/>
                    </a:lnTo>
                    <a:lnTo>
                      <a:pt x="213" y="28"/>
                    </a:lnTo>
                    <a:lnTo>
                      <a:pt x="213" y="28"/>
                    </a:lnTo>
                    <a:lnTo>
                      <a:pt x="213" y="28"/>
                    </a:lnTo>
                    <a:lnTo>
                      <a:pt x="214" y="28"/>
                    </a:lnTo>
                    <a:lnTo>
                      <a:pt x="216" y="28"/>
                    </a:lnTo>
                    <a:lnTo>
                      <a:pt x="217" y="28"/>
                    </a:lnTo>
                    <a:lnTo>
                      <a:pt x="218" y="28"/>
                    </a:lnTo>
                    <a:lnTo>
                      <a:pt x="221" y="30"/>
                    </a:lnTo>
                    <a:lnTo>
                      <a:pt x="223" y="30"/>
                    </a:lnTo>
                    <a:lnTo>
                      <a:pt x="224" y="30"/>
                    </a:lnTo>
                    <a:lnTo>
                      <a:pt x="226" y="30"/>
                    </a:lnTo>
                    <a:lnTo>
                      <a:pt x="227" y="30"/>
                    </a:lnTo>
                    <a:lnTo>
                      <a:pt x="228" y="30"/>
                    </a:lnTo>
                    <a:lnTo>
                      <a:pt x="228" y="30"/>
                    </a:lnTo>
                    <a:lnTo>
                      <a:pt x="228" y="30"/>
                    </a:lnTo>
                    <a:lnTo>
                      <a:pt x="228" y="31"/>
                    </a:lnTo>
                    <a:lnTo>
                      <a:pt x="228" y="31"/>
                    </a:lnTo>
                    <a:lnTo>
                      <a:pt x="230" y="33"/>
                    </a:lnTo>
                    <a:lnTo>
                      <a:pt x="230" y="33"/>
                    </a:lnTo>
                    <a:lnTo>
                      <a:pt x="230" y="34"/>
                    </a:lnTo>
                    <a:lnTo>
                      <a:pt x="230" y="34"/>
                    </a:lnTo>
                    <a:lnTo>
                      <a:pt x="231" y="33"/>
                    </a:lnTo>
                    <a:lnTo>
                      <a:pt x="233" y="34"/>
                    </a:lnTo>
                    <a:lnTo>
                      <a:pt x="233" y="34"/>
                    </a:lnTo>
                    <a:lnTo>
                      <a:pt x="233" y="34"/>
                    </a:lnTo>
                    <a:lnTo>
                      <a:pt x="233" y="34"/>
                    </a:lnTo>
                    <a:lnTo>
                      <a:pt x="233" y="36"/>
                    </a:lnTo>
                    <a:lnTo>
                      <a:pt x="233" y="38"/>
                    </a:lnTo>
                    <a:lnTo>
                      <a:pt x="233" y="40"/>
                    </a:lnTo>
                    <a:lnTo>
                      <a:pt x="234" y="40"/>
                    </a:lnTo>
                    <a:lnTo>
                      <a:pt x="234" y="40"/>
                    </a:lnTo>
                    <a:lnTo>
                      <a:pt x="234" y="41"/>
                    </a:lnTo>
                    <a:lnTo>
                      <a:pt x="234" y="41"/>
                    </a:lnTo>
                    <a:lnTo>
                      <a:pt x="234" y="43"/>
                    </a:lnTo>
                    <a:lnTo>
                      <a:pt x="234" y="43"/>
                    </a:lnTo>
                    <a:lnTo>
                      <a:pt x="234" y="44"/>
                    </a:lnTo>
                    <a:lnTo>
                      <a:pt x="234" y="46"/>
                    </a:lnTo>
                    <a:lnTo>
                      <a:pt x="234" y="47"/>
                    </a:lnTo>
                    <a:lnTo>
                      <a:pt x="236" y="49"/>
                    </a:lnTo>
                    <a:lnTo>
                      <a:pt x="237" y="50"/>
                    </a:lnTo>
                    <a:lnTo>
                      <a:pt x="239" y="51"/>
                    </a:lnTo>
                    <a:lnTo>
                      <a:pt x="239" y="51"/>
                    </a:lnTo>
                    <a:lnTo>
                      <a:pt x="239" y="51"/>
                    </a:lnTo>
                    <a:lnTo>
                      <a:pt x="239" y="51"/>
                    </a:lnTo>
                    <a:lnTo>
                      <a:pt x="240" y="51"/>
                    </a:lnTo>
                    <a:lnTo>
                      <a:pt x="240" y="51"/>
                    </a:lnTo>
                    <a:lnTo>
                      <a:pt x="241" y="50"/>
                    </a:lnTo>
                    <a:lnTo>
                      <a:pt x="243" y="50"/>
                    </a:lnTo>
                    <a:lnTo>
                      <a:pt x="243" y="50"/>
                    </a:lnTo>
                    <a:lnTo>
                      <a:pt x="243" y="50"/>
                    </a:lnTo>
                    <a:lnTo>
                      <a:pt x="244" y="50"/>
                    </a:lnTo>
                    <a:lnTo>
                      <a:pt x="244" y="50"/>
                    </a:lnTo>
                    <a:lnTo>
                      <a:pt x="246" y="50"/>
                    </a:lnTo>
                    <a:lnTo>
                      <a:pt x="247" y="51"/>
                    </a:lnTo>
                    <a:lnTo>
                      <a:pt x="247" y="51"/>
                    </a:lnTo>
                    <a:lnTo>
                      <a:pt x="249" y="53"/>
                    </a:lnTo>
                    <a:lnTo>
                      <a:pt x="250" y="54"/>
                    </a:lnTo>
                    <a:lnTo>
                      <a:pt x="251" y="53"/>
                    </a:lnTo>
                    <a:lnTo>
                      <a:pt x="253" y="54"/>
                    </a:lnTo>
                    <a:lnTo>
                      <a:pt x="254" y="54"/>
                    </a:lnTo>
                    <a:lnTo>
                      <a:pt x="254" y="56"/>
                    </a:lnTo>
                    <a:lnTo>
                      <a:pt x="256" y="56"/>
                    </a:lnTo>
                    <a:lnTo>
                      <a:pt x="257" y="54"/>
                    </a:lnTo>
                    <a:lnTo>
                      <a:pt x="259" y="54"/>
                    </a:lnTo>
                    <a:lnTo>
                      <a:pt x="260" y="53"/>
                    </a:lnTo>
                    <a:lnTo>
                      <a:pt x="262" y="53"/>
                    </a:lnTo>
                    <a:lnTo>
                      <a:pt x="263" y="53"/>
                    </a:lnTo>
                    <a:lnTo>
                      <a:pt x="263" y="53"/>
                    </a:lnTo>
                    <a:lnTo>
                      <a:pt x="264" y="51"/>
                    </a:lnTo>
                    <a:lnTo>
                      <a:pt x="264" y="51"/>
                    </a:lnTo>
                    <a:lnTo>
                      <a:pt x="266" y="51"/>
                    </a:lnTo>
                    <a:lnTo>
                      <a:pt x="266" y="51"/>
                    </a:lnTo>
                    <a:lnTo>
                      <a:pt x="267" y="51"/>
                    </a:lnTo>
                    <a:lnTo>
                      <a:pt x="267" y="50"/>
                    </a:lnTo>
                    <a:lnTo>
                      <a:pt x="269" y="50"/>
                    </a:lnTo>
                    <a:lnTo>
                      <a:pt x="270" y="51"/>
                    </a:lnTo>
                    <a:lnTo>
                      <a:pt x="270" y="51"/>
                    </a:lnTo>
                    <a:lnTo>
                      <a:pt x="273" y="54"/>
                    </a:lnTo>
                    <a:lnTo>
                      <a:pt x="273" y="56"/>
                    </a:lnTo>
                    <a:lnTo>
                      <a:pt x="273" y="57"/>
                    </a:lnTo>
                    <a:lnTo>
                      <a:pt x="274" y="59"/>
                    </a:lnTo>
                    <a:lnTo>
                      <a:pt x="274" y="59"/>
                    </a:lnTo>
                    <a:lnTo>
                      <a:pt x="276" y="60"/>
                    </a:lnTo>
                    <a:lnTo>
                      <a:pt x="277" y="60"/>
                    </a:lnTo>
                    <a:lnTo>
                      <a:pt x="279" y="61"/>
                    </a:lnTo>
                    <a:lnTo>
                      <a:pt x="280" y="63"/>
                    </a:lnTo>
                    <a:lnTo>
                      <a:pt x="280" y="63"/>
                    </a:lnTo>
                    <a:lnTo>
                      <a:pt x="282" y="63"/>
                    </a:lnTo>
                    <a:lnTo>
                      <a:pt x="282" y="63"/>
                    </a:lnTo>
                    <a:lnTo>
                      <a:pt x="282" y="63"/>
                    </a:lnTo>
                    <a:lnTo>
                      <a:pt x="283" y="63"/>
                    </a:lnTo>
                    <a:lnTo>
                      <a:pt x="283" y="60"/>
                    </a:lnTo>
                    <a:lnTo>
                      <a:pt x="284" y="60"/>
                    </a:lnTo>
                    <a:lnTo>
                      <a:pt x="289" y="61"/>
                    </a:lnTo>
                    <a:lnTo>
                      <a:pt x="295" y="64"/>
                    </a:lnTo>
                    <a:lnTo>
                      <a:pt x="296" y="66"/>
                    </a:lnTo>
                    <a:lnTo>
                      <a:pt x="296" y="66"/>
                    </a:lnTo>
                    <a:lnTo>
                      <a:pt x="297" y="66"/>
                    </a:lnTo>
                    <a:lnTo>
                      <a:pt x="297" y="66"/>
                    </a:lnTo>
                    <a:lnTo>
                      <a:pt x="299" y="66"/>
                    </a:lnTo>
                    <a:lnTo>
                      <a:pt x="300" y="64"/>
                    </a:lnTo>
                    <a:lnTo>
                      <a:pt x="300" y="66"/>
                    </a:lnTo>
                    <a:lnTo>
                      <a:pt x="302" y="67"/>
                    </a:lnTo>
                    <a:lnTo>
                      <a:pt x="302" y="67"/>
                    </a:lnTo>
                    <a:lnTo>
                      <a:pt x="303" y="69"/>
                    </a:lnTo>
                    <a:lnTo>
                      <a:pt x="305" y="69"/>
                    </a:lnTo>
                    <a:lnTo>
                      <a:pt x="306" y="69"/>
                    </a:lnTo>
                    <a:lnTo>
                      <a:pt x="306" y="69"/>
                    </a:lnTo>
                    <a:lnTo>
                      <a:pt x="307" y="70"/>
                    </a:lnTo>
                    <a:lnTo>
                      <a:pt x="309" y="70"/>
                    </a:lnTo>
                    <a:lnTo>
                      <a:pt x="310" y="73"/>
                    </a:lnTo>
                    <a:lnTo>
                      <a:pt x="312" y="73"/>
                    </a:lnTo>
                    <a:lnTo>
                      <a:pt x="313" y="72"/>
                    </a:lnTo>
                    <a:lnTo>
                      <a:pt x="315" y="72"/>
                    </a:lnTo>
                    <a:lnTo>
                      <a:pt x="315" y="72"/>
                    </a:lnTo>
                    <a:lnTo>
                      <a:pt x="316" y="72"/>
                    </a:lnTo>
                    <a:lnTo>
                      <a:pt x="316" y="73"/>
                    </a:lnTo>
                    <a:lnTo>
                      <a:pt x="316" y="73"/>
                    </a:lnTo>
                    <a:lnTo>
                      <a:pt x="316" y="74"/>
                    </a:lnTo>
                    <a:lnTo>
                      <a:pt x="316" y="76"/>
                    </a:lnTo>
                    <a:lnTo>
                      <a:pt x="316" y="77"/>
                    </a:lnTo>
                    <a:lnTo>
                      <a:pt x="318" y="77"/>
                    </a:lnTo>
                    <a:lnTo>
                      <a:pt x="318" y="77"/>
                    </a:lnTo>
                    <a:lnTo>
                      <a:pt x="318" y="79"/>
                    </a:lnTo>
                    <a:lnTo>
                      <a:pt x="318" y="79"/>
                    </a:lnTo>
                    <a:lnTo>
                      <a:pt x="318" y="79"/>
                    </a:lnTo>
                    <a:lnTo>
                      <a:pt x="318" y="80"/>
                    </a:lnTo>
                    <a:lnTo>
                      <a:pt x="316" y="80"/>
                    </a:lnTo>
                    <a:lnTo>
                      <a:pt x="316" y="82"/>
                    </a:lnTo>
                    <a:lnTo>
                      <a:pt x="316" y="82"/>
                    </a:lnTo>
                    <a:lnTo>
                      <a:pt x="313" y="84"/>
                    </a:lnTo>
                    <a:lnTo>
                      <a:pt x="313" y="84"/>
                    </a:lnTo>
                    <a:lnTo>
                      <a:pt x="313" y="86"/>
                    </a:lnTo>
                    <a:lnTo>
                      <a:pt x="312" y="86"/>
                    </a:lnTo>
                    <a:lnTo>
                      <a:pt x="312" y="86"/>
                    </a:lnTo>
                    <a:lnTo>
                      <a:pt x="312" y="86"/>
                    </a:lnTo>
                    <a:lnTo>
                      <a:pt x="310" y="86"/>
                    </a:lnTo>
                    <a:lnTo>
                      <a:pt x="310" y="86"/>
                    </a:lnTo>
                    <a:lnTo>
                      <a:pt x="309" y="87"/>
                    </a:lnTo>
                    <a:lnTo>
                      <a:pt x="310" y="89"/>
                    </a:lnTo>
                    <a:lnTo>
                      <a:pt x="312" y="89"/>
                    </a:lnTo>
                    <a:lnTo>
                      <a:pt x="313" y="90"/>
                    </a:lnTo>
                    <a:lnTo>
                      <a:pt x="315" y="92"/>
                    </a:lnTo>
                    <a:lnTo>
                      <a:pt x="315" y="92"/>
                    </a:lnTo>
                    <a:lnTo>
                      <a:pt x="315" y="92"/>
                    </a:lnTo>
                    <a:lnTo>
                      <a:pt x="313" y="92"/>
                    </a:lnTo>
                    <a:lnTo>
                      <a:pt x="313" y="92"/>
                    </a:lnTo>
                    <a:lnTo>
                      <a:pt x="312" y="92"/>
                    </a:lnTo>
                    <a:lnTo>
                      <a:pt x="312" y="92"/>
                    </a:lnTo>
                    <a:lnTo>
                      <a:pt x="312" y="92"/>
                    </a:lnTo>
                    <a:lnTo>
                      <a:pt x="310" y="92"/>
                    </a:lnTo>
                    <a:lnTo>
                      <a:pt x="310" y="93"/>
                    </a:lnTo>
                    <a:lnTo>
                      <a:pt x="309" y="95"/>
                    </a:lnTo>
                    <a:lnTo>
                      <a:pt x="309" y="96"/>
                    </a:lnTo>
                    <a:lnTo>
                      <a:pt x="309" y="97"/>
                    </a:lnTo>
                    <a:lnTo>
                      <a:pt x="310" y="97"/>
                    </a:lnTo>
                    <a:lnTo>
                      <a:pt x="312" y="97"/>
                    </a:lnTo>
                    <a:lnTo>
                      <a:pt x="312" y="99"/>
                    </a:lnTo>
                    <a:lnTo>
                      <a:pt x="313" y="100"/>
                    </a:lnTo>
                    <a:lnTo>
                      <a:pt x="313" y="103"/>
                    </a:lnTo>
                    <a:lnTo>
                      <a:pt x="313" y="103"/>
                    </a:lnTo>
                    <a:lnTo>
                      <a:pt x="312" y="103"/>
                    </a:lnTo>
                    <a:lnTo>
                      <a:pt x="312" y="105"/>
                    </a:lnTo>
                    <a:lnTo>
                      <a:pt x="312" y="105"/>
                    </a:lnTo>
                    <a:lnTo>
                      <a:pt x="313" y="105"/>
                    </a:lnTo>
                    <a:lnTo>
                      <a:pt x="313" y="105"/>
                    </a:lnTo>
                    <a:lnTo>
                      <a:pt x="313" y="105"/>
                    </a:lnTo>
                    <a:lnTo>
                      <a:pt x="315" y="105"/>
                    </a:lnTo>
                    <a:lnTo>
                      <a:pt x="315" y="106"/>
                    </a:lnTo>
                    <a:lnTo>
                      <a:pt x="315" y="106"/>
                    </a:lnTo>
                    <a:lnTo>
                      <a:pt x="313" y="107"/>
                    </a:lnTo>
                    <a:lnTo>
                      <a:pt x="312" y="109"/>
                    </a:lnTo>
                    <a:lnTo>
                      <a:pt x="310" y="112"/>
                    </a:lnTo>
                    <a:lnTo>
                      <a:pt x="310" y="112"/>
                    </a:lnTo>
                    <a:lnTo>
                      <a:pt x="310" y="112"/>
                    </a:lnTo>
                    <a:lnTo>
                      <a:pt x="310" y="112"/>
                    </a:lnTo>
                    <a:lnTo>
                      <a:pt x="310" y="112"/>
                    </a:lnTo>
                    <a:lnTo>
                      <a:pt x="310" y="113"/>
                    </a:lnTo>
                    <a:lnTo>
                      <a:pt x="310" y="115"/>
                    </a:lnTo>
                    <a:lnTo>
                      <a:pt x="310" y="115"/>
                    </a:lnTo>
                    <a:lnTo>
                      <a:pt x="305" y="116"/>
                    </a:lnTo>
                    <a:lnTo>
                      <a:pt x="299" y="115"/>
                    </a:lnTo>
                    <a:lnTo>
                      <a:pt x="296" y="115"/>
                    </a:lnTo>
                    <a:lnTo>
                      <a:pt x="295" y="115"/>
                    </a:lnTo>
                    <a:lnTo>
                      <a:pt x="295" y="116"/>
                    </a:lnTo>
                    <a:lnTo>
                      <a:pt x="293" y="116"/>
                    </a:lnTo>
                    <a:lnTo>
                      <a:pt x="293" y="118"/>
                    </a:lnTo>
                    <a:lnTo>
                      <a:pt x="293" y="118"/>
                    </a:lnTo>
                    <a:lnTo>
                      <a:pt x="292" y="119"/>
                    </a:lnTo>
                    <a:lnTo>
                      <a:pt x="292" y="119"/>
                    </a:lnTo>
                    <a:lnTo>
                      <a:pt x="292" y="119"/>
                    </a:lnTo>
                    <a:lnTo>
                      <a:pt x="289" y="120"/>
                    </a:lnTo>
                    <a:lnTo>
                      <a:pt x="286" y="120"/>
                    </a:lnTo>
                    <a:lnTo>
                      <a:pt x="286" y="122"/>
                    </a:lnTo>
                    <a:lnTo>
                      <a:pt x="284" y="122"/>
                    </a:lnTo>
                    <a:lnTo>
                      <a:pt x="284" y="123"/>
                    </a:lnTo>
                    <a:lnTo>
                      <a:pt x="284" y="123"/>
                    </a:lnTo>
                    <a:lnTo>
                      <a:pt x="284" y="125"/>
                    </a:lnTo>
                    <a:lnTo>
                      <a:pt x="284" y="125"/>
                    </a:lnTo>
                    <a:lnTo>
                      <a:pt x="284" y="126"/>
                    </a:lnTo>
                    <a:lnTo>
                      <a:pt x="284" y="126"/>
                    </a:lnTo>
                    <a:lnTo>
                      <a:pt x="283" y="126"/>
                    </a:lnTo>
                    <a:lnTo>
                      <a:pt x="283" y="128"/>
                    </a:lnTo>
                    <a:lnTo>
                      <a:pt x="283" y="128"/>
                    </a:lnTo>
                    <a:lnTo>
                      <a:pt x="283" y="128"/>
                    </a:lnTo>
                    <a:lnTo>
                      <a:pt x="284" y="129"/>
                    </a:lnTo>
                    <a:lnTo>
                      <a:pt x="284" y="129"/>
                    </a:lnTo>
                    <a:lnTo>
                      <a:pt x="284" y="129"/>
                    </a:lnTo>
                    <a:lnTo>
                      <a:pt x="284" y="130"/>
                    </a:lnTo>
                    <a:lnTo>
                      <a:pt x="284" y="130"/>
                    </a:lnTo>
                    <a:lnTo>
                      <a:pt x="283" y="130"/>
                    </a:lnTo>
                    <a:lnTo>
                      <a:pt x="283" y="130"/>
                    </a:lnTo>
                    <a:close/>
                    <a:moveTo>
                      <a:pt x="170" y="153"/>
                    </a:moveTo>
                    <a:lnTo>
                      <a:pt x="174" y="155"/>
                    </a:lnTo>
                    <a:lnTo>
                      <a:pt x="177" y="155"/>
                    </a:lnTo>
                    <a:lnTo>
                      <a:pt x="174" y="153"/>
                    </a:lnTo>
                    <a:lnTo>
                      <a:pt x="171" y="153"/>
                    </a:lnTo>
                    <a:lnTo>
                      <a:pt x="168" y="152"/>
                    </a:lnTo>
                    <a:lnTo>
                      <a:pt x="165" y="149"/>
                    </a:lnTo>
                    <a:lnTo>
                      <a:pt x="167" y="152"/>
                    </a:lnTo>
                    <a:lnTo>
                      <a:pt x="170" y="15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76" name="Freeform 82">
                <a:extLst>
                  <a:ext uri="{FF2B5EF4-FFF2-40B4-BE49-F238E27FC236}">
                    <a16:creationId xmlns:a16="http://schemas.microsoft.com/office/drawing/2014/main" id="{E49908C4-57BE-C759-2A59-72AB7F1CD634}"/>
                  </a:ext>
                </a:extLst>
              </p:cNvPr>
              <p:cNvSpPr>
                <a:spLocks/>
              </p:cNvSpPr>
              <p:nvPr/>
            </p:nvSpPr>
            <p:spPr bwMode="auto">
              <a:xfrm>
                <a:off x="4116" y="2055"/>
                <a:ext cx="38" cy="22"/>
              </a:xfrm>
              <a:custGeom>
                <a:avLst/>
                <a:gdLst>
                  <a:gd name="T0" fmla="*/ 31 w 38"/>
                  <a:gd name="T1" fmla="*/ 4 h 22"/>
                  <a:gd name="T2" fmla="*/ 37 w 38"/>
                  <a:gd name="T3" fmla="*/ 1 h 22"/>
                  <a:gd name="T4" fmla="*/ 38 w 38"/>
                  <a:gd name="T5" fmla="*/ 0 h 22"/>
                  <a:gd name="T6" fmla="*/ 36 w 38"/>
                  <a:gd name="T7" fmla="*/ 1 h 22"/>
                  <a:gd name="T8" fmla="*/ 26 w 38"/>
                  <a:gd name="T9" fmla="*/ 6 h 22"/>
                  <a:gd name="T10" fmla="*/ 23 w 38"/>
                  <a:gd name="T11" fmla="*/ 6 h 22"/>
                  <a:gd name="T12" fmla="*/ 18 w 38"/>
                  <a:gd name="T13" fmla="*/ 6 h 22"/>
                  <a:gd name="T14" fmla="*/ 14 w 38"/>
                  <a:gd name="T15" fmla="*/ 6 h 22"/>
                  <a:gd name="T16" fmla="*/ 11 w 38"/>
                  <a:gd name="T17" fmla="*/ 6 h 22"/>
                  <a:gd name="T18" fmla="*/ 10 w 38"/>
                  <a:gd name="T19" fmla="*/ 7 h 22"/>
                  <a:gd name="T20" fmla="*/ 10 w 38"/>
                  <a:gd name="T21" fmla="*/ 9 h 22"/>
                  <a:gd name="T22" fmla="*/ 8 w 38"/>
                  <a:gd name="T23" fmla="*/ 9 h 22"/>
                  <a:gd name="T24" fmla="*/ 7 w 38"/>
                  <a:gd name="T25" fmla="*/ 10 h 22"/>
                  <a:gd name="T26" fmla="*/ 3 w 38"/>
                  <a:gd name="T27" fmla="*/ 11 h 22"/>
                  <a:gd name="T28" fmla="*/ 1 w 38"/>
                  <a:gd name="T29" fmla="*/ 11 h 22"/>
                  <a:gd name="T30" fmla="*/ 0 w 38"/>
                  <a:gd name="T31" fmla="*/ 11 h 22"/>
                  <a:gd name="T32" fmla="*/ 0 w 38"/>
                  <a:gd name="T33" fmla="*/ 14 h 22"/>
                  <a:gd name="T34" fmla="*/ 1 w 38"/>
                  <a:gd name="T35" fmla="*/ 17 h 22"/>
                  <a:gd name="T36" fmla="*/ 3 w 38"/>
                  <a:gd name="T37" fmla="*/ 19 h 22"/>
                  <a:gd name="T38" fmla="*/ 5 w 38"/>
                  <a:gd name="T39" fmla="*/ 20 h 22"/>
                  <a:gd name="T40" fmla="*/ 11 w 38"/>
                  <a:gd name="T41" fmla="*/ 22 h 22"/>
                  <a:gd name="T42" fmla="*/ 13 w 38"/>
                  <a:gd name="T43" fmla="*/ 22 h 22"/>
                  <a:gd name="T44" fmla="*/ 13 w 38"/>
                  <a:gd name="T45" fmla="*/ 22 h 22"/>
                  <a:gd name="T46" fmla="*/ 13 w 38"/>
                  <a:gd name="T47" fmla="*/ 20 h 22"/>
                  <a:gd name="T48" fmla="*/ 14 w 38"/>
                  <a:gd name="T49" fmla="*/ 20 h 22"/>
                  <a:gd name="T50" fmla="*/ 14 w 38"/>
                  <a:gd name="T51" fmla="*/ 19 h 22"/>
                  <a:gd name="T52" fmla="*/ 15 w 38"/>
                  <a:gd name="T53" fmla="*/ 19 h 22"/>
                  <a:gd name="T54" fmla="*/ 18 w 38"/>
                  <a:gd name="T55" fmla="*/ 19 h 22"/>
                  <a:gd name="T56" fmla="*/ 20 w 38"/>
                  <a:gd name="T57" fmla="*/ 17 h 22"/>
                  <a:gd name="T58" fmla="*/ 21 w 38"/>
                  <a:gd name="T59" fmla="*/ 17 h 22"/>
                  <a:gd name="T60" fmla="*/ 24 w 38"/>
                  <a:gd name="T61" fmla="*/ 14 h 22"/>
                  <a:gd name="T62" fmla="*/ 24 w 38"/>
                  <a:gd name="T63" fmla="*/ 14 h 22"/>
                  <a:gd name="T64" fmla="*/ 26 w 38"/>
                  <a:gd name="T65" fmla="*/ 13 h 22"/>
                  <a:gd name="T66" fmla="*/ 28 w 38"/>
                  <a:gd name="T67" fmla="*/ 13 h 22"/>
                  <a:gd name="T68" fmla="*/ 30 w 38"/>
                  <a:gd name="T69" fmla="*/ 13 h 22"/>
                  <a:gd name="T70" fmla="*/ 28 w 38"/>
                  <a:gd name="T71" fmla="*/ 10 h 22"/>
                  <a:gd name="T72" fmla="*/ 28 w 38"/>
                  <a:gd name="T73" fmla="*/ 9 h 22"/>
                  <a:gd name="T74" fmla="*/ 28 w 38"/>
                  <a:gd name="T75" fmla="*/ 7 h 22"/>
                  <a:gd name="T76" fmla="*/ 31 w 38"/>
                  <a:gd name="T77"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 h="22">
                    <a:moveTo>
                      <a:pt x="31" y="4"/>
                    </a:moveTo>
                    <a:lnTo>
                      <a:pt x="37" y="1"/>
                    </a:lnTo>
                    <a:lnTo>
                      <a:pt x="38" y="0"/>
                    </a:lnTo>
                    <a:lnTo>
                      <a:pt x="36" y="1"/>
                    </a:lnTo>
                    <a:lnTo>
                      <a:pt x="26" y="6"/>
                    </a:lnTo>
                    <a:lnTo>
                      <a:pt x="23" y="6"/>
                    </a:lnTo>
                    <a:lnTo>
                      <a:pt x="18" y="6"/>
                    </a:lnTo>
                    <a:lnTo>
                      <a:pt x="14" y="6"/>
                    </a:lnTo>
                    <a:lnTo>
                      <a:pt x="11" y="6"/>
                    </a:lnTo>
                    <a:lnTo>
                      <a:pt x="10" y="7"/>
                    </a:lnTo>
                    <a:lnTo>
                      <a:pt x="10" y="9"/>
                    </a:lnTo>
                    <a:lnTo>
                      <a:pt x="8" y="9"/>
                    </a:lnTo>
                    <a:lnTo>
                      <a:pt x="7" y="10"/>
                    </a:lnTo>
                    <a:lnTo>
                      <a:pt x="3" y="11"/>
                    </a:lnTo>
                    <a:lnTo>
                      <a:pt x="1" y="11"/>
                    </a:lnTo>
                    <a:lnTo>
                      <a:pt x="0" y="11"/>
                    </a:lnTo>
                    <a:lnTo>
                      <a:pt x="0" y="14"/>
                    </a:lnTo>
                    <a:lnTo>
                      <a:pt x="1" y="17"/>
                    </a:lnTo>
                    <a:lnTo>
                      <a:pt x="3" y="19"/>
                    </a:lnTo>
                    <a:lnTo>
                      <a:pt x="5" y="20"/>
                    </a:lnTo>
                    <a:lnTo>
                      <a:pt x="11" y="22"/>
                    </a:lnTo>
                    <a:lnTo>
                      <a:pt x="13" y="22"/>
                    </a:lnTo>
                    <a:lnTo>
                      <a:pt x="13" y="22"/>
                    </a:lnTo>
                    <a:lnTo>
                      <a:pt x="13" y="20"/>
                    </a:lnTo>
                    <a:lnTo>
                      <a:pt x="14" y="20"/>
                    </a:lnTo>
                    <a:lnTo>
                      <a:pt x="14" y="19"/>
                    </a:lnTo>
                    <a:lnTo>
                      <a:pt x="15" y="19"/>
                    </a:lnTo>
                    <a:lnTo>
                      <a:pt x="18" y="19"/>
                    </a:lnTo>
                    <a:lnTo>
                      <a:pt x="20" y="17"/>
                    </a:lnTo>
                    <a:lnTo>
                      <a:pt x="21" y="17"/>
                    </a:lnTo>
                    <a:lnTo>
                      <a:pt x="24" y="14"/>
                    </a:lnTo>
                    <a:lnTo>
                      <a:pt x="24" y="14"/>
                    </a:lnTo>
                    <a:lnTo>
                      <a:pt x="26" y="13"/>
                    </a:lnTo>
                    <a:lnTo>
                      <a:pt x="28" y="13"/>
                    </a:lnTo>
                    <a:lnTo>
                      <a:pt x="30" y="13"/>
                    </a:lnTo>
                    <a:lnTo>
                      <a:pt x="28" y="10"/>
                    </a:lnTo>
                    <a:lnTo>
                      <a:pt x="28" y="9"/>
                    </a:lnTo>
                    <a:lnTo>
                      <a:pt x="28" y="7"/>
                    </a:lnTo>
                    <a:lnTo>
                      <a:pt x="31" y="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77" name="Freeform 83">
                <a:extLst>
                  <a:ext uri="{FF2B5EF4-FFF2-40B4-BE49-F238E27FC236}">
                    <a16:creationId xmlns:a16="http://schemas.microsoft.com/office/drawing/2014/main" id="{42084421-CBE2-70BD-CF0A-BBC4BB16EF64}"/>
                  </a:ext>
                </a:extLst>
              </p:cNvPr>
              <p:cNvSpPr>
                <a:spLocks noEditPoints="1"/>
              </p:cNvSpPr>
              <p:nvPr/>
            </p:nvSpPr>
            <p:spPr bwMode="auto">
              <a:xfrm>
                <a:off x="3606" y="1642"/>
                <a:ext cx="69" cy="72"/>
              </a:xfrm>
              <a:custGeom>
                <a:avLst/>
                <a:gdLst>
                  <a:gd name="T0" fmla="*/ 52 w 69"/>
                  <a:gd name="T1" fmla="*/ 3 h 72"/>
                  <a:gd name="T2" fmla="*/ 43 w 69"/>
                  <a:gd name="T3" fmla="*/ 5 h 72"/>
                  <a:gd name="T4" fmla="*/ 43 w 69"/>
                  <a:gd name="T5" fmla="*/ 3 h 72"/>
                  <a:gd name="T6" fmla="*/ 43 w 69"/>
                  <a:gd name="T7" fmla="*/ 5 h 72"/>
                  <a:gd name="T8" fmla="*/ 59 w 69"/>
                  <a:gd name="T9" fmla="*/ 0 h 72"/>
                  <a:gd name="T10" fmla="*/ 36 w 69"/>
                  <a:gd name="T11" fmla="*/ 5 h 72"/>
                  <a:gd name="T12" fmla="*/ 33 w 69"/>
                  <a:gd name="T13" fmla="*/ 5 h 72"/>
                  <a:gd name="T14" fmla="*/ 6 w 69"/>
                  <a:gd name="T15" fmla="*/ 57 h 72"/>
                  <a:gd name="T16" fmla="*/ 1 w 69"/>
                  <a:gd name="T17" fmla="*/ 58 h 72"/>
                  <a:gd name="T18" fmla="*/ 13 w 69"/>
                  <a:gd name="T19" fmla="*/ 59 h 72"/>
                  <a:gd name="T20" fmla="*/ 11 w 69"/>
                  <a:gd name="T21" fmla="*/ 57 h 72"/>
                  <a:gd name="T22" fmla="*/ 13 w 69"/>
                  <a:gd name="T23" fmla="*/ 48 h 72"/>
                  <a:gd name="T24" fmla="*/ 7 w 69"/>
                  <a:gd name="T25" fmla="*/ 48 h 72"/>
                  <a:gd name="T26" fmla="*/ 60 w 69"/>
                  <a:gd name="T27" fmla="*/ 5 h 72"/>
                  <a:gd name="T28" fmla="*/ 33 w 69"/>
                  <a:gd name="T29" fmla="*/ 13 h 72"/>
                  <a:gd name="T30" fmla="*/ 26 w 69"/>
                  <a:gd name="T31" fmla="*/ 18 h 72"/>
                  <a:gd name="T32" fmla="*/ 23 w 69"/>
                  <a:gd name="T33" fmla="*/ 23 h 72"/>
                  <a:gd name="T34" fmla="*/ 17 w 69"/>
                  <a:gd name="T35" fmla="*/ 36 h 72"/>
                  <a:gd name="T36" fmla="*/ 13 w 69"/>
                  <a:gd name="T37" fmla="*/ 46 h 72"/>
                  <a:gd name="T38" fmla="*/ 13 w 69"/>
                  <a:gd name="T39" fmla="*/ 51 h 72"/>
                  <a:gd name="T40" fmla="*/ 17 w 69"/>
                  <a:gd name="T41" fmla="*/ 54 h 72"/>
                  <a:gd name="T42" fmla="*/ 3 w 69"/>
                  <a:gd name="T43" fmla="*/ 51 h 72"/>
                  <a:gd name="T44" fmla="*/ 18 w 69"/>
                  <a:gd name="T45" fmla="*/ 57 h 72"/>
                  <a:gd name="T46" fmla="*/ 20 w 69"/>
                  <a:gd name="T47" fmla="*/ 54 h 72"/>
                  <a:gd name="T48" fmla="*/ 21 w 69"/>
                  <a:gd name="T49" fmla="*/ 54 h 72"/>
                  <a:gd name="T50" fmla="*/ 26 w 69"/>
                  <a:gd name="T51" fmla="*/ 54 h 72"/>
                  <a:gd name="T52" fmla="*/ 30 w 69"/>
                  <a:gd name="T53" fmla="*/ 54 h 72"/>
                  <a:gd name="T54" fmla="*/ 30 w 69"/>
                  <a:gd name="T55" fmla="*/ 55 h 72"/>
                  <a:gd name="T56" fmla="*/ 33 w 69"/>
                  <a:gd name="T57" fmla="*/ 58 h 72"/>
                  <a:gd name="T58" fmla="*/ 37 w 69"/>
                  <a:gd name="T59" fmla="*/ 58 h 72"/>
                  <a:gd name="T60" fmla="*/ 41 w 69"/>
                  <a:gd name="T61" fmla="*/ 68 h 72"/>
                  <a:gd name="T62" fmla="*/ 43 w 69"/>
                  <a:gd name="T63" fmla="*/ 72 h 72"/>
                  <a:gd name="T64" fmla="*/ 47 w 69"/>
                  <a:gd name="T65" fmla="*/ 72 h 72"/>
                  <a:gd name="T66" fmla="*/ 47 w 69"/>
                  <a:gd name="T67" fmla="*/ 68 h 72"/>
                  <a:gd name="T68" fmla="*/ 46 w 69"/>
                  <a:gd name="T69" fmla="*/ 67 h 72"/>
                  <a:gd name="T70" fmla="*/ 46 w 69"/>
                  <a:gd name="T71" fmla="*/ 65 h 72"/>
                  <a:gd name="T72" fmla="*/ 49 w 69"/>
                  <a:gd name="T73" fmla="*/ 62 h 72"/>
                  <a:gd name="T74" fmla="*/ 50 w 69"/>
                  <a:gd name="T75" fmla="*/ 52 h 72"/>
                  <a:gd name="T76" fmla="*/ 47 w 69"/>
                  <a:gd name="T77" fmla="*/ 45 h 72"/>
                  <a:gd name="T78" fmla="*/ 59 w 69"/>
                  <a:gd name="T79" fmla="*/ 44 h 72"/>
                  <a:gd name="T80" fmla="*/ 60 w 69"/>
                  <a:gd name="T81" fmla="*/ 38 h 72"/>
                  <a:gd name="T82" fmla="*/ 63 w 69"/>
                  <a:gd name="T83" fmla="*/ 36 h 72"/>
                  <a:gd name="T84" fmla="*/ 60 w 69"/>
                  <a:gd name="T85" fmla="*/ 25 h 72"/>
                  <a:gd name="T86" fmla="*/ 66 w 69"/>
                  <a:gd name="T87" fmla="*/ 23 h 72"/>
                  <a:gd name="T88" fmla="*/ 26 w 69"/>
                  <a:gd name="T89" fmla="*/ 15 h 72"/>
                  <a:gd name="T90" fmla="*/ 24 w 69"/>
                  <a:gd name="T91" fmla="*/ 13 h 72"/>
                  <a:gd name="T92" fmla="*/ 30 w 69"/>
                  <a:gd name="T93" fmla="*/ 8 h 72"/>
                  <a:gd name="T94" fmla="*/ 29 w 69"/>
                  <a:gd name="T95"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9" h="72">
                    <a:moveTo>
                      <a:pt x="50" y="3"/>
                    </a:moveTo>
                    <a:lnTo>
                      <a:pt x="50" y="3"/>
                    </a:lnTo>
                    <a:lnTo>
                      <a:pt x="50" y="3"/>
                    </a:lnTo>
                    <a:lnTo>
                      <a:pt x="52" y="3"/>
                    </a:lnTo>
                    <a:lnTo>
                      <a:pt x="53" y="2"/>
                    </a:lnTo>
                    <a:lnTo>
                      <a:pt x="52" y="3"/>
                    </a:lnTo>
                    <a:lnTo>
                      <a:pt x="50" y="3"/>
                    </a:lnTo>
                    <a:close/>
                    <a:moveTo>
                      <a:pt x="43" y="5"/>
                    </a:moveTo>
                    <a:lnTo>
                      <a:pt x="44" y="5"/>
                    </a:lnTo>
                    <a:lnTo>
                      <a:pt x="46" y="3"/>
                    </a:lnTo>
                    <a:lnTo>
                      <a:pt x="44" y="3"/>
                    </a:lnTo>
                    <a:lnTo>
                      <a:pt x="43" y="3"/>
                    </a:lnTo>
                    <a:lnTo>
                      <a:pt x="41" y="3"/>
                    </a:lnTo>
                    <a:lnTo>
                      <a:pt x="41" y="3"/>
                    </a:lnTo>
                    <a:lnTo>
                      <a:pt x="41" y="5"/>
                    </a:lnTo>
                    <a:lnTo>
                      <a:pt x="43" y="5"/>
                    </a:lnTo>
                    <a:close/>
                    <a:moveTo>
                      <a:pt x="60" y="0"/>
                    </a:moveTo>
                    <a:lnTo>
                      <a:pt x="62" y="0"/>
                    </a:lnTo>
                    <a:lnTo>
                      <a:pt x="60" y="0"/>
                    </a:lnTo>
                    <a:lnTo>
                      <a:pt x="59" y="0"/>
                    </a:lnTo>
                    <a:lnTo>
                      <a:pt x="59" y="0"/>
                    </a:lnTo>
                    <a:lnTo>
                      <a:pt x="59" y="0"/>
                    </a:lnTo>
                    <a:lnTo>
                      <a:pt x="60" y="0"/>
                    </a:lnTo>
                    <a:close/>
                    <a:moveTo>
                      <a:pt x="36" y="5"/>
                    </a:moveTo>
                    <a:lnTo>
                      <a:pt x="40" y="5"/>
                    </a:lnTo>
                    <a:lnTo>
                      <a:pt x="39" y="5"/>
                    </a:lnTo>
                    <a:lnTo>
                      <a:pt x="36" y="5"/>
                    </a:lnTo>
                    <a:lnTo>
                      <a:pt x="33" y="5"/>
                    </a:lnTo>
                    <a:lnTo>
                      <a:pt x="34" y="6"/>
                    </a:lnTo>
                    <a:lnTo>
                      <a:pt x="36" y="5"/>
                    </a:lnTo>
                    <a:close/>
                    <a:moveTo>
                      <a:pt x="11" y="57"/>
                    </a:moveTo>
                    <a:lnTo>
                      <a:pt x="6" y="57"/>
                    </a:lnTo>
                    <a:lnTo>
                      <a:pt x="4" y="55"/>
                    </a:lnTo>
                    <a:lnTo>
                      <a:pt x="3" y="55"/>
                    </a:lnTo>
                    <a:lnTo>
                      <a:pt x="0" y="55"/>
                    </a:lnTo>
                    <a:lnTo>
                      <a:pt x="1" y="58"/>
                    </a:lnTo>
                    <a:lnTo>
                      <a:pt x="3" y="59"/>
                    </a:lnTo>
                    <a:lnTo>
                      <a:pt x="7" y="59"/>
                    </a:lnTo>
                    <a:lnTo>
                      <a:pt x="10" y="59"/>
                    </a:lnTo>
                    <a:lnTo>
                      <a:pt x="13" y="59"/>
                    </a:lnTo>
                    <a:lnTo>
                      <a:pt x="14" y="58"/>
                    </a:lnTo>
                    <a:lnTo>
                      <a:pt x="16" y="55"/>
                    </a:lnTo>
                    <a:lnTo>
                      <a:pt x="14" y="57"/>
                    </a:lnTo>
                    <a:lnTo>
                      <a:pt x="11" y="57"/>
                    </a:lnTo>
                    <a:close/>
                    <a:moveTo>
                      <a:pt x="10" y="49"/>
                    </a:moveTo>
                    <a:lnTo>
                      <a:pt x="13" y="49"/>
                    </a:lnTo>
                    <a:lnTo>
                      <a:pt x="13" y="48"/>
                    </a:lnTo>
                    <a:lnTo>
                      <a:pt x="13" y="48"/>
                    </a:lnTo>
                    <a:lnTo>
                      <a:pt x="11" y="46"/>
                    </a:lnTo>
                    <a:lnTo>
                      <a:pt x="11" y="46"/>
                    </a:lnTo>
                    <a:lnTo>
                      <a:pt x="7" y="46"/>
                    </a:lnTo>
                    <a:lnTo>
                      <a:pt x="7" y="48"/>
                    </a:lnTo>
                    <a:lnTo>
                      <a:pt x="10" y="49"/>
                    </a:lnTo>
                    <a:close/>
                    <a:moveTo>
                      <a:pt x="66" y="8"/>
                    </a:moveTo>
                    <a:lnTo>
                      <a:pt x="62" y="5"/>
                    </a:lnTo>
                    <a:lnTo>
                      <a:pt x="60" y="5"/>
                    </a:lnTo>
                    <a:lnTo>
                      <a:pt x="57" y="5"/>
                    </a:lnTo>
                    <a:lnTo>
                      <a:pt x="49" y="5"/>
                    </a:lnTo>
                    <a:lnTo>
                      <a:pt x="41" y="8"/>
                    </a:lnTo>
                    <a:lnTo>
                      <a:pt x="33" y="13"/>
                    </a:lnTo>
                    <a:lnTo>
                      <a:pt x="27" y="18"/>
                    </a:lnTo>
                    <a:lnTo>
                      <a:pt x="26" y="18"/>
                    </a:lnTo>
                    <a:lnTo>
                      <a:pt x="26" y="18"/>
                    </a:lnTo>
                    <a:lnTo>
                      <a:pt x="26" y="18"/>
                    </a:lnTo>
                    <a:lnTo>
                      <a:pt x="24" y="19"/>
                    </a:lnTo>
                    <a:lnTo>
                      <a:pt x="24" y="19"/>
                    </a:lnTo>
                    <a:lnTo>
                      <a:pt x="23" y="21"/>
                    </a:lnTo>
                    <a:lnTo>
                      <a:pt x="23" y="23"/>
                    </a:lnTo>
                    <a:lnTo>
                      <a:pt x="21" y="29"/>
                    </a:lnTo>
                    <a:lnTo>
                      <a:pt x="20" y="32"/>
                    </a:lnTo>
                    <a:lnTo>
                      <a:pt x="18" y="35"/>
                    </a:lnTo>
                    <a:lnTo>
                      <a:pt x="17" y="36"/>
                    </a:lnTo>
                    <a:lnTo>
                      <a:pt x="13" y="41"/>
                    </a:lnTo>
                    <a:lnTo>
                      <a:pt x="13" y="42"/>
                    </a:lnTo>
                    <a:lnTo>
                      <a:pt x="11" y="45"/>
                    </a:lnTo>
                    <a:lnTo>
                      <a:pt x="13" y="46"/>
                    </a:lnTo>
                    <a:lnTo>
                      <a:pt x="14" y="48"/>
                    </a:lnTo>
                    <a:lnTo>
                      <a:pt x="16" y="49"/>
                    </a:lnTo>
                    <a:lnTo>
                      <a:pt x="14" y="49"/>
                    </a:lnTo>
                    <a:lnTo>
                      <a:pt x="13" y="51"/>
                    </a:lnTo>
                    <a:lnTo>
                      <a:pt x="11" y="51"/>
                    </a:lnTo>
                    <a:lnTo>
                      <a:pt x="13" y="51"/>
                    </a:lnTo>
                    <a:lnTo>
                      <a:pt x="16" y="52"/>
                    </a:lnTo>
                    <a:lnTo>
                      <a:pt x="17" y="54"/>
                    </a:lnTo>
                    <a:lnTo>
                      <a:pt x="14" y="52"/>
                    </a:lnTo>
                    <a:lnTo>
                      <a:pt x="10" y="51"/>
                    </a:lnTo>
                    <a:lnTo>
                      <a:pt x="6" y="49"/>
                    </a:lnTo>
                    <a:lnTo>
                      <a:pt x="3" y="51"/>
                    </a:lnTo>
                    <a:lnTo>
                      <a:pt x="4" y="54"/>
                    </a:lnTo>
                    <a:lnTo>
                      <a:pt x="8" y="54"/>
                    </a:lnTo>
                    <a:lnTo>
                      <a:pt x="16" y="55"/>
                    </a:lnTo>
                    <a:lnTo>
                      <a:pt x="18" y="57"/>
                    </a:lnTo>
                    <a:lnTo>
                      <a:pt x="18" y="55"/>
                    </a:lnTo>
                    <a:lnTo>
                      <a:pt x="18" y="55"/>
                    </a:lnTo>
                    <a:lnTo>
                      <a:pt x="20" y="54"/>
                    </a:lnTo>
                    <a:lnTo>
                      <a:pt x="20" y="54"/>
                    </a:lnTo>
                    <a:lnTo>
                      <a:pt x="21" y="54"/>
                    </a:lnTo>
                    <a:lnTo>
                      <a:pt x="21" y="54"/>
                    </a:lnTo>
                    <a:lnTo>
                      <a:pt x="21" y="54"/>
                    </a:lnTo>
                    <a:lnTo>
                      <a:pt x="21" y="54"/>
                    </a:lnTo>
                    <a:lnTo>
                      <a:pt x="23" y="54"/>
                    </a:lnTo>
                    <a:lnTo>
                      <a:pt x="24" y="54"/>
                    </a:lnTo>
                    <a:lnTo>
                      <a:pt x="24" y="54"/>
                    </a:lnTo>
                    <a:lnTo>
                      <a:pt x="26" y="54"/>
                    </a:lnTo>
                    <a:lnTo>
                      <a:pt x="27" y="55"/>
                    </a:lnTo>
                    <a:lnTo>
                      <a:pt x="29" y="55"/>
                    </a:lnTo>
                    <a:lnTo>
                      <a:pt x="29" y="55"/>
                    </a:lnTo>
                    <a:lnTo>
                      <a:pt x="30" y="54"/>
                    </a:lnTo>
                    <a:lnTo>
                      <a:pt x="30" y="54"/>
                    </a:lnTo>
                    <a:lnTo>
                      <a:pt x="30" y="54"/>
                    </a:lnTo>
                    <a:lnTo>
                      <a:pt x="30" y="55"/>
                    </a:lnTo>
                    <a:lnTo>
                      <a:pt x="30" y="55"/>
                    </a:lnTo>
                    <a:lnTo>
                      <a:pt x="31" y="55"/>
                    </a:lnTo>
                    <a:lnTo>
                      <a:pt x="31" y="57"/>
                    </a:lnTo>
                    <a:lnTo>
                      <a:pt x="33" y="58"/>
                    </a:lnTo>
                    <a:lnTo>
                      <a:pt x="33" y="58"/>
                    </a:lnTo>
                    <a:lnTo>
                      <a:pt x="34" y="58"/>
                    </a:lnTo>
                    <a:lnTo>
                      <a:pt x="36" y="58"/>
                    </a:lnTo>
                    <a:lnTo>
                      <a:pt x="37" y="58"/>
                    </a:lnTo>
                    <a:lnTo>
                      <a:pt x="37" y="58"/>
                    </a:lnTo>
                    <a:lnTo>
                      <a:pt x="43" y="61"/>
                    </a:lnTo>
                    <a:lnTo>
                      <a:pt x="43" y="64"/>
                    </a:lnTo>
                    <a:lnTo>
                      <a:pt x="43" y="67"/>
                    </a:lnTo>
                    <a:lnTo>
                      <a:pt x="41" y="68"/>
                    </a:lnTo>
                    <a:lnTo>
                      <a:pt x="41" y="71"/>
                    </a:lnTo>
                    <a:lnTo>
                      <a:pt x="41" y="72"/>
                    </a:lnTo>
                    <a:lnTo>
                      <a:pt x="41" y="72"/>
                    </a:lnTo>
                    <a:lnTo>
                      <a:pt x="43" y="72"/>
                    </a:lnTo>
                    <a:lnTo>
                      <a:pt x="43" y="72"/>
                    </a:lnTo>
                    <a:lnTo>
                      <a:pt x="43" y="72"/>
                    </a:lnTo>
                    <a:lnTo>
                      <a:pt x="46" y="72"/>
                    </a:lnTo>
                    <a:lnTo>
                      <a:pt x="47" y="72"/>
                    </a:lnTo>
                    <a:lnTo>
                      <a:pt x="47" y="69"/>
                    </a:lnTo>
                    <a:lnTo>
                      <a:pt x="47" y="69"/>
                    </a:lnTo>
                    <a:lnTo>
                      <a:pt x="47" y="68"/>
                    </a:lnTo>
                    <a:lnTo>
                      <a:pt x="47" y="68"/>
                    </a:lnTo>
                    <a:lnTo>
                      <a:pt x="46" y="67"/>
                    </a:lnTo>
                    <a:lnTo>
                      <a:pt x="46" y="67"/>
                    </a:lnTo>
                    <a:lnTo>
                      <a:pt x="46" y="67"/>
                    </a:lnTo>
                    <a:lnTo>
                      <a:pt x="46" y="67"/>
                    </a:lnTo>
                    <a:lnTo>
                      <a:pt x="44" y="65"/>
                    </a:lnTo>
                    <a:lnTo>
                      <a:pt x="44" y="65"/>
                    </a:lnTo>
                    <a:lnTo>
                      <a:pt x="44" y="65"/>
                    </a:lnTo>
                    <a:lnTo>
                      <a:pt x="46" y="65"/>
                    </a:lnTo>
                    <a:lnTo>
                      <a:pt x="46" y="65"/>
                    </a:lnTo>
                    <a:lnTo>
                      <a:pt x="46" y="65"/>
                    </a:lnTo>
                    <a:lnTo>
                      <a:pt x="47" y="64"/>
                    </a:lnTo>
                    <a:lnTo>
                      <a:pt x="49" y="62"/>
                    </a:lnTo>
                    <a:lnTo>
                      <a:pt x="49" y="61"/>
                    </a:lnTo>
                    <a:lnTo>
                      <a:pt x="49" y="61"/>
                    </a:lnTo>
                    <a:lnTo>
                      <a:pt x="50" y="55"/>
                    </a:lnTo>
                    <a:lnTo>
                      <a:pt x="50" y="52"/>
                    </a:lnTo>
                    <a:lnTo>
                      <a:pt x="49" y="51"/>
                    </a:lnTo>
                    <a:lnTo>
                      <a:pt x="47" y="48"/>
                    </a:lnTo>
                    <a:lnTo>
                      <a:pt x="47" y="46"/>
                    </a:lnTo>
                    <a:lnTo>
                      <a:pt x="47" y="45"/>
                    </a:lnTo>
                    <a:lnTo>
                      <a:pt x="49" y="44"/>
                    </a:lnTo>
                    <a:lnTo>
                      <a:pt x="52" y="44"/>
                    </a:lnTo>
                    <a:lnTo>
                      <a:pt x="56" y="44"/>
                    </a:lnTo>
                    <a:lnTo>
                      <a:pt x="59" y="44"/>
                    </a:lnTo>
                    <a:lnTo>
                      <a:pt x="60" y="41"/>
                    </a:lnTo>
                    <a:lnTo>
                      <a:pt x="60" y="41"/>
                    </a:lnTo>
                    <a:lnTo>
                      <a:pt x="60" y="39"/>
                    </a:lnTo>
                    <a:lnTo>
                      <a:pt x="60" y="38"/>
                    </a:lnTo>
                    <a:lnTo>
                      <a:pt x="60" y="38"/>
                    </a:lnTo>
                    <a:lnTo>
                      <a:pt x="62" y="36"/>
                    </a:lnTo>
                    <a:lnTo>
                      <a:pt x="62" y="36"/>
                    </a:lnTo>
                    <a:lnTo>
                      <a:pt x="63" y="36"/>
                    </a:lnTo>
                    <a:lnTo>
                      <a:pt x="64" y="32"/>
                    </a:lnTo>
                    <a:lnTo>
                      <a:pt x="63" y="29"/>
                    </a:lnTo>
                    <a:lnTo>
                      <a:pt x="60" y="26"/>
                    </a:lnTo>
                    <a:lnTo>
                      <a:pt x="60" y="25"/>
                    </a:lnTo>
                    <a:lnTo>
                      <a:pt x="60" y="23"/>
                    </a:lnTo>
                    <a:lnTo>
                      <a:pt x="63" y="23"/>
                    </a:lnTo>
                    <a:lnTo>
                      <a:pt x="64" y="23"/>
                    </a:lnTo>
                    <a:lnTo>
                      <a:pt x="66" y="23"/>
                    </a:lnTo>
                    <a:lnTo>
                      <a:pt x="67" y="13"/>
                    </a:lnTo>
                    <a:lnTo>
                      <a:pt x="69" y="8"/>
                    </a:lnTo>
                    <a:lnTo>
                      <a:pt x="66" y="8"/>
                    </a:lnTo>
                    <a:close/>
                    <a:moveTo>
                      <a:pt x="26" y="15"/>
                    </a:moveTo>
                    <a:lnTo>
                      <a:pt x="27" y="13"/>
                    </a:lnTo>
                    <a:lnTo>
                      <a:pt x="27" y="11"/>
                    </a:lnTo>
                    <a:lnTo>
                      <a:pt x="26" y="12"/>
                    </a:lnTo>
                    <a:lnTo>
                      <a:pt x="24" y="13"/>
                    </a:lnTo>
                    <a:lnTo>
                      <a:pt x="24" y="15"/>
                    </a:lnTo>
                    <a:lnTo>
                      <a:pt x="26" y="15"/>
                    </a:lnTo>
                    <a:close/>
                    <a:moveTo>
                      <a:pt x="30" y="9"/>
                    </a:moveTo>
                    <a:lnTo>
                      <a:pt x="30" y="8"/>
                    </a:lnTo>
                    <a:lnTo>
                      <a:pt x="31" y="8"/>
                    </a:lnTo>
                    <a:lnTo>
                      <a:pt x="30" y="8"/>
                    </a:lnTo>
                    <a:lnTo>
                      <a:pt x="30" y="8"/>
                    </a:lnTo>
                    <a:lnTo>
                      <a:pt x="29" y="8"/>
                    </a:lnTo>
                    <a:lnTo>
                      <a:pt x="27" y="9"/>
                    </a:lnTo>
                    <a:lnTo>
                      <a:pt x="29" y="9"/>
                    </a:lnTo>
                    <a:lnTo>
                      <a:pt x="30" y="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78" name="Freeform 84">
                <a:extLst>
                  <a:ext uri="{FF2B5EF4-FFF2-40B4-BE49-F238E27FC236}">
                    <a16:creationId xmlns:a16="http://schemas.microsoft.com/office/drawing/2014/main" id="{8B8D59B6-FA07-FB6F-01BB-BEBDDE1C4A58}"/>
                  </a:ext>
                </a:extLst>
              </p:cNvPr>
              <p:cNvSpPr>
                <a:spLocks noEditPoints="1"/>
              </p:cNvSpPr>
              <p:nvPr/>
            </p:nvSpPr>
            <p:spPr bwMode="auto">
              <a:xfrm>
                <a:off x="3785" y="1819"/>
                <a:ext cx="104" cy="94"/>
              </a:xfrm>
              <a:custGeom>
                <a:avLst/>
                <a:gdLst>
                  <a:gd name="T0" fmla="*/ 69 w 104"/>
                  <a:gd name="T1" fmla="*/ 85 h 94"/>
                  <a:gd name="T2" fmla="*/ 84 w 104"/>
                  <a:gd name="T3" fmla="*/ 89 h 94"/>
                  <a:gd name="T4" fmla="*/ 65 w 104"/>
                  <a:gd name="T5" fmla="*/ 81 h 94"/>
                  <a:gd name="T6" fmla="*/ 88 w 104"/>
                  <a:gd name="T7" fmla="*/ 94 h 94"/>
                  <a:gd name="T8" fmla="*/ 65 w 104"/>
                  <a:gd name="T9" fmla="*/ 78 h 94"/>
                  <a:gd name="T10" fmla="*/ 55 w 104"/>
                  <a:gd name="T11" fmla="*/ 75 h 94"/>
                  <a:gd name="T12" fmla="*/ 58 w 104"/>
                  <a:gd name="T13" fmla="*/ 74 h 94"/>
                  <a:gd name="T14" fmla="*/ 55 w 104"/>
                  <a:gd name="T15" fmla="*/ 81 h 94"/>
                  <a:gd name="T16" fmla="*/ 59 w 104"/>
                  <a:gd name="T17" fmla="*/ 84 h 94"/>
                  <a:gd name="T18" fmla="*/ 64 w 104"/>
                  <a:gd name="T19" fmla="*/ 75 h 94"/>
                  <a:gd name="T20" fmla="*/ 43 w 104"/>
                  <a:gd name="T21" fmla="*/ 69 h 94"/>
                  <a:gd name="T22" fmla="*/ 31 w 104"/>
                  <a:gd name="T23" fmla="*/ 56 h 94"/>
                  <a:gd name="T24" fmla="*/ 35 w 104"/>
                  <a:gd name="T25" fmla="*/ 52 h 94"/>
                  <a:gd name="T26" fmla="*/ 23 w 104"/>
                  <a:gd name="T27" fmla="*/ 35 h 94"/>
                  <a:gd name="T28" fmla="*/ 12 w 104"/>
                  <a:gd name="T29" fmla="*/ 30 h 94"/>
                  <a:gd name="T30" fmla="*/ 2 w 104"/>
                  <a:gd name="T31" fmla="*/ 32 h 94"/>
                  <a:gd name="T32" fmla="*/ 6 w 104"/>
                  <a:gd name="T33" fmla="*/ 26 h 94"/>
                  <a:gd name="T34" fmla="*/ 8 w 104"/>
                  <a:gd name="T35" fmla="*/ 25 h 94"/>
                  <a:gd name="T36" fmla="*/ 16 w 104"/>
                  <a:gd name="T37" fmla="*/ 23 h 94"/>
                  <a:gd name="T38" fmla="*/ 19 w 104"/>
                  <a:gd name="T39" fmla="*/ 20 h 94"/>
                  <a:gd name="T40" fmla="*/ 25 w 104"/>
                  <a:gd name="T41" fmla="*/ 25 h 94"/>
                  <a:gd name="T42" fmla="*/ 32 w 104"/>
                  <a:gd name="T43" fmla="*/ 25 h 94"/>
                  <a:gd name="T44" fmla="*/ 32 w 104"/>
                  <a:gd name="T45" fmla="*/ 22 h 94"/>
                  <a:gd name="T46" fmla="*/ 31 w 104"/>
                  <a:gd name="T47" fmla="*/ 19 h 94"/>
                  <a:gd name="T48" fmla="*/ 38 w 104"/>
                  <a:gd name="T49" fmla="*/ 15 h 94"/>
                  <a:gd name="T50" fmla="*/ 43 w 104"/>
                  <a:gd name="T51" fmla="*/ 5 h 94"/>
                  <a:gd name="T52" fmla="*/ 48 w 104"/>
                  <a:gd name="T53" fmla="*/ 3 h 94"/>
                  <a:gd name="T54" fmla="*/ 52 w 104"/>
                  <a:gd name="T55" fmla="*/ 0 h 94"/>
                  <a:gd name="T56" fmla="*/ 76 w 104"/>
                  <a:gd name="T57" fmla="*/ 18 h 94"/>
                  <a:gd name="T58" fmla="*/ 88 w 104"/>
                  <a:gd name="T59" fmla="*/ 16 h 94"/>
                  <a:gd name="T60" fmla="*/ 95 w 104"/>
                  <a:gd name="T61" fmla="*/ 13 h 94"/>
                  <a:gd name="T62" fmla="*/ 97 w 104"/>
                  <a:gd name="T63" fmla="*/ 26 h 94"/>
                  <a:gd name="T64" fmla="*/ 101 w 104"/>
                  <a:gd name="T65" fmla="*/ 32 h 94"/>
                  <a:gd name="T66" fmla="*/ 95 w 104"/>
                  <a:gd name="T67" fmla="*/ 39 h 94"/>
                  <a:gd name="T68" fmla="*/ 85 w 104"/>
                  <a:gd name="T69" fmla="*/ 33 h 94"/>
                  <a:gd name="T70" fmla="*/ 61 w 104"/>
                  <a:gd name="T71" fmla="*/ 30 h 94"/>
                  <a:gd name="T72" fmla="*/ 55 w 104"/>
                  <a:gd name="T73" fmla="*/ 30 h 94"/>
                  <a:gd name="T74" fmla="*/ 51 w 104"/>
                  <a:gd name="T75" fmla="*/ 35 h 94"/>
                  <a:gd name="T76" fmla="*/ 42 w 104"/>
                  <a:gd name="T77" fmla="*/ 30 h 94"/>
                  <a:gd name="T78" fmla="*/ 42 w 104"/>
                  <a:gd name="T79" fmla="*/ 43 h 94"/>
                  <a:gd name="T80" fmla="*/ 49 w 104"/>
                  <a:gd name="T81" fmla="*/ 55 h 94"/>
                  <a:gd name="T82" fmla="*/ 66 w 104"/>
                  <a:gd name="T83" fmla="*/ 74 h 94"/>
                  <a:gd name="T84" fmla="*/ 32 w 104"/>
                  <a:gd name="T85" fmla="*/ 59 h 94"/>
                  <a:gd name="T86" fmla="*/ 33 w 104"/>
                  <a:gd name="T87" fmla="*/ 61 h 94"/>
                  <a:gd name="T88" fmla="*/ 20 w 104"/>
                  <a:gd name="T89" fmla="*/ 36 h 94"/>
                  <a:gd name="T90" fmla="*/ 18 w 104"/>
                  <a:gd name="T91" fmla="*/ 33 h 94"/>
                  <a:gd name="T92" fmla="*/ 15 w 104"/>
                  <a:gd name="T93" fmla="*/ 32 h 94"/>
                  <a:gd name="T94" fmla="*/ 15 w 104"/>
                  <a:gd name="T95" fmla="*/ 39 h 94"/>
                  <a:gd name="T96" fmla="*/ 15 w 104"/>
                  <a:gd name="T97" fmla="*/ 33 h 94"/>
                  <a:gd name="T98" fmla="*/ 22 w 104"/>
                  <a:gd name="T99" fmla="*/ 39 h 94"/>
                  <a:gd name="T100" fmla="*/ 25 w 104"/>
                  <a:gd name="T101" fmla="*/ 48 h 94"/>
                  <a:gd name="T102" fmla="*/ 22 w 104"/>
                  <a:gd name="T103" fmla="*/ 43 h 94"/>
                  <a:gd name="T104" fmla="*/ 29 w 104"/>
                  <a:gd name="T105" fmla="*/ 56 h 94"/>
                  <a:gd name="T106" fmla="*/ 31 w 104"/>
                  <a:gd name="T107" fmla="*/ 58 h 94"/>
                  <a:gd name="T108" fmla="*/ 29 w 104"/>
                  <a:gd name="T109" fmla="*/ 59 h 94"/>
                  <a:gd name="T110" fmla="*/ 26 w 104"/>
                  <a:gd name="T111" fmla="*/ 5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4" h="94">
                    <a:moveTo>
                      <a:pt x="71" y="86"/>
                    </a:moveTo>
                    <a:lnTo>
                      <a:pt x="74" y="86"/>
                    </a:lnTo>
                    <a:lnTo>
                      <a:pt x="75" y="88"/>
                    </a:lnTo>
                    <a:lnTo>
                      <a:pt x="68" y="85"/>
                    </a:lnTo>
                    <a:lnTo>
                      <a:pt x="69" y="85"/>
                    </a:lnTo>
                    <a:lnTo>
                      <a:pt x="71" y="86"/>
                    </a:lnTo>
                    <a:close/>
                    <a:moveTo>
                      <a:pt x="87" y="92"/>
                    </a:moveTo>
                    <a:lnTo>
                      <a:pt x="87" y="92"/>
                    </a:lnTo>
                    <a:lnTo>
                      <a:pt x="87" y="91"/>
                    </a:lnTo>
                    <a:lnTo>
                      <a:pt x="84" y="89"/>
                    </a:lnTo>
                    <a:lnTo>
                      <a:pt x="76" y="84"/>
                    </a:lnTo>
                    <a:lnTo>
                      <a:pt x="74" y="84"/>
                    </a:lnTo>
                    <a:lnTo>
                      <a:pt x="74" y="85"/>
                    </a:lnTo>
                    <a:lnTo>
                      <a:pt x="68" y="82"/>
                    </a:lnTo>
                    <a:lnTo>
                      <a:pt x="65" y="81"/>
                    </a:lnTo>
                    <a:lnTo>
                      <a:pt x="62" y="81"/>
                    </a:lnTo>
                    <a:lnTo>
                      <a:pt x="69" y="84"/>
                    </a:lnTo>
                    <a:lnTo>
                      <a:pt x="75" y="86"/>
                    </a:lnTo>
                    <a:lnTo>
                      <a:pt x="88" y="94"/>
                    </a:lnTo>
                    <a:lnTo>
                      <a:pt x="88" y="94"/>
                    </a:lnTo>
                    <a:lnTo>
                      <a:pt x="87" y="92"/>
                    </a:lnTo>
                    <a:close/>
                    <a:moveTo>
                      <a:pt x="51" y="76"/>
                    </a:moveTo>
                    <a:lnTo>
                      <a:pt x="53" y="76"/>
                    </a:lnTo>
                    <a:lnTo>
                      <a:pt x="58" y="76"/>
                    </a:lnTo>
                    <a:lnTo>
                      <a:pt x="65" y="78"/>
                    </a:lnTo>
                    <a:lnTo>
                      <a:pt x="61" y="79"/>
                    </a:lnTo>
                    <a:lnTo>
                      <a:pt x="58" y="78"/>
                    </a:lnTo>
                    <a:lnTo>
                      <a:pt x="53" y="78"/>
                    </a:lnTo>
                    <a:lnTo>
                      <a:pt x="51" y="76"/>
                    </a:lnTo>
                    <a:close/>
                    <a:moveTo>
                      <a:pt x="55" y="75"/>
                    </a:moveTo>
                    <a:lnTo>
                      <a:pt x="52" y="75"/>
                    </a:lnTo>
                    <a:lnTo>
                      <a:pt x="52" y="74"/>
                    </a:lnTo>
                    <a:lnTo>
                      <a:pt x="52" y="72"/>
                    </a:lnTo>
                    <a:lnTo>
                      <a:pt x="55" y="72"/>
                    </a:lnTo>
                    <a:lnTo>
                      <a:pt x="58" y="74"/>
                    </a:lnTo>
                    <a:lnTo>
                      <a:pt x="59" y="74"/>
                    </a:lnTo>
                    <a:lnTo>
                      <a:pt x="58" y="75"/>
                    </a:lnTo>
                    <a:lnTo>
                      <a:pt x="55" y="75"/>
                    </a:lnTo>
                    <a:close/>
                    <a:moveTo>
                      <a:pt x="56" y="84"/>
                    </a:moveTo>
                    <a:lnTo>
                      <a:pt x="55" y="81"/>
                    </a:lnTo>
                    <a:lnTo>
                      <a:pt x="58" y="82"/>
                    </a:lnTo>
                    <a:lnTo>
                      <a:pt x="61" y="82"/>
                    </a:lnTo>
                    <a:lnTo>
                      <a:pt x="62" y="82"/>
                    </a:lnTo>
                    <a:lnTo>
                      <a:pt x="65" y="84"/>
                    </a:lnTo>
                    <a:lnTo>
                      <a:pt x="59" y="84"/>
                    </a:lnTo>
                    <a:lnTo>
                      <a:pt x="56" y="84"/>
                    </a:lnTo>
                    <a:close/>
                    <a:moveTo>
                      <a:pt x="72" y="81"/>
                    </a:moveTo>
                    <a:lnTo>
                      <a:pt x="72" y="82"/>
                    </a:lnTo>
                    <a:lnTo>
                      <a:pt x="69" y="81"/>
                    </a:lnTo>
                    <a:lnTo>
                      <a:pt x="64" y="75"/>
                    </a:lnTo>
                    <a:lnTo>
                      <a:pt x="61" y="72"/>
                    </a:lnTo>
                    <a:lnTo>
                      <a:pt x="59" y="72"/>
                    </a:lnTo>
                    <a:lnTo>
                      <a:pt x="52" y="69"/>
                    </a:lnTo>
                    <a:lnTo>
                      <a:pt x="46" y="69"/>
                    </a:lnTo>
                    <a:lnTo>
                      <a:pt x="43" y="69"/>
                    </a:lnTo>
                    <a:lnTo>
                      <a:pt x="42" y="68"/>
                    </a:lnTo>
                    <a:lnTo>
                      <a:pt x="41" y="66"/>
                    </a:lnTo>
                    <a:lnTo>
                      <a:pt x="39" y="64"/>
                    </a:lnTo>
                    <a:lnTo>
                      <a:pt x="33" y="59"/>
                    </a:lnTo>
                    <a:lnTo>
                      <a:pt x="31" y="56"/>
                    </a:lnTo>
                    <a:lnTo>
                      <a:pt x="29" y="53"/>
                    </a:lnTo>
                    <a:lnTo>
                      <a:pt x="31" y="52"/>
                    </a:lnTo>
                    <a:lnTo>
                      <a:pt x="32" y="52"/>
                    </a:lnTo>
                    <a:lnTo>
                      <a:pt x="33" y="52"/>
                    </a:lnTo>
                    <a:lnTo>
                      <a:pt x="35" y="52"/>
                    </a:lnTo>
                    <a:lnTo>
                      <a:pt x="28" y="46"/>
                    </a:lnTo>
                    <a:lnTo>
                      <a:pt x="26" y="43"/>
                    </a:lnTo>
                    <a:lnTo>
                      <a:pt x="25" y="39"/>
                    </a:lnTo>
                    <a:lnTo>
                      <a:pt x="23" y="36"/>
                    </a:lnTo>
                    <a:lnTo>
                      <a:pt x="23" y="35"/>
                    </a:lnTo>
                    <a:lnTo>
                      <a:pt x="22" y="33"/>
                    </a:lnTo>
                    <a:lnTo>
                      <a:pt x="18" y="29"/>
                    </a:lnTo>
                    <a:lnTo>
                      <a:pt x="16" y="28"/>
                    </a:lnTo>
                    <a:lnTo>
                      <a:pt x="13" y="28"/>
                    </a:lnTo>
                    <a:lnTo>
                      <a:pt x="12" y="30"/>
                    </a:lnTo>
                    <a:lnTo>
                      <a:pt x="10" y="35"/>
                    </a:lnTo>
                    <a:lnTo>
                      <a:pt x="9" y="39"/>
                    </a:lnTo>
                    <a:lnTo>
                      <a:pt x="6" y="39"/>
                    </a:lnTo>
                    <a:lnTo>
                      <a:pt x="3" y="36"/>
                    </a:lnTo>
                    <a:lnTo>
                      <a:pt x="2" y="32"/>
                    </a:lnTo>
                    <a:lnTo>
                      <a:pt x="0" y="26"/>
                    </a:lnTo>
                    <a:lnTo>
                      <a:pt x="2" y="23"/>
                    </a:lnTo>
                    <a:lnTo>
                      <a:pt x="2" y="25"/>
                    </a:lnTo>
                    <a:lnTo>
                      <a:pt x="3" y="25"/>
                    </a:lnTo>
                    <a:lnTo>
                      <a:pt x="6" y="26"/>
                    </a:lnTo>
                    <a:lnTo>
                      <a:pt x="8" y="26"/>
                    </a:lnTo>
                    <a:lnTo>
                      <a:pt x="8" y="25"/>
                    </a:lnTo>
                    <a:lnTo>
                      <a:pt x="8" y="25"/>
                    </a:lnTo>
                    <a:lnTo>
                      <a:pt x="8" y="25"/>
                    </a:lnTo>
                    <a:lnTo>
                      <a:pt x="8" y="25"/>
                    </a:lnTo>
                    <a:lnTo>
                      <a:pt x="9" y="25"/>
                    </a:lnTo>
                    <a:lnTo>
                      <a:pt x="10" y="25"/>
                    </a:lnTo>
                    <a:lnTo>
                      <a:pt x="10" y="25"/>
                    </a:lnTo>
                    <a:lnTo>
                      <a:pt x="15" y="25"/>
                    </a:lnTo>
                    <a:lnTo>
                      <a:pt x="16" y="23"/>
                    </a:lnTo>
                    <a:lnTo>
                      <a:pt x="16" y="23"/>
                    </a:lnTo>
                    <a:lnTo>
                      <a:pt x="18" y="22"/>
                    </a:lnTo>
                    <a:lnTo>
                      <a:pt x="18" y="20"/>
                    </a:lnTo>
                    <a:lnTo>
                      <a:pt x="19" y="20"/>
                    </a:lnTo>
                    <a:lnTo>
                      <a:pt x="19" y="20"/>
                    </a:lnTo>
                    <a:lnTo>
                      <a:pt x="20" y="23"/>
                    </a:lnTo>
                    <a:lnTo>
                      <a:pt x="22" y="23"/>
                    </a:lnTo>
                    <a:lnTo>
                      <a:pt x="23" y="25"/>
                    </a:lnTo>
                    <a:lnTo>
                      <a:pt x="23" y="25"/>
                    </a:lnTo>
                    <a:lnTo>
                      <a:pt x="25" y="25"/>
                    </a:lnTo>
                    <a:lnTo>
                      <a:pt x="25" y="25"/>
                    </a:lnTo>
                    <a:lnTo>
                      <a:pt x="26" y="25"/>
                    </a:lnTo>
                    <a:lnTo>
                      <a:pt x="29" y="25"/>
                    </a:lnTo>
                    <a:lnTo>
                      <a:pt x="31" y="26"/>
                    </a:lnTo>
                    <a:lnTo>
                      <a:pt x="32" y="25"/>
                    </a:lnTo>
                    <a:lnTo>
                      <a:pt x="32" y="25"/>
                    </a:lnTo>
                    <a:lnTo>
                      <a:pt x="32" y="23"/>
                    </a:lnTo>
                    <a:lnTo>
                      <a:pt x="32" y="23"/>
                    </a:lnTo>
                    <a:lnTo>
                      <a:pt x="32" y="22"/>
                    </a:lnTo>
                    <a:lnTo>
                      <a:pt x="32" y="22"/>
                    </a:lnTo>
                    <a:lnTo>
                      <a:pt x="32" y="22"/>
                    </a:lnTo>
                    <a:lnTo>
                      <a:pt x="32" y="20"/>
                    </a:lnTo>
                    <a:lnTo>
                      <a:pt x="32" y="20"/>
                    </a:lnTo>
                    <a:lnTo>
                      <a:pt x="32" y="20"/>
                    </a:lnTo>
                    <a:lnTo>
                      <a:pt x="31" y="19"/>
                    </a:lnTo>
                    <a:lnTo>
                      <a:pt x="31" y="19"/>
                    </a:lnTo>
                    <a:lnTo>
                      <a:pt x="32" y="18"/>
                    </a:lnTo>
                    <a:lnTo>
                      <a:pt x="36" y="18"/>
                    </a:lnTo>
                    <a:lnTo>
                      <a:pt x="38" y="16"/>
                    </a:lnTo>
                    <a:lnTo>
                      <a:pt x="38" y="15"/>
                    </a:lnTo>
                    <a:lnTo>
                      <a:pt x="38" y="12"/>
                    </a:lnTo>
                    <a:lnTo>
                      <a:pt x="38" y="10"/>
                    </a:lnTo>
                    <a:lnTo>
                      <a:pt x="38" y="7"/>
                    </a:lnTo>
                    <a:lnTo>
                      <a:pt x="39" y="7"/>
                    </a:lnTo>
                    <a:lnTo>
                      <a:pt x="43" y="5"/>
                    </a:lnTo>
                    <a:lnTo>
                      <a:pt x="46" y="3"/>
                    </a:lnTo>
                    <a:lnTo>
                      <a:pt x="46" y="3"/>
                    </a:lnTo>
                    <a:lnTo>
                      <a:pt x="48" y="3"/>
                    </a:lnTo>
                    <a:lnTo>
                      <a:pt x="48" y="3"/>
                    </a:lnTo>
                    <a:lnTo>
                      <a:pt x="48" y="3"/>
                    </a:lnTo>
                    <a:lnTo>
                      <a:pt x="48" y="2"/>
                    </a:lnTo>
                    <a:lnTo>
                      <a:pt x="48" y="0"/>
                    </a:lnTo>
                    <a:lnTo>
                      <a:pt x="49" y="0"/>
                    </a:lnTo>
                    <a:lnTo>
                      <a:pt x="51" y="0"/>
                    </a:lnTo>
                    <a:lnTo>
                      <a:pt x="52" y="0"/>
                    </a:lnTo>
                    <a:lnTo>
                      <a:pt x="53" y="0"/>
                    </a:lnTo>
                    <a:lnTo>
                      <a:pt x="58" y="5"/>
                    </a:lnTo>
                    <a:lnTo>
                      <a:pt x="68" y="12"/>
                    </a:lnTo>
                    <a:lnTo>
                      <a:pt x="74" y="16"/>
                    </a:lnTo>
                    <a:lnTo>
                      <a:pt x="76" y="18"/>
                    </a:lnTo>
                    <a:lnTo>
                      <a:pt x="79" y="18"/>
                    </a:lnTo>
                    <a:lnTo>
                      <a:pt x="82" y="19"/>
                    </a:lnTo>
                    <a:lnTo>
                      <a:pt x="85" y="18"/>
                    </a:lnTo>
                    <a:lnTo>
                      <a:pt x="87" y="18"/>
                    </a:lnTo>
                    <a:lnTo>
                      <a:pt x="88" y="16"/>
                    </a:lnTo>
                    <a:lnTo>
                      <a:pt x="89" y="16"/>
                    </a:lnTo>
                    <a:lnTo>
                      <a:pt x="91" y="15"/>
                    </a:lnTo>
                    <a:lnTo>
                      <a:pt x="91" y="15"/>
                    </a:lnTo>
                    <a:lnTo>
                      <a:pt x="94" y="15"/>
                    </a:lnTo>
                    <a:lnTo>
                      <a:pt x="95" y="13"/>
                    </a:lnTo>
                    <a:lnTo>
                      <a:pt x="94" y="16"/>
                    </a:lnTo>
                    <a:lnTo>
                      <a:pt x="95" y="19"/>
                    </a:lnTo>
                    <a:lnTo>
                      <a:pt x="95" y="22"/>
                    </a:lnTo>
                    <a:lnTo>
                      <a:pt x="98" y="23"/>
                    </a:lnTo>
                    <a:lnTo>
                      <a:pt x="97" y="26"/>
                    </a:lnTo>
                    <a:lnTo>
                      <a:pt x="98" y="28"/>
                    </a:lnTo>
                    <a:lnTo>
                      <a:pt x="102" y="29"/>
                    </a:lnTo>
                    <a:lnTo>
                      <a:pt x="104" y="30"/>
                    </a:lnTo>
                    <a:lnTo>
                      <a:pt x="102" y="32"/>
                    </a:lnTo>
                    <a:lnTo>
                      <a:pt x="101" y="32"/>
                    </a:lnTo>
                    <a:lnTo>
                      <a:pt x="99" y="32"/>
                    </a:lnTo>
                    <a:lnTo>
                      <a:pt x="98" y="33"/>
                    </a:lnTo>
                    <a:lnTo>
                      <a:pt x="98" y="38"/>
                    </a:lnTo>
                    <a:lnTo>
                      <a:pt x="97" y="39"/>
                    </a:lnTo>
                    <a:lnTo>
                      <a:pt x="95" y="39"/>
                    </a:lnTo>
                    <a:lnTo>
                      <a:pt x="94" y="39"/>
                    </a:lnTo>
                    <a:lnTo>
                      <a:pt x="91" y="35"/>
                    </a:lnTo>
                    <a:lnTo>
                      <a:pt x="89" y="35"/>
                    </a:lnTo>
                    <a:lnTo>
                      <a:pt x="88" y="33"/>
                    </a:lnTo>
                    <a:lnTo>
                      <a:pt x="85" y="33"/>
                    </a:lnTo>
                    <a:lnTo>
                      <a:pt x="78" y="33"/>
                    </a:lnTo>
                    <a:lnTo>
                      <a:pt x="65" y="32"/>
                    </a:lnTo>
                    <a:lnTo>
                      <a:pt x="64" y="32"/>
                    </a:lnTo>
                    <a:lnTo>
                      <a:pt x="62" y="30"/>
                    </a:lnTo>
                    <a:lnTo>
                      <a:pt x="61" y="30"/>
                    </a:lnTo>
                    <a:lnTo>
                      <a:pt x="59" y="29"/>
                    </a:lnTo>
                    <a:lnTo>
                      <a:pt x="59" y="30"/>
                    </a:lnTo>
                    <a:lnTo>
                      <a:pt x="56" y="30"/>
                    </a:lnTo>
                    <a:lnTo>
                      <a:pt x="55" y="30"/>
                    </a:lnTo>
                    <a:lnTo>
                      <a:pt x="55" y="30"/>
                    </a:lnTo>
                    <a:lnTo>
                      <a:pt x="53" y="30"/>
                    </a:lnTo>
                    <a:lnTo>
                      <a:pt x="52" y="32"/>
                    </a:lnTo>
                    <a:lnTo>
                      <a:pt x="52" y="32"/>
                    </a:lnTo>
                    <a:lnTo>
                      <a:pt x="51" y="33"/>
                    </a:lnTo>
                    <a:lnTo>
                      <a:pt x="51" y="35"/>
                    </a:lnTo>
                    <a:lnTo>
                      <a:pt x="49" y="35"/>
                    </a:lnTo>
                    <a:lnTo>
                      <a:pt x="48" y="35"/>
                    </a:lnTo>
                    <a:lnTo>
                      <a:pt x="46" y="33"/>
                    </a:lnTo>
                    <a:lnTo>
                      <a:pt x="45" y="32"/>
                    </a:lnTo>
                    <a:lnTo>
                      <a:pt x="42" y="30"/>
                    </a:lnTo>
                    <a:lnTo>
                      <a:pt x="41" y="32"/>
                    </a:lnTo>
                    <a:lnTo>
                      <a:pt x="39" y="35"/>
                    </a:lnTo>
                    <a:lnTo>
                      <a:pt x="39" y="38"/>
                    </a:lnTo>
                    <a:lnTo>
                      <a:pt x="41" y="41"/>
                    </a:lnTo>
                    <a:lnTo>
                      <a:pt x="42" y="43"/>
                    </a:lnTo>
                    <a:lnTo>
                      <a:pt x="45" y="46"/>
                    </a:lnTo>
                    <a:lnTo>
                      <a:pt x="46" y="49"/>
                    </a:lnTo>
                    <a:lnTo>
                      <a:pt x="46" y="51"/>
                    </a:lnTo>
                    <a:lnTo>
                      <a:pt x="48" y="53"/>
                    </a:lnTo>
                    <a:lnTo>
                      <a:pt x="49" y="55"/>
                    </a:lnTo>
                    <a:lnTo>
                      <a:pt x="51" y="58"/>
                    </a:lnTo>
                    <a:lnTo>
                      <a:pt x="64" y="69"/>
                    </a:lnTo>
                    <a:lnTo>
                      <a:pt x="66" y="72"/>
                    </a:lnTo>
                    <a:lnTo>
                      <a:pt x="66" y="72"/>
                    </a:lnTo>
                    <a:lnTo>
                      <a:pt x="66" y="74"/>
                    </a:lnTo>
                    <a:lnTo>
                      <a:pt x="66" y="75"/>
                    </a:lnTo>
                    <a:lnTo>
                      <a:pt x="68" y="76"/>
                    </a:lnTo>
                    <a:lnTo>
                      <a:pt x="72" y="81"/>
                    </a:lnTo>
                    <a:lnTo>
                      <a:pt x="72" y="81"/>
                    </a:lnTo>
                    <a:close/>
                    <a:moveTo>
                      <a:pt x="32" y="59"/>
                    </a:moveTo>
                    <a:lnTo>
                      <a:pt x="31" y="58"/>
                    </a:lnTo>
                    <a:lnTo>
                      <a:pt x="32" y="59"/>
                    </a:lnTo>
                    <a:lnTo>
                      <a:pt x="32" y="61"/>
                    </a:lnTo>
                    <a:lnTo>
                      <a:pt x="33" y="61"/>
                    </a:lnTo>
                    <a:lnTo>
                      <a:pt x="33" y="61"/>
                    </a:lnTo>
                    <a:lnTo>
                      <a:pt x="33" y="61"/>
                    </a:lnTo>
                    <a:lnTo>
                      <a:pt x="33" y="59"/>
                    </a:lnTo>
                    <a:lnTo>
                      <a:pt x="32" y="59"/>
                    </a:lnTo>
                    <a:close/>
                    <a:moveTo>
                      <a:pt x="19" y="35"/>
                    </a:moveTo>
                    <a:lnTo>
                      <a:pt x="20" y="36"/>
                    </a:lnTo>
                    <a:lnTo>
                      <a:pt x="22" y="36"/>
                    </a:lnTo>
                    <a:lnTo>
                      <a:pt x="23" y="36"/>
                    </a:lnTo>
                    <a:lnTo>
                      <a:pt x="20" y="33"/>
                    </a:lnTo>
                    <a:lnTo>
                      <a:pt x="19" y="30"/>
                    </a:lnTo>
                    <a:lnTo>
                      <a:pt x="18" y="33"/>
                    </a:lnTo>
                    <a:lnTo>
                      <a:pt x="16" y="33"/>
                    </a:lnTo>
                    <a:lnTo>
                      <a:pt x="18" y="35"/>
                    </a:lnTo>
                    <a:lnTo>
                      <a:pt x="19" y="35"/>
                    </a:lnTo>
                    <a:close/>
                    <a:moveTo>
                      <a:pt x="15" y="33"/>
                    </a:moveTo>
                    <a:lnTo>
                      <a:pt x="15" y="32"/>
                    </a:lnTo>
                    <a:lnTo>
                      <a:pt x="15" y="32"/>
                    </a:lnTo>
                    <a:lnTo>
                      <a:pt x="15" y="32"/>
                    </a:lnTo>
                    <a:lnTo>
                      <a:pt x="13" y="32"/>
                    </a:lnTo>
                    <a:lnTo>
                      <a:pt x="15" y="35"/>
                    </a:lnTo>
                    <a:lnTo>
                      <a:pt x="15" y="39"/>
                    </a:lnTo>
                    <a:lnTo>
                      <a:pt x="15" y="42"/>
                    </a:lnTo>
                    <a:lnTo>
                      <a:pt x="18" y="45"/>
                    </a:lnTo>
                    <a:lnTo>
                      <a:pt x="18" y="42"/>
                    </a:lnTo>
                    <a:lnTo>
                      <a:pt x="16" y="39"/>
                    </a:lnTo>
                    <a:lnTo>
                      <a:pt x="15" y="33"/>
                    </a:lnTo>
                    <a:close/>
                    <a:moveTo>
                      <a:pt x="22" y="42"/>
                    </a:moveTo>
                    <a:lnTo>
                      <a:pt x="23" y="42"/>
                    </a:lnTo>
                    <a:lnTo>
                      <a:pt x="23" y="42"/>
                    </a:lnTo>
                    <a:lnTo>
                      <a:pt x="23" y="41"/>
                    </a:lnTo>
                    <a:lnTo>
                      <a:pt x="22" y="39"/>
                    </a:lnTo>
                    <a:lnTo>
                      <a:pt x="22" y="39"/>
                    </a:lnTo>
                    <a:lnTo>
                      <a:pt x="20" y="41"/>
                    </a:lnTo>
                    <a:lnTo>
                      <a:pt x="20" y="41"/>
                    </a:lnTo>
                    <a:lnTo>
                      <a:pt x="22" y="42"/>
                    </a:lnTo>
                    <a:close/>
                    <a:moveTo>
                      <a:pt x="25" y="48"/>
                    </a:moveTo>
                    <a:lnTo>
                      <a:pt x="28" y="49"/>
                    </a:lnTo>
                    <a:lnTo>
                      <a:pt x="29" y="52"/>
                    </a:lnTo>
                    <a:lnTo>
                      <a:pt x="31" y="51"/>
                    </a:lnTo>
                    <a:lnTo>
                      <a:pt x="26" y="46"/>
                    </a:lnTo>
                    <a:lnTo>
                      <a:pt x="22" y="43"/>
                    </a:lnTo>
                    <a:lnTo>
                      <a:pt x="23" y="45"/>
                    </a:lnTo>
                    <a:lnTo>
                      <a:pt x="25" y="48"/>
                    </a:lnTo>
                    <a:close/>
                    <a:moveTo>
                      <a:pt x="31" y="58"/>
                    </a:moveTo>
                    <a:lnTo>
                      <a:pt x="29" y="56"/>
                    </a:lnTo>
                    <a:lnTo>
                      <a:pt x="29" y="56"/>
                    </a:lnTo>
                    <a:lnTo>
                      <a:pt x="28" y="55"/>
                    </a:lnTo>
                    <a:lnTo>
                      <a:pt x="28" y="56"/>
                    </a:lnTo>
                    <a:lnTo>
                      <a:pt x="29" y="56"/>
                    </a:lnTo>
                    <a:lnTo>
                      <a:pt x="29" y="58"/>
                    </a:lnTo>
                    <a:lnTo>
                      <a:pt x="31" y="58"/>
                    </a:lnTo>
                    <a:lnTo>
                      <a:pt x="31" y="58"/>
                    </a:lnTo>
                    <a:close/>
                    <a:moveTo>
                      <a:pt x="26" y="59"/>
                    </a:moveTo>
                    <a:lnTo>
                      <a:pt x="28" y="61"/>
                    </a:lnTo>
                    <a:lnTo>
                      <a:pt x="31" y="61"/>
                    </a:lnTo>
                    <a:lnTo>
                      <a:pt x="29" y="59"/>
                    </a:lnTo>
                    <a:lnTo>
                      <a:pt x="28" y="58"/>
                    </a:lnTo>
                    <a:lnTo>
                      <a:pt x="26" y="56"/>
                    </a:lnTo>
                    <a:lnTo>
                      <a:pt x="23" y="55"/>
                    </a:lnTo>
                    <a:lnTo>
                      <a:pt x="25" y="56"/>
                    </a:lnTo>
                    <a:lnTo>
                      <a:pt x="26" y="5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79" name="Freeform 85">
                <a:extLst>
                  <a:ext uri="{FF2B5EF4-FFF2-40B4-BE49-F238E27FC236}">
                    <a16:creationId xmlns:a16="http://schemas.microsoft.com/office/drawing/2014/main" id="{3D8E78BF-278B-1573-09C0-03F8BDB25F26}"/>
                  </a:ext>
                </a:extLst>
              </p:cNvPr>
              <p:cNvSpPr>
                <a:spLocks noEditPoints="1"/>
              </p:cNvSpPr>
              <p:nvPr/>
            </p:nvSpPr>
            <p:spPr bwMode="auto">
              <a:xfrm>
                <a:off x="3632" y="1149"/>
                <a:ext cx="459" cy="389"/>
              </a:xfrm>
              <a:custGeom>
                <a:avLst/>
                <a:gdLst>
                  <a:gd name="T0" fmla="*/ 237 w 459"/>
                  <a:gd name="T1" fmla="*/ 49 h 389"/>
                  <a:gd name="T2" fmla="*/ 254 w 459"/>
                  <a:gd name="T3" fmla="*/ 31 h 389"/>
                  <a:gd name="T4" fmla="*/ 274 w 459"/>
                  <a:gd name="T5" fmla="*/ 32 h 389"/>
                  <a:gd name="T6" fmla="*/ 303 w 459"/>
                  <a:gd name="T7" fmla="*/ 15 h 389"/>
                  <a:gd name="T8" fmla="*/ 324 w 459"/>
                  <a:gd name="T9" fmla="*/ 19 h 389"/>
                  <a:gd name="T10" fmla="*/ 175 w 459"/>
                  <a:gd name="T11" fmla="*/ 71 h 389"/>
                  <a:gd name="T12" fmla="*/ 175 w 459"/>
                  <a:gd name="T13" fmla="*/ 67 h 389"/>
                  <a:gd name="T14" fmla="*/ 149 w 459"/>
                  <a:gd name="T15" fmla="*/ 85 h 389"/>
                  <a:gd name="T16" fmla="*/ 145 w 459"/>
                  <a:gd name="T17" fmla="*/ 91 h 389"/>
                  <a:gd name="T18" fmla="*/ 113 w 459"/>
                  <a:gd name="T19" fmla="*/ 195 h 389"/>
                  <a:gd name="T20" fmla="*/ 127 w 459"/>
                  <a:gd name="T21" fmla="*/ 338 h 389"/>
                  <a:gd name="T22" fmla="*/ 130 w 459"/>
                  <a:gd name="T23" fmla="*/ 288 h 389"/>
                  <a:gd name="T24" fmla="*/ 139 w 459"/>
                  <a:gd name="T25" fmla="*/ 225 h 389"/>
                  <a:gd name="T26" fmla="*/ 172 w 459"/>
                  <a:gd name="T27" fmla="*/ 156 h 389"/>
                  <a:gd name="T28" fmla="*/ 208 w 459"/>
                  <a:gd name="T29" fmla="*/ 98 h 389"/>
                  <a:gd name="T30" fmla="*/ 238 w 459"/>
                  <a:gd name="T31" fmla="*/ 74 h 389"/>
                  <a:gd name="T32" fmla="*/ 293 w 459"/>
                  <a:gd name="T33" fmla="*/ 55 h 389"/>
                  <a:gd name="T34" fmla="*/ 366 w 459"/>
                  <a:gd name="T35" fmla="*/ 64 h 389"/>
                  <a:gd name="T36" fmla="*/ 399 w 459"/>
                  <a:gd name="T37" fmla="*/ 36 h 389"/>
                  <a:gd name="T38" fmla="*/ 432 w 459"/>
                  <a:gd name="T39" fmla="*/ 55 h 389"/>
                  <a:gd name="T40" fmla="*/ 448 w 459"/>
                  <a:gd name="T41" fmla="*/ 48 h 389"/>
                  <a:gd name="T42" fmla="*/ 458 w 459"/>
                  <a:gd name="T43" fmla="*/ 44 h 389"/>
                  <a:gd name="T44" fmla="*/ 423 w 459"/>
                  <a:gd name="T45" fmla="*/ 34 h 389"/>
                  <a:gd name="T46" fmla="*/ 445 w 459"/>
                  <a:gd name="T47" fmla="*/ 15 h 389"/>
                  <a:gd name="T48" fmla="*/ 409 w 459"/>
                  <a:gd name="T49" fmla="*/ 12 h 389"/>
                  <a:gd name="T50" fmla="*/ 385 w 459"/>
                  <a:gd name="T51" fmla="*/ 22 h 389"/>
                  <a:gd name="T52" fmla="*/ 354 w 459"/>
                  <a:gd name="T53" fmla="*/ 31 h 389"/>
                  <a:gd name="T54" fmla="*/ 349 w 459"/>
                  <a:gd name="T55" fmla="*/ 5 h 389"/>
                  <a:gd name="T56" fmla="*/ 324 w 459"/>
                  <a:gd name="T57" fmla="*/ 38 h 389"/>
                  <a:gd name="T58" fmla="*/ 293 w 459"/>
                  <a:gd name="T59" fmla="*/ 28 h 389"/>
                  <a:gd name="T60" fmla="*/ 277 w 459"/>
                  <a:gd name="T61" fmla="*/ 42 h 389"/>
                  <a:gd name="T62" fmla="*/ 257 w 459"/>
                  <a:gd name="T63" fmla="*/ 44 h 389"/>
                  <a:gd name="T64" fmla="*/ 231 w 459"/>
                  <a:gd name="T65" fmla="*/ 59 h 389"/>
                  <a:gd name="T66" fmla="*/ 201 w 459"/>
                  <a:gd name="T67" fmla="*/ 81 h 389"/>
                  <a:gd name="T68" fmla="*/ 182 w 459"/>
                  <a:gd name="T69" fmla="*/ 90 h 389"/>
                  <a:gd name="T70" fmla="*/ 189 w 459"/>
                  <a:gd name="T71" fmla="*/ 108 h 389"/>
                  <a:gd name="T72" fmla="*/ 156 w 459"/>
                  <a:gd name="T73" fmla="*/ 121 h 389"/>
                  <a:gd name="T74" fmla="*/ 158 w 459"/>
                  <a:gd name="T75" fmla="*/ 146 h 389"/>
                  <a:gd name="T76" fmla="*/ 133 w 459"/>
                  <a:gd name="T77" fmla="*/ 184 h 389"/>
                  <a:gd name="T78" fmla="*/ 120 w 459"/>
                  <a:gd name="T79" fmla="*/ 197 h 389"/>
                  <a:gd name="T80" fmla="*/ 107 w 459"/>
                  <a:gd name="T81" fmla="*/ 226 h 389"/>
                  <a:gd name="T82" fmla="*/ 90 w 459"/>
                  <a:gd name="T83" fmla="*/ 242 h 389"/>
                  <a:gd name="T84" fmla="*/ 63 w 459"/>
                  <a:gd name="T85" fmla="*/ 239 h 389"/>
                  <a:gd name="T86" fmla="*/ 34 w 459"/>
                  <a:gd name="T87" fmla="*/ 261 h 389"/>
                  <a:gd name="T88" fmla="*/ 36 w 459"/>
                  <a:gd name="T89" fmla="*/ 264 h 389"/>
                  <a:gd name="T90" fmla="*/ 11 w 459"/>
                  <a:gd name="T91" fmla="*/ 275 h 389"/>
                  <a:gd name="T92" fmla="*/ 10 w 459"/>
                  <a:gd name="T93" fmla="*/ 282 h 389"/>
                  <a:gd name="T94" fmla="*/ 27 w 459"/>
                  <a:gd name="T95" fmla="*/ 305 h 389"/>
                  <a:gd name="T96" fmla="*/ 40 w 459"/>
                  <a:gd name="T97" fmla="*/ 310 h 389"/>
                  <a:gd name="T98" fmla="*/ 13 w 459"/>
                  <a:gd name="T99" fmla="*/ 318 h 389"/>
                  <a:gd name="T100" fmla="*/ 38 w 459"/>
                  <a:gd name="T101" fmla="*/ 322 h 389"/>
                  <a:gd name="T102" fmla="*/ 23 w 459"/>
                  <a:gd name="T103" fmla="*/ 343 h 389"/>
                  <a:gd name="T104" fmla="*/ 21 w 459"/>
                  <a:gd name="T105" fmla="*/ 356 h 389"/>
                  <a:gd name="T106" fmla="*/ 13 w 459"/>
                  <a:gd name="T107" fmla="*/ 370 h 389"/>
                  <a:gd name="T108" fmla="*/ 46 w 459"/>
                  <a:gd name="T109" fmla="*/ 389 h 389"/>
                  <a:gd name="T110" fmla="*/ 99 w 459"/>
                  <a:gd name="T111" fmla="*/ 358 h 389"/>
                  <a:gd name="T112" fmla="*/ 117 w 459"/>
                  <a:gd name="T113" fmla="*/ 366 h 389"/>
                  <a:gd name="T114" fmla="*/ 53 w 459"/>
                  <a:gd name="T115" fmla="*/ 242 h 389"/>
                  <a:gd name="T116" fmla="*/ 179 w 459"/>
                  <a:gd name="T117" fmla="*/ 77 h 389"/>
                  <a:gd name="T118" fmla="*/ 192 w 459"/>
                  <a:gd name="T119" fmla="*/ 74 h 389"/>
                  <a:gd name="T120" fmla="*/ 191 w 459"/>
                  <a:gd name="T121" fmla="*/ 80 h 389"/>
                  <a:gd name="T122" fmla="*/ 221 w 459"/>
                  <a:gd name="T123" fmla="*/ 52 h 389"/>
                  <a:gd name="T124" fmla="*/ 231 w 459"/>
                  <a:gd name="T125" fmla="*/ 58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9" h="389">
                    <a:moveTo>
                      <a:pt x="337" y="15"/>
                    </a:moveTo>
                    <a:lnTo>
                      <a:pt x="339" y="16"/>
                    </a:lnTo>
                    <a:lnTo>
                      <a:pt x="337" y="19"/>
                    </a:lnTo>
                    <a:lnTo>
                      <a:pt x="334" y="19"/>
                    </a:lnTo>
                    <a:lnTo>
                      <a:pt x="333" y="18"/>
                    </a:lnTo>
                    <a:lnTo>
                      <a:pt x="331" y="15"/>
                    </a:lnTo>
                    <a:lnTo>
                      <a:pt x="333" y="13"/>
                    </a:lnTo>
                    <a:lnTo>
                      <a:pt x="336" y="13"/>
                    </a:lnTo>
                    <a:lnTo>
                      <a:pt x="337" y="15"/>
                    </a:lnTo>
                    <a:close/>
                    <a:moveTo>
                      <a:pt x="367" y="0"/>
                    </a:moveTo>
                    <a:lnTo>
                      <a:pt x="366" y="0"/>
                    </a:lnTo>
                    <a:lnTo>
                      <a:pt x="363" y="2"/>
                    </a:lnTo>
                    <a:lnTo>
                      <a:pt x="362" y="2"/>
                    </a:lnTo>
                    <a:lnTo>
                      <a:pt x="360" y="3"/>
                    </a:lnTo>
                    <a:lnTo>
                      <a:pt x="369" y="6"/>
                    </a:lnTo>
                    <a:lnTo>
                      <a:pt x="373" y="6"/>
                    </a:lnTo>
                    <a:lnTo>
                      <a:pt x="376" y="3"/>
                    </a:lnTo>
                    <a:lnTo>
                      <a:pt x="373" y="3"/>
                    </a:lnTo>
                    <a:lnTo>
                      <a:pt x="369" y="2"/>
                    </a:lnTo>
                    <a:lnTo>
                      <a:pt x="367" y="0"/>
                    </a:lnTo>
                    <a:close/>
                    <a:moveTo>
                      <a:pt x="237" y="49"/>
                    </a:moveTo>
                    <a:lnTo>
                      <a:pt x="240" y="49"/>
                    </a:lnTo>
                    <a:lnTo>
                      <a:pt x="242" y="49"/>
                    </a:lnTo>
                    <a:lnTo>
                      <a:pt x="245" y="49"/>
                    </a:lnTo>
                    <a:lnTo>
                      <a:pt x="245" y="48"/>
                    </a:lnTo>
                    <a:lnTo>
                      <a:pt x="248" y="45"/>
                    </a:lnTo>
                    <a:lnTo>
                      <a:pt x="250" y="45"/>
                    </a:lnTo>
                    <a:lnTo>
                      <a:pt x="254" y="44"/>
                    </a:lnTo>
                    <a:lnTo>
                      <a:pt x="255" y="42"/>
                    </a:lnTo>
                    <a:lnTo>
                      <a:pt x="257" y="41"/>
                    </a:lnTo>
                    <a:lnTo>
                      <a:pt x="258" y="39"/>
                    </a:lnTo>
                    <a:lnTo>
                      <a:pt x="260" y="38"/>
                    </a:lnTo>
                    <a:lnTo>
                      <a:pt x="260" y="36"/>
                    </a:lnTo>
                    <a:lnTo>
                      <a:pt x="258" y="35"/>
                    </a:lnTo>
                    <a:lnTo>
                      <a:pt x="258" y="35"/>
                    </a:lnTo>
                    <a:lnTo>
                      <a:pt x="257" y="36"/>
                    </a:lnTo>
                    <a:lnTo>
                      <a:pt x="257" y="36"/>
                    </a:lnTo>
                    <a:lnTo>
                      <a:pt x="255" y="36"/>
                    </a:lnTo>
                    <a:lnTo>
                      <a:pt x="255" y="35"/>
                    </a:lnTo>
                    <a:lnTo>
                      <a:pt x="254" y="35"/>
                    </a:lnTo>
                    <a:lnTo>
                      <a:pt x="254" y="32"/>
                    </a:lnTo>
                    <a:lnTo>
                      <a:pt x="254" y="31"/>
                    </a:lnTo>
                    <a:lnTo>
                      <a:pt x="252" y="29"/>
                    </a:lnTo>
                    <a:lnTo>
                      <a:pt x="252" y="29"/>
                    </a:lnTo>
                    <a:lnTo>
                      <a:pt x="251" y="32"/>
                    </a:lnTo>
                    <a:lnTo>
                      <a:pt x="251" y="32"/>
                    </a:lnTo>
                    <a:lnTo>
                      <a:pt x="251" y="35"/>
                    </a:lnTo>
                    <a:lnTo>
                      <a:pt x="251" y="35"/>
                    </a:lnTo>
                    <a:lnTo>
                      <a:pt x="250" y="35"/>
                    </a:lnTo>
                    <a:lnTo>
                      <a:pt x="247" y="38"/>
                    </a:lnTo>
                    <a:lnTo>
                      <a:pt x="245" y="39"/>
                    </a:lnTo>
                    <a:lnTo>
                      <a:pt x="244" y="41"/>
                    </a:lnTo>
                    <a:lnTo>
                      <a:pt x="244" y="42"/>
                    </a:lnTo>
                    <a:lnTo>
                      <a:pt x="244" y="44"/>
                    </a:lnTo>
                    <a:lnTo>
                      <a:pt x="241" y="44"/>
                    </a:lnTo>
                    <a:lnTo>
                      <a:pt x="238" y="45"/>
                    </a:lnTo>
                    <a:lnTo>
                      <a:pt x="235" y="46"/>
                    </a:lnTo>
                    <a:lnTo>
                      <a:pt x="234" y="48"/>
                    </a:lnTo>
                    <a:lnTo>
                      <a:pt x="234" y="49"/>
                    </a:lnTo>
                    <a:lnTo>
                      <a:pt x="237" y="49"/>
                    </a:lnTo>
                    <a:close/>
                    <a:moveTo>
                      <a:pt x="278" y="29"/>
                    </a:moveTo>
                    <a:lnTo>
                      <a:pt x="275" y="31"/>
                    </a:lnTo>
                    <a:lnTo>
                      <a:pt x="274" y="32"/>
                    </a:lnTo>
                    <a:lnTo>
                      <a:pt x="275" y="35"/>
                    </a:lnTo>
                    <a:lnTo>
                      <a:pt x="278" y="35"/>
                    </a:lnTo>
                    <a:lnTo>
                      <a:pt x="280" y="34"/>
                    </a:lnTo>
                    <a:lnTo>
                      <a:pt x="281" y="32"/>
                    </a:lnTo>
                    <a:lnTo>
                      <a:pt x="280" y="29"/>
                    </a:lnTo>
                    <a:lnTo>
                      <a:pt x="278" y="29"/>
                    </a:lnTo>
                    <a:close/>
                    <a:moveTo>
                      <a:pt x="324" y="15"/>
                    </a:moveTo>
                    <a:lnTo>
                      <a:pt x="326" y="13"/>
                    </a:lnTo>
                    <a:lnTo>
                      <a:pt x="327" y="12"/>
                    </a:lnTo>
                    <a:lnTo>
                      <a:pt x="327" y="11"/>
                    </a:lnTo>
                    <a:lnTo>
                      <a:pt x="324" y="11"/>
                    </a:lnTo>
                    <a:lnTo>
                      <a:pt x="318" y="13"/>
                    </a:lnTo>
                    <a:lnTo>
                      <a:pt x="316" y="13"/>
                    </a:lnTo>
                    <a:lnTo>
                      <a:pt x="311" y="13"/>
                    </a:lnTo>
                    <a:lnTo>
                      <a:pt x="310" y="13"/>
                    </a:lnTo>
                    <a:lnTo>
                      <a:pt x="308" y="13"/>
                    </a:lnTo>
                    <a:lnTo>
                      <a:pt x="307" y="15"/>
                    </a:lnTo>
                    <a:lnTo>
                      <a:pt x="307" y="15"/>
                    </a:lnTo>
                    <a:lnTo>
                      <a:pt x="304" y="15"/>
                    </a:lnTo>
                    <a:lnTo>
                      <a:pt x="303" y="15"/>
                    </a:lnTo>
                    <a:lnTo>
                      <a:pt x="303" y="15"/>
                    </a:lnTo>
                    <a:lnTo>
                      <a:pt x="306" y="18"/>
                    </a:lnTo>
                    <a:lnTo>
                      <a:pt x="308" y="19"/>
                    </a:lnTo>
                    <a:lnTo>
                      <a:pt x="311" y="19"/>
                    </a:lnTo>
                    <a:lnTo>
                      <a:pt x="314" y="19"/>
                    </a:lnTo>
                    <a:lnTo>
                      <a:pt x="316" y="18"/>
                    </a:lnTo>
                    <a:lnTo>
                      <a:pt x="317" y="18"/>
                    </a:lnTo>
                    <a:lnTo>
                      <a:pt x="318" y="18"/>
                    </a:lnTo>
                    <a:lnTo>
                      <a:pt x="320" y="18"/>
                    </a:lnTo>
                    <a:lnTo>
                      <a:pt x="324" y="15"/>
                    </a:lnTo>
                    <a:close/>
                    <a:moveTo>
                      <a:pt x="320" y="25"/>
                    </a:moveTo>
                    <a:lnTo>
                      <a:pt x="320" y="25"/>
                    </a:lnTo>
                    <a:lnTo>
                      <a:pt x="321" y="25"/>
                    </a:lnTo>
                    <a:lnTo>
                      <a:pt x="323" y="26"/>
                    </a:lnTo>
                    <a:lnTo>
                      <a:pt x="326" y="26"/>
                    </a:lnTo>
                    <a:lnTo>
                      <a:pt x="330" y="23"/>
                    </a:lnTo>
                    <a:lnTo>
                      <a:pt x="331" y="21"/>
                    </a:lnTo>
                    <a:lnTo>
                      <a:pt x="331" y="18"/>
                    </a:lnTo>
                    <a:lnTo>
                      <a:pt x="330" y="18"/>
                    </a:lnTo>
                    <a:lnTo>
                      <a:pt x="327" y="18"/>
                    </a:lnTo>
                    <a:lnTo>
                      <a:pt x="326" y="19"/>
                    </a:lnTo>
                    <a:lnTo>
                      <a:pt x="324" y="19"/>
                    </a:lnTo>
                    <a:lnTo>
                      <a:pt x="321" y="21"/>
                    </a:lnTo>
                    <a:lnTo>
                      <a:pt x="320" y="21"/>
                    </a:lnTo>
                    <a:lnTo>
                      <a:pt x="318" y="23"/>
                    </a:lnTo>
                    <a:lnTo>
                      <a:pt x="318" y="23"/>
                    </a:lnTo>
                    <a:lnTo>
                      <a:pt x="320" y="25"/>
                    </a:lnTo>
                    <a:close/>
                    <a:moveTo>
                      <a:pt x="264" y="29"/>
                    </a:moveTo>
                    <a:lnTo>
                      <a:pt x="261" y="28"/>
                    </a:lnTo>
                    <a:lnTo>
                      <a:pt x="261" y="29"/>
                    </a:lnTo>
                    <a:lnTo>
                      <a:pt x="261" y="31"/>
                    </a:lnTo>
                    <a:lnTo>
                      <a:pt x="262" y="34"/>
                    </a:lnTo>
                    <a:lnTo>
                      <a:pt x="264" y="35"/>
                    </a:lnTo>
                    <a:lnTo>
                      <a:pt x="267" y="35"/>
                    </a:lnTo>
                    <a:lnTo>
                      <a:pt x="268" y="35"/>
                    </a:lnTo>
                    <a:lnTo>
                      <a:pt x="268" y="34"/>
                    </a:lnTo>
                    <a:lnTo>
                      <a:pt x="267" y="32"/>
                    </a:lnTo>
                    <a:lnTo>
                      <a:pt x="265" y="31"/>
                    </a:lnTo>
                    <a:lnTo>
                      <a:pt x="264" y="29"/>
                    </a:lnTo>
                    <a:close/>
                    <a:moveTo>
                      <a:pt x="172" y="71"/>
                    </a:moveTo>
                    <a:lnTo>
                      <a:pt x="172" y="71"/>
                    </a:lnTo>
                    <a:lnTo>
                      <a:pt x="173" y="71"/>
                    </a:lnTo>
                    <a:lnTo>
                      <a:pt x="175" y="71"/>
                    </a:lnTo>
                    <a:lnTo>
                      <a:pt x="175" y="71"/>
                    </a:lnTo>
                    <a:lnTo>
                      <a:pt x="176" y="72"/>
                    </a:lnTo>
                    <a:lnTo>
                      <a:pt x="178" y="72"/>
                    </a:lnTo>
                    <a:lnTo>
                      <a:pt x="181" y="72"/>
                    </a:lnTo>
                    <a:lnTo>
                      <a:pt x="184" y="72"/>
                    </a:lnTo>
                    <a:lnTo>
                      <a:pt x="185" y="71"/>
                    </a:lnTo>
                    <a:lnTo>
                      <a:pt x="186" y="68"/>
                    </a:lnTo>
                    <a:lnTo>
                      <a:pt x="185" y="65"/>
                    </a:lnTo>
                    <a:lnTo>
                      <a:pt x="182" y="64"/>
                    </a:lnTo>
                    <a:lnTo>
                      <a:pt x="181" y="62"/>
                    </a:lnTo>
                    <a:lnTo>
                      <a:pt x="181" y="65"/>
                    </a:lnTo>
                    <a:lnTo>
                      <a:pt x="178" y="65"/>
                    </a:lnTo>
                    <a:lnTo>
                      <a:pt x="178" y="65"/>
                    </a:lnTo>
                    <a:lnTo>
                      <a:pt x="178" y="65"/>
                    </a:lnTo>
                    <a:lnTo>
                      <a:pt x="176" y="65"/>
                    </a:lnTo>
                    <a:lnTo>
                      <a:pt x="176" y="67"/>
                    </a:lnTo>
                    <a:lnTo>
                      <a:pt x="176" y="67"/>
                    </a:lnTo>
                    <a:lnTo>
                      <a:pt x="176" y="67"/>
                    </a:lnTo>
                    <a:lnTo>
                      <a:pt x="176" y="68"/>
                    </a:lnTo>
                    <a:lnTo>
                      <a:pt x="175" y="68"/>
                    </a:lnTo>
                    <a:lnTo>
                      <a:pt x="175" y="67"/>
                    </a:lnTo>
                    <a:lnTo>
                      <a:pt x="173" y="67"/>
                    </a:lnTo>
                    <a:lnTo>
                      <a:pt x="173" y="68"/>
                    </a:lnTo>
                    <a:lnTo>
                      <a:pt x="172" y="68"/>
                    </a:lnTo>
                    <a:lnTo>
                      <a:pt x="172" y="68"/>
                    </a:lnTo>
                    <a:lnTo>
                      <a:pt x="171" y="68"/>
                    </a:lnTo>
                    <a:lnTo>
                      <a:pt x="169" y="69"/>
                    </a:lnTo>
                    <a:lnTo>
                      <a:pt x="169" y="69"/>
                    </a:lnTo>
                    <a:lnTo>
                      <a:pt x="169" y="71"/>
                    </a:lnTo>
                    <a:lnTo>
                      <a:pt x="171" y="71"/>
                    </a:lnTo>
                    <a:lnTo>
                      <a:pt x="172" y="71"/>
                    </a:lnTo>
                    <a:close/>
                    <a:moveTo>
                      <a:pt x="162" y="81"/>
                    </a:moveTo>
                    <a:lnTo>
                      <a:pt x="163" y="82"/>
                    </a:lnTo>
                    <a:lnTo>
                      <a:pt x="162" y="84"/>
                    </a:lnTo>
                    <a:lnTo>
                      <a:pt x="158" y="85"/>
                    </a:lnTo>
                    <a:lnTo>
                      <a:pt x="155" y="87"/>
                    </a:lnTo>
                    <a:lnTo>
                      <a:pt x="152" y="87"/>
                    </a:lnTo>
                    <a:lnTo>
                      <a:pt x="150" y="88"/>
                    </a:lnTo>
                    <a:lnTo>
                      <a:pt x="149" y="88"/>
                    </a:lnTo>
                    <a:lnTo>
                      <a:pt x="148" y="88"/>
                    </a:lnTo>
                    <a:lnTo>
                      <a:pt x="148" y="87"/>
                    </a:lnTo>
                    <a:lnTo>
                      <a:pt x="149" y="85"/>
                    </a:lnTo>
                    <a:lnTo>
                      <a:pt x="149" y="85"/>
                    </a:lnTo>
                    <a:lnTo>
                      <a:pt x="150" y="84"/>
                    </a:lnTo>
                    <a:lnTo>
                      <a:pt x="150" y="84"/>
                    </a:lnTo>
                    <a:lnTo>
                      <a:pt x="153" y="82"/>
                    </a:lnTo>
                    <a:lnTo>
                      <a:pt x="155" y="81"/>
                    </a:lnTo>
                    <a:lnTo>
                      <a:pt x="158" y="81"/>
                    </a:lnTo>
                    <a:lnTo>
                      <a:pt x="159" y="81"/>
                    </a:lnTo>
                    <a:lnTo>
                      <a:pt x="162" y="81"/>
                    </a:lnTo>
                    <a:close/>
                    <a:moveTo>
                      <a:pt x="135" y="151"/>
                    </a:moveTo>
                    <a:lnTo>
                      <a:pt x="132" y="153"/>
                    </a:lnTo>
                    <a:lnTo>
                      <a:pt x="133" y="150"/>
                    </a:lnTo>
                    <a:lnTo>
                      <a:pt x="133" y="149"/>
                    </a:lnTo>
                    <a:lnTo>
                      <a:pt x="135" y="146"/>
                    </a:lnTo>
                    <a:lnTo>
                      <a:pt x="136" y="146"/>
                    </a:lnTo>
                    <a:lnTo>
                      <a:pt x="138" y="149"/>
                    </a:lnTo>
                    <a:lnTo>
                      <a:pt x="136" y="150"/>
                    </a:lnTo>
                    <a:lnTo>
                      <a:pt x="135" y="151"/>
                    </a:lnTo>
                    <a:close/>
                    <a:moveTo>
                      <a:pt x="142" y="91"/>
                    </a:moveTo>
                    <a:lnTo>
                      <a:pt x="140" y="94"/>
                    </a:lnTo>
                    <a:lnTo>
                      <a:pt x="143" y="92"/>
                    </a:lnTo>
                    <a:lnTo>
                      <a:pt x="145" y="91"/>
                    </a:lnTo>
                    <a:lnTo>
                      <a:pt x="146" y="90"/>
                    </a:lnTo>
                    <a:lnTo>
                      <a:pt x="146" y="88"/>
                    </a:lnTo>
                    <a:lnTo>
                      <a:pt x="145" y="87"/>
                    </a:lnTo>
                    <a:lnTo>
                      <a:pt x="143" y="88"/>
                    </a:lnTo>
                    <a:lnTo>
                      <a:pt x="142" y="91"/>
                    </a:lnTo>
                    <a:close/>
                    <a:moveTo>
                      <a:pt x="138" y="156"/>
                    </a:moveTo>
                    <a:lnTo>
                      <a:pt x="140" y="154"/>
                    </a:lnTo>
                    <a:lnTo>
                      <a:pt x="139" y="153"/>
                    </a:lnTo>
                    <a:lnTo>
                      <a:pt x="138" y="153"/>
                    </a:lnTo>
                    <a:lnTo>
                      <a:pt x="136" y="154"/>
                    </a:lnTo>
                    <a:lnTo>
                      <a:pt x="135" y="156"/>
                    </a:lnTo>
                    <a:lnTo>
                      <a:pt x="135" y="157"/>
                    </a:lnTo>
                    <a:lnTo>
                      <a:pt x="136" y="157"/>
                    </a:lnTo>
                    <a:lnTo>
                      <a:pt x="138" y="156"/>
                    </a:lnTo>
                    <a:close/>
                    <a:moveTo>
                      <a:pt x="109" y="192"/>
                    </a:moveTo>
                    <a:lnTo>
                      <a:pt x="106" y="193"/>
                    </a:lnTo>
                    <a:lnTo>
                      <a:pt x="105" y="196"/>
                    </a:lnTo>
                    <a:lnTo>
                      <a:pt x="106" y="196"/>
                    </a:lnTo>
                    <a:lnTo>
                      <a:pt x="110" y="196"/>
                    </a:lnTo>
                    <a:lnTo>
                      <a:pt x="112" y="196"/>
                    </a:lnTo>
                    <a:lnTo>
                      <a:pt x="113" y="195"/>
                    </a:lnTo>
                    <a:lnTo>
                      <a:pt x="112" y="192"/>
                    </a:lnTo>
                    <a:lnTo>
                      <a:pt x="109" y="192"/>
                    </a:lnTo>
                    <a:close/>
                    <a:moveTo>
                      <a:pt x="125" y="166"/>
                    </a:moveTo>
                    <a:lnTo>
                      <a:pt x="123" y="167"/>
                    </a:lnTo>
                    <a:lnTo>
                      <a:pt x="122" y="169"/>
                    </a:lnTo>
                    <a:lnTo>
                      <a:pt x="123" y="169"/>
                    </a:lnTo>
                    <a:lnTo>
                      <a:pt x="125" y="169"/>
                    </a:lnTo>
                    <a:lnTo>
                      <a:pt x="126" y="167"/>
                    </a:lnTo>
                    <a:lnTo>
                      <a:pt x="126" y="166"/>
                    </a:lnTo>
                    <a:lnTo>
                      <a:pt x="126" y="166"/>
                    </a:lnTo>
                    <a:lnTo>
                      <a:pt x="125" y="166"/>
                    </a:lnTo>
                    <a:close/>
                    <a:moveTo>
                      <a:pt x="119" y="366"/>
                    </a:moveTo>
                    <a:lnTo>
                      <a:pt x="120" y="363"/>
                    </a:lnTo>
                    <a:lnTo>
                      <a:pt x="122" y="360"/>
                    </a:lnTo>
                    <a:lnTo>
                      <a:pt x="122" y="357"/>
                    </a:lnTo>
                    <a:lnTo>
                      <a:pt x="122" y="351"/>
                    </a:lnTo>
                    <a:lnTo>
                      <a:pt x="120" y="348"/>
                    </a:lnTo>
                    <a:lnTo>
                      <a:pt x="122" y="347"/>
                    </a:lnTo>
                    <a:lnTo>
                      <a:pt x="125" y="341"/>
                    </a:lnTo>
                    <a:lnTo>
                      <a:pt x="126" y="340"/>
                    </a:lnTo>
                    <a:lnTo>
                      <a:pt x="127" y="338"/>
                    </a:lnTo>
                    <a:lnTo>
                      <a:pt x="130" y="338"/>
                    </a:lnTo>
                    <a:lnTo>
                      <a:pt x="133" y="337"/>
                    </a:lnTo>
                    <a:lnTo>
                      <a:pt x="135" y="334"/>
                    </a:lnTo>
                    <a:lnTo>
                      <a:pt x="136" y="330"/>
                    </a:lnTo>
                    <a:lnTo>
                      <a:pt x="136" y="324"/>
                    </a:lnTo>
                    <a:lnTo>
                      <a:pt x="135" y="320"/>
                    </a:lnTo>
                    <a:lnTo>
                      <a:pt x="132" y="311"/>
                    </a:lnTo>
                    <a:lnTo>
                      <a:pt x="132" y="310"/>
                    </a:lnTo>
                    <a:lnTo>
                      <a:pt x="132" y="308"/>
                    </a:lnTo>
                    <a:lnTo>
                      <a:pt x="133" y="308"/>
                    </a:lnTo>
                    <a:lnTo>
                      <a:pt x="135" y="308"/>
                    </a:lnTo>
                    <a:lnTo>
                      <a:pt x="136" y="308"/>
                    </a:lnTo>
                    <a:lnTo>
                      <a:pt x="138" y="307"/>
                    </a:lnTo>
                    <a:lnTo>
                      <a:pt x="139" y="307"/>
                    </a:lnTo>
                    <a:lnTo>
                      <a:pt x="140" y="304"/>
                    </a:lnTo>
                    <a:lnTo>
                      <a:pt x="142" y="301"/>
                    </a:lnTo>
                    <a:lnTo>
                      <a:pt x="142" y="299"/>
                    </a:lnTo>
                    <a:lnTo>
                      <a:pt x="140" y="297"/>
                    </a:lnTo>
                    <a:lnTo>
                      <a:pt x="139" y="295"/>
                    </a:lnTo>
                    <a:lnTo>
                      <a:pt x="132" y="289"/>
                    </a:lnTo>
                    <a:lnTo>
                      <a:pt x="130" y="288"/>
                    </a:lnTo>
                    <a:lnTo>
                      <a:pt x="130" y="285"/>
                    </a:lnTo>
                    <a:lnTo>
                      <a:pt x="132" y="276"/>
                    </a:lnTo>
                    <a:lnTo>
                      <a:pt x="132" y="274"/>
                    </a:lnTo>
                    <a:lnTo>
                      <a:pt x="132" y="271"/>
                    </a:lnTo>
                    <a:lnTo>
                      <a:pt x="129" y="264"/>
                    </a:lnTo>
                    <a:lnTo>
                      <a:pt x="129" y="255"/>
                    </a:lnTo>
                    <a:lnTo>
                      <a:pt x="129" y="255"/>
                    </a:lnTo>
                    <a:lnTo>
                      <a:pt x="130" y="253"/>
                    </a:lnTo>
                    <a:lnTo>
                      <a:pt x="130" y="253"/>
                    </a:lnTo>
                    <a:lnTo>
                      <a:pt x="130" y="252"/>
                    </a:lnTo>
                    <a:lnTo>
                      <a:pt x="129" y="252"/>
                    </a:lnTo>
                    <a:lnTo>
                      <a:pt x="129" y="251"/>
                    </a:lnTo>
                    <a:lnTo>
                      <a:pt x="127" y="246"/>
                    </a:lnTo>
                    <a:lnTo>
                      <a:pt x="127" y="245"/>
                    </a:lnTo>
                    <a:lnTo>
                      <a:pt x="129" y="239"/>
                    </a:lnTo>
                    <a:lnTo>
                      <a:pt x="130" y="236"/>
                    </a:lnTo>
                    <a:lnTo>
                      <a:pt x="130" y="235"/>
                    </a:lnTo>
                    <a:lnTo>
                      <a:pt x="130" y="235"/>
                    </a:lnTo>
                    <a:lnTo>
                      <a:pt x="133" y="230"/>
                    </a:lnTo>
                    <a:lnTo>
                      <a:pt x="138" y="228"/>
                    </a:lnTo>
                    <a:lnTo>
                      <a:pt x="139" y="225"/>
                    </a:lnTo>
                    <a:lnTo>
                      <a:pt x="140" y="223"/>
                    </a:lnTo>
                    <a:lnTo>
                      <a:pt x="143" y="222"/>
                    </a:lnTo>
                    <a:lnTo>
                      <a:pt x="146" y="222"/>
                    </a:lnTo>
                    <a:lnTo>
                      <a:pt x="148" y="222"/>
                    </a:lnTo>
                    <a:lnTo>
                      <a:pt x="150" y="222"/>
                    </a:lnTo>
                    <a:lnTo>
                      <a:pt x="156" y="223"/>
                    </a:lnTo>
                    <a:lnTo>
                      <a:pt x="159" y="223"/>
                    </a:lnTo>
                    <a:lnTo>
                      <a:pt x="162" y="222"/>
                    </a:lnTo>
                    <a:lnTo>
                      <a:pt x="163" y="220"/>
                    </a:lnTo>
                    <a:lnTo>
                      <a:pt x="165" y="218"/>
                    </a:lnTo>
                    <a:lnTo>
                      <a:pt x="165" y="215"/>
                    </a:lnTo>
                    <a:lnTo>
                      <a:pt x="163" y="212"/>
                    </a:lnTo>
                    <a:lnTo>
                      <a:pt x="162" y="209"/>
                    </a:lnTo>
                    <a:lnTo>
                      <a:pt x="161" y="207"/>
                    </a:lnTo>
                    <a:lnTo>
                      <a:pt x="156" y="205"/>
                    </a:lnTo>
                    <a:lnTo>
                      <a:pt x="163" y="193"/>
                    </a:lnTo>
                    <a:lnTo>
                      <a:pt x="168" y="186"/>
                    </a:lnTo>
                    <a:lnTo>
                      <a:pt x="171" y="180"/>
                    </a:lnTo>
                    <a:lnTo>
                      <a:pt x="172" y="172"/>
                    </a:lnTo>
                    <a:lnTo>
                      <a:pt x="172" y="164"/>
                    </a:lnTo>
                    <a:lnTo>
                      <a:pt x="172" y="156"/>
                    </a:lnTo>
                    <a:lnTo>
                      <a:pt x="171" y="149"/>
                    </a:lnTo>
                    <a:lnTo>
                      <a:pt x="181" y="147"/>
                    </a:lnTo>
                    <a:lnTo>
                      <a:pt x="185" y="146"/>
                    </a:lnTo>
                    <a:lnTo>
                      <a:pt x="188" y="141"/>
                    </a:lnTo>
                    <a:lnTo>
                      <a:pt x="188" y="140"/>
                    </a:lnTo>
                    <a:lnTo>
                      <a:pt x="186" y="137"/>
                    </a:lnTo>
                    <a:lnTo>
                      <a:pt x="186" y="136"/>
                    </a:lnTo>
                    <a:lnTo>
                      <a:pt x="188" y="136"/>
                    </a:lnTo>
                    <a:lnTo>
                      <a:pt x="188" y="134"/>
                    </a:lnTo>
                    <a:lnTo>
                      <a:pt x="188" y="134"/>
                    </a:lnTo>
                    <a:lnTo>
                      <a:pt x="195" y="126"/>
                    </a:lnTo>
                    <a:lnTo>
                      <a:pt x="201" y="121"/>
                    </a:lnTo>
                    <a:lnTo>
                      <a:pt x="204" y="118"/>
                    </a:lnTo>
                    <a:lnTo>
                      <a:pt x="205" y="114"/>
                    </a:lnTo>
                    <a:lnTo>
                      <a:pt x="204" y="111"/>
                    </a:lnTo>
                    <a:lnTo>
                      <a:pt x="201" y="108"/>
                    </a:lnTo>
                    <a:lnTo>
                      <a:pt x="199" y="105"/>
                    </a:lnTo>
                    <a:lnTo>
                      <a:pt x="202" y="103"/>
                    </a:lnTo>
                    <a:lnTo>
                      <a:pt x="205" y="101"/>
                    </a:lnTo>
                    <a:lnTo>
                      <a:pt x="206" y="100"/>
                    </a:lnTo>
                    <a:lnTo>
                      <a:pt x="208" y="98"/>
                    </a:lnTo>
                    <a:lnTo>
                      <a:pt x="208" y="97"/>
                    </a:lnTo>
                    <a:lnTo>
                      <a:pt x="209" y="92"/>
                    </a:lnTo>
                    <a:lnTo>
                      <a:pt x="211" y="91"/>
                    </a:lnTo>
                    <a:lnTo>
                      <a:pt x="212" y="90"/>
                    </a:lnTo>
                    <a:lnTo>
                      <a:pt x="214" y="90"/>
                    </a:lnTo>
                    <a:lnTo>
                      <a:pt x="219" y="87"/>
                    </a:lnTo>
                    <a:lnTo>
                      <a:pt x="221" y="87"/>
                    </a:lnTo>
                    <a:lnTo>
                      <a:pt x="222" y="87"/>
                    </a:lnTo>
                    <a:lnTo>
                      <a:pt x="228" y="88"/>
                    </a:lnTo>
                    <a:lnTo>
                      <a:pt x="229" y="88"/>
                    </a:lnTo>
                    <a:lnTo>
                      <a:pt x="232" y="88"/>
                    </a:lnTo>
                    <a:lnTo>
                      <a:pt x="234" y="87"/>
                    </a:lnTo>
                    <a:lnTo>
                      <a:pt x="234" y="85"/>
                    </a:lnTo>
                    <a:lnTo>
                      <a:pt x="235" y="84"/>
                    </a:lnTo>
                    <a:lnTo>
                      <a:pt x="235" y="82"/>
                    </a:lnTo>
                    <a:lnTo>
                      <a:pt x="235" y="80"/>
                    </a:lnTo>
                    <a:lnTo>
                      <a:pt x="235" y="78"/>
                    </a:lnTo>
                    <a:lnTo>
                      <a:pt x="234" y="75"/>
                    </a:lnTo>
                    <a:lnTo>
                      <a:pt x="235" y="74"/>
                    </a:lnTo>
                    <a:lnTo>
                      <a:pt x="237" y="74"/>
                    </a:lnTo>
                    <a:lnTo>
                      <a:pt x="238" y="74"/>
                    </a:lnTo>
                    <a:lnTo>
                      <a:pt x="252" y="75"/>
                    </a:lnTo>
                    <a:lnTo>
                      <a:pt x="261" y="78"/>
                    </a:lnTo>
                    <a:lnTo>
                      <a:pt x="264" y="78"/>
                    </a:lnTo>
                    <a:lnTo>
                      <a:pt x="268" y="78"/>
                    </a:lnTo>
                    <a:lnTo>
                      <a:pt x="271" y="75"/>
                    </a:lnTo>
                    <a:lnTo>
                      <a:pt x="267" y="74"/>
                    </a:lnTo>
                    <a:lnTo>
                      <a:pt x="271" y="71"/>
                    </a:lnTo>
                    <a:lnTo>
                      <a:pt x="273" y="68"/>
                    </a:lnTo>
                    <a:lnTo>
                      <a:pt x="273" y="65"/>
                    </a:lnTo>
                    <a:lnTo>
                      <a:pt x="270" y="62"/>
                    </a:lnTo>
                    <a:lnTo>
                      <a:pt x="278" y="61"/>
                    </a:lnTo>
                    <a:lnTo>
                      <a:pt x="280" y="61"/>
                    </a:lnTo>
                    <a:lnTo>
                      <a:pt x="285" y="61"/>
                    </a:lnTo>
                    <a:lnTo>
                      <a:pt x="287" y="61"/>
                    </a:lnTo>
                    <a:lnTo>
                      <a:pt x="287" y="59"/>
                    </a:lnTo>
                    <a:lnTo>
                      <a:pt x="287" y="59"/>
                    </a:lnTo>
                    <a:lnTo>
                      <a:pt x="287" y="58"/>
                    </a:lnTo>
                    <a:lnTo>
                      <a:pt x="287" y="57"/>
                    </a:lnTo>
                    <a:lnTo>
                      <a:pt x="288" y="57"/>
                    </a:lnTo>
                    <a:lnTo>
                      <a:pt x="290" y="55"/>
                    </a:lnTo>
                    <a:lnTo>
                      <a:pt x="293" y="55"/>
                    </a:lnTo>
                    <a:lnTo>
                      <a:pt x="296" y="57"/>
                    </a:lnTo>
                    <a:lnTo>
                      <a:pt x="297" y="58"/>
                    </a:lnTo>
                    <a:lnTo>
                      <a:pt x="306" y="64"/>
                    </a:lnTo>
                    <a:lnTo>
                      <a:pt x="307" y="65"/>
                    </a:lnTo>
                    <a:lnTo>
                      <a:pt x="308" y="67"/>
                    </a:lnTo>
                    <a:lnTo>
                      <a:pt x="308" y="68"/>
                    </a:lnTo>
                    <a:lnTo>
                      <a:pt x="310" y="69"/>
                    </a:lnTo>
                    <a:lnTo>
                      <a:pt x="311" y="69"/>
                    </a:lnTo>
                    <a:lnTo>
                      <a:pt x="326" y="71"/>
                    </a:lnTo>
                    <a:lnTo>
                      <a:pt x="329" y="71"/>
                    </a:lnTo>
                    <a:lnTo>
                      <a:pt x="331" y="69"/>
                    </a:lnTo>
                    <a:lnTo>
                      <a:pt x="334" y="68"/>
                    </a:lnTo>
                    <a:lnTo>
                      <a:pt x="336" y="68"/>
                    </a:lnTo>
                    <a:lnTo>
                      <a:pt x="337" y="68"/>
                    </a:lnTo>
                    <a:lnTo>
                      <a:pt x="353" y="72"/>
                    </a:lnTo>
                    <a:lnTo>
                      <a:pt x="354" y="72"/>
                    </a:lnTo>
                    <a:lnTo>
                      <a:pt x="356" y="71"/>
                    </a:lnTo>
                    <a:lnTo>
                      <a:pt x="359" y="68"/>
                    </a:lnTo>
                    <a:lnTo>
                      <a:pt x="360" y="67"/>
                    </a:lnTo>
                    <a:lnTo>
                      <a:pt x="364" y="65"/>
                    </a:lnTo>
                    <a:lnTo>
                      <a:pt x="366" y="64"/>
                    </a:lnTo>
                    <a:lnTo>
                      <a:pt x="367" y="62"/>
                    </a:lnTo>
                    <a:lnTo>
                      <a:pt x="369" y="61"/>
                    </a:lnTo>
                    <a:lnTo>
                      <a:pt x="369" y="58"/>
                    </a:lnTo>
                    <a:lnTo>
                      <a:pt x="369" y="55"/>
                    </a:lnTo>
                    <a:lnTo>
                      <a:pt x="370" y="54"/>
                    </a:lnTo>
                    <a:lnTo>
                      <a:pt x="370" y="51"/>
                    </a:lnTo>
                    <a:lnTo>
                      <a:pt x="372" y="48"/>
                    </a:lnTo>
                    <a:lnTo>
                      <a:pt x="373" y="46"/>
                    </a:lnTo>
                    <a:lnTo>
                      <a:pt x="375" y="46"/>
                    </a:lnTo>
                    <a:lnTo>
                      <a:pt x="377" y="45"/>
                    </a:lnTo>
                    <a:lnTo>
                      <a:pt x="379" y="44"/>
                    </a:lnTo>
                    <a:lnTo>
                      <a:pt x="379" y="44"/>
                    </a:lnTo>
                    <a:lnTo>
                      <a:pt x="380" y="41"/>
                    </a:lnTo>
                    <a:lnTo>
                      <a:pt x="382" y="39"/>
                    </a:lnTo>
                    <a:lnTo>
                      <a:pt x="385" y="39"/>
                    </a:lnTo>
                    <a:lnTo>
                      <a:pt x="386" y="39"/>
                    </a:lnTo>
                    <a:lnTo>
                      <a:pt x="389" y="39"/>
                    </a:lnTo>
                    <a:lnTo>
                      <a:pt x="392" y="39"/>
                    </a:lnTo>
                    <a:lnTo>
                      <a:pt x="395" y="39"/>
                    </a:lnTo>
                    <a:lnTo>
                      <a:pt x="396" y="38"/>
                    </a:lnTo>
                    <a:lnTo>
                      <a:pt x="399" y="36"/>
                    </a:lnTo>
                    <a:lnTo>
                      <a:pt x="400" y="35"/>
                    </a:lnTo>
                    <a:lnTo>
                      <a:pt x="403" y="35"/>
                    </a:lnTo>
                    <a:lnTo>
                      <a:pt x="405" y="35"/>
                    </a:lnTo>
                    <a:lnTo>
                      <a:pt x="408" y="36"/>
                    </a:lnTo>
                    <a:lnTo>
                      <a:pt x="412" y="41"/>
                    </a:lnTo>
                    <a:lnTo>
                      <a:pt x="413" y="42"/>
                    </a:lnTo>
                    <a:lnTo>
                      <a:pt x="416" y="44"/>
                    </a:lnTo>
                    <a:lnTo>
                      <a:pt x="419" y="45"/>
                    </a:lnTo>
                    <a:lnTo>
                      <a:pt x="425" y="45"/>
                    </a:lnTo>
                    <a:lnTo>
                      <a:pt x="426" y="46"/>
                    </a:lnTo>
                    <a:lnTo>
                      <a:pt x="429" y="48"/>
                    </a:lnTo>
                    <a:lnTo>
                      <a:pt x="431" y="52"/>
                    </a:lnTo>
                    <a:lnTo>
                      <a:pt x="423" y="59"/>
                    </a:lnTo>
                    <a:lnTo>
                      <a:pt x="425" y="62"/>
                    </a:lnTo>
                    <a:lnTo>
                      <a:pt x="426" y="62"/>
                    </a:lnTo>
                    <a:lnTo>
                      <a:pt x="426" y="61"/>
                    </a:lnTo>
                    <a:lnTo>
                      <a:pt x="428" y="61"/>
                    </a:lnTo>
                    <a:lnTo>
                      <a:pt x="429" y="61"/>
                    </a:lnTo>
                    <a:lnTo>
                      <a:pt x="429" y="59"/>
                    </a:lnTo>
                    <a:lnTo>
                      <a:pt x="432" y="57"/>
                    </a:lnTo>
                    <a:lnTo>
                      <a:pt x="432" y="55"/>
                    </a:lnTo>
                    <a:lnTo>
                      <a:pt x="435" y="55"/>
                    </a:lnTo>
                    <a:lnTo>
                      <a:pt x="441" y="54"/>
                    </a:lnTo>
                    <a:lnTo>
                      <a:pt x="443" y="54"/>
                    </a:lnTo>
                    <a:lnTo>
                      <a:pt x="443" y="52"/>
                    </a:lnTo>
                    <a:lnTo>
                      <a:pt x="443" y="52"/>
                    </a:lnTo>
                    <a:lnTo>
                      <a:pt x="445" y="52"/>
                    </a:lnTo>
                    <a:lnTo>
                      <a:pt x="445" y="52"/>
                    </a:lnTo>
                    <a:lnTo>
                      <a:pt x="445" y="52"/>
                    </a:lnTo>
                    <a:lnTo>
                      <a:pt x="445" y="51"/>
                    </a:lnTo>
                    <a:lnTo>
                      <a:pt x="445" y="51"/>
                    </a:lnTo>
                    <a:lnTo>
                      <a:pt x="446" y="51"/>
                    </a:lnTo>
                    <a:lnTo>
                      <a:pt x="446" y="51"/>
                    </a:lnTo>
                    <a:lnTo>
                      <a:pt x="446" y="51"/>
                    </a:lnTo>
                    <a:lnTo>
                      <a:pt x="446" y="49"/>
                    </a:lnTo>
                    <a:lnTo>
                      <a:pt x="446" y="49"/>
                    </a:lnTo>
                    <a:lnTo>
                      <a:pt x="446" y="49"/>
                    </a:lnTo>
                    <a:lnTo>
                      <a:pt x="446" y="48"/>
                    </a:lnTo>
                    <a:lnTo>
                      <a:pt x="446" y="48"/>
                    </a:lnTo>
                    <a:lnTo>
                      <a:pt x="446" y="48"/>
                    </a:lnTo>
                    <a:lnTo>
                      <a:pt x="446" y="48"/>
                    </a:lnTo>
                    <a:lnTo>
                      <a:pt x="448" y="48"/>
                    </a:lnTo>
                    <a:lnTo>
                      <a:pt x="448" y="48"/>
                    </a:lnTo>
                    <a:lnTo>
                      <a:pt x="449" y="48"/>
                    </a:lnTo>
                    <a:lnTo>
                      <a:pt x="449" y="49"/>
                    </a:lnTo>
                    <a:lnTo>
                      <a:pt x="452" y="49"/>
                    </a:lnTo>
                    <a:lnTo>
                      <a:pt x="453" y="49"/>
                    </a:lnTo>
                    <a:lnTo>
                      <a:pt x="455" y="49"/>
                    </a:lnTo>
                    <a:lnTo>
                      <a:pt x="455" y="49"/>
                    </a:lnTo>
                    <a:lnTo>
                      <a:pt x="456" y="49"/>
                    </a:lnTo>
                    <a:lnTo>
                      <a:pt x="458" y="49"/>
                    </a:lnTo>
                    <a:lnTo>
                      <a:pt x="458" y="49"/>
                    </a:lnTo>
                    <a:lnTo>
                      <a:pt x="458" y="49"/>
                    </a:lnTo>
                    <a:lnTo>
                      <a:pt x="458" y="49"/>
                    </a:lnTo>
                    <a:lnTo>
                      <a:pt x="459" y="49"/>
                    </a:lnTo>
                    <a:lnTo>
                      <a:pt x="459" y="49"/>
                    </a:lnTo>
                    <a:lnTo>
                      <a:pt x="459" y="48"/>
                    </a:lnTo>
                    <a:lnTo>
                      <a:pt x="459" y="48"/>
                    </a:lnTo>
                    <a:lnTo>
                      <a:pt x="459" y="48"/>
                    </a:lnTo>
                    <a:lnTo>
                      <a:pt x="459" y="46"/>
                    </a:lnTo>
                    <a:lnTo>
                      <a:pt x="459" y="46"/>
                    </a:lnTo>
                    <a:lnTo>
                      <a:pt x="459" y="45"/>
                    </a:lnTo>
                    <a:lnTo>
                      <a:pt x="458" y="44"/>
                    </a:lnTo>
                    <a:lnTo>
                      <a:pt x="455" y="44"/>
                    </a:lnTo>
                    <a:lnTo>
                      <a:pt x="452" y="44"/>
                    </a:lnTo>
                    <a:lnTo>
                      <a:pt x="451" y="45"/>
                    </a:lnTo>
                    <a:lnTo>
                      <a:pt x="449" y="44"/>
                    </a:lnTo>
                    <a:lnTo>
                      <a:pt x="449" y="42"/>
                    </a:lnTo>
                    <a:lnTo>
                      <a:pt x="448" y="42"/>
                    </a:lnTo>
                    <a:lnTo>
                      <a:pt x="446" y="42"/>
                    </a:lnTo>
                    <a:lnTo>
                      <a:pt x="446" y="44"/>
                    </a:lnTo>
                    <a:lnTo>
                      <a:pt x="446" y="44"/>
                    </a:lnTo>
                    <a:lnTo>
                      <a:pt x="446" y="45"/>
                    </a:lnTo>
                    <a:lnTo>
                      <a:pt x="443" y="45"/>
                    </a:lnTo>
                    <a:lnTo>
                      <a:pt x="441" y="45"/>
                    </a:lnTo>
                    <a:lnTo>
                      <a:pt x="438" y="45"/>
                    </a:lnTo>
                    <a:lnTo>
                      <a:pt x="436" y="44"/>
                    </a:lnTo>
                    <a:lnTo>
                      <a:pt x="436" y="42"/>
                    </a:lnTo>
                    <a:lnTo>
                      <a:pt x="436" y="41"/>
                    </a:lnTo>
                    <a:lnTo>
                      <a:pt x="436" y="39"/>
                    </a:lnTo>
                    <a:lnTo>
                      <a:pt x="433" y="36"/>
                    </a:lnTo>
                    <a:lnTo>
                      <a:pt x="431" y="36"/>
                    </a:lnTo>
                    <a:lnTo>
                      <a:pt x="426" y="35"/>
                    </a:lnTo>
                    <a:lnTo>
                      <a:pt x="423" y="34"/>
                    </a:lnTo>
                    <a:lnTo>
                      <a:pt x="422" y="32"/>
                    </a:lnTo>
                    <a:lnTo>
                      <a:pt x="439" y="34"/>
                    </a:lnTo>
                    <a:lnTo>
                      <a:pt x="442" y="34"/>
                    </a:lnTo>
                    <a:lnTo>
                      <a:pt x="445" y="32"/>
                    </a:lnTo>
                    <a:lnTo>
                      <a:pt x="448" y="32"/>
                    </a:lnTo>
                    <a:lnTo>
                      <a:pt x="451" y="31"/>
                    </a:lnTo>
                    <a:lnTo>
                      <a:pt x="458" y="28"/>
                    </a:lnTo>
                    <a:lnTo>
                      <a:pt x="459" y="26"/>
                    </a:lnTo>
                    <a:lnTo>
                      <a:pt x="458" y="22"/>
                    </a:lnTo>
                    <a:lnTo>
                      <a:pt x="456" y="22"/>
                    </a:lnTo>
                    <a:lnTo>
                      <a:pt x="455" y="21"/>
                    </a:lnTo>
                    <a:lnTo>
                      <a:pt x="453" y="19"/>
                    </a:lnTo>
                    <a:lnTo>
                      <a:pt x="451" y="19"/>
                    </a:lnTo>
                    <a:lnTo>
                      <a:pt x="449" y="19"/>
                    </a:lnTo>
                    <a:lnTo>
                      <a:pt x="448" y="18"/>
                    </a:lnTo>
                    <a:lnTo>
                      <a:pt x="446" y="18"/>
                    </a:lnTo>
                    <a:lnTo>
                      <a:pt x="446" y="18"/>
                    </a:lnTo>
                    <a:lnTo>
                      <a:pt x="446" y="16"/>
                    </a:lnTo>
                    <a:lnTo>
                      <a:pt x="446" y="16"/>
                    </a:lnTo>
                    <a:lnTo>
                      <a:pt x="446" y="15"/>
                    </a:lnTo>
                    <a:lnTo>
                      <a:pt x="445" y="15"/>
                    </a:lnTo>
                    <a:lnTo>
                      <a:pt x="443" y="13"/>
                    </a:lnTo>
                    <a:lnTo>
                      <a:pt x="443" y="13"/>
                    </a:lnTo>
                    <a:lnTo>
                      <a:pt x="442" y="15"/>
                    </a:lnTo>
                    <a:lnTo>
                      <a:pt x="441" y="15"/>
                    </a:lnTo>
                    <a:lnTo>
                      <a:pt x="439" y="15"/>
                    </a:lnTo>
                    <a:lnTo>
                      <a:pt x="438" y="15"/>
                    </a:lnTo>
                    <a:lnTo>
                      <a:pt x="435" y="13"/>
                    </a:lnTo>
                    <a:lnTo>
                      <a:pt x="429" y="11"/>
                    </a:lnTo>
                    <a:lnTo>
                      <a:pt x="428" y="9"/>
                    </a:lnTo>
                    <a:lnTo>
                      <a:pt x="423" y="9"/>
                    </a:lnTo>
                    <a:lnTo>
                      <a:pt x="420" y="11"/>
                    </a:lnTo>
                    <a:lnTo>
                      <a:pt x="418" y="13"/>
                    </a:lnTo>
                    <a:lnTo>
                      <a:pt x="412" y="25"/>
                    </a:lnTo>
                    <a:lnTo>
                      <a:pt x="412" y="28"/>
                    </a:lnTo>
                    <a:lnTo>
                      <a:pt x="410" y="26"/>
                    </a:lnTo>
                    <a:lnTo>
                      <a:pt x="410" y="23"/>
                    </a:lnTo>
                    <a:lnTo>
                      <a:pt x="412" y="15"/>
                    </a:lnTo>
                    <a:lnTo>
                      <a:pt x="410" y="15"/>
                    </a:lnTo>
                    <a:lnTo>
                      <a:pt x="409" y="15"/>
                    </a:lnTo>
                    <a:lnTo>
                      <a:pt x="406" y="15"/>
                    </a:lnTo>
                    <a:lnTo>
                      <a:pt x="409" y="12"/>
                    </a:lnTo>
                    <a:lnTo>
                      <a:pt x="413" y="11"/>
                    </a:lnTo>
                    <a:lnTo>
                      <a:pt x="415" y="8"/>
                    </a:lnTo>
                    <a:lnTo>
                      <a:pt x="412" y="5"/>
                    </a:lnTo>
                    <a:lnTo>
                      <a:pt x="408" y="3"/>
                    </a:lnTo>
                    <a:lnTo>
                      <a:pt x="403" y="2"/>
                    </a:lnTo>
                    <a:lnTo>
                      <a:pt x="399" y="3"/>
                    </a:lnTo>
                    <a:lnTo>
                      <a:pt x="396" y="5"/>
                    </a:lnTo>
                    <a:lnTo>
                      <a:pt x="395" y="8"/>
                    </a:lnTo>
                    <a:lnTo>
                      <a:pt x="396" y="8"/>
                    </a:lnTo>
                    <a:lnTo>
                      <a:pt x="397" y="8"/>
                    </a:lnTo>
                    <a:lnTo>
                      <a:pt x="399" y="9"/>
                    </a:lnTo>
                    <a:lnTo>
                      <a:pt x="399" y="11"/>
                    </a:lnTo>
                    <a:lnTo>
                      <a:pt x="397" y="11"/>
                    </a:lnTo>
                    <a:lnTo>
                      <a:pt x="396" y="11"/>
                    </a:lnTo>
                    <a:lnTo>
                      <a:pt x="395" y="12"/>
                    </a:lnTo>
                    <a:lnTo>
                      <a:pt x="393" y="13"/>
                    </a:lnTo>
                    <a:lnTo>
                      <a:pt x="392" y="18"/>
                    </a:lnTo>
                    <a:lnTo>
                      <a:pt x="390" y="19"/>
                    </a:lnTo>
                    <a:lnTo>
                      <a:pt x="389" y="21"/>
                    </a:lnTo>
                    <a:lnTo>
                      <a:pt x="387" y="22"/>
                    </a:lnTo>
                    <a:lnTo>
                      <a:pt x="385" y="22"/>
                    </a:lnTo>
                    <a:lnTo>
                      <a:pt x="383" y="23"/>
                    </a:lnTo>
                    <a:lnTo>
                      <a:pt x="383" y="21"/>
                    </a:lnTo>
                    <a:lnTo>
                      <a:pt x="383" y="19"/>
                    </a:lnTo>
                    <a:lnTo>
                      <a:pt x="383" y="16"/>
                    </a:lnTo>
                    <a:lnTo>
                      <a:pt x="383" y="15"/>
                    </a:lnTo>
                    <a:lnTo>
                      <a:pt x="383" y="13"/>
                    </a:lnTo>
                    <a:lnTo>
                      <a:pt x="385" y="12"/>
                    </a:lnTo>
                    <a:lnTo>
                      <a:pt x="386" y="11"/>
                    </a:lnTo>
                    <a:lnTo>
                      <a:pt x="385" y="9"/>
                    </a:lnTo>
                    <a:lnTo>
                      <a:pt x="385" y="8"/>
                    </a:lnTo>
                    <a:lnTo>
                      <a:pt x="383" y="8"/>
                    </a:lnTo>
                    <a:lnTo>
                      <a:pt x="380" y="8"/>
                    </a:lnTo>
                    <a:lnTo>
                      <a:pt x="376" y="12"/>
                    </a:lnTo>
                    <a:lnTo>
                      <a:pt x="366" y="22"/>
                    </a:lnTo>
                    <a:lnTo>
                      <a:pt x="363" y="28"/>
                    </a:lnTo>
                    <a:lnTo>
                      <a:pt x="362" y="31"/>
                    </a:lnTo>
                    <a:lnTo>
                      <a:pt x="360" y="32"/>
                    </a:lnTo>
                    <a:lnTo>
                      <a:pt x="359" y="32"/>
                    </a:lnTo>
                    <a:lnTo>
                      <a:pt x="356" y="32"/>
                    </a:lnTo>
                    <a:lnTo>
                      <a:pt x="356" y="32"/>
                    </a:lnTo>
                    <a:lnTo>
                      <a:pt x="354" y="31"/>
                    </a:lnTo>
                    <a:lnTo>
                      <a:pt x="356" y="29"/>
                    </a:lnTo>
                    <a:lnTo>
                      <a:pt x="356" y="28"/>
                    </a:lnTo>
                    <a:lnTo>
                      <a:pt x="357" y="26"/>
                    </a:lnTo>
                    <a:lnTo>
                      <a:pt x="357" y="25"/>
                    </a:lnTo>
                    <a:lnTo>
                      <a:pt x="359" y="25"/>
                    </a:lnTo>
                    <a:lnTo>
                      <a:pt x="359" y="22"/>
                    </a:lnTo>
                    <a:lnTo>
                      <a:pt x="359" y="21"/>
                    </a:lnTo>
                    <a:lnTo>
                      <a:pt x="360" y="18"/>
                    </a:lnTo>
                    <a:lnTo>
                      <a:pt x="367" y="13"/>
                    </a:lnTo>
                    <a:lnTo>
                      <a:pt x="369" y="11"/>
                    </a:lnTo>
                    <a:lnTo>
                      <a:pt x="369" y="9"/>
                    </a:lnTo>
                    <a:lnTo>
                      <a:pt x="367" y="9"/>
                    </a:lnTo>
                    <a:lnTo>
                      <a:pt x="367" y="9"/>
                    </a:lnTo>
                    <a:lnTo>
                      <a:pt x="366" y="8"/>
                    </a:lnTo>
                    <a:lnTo>
                      <a:pt x="364" y="8"/>
                    </a:lnTo>
                    <a:lnTo>
                      <a:pt x="363" y="8"/>
                    </a:lnTo>
                    <a:lnTo>
                      <a:pt x="362" y="9"/>
                    </a:lnTo>
                    <a:lnTo>
                      <a:pt x="362" y="9"/>
                    </a:lnTo>
                    <a:lnTo>
                      <a:pt x="359" y="8"/>
                    </a:lnTo>
                    <a:lnTo>
                      <a:pt x="352" y="5"/>
                    </a:lnTo>
                    <a:lnTo>
                      <a:pt x="349" y="5"/>
                    </a:lnTo>
                    <a:lnTo>
                      <a:pt x="344" y="9"/>
                    </a:lnTo>
                    <a:lnTo>
                      <a:pt x="343" y="9"/>
                    </a:lnTo>
                    <a:lnTo>
                      <a:pt x="343" y="11"/>
                    </a:lnTo>
                    <a:lnTo>
                      <a:pt x="343" y="12"/>
                    </a:lnTo>
                    <a:lnTo>
                      <a:pt x="344" y="13"/>
                    </a:lnTo>
                    <a:lnTo>
                      <a:pt x="344" y="13"/>
                    </a:lnTo>
                    <a:lnTo>
                      <a:pt x="343" y="15"/>
                    </a:lnTo>
                    <a:lnTo>
                      <a:pt x="343" y="15"/>
                    </a:lnTo>
                    <a:lnTo>
                      <a:pt x="340" y="18"/>
                    </a:lnTo>
                    <a:lnTo>
                      <a:pt x="339" y="19"/>
                    </a:lnTo>
                    <a:lnTo>
                      <a:pt x="339" y="21"/>
                    </a:lnTo>
                    <a:lnTo>
                      <a:pt x="336" y="21"/>
                    </a:lnTo>
                    <a:lnTo>
                      <a:pt x="333" y="23"/>
                    </a:lnTo>
                    <a:lnTo>
                      <a:pt x="329" y="26"/>
                    </a:lnTo>
                    <a:lnTo>
                      <a:pt x="326" y="29"/>
                    </a:lnTo>
                    <a:lnTo>
                      <a:pt x="326" y="32"/>
                    </a:lnTo>
                    <a:lnTo>
                      <a:pt x="326" y="34"/>
                    </a:lnTo>
                    <a:lnTo>
                      <a:pt x="326" y="35"/>
                    </a:lnTo>
                    <a:lnTo>
                      <a:pt x="327" y="36"/>
                    </a:lnTo>
                    <a:lnTo>
                      <a:pt x="326" y="38"/>
                    </a:lnTo>
                    <a:lnTo>
                      <a:pt x="324" y="38"/>
                    </a:lnTo>
                    <a:lnTo>
                      <a:pt x="323" y="36"/>
                    </a:lnTo>
                    <a:lnTo>
                      <a:pt x="321" y="35"/>
                    </a:lnTo>
                    <a:lnTo>
                      <a:pt x="321" y="34"/>
                    </a:lnTo>
                    <a:lnTo>
                      <a:pt x="318" y="28"/>
                    </a:lnTo>
                    <a:lnTo>
                      <a:pt x="317" y="25"/>
                    </a:lnTo>
                    <a:lnTo>
                      <a:pt x="313" y="25"/>
                    </a:lnTo>
                    <a:lnTo>
                      <a:pt x="311" y="25"/>
                    </a:lnTo>
                    <a:lnTo>
                      <a:pt x="310" y="26"/>
                    </a:lnTo>
                    <a:lnTo>
                      <a:pt x="310" y="28"/>
                    </a:lnTo>
                    <a:lnTo>
                      <a:pt x="308" y="28"/>
                    </a:lnTo>
                    <a:lnTo>
                      <a:pt x="307" y="28"/>
                    </a:lnTo>
                    <a:lnTo>
                      <a:pt x="306" y="26"/>
                    </a:lnTo>
                    <a:lnTo>
                      <a:pt x="306" y="26"/>
                    </a:lnTo>
                    <a:lnTo>
                      <a:pt x="303" y="26"/>
                    </a:lnTo>
                    <a:lnTo>
                      <a:pt x="301" y="28"/>
                    </a:lnTo>
                    <a:lnTo>
                      <a:pt x="300" y="29"/>
                    </a:lnTo>
                    <a:lnTo>
                      <a:pt x="298" y="29"/>
                    </a:lnTo>
                    <a:lnTo>
                      <a:pt x="298" y="29"/>
                    </a:lnTo>
                    <a:lnTo>
                      <a:pt x="296" y="28"/>
                    </a:lnTo>
                    <a:lnTo>
                      <a:pt x="296" y="28"/>
                    </a:lnTo>
                    <a:lnTo>
                      <a:pt x="293" y="28"/>
                    </a:lnTo>
                    <a:lnTo>
                      <a:pt x="291" y="29"/>
                    </a:lnTo>
                    <a:lnTo>
                      <a:pt x="291" y="29"/>
                    </a:lnTo>
                    <a:lnTo>
                      <a:pt x="291" y="31"/>
                    </a:lnTo>
                    <a:lnTo>
                      <a:pt x="294" y="34"/>
                    </a:lnTo>
                    <a:lnTo>
                      <a:pt x="297" y="35"/>
                    </a:lnTo>
                    <a:lnTo>
                      <a:pt x="300" y="36"/>
                    </a:lnTo>
                    <a:lnTo>
                      <a:pt x="301" y="41"/>
                    </a:lnTo>
                    <a:lnTo>
                      <a:pt x="301" y="42"/>
                    </a:lnTo>
                    <a:lnTo>
                      <a:pt x="301" y="42"/>
                    </a:lnTo>
                    <a:lnTo>
                      <a:pt x="298" y="41"/>
                    </a:lnTo>
                    <a:lnTo>
                      <a:pt x="294" y="38"/>
                    </a:lnTo>
                    <a:lnTo>
                      <a:pt x="293" y="38"/>
                    </a:lnTo>
                    <a:lnTo>
                      <a:pt x="291" y="36"/>
                    </a:lnTo>
                    <a:lnTo>
                      <a:pt x="290" y="38"/>
                    </a:lnTo>
                    <a:lnTo>
                      <a:pt x="290" y="39"/>
                    </a:lnTo>
                    <a:lnTo>
                      <a:pt x="288" y="41"/>
                    </a:lnTo>
                    <a:lnTo>
                      <a:pt x="287" y="41"/>
                    </a:lnTo>
                    <a:lnTo>
                      <a:pt x="281" y="41"/>
                    </a:lnTo>
                    <a:lnTo>
                      <a:pt x="280" y="41"/>
                    </a:lnTo>
                    <a:lnTo>
                      <a:pt x="278" y="41"/>
                    </a:lnTo>
                    <a:lnTo>
                      <a:pt x="277" y="42"/>
                    </a:lnTo>
                    <a:lnTo>
                      <a:pt x="277" y="44"/>
                    </a:lnTo>
                    <a:lnTo>
                      <a:pt x="277" y="46"/>
                    </a:lnTo>
                    <a:lnTo>
                      <a:pt x="278" y="48"/>
                    </a:lnTo>
                    <a:lnTo>
                      <a:pt x="278" y="48"/>
                    </a:lnTo>
                    <a:lnTo>
                      <a:pt x="280" y="51"/>
                    </a:lnTo>
                    <a:lnTo>
                      <a:pt x="277" y="51"/>
                    </a:lnTo>
                    <a:lnTo>
                      <a:pt x="274" y="52"/>
                    </a:lnTo>
                    <a:lnTo>
                      <a:pt x="271" y="54"/>
                    </a:lnTo>
                    <a:lnTo>
                      <a:pt x="268" y="55"/>
                    </a:lnTo>
                    <a:lnTo>
                      <a:pt x="273" y="46"/>
                    </a:lnTo>
                    <a:lnTo>
                      <a:pt x="275" y="42"/>
                    </a:lnTo>
                    <a:lnTo>
                      <a:pt x="273" y="39"/>
                    </a:lnTo>
                    <a:lnTo>
                      <a:pt x="270" y="39"/>
                    </a:lnTo>
                    <a:lnTo>
                      <a:pt x="265" y="44"/>
                    </a:lnTo>
                    <a:lnTo>
                      <a:pt x="261" y="52"/>
                    </a:lnTo>
                    <a:lnTo>
                      <a:pt x="261" y="51"/>
                    </a:lnTo>
                    <a:lnTo>
                      <a:pt x="262" y="48"/>
                    </a:lnTo>
                    <a:lnTo>
                      <a:pt x="262" y="45"/>
                    </a:lnTo>
                    <a:lnTo>
                      <a:pt x="261" y="44"/>
                    </a:lnTo>
                    <a:lnTo>
                      <a:pt x="260" y="44"/>
                    </a:lnTo>
                    <a:lnTo>
                      <a:pt x="257" y="44"/>
                    </a:lnTo>
                    <a:lnTo>
                      <a:pt x="252" y="45"/>
                    </a:lnTo>
                    <a:lnTo>
                      <a:pt x="251" y="46"/>
                    </a:lnTo>
                    <a:lnTo>
                      <a:pt x="250" y="48"/>
                    </a:lnTo>
                    <a:lnTo>
                      <a:pt x="250" y="48"/>
                    </a:lnTo>
                    <a:lnTo>
                      <a:pt x="250" y="49"/>
                    </a:lnTo>
                    <a:lnTo>
                      <a:pt x="248" y="49"/>
                    </a:lnTo>
                    <a:lnTo>
                      <a:pt x="247" y="49"/>
                    </a:lnTo>
                    <a:lnTo>
                      <a:pt x="245" y="51"/>
                    </a:lnTo>
                    <a:lnTo>
                      <a:pt x="244" y="52"/>
                    </a:lnTo>
                    <a:lnTo>
                      <a:pt x="244" y="52"/>
                    </a:lnTo>
                    <a:lnTo>
                      <a:pt x="245" y="54"/>
                    </a:lnTo>
                    <a:lnTo>
                      <a:pt x="248" y="54"/>
                    </a:lnTo>
                    <a:lnTo>
                      <a:pt x="244" y="54"/>
                    </a:lnTo>
                    <a:lnTo>
                      <a:pt x="240" y="52"/>
                    </a:lnTo>
                    <a:lnTo>
                      <a:pt x="237" y="52"/>
                    </a:lnTo>
                    <a:lnTo>
                      <a:pt x="234" y="55"/>
                    </a:lnTo>
                    <a:lnTo>
                      <a:pt x="234" y="55"/>
                    </a:lnTo>
                    <a:lnTo>
                      <a:pt x="234" y="58"/>
                    </a:lnTo>
                    <a:lnTo>
                      <a:pt x="234" y="58"/>
                    </a:lnTo>
                    <a:lnTo>
                      <a:pt x="232" y="59"/>
                    </a:lnTo>
                    <a:lnTo>
                      <a:pt x="231" y="59"/>
                    </a:lnTo>
                    <a:lnTo>
                      <a:pt x="229" y="59"/>
                    </a:lnTo>
                    <a:lnTo>
                      <a:pt x="229" y="59"/>
                    </a:lnTo>
                    <a:lnTo>
                      <a:pt x="227" y="61"/>
                    </a:lnTo>
                    <a:lnTo>
                      <a:pt x="225" y="62"/>
                    </a:lnTo>
                    <a:lnTo>
                      <a:pt x="222" y="67"/>
                    </a:lnTo>
                    <a:lnTo>
                      <a:pt x="221" y="68"/>
                    </a:lnTo>
                    <a:lnTo>
                      <a:pt x="218" y="69"/>
                    </a:lnTo>
                    <a:lnTo>
                      <a:pt x="211" y="71"/>
                    </a:lnTo>
                    <a:lnTo>
                      <a:pt x="208" y="72"/>
                    </a:lnTo>
                    <a:lnTo>
                      <a:pt x="206" y="72"/>
                    </a:lnTo>
                    <a:lnTo>
                      <a:pt x="206" y="75"/>
                    </a:lnTo>
                    <a:lnTo>
                      <a:pt x="209" y="77"/>
                    </a:lnTo>
                    <a:lnTo>
                      <a:pt x="221" y="75"/>
                    </a:lnTo>
                    <a:lnTo>
                      <a:pt x="225" y="77"/>
                    </a:lnTo>
                    <a:lnTo>
                      <a:pt x="221" y="78"/>
                    </a:lnTo>
                    <a:lnTo>
                      <a:pt x="217" y="78"/>
                    </a:lnTo>
                    <a:lnTo>
                      <a:pt x="206" y="78"/>
                    </a:lnTo>
                    <a:lnTo>
                      <a:pt x="204" y="78"/>
                    </a:lnTo>
                    <a:lnTo>
                      <a:pt x="202" y="78"/>
                    </a:lnTo>
                    <a:lnTo>
                      <a:pt x="201" y="80"/>
                    </a:lnTo>
                    <a:lnTo>
                      <a:pt x="201" y="81"/>
                    </a:lnTo>
                    <a:lnTo>
                      <a:pt x="201" y="84"/>
                    </a:lnTo>
                    <a:lnTo>
                      <a:pt x="202" y="85"/>
                    </a:lnTo>
                    <a:lnTo>
                      <a:pt x="204" y="85"/>
                    </a:lnTo>
                    <a:lnTo>
                      <a:pt x="202" y="87"/>
                    </a:lnTo>
                    <a:lnTo>
                      <a:pt x="202" y="88"/>
                    </a:lnTo>
                    <a:lnTo>
                      <a:pt x="202" y="90"/>
                    </a:lnTo>
                    <a:lnTo>
                      <a:pt x="202" y="92"/>
                    </a:lnTo>
                    <a:lnTo>
                      <a:pt x="201" y="90"/>
                    </a:lnTo>
                    <a:lnTo>
                      <a:pt x="198" y="84"/>
                    </a:lnTo>
                    <a:lnTo>
                      <a:pt x="196" y="82"/>
                    </a:lnTo>
                    <a:lnTo>
                      <a:pt x="195" y="82"/>
                    </a:lnTo>
                    <a:lnTo>
                      <a:pt x="191" y="84"/>
                    </a:lnTo>
                    <a:lnTo>
                      <a:pt x="186" y="85"/>
                    </a:lnTo>
                    <a:lnTo>
                      <a:pt x="185" y="87"/>
                    </a:lnTo>
                    <a:lnTo>
                      <a:pt x="185" y="88"/>
                    </a:lnTo>
                    <a:lnTo>
                      <a:pt x="189" y="88"/>
                    </a:lnTo>
                    <a:lnTo>
                      <a:pt x="191" y="90"/>
                    </a:lnTo>
                    <a:lnTo>
                      <a:pt x="189" y="91"/>
                    </a:lnTo>
                    <a:lnTo>
                      <a:pt x="188" y="91"/>
                    </a:lnTo>
                    <a:lnTo>
                      <a:pt x="184" y="90"/>
                    </a:lnTo>
                    <a:lnTo>
                      <a:pt x="182" y="90"/>
                    </a:lnTo>
                    <a:lnTo>
                      <a:pt x="181" y="90"/>
                    </a:lnTo>
                    <a:lnTo>
                      <a:pt x="179" y="91"/>
                    </a:lnTo>
                    <a:lnTo>
                      <a:pt x="178" y="92"/>
                    </a:lnTo>
                    <a:lnTo>
                      <a:pt x="176" y="94"/>
                    </a:lnTo>
                    <a:lnTo>
                      <a:pt x="176" y="95"/>
                    </a:lnTo>
                    <a:lnTo>
                      <a:pt x="176" y="97"/>
                    </a:lnTo>
                    <a:lnTo>
                      <a:pt x="175" y="98"/>
                    </a:lnTo>
                    <a:lnTo>
                      <a:pt x="178" y="98"/>
                    </a:lnTo>
                    <a:lnTo>
                      <a:pt x="184" y="95"/>
                    </a:lnTo>
                    <a:lnTo>
                      <a:pt x="185" y="97"/>
                    </a:lnTo>
                    <a:lnTo>
                      <a:pt x="184" y="97"/>
                    </a:lnTo>
                    <a:lnTo>
                      <a:pt x="184" y="98"/>
                    </a:lnTo>
                    <a:lnTo>
                      <a:pt x="184" y="100"/>
                    </a:lnTo>
                    <a:lnTo>
                      <a:pt x="185" y="101"/>
                    </a:lnTo>
                    <a:lnTo>
                      <a:pt x="186" y="103"/>
                    </a:lnTo>
                    <a:lnTo>
                      <a:pt x="191" y="103"/>
                    </a:lnTo>
                    <a:lnTo>
                      <a:pt x="192" y="103"/>
                    </a:lnTo>
                    <a:lnTo>
                      <a:pt x="191" y="104"/>
                    </a:lnTo>
                    <a:lnTo>
                      <a:pt x="189" y="105"/>
                    </a:lnTo>
                    <a:lnTo>
                      <a:pt x="189" y="107"/>
                    </a:lnTo>
                    <a:lnTo>
                      <a:pt x="189" y="108"/>
                    </a:lnTo>
                    <a:lnTo>
                      <a:pt x="189" y="107"/>
                    </a:lnTo>
                    <a:lnTo>
                      <a:pt x="188" y="105"/>
                    </a:lnTo>
                    <a:lnTo>
                      <a:pt x="188" y="104"/>
                    </a:lnTo>
                    <a:lnTo>
                      <a:pt x="186" y="104"/>
                    </a:lnTo>
                    <a:lnTo>
                      <a:pt x="182" y="101"/>
                    </a:lnTo>
                    <a:lnTo>
                      <a:pt x="179" y="101"/>
                    </a:lnTo>
                    <a:lnTo>
                      <a:pt x="176" y="103"/>
                    </a:lnTo>
                    <a:lnTo>
                      <a:pt x="173" y="104"/>
                    </a:lnTo>
                    <a:lnTo>
                      <a:pt x="172" y="107"/>
                    </a:lnTo>
                    <a:lnTo>
                      <a:pt x="171" y="108"/>
                    </a:lnTo>
                    <a:lnTo>
                      <a:pt x="171" y="110"/>
                    </a:lnTo>
                    <a:lnTo>
                      <a:pt x="171" y="110"/>
                    </a:lnTo>
                    <a:lnTo>
                      <a:pt x="184" y="110"/>
                    </a:lnTo>
                    <a:lnTo>
                      <a:pt x="186" y="111"/>
                    </a:lnTo>
                    <a:lnTo>
                      <a:pt x="184" y="113"/>
                    </a:lnTo>
                    <a:lnTo>
                      <a:pt x="166" y="114"/>
                    </a:lnTo>
                    <a:lnTo>
                      <a:pt x="165" y="115"/>
                    </a:lnTo>
                    <a:lnTo>
                      <a:pt x="162" y="117"/>
                    </a:lnTo>
                    <a:lnTo>
                      <a:pt x="158" y="120"/>
                    </a:lnTo>
                    <a:lnTo>
                      <a:pt x="158" y="121"/>
                    </a:lnTo>
                    <a:lnTo>
                      <a:pt x="156" y="121"/>
                    </a:lnTo>
                    <a:lnTo>
                      <a:pt x="156" y="123"/>
                    </a:lnTo>
                    <a:lnTo>
                      <a:pt x="156" y="124"/>
                    </a:lnTo>
                    <a:lnTo>
                      <a:pt x="158" y="124"/>
                    </a:lnTo>
                    <a:lnTo>
                      <a:pt x="161" y="124"/>
                    </a:lnTo>
                    <a:lnTo>
                      <a:pt x="161" y="126"/>
                    </a:lnTo>
                    <a:lnTo>
                      <a:pt x="155" y="126"/>
                    </a:lnTo>
                    <a:lnTo>
                      <a:pt x="153" y="127"/>
                    </a:lnTo>
                    <a:lnTo>
                      <a:pt x="150" y="128"/>
                    </a:lnTo>
                    <a:lnTo>
                      <a:pt x="149" y="130"/>
                    </a:lnTo>
                    <a:lnTo>
                      <a:pt x="149" y="130"/>
                    </a:lnTo>
                    <a:lnTo>
                      <a:pt x="148" y="133"/>
                    </a:lnTo>
                    <a:lnTo>
                      <a:pt x="148" y="134"/>
                    </a:lnTo>
                    <a:lnTo>
                      <a:pt x="146" y="134"/>
                    </a:lnTo>
                    <a:lnTo>
                      <a:pt x="146" y="136"/>
                    </a:lnTo>
                    <a:lnTo>
                      <a:pt x="145" y="137"/>
                    </a:lnTo>
                    <a:lnTo>
                      <a:pt x="146" y="144"/>
                    </a:lnTo>
                    <a:lnTo>
                      <a:pt x="150" y="144"/>
                    </a:lnTo>
                    <a:lnTo>
                      <a:pt x="158" y="141"/>
                    </a:lnTo>
                    <a:lnTo>
                      <a:pt x="162" y="143"/>
                    </a:lnTo>
                    <a:lnTo>
                      <a:pt x="161" y="144"/>
                    </a:lnTo>
                    <a:lnTo>
                      <a:pt x="158" y="146"/>
                    </a:lnTo>
                    <a:lnTo>
                      <a:pt x="155" y="146"/>
                    </a:lnTo>
                    <a:lnTo>
                      <a:pt x="146" y="147"/>
                    </a:lnTo>
                    <a:lnTo>
                      <a:pt x="143" y="149"/>
                    </a:lnTo>
                    <a:lnTo>
                      <a:pt x="142" y="150"/>
                    </a:lnTo>
                    <a:lnTo>
                      <a:pt x="140" y="151"/>
                    </a:lnTo>
                    <a:lnTo>
                      <a:pt x="145" y="154"/>
                    </a:lnTo>
                    <a:lnTo>
                      <a:pt x="145" y="156"/>
                    </a:lnTo>
                    <a:lnTo>
                      <a:pt x="143" y="156"/>
                    </a:lnTo>
                    <a:lnTo>
                      <a:pt x="143" y="156"/>
                    </a:lnTo>
                    <a:lnTo>
                      <a:pt x="142" y="156"/>
                    </a:lnTo>
                    <a:lnTo>
                      <a:pt x="140" y="156"/>
                    </a:lnTo>
                    <a:lnTo>
                      <a:pt x="139" y="157"/>
                    </a:lnTo>
                    <a:lnTo>
                      <a:pt x="139" y="159"/>
                    </a:lnTo>
                    <a:lnTo>
                      <a:pt x="139" y="159"/>
                    </a:lnTo>
                    <a:lnTo>
                      <a:pt x="138" y="160"/>
                    </a:lnTo>
                    <a:lnTo>
                      <a:pt x="132" y="170"/>
                    </a:lnTo>
                    <a:lnTo>
                      <a:pt x="129" y="176"/>
                    </a:lnTo>
                    <a:lnTo>
                      <a:pt x="129" y="180"/>
                    </a:lnTo>
                    <a:lnTo>
                      <a:pt x="129" y="182"/>
                    </a:lnTo>
                    <a:lnTo>
                      <a:pt x="133" y="183"/>
                    </a:lnTo>
                    <a:lnTo>
                      <a:pt x="133" y="184"/>
                    </a:lnTo>
                    <a:lnTo>
                      <a:pt x="136" y="184"/>
                    </a:lnTo>
                    <a:lnTo>
                      <a:pt x="139" y="182"/>
                    </a:lnTo>
                    <a:lnTo>
                      <a:pt x="140" y="180"/>
                    </a:lnTo>
                    <a:lnTo>
                      <a:pt x="143" y="179"/>
                    </a:lnTo>
                    <a:lnTo>
                      <a:pt x="139" y="183"/>
                    </a:lnTo>
                    <a:lnTo>
                      <a:pt x="138" y="186"/>
                    </a:lnTo>
                    <a:lnTo>
                      <a:pt x="136" y="187"/>
                    </a:lnTo>
                    <a:lnTo>
                      <a:pt x="133" y="187"/>
                    </a:lnTo>
                    <a:lnTo>
                      <a:pt x="132" y="187"/>
                    </a:lnTo>
                    <a:lnTo>
                      <a:pt x="130" y="186"/>
                    </a:lnTo>
                    <a:lnTo>
                      <a:pt x="129" y="184"/>
                    </a:lnTo>
                    <a:lnTo>
                      <a:pt x="126" y="186"/>
                    </a:lnTo>
                    <a:lnTo>
                      <a:pt x="123" y="187"/>
                    </a:lnTo>
                    <a:lnTo>
                      <a:pt x="117" y="192"/>
                    </a:lnTo>
                    <a:lnTo>
                      <a:pt x="116" y="193"/>
                    </a:lnTo>
                    <a:lnTo>
                      <a:pt x="115" y="195"/>
                    </a:lnTo>
                    <a:lnTo>
                      <a:pt x="115" y="197"/>
                    </a:lnTo>
                    <a:lnTo>
                      <a:pt x="115" y="199"/>
                    </a:lnTo>
                    <a:lnTo>
                      <a:pt x="117" y="197"/>
                    </a:lnTo>
                    <a:lnTo>
                      <a:pt x="119" y="197"/>
                    </a:lnTo>
                    <a:lnTo>
                      <a:pt x="120" y="197"/>
                    </a:lnTo>
                    <a:lnTo>
                      <a:pt x="117" y="200"/>
                    </a:lnTo>
                    <a:lnTo>
                      <a:pt x="115" y="202"/>
                    </a:lnTo>
                    <a:lnTo>
                      <a:pt x="112" y="203"/>
                    </a:lnTo>
                    <a:lnTo>
                      <a:pt x="109" y="205"/>
                    </a:lnTo>
                    <a:lnTo>
                      <a:pt x="100" y="212"/>
                    </a:lnTo>
                    <a:lnTo>
                      <a:pt x="93" y="220"/>
                    </a:lnTo>
                    <a:lnTo>
                      <a:pt x="90" y="225"/>
                    </a:lnTo>
                    <a:lnTo>
                      <a:pt x="86" y="229"/>
                    </a:lnTo>
                    <a:lnTo>
                      <a:pt x="84" y="230"/>
                    </a:lnTo>
                    <a:lnTo>
                      <a:pt x="84" y="233"/>
                    </a:lnTo>
                    <a:lnTo>
                      <a:pt x="86" y="233"/>
                    </a:lnTo>
                    <a:lnTo>
                      <a:pt x="87" y="233"/>
                    </a:lnTo>
                    <a:lnTo>
                      <a:pt x="89" y="235"/>
                    </a:lnTo>
                    <a:lnTo>
                      <a:pt x="90" y="238"/>
                    </a:lnTo>
                    <a:lnTo>
                      <a:pt x="92" y="238"/>
                    </a:lnTo>
                    <a:lnTo>
                      <a:pt x="93" y="238"/>
                    </a:lnTo>
                    <a:lnTo>
                      <a:pt x="94" y="238"/>
                    </a:lnTo>
                    <a:lnTo>
                      <a:pt x="102" y="235"/>
                    </a:lnTo>
                    <a:lnTo>
                      <a:pt x="106" y="232"/>
                    </a:lnTo>
                    <a:lnTo>
                      <a:pt x="109" y="229"/>
                    </a:lnTo>
                    <a:lnTo>
                      <a:pt x="107" y="226"/>
                    </a:lnTo>
                    <a:lnTo>
                      <a:pt x="110" y="225"/>
                    </a:lnTo>
                    <a:lnTo>
                      <a:pt x="112" y="223"/>
                    </a:lnTo>
                    <a:lnTo>
                      <a:pt x="115" y="222"/>
                    </a:lnTo>
                    <a:lnTo>
                      <a:pt x="117" y="223"/>
                    </a:lnTo>
                    <a:lnTo>
                      <a:pt x="115" y="225"/>
                    </a:lnTo>
                    <a:lnTo>
                      <a:pt x="112" y="226"/>
                    </a:lnTo>
                    <a:lnTo>
                      <a:pt x="115" y="228"/>
                    </a:lnTo>
                    <a:lnTo>
                      <a:pt x="115" y="229"/>
                    </a:lnTo>
                    <a:lnTo>
                      <a:pt x="113" y="230"/>
                    </a:lnTo>
                    <a:lnTo>
                      <a:pt x="110" y="232"/>
                    </a:lnTo>
                    <a:lnTo>
                      <a:pt x="107" y="233"/>
                    </a:lnTo>
                    <a:lnTo>
                      <a:pt x="105" y="235"/>
                    </a:lnTo>
                    <a:lnTo>
                      <a:pt x="103" y="236"/>
                    </a:lnTo>
                    <a:lnTo>
                      <a:pt x="105" y="241"/>
                    </a:lnTo>
                    <a:lnTo>
                      <a:pt x="102" y="241"/>
                    </a:lnTo>
                    <a:lnTo>
                      <a:pt x="96" y="241"/>
                    </a:lnTo>
                    <a:lnTo>
                      <a:pt x="93" y="241"/>
                    </a:lnTo>
                    <a:lnTo>
                      <a:pt x="93" y="241"/>
                    </a:lnTo>
                    <a:lnTo>
                      <a:pt x="92" y="242"/>
                    </a:lnTo>
                    <a:lnTo>
                      <a:pt x="92" y="242"/>
                    </a:lnTo>
                    <a:lnTo>
                      <a:pt x="90" y="242"/>
                    </a:lnTo>
                    <a:lnTo>
                      <a:pt x="90" y="241"/>
                    </a:lnTo>
                    <a:lnTo>
                      <a:pt x="87" y="236"/>
                    </a:lnTo>
                    <a:lnTo>
                      <a:pt x="86" y="236"/>
                    </a:lnTo>
                    <a:lnTo>
                      <a:pt x="86" y="236"/>
                    </a:lnTo>
                    <a:lnTo>
                      <a:pt x="84" y="236"/>
                    </a:lnTo>
                    <a:lnTo>
                      <a:pt x="83" y="236"/>
                    </a:lnTo>
                    <a:lnTo>
                      <a:pt x="80" y="236"/>
                    </a:lnTo>
                    <a:lnTo>
                      <a:pt x="79" y="238"/>
                    </a:lnTo>
                    <a:lnTo>
                      <a:pt x="79" y="238"/>
                    </a:lnTo>
                    <a:lnTo>
                      <a:pt x="77" y="239"/>
                    </a:lnTo>
                    <a:lnTo>
                      <a:pt x="76" y="241"/>
                    </a:lnTo>
                    <a:lnTo>
                      <a:pt x="76" y="239"/>
                    </a:lnTo>
                    <a:lnTo>
                      <a:pt x="76" y="239"/>
                    </a:lnTo>
                    <a:lnTo>
                      <a:pt x="76" y="238"/>
                    </a:lnTo>
                    <a:lnTo>
                      <a:pt x="76" y="238"/>
                    </a:lnTo>
                    <a:lnTo>
                      <a:pt x="76" y="236"/>
                    </a:lnTo>
                    <a:lnTo>
                      <a:pt x="74" y="235"/>
                    </a:lnTo>
                    <a:lnTo>
                      <a:pt x="70" y="235"/>
                    </a:lnTo>
                    <a:lnTo>
                      <a:pt x="67" y="236"/>
                    </a:lnTo>
                    <a:lnTo>
                      <a:pt x="64" y="236"/>
                    </a:lnTo>
                    <a:lnTo>
                      <a:pt x="63" y="239"/>
                    </a:lnTo>
                    <a:lnTo>
                      <a:pt x="64" y="241"/>
                    </a:lnTo>
                    <a:lnTo>
                      <a:pt x="66" y="241"/>
                    </a:lnTo>
                    <a:lnTo>
                      <a:pt x="67" y="243"/>
                    </a:lnTo>
                    <a:lnTo>
                      <a:pt x="66" y="245"/>
                    </a:lnTo>
                    <a:lnTo>
                      <a:pt x="63" y="245"/>
                    </a:lnTo>
                    <a:lnTo>
                      <a:pt x="60" y="246"/>
                    </a:lnTo>
                    <a:lnTo>
                      <a:pt x="59" y="249"/>
                    </a:lnTo>
                    <a:lnTo>
                      <a:pt x="60" y="251"/>
                    </a:lnTo>
                    <a:lnTo>
                      <a:pt x="66" y="255"/>
                    </a:lnTo>
                    <a:lnTo>
                      <a:pt x="67" y="258"/>
                    </a:lnTo>
                    <a:lnTo>
                      <a:pt x="60" y="252"/>
                    </a:lnTo>
                    <a:lnTo>
                      <a:pt x="56" y="251"/>
                    </a:lnTo>
                    <a:lnTo>
                      <a:pt x="51" y="251"/>
                    </a:lnTo>
                    <a:lnTo>
                      <a:pt x="49" y="251"/>
                    </a:lnTo>
                    <a:lnTo>
                      <a:pt x="44" y="252"/>
                    </a:lnTo>
                    <a:lnTo>
                      <a:pt x="40" y="253"/>
                    </a:lnTo>
                    <a:lnTo>
                      <a:pt x="37" y="255"/>
                    </a:lnTo>
                    <a:lnTo>
                      <a:pt x="37" y="256"/>
                    </a:lnTo>
                    <a:lnTo>
                      <a:pt x="36" y="258"/>
                    </a:lnTo>
                    <a:lnTo>
                      <a:pt x="34" y="261"/>
                    </a:lnTo>
                    <a:lnTo>
                      <a:pt x="34" y="261"/>
                    </a:lnTo>
                    <a:lnTo>
                      <a:pt x="36" y="262"/>
                    </a:lnTo>
                    <a:lnTo>
                      <a:pt x="38" y="261"/>
                    </a:lnTo>
                    <a:lnTo>
                      <a:pt x="40" y="261"/>
                    </a:lnTo>
                    <a:lnTo>
                      <a:pt x="41" y="261"/>
                    </a:lnTo>
                    <a:lnTo>
                      <a:pt x="47" y="261"/>
                    </a:lnTo>
                    <a:lnTo>
                      <a:pt x="49" y="261"/>
                    </a:lnTo>
                    <a:lnTo>
                      <a:pt x="54" y="259"/>
                    </a:lnTo>
                    <a:lnTo>
                      <a:pt x="56" y="259"/>
                    </a:lnTo>
                    <a:lnTo>
                      <a:pt x="59" y="261"/>
                    </a:lnTo>
                    <a:lnTo>
                      <a:pt x="53" y="261"/>
                    </a:lnTo>
                    <a:lnTo>
                      <a:pt x="51" y="261"/>
                    </a:lnTo>
                    <a:lnTo>
                      <a:pt x="49" y="262"/>
                    </a:lnTo>
                    <a:lnTo>
                      <a:pt x="49" y="264"/>
                    </a:lnTo>
                    <a:lnTo>
                      <a:pt x="49" y="264"/>
                    </a:lnTo>
                    <a:lnTo>
                      <a:pt x="49" y="265"/>
                    </a:lnTo>
                    <a:lnTo>
                      <a:pt x="51" y="265"/>
                    </a:lnTo>
                    <a:lnTo>
                      <a:pt x="49" y="265"/>
                    </a:lnTo>
                    <a:lnTo>
                      <a:pt x="47" y="265"/>
                    </a:lnTo>
                    <a:lnTo>
                      <a:pt x="43" y="264"/>
                    </a:lnTo>
                    <a:lnTo>
                      <a:pt x="38" y="264"/>
                    </a:lnTo>
                    <a:lnTo>
                      <a:pt x="36" y="264"/>
                    </a:lnTo>
                    <a:lnTo>
                      <a:pt x="33" y="264"/>
                    </a:lnTo>
                    <a:lnTo>
                      <a:pt x="30" y="264"/>
                    </a:lnTo>
                    <a:lnTo>
                      <a:pt x="28" y="264"/>
                    </a:lnTo>
                    <a:lnTo>
                      <a:pt x="26" y="265"/>
                    </a:lnTo>
                    <a:lnTo>
                      <a:pt x="24" y="266"/>
                    </a:lnTo>
                    <a:lnTo>
                      <a:pt x="23" y="268"/>
                    </a:lnTo>
                    <a:lnTo>
                      <a:pt x="24" y="269"/>
                    </a:lnTo>
                    <a:lnTo>
                      <a:pt x="28" y="269"/>
                    </a:lnTo>
                    <a:lnTo>
                      <a:pt x="33" y="268"/>
                    </a:lnTo>
                    <a:lnTo>
                      <a:pt x="31" y="269"/>
                    </a:lnTo>
                    <a:lnTo>
                      <a:pt x="30" y="269"/>
                    </a:lnTo>
                    <a:lnTo>
                      <a:pt x="27" y="271"/>
                    </a:lnTo>
                    <a:lnTo>
                      <a:pt x="26" y="271"/>
                    </a:lnTo>
                    <a:lnTo>
                      <a:pt x="24" y="271"/>
                    </a:lnTo>
                    <a:lnTo>
                      <a:pt x="21" y="269"/>
                    </a:lnTo>
                    <a:lnTo>
                      <a:pt x="20" y="269"/>
                    </a:lnTo>
                    <a:lnTo>
                      <a:pt x="18" y="269"/>
                    </a:lnTo>
                    <a:lnTo>
                      <a:pt x="15" y="271"/>
                    </a:lnTo>
                    <a:lnTo>
                      <a:pt x="14" y="272"/>
                    </a:lnTo>
                    <a:lnTo>
                      <a:pt x="13" y="272"/>
                    </a:lnTo>
                    <a:lnTo>
                      <a:pt x="11" y="275"/>
                    </a:lnTo>
                    <a:lnTo>
                      <a:pt x="10" y="275"/>
                    </a:lnTo>
                    <a:lnTo>
                      <a:pt x="10" y="276"/>
                    </a:lnTo>
                    <a:lnTo>
                      <a:pt x="8" y="275"/>
                    </a:lnTo>
                    <a:lnTo>
                      <a:pt x="8" y="275"/>
                    </a:lnTo>
                    <a:lnTo>
                      <a:pt x="7" y="275"/>
                    </a:lnTo>
                    <a:lnTo>
                      <a:pt x="5" y="278"/>
                    </a:lnTo>
                    <a:lnTo>
                      <a:pt x="7" y="281"/>
                    </a:lnTo>
                    <a:lnTo>
                      <a:pt x="11" y="281"/>
                    </a:lnTo>
                    <a:lnTo>
                      <a:pt x="15" y="282"/>
                    </a:lnTo>
                    <a:lnTo>
                      <a:pt x="23" y="284"/>
                    </a:lnTo>
                    <a:lnTo>
                      <a:pt x="26" y="284"/>
                    </a:lnTo>
                    <a:lnTo>
                      <a:pt x="27" y="284"/>
                    </a:lnTo>
                    <a:lnTo>
                      <a:pt x="31" y="284"/>
                    </a:lnTo>
                    <a:lnTo>
                      <a:pt x="34" y="284"/>
                    </a:lnTo>
                    <a:lnTo>
                      <a:pt x="31" y="285"/>
                    </a:lnTo>
                    <a:lnTo>
                      <a:pt x="28" y="285"/>
                    </a:lnTo>
                    <a:lnTo>
                      <a:pt x="24" y="287"/>
                    </a:lnTo>
                    <a:lnTo>
                      <a:pt x="21" y="287"/>
                    </a:lnTo>
                    <a:lnTo>
                      <a:pt x="18" y="285"/>
                    </a:lnTo>
                    <a:lnTo>
                      <a:pt x="13" y="284"/>
                    </a:lnTo>
                    <a:lnTo>
                      <a:pt x="10" y="282"/>
                    </a:lnTo>
                    <a:lnTo>
                      <a:pt x="7" y="282"/>
                    </a:lnTo>
                    <a:lnTo>
                      <a:pt x="4" y="282"/>
                    </a:lnTo>
                    <a:lnTo>
                      <a:pt x="3" y="284"/>
                    </a:lnTo>
                    <a:lnTo>
                      <a:pt x="3" y="288"/>
                    </a:lnTo>
                    <a:lnTo>
                      <a:pt x="3" y="289"/>
                    </a:lnTo>
                    <a:lnTo>
                      <a:pt x="5" y="292"/>
                    </a:lnTo>
                    <a:lnTo>
                      <a:pt x="7" y="294"/>
                    </a:lnTo>
                    <a:lnTo>
                      <a:pt x="10" y="295"/>
                    </a:lnTo>
                    <a:lnTo>
                      <a:pt x="4" y="297"/>
                    </a:lnTo>
                    <a:lnTo>
                      <a:pt x="4" y="298"/>
                    </a:lnTo>
                    <a:lnTo>
                      <a:pt x="4" y="301"/>
                    </a:lnTo>
                    <a:lnTo>
                      <a:pt x="5" y="302"/>
                    </a:lnTo>
                    <a:lnTo>
                      <a:pt x="7" y="304"/>
                    </a:lnTo>
                    <a:lnTo>
                      <a:pt x="8" y="305"/>
                    </a:lnTo>
                    <a:lnTo>
                      <a:pt x="11" y="305"/>
                    </a:lnTo>
                    <a:lnTo>
                      <a:pt x="14" y="305"/>
                    </a:lnTo>
                    <a:lnTo>
                      <a:pt x="20" y="304"/>
                    </a:lnTo>
                    <a:lnTo>
                      <a:pt x="23" y="304"/>
                    </a:lnTo>
                    <a:lnTo>
                      <a:pt x="24" y="304"/>
                    </a:lnTo>
                    <a:lnTo>
                      <a:pt x="26" y="305"/>
                    </a:lnTo>
                    <a:lnTo>
                      <a:pt x="27" y="305"/>
                    </a:lnTo>
                    <a:lnTo>
                      <a:pt x="28" y="305"/>
                    </a:lnTo>
                    <a:lnTo>
                      <a:pt x="30" y="304"/>
                    </a:lnTo>
                    <a:lnTo>
                      <a:pt x="30" y="302"/>
                    </a:lnTo>
                    <a:lnTo>
                      <a:pt x="31" y="301"/>
                    </a:lnTo>
                    <a:lnTo>
                      <a:pt x="31" y="301"/>
                    </a:lnTo>
                    <a:lnTo>
                      <a:pt x="33" y="302"/>
                    </a:lnTo>
                    <a:lnTo>
                      <a:pt x="34" y="304"/>
                    </a:lnTo>
                    <a:lnTo>
                      <a:pt x="37" y="304"/>
                    </a:lnTo>
                    <a:lnTo>
                      <a:pt x="40" y="304"/>
                    </a:lnTo>
                    <a:lnTo>
                      <a:pt x="43" y="302"/>
                    </a:lnTo>
                    <a:lnTo>
                      <a:pt x="44" y="301"/>
                    </a:lnTo>
                    <a:lnTo>
                      <a:pt x="44" y="298"/>
                    </a:lnTo>
                    <a:lnTo>
                      <a:pt x="47" y="297"/>
                    </a:lnTo>
                    <a:lnTo>
                      <a:pt x="46" y="301"/>
                    </a:lnTo>
                    <a:lnTo>
                      <a:pt x="46" y="302"/>
                    </a:lnTo>
                    <a:lnTo>
                      <a:pt x="49" y="302"/>
                    </a:lnTo>
                    <a:lnTo>
                      <a:pt x="46" y="304"/>
                    </a:lnTo>
                    <a:lnTo>
                      <a:pt x="43" y="305"/>
                    </a:lnTo>
                    <a:lnTo>
                      <a:pt x="40" y="307"/>
                    </a:lnTo>
                    <a:lnTo>
                      <a:pt x="40" y="310"/>
                    </a:lnTo>
                    <a:lnTo>
                      <a:pt x="40" y="310"/>
                    </a:lnTo>
                    <a:lnTo>
                      <a:pt x="37" y="307"/>
                    </a:lnTo>
                    <a:lnTo>
                      <a:pt x="34" y="305"/>
                    </a:lnTo>
                    <a:lnTo>
                      <a:pt x="33" y="305"/>
                    </a:lnTo>
                    <a:lnTo>
                      <a:pt x="28" y="307"/>
                    </a:lnTo>
                    <a:lnTo>
                      <a:pt x="26" y="307"/>
                    </a:lnTo>
                    <a:lnTo>
                      <a:pt x="21" y="305"/>
                    </a:lnTo>
                    <a:lnTo>
                      <a:pt x="20" y="305"/>
                    </a:lnTo>
                    <a:lnTo>
                      <a:pt x="17" y="305"/>
                    </a:lnTo>
                    <a:lnTo>
                      <a:pt x="13" y="307"/>
                    </a:lnTo>
                    <a:lnTo>
                      <a:pt x="10" y="307"/>
                    </a:lnTo>
                    <a:lnTo>
                      <a:pt x="7" y="307"/>
                    </a:lnTo>
                    <a:lnTo>
                      <a:pt x="5" y="307"/>
                    </a:lnTo>
                    <a:lnTo>
                      <a:pt x="4" y="308"/>
                    </a:lnTo>
                    <a:lnTo>
                      <a:pt x="4" y="310"/>
                    </a:lnTo>
                    <a:lnTo>
                      <a:pt x="4" y="315"/>
                    </a:lnTo>
                    <a:lnTo>
                      <a:pt x="4" y="317"/>
                    </a:lnTo>
                    <a:lnTo>
                      <a:pt x="5" y="318"/>
                    </a:lnTo>
                    <a:lnTo>
                      <a:pt x="7" y="320"/>
                    </a:lnTo>
                    <a:lnTo>
                      <a:pt x="8" y="321"/>
                    </a:lnTo>
                    <a:lnTo>
                      <a:pt x="10" y="321"/>
                    </a:lnTo>
                    <a:lnTo>
                      <a:pt x="13" y="318"/>
                    </a:lnTo>
                    <a:lnTo>
                      <a:pt x="15" y="318"/>
                    </a:lnTo>
                    <a:lnTo>
                      <a:pt x="11" y="320"/>
                    </a:lnTo>
                    <a:lnTo>
                      <a:pt x="8" y="322"/>
                    </a:lnTo>
                    <a:lnTo>
                      <a:pt x="7" y="324"/>
                    </a:lnTo>
                    <a:lnTo>
                      <a:pt x="7" y="328"/>
                    </a:lnTo>
                    <a:lnTo>
                      <a:pt x="8" y="331"/>
                    </a:lnTo>
                    <a:lnTo>
                      <a:pt x="11" y="331"/>
                    </a:lnTo>
                    <a:lnTo>
                      <a:pt x="13" y="333"/>
                    </a:lnTo>
                    <a:lnTo>
                      <a:pt x="15" y="334"/>
                    </a:lnTo>
                    <a:lnTo>
                      <a:pt x="14" y="334"/>
                    </a:lnTo>
                    <a:lnTo>
                      <a:pt x="10" y="334"/>
                    </a:lnTo>
                    <a:lnTo>
                      <a:pt x="7" y="334"/>
                    </a:lnTo>
                    <a:lnTo>
                      <a:pt x="7" y="335"/>
                    </a:lnTo>
                    <a:lnTo>
                      <a:pt x="5" y="341"/>
                    </a:lnTo>
                    <a:lnTo>
                      <a:pt x="5" y="345"/>
                    </a:lnTo>
                    <a:lnTo>
                      <a:pt x="7" y="345"/>
                    </a:lnTo>
                    <a:lnTo>
                      <a:pt x="10" y="344"/>
                    </a:lnTo>
                    <a:lnTo>
                      <a:pt x="13" y="341"/>
                    </a:lnTo>
                    <a:lnTo>
                      <a:pt x="23" y="330"/>
                    </a:lnTo>
                    <a:lnTo>
                      <a:pt x="30" y="324"/>
                    </a:lnTo>
                    <a:lnTo>
                      <a:pt x="38" y="322"/>
                    </a:lnTo>
                    <a:lnTo>
                      <a:pt x="37" y="324"/>
                    </a:lnTo>
                    <a:lnTo>
                      <a:pt x="34" y="325"/>
                    </a:lnTo>
                    <a:lnTo>
                      <a:pt x="33" y="325"/>
                    </a:lnTo>
                    <a:lnTo>
                      <a:pt x="33" y="327"/>
                    </a:lnTo>
                    <a:lnTo>
                      <a:pt x="31" y="330"/>
                    </a:lnTo>
                    <a:lnTo>
                      <a:pt x="30" y="333"/>
                    </a:lnTo>
                    <a:lnTo>
                      <a:pt x="31" y="328"/>
                    </a:lnTo>
                    <a:lnTo>
                      <a:pt x="30" y="327"/>
                    </a:lnTo>
                    <a:lnTo>
                      <a:pt x="27" y="327"/>
                    </a:lnTo>
                    <a:lnTo>
                      <a:pt x="26" y="328"/>
                    </a:lnTo>
                    <a:lnTo>
                      <a:pt x="24" y="330"/>
                    </a:lnTo>
                    <a:lnTo>
                      <a:pt x="23" y="334"/>
                    </a:lnTo>
                    <a:lnTo>
                      <a:pt x="21" y="335"/>
                    </a:lnTo>
                    <a:lnTo>
                      <a:pt x="18" y="337"/>
                    </a:lnTo>
                    <a:lnTo>
                      <a:pt x="17" y="340"/>
                    </a:lnTo>
                    <a:lnTo>
                      <a:pt x="17" y="341"/>
                    </a:lnTo>
                    <a:lnTo>
                      <a:pt x="18" y="343"/>
                    </a:lnTo>
                    <a:lnTo>
                      <a:pt x="20" y="343"/>
                    </a:lnTo>
                    <a:lnTo>
                      <a:pt x="24" y="341"/>
                    </a:lnTo>
                    <a:lnTo>
                      <a:pt x="24" y="343"/>
                    </a:lnTo>
                    <a:lnTo>
                      <a:pt x="23" y="343"/>
                    </a:lnTo>
                    <a:lnTo>
                      <a:pt x="18" y="344"/>
                    </a:lnTo>
                    <a:lnTo>
                      <a:pt x="18" y="344"/>
                    </a:lnTo>
                    <a:lnTo>
                      <a:pt x="17" y="345"/>
                    </a:lnTo>
                    <a:lnTo>
                      <a:pt x="17" y="345"/>
                    </a:lnTo>
                    <a:lnTo>
                      <a:pt x="15" y="345"/>
                    </a:lnTo>
                    <a:lnTo>
                      <a:pt x="15" y="345"/>
                    </a:lnTo>
                    <a:lnTo>
                      <a:pt x="14" y="345"/>
                    </a:lnTo>
                    <a:lnTo>
                      <a:pt x="13" y="345"/>
                    </a:lnTo>
                    <a:lnTo>
                      <a:pt x="10" y="345"/>
                    </a:lnTo>
                    <a:lnTo>
                      <a:pt x="8" y="348"/>
                    </a:lnTo>
                    <a:lnTo>
                      <a:pt x="7" y="353"/>
                    </a:lnTo>
                    <a:lnTo>
                      <a:pt x="5" y="356"/>
                    </a:lnTo>
                    <a:lnTo>
                      <a:pt x="7" y="360"/>
                    </a:lnTo>
                    <a:lnTo>
                      <a:pt x="10" y="358"/>
                    </a:lnTo>
                    <a:lnTo>
                      <a:pt x="23" y="351"/>
                    </a:lnTo>
                    <a:lnTo>
                      <a:pt x="26" y="350"/>
                    </a:lnTo>
                    <a:lnTo>
                      <a:pt x="28" y="350"/>
                    </a:lnTo>
                    <a:lnTo>
                      <a:pt x="27" y="350"/>
                    </a:lnTo>
                    <a:lnTo>
                      <a:pt x="26" y="351"/>
                    </a:lnTo>
                    <a:lnTo>
                      <a:pt x="23" y="354"/>
                    </a:lnTo>
                    <a:lnTo>
                      <a:pt x="21" y="356"/>
                    </a:lnTo>
                    <a:lnTo>
                      <a:pt x="21" y="356"/>
                    </a:lnTo>
                    <a:lnTo>
                      <a:pt x="20" y="360"/>
                    </a:lnTo>
                    <a:lnTo>
                      <a:pt x="20" y="361"/>
                    </a:lnTo>
                    <a:lnTo>
                      <a:pt x="20" y="361"/>
                    </a:lnTo>
                    <a:lnTo>
                      <a:pt x="20" y="363"/>
                    </a:lnTo>
                    <a:lnTo>
                      <a:pt x="21" y="364"/>
                    </a:lnTo>
                    <a:lnTo>
                      <a:pt x="23" y="364"/>
                    </a:lnTo>
                    <a:lnTo>
                      <a:pt x="24" y="364"/>
                    </a:lnTo>
                    <a:lnTo>
                      <a:pt x="26" y="364"/>
                    </a:lnTo>
                    <a:lnTo>
                      <a:pt x="27" y="364"/>
                    </a:lnTo>
                    <a:lnTo>
                      <a:pt x="26" y="364"/>
                    </a:lnTo>
                    <a:lnTo>
                      <a:pt x="24" y="366"/>
                    </a:lnTo>
                    <a:lnTo>
                      <a:pt x="24" y="367"/>
                    </a:lnTo>
                    <a:lnTo>
                      <a:pt x="21" y="367"/>
                    </a:lnTo>
                    <a:lnTo>
                      <a:pt x="20" y="366"/>
                    </a:lnTo>
                    <a:lnTo>
                      <a:pt x="18" y="364"/>
                    </a:lnTo>
                    <a:lnTo>
                      <a:pt x="15" y="364"/>
                    </a:lnTo>
                    <a:lnTo>
                      <a:pt x="14" y="364"/>
                    </a:lnTo>
                    <a:lnTo>
                      <a:pt x="13" y="366"/>
                    </a:lnTo>
                    <a:lnTo>
                      <a:pt x="13" y="367"/>
                    </a:lnTo>
                    <a:lnTo>
                      <a:pt x="13" y="370"/>
                    </a:lnTo>
                    <a:lnTo>
                      <a:pt x="13" y="371"/>
                    </a:lnTo>
                    <a:lnTo>
                      <a:pt x="14" y="374"/>
                    </a:lnTo>
                    <a:lnTo>
                      <a:pt x="15" y="376"/>
                    </a:lnTo>
                    <a:lnTo>
                      <a:pt x="20" y="378"/>
                    </a:lnTo>
                    <a:lnTo>
                      <a:pt x="24" y="381"/>
                    </a:lnTo>
                    <a:lnTo>
                      <a:pt x="26" y="383"/>
                    </a:lnTo>
                    <a:lnTo>
                      <a:pt x="28" y="383"/>
                    </a:lnTo>
                    <a:lnTo>
                      <a:pt x="30" y="383"/>
                    </a:lnTo>
                    <a:lnTo>
                      <a:pt x="31" y="383"/>
                    </a:lnTo>
                    <a:lnTo>
                      <a:pt x="33" y="383"/>
                    </a:lnTo>
                    <a:lnTo>
                      <a:pt x="33" y="384"/>
                    </a:lnTo>
                    <a:lnTo>
                      <a:pt x="33" y="386"/>
                    </a:lnTo>
                    <a:lnTo>
                      <a:pt x="31" y="387"/>
                    </a:lnTo>
                    <a:lnTo>
                      <a:pt x="31" y="389"/>
                    </a:lnTo>
                    <a:lnTo>
                      <a:pt x="34" y="389"/>
                    </a:lnTo>
                    <a:lnTo>
                      <a:pt x="34" y="389"/>
                    </a:lnTo>
                    <a:lnTo>
                      <a:pt x="36" y="387"/>
                    </a:lnTo>
                    <a:lnTo>
                      <a:pt x="36" y="386"/>
                    </a:lnTo>
                    <a:lnTo>
                      <a:pt x="37" y="387"/>
                    </a:lnTo>
                    <a:lnTo>
                      <a:pt x="38" y="389"/>
                    </a:lnTo>
                    <a:lnTo>
                      <a:pt x="46" y="389"/>
                    </a:lnTo>
                    <a:lnTo>
                      <a:pt x="54" y="387"/>
                    </a:lnTo>
                    <a:lnTo>
                      <a:pt x="60" y="386"/>
                    </a:lnTo>
                    <a:lnTo>
                      <a:pt x="63" y="384"/>
                    </a:lnTo>
                    <a:lnTo>
                      <a:pt x="73" y="376"/>
                    </a:lnTo>
                    <a:lnTo>
                      <a:pt x="77" y="371"/>
                    </a:lnTo>
                    <a:lnTo>
                      <a:pt x="80" y="370"/>
                    </a:lnTo>
                    <a:lnTo>
                      <a:pt x="79" y="367"/>
                    </a:lnTo>
                    <a:lnTo>
                      <a:pt x="82" y="367"/>
                    </a:lnTo>
                    <a:lnTo>
                      <a:pt x="84" y="366"/>
                    </a:lnTo>
                    <a:lnTo>
                      <a:pt x="86" y="363"/>
                    </a:lnTo>
                    <a:lnTo>
                      <a:pt x="83" y="361"/>
                    </a:lnTo>
                    <a:lnTo>
                      <a:pt x="84" y="361"/>
                    </a:lnTo>
                    <a:lnTo>
                      <a:pt x="86" y="361"/>
                    </a:lnTo>
                    <a:lnTo>
                      <a:pt x="89" y="364"/>
                    </a:lnTo>
                    <a:lnTo>
                      <a:pt x="89" y="364"/>
                    </a:lnTo>
                    <a:lnTo>
                      <a:pt x="90" y="364"/>
                    </a:lnTo>
                    <a:lnTo>
                      <a:pt x="92" y="364"/>
                    </a:lnTo>
                    <a:lnTo>
                      <a:pt x="93" y="364"/>
                    </a:lnTo>
                    <a:lnTo>
                      <a:pt x="94" y="363"/>
                    </a:lnTo>
                    <a:lnTo>
                      <a:pt x="96" y="361"/>
                    </a:lnTo>
                    <a:lnTo>
                      <a:pt x="99" y="358"/>
                    </a:lnTo>
                    <a:lnTo>
                      <a:pt x="99" y="357"/>
                    </a:lnTo>
                    <a:lnTo>
                      <a:pt x="99" y="356"/>
                    </a:lnTo>
                    <a:lnTo>
                      <a:pt x="99" y="354"/>
                    </a:lnTo>
                    <a:lnTo>
                      <a:pt x="99" y="351"/>
                    </a:lnTo>
                    <a:lnTo>
                      <a:pt x="99" y="351"/>
                    </a:lnTo>
                    <a:lnTo>
                      <a:pt x="100" y="350"/>
                    </a:lnTo>
                    <a:lnTo>
                      <a:pt x="100" y="350"/>
                    </a:lnTo>
                    <a:lnTo>
                      <a:pt x="100" y="348"/>
                    </a:lnTo>
                    <a:lnTo>
                      <a:pt x="102" y="347"/>
                    </a:lnTo>
                    <a:lnTo>
                      <a:pt x="100" y="345"/>
                    </a:lnTo>
                    <a:lnTo>
                      <a:pt x="102" y="344"/>
                    </a:lnTo>
                    <a:lnTo>
                      <a:pt x="102" y="343"/>
                    </a:lnTo>
                    <a:lnTo>
                      <a:pt x="102" y="347"/>
                    </a:lnTo>
                    <a:lnTo>
                      <a:pt x="102" y="351"/>
                    </a:lnTo>
                    <a:lnTo>
                      <a:pt x="103" y="356"/>
                    </a:lnTo>
                    <a:lnTo>
                      <a:pt x="106" y="358"/>
                    </a:lnTo>
                    <a:lnTo>
                      <a:pt x="107" y="358"/>
                    </a:lnTo>
                    <a:lnTo>
                      <a:pt x="112" y="360"/>
                    </a:lnTo>
                    <a:lnTo>
                      <a:pt x="115" y="361"/>
                    </a:lnTo>
                    <a:lnTo>
                      <a:pt x="116" y="363"/>
                    </a:lnTo>
                    <a:lnTo>
                      <a:pt x="117" y="366"/>
                    </a:lnTo>
                    <a:lnTo>
                      <a:pt x="119" y="366"/>
                    </a:lnTo>
                    <a:close/>
                    <a:moveTo>
                      <a:pt x="5" y="330"/>
                    </a:moveTo>
                    <a:lnTo>
                      <a:pt x="5" y="331"/>
                    </a:lnTo>
                    <a:lnTo>
                      <a:pt x="4" y="331"/>
                    </a:lnTo>
                    <a:lnTo>
                      <a:pt x="3" y="330"/>
                    </a:lnTo>
                    <a:lnTo>
                      <a:pt x="3" y="327"/>
                    </a:lnTo>
                    <a:lnTo>
                      <a:pt x="3" y="325"/>
                    </a:lnTo>
                    <a:lnTo>
                      <a:pt x="4" y="325"/>
                    </a:lnTo>
                    <a:lnTo>
                      <a:pt x="4" y="327"/>
                    </a:lnTo>
                    <a:lnTo>
                      <a:pt x="5" y="330"/>
                    </a:lnTo>
                    <a:close/>
                    <a:moveTo>
                      <a:pt x="63" y="233"/>
                    </a:moveTo>
                    <a:lnTo>
                      <a:pt x="61" y="233"/>
                    </a:lnTo>
                    <a:lnTo>
                      <a:pt x="64" y="232"/>
                    </a:lnTo>
                    <a:lnTo>
                      <a:pt x="67" y="230"/>
                    </a:lnTo>
                    <a:lnTo>
                      <a:pt x="69" y="230"/>
                    </a:lnTo>
                    <a:lnTo>
                      <a:pt x="70" y="232"/>
                    </a:lnTo>
                    <a:lnTo>
                      <a:pt x="69" y="233"/>
                    </a:lnTo>
                    <a:lnTo>
                      <a:pt x="66" y="233"/>
                    </a:lnTo>
                    <a:lnTo>
                      <a:pt x="63" y="233"/>
                    </a:lnTo>
                    <a:close/>
                    <a:moveTo>
                      <a:pt x="53" y="243"/>
                    </a:moveTo>
                    <a:lnTo>
                      <a:pt x="53" y="242"/>
                    </a:lnTo>
                    <a:lnTo>
                      <a:pt x="54" y="241"/>
                    </a:lnTo>
                    <a:lnTo>
                      <a:pt x="56" y="241"/>
                    </a:lnTo>
                    <a:lnTo>
                      <a:pt x="59" y="241"/>
                    </a:lnTo>
                    <a:lnTo>
                      <a:pt x="59" y="243"/>
                    </a:lnTo>
                    <a:lnTo>
                      <a:pt x="57" y="243"/>
                    </a:lnTo>
                    <a:lnTo>
                      <a:pt x="56" y="243"/>
                    </a:lnTo>
                    <a:lnTo>
                      <a:pt x="53" y="243"/>
                    </a:lnTo>
                    <a:close/>
                    <a:moveTo>
                      <a:pt x="0" y="307"/>
                    </a:moveTo>
                    <a:lnTo>
                      <a:pt x="0" y="305"/>
                    </a:lnTo>
                    <a:lnTo>
                      <a:pt x="0" y="304"/>
                    </a:lnTo>
                    <a:lnTo>
                      <a:pt x="1" y="304"/>
                    </a:lnTo>
                    <a:lnTo>
                      <a:pt x="3" y="302"/>
                    </a:lnTo>
                    <a:lnTo>
                      <a:pt x="3" y="305"/>
                    </a:lnTo>
                    <a:lnTo>
                      <a:pt x="3" y="307"/>
                    </a:lnTo>
                    <a:lnTo>
                      <a:pt x="1" y="307"/>
                    </a:lnTo>
                    <a:lnTo>
                      <a:pt x="0" y="307"/>
                    </a:lnTo>
                    <a:close/>
                    <a:moveTo>
                      <a:pt x="168" y="80"/>
                    </a:moveTo>
                    <a:lnTo>
                      <a:pt x="171" y="80"/>
                    </a:lnTo>
                    <a:lnTo>
                      <a:pt x="172" y="78"/>
                    </a:lnTo>
                    <a:lnTo>
                      <a:pt x="175" y="77"/>
                    </a:lnTo>
                    <a:lnTo>
                      <a:pt x="179" y="77"/>
                    </a:lnTo>
                    <a:lnTo>
                      <a:pt x="182" y="75"/>
                    </a:lnTo>
                    <a:lnTo>
                      <a:pt x="185" y="74"/>
                    </a:lnTo>
                    <a:lnTo>
                      <a:pt x="186" y="72"/>
                    </a:lnTo>
                    <a:lnTo>
                      <a:pt x="188" y="69"/>
                    </a:lnTo>
                    <a:lnTo>
                      <a:pt x="188" y="68"/>
                    </a:lnTo>
                    <a:lnTo>
                      <a:pt x="189" y="67"/>
                    </a:lnTo>
                    <a:lnTo>
                      <a:pt x="188" y="65"/>
                    </a:lnTo>
                    <a:lnTo>
                      <a:pt x="188" y="64"/>
                    </a:lnTo>
                    <a:lnTo>
                      <a:pt x="188" y="62"/>
                    </a:lnTo>
                    <a:lnTo>
                      <a:pt x="188" y="61"/>
                    </a:lnTo>
                    <a:lnTo>
                      <a:pt x="192" y="58"/>
                    </a:lnTo>
                    <a:lnTo>
                      <a:pt x="196" y="57"/>
                    </a:lnTo>
                    <a:lnTo>
                      <a:pt x="199" y="57"/>
                    </a:lnTo>
                    <a:lnTo>
                      <a:pt x="196" y="59"/>
                    </a:lnTo>
                    <a:lnTo>
                      <a:pt x="195" y="61"/>
                    </a:lnTo>
                    <a:lnTo>
                      <a:pt x="195" y="62"/>
                    </a:lnTo>
                    <a:lnTo>
                      <a:pt x="195" y="65"/>
                    </a:lnTo>
                    <a:lnTo>
                      <a:pt x="195" y="68"/>
                    </a:lnTo>
                    <a:lnTo>
                      <a:pt x="195" y="69"/>
                    </a:lnTo>
                    <a:lnTo>
                      <a:pt x="194" y="71"/>
                    </a:lnTo>
                    <a:lnTo>
                      <a:pt x="192" y="74"/>
                    </a:lnTo>
                    <a:lnTo>
                      <a:pt x="196" y="71"/>
                    </a:lnTo>
                    <a:lnTo>
                      <a:pt x="198" y="71"/>
                    </a:lnTo>
                    <a:lnTo>
                      <a:pt x="198" y="69"/>
                    </a:lnTo>
                    <a:lnTo>
                      <a:pt x="199" y="67"/>
                    </a:lnTo>
                    <a:lnTo>
                      <a:pt x="199" y="67"/>
                    </a:lnTo>
                    <a:lnTo>
                      <a:pt x="202" y="65"/>
                    </a:lnTo>
                    <a:lnTo>
                      <a:pt x="205" y="67"/>
                    </a:lnTo>
                    <a:lnTo>
                      <a:pt x="206" y="69"/>
                    </a:lnTo>
                    <a:lnTo>
                      <a:pt x="206" y="71"/>
                    </a:lnTo>
                    <a:lnTo>
                      <a:pt x="205" y="72"/>
                    </a:lnTo>
                    <a:lnTo>
                      <a:pt x="204" y="74"/>
                    </a:lnTo>
                    <a:lnTo>
                      <a:pt x="201" y="74"/>
                    </a:lnTo>
                    <a:lnTo>
                      <a:pt x="199" y="75"/>
                    </a:lnTo>
                    <a:lnTo>
                      <a:pt x="196" y="77"/>
                    </a:lnTo>
                    <a:lnTo>
                      <a:pt x="195" y="78"/>
                    </a:lnTo>
                    <a:lnTo>
                      <a:pt x="195" y="78"/>
                    </a:lnTo>
                    <a:lnTo>
                      <a:pt x="194" y="78"/>
                    </a:lnTo>
                    <a:lnTo>
                      <a:pt x="194" y="78"/>
                    </a:lnTo>
                    <a:lnTo>
                      <a:pt x="192" y="78"/>
                    </a:lnTo>
                    <a:lnTo>
                      <a:pt x="192" y="78"/>
                    </a:lnTo>
                    <a:lnTo>
                      <a:pt x="191" y="80"/>
                    </a:lnTo>
                    <a:lnTo>
                      <a:pt x="189" y="80"/>
                    </a:lnTo>
                    <a:lnTo>
                      <a:pt x="188" y="80"/>
                    </a:lnTo>
                    <a:lnTo>
                      <a:pt x="186" y="80"/>
                    </a:lnTo>
                    <a:lnTo>
                      <a:pt x="185" y="78"/>
                    </a:lnTo>
                    <a:lnTo>
                      <a:pt x="175" y="82"/>
                    </a:lnTo>
                    <a:lnTo>
                      <a:pt x="169" y="84"/>
                    </a:lnTo>
                    <a:lnTo>
                      <a:pt x="166" y="81"/>
                    </a:lnTo>
                    <a:lnTo>
                      <a:pt x="168" y="80"/>
                    </a:lnTo>
                    <a:close/>
                    <a:moveTo>
                      <a:pt x="232" y="54"/>
                    </a:moveTo>
                    <a:lnTo>
                      <a:pt x="234" y="52"/>
                    </a:lnTo>
                    <a:lnTo>
                      <a:pt x="232" y="51"/>
                    </a:lnTo>
                    <a:lnTo>
                      <a:pt x="231" y="51"/>
                    </a:lnTo>
                    <a:lnTo>
                      <a:pt x="229" y="49"/>
                    </a:lnTo>
                    <a:lnTo>
                      <a:pt x="228" y="49"/>
                    </a:lnTo>
                    <a:lnTo>
                      <a:pt x="227" y="49"/>
                    </a:lnTo>
                    <a:lnTo>
                      <a:pt x="224" y="49"/>
                    </a:lnTo>
                    <a:lnTo>
                      <a:pt x="221" y="49"/>
                    </a:lnTo>
                    <a:lnTo>
                      <a:pt x="218" y="51"/>
                    </a:lnTo>
                    <a:lnTo>
                      <a:pt x="219" y="51"/>
                    </a:lnTo>
                    <a:lnTo>
                      <a:pt x="221" y="52"/>
                    </a:lnTo>
                    <a:lnTo>
                      <a:pt x="221" y="52"/>
                    </a:lnTo>
                    <a:lnTo>
                      <a:pt x="221" y="54"/>
                    </a:lnTo>
                    <a:lnTo>
                      <a:pt x="219" y="54"/>
                    </a:lnTo>
                    <a:lnTo>
                      <a:pt x="218" y="54"/>
                    </a:lnTo>
                    <a:lnTo>
                      <a:pt x="217" y="54"/>
                    </a:lnTo>
                    <a:lnTo>
                      <a:pt x="215" y="54"/>
                    </a:lnTo>
                    <a:lnTo>
                      <a:pt x="214" y="55"/>
                    </a:lnTo>
                    <a:lnTo>
                      <a:pt x="214" y="58"/>
                    </a:lnTo>
                    <a:lnTo>
                      <a:pt x="214" y="58"/>
                    </a:lnTo>
                    <a:lnTo>
                      <a:pt x="214" y="59"/>
                    </a:lnTo>
                    <a:lnTo>
                      <a:pt x="212" y="59"/>
                    </a:lnTo>
                    <a:lnTo>
                      <a:pt x="211" y="61"/>
                    </a:lnTo>
                    <a:lnTo>
                      <a:pt x="212" y="61"/>
                    </a:lnTo>
                    <a:lnTo>
                      <a:pt x="215" y="61"/>
                    </a:lnTo>
                    <a:lnTo>
                      <a:pt x="217" y="62"/>
                    </a:lnTo>
                    <a:lnTo>
                      <a:pt x="217" y="61"/>
                    </a:lnTo>
                    <a:lnTo>
                      <a:pt x="218" y="61"/>
                    </a:lnTo>
                    <a:lnTo>
                      <a:pt x="218" y="61"/>
                    </a:lnTo>
                    <a:lnTo>
                      <a:pt x="219" y="59"/>
                    </a:lnTo>
                    <a:lnTo>
                      <a:pt x="222" y="58"/>
                    </a:lnTo>
                    <a:lnTo>
                      <a:pt x="228" y="58"/>
                    </a:lnTo>
                    <a:lnTo>
                      <a:pt x="231" y="58"/>
                    </a:lnTo>
                    <a:lnTo>
                      <a:pt x="231" y="55"/>
                    </a:lnTo>
                    <a:lnTo>
                      <a:pt x="231" y="55"/>
                    </a:lnTo>
                    <a:lnTo>
                      <a:pt x="232" y="54"/>
                    </a:lnTo>
                    <a:close/>
                    <a:moveTo>
                      <a:pt x="439" y="42"/>
                    </a:moveTo>
                    <a:lnTo>
                      <a:pt x="441" y="45"/>
                    </a:lnTo>
                    <a:lnTo>
                      <a:pt x="443" y="42"/>
                    </a:lnTo>
                    <a:lnTo>
                      <a:pt x="441" y="41"/>
                    </a:lnTo>
                    <a:lnTo>
                      <a:pt x="439" y="4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80" name="Freeform 86">
                <a:extLst>
                  <a:ext uri="{FF2B5EF4-FFF2-40B4-BE49-F238E27FC236}">
                    <a16:creationId xmlns:a16="http://schemas.microsoft.com/office/drawing/2014/main" id="{083D9D04-6071-AEBC-7292-4511CB17EAE5}"/>
                  </a:ext>
                </a:extLst>
              </p:cNvPr>
              <p:cNvSpPr>
                <a:spLocks noEditPoints="1"/>
              </p:cNvSpPr>
              <p:nvPr/>
            </p:nvSpPr>
            <p:spPr bwMode="auto">
              <a:xfrm>
                <a:off x="3932" y="1496"/>
                <a:ext cx="110" cy="56"/>
              </a:xfrm>
              <a:custGeom>
                <a:avLst/>
                <a:gdLst>
                  <a:gd name="T0" fmla="*/ 47 w 110"/>
                  <a:gd name="T1" fmla="*/ 36 h 56"/>
                  <a:gd name="T2" fmla="*/ 44 w 110"/>
                  <a:gd name="T3" fmla="*/ 33 h 56"/>
                  <a:gd name="T4" fmla="*/ 40 w 110"/>
                  <a:gd name="T5" fmla="*/ 36 h 56"/>
                  <a:gd name="T6" fmla="*/ 34 w 110"/>
                  <a:gd name="T7" fmla="*/ 34 h 56"/>
                  <a:gd name="T8" fmla="*/ 30 w 110"/>
                  <a:gd name="T9" fmla="*/ 24 h 56"/>
                  <a:gd name="T10" fmla="*/ 29 w 110"/>
                  <a:gd name="T11" fmla="*/ 17 h 56"/>
                  <a:gd name="T12" fmla="*/ 34 w 110"/>
                  <a:gd name="T13" fmla="*/ 10 h 56"/>
                  <a:gd name="T14" fmla="*/ 41 w 110"/>
                  <a:gd name="T15" fmla="*/ 6 h 56"/>
                  <a:gd name="T16" fmla="*/ 47 w 110"/>
                  <a:gd name="T17" fmla="*/ 4 h 56"/>
                  <a:gd name="T18" fmla="*/ 53 w 110"/>
                  <a:gd name="T19" fmla="*/ 3 h 56"/>
                  <a:gd name="T20" fmla="*/ 82 w 110"/>
                  <a:gd name="T21" fmla="*/ 3 h 56"/>
                  <a:gd name="T22" fmla="*/ 108 w 110"/>
                  <a:gd name="T23" fmla="*/ 4 h 56"/>
                  <a:gd name="T24" fmla="*/ 110 w 110"/>
                  <a:gd name="T25" fmla="*/ 7 h 56"/>
                  <a:gd name="T26" fmla="*/ 109 w 110"/>
                  <a:gd name="T27" fmla="*/ 9 h 56"/>
                  <a:gd name="T28" fmla="*/ 106 w 110"/>
                  <a:gd name="T29" fmla="*/ 9 h 56"/>
                  <a:gd name="T30" fmla="*/ 103 w 110"/>
                  <a:gd name="T31" fmla="*/ 16 h 56"/>
                  <a:gd name="T32" fmla="*/ 100 w 110"/>
                  <a:gd name="T33" fmla="*/ 20 h 56"/>
                  <a:gd name="T34" fmla="*/ 99 w 110"/>
                  <a:gd name="T35" fmla="*/ 20 h 56"/>
                  <a:gd name="T36" fmla="*/ 97 w 110"/>
                  <a:gd name="T37" fmla="*/ 23 h 56"/>
                  <a:gd name="T38" fmla="*/ 99 w 110"/>
                  <a:gd name="T39" fmla="*/ 34 h 56"/>
                  <a:gd name="T40" fmla="*/ 100 w 110"/>
                  <a:gd name="T41" fmla="*/ 39 h 56"/>
                  <a:gd name="T42" fmla="*/ 102 w 110"/>
                  <a:gd name="T43" fmla="*/ 44 h 56"/>
                  <a:gd name="T44" fmla="*/ 103 w 110"/>
                  <a:gd name="T45" fmla="*/ 47 h 56"/>
                  <a:gd name="T46" fmla="*/ 99 w 110"/>
                  <a:gd name="T47" fmla="*/ 50 h 56"/>
                  <a:gd name="T48" fmla="*/ 96 w 110"/>
                  <a:gd name="T49" fmla="*/ 54 h 56"/>
                  <a:gd name="T50" fmla="*/ 95 w 110"/>
                  <a:gd name="T51" fmla="*/ 56 h 56"/>
                  <a:gd name="T52" fmla="*/ 83 w 110"/>
                  <a:gd name="T53" fmla="*/ 56 h 56"/>
                  <a:gd name="T54" fmla="*/ 73 w 110"/>
                  <a:gd name="T55" fmla="*/ 49 h 56"/>
                  <a:gd name="T56" fmla="*/ 60 w 110"/>
                  <a:gd name="T57" fmla="*/ 43 h 56"/>
                  <a:gd name="T58" fmla="*/ 46 w 110"/>
                  <a:gd name="T59" fmla="*/ 46 h 56"/>
                  <a:gd name="T60" fmla="*/ 8 w 110"/>
                  <a:gd name="T61" fmla="*/ 20 h 56"/>
                  <a:gd name="T62" fmla="*/ 11 w 110"/>
                  <a:gd name="T63" fmla="*/ 23 h 56"/>
                  <a:gd name="T64" fmla="*/ 16 w 110"/>
                  <a:gd name="T65" fmla="*/ 21 h 56"/>
                  <a:gd name="T66" fmla="*/ 20 w 110"/>
                  <a:gd name="T67" fmla="*/ 21 h 56"/>
                  <a:gd name="T68" fmla="*/ 17 w 110"/>
                  <a:gd name="T69" fmla="*/ 17 h 56"/>
                  <a:gd name="T70" fmla="*/ 13 w 110"/>
                  <a:gd name="T71" fmla="*/ 16 h 56"/>
                  <a:gd name="T72" fmla="*/ 8 w 110"/>
                  <a:gd name="T73" fmla="*/ 19 h 56"/>
                  <a:gd name="T74" fmla="*/ 26 w 110"/>
                  <a:gd name="T75" fmla="*/ 29 h 56"/>
                  <a:gd name="T76" fmla="*/ 21 w 110"/>
                  <a:gd name="T77" fmla="*/ 27 h 56"/>
                  <a:gd name="T78" fmla="*/ 0 w 110"/>
                  <a:gd name="T79" fmla="*/ 30 h 56"/>
                  <a:gd name="T80" fmla="*/ 0 w 110"/>
                  <a:gd name="T81" fmla="*/ 36 h 56"/>
                  <a:gd name="T82" fmla="*/ 3 w 110"/>
                  <a:gd name="T83" fmla="*/ 43 h 56"/>
                  <a:gd name="T84" fmla="*/ 7 w 110"/>
                  <a:gd name="T85" fmla="*/ 39 h 56"/>
                  <a:gd name="T86" fmla="*/ 14 w 110"/>
                  <a:gd name="T87" fmla="*/ 37 h 56"/>
                  <a:gd name="T88" fmla="*/ 26 w 110"/>
                  <a:gd name="T89" fmla="*/ 31 h 56"/>
                  <a:gd name="T90" fmla="*/ 17 w 110"/>
                  <a:gd name="T91" fmla="*/ 27 h 56"/>
                  <a:gd name="T92" fmla="*/ 8 w 110"/>
                  <a:gd name="T93" fmla="*/ 29 h 56"/>
                  <a:gd name="T94" fmla="*/ 1 w 110"/>
                  <a:gd name="T95" fmla="*/ 3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 h="56">
                    <a:moveTo>
                      <a:pt x="46" y="46"/>
                    </a:moveTo>
                    <a:lnTo>
                      <a:pt x="43" y="47"/>
                    </a:lnTo>
                    <a:lnTo>
                      <a:pt x="46" y="39"/>
                    </a:lnTo>
                    <a:lnTo>
                      <a:pt x="47" y="36"/>
                    </a:lnTo>
                    <a:lnTo>
                      <a:pt x="47" y="34"/>
                    </a:lnTo>
                    <a:lnTo>
                      <a:pt x="46" y="34"/>
                    </a:lnTo>
                    <a:lnTo>
                      <a:pt x="44" y="33"/>
                    </a:lnTo>
                    <a:lnTo>
                      <a:pt x="44" y="33"/>
                    </a:lnTo>
                    <a:lnTo>
                      <a:pt x="43" y="34"/>
                    </a:lnTo>
                    <a:lnTo>
                      <a:pt x="43" y="34"/>
                    </a:lnTo>
                    <a:lnTo>
                      <a:pt x="41" y="36"/>
                    </a:lnTo>
                    <a:lnTo>
                      <a:pt x="40" y="36"/>
                    </a:lnTo>
                    <a:lnTo>
                      <a:pt x="39" y="36"/>
                    </a:lnTo>
                    <a:lnTo>
                      <a:pt x="37" y="36"/>
                    </a:lnTo>
                    <a:lnTo>
                      <a:pt x="36" y="34"/>
                    </a:lnTo>
                    <a:lnTo>
                      <a:pt x="34" y="34"/>
                    </a:lnTo>
                    <a:lnTo>
                      <a:pt x="33" y="33"/>
                    </a:lnTo>
                    <a:lnTo>
                      <a:pt x="31" y="30"/>
                    </a:lnTo>
                    <a:lnTo>
                      <a:pt x="30" y="26"/>
                    </a:lnTo>
                    <a:lnTo>
                      <a:pt x="30" y="24"/>
                    </a:lnTo>
                    <a:lnTo>
                      <a:pt x="31" y="23"/>
                    </a:lnTo>
                    <a:lnTo>
                      <a:pt x="29" y="23"/>
                    </a:lnTo>
                    <a:lnTo>
                      <a:pt x="29" y="20"/>
                    </a:lnTo>
                    <a:lnTo>
                      <a:pt x="29" y="17"/>
                    </a:lnTo>
                    <a:lnTo>
                      <a:pt x="29" y="16"/>
                    </a:lnTo>
                    <a:lnTo>
                      <a:pt x="30" y="11"/>
                    </a:lnTo>
                    <a:lnTo>
                      <a:pt x="31" y="10"/>
                    </a:lnTo>
                    <a:lnTo>
                      <a:pt x="34" y="10"/>
                    </a:lnTo>
                    <a:lnTo>
                      <a:pt x="39" y="9"/>
                    </a:lnTo>
                    <a:lnTo>
                      <a:pt x="39" y="7"/>
                    </a:lnTo>
                    <a:lnTo>
                      <a:pt x="40" y="7"/>
                    </a:lnTo>
                    <a:lnTo>
                      <a:pt x="41" y="6"/>
                    </a:lnTo>
                    <a:lnTo>
                      <a:pt x="43" y="6"/>
                    </a:lnTo>
                    <a:lnTo>
                      <a:pt x="44" y="4"/>
                    </a:lnTo>
                    <a:lnTo>
                      <a:pt x="46" y="4"/>
                    </a:lnTo>
                    <a:lnTo>
                      <a:pt x="47" y="4"/>
                    </a:lnTo>
                    <a:lnTo>
                      <a:pt x="49" y="4"/>
                    </a:lnTo>
                    <a:lnTo>
                      <a:pt x="50" y="4"/>
                    </a:lnTo>
                    <a:lnTo>
                      <a:pt x="52" y="3"/>
                    </a:lnTo>
                    <a:lnTo>
                      <a:pt x="53" y="3"/>
                    </a:lnTo>
                    <a:lnTo>
                      <a:pt x="60" y="3"/>
                    </a:lnTo>
                    <a:lnTo>
                      <a:pt x="63" y="3"/>
                    </a:lnTo>
                    <a:lnTo>
                      <a:pt x="64" y="0"/>
                    </a:lnTo>
                    <a:lnTo>
                      <a:pt x="82" y="3"/>
                    </a:lnTo>
                    <a:lnTo>
                      <a:pt x="92" y="6"/>
                    </a:lnTo>
                    <a:lnTo>
                      <a:pt x="99" y="6"/>
                    </a:lnTo>
                    <a:lnTo>
                      <a:pt x="105" y="6"/>
                    </a:lnTo>
                    <a:lnTo>
                      <a:pt x="108" y="4"/>
                    </a:lnTo>
                    <a:lnTo>
                      <a:pt x="109" y="4"/>
                    </a:lnTo>
                    <a:lnTo>
                      <a:pt x="110" y="6"/>
                    </a:lnTo>
                    <a:lnTo>
                      <a:pt x="110" y="6"/>
                    </a:lnTo>
                    <a:lnTo>
                      <a:pt x="110" y="7"/>
                    </a:lnTo>
                    <a:lnTo>
                      <a:pt x="109" y="7"/>
                    </a:lnTo>
                    <a:lnTo>
                      <a:pt x="109" y="9"/>
                    </a:lnTo>
                    <a:lnTo>
                      <a:pt x="109" y="9"/>
                    </a:lnTo>
                    <a:lnTo>
                      <a:pt x="109" y="9"/>
                    </a:lnTo>
                    <a:lnTo>
                      <a:pt x="108" y="9"/>
                    </a:lnTo>
                    <a:lnTo>
                      <a:pt x="108" y="9"/>
                    </a:lnTo>
                    <a:lnTo>
                      <a:pt x="108" y="9"/>
                    </a:lnTo>
                    <a:lnTo>
                      <a:pt x="106" y="9"/>
                    </a:lnTo>
                    <a:lnTo>
                      <a:pt x="106" y="10"/>
                    </a:lnTo>
                    <a:lnTo>
                      <a:pt x="105" y="14"/>
                    </a:lnTo>
                    <a:lnTo>
                      <a:pt x="103" y="14"/>
                    </a:lnTo>
                    <a:lnTo>
                      <a:pt x="103" y="16"/>
                    </a:lnTo>
                    <a:lnTo>
                      <a:pt x="103" y="16"/>
                    </a:lnTo>
                    <a:lnTo>
                      <a:pt x="102" y="17"/>
                    </a:lnTo>
                    <a:lnTo>
                      <a:pt x="102" y="19"/>
                    </a:lnTo>
                    <a:lnTo>
                      <a:pt x="100" y="20"/>
                    </a:lnTo>
                    <a:lnTo>
                      <a:pt x="99" y="20"/>
                    </a:lnTo>
                    <a:lnTo>
                      <a:pt x="99" y="20"/>
                    </a:lnTo>
                    <a:lnTo>
                      <a:pt x="99" y="20"/>
                    </a:lnTo>
                    <a:lnTo>
                      <a:pt x="99" y="20"/>
                    </a:lnTo>
                    <a:lnTo>
                      <a:pt x="99" y="21"/>
                    </a:lnTo>
                    <a:lnTo>
                      <a:pt x="99" y="21"/>
                    </a:lnTo>
                    <a:lnTo>
                      <a:pt x="97" y="21"/>
                    </a:lnTo>
                    <a:lnTo>
                      <a:pt x="97" y="23"/>
                    </a:lnTo>
                    <a:lnTo>
                      <a:pt x="97" y="24"/>
                    </a:lnTo>
                    <a:lnTo>
                      <a:pt x="99" y="31"/>
                    </a:lnTo>
                    <a:lnTo>
                      <a:pt x="99" y="33"/>
                    </a:lnTo>
                    <a:lnTo>
                      <a:pt x="99" y="34"/>
                    </a:lnTo>
                    <a:lnTo>
                      <a:pt x="99" y="36"/>
                    </a:lnTo>
                    <a:lnTo>
                      <a:pt x="99" y="37"/>
                    </a:lnTo>
                    <a:lnTo>
                      <a:pt x="99" y="37"/>
                    </a:lnTo>
                    <a:lnTo>
                      <a:pt x="100" y="39"/>
                    </a:lnTo>
                    <a:lnTo>
                      <a:pt x="100" y="40"/>
                    </a:lnTo>
                    <a:lnTo>
                      <a:pt x="102" y="42"/>
                    </a:lnTo>
                    <a:lnTo>
                      <a:pt x="102" y="43"/>
                    </a:lnTo>
                    <a:lnTo>
                      <a:pt x="102" y="44"/>
                    </a:lnTo>
                    <a:lnTo>
                      <a:pt x="103" y="46"/>
                    </a:lnTo>
                    <a:lnTo>
                      <a:pt x="105" y="47"/>
                    </a:lnTo>
                    <a:lnTo>
                      <a:pt x="103" y="47"/>
                    </a:lnTo>
                    <a:lnTo>
                      <a:pt x="103" y="47"/>
                    </a:lnTo>
                    <a:lnTo>
                      <a:pt x="102" y="47"/>
                    </a:lnTo>
                    <a:lnTo>
                      <a:pt x="100" y="49"/>
                    </a:lnTo>
                    <a:lnTo>
                      <a:pt x="99" y="50"/>
                    </a:lnTo>
                    <a:lnTo>
                      <a:pt x="99" y="50"/>
                    </a:lnTo>
                    <a:lnTo>
                      <a:pt x="97" y="52"/>
                    </a:lnTo>
                    <a:lnTo>
                      <a:pt x="97" y="52"/>
                    </a:lnTo>
                    <a:lnTo>
                      <a:pt x="97" y="53"/>
                    </a:lnTo>
                    <a:lnTo>
                      <a:pt x="96" y="54"/>
                    </a:lnTo>
                    <a:lnTo>
                      <a:pt x="96" y="56"/>
                    </a:lnTo>
                    <a:lnTo>
                      <a:pt x="96" y="56"/>
                    </a:lnTo>
                    <a:lnTo>
                      <a:pt x="96" y="56"/>
                    </a:lnTo>
                    <a:lnTo>
                      <a:pt x="95" y="56"/>
                    </a:lnTo>
                    <a:lnTo>
                      <a:pt x="90" y="54"/>
                    </a:lnTo>
                    <a:lnTo>
                      <a:pt x="89" y="53"/>
                    </a:lnTo>
                    <a:lnTo>
                      <a:pt x="87" y="54"/>
                    </a:lnTo>
                    <a:lnTo>
                      <a:pt x="83" y="56"/>
                    </a:lnTo>
                    <a:lnTo>
                      <a:pt x="82" y="56"/>
                    </a:lnTo>
                    <a:lnTo>
                      <a:pt x="79" y="54"/>
                    </a:lnTo>
                    <a:lnTo>
                      <a:pt x="77" y="53"/>
                    </a:lnTo>
                    <a:lnTo>
                      <a:pt x="73" y="49"/>
                    </a:lnTo>
                    <a:lnTo>
                      <a:pt x="73" y="49"/>
                    </a:lnTo>
                    <a:lnTo>
                      <a:pt x="72" y="47"/>
                    </a:lnTo>
                    <a:lnTo>
                      <a:pt x="70" y="47"/>
                    </a:lnTo>
                    <a:lnTo>
                      <a:pt x="60" y="43"/>
                    </a:lnTo>
                    <a:lnTo>
                      <a:pt x="59" y="43"/>
                    </a:lnTo>
                    <a:lnTo>
                      <a:pt x="54" y="43"/>
                    </a:lnTo>
                    <a:lnTo>
                      <a:pt x="52" y="43"/>
                    </a:lnTo>
                    <a:lnTo>
                      <a:pt x="46" y="46"/>
                    </a:lnTo>
                    <a:close/>
                    <a:moveTo>
                      <a:pt x="4" y="19"/>
                    </a:moveTo>
                    <a:lnTo>
                      <a:pt x="6" y="19"/>
                    </a:lnTo>
                    <a:lnTo>
                      <a:pt x="7" y="19"/>
                    </a:lnTo>
                    <a:lnTo>
                      <a:pt x="8" y="20"/>
                    </a:lnTo>
                    <a:lnTo>
                      <a:pt x="8" y="20"/>
                    </a:lnTo>
                    <a:lnTo>
                      <a:pt x="10" y="21"/>
                    </a:lnTo>
                    <a:lnTo>
                      <a:pt x="10" y="23"/>
                    </a:lnTo>
                    <a:lnTo>
                      <a:pt x="11" y="23"/>
                    </a:lnTo>
                    <a:lnTo>
                      <a:pt x="11" y="24"/>
                    </a:lnTo>
                    <a:lnTo>
                      <a:pt x="13" y="24"/>
                    </a:lnTo>
                    <a:lnTo>
                      <a:pt x="14" y="24"/>
                    </a:lnTo>
                    <a:lnTo>
                      <a:pt x="16" y="21"/>
                    </a:lnTo>
                    <a:lnTo>
                      <a:pt x="17" y="23"/>
                    </a:lnTo>
                    <a:lnTo>
                      <a:pt x="18" y="23"/>
                    </a:lnTo>
                    <a:lnTo>
                      <a:pt x="18" y="21"/>
                    </a:lnTo>
                    <a:lnTo>
                      <a:pt x="20" y="21"/>
                    </a:lnTo>
                    <a:lnTo>
                      <a:pt x="20" y="20"/>
                    </a:lnTo>
                    <a:lnTo>
                      <a:pt x="20" y="19"/>
                    </a:lnTo>
                    <a:lnTo>
                      <a:pt x="17" y="17"/>
                    </a:lnTo>
                    <a:lnTo>
                      <a:pt x="17" y="17"/>
                    </a:lnTo>
                    <a:lnTo>
                      <a:pt x="16" y="16"/>
                    </a:lnTo>
                    <a:lnTo>
                      <a:pt x="14" y="16"/>
                    </a:lnTo>
                    <a:lnTo>
                      <a:pt x="14" y="14"/>
                    </a:lnTo>
                    <a:lnTo>
                      <a:pt x="13" y="16"/>
                    </a:lnTo>
                    <a:lnTo>
                      <a:pt x="11" y="16"/>
                    </a:lnTo>
                    <a:lnTo>
                      <a:pt x="11" y="17"/>
                    </a:lnTo>
                    <a:lnTo>
                      <a:pt x="10" y="17"/>
                    </a:lnTo>
                    <a:lnTo>
                      <a:pt x="8" y="19"/>
                    </a:lnTo>
                    <a:lnTo>
                      <a:pt x="3" y="19"/>
                    </a:lnTo>
                    <a:lnTo>
                      <a:pt x="4" y="19"/>
                    </a:lnTo>
                    <a:close/>
                    <a:moveTo>
                      <a:pt x="26" y="29"/>
                    </a:moveTo>
                    <a:lnTo>
                      <a:pt x="26" y="29"/>
                    </a:lnTo>
                    <a:lnTo>
                      <a:pt x="26" y="26"/>
                    </a:lnTo>
                    <a:lnTo>
                      <a:pt x="24" y="26"/>
                    </a:lnTo>
                    <a:lnTo>
                      <a:pt x="23" y="26"/>
                    </a:lnTo>
                    <a:lnTo>
                      <a:pt x="21" y="27"/>
                    </a:lnTo>
                    <a:lnTo>
                      <a:pt x="23" y="29"/>
                    </a:lnTo>
                    <a:lnTo>
                      <a:pt x="24" y="29"/>
                    </a:lnTo>
                    <a:lnTo>
                      <a:pt x="26" y="29"/>
                    </a:lnTo>
                    <a:close/>
                    <a:moveTo>
                      <a:pt x="0" y="30"/>
                    </a:moveTo>
                    <a:lnTo>
                      <a:pt x="1" y="31"/>
                    </a:lnTo>
                    <a:lnTo>
                      <a:pt x="1" y="33"/>
                    </a:lnTo>
                    <a:lnTo>
                      <a:pt x="1" y="34"/>
                    </a:lnTo>
                    <a:lnTo>
                      <a:pt x="0" y="36"/>
                    </a:lnTo>
                    <a:lnTo>
                      <a:pt x="1" y="37"/>
                    </a:lnTo>
                    <a:lnTo>
                      <a:pt x="3" y="37"/>
                    </a:lnTo>
                    <a:lnTo>
                      <a:pt x="6" y="39"/>
                    </a:lnTo>
                    <a:lnTo>
                      <a:pt x="3" y="43"/>
                    </a:lnTo>
                    <a:lnTo>
                      <a:pt x="3" y="44"/>
                    </a:lnTo>
                    <a:lnTo>
                      <a:pt x="4" y="44"/>
                    </a:lnTo>
                    <a:lnTo>
                      <a:pt x="6" y="43"/>
                    </a:lnTo>
                    <a:lnTo>
                      <a:pt x="7" y="39"/>
                    </a:lnTo>
                    <a:lnTo>
                      <a:pt x="10" y="37"/>
                    </a:lnTo>
                    <a:lnTo>
                      <a:pt x="10" y="37"/>
                    </a:lnTo>
                    <a:lnTo>
                      <a:pt x="13" y="37"/>
                    </a:lnTo>
                    <a:lnTo>
                      <a:pt x="14" y="37"/>
                    </a:lnTo>
                    <a:lnTo>
                      <a:pt x="16" y="37"/>
                    </a:lnTo>
                    <a:lnTo>
                      <a:pt x="21" y="33"/>
                    </a:lnTo>
                    <a:lnTo>
                      <a:pt x="23" y="31"/>
                    </a:lnTo>
                    <a:lnTo>
                      <a:pt x="26" y="31"/>
                    </a:lnTo>
                    <a:lnTo>
                      <a:pt x="24" y="30"/>
                    </a:lnTo>
                    <a:lnTo>
                      <a:pt x="23" y="29"/>
                    </a:lnTo>
                    <a:lnTo>
                      <a:pt x="20" y="27"/>
                    </a:lnTo>
                    <a:lnTo>
                      <a:pt x="17" y="27"/>
                    </a:lnTo>
                    <a:lnTo>
                      <a:pt x="14" y="27"/>
                    </a:lnTo>
                    <a:lnTo>
                      <a:pt x="11" y="27"/>
                    </a:lnTo>
                    <a:lnTo>
                      <a:pt x="8" y="27"/>
                    </a:lnTo>
                    <a:lnTo>
                      <a:pt x="8" y="29"/>
                    </a:lnTo>
                    <a:lnTo>
                      <a:pt x="7" y="29"/>
                    </a:lnTo>
                    <a:lnTo>
                      <a:pt x="6" y="30"/>
                    </a:lnTo>
                    <a:lnTo>
                      <a:pt x="4" y="30"/>
                    </a:lnTo>
                    <a:lnTo>
                      <a:pt x="1" y="30"/>
                    </a:lnTo>
                    <a:lnTo>
                      <a:pt x="0" y="3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81" name="Freeform 87">
                <a:extLst>
                  <a:ext uri="{FF2B5EF4-FFF2-40B4-BE49-F238E27FC236}">
                    <a16:creationId xmlns:a16="http://schemas.microsoft.com/office/drawing/2014/main" id="{54E50801-2414-F6DE-D80F-34A3E7475988}"/>
                  </a:ext>
                </a:extLst>
              </p:cNvPr>
              <p:cNvSpPr>
                <a:spLocks noEditPoints="1"/>
              </p:cNvSpPr>
              <p:nvPr/>
            </p:nvSpPr>
            <p:spPr bwMode="auto">
              <a:xfrm>
                <a:off x="3892" y="1184"/>
                <a:ext cx="211" cy="306"/>
              </a:xfrm>
              <a:custGeom>
                <a:avLst/>
                <a:gdLst>
                  <a:gd name="T0" fmla="*/ 156 w 211"/>
                  <a:gd name="T1" fmla="*/ 276 h 306"/>
                  <a:gd name="T2" fmla="*/ 169 w 211"/>
                  <a:gd name="T3" fmla="*/ 266 h 306"/>
                  <a:gd name="T4" fmla="*/ 199 w 211"/>
                  <a:gd name="T5" fmla="*/ 237 h 306"/>
                  <a:gd name="T6" fmla="*/ 209 w 211"/>
                  <a:gd name="T7" fmla="*/ 223 h 306"/>
                  <a:gd name="T8" fmla="*/ 202 w 211"/>
                  <a:gd name="T9" fmla="*/ 211 h 306"/>
                  <a:gd name="T10" fmla="*/ 186 w 211"/>
                  <a:gd name="T11" fmla="*/ 194 h 306"/>
                  <a:gd name="T12" fmla="*/ 192 w 211"/>
                  <a:gd name="T13" fmla="*/ 187 h 306"/>
                  <a:gd name="T14" fmla="*/ 185 w 211"/>
                  <a:gd name="T15" fmla="*/ 177 h 306"/>
                  <a:gd name="T16" fmla="*/ 185 w 211"/>
                  <a:gd name="T17" fmla="*/ 167 h 306"/>
                  <a:gd name="T18" fmla="*/ 176 w 211"/>
                  <a:gd name="T19" fmla="*/ 154 h 306"/>
                  <a:gd name="T20" fmla="*/ 178 w 211"/>
                  <a:gd name="T21" fmla="*/ 148 h 306"/>
                  <a:gd name="T22" fmla="*/ 176 w 211"/>
                  <a:gd name="T23" fmla="*/ 145 h 306"/>
                  <a:gd name="T24" fmla="*/ 179 w 211"/>
                  <a:gd name="T25" fmla="*/ 135 h 306"/>
                  <a:gd name="T26" fmla="*/ 185 w 211"/>
                  <a:gd name="T27" fmla="*/ 129 h 306"/>
                  <a:gd name="T28" fmla="*/ 173 w 211"/>
                  <a:gd name="T29" fmla="*/ 99 h 306"/>
                  <a:gd name="T30" fmla="*/ 168 w 211"/>
                  <a:gd name="T31" fmla="*/ 83 h 306"/>
                  <a:gd name="T32" fmla="*/ 182 w 211"/>
                  <a:gd name="T33" fmla="*/ 65 h 306"/>
                  <a:gd name="T34" fmla="*/ 169 w 211"/>
                  <a:gd name="T35" fmla="*/ 50 h 306"/>
                  <a:gd name="T36" fmla="*/ 162 w 211"/>
                  <a:gd name="T37" fmla="*/ 32 h 306"/>
                  <a:gd name="T38" fmla="*/ 163 w 211"/>
                  <a:gd name="T39" fmla="*/ 27 h 306"/>
                  <a:gd name="T40" fmla="*/ 152 w 211"/>
                  <a:gd name="T41" fmla="*/ 6 h 306"/>
                  <a:gd name="T42" fmla="*/ 126 w 211"/>
                  <a:gd name="T43" fmla="*/ 4 h 306"/>
                  <a:gd name="T44" fmla="*/ 110 w 211"/>
                  <a:gd name="T45" fmla="*/ 16 h 306"/>
                  <a:gd name="T46" fmla="*/ 96 w 211"/>
                  <a:gd name="T47" fmla="*/ 36 h 306"/>
                  <a:gd name="T48" fmla="*/ 50 w 211"/>
                  <a:gd name="T49" fmla="*/ 34 h 306"/>
                  <a:gd name="T50" fmla="*/ 27 w 211"/>
                  <a:gd name="T51" fmla="*/ 22 h 306"/>
                  <a:gd name="T52" fmla="*/ 44 w 211"/>
                  <a:gd name="T53" fmla="*/ 40 h 306"/>
                  <a:gd name="T54" fmla="*/ 66 w 211"/>
                  <a:gd name="T55" fmla="*/ 52 h 306"/>
                  <a:gd name="T56" fmla="*/ 69 w 211"/>
                  <a:gd name="T57" fmla="*/ 69 h 306"/>
                  <a:gd name="T58" fmla="*/ 71 w 211"/>
                  <a:gd name="T59" fmla="*/ 79 h 306"/>
                  <a:gd name="T60" fmla="*/ 73 w 211"/>
                  <a:gd name="T61" fmla="*/ 102 h 306"/>
                  <a:gd name="T62" fmla="*/ 79 w 211"/>
                  <a:gd name="T63" fmla="*/ 118 h 306"/>
                  <a:gd name="T64" fmla="*/ 90 w 211"/>
                  <a:gd name="T65" fmla="*/ 131 h 306"/>
                  <a:gd name="T66" fmla="*/ 100 w 211"/>
                  <a:gd name="T67" fmla="*/ 152 h 306"/>
                  <a:gd name="T68" fmla="*/ 100 w 211"/>
                  <a:gd name="T69" fmla="*/ 160 h 306"/>
                  <a:gd name="T70" fmla="*/ 73 w 211"/>
                  <a:gd name="T71" fmla="*/ 183 h 306"/>
                  <a:gd name="T72" fmla="*/ 53 w 211"/>
                  <a:gd name="T73" fmla="*/ 198 h 306"/>
                  <a:gd name="T74" fmla="*/ 47 w 211"/>
                  <a:gd name="T75" fmla="*/ 206 h 306"/>
                  <a:gd name="T76" fmla="*/ 34 w 211"/>
                  <a:gd name="T77" fmla="*/ 218 h 306"/>
                  <a:gd name="T78" fmla="*/ 30 w 211"/>
                  <a:gd name="T79" fmla="*/ 246 h 306"/>
                  <a:gd name="T80" fmla="*/ 34 w 211"/>
                  <a:gd name="T81" fmla="*/ 259 h 306"/>
                  <a:gd name="T82" fmla="*/ 34 w 211"/>
                  <a:gd name="T83" fmla="*/ 286 h 306"/>
                  <a:gd name="T84" fmla="*/ 46 w 211"/>
                  <a:gd name="T85" fmla="*/ 290 h 306"/>
                  <a:gd name="T86" fmla="*/ 51 w 211"/>
                  <a:gd name="T87" fmla="*/ 296 h 306"/>
                  <a:gd name="T88" fmla="*/ 58 w 211"/>
                  <a:gd name="T89" fmla="*/ 296 h 306"/>
                  <a:gd name="T90" fmla="*/ 67 w 211"/>
                  <a:gd name="T91" fmla="*/ 303 h 306"/>
                  <a:gd name="T92" fmla="*/ 107 w 211"/>
                  <a:gd name="T93" fmla="*/ 293 h 306"/>
                  <a:gd name="T94" fmla="*/ 115 w 211"/>
                  <a:gd name="T95" fmla="*/ 289 h 306"/>
                  <a:gd name="T96" fmla="*/ 125 w 211"/>
                  <a:gd name="T97" fmla="*/ 290 h 306"/>
                  <a:gd name="T98" fmla="*/ 139 w 211"/>
                  <a:gd name="T99" fmla="*/ 287 h 306"/>
                  <a:gd name="T100" fmla="*/ 38 w 211"/>
                  <a:gd name="T101" fmla="*/ 298 h 306"/>
                  <a:gd name="T102" fmla="*/ 28 w 211"/>
                  <a:gd name="T103" fmla="*/ 211 h 306"/>
                  <a:gd name="T104" fmla="*/ 41 w 211"/>
                  <a:gd name="T105" fmla="*/ 292 h 306"/>
                  <a:gd name="T106" fmla="*/ 48 w 211"/>
                  <a:gd name="T107" fmla="*/ 295 h 306"/>
                  <a:gd name="T108" fmla="*/ 50 w 211"/>
                  <a:gd name="T109" fmla="*/ 293 h 306"/>
                  <a:gd name="T110" fmla="*/ 30 w 211"/>
                  <a:gd name="T111" fmla="*/ 285 h 306"/>
                  <a:gd name="T112" fmla="*/ 1 w 211"/>
                  <a:gd name="T113" fmla="*/ 298 h 306"/>
                  <a:gd name="T114" fmla="*/ 11 w 211"/>
                  <a:gd name="T115" fmla="*/ 295 h 306"/>
                  <a:gd name="T116" fmla="*/ 1 w 211"/>
                  <a:gd name="T117" fmla="*/ 295 h 306"/>
                  <a:gd name="T118" fmla="*/ 17 w 211"/>
                  <a:gd name="T119" fmla="*/ 30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1" h="306">
                    <a:moveTo>
                      <a:pt x="90" y="157"/>
                    </a:moveTo>
                    <a:lnTo>
                      <a:pt x="89" y="157"/>
                    </a:lnTo>
                    <a:lnTo>
                      <a:pt x="87" y="154"/>
                    </a:lnTo>
                    <a:lnTo>
                      <a:pt x="90" y="154"/>
                    </a:lnTo>
                    <a:lnTo>
                      <a:pt x="92" y="152"/>
                    </a:lnTo>
                    <a:lnTo>
                      <a:pt x="93" y="154"/>
                    </a:lnTo>
                    <a:lnTo>
                      <a:pt x="94" y="155"/>
                    </a:lnTo>
                    <a:lnTo>
                      <a:pt x="90" y="157"/>
                    </a:lnTo>
                    <a:close/>
                    <a:moveTo>
                      <a:pt x="155" y="276"/>
                    </a:moveTo>
                    <a:lnTo>
                      <a:pt x="156" y="276"/>
                    </a:lnTo>
                    <a:lnTo>
                      <a:pt x="156" y="276"/>
                    </a:lnTo>
                    <a:lnTo>
                      <a:pt x="158" y="275"/>
                    </a:lnTo>
                    <a:lnTo>
                      <a:pt x="159" y="275"/>
                    </a:lnTo>
                    <a:lnTo>
                      <a:pt x="159" y="273"/>
                    </a:lnTo>
                    <a:lnTo>
                      <a:pt x="160" y="273"/>
                    </a:lnTo>
                    <a:lnTo>
                      <a:pt x="160" y="273"/>
                    </a:lnTo>
                    <a:lnTo>
                      <a:pt x="160" y="272"/>
                    </a:lnTo>
                    <a:lnTo>
                      <a:pt x="163" y="270"/>
                    </a:lnTo>
                    <a:lnTo>
                      <a:pt x="168" y="267"/>
                    </a:lnTo>
                    <a:lnTo>
                      <a:pt x="169" y="266"/>
                    </a:lnTo>
                    <a:lnTo>
                      <a:pt x="171" y="264"/>
                    </a:lnTo>
                    <a:lnTo>
                      <a:pt x="172" y="263"/>
                    </a:lnTo>
                    <a:lnTo>
                      <a:pt x="178" y="257"/>
                    </a:lnTo>
                    <a:lnTo>
                      <a:pt x="179" y="256"/>
                    </a:lnTo>
                    <a:lnTo>
                      <a:pt x="182" y="253"/>
                    </a:lnTo>
                    <a:lnTo>
                      <a:pt x="189" y="246"/>
                    </a:lnTo>
                    <a:lnTo>
                      <a:pt x="192" y="243"/>
                    </a:lnTo>
                    <a:lnTo>
                      <a:pt x="193" y="241"/>
                    </a:lnTo>
                    <a:lnTo>
                      <a:pt x="195" y="240"/>
                    </a:lnTo>
                    <a:lnTo>
                      <a:pt x="199" y="237"/>
                    </a:lnTo>
                    <a:lnTo>
                      <a:pt x="202" y="234"/>
                    </a:lnTo>
                    <a:lnTo>
                      <a:pt x="204" y="233"/>
                    </a:lnTo>
                    <a:lnTo>
                      <a:pt x="204" y="231"/>
                    </a:lnTo>
                    <a:lnTo>
                      <a:pt x="205" y="231"/>
                    </a:lnTo>
                    <a:lnTo>
                      <a:pt x="205" y="230"/>
                    </a:lnTo>
                    <a:lnTo>
                      <a:pt x="206" y="229"/>
                    </a:lnTo>
                    <a:lnTo>
                      <a:pt x="208" y="224"/>
                    </a:lnTo>
                    <a:lnTo>
                      <a:pt x="208" y="224"/>
                    </a:lnTo>
                    <a:lnTo>
                      <a:pt x="209" y="224"/>
                    </a:lnTo>
                    <a:lnTo>
                      <a:pt x="209" y="223"/>
                    </a:lnTo>
                    <a:lnTo>
                      <a:pt x="209" y="223"/>
                    </a:lnTo>
                    <a:lnTo>
                      <a:pt x="209" y="221"/>
                    </a:lnTo>
                    <a:lnTo>
                      <a:pt x="211" y="220"/>
                    </a:lnTo>
                    <a:lnTo>
                      <a:pt x="209" y="218"/>
                    </a:lnTo>
                    <a:lnTo>
                      <a:pt x="206" y="216"/>
                    </a:lnTo>
                    <a:lnTo>
                      <a:pt x="205" y="214"/>
                    </a:lnTo>
                    <a:lnTo>
                      <a:pt x="205" y="213"/>
                    </a:lnTo>
                    <a:lnTo>
                      <a:pt x="204" y="213"/>
                    </a:lnTo>
                    <a:lnTo>
                      <a:pt x="204" y="211"/>
                    </a:lnTo>
                    <a:lnTo>
                      <a:pt x="202" y="211"/>
                    </a:lnTo>
                    <a:lnTo>
                      <a:pt x="195" y="206"/>
                    </a:lnTo>
                    <a:lnTo>
                      <a:pt x="191" y="203"/>
                    </a:lnTo>
                    <a:lnTo>
                      <a:pt x="189" y="203"/>
                    </a:lnTo>
                    <a:lnTo>
                      <a:pt x="183" y="198"/>
                    </a:lnTo>
                    <a:lnTo>
                      <a:pt x="183" y="197"/>
                    </a:lnTo>
                    <a:lnTo>
                      <a:pt x="183" y="197"/>
                    </a:lnTo>
                    <a:lnTo>
                      <a:pt x="183" y="195"/>
                    </a:lnTo>
                    <a:lnTo>
                      <a:pt x="185" y="195"/>
                    </a:lnTo>
                    <a:lnTo>
                      <a:pt x="186" y="195"/>
                    </a:lnTo>
                    <a:lnTo>
                      <a:pt x="186" y="194"/>
                    </a:lnTo>
                    <a:lnTo>
                      <a:pt x="188" y="194"/>
                    </a:lnTo>
                    <a:lnTo>
                      <a:pt x="189" y="193"/>
                    </a:lnTo>
                    <a:lnTo>
                      <a:pt x="191" y="190"/>
                    </a:lnTo>
                    <a:lnTo>
                      <a:pt x="192" y="188"/>
                    </a:lnTo>
                    <a:lnTo>
                      <a:pt x="192" y="188"/>
                    </a:lnTo>
                    <a:lnTo>
                      <a:pt x="192" y="188"/>
                    </a:lnTo>
                    <a:lnTo>
                      <a:pt x="192" y="187"/>
                    </a:lnTo>
                    <a:lnTo>
                      <a:pt x="192" y="187"/>
                    </a:lnTo>
                    <a:lnTo>
                      <a:pt x="192" y="187"/>
                    </a:lnTo>
                    <a:lnTo>
                      <a:pt x="192" y="187"/>
                    </a:lnTo>
                    <a:lnTo>
                      <a:pt x="192" y="185"/>
                    </a:lnTo>
                    <a:lnTo>
                      <a:pt x="192" y="185"/>
                    </a:lnTo>
                    <a:lnTo>
                      <a:pt x="192" y="184"/>
                    </a:lnTo>
                    <a:lnTo>
                      <a:pt x="192" y="184"/>
                    </a:lnTo>
                    <a:lnTo>
                      <a:pt x="192" y="183"/>
                    </a:lnTo>
                    <a:lnTo>
                      <a:pt x="192" y="181"/>
                    </a:lnTo>
                    <a:lnTo>
                      <a:pt x="191" y="181"/>
                    </a:lnTo>
                    <a:lnTo>
                      <a:pt x="189" y="180"/>
                    </a:lnTo>
                    <a:lnTo>
                      <a:pt x="186" y="178"/>
                    </a:lnTo>
                    <a:lnTo>
                      <a:pt x="185" y="177"/>
                    </a:lnTo>
                    <a:lnTo>
                      <a:pt x="183" y="174"/>
                    </a:lnTo>
                    <a:lnTo>
                      <a:pt x="183" y="174"/>
                    </a:lnTo>
                    <a:lnTo>
                      <a:pt x="183" y="172"/>
                    </a:lnTo>
                    <a:lnTo>
                      <a:pt x="183" y="172"/>
                    </a:lnTo>
                    <a:lnTo>
                      <a:pt x="183" y="171"/>
                    </a:lnTo>
                    <a:lnTo>
                      <a:pt x="183" y="170"/>
                    </a:lnTo>
                    <a:lnTo>
                      <a:pt x="185" y="168"/>
                    </a:lnTo>
                    <a:lnTo>
                      <a:pt x="185" y="168"/>
                    </a:lnTo>
                    <a:lnTo>
                      <a:pt x="185" y="167"/>
                    </a:lnTo>
                    <a:lnTo>
                      <a:pt x="185" y="167"/>
                    </a:lnTo>
                    <a:lnTo>
                      <a:pt x="185" y="165"/>
                    </a:lnTo>
                    <a:lnTo>
                      <a:pt x="183" y="164"/>
                    </a:lnTo>
                    <a:lnTo>
                      <a:pt x="179" y="162"/>
                    </a:lnTo>
                    <a:lnTo>
                      <a:pt x="178" y="161"/>
                    </a:lnTo>
                    <a:lnTo>
                      <a:pt x="176" y="160"/>
                    </a:lnTo>
                    <a:lnTo>
                      <a:pt x="176" y="157"/>
                    </a:lnTo>
                    <a:lnTo>
                      <a:pt x="176" y="157"/>
                    </a:lnTo>
                    <a:lnTo>
                      <a:pt x="176" y="155"/>
                    </a:lnTo>
                    <a:lnTo>
                      <a:pt x="176" y="155"/>
                    </a:lnTo>
                    <a:lnTo>
                      <a:pt x="176" y="154"/>
                    </a:lnTo>
                    <a:lnTo>
                      <a:pt x="178" y="152"/>
                    </a:lnTo>
                    <a:lnTo>
                      <a:pt x="179" y="152"/>
                    </a:lnTo>
                    <a:lnTo>
                      <a:pt x="181" y="151"/>
                    </a:lnTo>
                    <a:lnTo>
                      <a:pt x="181" y="151"/>
                    </a:lnTo>
                    <a:lnTo>
                      <a:pt x="181" y="151"/>
                    </a:lnTo>
                    <a:lnTo>
                      <a:pt x="181" y="149"/>
                    </a:lnTo>
                    <a:lnTo>
                      <a:pt x="181" y="149"/>
                    </a:lnTo>
                    <a:lnTo>
                      <a:pt x="179" y="148"/>
                    </a:lnTo>
                    <a:lnTo>
                      <a:pt x="179" y="148"/>
                    </a:lnTo>
                    <a:lnTo>
                      <a:pt x="178" y="148"/>
                    </a:lnTo>
                    <a:lnTo>
                      <a:pt x="176" y="148"/>
                    </a:lnTo>
                    <a:lnTo>
                      <a:pt x="176" y="148"/>
                    </a:lnTo>
                    <a:lnTo>
                      <a:pt x="176" y="147"/>
                    </a:lnTo>
                    <a:lnTo>
                      <a:pt x="176" y="147"/>
                    </a:lnTo>
                    <a:lnTo>
                      <a:pt x="176" y="147"/>
                    </a:lnTo>
                    <a:lnTo>
                      <a:pt x="176" y="147"/>
                    </a:lnTo>
                    <a:lnTo>
                      <a:pt x="176" y="147"/>
                    </a:lnTo>
                    <a:lnTo>
                      <a:pt x="176" y="147"/>
                    </a:lnTo>
                    <a:lnTo>
                      <a:pt x="176" y="147"/>
                    </a:lnTo>
                    <a:lnTo>
                      <a:pt x="176" y="145"/>
                    </a:lnTo>
                    <a:lnTo>
                      <a:pt x="178" y="145"/>
                    </a:lnTo>
                    <a:lnTo>
                      <a:pt x="178" y="144"/>
                    </a:lnTo>
                    <a:lnTo>
                      <a:pt x="178" y="144"/>
                    </a:lnTo>
                    <a:lnTo>
                      <a:pt x="178" y="142"/>
                    </a:lnTo>
                    <a:lnTo>
                      <a:pt x="178" y="141"/>
                    </a:lnTo>
                    <a:lnTo>
                      <a:pt x="178" y="139"/>
                    </a:lnTo>
                    <a:lnTo>
                      <a:pt x="178" y="138"/>
                    </a:lnTo>
                    <a:lnTo>
                      <a:pt x="179" y="137"/>
                    </a:lnTo>
                    <a:lnTo>
                      <a:pt x="179" y="137"/>
                    </a:lnTo>
                    <a:lnTo>
                      <a:pt x="179" y="135"/>
                    </a:lnTo>
                    <a:lnTo>
                      <a:pt x="179" y="134"/>
                    </a:lnTo>
                    <a:lnTo>
                      <a:pt x="178" y="134"/>
                    </a:lnTo>
                    <a:lnTo>
                      <a:pt x="178" y="132"/>
                    </a:lnTo>
                    <a:lnTo>
                      <a:pt x="181" y="132"/>
                    </a:lnTo>
                    <a:lnTo>
                      <a:pt x="182" y="132"/>
                    </a:lnTo>
                    <a:lnTo>
                      <a:pt x="183" y="131"/>
                    </a:lnTo>
                    <a:lnTo>
                      <a:pt x="185" y="131"/>
                    </a:lnTo>
                    <a:lnTo>
                      <a:pt x="185" y="131"/>
                    </a:lnTo>
                    <a:lnTo>
                      <a:pt x="185" y="131"/>
                    </a:lnTo>
                    <a:lnTo>
                      <a:pt x="185" y="129"/>
                    </a:lnTo>
                    <a:lnTo>
                      <a:pt x="185" y="128"/>
                    </a:lnTo>
                    <a:lnTo>
                      <a:pt x="185" y="126"/>
                    </a:lnTo>
                    <a:lnTo>
                      <a:pt x="183" y="122"/>
                    </a:lnTo>
                    <a:lnTo>
                      <a:pt x="181" y="114"/>
                    </a:lnTo>
                    <a:lnTo>
                      <a:pt x="179" y="112"/>
                    </a:lnTo>
                    <a:lnTo>
                      <a:pt x="178" y="108"/>
                    </a:lnTo>
                    <a:lnTo>
                      <a:pt x="176" y="105"/>
                    </a:lnTo>
                    <a:lnTo>
                      <a:pt x="175" y="103"/>
                    </a:lnTo>
                    <a:lnTo>
                      <a:pt x="175" y="101"/>
                    </a:lnTo>
                    <a:lnTo>
                      <a:pt x="173" y="99"/>
                    </a:lnTo>
                    <a:lnTo>
                      <a:pt x="172" y="96"/>
                    </a:lnTo>
                    <a:lnTo>
                      <a:pt x="171" y="93"/>
                    </a:lnTo>
                    <a:lnTo>
                      <a:pt x="169" y="91"/>
                    </a:lnTo>
                    <a:lnTo>
                      <a:pt x="168" y="91"/>
                    </a:lnTo>
                    <a:lnTo>
                      <a:pt x="168" y="89"/>
                    </a:lnTo>
                    <a:lnTo>
                      <a:pt x="168" y="88"/>
                    </a:lnTo>
                    <a:lnTo>
                      <a:pt x="166" y="88"/>
                    </a:lnTo>
                    <a:lnTo>
                      <a:pt x="166" y="86"/>
                    </a:lnTo>
                    <a:lnTo>
                      <a:pt x="168" y="85"/>
                    </a:lnTo>
                    <a:lnTo>
                      <a:pt x="168" y="83"/>
                    </a:lnTo>
                    <a:lnTo>
                      <a:pt x="169" y="82"/>
                    </a:lnTo>
                    <a:lnTo>
                      <a:pt x="171" y="79"/>
                    </a:lnTo>
                    <a:lnTo>
                      <a:pt x="173" y="75"/>
                    </a:lnTo>
                    <a:lnTo>
                      <a:pt x="175" y="73"/>
                    </a:lnTo>
                    <a:lnTo>
                      <a:pt x="181" y="69"/>
                    </a:lnTo>
                    <a:lnTo>
                      <a:pt x="181" y="68"/>
                    </a:lnTo>
                    <a:lnTo>
                      <a:pt x="182" y="68"/>
                    </a:lnTo>
                    <a:lnTo>
                      <a:pt x="182" y="66"/>
                    </a:lnTo>
                    <a:lnTo>
                      <a:pt x="182" y="65"/>
                    </a:lnTo>
                    <a:lnTo>
                      <a:pt x="182" y="65"/>
                    </a:lnTo>
                    <a:lnTo>
                      <a:pt x="182" y="63"/>
                    </a:lnTo>
                    <a:lnTo>
                      <a:pt x="183" y="63"/>
                    </a:lnTo>
                    <a:lnTo>
                      <a:pt x="182" y="62"/>
                    </a:lnTo>
                    <a:lnTo>
                      <a:pt x="181" y="62"/>
                    </a:lnTo>
                    <a:lnTo>
                      <a:pt x="179" y="60"/>
                    </a:lnTo>
                    <a:lnTo>
                      <a:pt x="178" y="57"/>
                    </a:lnTo>
                    <a:lnTo>
                      <a:pt x="175" y="56"/>
                    </a:lnTo>
                    <a:lnTo>
                      <a:pt x="173" y="53"/>
                    </a:lnTo>
                    <a:lnTo>
                      <a:pt x="172" y="52"/>
                    </a:lnTo>
                    <a:lnTo>
                      <a:pt x="169" y="50"/>
                    </a:lnTo>
                    <a:lnTo>
                      <a:pt x="165" y="50"/>
                    </a:lnTo>
                    <a:lnTo>
                      <a:pt x="163" y="49"/>
                    </a:lnTo>
                    <a:lnTo>
                      <a:pt x="160" y="49"/>
                    </a:lnTo>
                    <a:lnTo>
                      <a:pt x="158" y="46"/>
                    </a:lnTo>
                    <a:lnTo>
                      <a:pt x="156" y="42"/>
                    </a:lnTo>
                    <a:lnTo>
                      <a:pt x="156" y="39"/>
                    </a:lnTo>
                    <a:lnTo>
                      <a:pt x="160" y="33"/>
                    </a:lnTo>
                    <a:lnTo>
                      <a:pt x="162" y="32"/>
                    </a:lnTo>
                    <a:lnTo>
                      <a:pt x="162" y="32"/>
                    </a:lnTo>
                    <a:lnTo>
                      <a:pt x="162" y="32"/>
                    </a:lnTo>
                    <a:lnTo>
                      <a:pt x="162" y="32"/>
                    </a:lnTo>
                    <a:lnTo>
                      <a:pt x="160" y="32"/>
                    </a:lnTo>
                    <a:lnTo>
                      <a:pt x="159" y="30"/>
                    </a:lnTo>
                    <a:lnTo>
                      <a:pt x="158" y="30"/>
                    </a:lnTo>
                    <a:lnTo>
                      <a:pt x="156" y="30"/>
                    </a:lnTo>
                    <a:lnTo>
                      <a:pt x="155" y="30"/>
                    </a:lnTo>
                    <a:lnTo>
                      <a:pt x="158" y="29"/>
                    </a:lnTo>
                    <a:lnTo>
                      <a:pt x="159" y="29"/>
                    </a:lnTo>
                    <a:lnTo>
                      <a:pt x="162" y="27"/>
                    </a:lnTo>
                    <a:lnTo>
                      <a:pt x="163" y="27"/>
                    </a:lnTo>
                    <a:lnTo>
                      <a:pt x="165" y="27"/>
                    </a:lnTo>
                    <a:lnTo>
                      <a:pt x="163" y="24"/>
                    </a:lnTo>
                    <a:lnTo>
                      <a:pt x="171" y="17"/>
                    </a:lnTo>
                    <a:lnTo>
                      <a:pt x="169" y="13"/>
                    </a:lnTo>
                    <a:lnTo>
                      <a:pt x="166" y="11"/>
                    </a:lnTo>
                    <a:lnTo>
                      <a:pt x="165" y="10"/>
                    </a:lnTo>
                    <a:lnTo>
                      <a:pt x="159" y="10"/>
                    </a:lnTo>
                    <a:lnTo>
                      <a:pt x="156" y="9"/>
                    </a:lnTo>
                    <a:lnTo>
                      <a:pt x="153" y="7"/>
                    </a:lnTo>
                    <a:lnTo>
                      <a:pt x="152" y="6"/>
                    </a:lnTo>
                    <a:lnTo>
                      <a:pt x="148" y="1"/>
                    </a:lnTo>
                    <a:lnTo>
                      <a:pt x="145" y="0"/>
                    </a:lnTo>
                    <a:lnTo>
                      <a:pt x="143" y="0"/>
                    </a:lnTo>
                    <a:lnTo>
                      <a:pt x="140" y="0"/>
                    </a:lnTo>
                    <a:lnTo>
                      <a:pt x="139" y="1"/>
                    </a:lnTo>
                    <a:lnTo>
                      <a:pt x="136" y="3"/>
                    </a:lnTo>
                    <a:lnTo>
                      <a:pt x="135" y="4"/>
                    </a:lnTo>
                    <a:lnTo>
                      <a:pt x="132" y="4"/>
                    </a:lnTo>
                    <a:lnTo>
                      <a:pt x="129" y="4"/>
                    </a:lnTo>
                    <a:lnTo>
                      <a:pt x="126" y="4"/>
                    </a:lnTo>
                    <a:lnTo>
                      <a:pt x="125" y="4"/>
                    </a:lnTo>
                    <a:lnTo>
                      <a:pt x="122" y="4"/>
                    </a:lnTo>
                    <a:lnTo>
                      <a:pt x="120" y="6"/>
                    </a:lnTo>
                    <a:lnTo>
                      <a:pt x="119" y="9"/>
                    </a:lnTo>
                    <a:lnTo>
                      <a:pt x="119" y="9"/>
                    </a:lnTo>
                    <a:lnTo>
                      <a:pt x="117" y="10"/>
                    </a:lnTo>
                    <a:lnTo>
                      <a:pt x="115" y="11"/>
                    </a:lnTo>
                    <a:lnTo>
                      <a:pt x="113" y="11"/>
                    </a:lnTo>
                    <a:lnTo>
                      <a:pt x="112" y="13"/>
                    </a:lnTo>
                    <a:lnTo>
                      <a:pt x="110" y="16"/>
                    </a:lnTo>
                    <a:lnTo>
                      <a:pt x="110" y="19"/>
                    </a:lnTo>
                    <a:lnTo>
                      <a:pt x="109" y="20"/>
                    </a:lnTo>
                    <a:lnTo>
                      <a:pt x="109" y="23"/>
                    </a:lnTo>
                    <a:lnTo>
                      <a:pt x="109" y="26"/>
                    </a:lnTo>
                    <a:lnTo>
                      <a:pt x="107" y="27"/>
                    </a:lnTo>
                    <a:lnTo>
                      <a:pt x="106" y="29"/>
                    </a:lnTo>
                    <a:lnTo>
                      <a:pt x="104" y="30"/>
                    </a:lnTo>
                    <a:lnTo>
                      <a:pt x="100" y="32"/>
                    </a:lnTo>
                    <a:lnTo>
                      <a:pt x="99" y="33"/>
                    </a:lnTo>
                    <a:lnTo>
                      <a:pt x="96" y="36"/>
                    </a:lnTo>
                    <a:lnTo>
                      <a:pt x="94" y="37"/>
                    </a:lnTo>
                    <a:lnTo>
                      <a:pt x="93" y="37"/>
                    </a:lnTo>
                    <a:lnTo>
                      <a:pt x="77" y="33"/>
                    </a:lnTo>
                    <a:lnTo>
                      <a:pt x="76" y="33"/>
                    </a:lnTo>
                    <a:lnTo>
                      <a:pt x="74" y="33"/>
                    </a:lnTo>
                    <a:lnTo>
                      <a:pt x="71" y="34"/>
                    </a:lnTo>
                    <a:lnTo>
                      <a:pt x="69" y="36"/>
                    </a:lnTo>
                    <a:lnTo>
                      <a:pt x="66" y="36"/>
                    </a:lnTo>
                    <a:lnTo>
                      <a:pt x="51" y="34"/>
                    </a:lnTo>
                    <a:lnTo>
                      <a:pt x="50" y="34"/>
                    </a:lnTo>
                    <a:lnTo>
                      <a:pt x="48" y="33"/>
                    </a:lnTo>
                    <a:lnTo>
                      <a:pt x="48" y="32"/>
                    </a:lnTo>
                    <a:lnTo>
                      <a:pt x="47" y="30"/>
                    </a:lnTo>
                    <a:lnTo>
                      <a:pt x="46" y="29"/>
                    </a:lnTo>
                    <a:lnTo>
                      <a:pt x="37" y="23"/>
                    </a:lnTo>
                    <a:lnTo>
                      <a:pt x="36" y="22"/>
                    </a:lnTo>
                    <a:lnTo>
                      <a:pt x="33" y="20"/>
                    </a:lnTo>
                    <a:lnTo>
                      <a:pt x="30" y="20"/>
                    </a:lnTo>
                    <a:lnTo>
                      <a:pt x="28" y="22"/>
                    </a:lnTo>
                    <a:lnTo>
                      <a:pt x="27" y="22"/>
                    </a:lnTo>
                    <a:lnTo>
                      <a:pt x="27" y="23"/>
                    </a:lnTo>
                    <a:lnTo>
                      <a:pt x="27" y="24"/>
                    </a:lnTo>
                    <a:lnTo>
                      <a:pt x="27" y="24"/>
                    </a:lnTo>
                    <a:lnTo>
                      <a:pt x="27" y="26"/>
                    </a:lnTo>
                    <a:lnTo>
                      <a:pt x="25" y="26"/>
                    </a:lnTo>
                    <a:lnTo>
                      <a:pt x="20" y="26"/>
                    </a:lnTo>
                    <a:lnTo>
                      <a:pt x="18" y="26"/>
                    </a:lnTo>
                    <a:lnTo>
                      <a:pt x="21" y="27"/>
                    </a:lnTo>
                    <a:lnTo>
                      <a:pt x="40" y="39"/>
                    </a:lnTo>
                    <a:lnTo>
                      <a:pt x="44" y="40"/>
                    </a:lnTo>
                    <a:lnTo>
                      <a:pt x="56" y="43"/>
                    </a:lnTo>
                    <a:lnTo>
                      <a:pt x="58" y="45"/>
                    </a:lnTo>
                    <a:lnTo>
                      <a:pt x="61" y="47"/>
                    </a:lnTo>
                    <a:lnTo>
                      <a:pt x="63" y="47"/>
                    </a:lnTo>
                    <a:lnTo>
                      <a:pt x="63" y="49"/>
                    </a:lnTo>
                    <a:lnTo>
                      <a:pt x="63" y="50"/>
                    </a:lnTo>
                    <a:lnTo>
                      <a:pt x="63" y="50"/>
                    </a:lnTo>
                    <a:lnTo>
                      <a:pt x="64" y="50"/>
                    </a:lnTo>
                    <a:lnTo>
                      <a:pt x="64" y="50"/>
                    </a:lnTo>
                    <a:lnTo>
                      <a:pt x="66" y="52"/>
                    </a:lnTo>
                    <a:lnTo>
                      <a:pt x="70" y="53"/>
                    </a:lnTo>
                    <a:lnTo>
                      <a:pt x="70" y="55"/>
                    </a:lnTo>
                    <a:lnTo>
                      <a:pt x="71" y="56"/>
                    </a:lnTo>
                    <a:lnTo>
                      <a:pt x="70" y="56"/>
                    </a:lnTo>
                    <a:lnTo>
                      <a:pt x="69" y="57"/>
                    </a:lnTo>
                    <a:lnTo>
                      <a:pt x="69" y="59"/>
                    </a:lnTo>
                    <a:lnTo>
                      <a:pt x="69" y="59"/>
                    </a:lnTo>
                    <a:lnTo>
                      <a:pt x="69" y="62"/>
                    </a:lnTo>
                    <a:lnTo>
                      <a:pt x="69" y="66"/>
                    </a:lnTo>
                    <a:lnTo>
                      <a:pt x="69" y="69"/>
                    </a:lnTo>
                    <a:lnTo>
                      <a:pt x="69" y="69"/>
                    </a:lnTo>
                    <a:lnTo>
                      <a:pt x="69" y="69"/>
                    </a:lnTo>
                    <a:lnTo>
                      <a:pt x="71" y="70"/>
                    </a:lnTo>
                    <a:lnTo>
                      <a:pt x="73" y="70"/>
                    </a:lnTo>
                    <a:lnTo>
                      <a:pt x="73" y="72"/>
                    </a:lnTo>
                    <a:lnTo>
                      <a:pt x="73" y="73"/>
                    </a:lnTo>
                    <a:lnTo>
                      <a:pt x="73" y="75"/>
                    </a:lnTo>
                    <a:lnTo>
                      <a:pt x="71" y="76"/>
                    </a:lnTo>
                    <a:lnTo>
                      <a:pt x="71" y="78"/>
                    </a:lnTo>
                    <a:lnTo>
                      <a:pt x="71" y="79"/>
                    </a:lnTo>
                    <a:lnTo>
                      <a:pt x="71" y="82"/>
                    </a:lnTo>
                    <a:lnTo>
                      <a:pt x="73" y="83"/>
                    </a:lnTo>
                    <a:lnTo>
                      <a:pt x="76" y="86"/>
                    </a:lnTo>
                    <a:lnTo>
                      <a:pt x="77" y="89"/>
                    </a:lnTo>
                    <a:lnTo>
                      <a:pt x="77" y="92"/>
                    </a:lnTo>
                    <a:lnTo>
                      <a:pt x="76" y="95"/>
                    </a:lnTo>
                    <a:lnTo>
                      <a:pt x="74" y="98"/>
                    </a:lnTo>
                    <a:lnTo>
                      <a:pt x="74" y="99"/>
                    </a:lnTo>
                    <a:lnTo>
                      <a:pt x="73" y="101"/>
                    </a:lnTo>
                    <a:lnTo>
                      <a:pt x="73" y="102"/>
                    </a:lnTo>
                    <a:lnTo>
                      <a:pt x="71" y="105"/>
                    </a:lnTo>
                    <a:lnTo>
                      <a:pt x="71" y="106"/>
                    </a:lnTo>
                    <a:lnTo>
                      <a:pt x="71" y="108"/>
                    </a:lnTo>
                    <a:lnTo>
                      <a:pt x="73" y="109"/>
                    </a:lnTo>
                    <a:lnTo>
                      <a:pt x="73" y="111"/>
                    </a:lnTo>
                    <a:lnTo>
                      <a:pt x="74" y="112"/>
                    </a:lnTo>
                    <a:lnTo>
                      <a:pt x="76" y="114"/>
                    </a:lnTo>
                    <a:lnTo>
                      <a:pt x="76" y="114"/>
                    </a:lnTo>
                    <a:lnTo>
                      <a:pt x="77" y="115"/>
                    </a:lnTo>
                    <a:lnTo>
                      <a:pt x="79" y="118"/>
                    </a:lnTo>
                    <a:lnTo>
                      <a:pt x="80" y="126"/>
                    </a:lnTo>
                    <a:lnTo>
                      <a:pt x="81" y="126"/>
                    </a:lnTo>
                    <a:lnTo>
                      <a:pt x="84" y="126"/>
                    </a:lnTo>
                    <a:lnTo>
                      <a:pt x="86" y="126"/>
                    </a:lnTo>
                    <a:lnTo>
                      <a:pt x="86" y="126"/>
                    </a:lnTo>
                    <a:lnTo>
                      <a:pt x="89" y="124"/>
                    </a:lnTo>
                    <a:lnTo>
                      <a:pt x="87" y="128"/>
                    </a:lnTo>
                    <a:lnTo>
                      <a:pt x="89" y="129"/>
                    </a:lnTo>
                    <a:lnTo>
                      <a:pt x="89" y="131"/>
                    </a:lnTo>
                    <a:lnTo>
                      <a:pt x="90" y="131"/>
                    </a:lnTo>
                    <a:lnTo>
                      <a:pt x="92" y="131"/>
                    </a:lnTo>
                    <a:lnTo>
                      <a:pt x="93" y="132"/>
                    </a:lnTo>
                    <a:lnTo>
                      <a:pt x="94" y="134"/>
                    </a:lnTo>
                    <a:lnTo>
                      <a:pt x="97" y="135"/>
                    </a:lnTo>
                    <a:lnTo>
                      <a:pt x="100" y="137"/>
                    </a:lnTo>
                    <a:lnTo>
                      <a:pt x="102" y="139"/>
                    </a:lnTo>
                    <a:lnTo>
                      <a:pt x="102" y="142"/>
                    </a:lnTo>
                    <a:lnTo>
                      <a:pt x="100" y="149"/>
                    </a:lnTo>
                    <a:lnTo>
                      <a:pt x="100" y="151"/>
                    </a:lnTo>
                    <a:lnTo>
                      <a:pt x="100" y="152"/>
                    </a:lnTo>
                    <a:lnTo>
                      <a:pt x="102" y="152"/>
                    </a:lnTo>
                    <a:lnTo>
                      <a:pt x="102" y="154"/>
                    </a:lnTo>
                    <a:lnTo>
                      <a:pt x="102" y="154"/>
                    </a:lnTo>
                    <a:lnTo>
                      <a:pt x="102" y="155"/>
                    </a:lnTo>
                    <a:lnTo>
                      <a:pt x="102" y="155"/>
                    </a:lnTo>
                    <a:lnTo>
                      <a:pt x="100" y="155"/>
                    </a:lnTo>
                    <a:lnTo>
                      <a:pt x="99" y="158"/>
                    </a:lnTo>
                    <a:lnTo>
                      <a:pt x="100" y="158"/>
                    </a:lnTo>
                    <a:lnTo>
                      <a:pt x="100" y="160"/>
                    </a:lnTo>
                    <a:lnTo>
                      <a:pt x="100" y="160"/>
                    </a:lnTo>
                    <a:lnTo>
                      <a:pt x="100" y="161"/>
                    </a:lnTo>
                    <a:lnTo>
                      <a:pt x="99" y="161"/>
                    </a:lnTo>
                    <a:lnTo>
                      <a:pt x="93" y="161"/>
                    </a:lnTo>
                    <a:lnTo>
                      <a:pt x="90" y="161"/>
                    </a:lnTo>
                    <a:lnTo>
                      <a:pt x="89" y="162"/>
                    </a:lnTo>
                    <a:lnTo>
                      <a:pt x="86" y="165"/>
                    </a:lnTo>
                    <a:lnTo>
                      <a:pt x="83" y="170"/>
                    </a:lnTo>
                    <a:lnTo>
                      <a:pt x="76" y="180"/>
                    </a:lnTo>
                    <a:lnTo>
                      <a:pt x="76" y="181"/>
                    </a:lnTo>
                    <a:lnTo>
                      <a:pt x="73" y="183"/>
                    </a:lnTo>
                    <a:lnTo>
                      <a:pt x="71" y="184"/>
                    </a:lnTo>
                    <a:lnTo>
                      <a:pt x="71" y="185"/>
                    </a:lnTo>
                    <a:lnTo>
                      <a:pt x="71" y="187"/>
                    </a:lnTo>
                    <a:lnTo>
                      <a:pt x="70" y="187"/>
                    </a:lnTo>
                    <a:lnTo>
                      <a:pt x="70" y="187"/>
                    </a:lnTo>
                    <a:lnTo>
                      <a:pt x="69" y="188"/>
                    </a:lnTo>
                    <a:lnTo>
                      <a:pt x="69" y="188"/>
                    </a:lnTo>
                    <a:lnTo>
                      <a:pt x="58" y="197"/>
                    </a:lnTo>
                    <a:lnTo>
                      <a:pt x="56" y="197"/>
                    </a:lnTo>
                    <a:lnTo>
                      <a:pt x="53" y="198"/>
                    </a:lnTo>
                    <a:lnTo>
                      <a:pt x="51" y="200"/>
                    </a:lnTo>
                    <a:lnTo>
                      <a:pt x="51" y="201"/>
                    </a:lnTo>
                    <a:lnTo>
                      <a:pt x="50" y="203"/>
                    </a:lnTo>
                    <a:lnTo>
                      <a:pt x="50" y="204"/>
                    </a:lnTo>
                    <a:lnTo>
                      <a:pt x="48" y="204"/>
                    </a:lnTo>
                    <a:lnTo>
                      <a:pt x="48" y="204"/>
                    </a:lnTo>
                    <a:lnTo>
                      <a:pt x="48" y="206"/>
                    </a:lnTo>
                    <a:lnTo>
                      <a:pt x="48" y="206"/>
                    </a:lnTo>
                    <a:lnTo>
                      <a:pt x="47" y="206"/>
                    </a:lnTo>
                    <a:lnTo>
                      <a:pt x="47" y="206"/>
                    </a:lnTo>
                    <a:lnTo>
                      <a:pt x="47" y="207"/>
                    </a:lnTo>
                    <a:lnTo>
                      <a:pt x="48" y="208"/>
                    </a:lnTo>
                    <a:lnTo>
                      <a:pt x="47" y="210"/>
                    </a:lnTo>
                    <a:lnTo>
                      <a:pt x="46" y="211"/>
                    </a:lnTo>
                    <a:lnTo>
                      <a:pt x="44" y="211"/>
                    </a:lnTo>
                    <a:lnTo>
                      <a:pt x="43" y="211"/>
                    </a:lnTo>
                    <a:lnTo>
                      <a:pt x="36" y="213"/>
                    </a:lnTo>
                    <a:lnTo>
                      <a:pt x="34" y="214"/>
                    </a:lnTo>
                    <a:lnTo>
                      <a:pt x="36" y="217"/>
                    </a:lnTo>
                    <a:lnTo>
                      <a:pt x="34" y="218"/>
                    </a:lnTo>
                    <a:lnTo>
                      <a:pt x="31" y="220"/>
                    </a:lnTo>
                    <a:lnTo>
                      <a:pt x="28" y="224"/>
                    </a:lnTo>
                    <a:lnTo>
                      <a:pt x="27" y="227"/>
                    </a:lnTo>
                    <a:lnTo>
                      <a:pt x="27" y="231"/>
                    </a:lnTo>
                    <a:lnTo>
                      <a:pt x="30" y="237"/>
                    </a:lnTo>
                    <a:lnTo>
                      <a:pt x="31" y="240"/>
                    </a:lnTo>
                    <a:lnTo>
                      <a:pt x="30" y="241"/>
                    </a:lnTo>
                    <a:lnTo>
                      <a:pt x="30" y="243"/>
                    </a:lnTo>
                    <a:lnTo>
                      <a:pt x="30" y="244"/>
                    </a:lnTo>
                    <a:lnTo>
                      <a:pt x="30" y="246"/>
                    </a:lnTo>
                    <a:lnTo>
                      <a:pt x="30" y="246"/>
                    </a:lnTo>
                    <a:lnTo>
                      <a:pt x="31" y="246"/>
                    </a:lnTo>
                    <a:lnTo>
                      <a:pt x="31" y="247"/>
                    </a:lnTo>
                    <a:lnTo>
                      <a:pt x="33" y="250"/>
                    </a:lnTo>
                    <a:lnTo>
                      <a:pt x="34" y="253"/>
                    </a:lnTo>
                    <a:lnTo>
                      <a:pt x="34" y="254"/>
                    </a:lnTo>
                    <a:lnTo>
                      <a:pt x="34" y="256"/>
                    </a:lnTo>
                    <a:lnTo>
                      <a:pt x="34" y="257"/>
                    </a:lnTo>
                    <a:lnTo>
                      <a:pt x="34" y="259"/>
                    </a:lnTo>
                    <a:lnTo>
                      <a:pt x="34" y="259"/>
                    </a:lnTo>
                    <a:lnTo>
                      <a:pt x="34" y="260"/>
                    </a:lnTo>
                    <a:lnTo>
                      <a:pt x="34" y="262"/>
                    </a:lnTo>
                    <a:lnTo>
                      <a:pt x="33" y="267"/>
                    </a:lnTo>
                    <a:lnTo>
                      <a:pt x="31" y="273"/>
                    </a:lnTo>
                    <a:lnTo>
                      <a:pt x="31" y="277"/>
                    </a:lnTo>
                    <a:lnTo>
                      <a:pt x="31" y="280"/>
                    </a:lnTo>
                    <a:lnTo>
                      <a:pt x="33" y="283"/>
                    </a:lnTo>
                    <a:lnTo>
                      <a:pt x="33" y="285"/>
                    </a:lnTo>
                    <a:lnTo>
                      <a:pt x="34" y="286"/>
                    </a:lnTo>
                    <a:lnTo>
                      <a:pt x="34" y="286"/>
                    </a:lnTo>
                    <a:lnTo>
                      <a:pt x="36" y="286"/>
                    </a:lnTo>
                    <a:lnTo>
                      <a:pt x="37" y="286"/>
                    </a:lnTo>
                    <a:lnTo>
                      <a:pt x="37" y="286"/>
                    </a:lnTo>
                    <a:lnTo>
                      <a:pt x="38" y="286"/>
                    </a:lnTo>
                    <a:lnTo>
                      <a:pt x="38" y="286"/>
                    </a:lnTo>
                    <a:lnTo>
                      <a:pt x="40" y="286"/>
                    </a:lnTo>
                    <a:lnTo>
                      <a:pt x="40" y="287"/>
                    </a:lnTo>
                    <a:lnTo>
                      <a:pt x="40" y="287"/>
                    </a:lnTo>
                    <a:lnTo>
                      <a:pt x="43" y="289"/>
                    </a:lnTo>
                    <a:lnTo>
                      <a:pt x="46" y="290"/>
                    </a:lnTo>
                    <a:lnTo>
                      <a:pt x="50" y="292"/>
                    </a:lnTo>
                    <a:lnTo>
                      <a:pt x="53" y="292"/>
                    </a:lnTo>
                    <a:lnTo>
                      <a:pt x="53" y="293"/>
                    </a:lnTo>
                    <a:lnTo>
                      <a:pt x="53" y="293"/>
                    </a:lnTo>
                    <a:lnTo>
                      <a:pt x="53" y="295"/>
                    </a:lnTo>
                    <a:lnTo>
                      <a:pt x="53" y="295"/>
                    </a:lnTo>
                    <a:lnTo>
                      <a:pt x="53" y="295"/>
                    </a:lnTo>
                    <a:lnTo>
                      <a:pt x="51" y="296"/>
                    </a:lnTo>
                    <a:lnTo>
                      <a:pt x="51" y="296"/>
                    </a:lnTo>
                    <a:lnTo>
                      <a:pt x="51" y="296"/>
                    </a:lnTo>
                    <a:lnTo>
                      <a:pt x="51" y="298"/>
                    </a:lnTo>
                    <a:lnTo>
                      <a:pt x="51" y="300"/>
                    </a:lnTo>
                    <a:lnTo>
                      <a:pt x="51" y="302"/>
                    </a:lnTo>
                    <a:lnTo>
                      <a:pt x="54" y="300"/>
                    </a:lnTo>
                    <a:lnTo>
                      <a:pt x="56" y="300"/>
                    </a:lnTo>
                    <a:lnTo>
                      <a:pt x="56" y="299"/>
                    </a:lnTo>
                    <a:lnTo>
                      <a:pt x="57" y="298"/>
                    </a:lnTo>
                    <a:lnTo>
                      <a:pt x="57" y="298"/>
                    </a:lnTo>
                    <a:lnTo>
                      <a:pt x="58" y="296"/>
                    </a:lnTo>
                    <a:lnTo>
                      <a:pt x="58" y="296"/>
                    </a:lnTo>
                    <a:lnTo>
                      <a:pt x="58" y="298"/>
                    </a:lnTo>
                    <a:lnTo>
                      <a:pt x="60" y="298"/>
                    </a:lnTo>
                    <a:lnTo>
                      <a:pt x="61" y="300"/>
                    </a:lnTo>
                    <a:lnTo>
                      <a:pt x="63" y="302"/>
                    </a:lnTo>
                    <a:lnTo>
                      <a:pt x="61" y="305"/>
                    </a:lnTo>
                    <a:lnTo>
                      <a:pt x="60" y="306"/>
                    </a:lnTo>
                    <a:lnTo>
                      <a:pt x="61" y="306"/>
                    </a:lnTo>
                    <a:lnTo>
                      <a:pt x="63" y="306"/>
                    </a:lnTo>
                    <a:lnTo>
                      <a:pt x="66" y="305"/>
                    </a:lnTo>
                    <a:lnTo>
                      <a:pt x="67" y="303"/>
                    </a:lnTo>
                    <a:lnTo>
                      <a:pt x="69" y="303"/>
                    </a:lnTo>
                    <a:lnTo>
                      <a:pt x="80" y="302"/>
                    </a:lnTo>
                    <a:lnTo>
                      <a:pt x="83" y="302"/>
                    </a:lnTo>
                    <a:lnTo>
                      <a:pt x="87" y="300"/>
                    </a:lnTo>
                    <a:lnTo>
                      <a:pt x="92" y="298"/>
                    </a:lnTo>
                    <a:lnTo>
                      <a:pt x="94" y="298"/>
                    </a:lnTo>
                    <a:lnTo>
                      <a:pt x="100" y="295"/>
                    </a:lnTo>
                    <a:lnTo>
                      <a:pt x="100" y="295"/>
                    </a:lnTo>
                    <a:lnTo>
                      <a:pt x="107" y="293"/>
                    </a:lnTo>
                    <a:lnTo>
                      <a:pt x="107" y="293"/>
                    </a:lnTo>
                    <a:lnTo>
                      <a:pt x="110" y="293"/>
                    </a:lnTo>
                    <a:lnTo>
                      <a:pt x="110" y="293"/>
                    </a:lnTo>
                    <a:lnTo>
                      <a:pt x="112" y="293"/>
                    </a:lnTo>
                    <a:lnTo>
                      <a:pt x="112" y="292"/>
                    </a:lnTo>
                    <a:lnTo>
                      <a:pt x="113" y="292"/>
                    </a:lnTo>
                    <a:lnTo>
                      <a:pt x="113" y="292"/>
                    </a:lnTo>
                    <a:lnTo>
                      <a:pt x="113" y="290"/>
                    </a:lnTo>
                    <a:lnTo>
                      <a:pt x="113" y="289"/>
                    </a:lnTo>
                    <a:lnTo>
                      <a:pt x="112" y="289"/>
                    </a:lnTo>
                    <a:lnTo>
                      <a:pt x="115" y="289"/>
                    </a:lnTo>
                    <a:lnTo>
                      <a:pt x="116" y="290"/>
                    </a:lnTo>
                    <a:lnTo>
                      <a:pt x="117" y="290"/>
                    </a:lnTo>
                    <a:lnTo>
                      <a:pt x="120" y="290"/>
                    </a:lnTo>
                    <a:lnTo>
                      <a:pt x="120" y="289"/>
                    </a:lnTo>
                    <a:lnTo>
                      <a:pt x="122" y="286"/>
                    </a:lnTo>
                    <a:lnTo>
                      <a:pt x="123" y="285"/>
                    </a:lnTo>
                    <a:lnTo>
                      <a:pt x="122" y="287"/>
                    </a:lnTo>
                    <a:lnTo>
                      <a:pt x="122" y="289"/>
                    </a:lnTo>
                    <a:lnTo>
                      <a:pt x="122" y="290"/>
                    </a:lnTo>
                    <a:lnTo>
                      <a:pt x="125" y="290"/>
                    </a:lnTo>
                    <a:lnTo>
                      <a:pt x="126" y="289"/>
                    </a:lnTo>
                    <a:lnTo>
                      <a:pt x="127" y="289"/>
                    </a:lnTo>
                    <a:lnTo>
                      <a:pt x="129" y="289"/>
                    </a:lnTo>
                    <a:lnTo>
                      <a:pt x="130" y="289"/>
                    </a:lnTo>
                    <a:lnTo>
                      <a:pt x="132" y="287"/>
                    </a:lnTo>
                    <a:lnTo>
                      <a:pt x="133" y="287"/>
                    </a:lnTo>
                    <a:lnTo>
                      <a:pt x="135" y="287"/>
                    </a:lnTo>
                    <a:lnTo>
                      <a:pt x="136" y="287"/>
                    </a:lnTo>
                    <a:lnTo>
                      <a:pt x="137" y="287"/>
                    </a:lnTo>
                    <a:lnTo>
                      <a:pt x="139" y="287"/>
                    </a:lnTo>
                    <a:lnTo>
                      <a:pt x="140" y="287"/>
                    </a:lnTo>
                    <a:lnTo>
                      <a:pt x="142" y="287"/>
                    </a:lnTo>
                    <a:lnTo>
                      <a:pt x="143" y="287"/>
                    </a:lnTo>
                    <a:lnTo>
                      <a:pt x="145" y="286"/>
                    </a:lnTo>
                    <a:lnTo>
                      <a:pt x="146" y="286"/>
                    </a:lnTo>
                    <a:lnTo>
                      <a:pt x="150" y="280"/>
                    </a:lnTo>
                    <a:lnTo>
                      <a:pt x="155" y="276"/>
                    </a:lnTo>
                    <a:close/>
                    <a:moveTo>
                      <a:pt x="38" y="296"/>
                    </a:moveTo>
                    <a:lnTo>
                      <a:pt x="40" y="296"/>
                    </a:lnTo>
                    <a:lnTo>
                      <a:pt x="38" y="298"/>
                    </a:lnTo>
                    <a:lnTo>
                      <a:pt x="38" y="299"/>
                    </a:lnTo>
                    <a:lnTo>
                      <a:pt x="37" y="298"/>
                    </a:lnTo>
                    <a:lnTo>
                      <a:pt x="38" y="296"/>
                    </a:lnTo>
                    <a:close/>
                    <a:moveTo>
                      <a:pt x="27" y="213"/>
                    </a:moveTo>
                    <a:lnTo>
                      <a:pt x="27" y="210"/>
                    </a:lnTo>
                    <a:lnTo>
                      <a:pt x="27" y="210"/>
                    </a:lnTo>
                    <a:lnTo>
                      <a:pt x="27" y="210"/>
                    </a:lnTo>
                    <a:lnTo>
                      <a:pt x="28" y="210"/>
                    </a:lnTo>
                    <a:lnTo>
                      <a:pt x="28" y="210"/>
                    </a:lnTo>
                    <a:lnTo>
                      <a:pt x="28" y="211"/>
                    </a:lnTo>
                    <a:lnTo>
                      <a:pt x="30" y="211"/>
                    </a:lnTo>
                    <a:lnTo>
                      <a:pt x="33" y="211"/>
                    </a:lnTo>
                    <a:lnTo>
                      <a:pt x="33" y="213"/>
                    </a:lnTo>
                    <a:lnTo>
                      <a:pt x="30" y="213"/>
                    </a:lnTo>
                    <a:lnTo>
                      <a:pt x="28" y="213"/>
                    </a:lnTo>
                    <a:lnTo>
                      <a:pt x="27" y="213"/>
                    </a:lnTo>
                    <a:close/>
                    <a:moveTo>
                      <a:pt x="41" y="290"/>
                    </a:moveTo>
                    <a:lnTo>
                      <a:pt x="41" y="290"/>
                    </a:lnTo>
                    <a:lnTo>
                      <a:pt x="41" y="292"/>
                    </a:lnTo>
                    <a:lnTo>
                      <a:pt x="41" y="292"/>
                    </a:lnTo>
                    <a:lnTo>
                      <a:pt x="43" y="293"/>
                    </a:lnTo>
                    <a:lnTo>
                      <a:pt x="40" y="292"/>
                    </a:lnTo>
                    <a:lnTo>
                      <a:pt x="40" y="292"/>
                    </a:lnTo>
                    <a:lnTo>
                      <a:pt x="38" y="290"/>
                    </a:lnTo>
                    <a:lnTo>
                      <a:pt x="40" y="289"/>
                    </a:lnTo>
                    <a:lnTo>
                      <a:pt x="40" y="289"/>
                    </a:lnTo>
                    <a:lnTo>
                      <a:pt x="41" y="290"/>
                    </a:lnTo>
                    <a:lnTo>
                      <a:pt x="41" y="290"/>
                    </a:lnTo>
                    <a:close/>
                    <a:moveTo>
                      <a:pt x="48" y="295"/>
                    </a:moveTo>
                    <a:lnTo>
                      <a:pt x="48" y="295"/>
                    </a:lnTo>
                    <a:lnTo>
                      <a:pt x="48" y="296"/>
                    </a:lnTo>
                    <a:lnTo>
                      <a:pt x="48" y="298"/>
                    </a:lnTo>
                    <a:lnTo>
                      <a:pt x="47" y="298"/>
                    </a:lnTo>
                    <a:lnTo>
                      <a:pt x="46" y="296"/>
                    </a:lnTo>
                    <a:lnTo>
                      <a:pt x="46" y="295"/>
                    </a:lnTo>
                    <a:lnTo>
                      <a:pt x="44" y="295"/>
                    </a:lnTo>
                    <a:lnTo>
                      <a:pt x="44" y="292"/>
                    </a:lnTo>
                    <a:lnTo>
                      <a:pt x="47" y="292"/>
                    </a:lnTo>
                    <a:lnTo>
                      <a:pt x="48" y="292"/>
                    </a:lnTo>
                    <a:lnTo>
                      <a:pt x="50" y="293"/>
                    </a:lnTo>
                    <a:lnTo>
                      <a:pt x="48" y="295"/>
                    </a:lnTo>
                    <a:close/>
                    <a:moveTo>
                      <a:pt x="36" y="298"/>
                    </a:moveTo>
                    <a:lnTo>
                      <a:pt x="34" y="299"/>
                    </a:lnTo>
                    <a:lnTo>
                      <a:pt x="34" y="299"/>
                    </a:lnTo>
                    <a:lnTo>
                      <a:pt x="34" y="298"/>
                    </a:lnTo>
                    <a:lnTo>
                      <a:pt x="36" y="298"/>
                    </a:lnTo>
                    <a:close/>
                    <a:moveTo>
                      <a:pt x="30" y="287"/>
                    </a:moveTo>
                    <a:lnTo>
                      <a:pt x="28" y="286"/>
                    </a:lnTo>
                    <a:lnTo>
                      <a:pt x="30" y="285"/>
                    </a:lnTo>
                    <a:lnTo>
                      <a:pt x="30" y="285"/>
                    </a:lnTo>
                    <a:lnTo>
                      <a:pt x="31" y="286"/>
                    </a:lnTo>
                    <a:lnTo>
                      <a:pt x="31" y="286"/>
                    </a:lnTo>
                    <a:lnTo>
                      <a:pt x="33" y="287"/>
                    </a:lnTo>
                    <a:lnTo>
                      <a:pt x="31" y="289"/>
                    </a:lnTo>
                    <a:lnTo>
                      <a:pt x="30" y="287"/>
                    </a:lnTo>
                    <a:close/>
                    <a:moveTo>
                      <a:pt x="1" y="298"/>
                    </a:moveTo>
                    <a:lnTo>
                      <a:pt x="0" y="298"/>
                    </a:lnTo>
                    <a:lnTo>
                      <a:pt x="0" y="296"/>
                    </a:lnTo>
                    <a:lnTo>
                      <a:pt x="1" y="295"/>
                    </a:lnTo>
                    <a:lnTo>
                      <a:pt x="1" y="298"/>
                    </a:lnTo>
                    <a:close/>
                    <a:moveTo>
                      <a:pt x="4" y="296"/>
                    </a:moveTo>
                    <a:lnTo>
                      <a:pt x="5" y="295"/>
                    </a:lnTo>
                    <a:lnTo>
                      <a:pt x="4" y="292"/>
                    </a:lnTo>
                    <a:lnTo>
                      <a:pt x="5" y="290"/>
                    </a:lnTo>
                    <a:lnTo>
                      <a:pt x="5" y="290"/>
                    </a:lnTo>
                    <a:lnTo>
                      <a:pt x="7" y="292"/>
                    </a:lnTo>
                    <a:lnTo>
                      <a:pt x="8" y="292"/>
                    </a:lnTo>
                    <a:lnTo>
                      <a:pt x="8" y="292"/>
                    </a:lnTo>
                    <a:lnTo>
                      <a:pt x="10" y="293"/>
                    </a:lnTo>
                    <a:lnTo>
                      <a:pt x="11" y="295"/>
                    </a:lnTo>
                    <a:lnTo>
                      <a:pt x="11" y="296"/>
                    </a:lnTo>
                    <a:lnTo>
                      <a:pt x="10" y="296"/>
                    </a:lnTo>
                    <a:lnTo>
                      <a:pt x="10" y="296"/>
                    </a:lnTo>
                    <a:lnTo>
                      <a:pt x="8" y="296"/>
                    </a:lnTo>
                    <a:lnTo>
                      <a:pt x="8" y="298"/>
                    </a:lnTo>
                    <a:lnTo>
                      <a:pt x="8" y="299"/>
                    </a:lnTo>
                    <a:lnTo>
                      <a:pt x="7" y="299"/>
                    </a:lnTo>
                    <a:lnTo>
                      <a:pt x="4" y="299"/>
                    </a:lnTo>
                    <a:lnTo>
                      <a:pt x="2" y="298"/>
                    </a:lnTo>
                    <a:lnTo>
                      <a:pt x="1" y="295"/>
                    </a:lnTo>
                    <a:lnTo>
                      <a:pt x="4" y="295"/>
                    </a:lnTo>
                    <a:lnTo>
                      <a:pt x="4" y="296"/>
                    </a:lnTo>
                    <a:close/>
                    <a:moveTo>
                      <a:pt x="15" y="302"/>
                    </a:moveTo>
                    <a:lnTo>
                      <a:pt x="14" y="300"/>
                    </a:lnTo>
                    <a:lnTo>
                      <a:pt x="15" y="300"/>
                    </a:lnTo>
                    <a:lnTo>
                      <a:pt x="15" y="300"/>
                    </a:lnTo>
                    <a:lnTo>
                      <a:pt x="17" y="300"/>
                    </a:lnTo>
                    <a:lnTo>
                      <a:pt x="18" y="300"/>
                    </a:lnTo>
                    <a:lnTo>
                      <a:pt x="17" y="302"/>
                    </a:lnTo>
                    <a:lnTo>
                      <a:pt x="17" y="302"/>
                    </a:lnTo>
                    <a:lnTo>
                      <a:pt x="15" y="30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82" name="Freeform 88">
                <a:extLst>
                  <a:ext uri="{FF2B5EF4-FFF2-40B4-BE49-F238E27FC236}">
                    <a16:creationId xmlns:a16="http://schemas.microsoft.com/office/drawing/2014/main" id="{0B20D3FD-9378-D58B-F1DC-3AEF1EC7B1B1}"/>
                  </a:ext>
                </a:extLst>
              </p:cNvPr>
              <p:cNvSpPr>
                <a:spLocks noEditPoints="1"/>
              </p:cNvSpPr>
              <p:nvPr/>
            </p:nvSpPr>
            <p:spPr bwMode="auto">
              <a:xfrm>
                <a:off x="3691" y="1546"/>
                <a:ext cx="123" cy="72"/>
              </a:xfrm>
              <a:custGeom>
                <a:avLst/>
                <a:gdLst>
                  <a:gd name="T0" fmla="*/ 79 w 123"/>
                  <a:gd name="T1" fmla="*/ 49 h 72"/>
                  <a:gd name="T2" fmla="*/ 25 w 123"/>
                  <a:gd name="T3" fmla="*/ 68 h 72"/>
                  <a:gd name="T4" fmla="*/ 25 w 123"/>
                  <a:gd name="T5" fmla="*/ 63 h 72"/>
                  <a:gd name="T6" fmla="*/ 25 w 123"/>
                  <a:gd name="T7" fmla="*/ 59 h 72"/>
                  <a:gd name="T8" fmla="*/ 25 w 123"/>
                  <a:gd name="T9" fmla="*/ 53 h 72"/>
                  <a:gd name="T10" fmla="*/ 33 w 123"/>
                  <a:gd name="T11" fmla="*/ 46 h 72"/>
                  <a:gd name="T12" fmla="*/ 35 w 123"/>
                  <a:gd name="T13" fmla="*/ 43 h 72"/>
                  <a:gd name="T14" fmla="*/ 38 w 123"/>
                  <a:gd name="T15" fmla="*/ 36 h 72"/>
                  <a:gd name="T16" fmla="*/ 41 w 123"/>
                  <a:gd name="T17" fmla="*/ 36 h 72"/>
                  <a:gd name="T18" fmla="*/ 48 w 123"/>
                  <a:gd name="T19" fmla="*/ 33 h 72"/>
                  <a:gd name="T20" fmla="*/ 41 w 123"/>
                  <a:gd name="T21" fmla="*/ 29 h 72"/>
                  <a:gd name="T22" fmla="*/ 40 w 123"/>
                  <a:gd name="T23" fmla="*/ 16 h 72"/>
                  <a:gd name="T24" fmla="*/ 41 w 123"/>
                  <a:gd name="T25" fmla="*/ 7 h 72"/>
                  <a:gd name="T26" fmla="*/ 41 w 123"/>
                  <a:gd name="T27" fmla="*/ 0 h 72"/>
                  <a:gd name="T28" fmla="*/ 25 w 123"/>
                  <a:gd name="T29" fmla="*/ 12 h 72"/>
                  <a:gd name="T30" fmla="*/ 8 w 123"/>
                  <a:gd name="T31" fmla="*/ 16 h 72"/>
                  <a:gd name="T32" fmla="*/ 2 w 123"/>
                  <a:gd name="T33" fmla="*/ 23 h 72"/>
                  <a:gd name="T34" fmla="*/ 10 w 123"/>
                  <a:gd name="T35" fmla="*/ 25 h 72"/>
                  <a:gd name="T36" fmla="*/ 17 w 123"/>
                  <a:gd name="T37" fmla="*/ 19 h 72"/>
                  <a:gd name="T38" fmla="*/ 15 w 123"/>
                  <a:gd name="T39" fmla="*/ 23 h 72"/>
                  <a:gd name="T40" fmla="*/ 7 w 123"/>
                  <a:gd name="T41" fmla="*/ 29 h 72"/>
                  <a:gd name="T42" fmla="*/ 0 w 123"/>
                  <a:gd name="T43" fmla="*/ 29 h 72"/>
                  <a:gd name="T44" fmla="*/ 1 w 123"/>
                  <a:gd name="T45" fmla="*/ 43 h 72"/>
                  <a:gd name="T46" fmla="*/ 5 w 123"/>
                  <a:gd name="T47" fmla="*/ 53 h 72"/>
                  <a:gd name="T48" fmla="*/ 8 w 123"/>
                  <a:gd name="T49" fmla="*/ 59 h 72"/>
                  <a:gd name="T50" fmla="*/ 8 w 123"/>
                  <a:gd name="T51" fmla="*/ 65 h 72"/>
                  <a:gd name="T52" fmla="*/ 46 w 123"/>
                  <a:gd name="T53" fmla="*/ 69 h 72"/>
                  <a:gd name="T54" fmla="*/ 48 w 123"/>
                  <a:gd name="T55" fmla="*/ 61 h 72"/>
                  <a:gd name="T56" fmla="*/ 51 w 123"/>
                  <a:gd name="T57" fmla="*/ 12 h 72"/>
                  <a:gd name="T58" fmla="*/ 50 w 123"/>
                  <a:gd name="T59" fmla="*/ 13 h 72"/>
                  <a:gd name="T60" fmla="*/ 50 w 123"/>
                  <a:gd name="T61" fmla="*/ 12 h 72"/>
                  <a:gd name="T62" fmla="*/ 40 w 123"/>
                  <a:gd name="T63" fmla="*/ 68 h 72"/>
                  <a:gd name="T64" fmla="*/ 33 w 123"/>
                  <a:gd name="T65" fmla="*/ 63 h 72"/>
                  <a:gd name="T66" fmla="*/ 31 w 123"/>
                  <a:gd name="T67" fmla="*/ 66 h 72"/>
                  <a:gd name="T68" fmla="*/ 28 w 123"/>
                  <a:gd name="T69" fmla="*/ 63 h 72"/>
                  <a:gd name="T70" fmla="*/ 33 w 123"/>
                  <a:gd name="T71" fmla="*/ 63 h 72"/>
                  <a:gd name="T72" fmla="*/ 43 w 123"/>
                  <a:gd name="T73" fmla="*/ 42 h 72"/>
                  <a:gd name="T74" fmla="*/ 43 w 123"/>
                  <a:gd name="T75" fmla="*/ 46 h 72"/>
                  <a:gd name="T76" fmla="*/ 33 w 123"/>
                  <a:gd name="T77" fmla="*/ 61 h 72"/>
                  <a:gd name="T78" fmla="*/ 33 w 123"/>
                  <a:gd name="T79" fmla="*/ 50 h 72"/>
                  <a:gd name="T80" fmla="*/ 46 w 123"/>
                  <a:gd name="T81" fmla="*/ 59 h 72"/>
                  <a:gd name="T82" fmla="*/ 66 w 123"/>
                  <a:gd name="T83" fmla="*/ 45 h 72"/>
                  <a:gd name="T84" fmla="*/ 71 w 123"/>
                  <a:gd name="T85" fmla="*/ 39 h 72"/>
                  <a:gd name="T86" fmla="*/ 77 w 123"/>
                  <a:gd name="T87" fmla="*/ 48 h 72"/>
                  <a:gd name="T88" fmla="*/ 71 w 123"/>
                  <a:gd name="T89" fmla="*/ 52 h 72"/>
                  <a:gd name="T90" fmla="*/ 74 w 123"/>
                  <a:gd name="T91" fmla="*/ 56 h 72"/>
                  <a:gd name="T92" fmla="*/ 68 w 123"/>
                  <a:gd name="T93" fmla="*/ 61 h 72"/>
                  <a:gd name="T94" fmla="*/ 68 w 123"/>
                  <a:gd name="T95" fmla="*/ 65 h 72"/>
                  <a:gd name="T96" fmla="*/ 63 w 123"/>
                  <a:gd name="T97" fmla="*/ 65 h 72"/>
                  <a:gd name="T98" fmla="*/ 60 w 123"/>
                  <a:gd name="T99" fmla="*/ 59 h 72"/>
                  <a:gd name="T100" fmla="*/ 54 w 123"/>
                  <a:gd name="T101" fmla="*/ 58 h 72"/>
                  <a:gd name="T102" fmla="*/ 51 w 123"/>
                  <a:gd name="T103" fmla="*/ 50 h 72"/>
                  <a:gd name="T104" fmla="*/ 51 w 123"/>
                  <a:gd name="T105" fmla="*/ 48 h 72"/>
                  <a:gd name="T106" fmla="*/ 57 w 123"/>
                  <a:gd name="T107" fmla="*/ 45 h 72"/>
                  <a:gd name="T108" fmla="*/ 61 w 123"/>
                  <a:gd name="T109" fmla="*/ 45 h 72"/>
                  <a:gd name="T110" fmla="*/ 58 w 123"/>
                  <a:gd name="T111" fmla="*/ 72 h 72"/>
                  <a:gd name="T112" fmla="*/ 51 w 123"/>
                  <a:gd name="T113" fmla="*/ 65 h 72"/>
                  <a:gd name="T114" fmla="*/ 61 w 123"/>
                  <a:gd name="T115" fmla="*/ 68 h 72"/>
                  <a:gd name="T116" fmla="*/ 60 w 123"/>
                  <a:gd name="T117" fmla="*/ 72 h 72"/>
                  <a:gd name="T118" fmla="*/ 71 w 123"/>
                  <a:gd name="T119" fmla="*/ 63 h 72"/>
                  <a:gd name="T120" fmla="*/ 76 w 123"/>
                  <a:gd name="T121" fmla="*/ 63 h 72"/>
                  <a:gd name="T122" fmla="*/ 122 w 123"/>
                  <a:gd name="T123" fmla="*/ 59 h 72"/>
                  <a:gd name="T124" fmla="*/ 116 w 123"/>
                  <a:gd name="T125"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 h="72">
                    <a:moveTo>
                      <a:pt x="79" y="50"/>
                    </a:moveTo>
                    <a:lnTo>
                      <a:pt x="77" y="50"/>
                    </a:lnTo>
                    <a:lnTo>
                      <a:pt x="77" y="49"/>
                    </a:lnTo>
                    <a:lnTo>
                      <a:pt x="79" y="49"/>
                    </a:lnTo>
                    <a:lnTo>
                      <a:pt x="79" y="50"/>
                    </a:lnTo>
                    <a:close/>
                    <a:moveTo>
                      <a:pt x="18" y="68"/>
                    </a:moveTo>
                    <a:lnTo>
                      <a:pt x="21" y="68"/>
                    </a:lnTo>
                    <a:lnTo>
                      <a:pt x="25" y="68"/>
                    </a:lnTo>
                    <a:lnTo>
                      <a:pt x="28" y="68"/>
                    </a:lnTo>
                    <a:lnTo>
                      <a:pt x="27" y="66"/>
                    </a:lnTo>
                    <a:lnTo>
                      <a:pt x="27" y="63"/>
                    </a:lnTo>
                    <a:lnTo>
                      <a:pt x="25" y="63"/>
                    </a:lnTo>
                    <a:lnTo>
                      <a:pt x="23" y="63"/>
                    </a:lnTo>
                    <a:lnTo>
                      <a:pt x="24" y="61"/>
                    </a:lnTo>
                    <a:lnTo>
                      <a:pt x="25" y="61"/>
                    </a:lnTo>
                    <a:lnTo>
                      <a:pt x="25" y="59"/>
                    </a:lnTo>
                    <a:lnTo>
                      <a:pt x="27" y="56"/>
                    </a:lnTo>
                    <a:lnTo>
                      <a:pt x="27" y="55"/>
                    </a:lnTo>
                    <a:lnTo>
                      <a:pt x="25" y="53"/>
                    </a:lnTo>
                    <a:lnTo>
                      <a:pt x="25" y="53"/>
                    </a:lnTo>
                    <a:lnTo>
                      <a:pt x="27" y="50"/>
                    </a:lnTo>
                    <a:lnTo>
                      <a:pt x="28" y="49"/>
                    </a:lnTo>
                    <a:lnTo>
                      <a:pt x="31" y="48"/>
                    </a:lnTo>
                    <a:lnTo>
                      <a:pt x="33" y="46"/>
                    </a:lnTo>
                    <a:lnTo>
                      <a:pt x="31" y="45"/>
                    </a:lnTo>
                    <a:lnTo>
                      <a:pt x="33" y="43"/>
                    </a:lnTo>
                    <a:lnTo>
                      <a:pt x="34" y="43"/>
                    </a:lnTo>
                    <a:lnTo>
                      <a:pt x="35" y="43"/>
                    </a:lnTo>
                    <a:lnTo>
                      <a:pt x="37" y="40"/>
                    </a:lnTo>
                    <a:lnTo>
                      <a:pt x="37" y="38"/>
                    </a:lnTo>
                    <a:lnTo>
                      <a:pt x="38" y="38"/>
                    </a:lnTo>
                    <a:lnTo>
                      <a:pt x="38" y="36"/>
                    </a:lnTo>
                    <a:lnTo>
                      <a:pt x="40" y="36"/>
                    </a:lnTo>
                    <a:lnTo>
                      <a:pt x="40" y="36"/>
                    </a:lnTo>
                    <a:lnTo>
                      <a:pt x="40" y="36"/>
                    </a:lnTo>
                    <a:lnTo>
                      <a:pt x="41" y="36"/>
                    </a:lnTo>
                    <a:lnTo>
                      <a:pt x="43" y="36"/>
                    </a:lnTo>
                    <a:lnTo>
                      <a:pt x="46" y="36"/>
                    </a:lnTo>
                    <a:lnTo>
                      <a:pt x="47" y="35"/>
                    </a:lnTo>
                    <a:lnTo>
                      <a:pt x="48" y="33"/>
                    </a:lnTo>
                    <a:lnTo>
                      <a:pt x="48" y="30"/>
                    </a:lnTo>
                    <a:lnTo>
                      <a:pt x="47" y="30"/>
                    </a:lnTo>
                    <a:lnTo>
                      <a:pt x="44" y="30"/>
                    </a:lnTo>
                    <a:lnTo>
                      <a:pt x="41" y="29"/>
                    </a:lnTo>
                    <a:lnTo>
                      <a:pt x="38" y="27"/>
                    </a:lnTo>
                    <a:lnTo>
                      <a:pt x="37" y="25"/>
                    </a:lnTo>
                    <a:lnTo>
                      <a:pt x="38" y="20"/>
                    </a:lnTo>
                    <a:lnTo>
                      <a:pt x="40" y="16"/>
                    </a:lnTo>
                    <a:lnTo>
                      <a:pt x="41" y="15"/>
                    </a:lnTo>
                    <a:lnTo>
                      <a:pt x="41" y="12"/>
                    </a:lnTo>
                    <a:lnTo>
                      <a:pt x="41" y="10"/>
                    </a:lnTo>
                    <a:lnTo>
                      <a:pt x="41" y="7"/>
                    </a:lnTo>
                    <a:lnTo>
                      <a:pt x="41" y="4"/>
                    </a:lnTo>
                    <a:lnTo>
                      <a:pt x="41" y="2"/>
                    </a:lnTo>
                    <a:lnTo>
                      <a:pt x="43" y="0"/>
                    </a:lnTo>
                    <a:lnTo>
                      <a:pt x="41" y="0"/>
                    </a:lnTo>
                    <a:lnTo>
                      <a:pt x="34" y="4"/>
                    </a:lnTo>
                    <a:lnTo>
                      <a:pt x="31" y="6"/>
                    </a:lnTo>
                    <a:lnTo>
                      <a:pt x="30" y="7"/>
                    </a:lnTo>
                    <a:lnTo>
                      <a:pt x="25" y="12"/>
                    </a:lnTo>
                    <a:lnTo>
                      <a:pt x="23" y="15"/>
                    </a:lnTo>
                    <a:lnTo>
                      <a:pt x="18" y="16"/>
                    </a:lnTo>
                    <a:lnTo>
                      <a:pt x="12" y="16"/>
                    </a:lnTo>
                    <a:lnTo>
                      <a:pt x="8" y="16"/>
                    </a:lnTo>
                    <a:lnTo>
                      <a:pt x="7" y="17"/>
                    </a:lnTo>
                    <a:lnTo>
                      <a:pt x="4" y="19"/>
                    </a:lnTo>
                    <a:lnTo>
                      <a:pt x="2" y="22"/>
                    </a:lnTo>
                    <a:lnTo>
                      <a:pt x="2" y="23"/>
                    </a:lnTo>
                    <a:lnTo>
                      <a:pt x="2" y="25"/>
                    </a:lnTo>
                    <a:lnTo>
                      <a:pt x="5" y="26"/>
                    </a:lnTo>
                    <a:lnTo>
                      <a:pt x="7" y="26"/>
                    </a:lnTo>
                    <a:lnTo>
                      <a:pt x="10" y="25"/>
                    </a:lnTo>
                    <a:lnTo>
                      <a:pt x="11" y="23"/>
                    </a:lnTo>
                    <a:lnTo>
                      <a:pt x="12" y="22"/>
                    </a:lnTo>
                    <a:lnTo>
                      <a:pt x="14" y="19"/>
                    </a:lnTo>
                    <a:lnTo>
                      <a:pt x="17" y="19"/>
                    </a:lnTo>
                    <a:lnTo>
                      <a:pt x="18" y="19"/>
                    </a:lnTo>
                    <a:lnTo>
                      <a:pt x="20" y="20"/>
                    </a:lnTo>
                    <a:lnTo>
                      <a:pt x="18" y="26"/>
                    </a:lnTo>
                    <a:lnTo>
                      <a:pt x="15" y="23"/>
                    </a:lnTo>
                    <a:lnTo>
                      <a:pt x="12" y="26"/>
                    </a:lnTo>
                    <a:lnTo>
                      <a:pt x="10" y="27"/>
                    </a:lnTo>
                    <a:lnTo>
                      <a:pt x="8" y="30"/>
                    </a:lnTo>
                    <a:lnTo>
                      <a:pt x="7" y="29"/>
                    </a:lnTo>
                    <a:lnTo>
                      <a:pt x="4" y="27"/>
                    </a:lnTo>
                    <a:lnTo>
                      <a:pt x="2" y="27"/>
                    </a:lnTo>
                    <a:lnTo>
                      <a:pt x="1" y="29"/>
                    </a:lnTo>
                    <a:lnTo>
                      <a:pt x="0" y="29"/>
                    </a:lnTo>
                    <a:lnTo>
                      <a:pt x="0" y="33"/>
                    </a:lnTo>
                    <a:lnTo>
                      <a:pt x="0" y="36"/>
                    </a:lnTo>
                    <a:lnTo>
                      <a:pt x="1" y="42"/>
                    </a:lnTo>
                    <a:lnTo>
                      <a:pt x="1" y="43"/>
                    </a:lnTo>
                    <a:lnTo>
                      <a:pt x="0" y="48"/>
                    </a:lnTo>
                    <a:lnTo>
                      <a:pt x="0" y="50"/>
                    </a:lnTo>
                    <a:lnTo>
                      <a:pt x="1" y="52"/>
                    </a:lnTo>
                    <a:lnTo>
                      <a:pt x="5" y="53"/>
                    </a:lnTo>
                    <a:lnTo>
                      <a:pt x="8" y="53"/>
                    </a:lnTo>
                    <a:lnTo>
                      <a:pt x="8" y="56"/>
                    </a:lnTo>
                    <a:lnTo>
                      <a:pt x="10" y="58"/>
                    </a:lnTo>
                    <a:lnTo>
                      <a:pt x="8" y="59"/>
                    </a:lnTo>
                    <a:lnTo>
                      <a:pt x="7" y="61"/>
                    </a:lnTo>
                    <a:lnTo>
                      <a:pt x="8" y="62"/>
                    </a:lnTo>
                    <a:lnTo>
                      <a:pt x="8" y="63"/>
                    </a:lnTo>
                    <a:lnTo>
                      <a:pt x="8" y="65"/>
                    </a:lnTo>
                    <a:lnTo>
                      <a:pt x="10" y="66"/>
                    </a:lnTo>
                    <a:lnTo>
                      <a:pt x="11" y="66"/>
                    </a:lnTo>
                    <a:lnTo>
                      <a:pt x="18" y="68"/>
                    </a:lnTo>
                    <a:close/>
                    <a:moveTo>
                      <a:pt x="46" y="69"/>
                    </a:moveTo>
                    <a:lnTo>
                      <a:pt x="44" y="68"/>
                    </a:lnTo>
                    <a:lnTo>
                      <a:pt x="44" y="66"/>
                    </a:lnTo>
                    <a:lnTo>
                      <a:pt x="46" y="63"/>
                    </a:lnTo>
                    <a:lnTo>
                      <a:pt x="48" y="61"/>
                    </a:lnTo>
                    <a:lnTo>
                      <a:pt x="48" y="63"/>
                    </a:lnTo>
                    <a:lnTo>
                      <a:pt x="47" y="66"/>
                    </a:lnTo>
                    <a:lnTo>
                      <a:pt x="46" y="69"/>
                    </a:lnTo>
                    <a:close/>
                    <a:moveTo>
                      <a:pt x="51" y="12"/>
                    </a:moveTo>
                    <a:lnTo>
                      <a:pt x="53" y="12"/>
                    </a:lnTo>
                    <a:lnTo>
                      <a:pt x="51" y="12"/>
                    </a:lnTo>
                    <a:lnTo>
                      <a:pt x="51" y="13"/>
                    </a:lnTo>
                    <a:lnTo>
                      <a:pt x="50" y="13"/>
                    </a:lnTo>
                    <a:lnTo>
                      <a:pt x="48" y="13"/>
                    </a:lnTo>
                    <a:lnTo>
                      <a:pt x="48" y="12"/>
                    </a:lnTo>
                    <a:lnTo>
                      <a:pt x="50" y="12"/>
                    </a:lnTo>
                    <a:lnTo>
                      <a:pt x="50" y="12"/>
                    </a:lnTo>
                    <a:lnTo>
                      <a:pt x="51" y="12"/>
                    </a:lnTo>
                    <a:close/>
                    <a:moveTo>
                      <a:pt x="35" y="65"/>
                    </a:moveTo>
                    <a:lnTo>
                      <a:pt x="41" y="66"/>
                    </a:lnTo>
                    <a:lnTo>
                      <a:pt x="40" y="68"/>
                    </a:lnTo>
                    <a:lnTo>
                      <a:pt x="38" y="66"/>
                    </a:lnTo>
                    <a:lnTo>
                      <a:pt x="37" y="66"/>
                    </a:lnTo>
                    <a:lnTo>
                      <a:pt x="35" y="65"/>
                    </a:lnTo>
                    <a:close/>
                    <a:moveTo>
                      <a:pt x="33" y="63"/>
                    </a:moveTo>
                    <a:lnTo>
                      <a:pt x="33" y="65"/>
                    </a:lnTo>
                    <a:lnTo>
                      <a:pt x="34" y="66"/>
                    </a:lnTo>
                    <a:lnTo>
                      <a:pt x="33" y="66"/>
                    </a:lnTo>
                    <a:lnTo>
                      <a:pt x="31" y="66"/>
                    </a:lnTo>
                    <a:lnTo>
                      <a:pt x="30" y="66"/>
                    </a:lnTo>
                    <a:lnTo>
                      <a:pt x="28" y="66"/>
                    </a:lnTo>
                    <a:lnTo>
                      <a:pt x="28" y="65"/>
                    </a:lnTo>
                    <a:lnTo>
                      <a:pt x="28" y="63"/>
                    </a:lnTo>
                    <a:lnTo>
                      <a:pt x="28" y="62"/>
                    </a:lnTo>
                    <a:lnTo>
                      <a:pt x="30" y="62"/>
                    </a:lnTo>
                    <a:lnTo>
                      <a:pt x="31" y="63"/>
                    </a:lnTo>
                    <a:lnTo>
                      <a:pt x="33" y="63"/>
                    </a:lnTo>
                    <a:close/>
                    <a:moveTo>
                      <a:pt x="43" y="46"/>
                    </a:moveTo>
                    <a:lnTo>
                      <a:pt x="43" y="46"/>
                    </a:lnTo>
                    <a:lnTo>
                      <a:pt x="41" y="43"/>
                    </a:lnTo>
                    <a:lnTo>
                      <a:pt x="43" y="42"/>
                    </a:lnTo>
                    <a:lnTo>
                      <a:pt x="43" y="42"/>
                    </a:lnTo>
                    <a:lnTo>
                      <a:pt x="44" y="43"/>
                    </a:lnTo>
                    <a:lnTo>
                      <a:pt x="44" y="43"/>
                    </a:lnTo>
                    <a:lnTo>
                      <a:pt x="43" y="46"/>
                    </a:lnTo>
                    <a:close/>
                    <a:moveTo>
                      <a:pt x="43" y="62"/>
                    </a:moveTo>
                    <a:lnTo>
                      <a:pt x="38" y="62"/>
                    </a:lnTo>
                    <a:lnTo>
                      <a:pt x="35" y="62"/>
                    </a:lnTo>
                    <a:lnTo>
                      <a:pt x="33" y="61"/>
                    </a:lnTo>
                    <a:lnTo>
                      <a:pt x="31" y="58"/>
                    </a:lnTo>
                    <a:lnTo>
                      <a:pt x="30" y="55"/>
                    </a:lnTo>
                    <a:lnTo>
                      <a:pt x="31" y="52"/>
                    </a:lnTo>
                    <a:lnTo>
                      <a:pt x="33" y="50"/>
                    </a:lnTo>
                    <a:lnTo>
                      <a:pt x="43" y="50"/>
                    </a:lnTo>
                    <a:lnTo>
                      <a:pt x="44" y="52"/>
                    </a:lnTo>
                    <a:lnTo>
                      <a:pt x="47" y="56"/>
                    </a:lnTo>
                    <a:lnTo>
                      <a:pt x="46" y="59"/>
                    </a:lnTo>
                    <a:lnTo>
                      <a:pt x="44" y="62"/>
                    </a:lnTo>
                    <a:lnTo>
                      <a:pt x="43" y="62"/>
                    </a:lnTo>
                    <a:close/>
                    <a:moveTo>
                      <a:pt x="66" y="48"/>
                    </a:moveTo>
                    <a:lnTo>
                      <a:pt x="66" y="45"/>
                    </a:lnTo>
                    <a:lnTo>
                      <a:pt x="66" y="43"/>
                    </a:lnTo>
                    <a:lnTo>
                      <a:pt x="66" y="42"/>
                    </a:lnTo>
                    <a:lnTo>
                      <a:pt x="68" y="40"/>
                    </a:lnTo>
                    <a:lnTo>
                      <a:pt x="71" y="39"/>
                    </a:lnTo>
                    <a:lnTo>
                      <a:pt x="76" y="39"/>
                    </a:lnTo>
                    <a:lnTo>
                      <a:pt x="79" y="40"/>
                    </a:lnTo>
                    <a:lnTo>
                      <a:pt x="77" y="43"/>
                    </a:lnTo>
                    <a:lnTo>
                      <a:pt x="77" y="48"/>
                    </a:lnTo>
                    <a:lnTo>
                      <a:pt x="76" y="49"/>
                    </a:lnTo>
                    <a:lnTo>
                      <a:pt x="74" y="50"/>
                    </a:lnTo>
                    <a:lnTo>
                      <a:pt x="73" y="50"/>
                    </a:lnTo>
                    <a:lnTo>
                      <a:pt x="71" y="52"/>
                    </a:lnTo>
                    <a:lnTo>
                      <a:pt x="71" y="53"/>
                    </a:lnTo>
                    <a:lnTo>
                      <a:pt x="73" y="53"/>
                    </a:lnTo>
                    <a:lnTo>
                      <a:pt x="73" y="55"/>
                    </a:lnTo>
                    <a:lnTo>
                      <a:pt x="74" y="56"/>
                    </a:lnTo>
                    <a:lnTo>
                      <a:pt x="74" y="58"/>
                    </a:lnTo>
                    <a:lnTo>
                      <a:pt x="74" y="58"/>
                    </a:lnTo>
                    <a:lnTo>
                      <a:pt x="70" y="59"/>
                    </a:lnTo>
                    <a:lnTo>
                      <a:pt x="68" y="61"/>
                    </a:lnTo>
                    <a:lnTo>
                      <a:pt x="68" y="61"/>
                    </a:lnTo>
                    <a:lnTo>
                      <a:pt x="68" y="62"/>
                    </a:lnTo>
                    <a:lnTo>
                      <a:pt x="68" y="65"/>
                    </a:lnTo>
                    <a:lnTo>
                      <a:pt x="68" y="65"/>
                    </a:lnTo>
                    <a:lnTo>
                      <a:pt x="67" y="68"/>
                    </a:lnTo>
                    <a:lnTo>
                      <a:pt x="66" y="69"/>
                    </a:lnTo>
                    <a:lnTo>
                      <a:pt x="64" y="68"/>
                    </a:lnTo>
                    <a:lnTo>
                      <a:pt x="63" y="65"/>
                    </a:lnTo>
                    <a:lnTo>
                      <a:pt x="63" y="62"/>
                    </a:lnTo>
                    <a:lnTo>
                      <a:pt x="61" y="61"/>
                    </a:lnTo>
                    <a:lnTo>
                      <a:pt x="61" y="59"/>
                    </a:lnTo>
                    <a:lnTo>
                      <a:pt x="60" y="59"/>
                    </a:lnTo>
                    <a:lnTo>
                      <a:pt x="58" y="59"/>
                    </a:lnTo>
                    <a:lnTo>
                      <a:pt x="57" y="59"/>
                    </a:lnTo>
                    <a:lnTo>
                      <a:pt x="56" y="59"/>
                    </a:lnTo>
                    <a:lnTo>
                      <a:pt x="54" y="58"/>
                    </a:lnTo>
                    <a:lnTo>
                      <a:pt x="53" y="55"/>
                    </a:lnTo>
                    <a:lnTo>
                      <a:pt x="53" y="53"/>
                    </a:lnTo>
                    <a:lnTo>
                      <a:pt x="53" y="50"/>
                    </a:lnTo>
                    <a:lnTo>
                      <a:pt x="51" y="50"/>
                    </a:lnTo>
                    <a:lnTo>
                      <a:pt x="50" y="49"/>
                    </a:lnTo>
                    <a:lnTo>
                      <a:pt x="50" y="48"/>
                    </a:lnTo>
                    <a:lnTo>
                      <a:pt x="50" y="48"/>
                    </a:lnTo>
                    <a:lnTo>
                      <a:pt x="51" y="48"/>
                    </a:lnTo>
                    <a:lnTo>
                      <a:pt x="53" y="48"/>
                    </a:lnTo>
                    <a:lnTo>
                      <a:pt x="54" y="48"/>
                    </a:lnTo>
                    <a:lnTo>
                      <a:pt x="56" y="46"/>
                    </a:lnTo>
                    <a:lnTo>
                      <a:pt x="57" y="45"/>
                    </a:lnTo>
                    <a:lnTo>
                      <a:pt x="57" y="43"/>
                    </a:lnTo>
                    <a:lnTo>
                      <a:pt x="58" y="42"/>
                    </a:lnTo>
                    <a:lnTo>
                      <a:pt x="61" y="42"/>
                    </a:lnTo>
                    <a:lnTo>
                      <a:pt x="61" y="45"/>
                    </a:lnTo>
                    <a:lnTo>
                      <a:pt x="63" y="48"/>
                    </a:lnTo>
                    <a:lnTo>
                      <a:pt x="64" y="48"/>
                    </a:lnTo>
                    <a:lnTo>
                      <a:pt x="66" y="48"/>
                    </a:lnTo>
                    <a:close/>
                    <a:moveTo>
                      <a:pt x="58" y="72"/>
                    </a:moveTo>
                    <a:lnTo>
                      <a:pt x="53" y="71"/>
                    </a:lnTo>
                    <a:lnTo>
                      <a:pt x="51" y="69"/>
                    </a:lnTo>
                    <a:lnTo>
                      <a:pt x="51" y="66"/>
                    </a:lnTo>
                    <a:lnTo>
                      <a:pt x="51" y="65"/>
                    </a:lnTo>
                    <a:lnTo>
                      <a:pt x="53" y="65"/>
                    </a:lnTo>
                    <a:lnTo>
                      <a:pt x="54" y="65"/>
                    </a:lnTo>
                    <a:lnTo>
                      <a:pt x="56" y="66"/>
                    </a:lnTo>
                    <a:lnTo>
                      <a:pt x="61" y="68"/>
                    </a:lnTo>
                    <a:lnTo>
                      <a:pt x="63" y="69"/>
                    </a:lnTo>
                    <a:lnTo>
                      <a:pt x="64" y="71"/>
                    </a:lnTo>
                    <a:lnTo>
                      <a:pt x="61" y="72"/>
                    </a:lnTo>
                    <a:lnTo>
                      <a:pt x="60" y="72"/>
                    </a:lnTo>
                    <a:lnTo>
                      <a:pt x="58" y="72"/>
                    </a:lnTo>
                    <a:close/>
                    <a:moveTo>
                      <a:pt x="74" y="63"/>
                    </a:moveTo>
                    <a:lnTo>
                      <a:pt x="73" y="62"/>
                    </a:lnTo>
                    <a:lnTo>
                      <a:pt x="71" y="63"/>
                    </a:lnTo>
                    <a:lnTo>
                      <a:pt x="70" y="66"/>
                    </a:lnTo>
                    <a:lnTo>
                      <a:pt x="71" y="66"/>
                    </a:lnTo>
                    <a:lnTo>
                      <a:pt x="77" y="65"/>
                    </a:lnTo>
                    <a:lnTo>
                      <a:pt x="76" y="63"/>
                    </a:lnTo>
                    <a:lnTo>
                      <a:pt x="74" y="63"/>
                    </a:lnTo>
                    <a:close/>
                    <a:moveTo>
                      <a:pt x="120" y="63"/>
                    </a:moveTo>
                    <a:lnTo>
                      <a:pt x="123" y="62"/>
                    </a:lnTo>
                    <a:lnTo>
                      <a:pt x="122" y="59"/>
                    </a:lnTo>
                    <a:lnTo>
                      <a:pt x="119" y="58"/>
                    </a:lnTo>
                    <a:lnTo>
                      <a:pt x="116" y="58"/>
                    </a:lnTo>
                    <a:lnTo>
                      <a:pt x="114" y="61"/>
                    </a:lnTo>
                    <a:lnTo>
                      <a:pt x="116" y="62"/>
                    </a:lnTo>
                    <a:lnTo>
                      <a:pt x="119" y="63"/>
                    </a:lnTo>
                    <a:lnTo>
                      <a:pt x="120" y="6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83" name="Freeform 89">
                <a:extLst>
                  <a:ext uri="{FF2B5EF4-FFF2-40B4-BE49-F238E27FC236}">
                    <a16:creationId xmlns:a16="http://schemas.microsoft.com/office/drawing/2014/main" id="{010171D4-A42F-8713-78BC-A2B2942E866B}"/>
                  </a:ext>
                </a:extLst>
              </p:cNvPr>
              <p:cNvSpPr>
                <a:spLocks noEditPoints="1"/>
              </p:cNvSpPr>
              <p:nvPr/>
            </p:nvSpPr>
            <p:spPr bwMode="auto">
              <a:xfrm>
                <a:off x="3650" y="1608"/>
                <a:ext cx="161" cy="194"/>
              </a:xfrm>
              <a:custGeom>
                <a:avLst/>
                <a:gdLst>
                  <a:gd name="T0" fmla="*/ 147 w 161"/>
                  <a:gd name="T1" fmla="*/ 26 h 194"/>
                  <a:gd name="T2" fmla="*/ 94 w 161"/>
                  <a:gd name="T3" fmla="*/ 16 h 194"/>
                  <a:gd name="T4" fmla="*/ 25 w 161"/>
                  <a:gd name="T5" fmla="*/ 42 h 194"/>
                  <a:gd name="T6" fmla="*/ 41 w 161"/>
                  <a:gd name="T7" fmla="*/ 34 h 194"/>
                  <a:gd name="T8" fmla="*/ 46 w 161"/>
                  <a:gd name="T9" fmla="*/ 36 h 194"/>
                  <a:gd name="T10" fmla="*/ 51 w 161"/>
                  <a:gd name="T11" fmla="*/ 29 h 194"/>
                  <a:gd name="T12" fmla="*/ 66 w 161"/>
                  <a:gd name="T13" fmla="*/ 34 h 194"/>
                  <a:gd name="T14" fmla="*/ 58 w 161"/>
                  <a:gd name="T15" fmla="*/ 27 h 194"/>
                  <a:gd name="T16" fmla="*/ 51 w 161"/>
                  <a:gd name="T17" fmla="*/ 19 h 194"/>
                  <a:gd name="T18" fmla="*/ 53 w 161"/>
                  <a:gd name="T19" fmla="*/ 10 h 194"/>
                  <a:gd name="T20" fmla="*/ 69 w 161"/>
                  <a:gd name="T21" fmla="*/ 6 h 194"/>
                  <a:gd name="T22" fmla="*/ 84 w 161"/>
                  <a:gd name="T23" fmla="*/ 16 h 194"/>
                  <a:gd name="T24" fmla="*/ 92 w 161"/>
                  <a:gd name="T25" fmla="*/ 17 h 194"/>
                  <a:gd name="T26" fmla="*/ 94 w 161"/>
                  <a:gd name="T27" fmla="*/ 24 h 194"/>
                  <a:gd name="T28" fmla="*/ 109 w 161"/>
                  <a:gd name="T29" fmla="*/ 20 h 194"/>
                  <a:gd name="T30" fmla="*/ 125 w 161"/>
                  <a:gd name="T31" fmla="*/ 16 h 194"/>
                  <a:gd name="T32" fmla="*/ 141 w 161"/>
                  <a:gd name="T33" fmla="*/ 24 h 194"/>
                  <a:gd name="T34" fmla="*/ 151 w 161"/>
                  <a:gd name="T35" fmla="*/ 43 h 194"/>
                  <a:gd name="T36" fmla="*/ 154 w 161"/>
                  <a:gd name="T37" fmla="*/ 62 h 194"/>
                  <a:gd name="T38" fmla="*/ 157 w 161"/>
                  <a:gd name="T39" fmla="*/ 72 h 194"/>
                  <a:gd name="T40" fmla="*/ 160 w 161"/>
                  <a:gd name="T41" fmla="*/ 88 h 194"/>
                  <a:gd name="T42" fmla="*/ 151 w 161"/>
                  <a:gd name="T43" fmla="*/ 99 h 194"/>
                  <a:gd name="T44" fmla="*/ 150 w 161"/>
                  <a:gd name="T45" fmla="*/ 102 h 194"/>
                  <a:gd name="T46" fmla="*/ 140 w 161"/>
                  <a:gd name="T47" fmla="*/ 106 h 194"/>
                  <a:gd name="T48" fmla="*/ 132 w 161"/>
                  <a:gd name="T49" fmla="*/ 109 h 194"/>
                  <a:gd name="T50" fmla="*/ 121 w 161"/>
                  <a:gd name="T51" fmla="*/ 115 h 194"/>
                  <a:gd name="T52" fmla="*/ 111 w 161"/>
                  <a:gd name="T53" fmla="*/ 118 h 194"/>
                  <a:gd name="T54" fmla="*/ 117 w 161"/>
                  <a:gd name="T55" fmla="*/ 128 h 194"/>
                  <a:gd name="T56" fmla="*/ 117 w 161"/>
                  <a:gd name="T57" fmla="*/ 135 h 194"/>
                  <a:gd name="T58" fmla="*/ 135 w 161"/>
                  <a:gd name="T59" fmla="*/ 154 h 194"/>
                  <a:gd name="T60" fmla="*/ 138 w 161"/>
                  <a:gd name="T61" fmla="*/ 164 h 194"/>
                  <a:gd name="T62" fmla="*/ 134 w 161"/>
                  <a:gd name="T63" fmla="*/ 165 h 194"/>
                  <a:gd name="T64" fmla="*/ 124 w 161"/>
                  <a:gd name="T65" fmla="*/ 172 h 194"/>
                  <a:gd name="T66" fmla="*/ 127 w 161"/>
                  <a:gd name="T67" fmla="*/ 185 h 194"/>
                  <a:gd name="T68" fmla="*/ 120 w 161"/>
                  <a:gd name="T69" fmla="*/ 185 h 194"/>
                  <a:gd name="T70" fmla="*/ 112 w 161"/>
                  <a:gd name="T71" fmla="*/ 183 h 194"/>
                  <a:gd name="T72" fmla="*/ 102 w 161"/>
                  <a:gd name="T73" fmla="*/ 187 h 194"/>
                  <a:gd name="T74" fmla="*/ 85 w 161"/>
                  <a:gd name="T75" fmla="*/ 187 h 194"/>
                  <a:gd name="T76" fmla="*/ 76 w 161"/>
                  <a:gd name="T77" fmla="*/ 194 h 194"/>
                  <a:gd name="T78" fmla="*/ 68 w 161"/>
                  <a:gd name="T79" fmla="*/ 188 h 194"/>
                  <a:gd name="T80" fmla="*/ 49 w 161"/>
                  <a:gd name="T81" fmla="*/ 183 h 194"/>
                  <a:gd name="T82" fmla="*/ 43 w 161"/>
                  <a:gd name="T83" fmla="*/ 187 h 194"/>
                  <a:gd name="T84" fmla="*/ 35 w 161"/>
                  <a:gd name="T85" fmla="*/ 162 h 194"/>
                  <a:gd name="T86" fmla="*/ 38 w 161"/>
                  <a:gd name="T87" fmla="*/ 151 h 194"/>
                  <a:gd name="T88" fmla="*/ 26 w 161"/>
                  <a:gd name="T89" fmla="*/ 148 h 194"/>
                  <a:gd name="T90" fmla="*/ 20 w 161"/>
                  <a:gd name="T91" fmla="*/ 147 h 194"/>
                  <a:gd name="T92" fmla="*/ 9 w 161"/>
                  <a:gd name="T93" fmla="*/ 141 h 194"/>
                  <a:gd name="T94" fmla="*/ 6 w 161"/>
                  <a:gd name="T95" fmla="*/ 128 h 194"/>
                  <a:gd name="T96" fmla="*/ 9 w 161"/>
                  <a:gd name="T97" fmla="*/ 115 h 194"/>
                  <a:gd name="T98" fmla="*/ 3 w 161"/>
                  <a:gd name="T99" fmla="*/ 103 h 194"/>
                  <a:gd name="T100" fmla="*/ 0 w 161"/>
                  <a:gd name="T101" fmla="*/ 99 h 194"/>
                  <a:gd name="T102" fmla="*/ 5 w 161"/>
                  <a:gd name="T103" fmla="*/ 96 h 194"/>
                  <a:gd name="T104" fmla="*/ 3 w 161"/>
                  <a:gd name="T105" fmla="*/ 80 h 194"/>
                  <a:gd name="T106" fmla="*/ 16 w 161"/>
                  <a:gd name="T107" fmla="*/ 75 h 194"/>
                  <a:gd name="T108" fmla="*/ 20 w 161"/>
                  <a:gd name="T109" fmla="*/ 66 h 194"/>
                  <a:gd name="T110" fmla="*/ 22 w 161"/>
                  <a:gd name="T111" fmla="*/ 57 h 194"/>
                  <a:gd name="T112" fmla="*/ 46 w 161"/>
                  <a:gd name="T113" fmla="*/ 6 h 194"/>
                  <a:gd name="T114" fmla="*/ 45 w 161"/>
                  <a:gd name="T115" fmla="*/ 1 h 194"/>
                  <a:gd name="T116" fmla="*/ 137 w 161"/>
                  <a:gd name="T117" fmla="*/ 14 h 194"/>
                  <a:gd name="T118" fmla="*/ 134 w 161"/>
                  <a:gd name="T119" fmla="*/ 19 h 194"/>
                  <a:gd name="T120" fmla="*/ 131 w 161"/>
                  <a:gd name="T121" fmla="*/ 10 h 194"/>
                  <a:gd name="T122" fmla="*/ 137 w 161"/>
                  <a:gd name="T123" fmla="*/ 11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1" h="194">
                    <a:moveTo>
                      <a:pt x="147" y="27"/>
                    </a:moveTo>
                    <a:lnTo>
                      <a:pt x="147" y="29"/>
                    </a:lnTo>
                    <a:lnTo>
                      <a:pt x="144" y="27"/>
                    </a:lnTo>
                    <a:lnTo>
                      <a:pt x="143" y="27"/>
                    </a:lnTo>
                    <a:lnTo>
                      <a:pt x="141" y="24"/>
                    </a:lnTo>
                    <a:lnTo>
                      <a:pt x="141" y="22"/>
                    </a:lnTo>
                    <a:lnTo>
                      <a:pt x="147" y="26"/>
                    </a:lnTo>
                    <a:lnTo>
                      <a:pt x="147" y="27"/>
                    </a:lnTo>
                    <a:lnTo>
                      <a:pt x="147" y="27"/>
                    </a:lnTo>
                    <a:lnTo>
                      <a:pt x="147" y="27"/>
                    </a:lnTo>
                    <a:close/>
                    <a:moveTo>
                      <a:pt x="92" y="13"/>
                    </a:moveTo>
                    <a:lnTo>
                      <a:pt x="91" y="14"/>
                    </a:lnTo>
                    <a:lnTo>
                      <a:pt x="92" y="14"/>
                    </a:lnTo>
                    <a:lnTo>
                      <a:pt x="94" y="16"/>
                    </a:lnTo>
                    <a:lnTo>
                      <a:pt x="95" y="16"/>
                    </a:lnTo>
                    <a:lnTo>
                      <a:pt x="97" y="16"/>
                    </a:lnTo>
                    <a:lnTo>
                      <a:pt x="95" y="14"/>
                    </a:lnTo>
                    <a:lnTo>
                      <a:pt x="94" y="13"/>
                    </a:lnTo>
                    <a:lnTo>
                      <a:pt x="92" y="13"/>
                    </a:lnTo>
                    <a:close/>
                    <a:moveTo>
                      <a:pt x="23" y="47"/>
                    </a:moveTo>
                    <a:lnTo>
                      <a:pt x="25" y="42"/>
                    </a:lnTo>
                    <a:lnTo>
                      <a:pt x="22" y="39"/>
                    </a:lnTo>
                    <a:lnTo>
                      <a:pt x="22" y="36"/>
                    </a:lnTo>
                    <a:lnTo>
                      <a:pt x="25" y="33"/>
                    </a:lnTo>
                    <a:lnTo>
                      <a:pt x="29" y="33"/>
                    </a:lnTo>
                    <a:lnTo>
                      <a:pt x="32" y="32"/>
                    </a:lnTo>
                    <a:lnTo>
                      <a:pt x="38" y="33"/>
                    </a:lnTo>
                    <a:lnTo>
                      <a:pt x="41" y="34"/>
                    </a:lnTo>
                    <a:lnTo>
                      <a:pt x="41" y="37"/>
                    </a:lnTo>
                    <a:lnTo>
                      <a:pt x="42" y="39"/>
                    </a:lnTo>
                    <a:lnTo>
                      <a:pt x="42" y="37"/>
                    </a:lnTo>
                    <a:lnTo>
                      <a:pt x="43" y="36"/>
                    </a:lnTo>
                    <a:lnTo>
                      <a:pt x="43" y="34"/>
                    </a:lnTo>
                    <a:lnTo>
                      <a:pt x="45" y="34"/>
                    </a:lnTo>
                    <a:lnTo>
                      <a:pt x="46" y="36"/>
                    </a:lnTo>
                    <a:lnTo>
                      <a:pt x="46" y="37"/>
                    </a:lnTo>
                    <a:lnTo>
                      <a:pt x="46" y="39"/>
                    </a:lnTo>
                    <a:lnTo>
                      <a:pt x="48" y="37"/>
                    </a:lnTo>
                    <a:lnTo>
                      <a:pt x="46" y="33"/>
                    </a:lnTo>
                    <a:lnTo>
                      <a:pt x="48" y="30"/>
                    </a:lnTo>
                    <a:lnTo>
                      <a:pt x="49" y="29"/>
                    </a:lnTo>
                    <a:lnTo>
                      <a:pt x="51" y="29"/>
                    </a:lnTo>
                    <a:lnTo>
                      <a:pt x="53" y="29"/>
                    </a:lnTo>
                    <a:lnTo>
                      <a:pt x="58" y="29"/>
                    </a:lnTo>
                    <a:lnTo>
                      <a:pt x="59" y="29"/>
                    </a:lnTo>
                    <a:lnTo>
                      <a:pt x="62" y="30"/>
                    </a:lnTo>
                    <a:lnTo>
                      <a:pt x="64" y="32"/>
                    </a:lnTo>
                    <a:lnTo>
                      <a:pt x="65" y="33"/>
                    </a:lnTo>
                    <a:lnTo>
                      <a:pt x="66" y="34"/>
                    </a:lnTo>
                    <a:lnTo>
                      <a:pt x="69" y="36"/>
                    </a:lnTo>
                    <a:lnTo>
                      <a:pt x="68" y="34"/>
                    </a:lnTo>
                    <a:lnTo>
                      <a:pt x="66" y="33"/>
                    </a:lnTo>
                    <a:lnTo>
                      <a:pt x="64" y="30"/>
                    </a:lnTo>
                    <a:lnTo>
                      <a:pt x="62" y="29"/>
                    </a:lnTo>
                    <a:lnTo>
                      <a:pt x="61" y="29"/>
                    </a:lnTo>
                    <a:lnTo>
                      <a:pt x="58" y="27"/>
                    </a:lnTo>
                    <a:lnTo>
                      <a:pt x="55" y="26"/>
                    </a:lnTo>
                    <a:lnTo>
                      <a:pt x="55" y="23"/>
                    </a:lnTo>
                    <a:lnTo>
                      <a:pt x="55" y="20"/>
                    </a:lnTo>
                    <a:lnTo>
                      <a:pt x="53" y="19"/>
                    </a:lnTo>
                    <a:lnTo>
                      <a:pt x="52" y="17"/>
                    </a:lnTo>
                    <a:lnTo>
                      <a:pt x="51" y="19"/>
                    </a:lnTo>
                    <a:lnTo>
                      <a:pt x="51" y="19"/>
                    </a:lnTo>
                    <a:lnTo>
                      <a:pt x="49" y="17"/>
                    </a:lnTo>
                    <a:lnTo>
                      <a:pt x="49" y="16"/>
                    </a:lnTo>
                    <a:lnTo>
                      <a:pt x="51" y="16"/>
                    </a:lnTo>
                    <a:lnTo>
                      <a:pt x="52" y="16"/>
                    </a:lnTo>
                    <a:lnTo>
                      <a:pt x="53" y="14"/>
                    </a:lnTo>
                    <a:lnTo>
                      <a:pt x="55" y="13"/>
                    </a:lnTo>
                    <a:lnTo>
                      <a:pt x="53" y="10"/>
                    </a:lnTo>
                    <a:lnTo>
                      <a:pt x="51" y="7"/>
                    </a:lnTo>
                    <a:lnTo>
                      <a:pt x="51" y="4"/>
                    </a:lnTo>
                    <a:lnTo>
                      <a:pt x="52" y="4"/>
                    </a:lnTo>
                    <a:lnTo>
                      <a:pt x="59" y="6"/>
                    </a:lnTo>
                    <a:lnTo>
                      <a:pt x="62" y="6"/>
                    </a:lnTo>
                    <a:lnTo>
                      <a:pt x="66" y="6"/>
                    </a:lnTo>
                    <a:lnTo>
                      <a:pt x="69" y="6"/>
                    </a:lnTo>
                    <a:lnTo>
                      <a:pt x="71" y="7"/>
                    </a:lnTo>
                    <a:lnTo>
                      <a:pt x="74" y="9"/>
                    </a:lnTo>
                    <a:lnTo>
                      <a:pt x="74" y="11"/>
                    </a:lnTo>
                    <a:lnTo>
                      <a:pt x="71" y="14"/>
                    </a:lnTo>
                    <a:lnTo>
                      <a:pt x="72" y="14"/>
                    </a:lnTo>
                    <a:lnTo>
                      <a:pt x="82" y="16"/>
                    </a:lnTo>
                    <a:lnTo>
                      <a:pt x="84" y="16"/>
                    </a:lnTo>
                    <a:lnTo>
                      <a:pt x="85" y="17"/>
                    </a:lnTo>
                    <a:lnTo>
                      <a:pt x="87" y="17"/>
                    </a:lnTo>
                    <a:lnTo>
                      <a:pt x="87" y="17"/>
                    </a:lnTo>
                    <a:lnTo>
                      <a:pt x="89" y="16"/>
                    </a:lnTo>
                    <a:lnTo>
                      <a:pt x="89" y="16"/>
                    </a:lnTo>
                    <a:lnTo>
                      <a:pt x="91" y="17"/>
                    </a:lnTo>
                    <a:lnTo>
                      <a:pt x="92" y="17"/>
                    </a:lnTo>
                    <a:lnTo>
                      <a:pt x="92" y="19"/>
                    </a:lnTo>
                    <a:lnTo>
                      <a:pt x="91" y="20"/>
                    </a:lnTo>
                    <a:lnTo>
                      <a:pt x="88" y="23"/>
                    </a:lnTo>
                    <a:lnTo>
                      <a:pt x="88" y="24"/>
                    </a:lnTo>
                    <a:lnTo>
                      <a:pt x="89" y="24"/>
                    </a:lnTo>
                    <a:lnTo>
                      <a:pt x="91" y="24"/>
                    </a:lnTo>
                    <a:lnTo>
                      <a:pt x="94" y="24"/>
                    </a:lnTo>
                    <a:lnTo>
                      <a:pt x="97" y="26"/>
                    </a:lnTo>
                    <a:lnTo>
                      <a:pt x="98" y="26"/>
                    </a:lnTo>
                    <a:lnTo>
                      <a:pt x="99" y="26"/>
                    </a:lnTo>
                    <a:lnTo>
                      <a:pt x="101" y="24"/>
                    </a:lnTo>
                    <a:lnTo>
                      <a:pt x="104" y="23"/>
                    </a:lnTo>
                    <a:lnTo>
                      <a:pt x="105" y="22"/>
                    </a:lnTo>
                    <a:lnTo>
                      <a:pt x="109" y="20"/>
                    </a:lnTo>
                    <a:lnTo>
                      <a:pt x="111" y="20"/>
                    </a:lnTo>
                    <a:lnTo>
                      <a:pt x="112" y="19"/>
                    </a:lnTo>
                    <a:lnTo>
                      <a:pt x="117" y="16"/>
                    </a:lnTo>
                    <a:lnTo>
                      <a:pt x="118" y="14"/>
                    </a:lnTo>
                    <a:lnTo>
                      <a:pt x="121" y="14"/>
                    </a:lnTo>
                    <a:lnTo>
                      <a:pt x="124" y="14"/>
                    </a:lnTo>
                    <a:lnTo>
                      <a:pt x="125" y="16"/>
                    </a:lnTo>
                    <a:lnTo>
                      <a:pt x="132" y="22"/>
                    </a:lnTo>
                    <a:lnTo>
                      <a:pt x="134" y="22"/>
                    </a:lnTo>
                    <a:lnTo>
                      <a:pt x="135" y="22"/>
                    </a:lnTo>
                    <a:lnTo>
                      <a:pt x="137" y="22"/>
                    </a:lnTo>
                    <a:lnTo>
                      <a:pt x="138" y="22"/>
                    </a:lnTo>
                    <a:lnTo>
                      <a:pt x="140" y="23"/>
                    </a:lnTo>
                    <a:lnTo>
                      <a:pt x="141" y="24"/>
                    </a:lnTo>
                    <a:lnTo>
                      <a:pt x="141" y="27"/>
                    </a:lnTo>
                    <a:lnTo>
                      <a:pt x="143" y="29"/>
                    </a:lnTo>
                    <a:lnTo>
                      <a:pt x="144" y="30"/>
                    </a:lnTo>
                    <a:lnTo>
                      <a:pt x="145" y="30"/>
                    </a:lnTo>
                    <a:lnTo>
                      <a:pt x="148" y="32"/>
                    </a:lnTo>
                    <a:lnTo>
                      <a:pt x="151" y="40"/>
                    </a:lnTo>
                    <a:lnTo>
                      <a:pt x="151" y="43"/>
                    </a:lnTo>
                    <a:lnTo>
                      <a:pt x="150" y="46"/>
                    </a:lnTo>
                    <a:lnTo>
                      <a:pt x="147" y="50"/>
                    </a:lnTo>
                    <a:lnTo>
                      <a:pt x="145" y="52"/>
                    </a:lnTo>
                    <a:lnTo>
                      <a:pt x="147" y="55"/>
                    </a:lnTo>
                    <a:lnTo>
                      <a:pt x="153" y="57"/>
                    </a:lnTo>
                    <a:lnTo>
                      <a:pt x="154" y="60"/>
                    </a:lnTo>
                    <a:lnTo>
                      <a:pt x="154" y="62"/>
                    </a:lnTo>
                    <a:lnTo>
                      <a:pt x="154" y="65"/>
                    </a:lnTo>
                    <a:lnTo>
                      <a:pt x="154" y="65"/>
                    </a:lnTo>
                    <a:lnTo>
                      <a:pt x="154" y="66"/>
                    </a:lnTo>
                    <a:lnTo>
                      <a:pt x="155" y="68"/>
                    </a:lnTo>
                    <a:lnTo>
                      <a:pt x="155" y="69"/>
                    </a:lnTo>
                    <a:lnTo>
                      <a:pt x="157" y="70"/>
                    </a:lnTo>
                    <a:lnTo>
                      <a:pt x="157" y="72"/>
                    </a:lnTo>
                    <a:lnTo>
                      <a:pt x="155" y="79"/>
                    </a:lnTo>
                    <a:lnTo>
                      <a:pt x="155" y="79"/>
                    </a:lnTo>
                    <a:lnTo>
                      <a:pt x="155" y="80"/>
                    </a:lnTo>
                    <a:lnTo>
                      <a:pt x="157" y="85"/>
                    </a:lnTo>
                    <a:lnTo>
                      <a:pt x="157" y="85"/>
                    </a:lnTo>
                    <a:lnTo>
                      <a:pt x="158" y="88"/>
                    </a:lnTo>
                    <a:lnTo>
                      <a:pt x="160" y="88"/>
                    </a:lnTo>
                    <a:lnTo>
                      <a:pt x="161" y="89"/>
                    </a:lnTo>
                    <a:lnTo>
                      <a:pt x="161" y="92"/>
                    </a:lnTo>
                    <a:lnTo>
                      <a:pt x="161" y="95"/>
                    </a:lnTo>
                    <a:lnTo>
                      <a:pt x="160" y="98"/>
                    </a:lnTo>
                    <a:lnTo>
                      <a:pt x="158" y="103"/>
                    </a:lnTo>
                    <a:lnTo>
                      <a:pt x="155" y="105"/>
                    </a:lnTo>
                    <a:lnTo>
                      <a:pt x="151" y="99"/>
                    </a:lnTo>
                    <a:lnTo>
                      <a:pt x="148" y="99"/>
                    </a:lnTo>
                    <a:lnTo>
                      <a:pt x="148" y="99"/>
                    </a:lnTo>
                    <a:lnTo>
                      <a:pt x="148" y="101"/>
                    </a:lnTo>
                    <a:lnTo>
                      <a:pt x="148" y="101"/>
                    </a:lnTo>
                    <a:lnTo>
                      <a:pt x="148" y="101"/>
                    </a:lnTo>
                    <a:lnTo>
                      <a:pt x="150" y="101"/>
                    </a:lnTo>
                    <a:lnTo>
                      <a:pt x="150" y="102"/>
                    </a:lnTo>
                    <a:lnTo>
                      <a:pt x="150" y="102"/>
                    </a:lnTo>
                    <a:lnTo>
                      <a:pt x="150" y="102"/>
                    </a:lnTo>
                    <a:lnTo>
                      <a:pt x="150" y="102"/>
                    </a:lnTo>
                    <a:lnTo>
                      <a:pt x="148" y="103"/>
                    </a:lnTo>
                    <a:lnTo>
                      <a:pt x="147" y="103"/>
                    </a:lnTo>
                    <a:lnTo>
                      <a:pt x="144" y="105"/>
                    </a:lnTo>
                    <a:lnTo>
                      <a:pt x="140" y="106"/>
                    </a:lnTo>
                    <a:lnTo>
                      <a:pt x="137" y="108"/>
                    </a:lnTo>
                    <a:lnTo>
                      <a:pt x="135" y="108"/>
                    </a:lnTo>
                    <a:lnTo>
                      <a:pt x="135" y="109"/>
                    </a:lnTo>
                    <a:lnTo>
                      <a:pt x="134" y="111"/>
                    </a:lnTo>
                    <a:lnTo>
                      <a:pt x="134" y="111"/>
                    </a:lnTo>
                    <a:lnTo>
                      <a:pt x="134" y="111"/>
                    </a:lnTo>
                    <a:lnTo>
                      <a:pt x="132" y="109"/>
                    </a:lnTo>
                    <a:lnTo>
                      <a:pt x="132" y="109"/>
                    </a:lnTo>
                    <a:lnTo>
                      <a:pt x="131" y="111"/>
                    </a:lnTo>
                    <a:lnTo>
                      <a:pt x="128" y="112"/>
                    </a:lnTo>
                    <a:lnTo>
                      <a:pt x="125" y="115"/>
                    </a:lnTo>
                    <a:lnTo>
                      <a:pt x="124" y="115"/>
                    </a:lnTo>
                    <a:lnTo>
                      <a:pt x="122" y="115"/>
                    </a:lnTo>
                    <a:lnTo>
                      <a:pt x="121" y="115"/>
                    </a:lnTo>
                    <a:lnTo>
                      <a:pt x="118" y="116"/>
                    </a:lnTo>
                    <a:lnTo>
                      <a:pt x="117" y="118"/>
                    </a:lnTo>
                    <a:lnTo>
                      <a:pt x="115" y="119"/>
                    </a:lnTo>
                    <a:lnTo>
                      <a:pt x="114" y="122"/>
                    </a:lnTo>
                    <a:lnTo>
                      <a:pt x="112" y="121"/>
                    </a:lnTo>
                    <a:lnTo>
                      <a:pt x="112" y="119"/>
                    </a:lnTo>
                    <a:lnTo>
                      <a:pt x="111" y="118"/>
                    </a:lnTo>
                    <a:lnTo>
                      <a:pt x="109" y="119"/>
                    </a:lnTo>
                    <a:lnTo>
                      <a:pt x="111" y="119"/>
                    </a:lnTo>
                    <a:lnTo>
                      <a:pt x="111" y="122"/>
                    </a:lnTo>
                    <a:lnTo>
                      <a:pt x="112" y="125"/>
                    </a:lnTo>
                    <a:lnTo>
                      <a:pt x="115" y="126"/>
                    </a:lnTo>
                    <a:lnTo>
                      <a:pt x="115" y="126"/>
                    </a:lnTo>
                    <a:lnTo>
                      <a:pt x="117" y="128"/>
                    </a:lnTo>
                    <a:lnTo>
                      <a:pt x="117" y="131"/>
                    </a:lnTo>
                    <a:lnTo>
                      <a:pt x="117" y="131"/>
                    </a:lnTo>
                    <a:lnTo>
                      <a:pt x="115" y="132"/>
                    </a:lnTo>
                    <a:lnTo>
                      <a:pt x="115" y="134"/>
                    </a:lnTo>
                    <a:lnTo>
                      <a:pt x="115" y="134"/>
                    </a:lnTo>
                    <a:lnTo>
                      <a:pt x="117" y="134"/>
                    </a:lnTo>
                    <a:lnTo>
                      <a:pt x="117" y="135"/>
                    </a:lnTo>
                    <a:lnTo>
                      <a:pt x="117" y="135"/>
                    </a:lnTo>
                    <a:lnTo>
                      <a:pt x="120" y="139"/>
                    </a:lnTo>
                    <a:lnTo>
                      <a:pt x="122" y="142"/>
                    </a:lnTo>
                    <a:lnTo>
                      <a:pt x="128" y="148"/>
                    </a:lnTo>
                    <a:lnTo>
                      <a:pt x="132" y="151"/>
                    </a:lnTo>
                    <a:lnTo>
                      <a:pt x="134" y="152"/>
                    </a:lnTo>
                    <a:lnTo>
                      <a:pt x="135" y="154"/>
                    </a:lnTo>
                    <a:lnTo>
                      <a:pt x="137" y="155"/>
                    </a:lnTo>
                    <a:lnTo>
                      <a:pt x="138" y="155"/>
                    </a:lnTo>
                    <a:lnTo>
                      <a:pt x="141" y="158"/>
                    </a:lnTo>
                    <a:lnTo>
                      <a:pt x="140" y="161"/>
                    </a:lnTo>
                    <a:lnTo>
                      <a:pt x="140" y="162"/>
                    </a:lnTo>
                    <a:lnTo>
                      <a:pt x="138" y="164"/>
                    </a:lnTo>
                    <a:lnTo>
                      <a:pt x="138" y="164"/>
                    </a:lnTo>
                    <a:lnTo>
                      <a:pt x="137" y="162"/>
                    </a:lnTo>
                    <a:lnTo>
                      <a:pt x="135" y="162"/>
                    </a:lnTo>
                    <a:lnTo>
                      <a:pt x="135" y="162"/>
                    </a:lnTo>
                    <a:lnTo>
                      <a:pt x="134" y="162"/>
                    </a:lnTo>
                    <a:lnTo>
                      <a:pt x="134" y="162"/>
                    </a:lnTo>
                    <a:lnTo>
                      <a:pt x="134" y="164"/>
                    </a:lnTo>
                    <a:lnTo>
                      <a:pt x="134" y="165"/>
                    </a:lnTo>
                    <a:lnTo>
                      <a:pt x="134" y="165"/>
                    </a:lnTo>
                    <a:lnTo>
                      <a:pt x="132" y="167"/>
                    </a:lnTo>
                    <a:lnTo>
                      <a:pt x="132" y="168"/>
                    </a:lnTo>
                    <a:lnTo>
                      <a:pt x="131" y="168"/>
                    </a:lnTo>
                    <a:lnTo>
                      <a:pt x="128" y="170"/>
                    </a:lnTo>
                    <a:lnTo>
                      <a:pt x="125" y="171"/>
                    </a:lnTo>
                    <a:lnTo>
                      <a:pt x="124" y="172"/>
                    </a:lnTo>
                    <a:lnTo>
                      <a:pt x="122" y="174"/>
                    </a:lnTo>
                    <a:lnTo>
                      <a:pt x="122" y="177"/>
                    </a:lnTo>
                    <a:lnTo>
                      <a:pt x="124" y="178"/>
                    </a:lnTo>
                    <a:lnTo>
                      <a:pt x="125" y="180"/>
                    </a:lnTo>
                    <a:lnTo>
                      <a:pt x="124" y="183"/>
                    </a:lnTo>
                    <a:lnTo>
                      <a:pt x="125" y="184"/>
                    </a:lnTo>
                    <a:lnTo>
                      <a:pt x="127" y="185"/>
                    </a:lnTo>
                    <a:lnTo>
                      <a:pt x="127" y="187"/>
                    </a:lnTo>
                    <a:lnTo>
                      <a:pt x="127" y="188"/>
                    </a:lnTo>
                    <a:lnTo>
                      <a:pt x="125" y="190"/>
                    </a:lnTo>
                    <a:lnTo>
                      <a:pt x="124" y="188"/>
                    </a:lnTo>
                    <a:lnTo>
                      <a:pt x="122" y="185"/>
                    </a:lnTo>
                    <a:lnTo>
                      <a:pt x="121" y="185"/>
                    </a:lnTo>
                    <a:lnTo>
                      <a:pt x="120" y="185"/>
                    </a:lnTo>
                    <a:lnTo>
                      <a:pt x="120" y="185"/>
                    </a:lnTo>
                    <a:lnTo>
                      <a:pt x="118" y="185"/>
                    </a:lnTo>
                    <a:lnTo>
                      <a:pt x="117" y="185"/>
                    </a:lnTo>
                    <a:lnTo>
                      <a:pt x="115" y="184"/>
                    </a:lnTo>
                    <a:lnTo>
                      <a:pt x="114" y="184"/>
                    </a:lnTo>
                    <a:lnTo>
                      <a:pt x="112" y="184"/>
                    </a:lnTo>
                    <a:lnTo>
                      <a:pt x="112" y="183"/>
                    </a:lnTo>
                    <a:lnTo>
                      <a:pt x="112" y="184"/>
                    </a:lnTo>
                    <a:lnTo>
                      <a:pt x="112" y="184"/>
                    </a:lnTo>
                    <a:lnTo>
                      <a:pt x="112" y="184"/>
                    </a:lnTo>
                    <a:lnTo>
                      <a:pt x="112" y="185"/>
                    </a:lnTo>
                    <a:lnTo>
                      <a:pt x="109" y="185"/>
                    </a:lnTo>
                    <a:lnTo>
                      <a:pt x="107" y="185"/>
                    </a:lnTo>
                    <a:lnTo>
                      <a:pt x="102" y="187"/>
                    </a:lnTo>
                    <a:lnTo>
                      <a:pt x="98" y="190"/>
                    </a:lnTo>
                    <a:lnTo>
                      <a:pt x="94" y="190"/>
                    </a:lnTo>
                    <a:lnTo>
                      <a:pt x="89" y="190"/>
                    </a:lnTo>
                    <a:lnTo>
                      <a:pt x="89" y="190"/>
                    </a:lnTo>
                    <a:lnTo>
                      <a:pt x="88" y="188"/>
                    </a:lnTo>
                    <a:lnTo>
                      <a:pt x="87" y="188"/>
                    </a:lnTo>
                    <a:lnTo>
                      <a:pt x="85" y="187"/>
                    </a:lnTo>
                    <a:lnTo>
                      <a:pt x="84" y="187"/>
                    </a:lnTo>
                    <a:lnTo>
                      <a:pt x="82" y="187"/>
                    </a:lnTo>
                    <a:lnTo>
                      <a:pt x="81" y="187"/>
                    </a:lnTo>
                    <a:lnTo>
                      <a:pt x="81" y="188"/>
                    </a:lnTo>
                    <a:lnTo>
                      <a:pt x="79" y="191"/>
                    </a:lnTo>
                    <a:lnTo>
                      <a:pt x="79" y="193"/>
                    </a:lnTo>
                    <a:lnTo>
                      <a:pt x="76" y="194"/>
                    </a:lnTo>
                    <a:lnTo>
                      <a:pt x="76" y="193"/>
                    </a:lnTo>
                    <a:lnTo>
                      <a:pt x="76" y="191"/>
                    </a:lnTo>
                    <a:lnTo>
                      <a:pt x="75" y="190"/>
                    </a:lnTo>
                    <a:lnTo>
                      <a:pt x="74" y="190"/>
                    </a:lnTo>
                    <a:lnTo>
                      <a:pt x="71" y="188"/>
                    </a:lnTo>
                    <a:lnTo>
                      <a:pt x="69" y="188"/>
                    </a:lnTo>
                    <a:lnTo>
                      <a:pt x="68" y="188"/>
                    </a:lnTo>
                    <a:lnTo>
                      <a:pt x="65" y="188"/>
                    </a:lnTo>
                    <a:lnTo>
                      <a:pt x="61" y="185"/>
                    </a:lnTo>
                    <a:lnTo>
                      <a:pt x="59" y="184"/>
                    </a:lnTo>
                    <a:lnTo>
                      <a:pt x="58" y="184"/>
                    </a:lnTo>
                    <a:lnTo>
                      <a:pt x="55" y="184"/>
                    </a:lnTo>
                    <a:lnTo>
                      <a:pt x="53" y="184"/>
                    </a:lnTo>
                    <a:lnTo>
                      <a:pt x="49" y="183"/>
                    </a:lnTo>
                    <a:lnTo>
                      <a:pt x="46" y="183"/>
                    </a:lnTo>
                    <a:lnTo>
                      <a:pt x="45" y="184"/>
                    </a:lnTo>
                    <a:lnTo>
                      <a:pt x="46" y="184"/>
                    </a:lnTo>
                    <a:lnTo>
                      <a:pt x="48" y="185"/>
                    </a:lnTo>
                    <a:lnTo>
                      <a:pt x="48" y="185"/>
                    </a:lnTo>
                    <a:lnTo>
                      <a:pt x="45" y="187"/>
                    </a:lnTo>
                    <a:lnTo>
                      <a:pt x="43" y="187"/>
                    </a:lnTo>
                    <a:lnTo>
                      <a:pt x="35" y="187"/>
                    </a:lnTo>
                    <a:lnTo>
                      <a:pt x="33" y="187"/>
                    </a:lnTo>
                    <a:lnTo>
                      <a:pt x="32" y="187"/>
                    </a:lnTo>
                    <a:lnTo>
                      <a:pt x="29" y="183"/>
                    </a:lnTo>
                    <a:lnTo>
                      <a:pt x="31" y="177"/>
                    </a:lnTo>
                    <a:lnTo>
                      <a:pt x="33" y="167"/>
                    </a:lnTo>
                    <a:lnTo>
                      <a:pt x="35" y="162"/>
                    </a:lnTo>
                    <a:lnTo>
                      <a:pt x="35" y="161"/>
                    </a:lnTo>
                    <a:lnTo>
                      <a:pt x="36" y="160"/>
                    </a:lnTo>
                    <a:lnTo>
                      <a:pt x="39" y="158"/>
                    </a:lnTo>
                    <a:lnTo>
                      <a:pt x="39" y="157"/>
                    </a:lnTo>
                    <a:lnTo>
                      <a:pt x="41" y="154"/>
                    </a:lnTo>
                    <a:lnTo>
                      <a:pt x="39" y="152"/>
                    </a:lnTo>
                    <a:lnTo>
                      <a:pt x="38" y="151"/>
                    </a:lnTo>
                    <a:lnTo>
                      <a:pt x="31" y="149"/>
                    </a:lnTo>
                    <a:lnTo>
                      <a:pt x="29" y="149"/>
                    </a:lnTo>
                    <a:lnTo>
                      <a:pt x="29" y="148"/>
                    </a:lnTo>
                    <a:lnTo>
                      <a:pt x="28" y="148"/>
                    </a:lnTo>
                    <a:lnTo>
                      <a:pt x="28" y="148"/>
                    </a:lnTo>
                    <a:lnTo>
                      <a:pt x="26" y="148"/>
                    </a:lnTo>
                    <a:lnTo>
                      <a:pt x="26" y="148"/>
                    </a:lnTo>
                    <a:lnTo>
                      <a:pt x="25" y="148"/>
                    </a:lnTo>
                    <a:lnTo>
                      <a:pt x="23" y="149"/>
                    </a:lnTo>
                    <a:lnTo>
                      <a:pt x="22" y="149"/>
                    </a:lnTo>
                    <a:lnTo>
                      <a:pt x="20" y="148"/>
                    </a:lnTo>
                    <a:lnTo>
                      <a:pt x="20" y="148"/>
                    </a:lnTo>
                    <a:lnTo>
                      <a:pt x="20" y="147"/>
                    </a:lnTo>
                    <a:lnTo>
                      <a:pt x="20" y="147"/>
                    </a:lnTo>
                    <a:lnTo>
                      <a:pt x="18" y="147"/>
                    </a:lnTo>
                    <a:lnTo>
                      <a:pt x="16" y="148"/>
                    </a:lnTo>
                    <a:lnTo>
                      <a:pt x="16" y="147"/>
                    </a:lnTo>
                    <a:lnTo>
                      <a:pt x="15" y="145"/>
                    </a:lnTo>
                    <a:lnTo>
                      <a:pt x="12" y="142"/>
                    </a:lnTo>
                    <a:lnTo>
                      <a:pt x="10" y="141"/>
                    </a:lnTo>
                    <a:lnTo>
                      <a:pt x="9" y="141"/>
                    </a:lnTo>
                    <a:lnTo>
                      <a:pt x="9" y="138"/>
                    </a:lnTo>
                    <a:lnTo>
                      <a:pt x="12" y="134"/>
                    </a:lnTo>
                    <a:lnTo>
                      <a:pt x="12" y="131"/>
                    </a:lnTo>
                    <a:lnTo>
                      <a:pt x="10" y="131"/>
                    </a:lnTo>
                    <a:lnTo>
                      <a:pt x="8" y="129"/>
                    </a:lnTo>
                    <a:lnTo>
                      <a:pt x="6" y="128"/>
                    </a:lnTo>
                    <a:lnTo>
                      <a:pt x="6" y="128"/>
                    </a:lnTo>
                    <a:lnTo>
                      <a:pt x="5" y="126"/>
                    </a:lnTo>
                    <a:lnTo>
                      <a:pt x="5" y="125"/>
                    </a:lnTo>
                    <a:lnTo>
                      <a:pt x="5" y="124"/>
                    </a:lnTo>
                    <a:lnTo>
                      <a:pt x="6" y="121"/>
                    </a:lnTo>
                    <a:lnTo>
                      <a:pt x="8" y="119"/>
                    </a:lnTo>
                    <a:lnTo>
                      <a:pt x="9" y="118"/>
                    </a:lnTo>
                    <a:lnTo>
                      <a:pt x="9" y="115"/>
                    </a:lnTo>
                    <a:lnTo>
                      <a:pt x="8" y="114"/>
                    </a:lnTo>
                    <a:lnTo>
                      <a:pt x="8" y="114"/>
                    </a:lnTo>
                    <a:lnTo>
                      <a:pt x="6" y="112"/>
                    </a:lnTo>
                    <a:lnTo>
                      <a:pt x="8" y="111"/>
                    </a:lnTo>
                    <a:lnTo>
                      <a:pt x="3" y="106"/>
                    </a:lnTo>
                    <a:lnTo>
                      <a:pt x="3" y="103"/>
                    </a:lnTo>
                    <a:lnTo>
                      <a:pt x="3" y="103"/>
                    </a:lnTo>
                    <a:lnTo>
                      <a:pt x="3" y="102"/>
                    </a:lnTo>
                    <a:lnTo>
                      <a:pt x="3" y="102"/>
                    </a:lnTo>
                    <a:lnTo>
                      <a:pt x="2" y="101"/>
                    </a:lnTo>
                    <a:lnTo>
                      <a:pt x="2" y="101"/>
                    </a:lnTo>
                    <a:lnTo>
                      <a:pt x="2" y="101"/>
                    </a:lnTo>
                    <a:lnTo>
                      <a:pt x="2" y="101"/>
                    </a:lnTo>
                    <a:lnTo>
                      <a:pt x="0" y="99"/>
                    </a:lnTo>
                    <a:lnTo>
                      <a:pt x="0" y="99"/>
                    </a:lnTo>
                    <a:lnTo>
                      <a:pt x="0" y="99"/>
                    </a:lnTo>
                    <a:lnTo>
                      <a:pt x="2" y="99"/>
                    </a:lnTo>
                    <a:lnTo>
                      <a:pt x="2" y="99"/>
                    </a:lnTo>
                    <a:lnTo>
                      <a:pt x="2" y="99"/>
                    </a:lnTo>
                    <a:lnTo>
                      <a:pt x="3" y="98"/>
                    </a:lnTo>
                    <a:lnTo>
                      <a:pt x="5" y="96"/>
                    </a:lnTo>
                    <a:lnTo>
                      <a:pt x="5" y="95"/>
                    </a:lnTo>
                    <a:lnTo>
                      <a:pt x="5" y="95"/>
                    </a:lnTo>
                    <a:lnTo>
                      <a:pt x="6" y="89"/>
                    </a:lnTo>
                    <a:lnTo>
                      <a:pt x="6" y="86"/>
                    </a:lnTo>
                    <a:lnTo>
                      <a:pt x="5" y="85"/>
                    </a:lnTo>
                    <a:lnTo>
                      <a:pt x="3" y="82"/>
                    </a:lnTo>
                    <a:lnTo>
                      <a:pt x="3" y="80"/>
                    </a:lnTo>
                    <a:lnTo>
                      <a:pt x="3" y="79"/>
                    </a:lnTo>
                    <a:lnTo>
                      <a:pt x="5" y="78"/>
                    </a:lnTo>
                    <a:lnTo>
                      <a:pt x="8" y="78"/>
                    </a:lnTo>
                    <a:lnTo>
                      <a:pt x="12" y="78"/>
                    </a:lnTo>
                    <a:lnTo>
                      <a:pt x="15" y="78"/>
                    </a:lnTo>
                    <a:lnTo>
                      <a:pt x="16" y="75"/>
                    </a:lnTo>
                    <a:lnTo>
                      <a:pt x="16" y="75"/>
                    </a:lnTo>
                    <a:lnTo>
                      <a:pt x="16" y="73"/>
                    </a:lnTo>
                    <a:lnTo>
                      <a:pt x="16" y="72"/>
                    </a:lnTo>
                    <a:lnTo>
                      <a:pt x="16" y="72"/>
                    </a:lnTo>
                    <a:lnTo>
                      <a:pt x="18" y="70"/>
                    </a:lnTo>
                    <a:lnTo>
                      <a:pt x="18" y="70"/>
                    </a:lnTo>
                    <a:lnTo>
                      <a:pt x="19" y="70"/>
                    </a:lnTo>
                    <a:lnTo>
                      <a:pt x="20" y="66"/>
                    </a:lnTo>
                    <a:lnTo>
                      <a:pt x="19" y="63"/>
                    </a:lnTo>
                    <a:lnTo>
                      <a:pt x="16" y="60"/>
                    </a:lnTo>
                    <a:lnTo>
                      <a:pt x="16" y="59"/>
                    </a:lnTo>
                    <a:lnTo>
                      <a:pt x="16" y="57"/>
                    </a:lnTo>
                    <a:lnTo>
                      <a:pt x="19" y="57"/>
                    </a:lnTo>
                    <a:lnTo>
                      <a:pt x="20" y="57"/>
                    </a:lnTo>
                    <a:lnTo>
                      <a:pt x="22" y="57"/>
                    </a:lnTo>
                    <a:lnTo>
                      <a:pt x="23" y="47"/>
                    </a:lnTo>
                    <a:close/>
                    <a:moveTo>
                      <a:pt x="45" y="1"/>
                    </a:moveTo>
                    <a:lnTo>
                      <a:pt x="43" y="3"/>
                    </a:lnTo>
                    <a:lnTo>
                      <a:pt x="43" y="6"/>
                    </a:lnTo>
                    <a:lnTo>
                      <a:pt x="43" y="7"/>
                    </a:lnTo>
                    <a:lnTo>
                      <a:pt x="45" y="6"/>
                    </a:lnTo>
                    <a:lnTo>
                      <a:pt x="46" y="6"/>
                    </a:lnTo>
                    <a:lnTo>
                      <a:pt x="48" y="4"/>
                    </a:lnTo>
                    <a:lnTo>
                      <a:pt x="49" y="4"/>
                    </a:lnTo>
                    <a:lnTo>
                      <a:pt x="46" y="4"/>
                    </a:lnTo>
                    <a:lnTo>
                      <a:pt x="45" y="4"/>
                    </a:lnTo>
                    <a:lnTo>
                      <a:pt x="45" y="3"/>
                    </a:lnTo>
                    <a:lnTo>
                      <a:pt x="46" y="0"/>
                    </a:lnTo>
                    <a:lnTo>
                      <a:pt x="45" y="1"/>
                    </a:lnTo>
                    <a:close/>
                    <a:moveTo>
                      <a:pt x="45" y="9"/>
                    </a:moveTo>
                    <a:lnTo>
                      <a:pt x="48" y="9"/>
                    </a:lnTo>
                    <a:lnTo>
                      <a:pt x="48" y="9"/>
                    </a:lnTo>
                    <a:lnTo>
                      <a:pt x="48" y="7"/>
                    </a:lnTo>
                    <a:lnTo>
                      <a:pt x="45" y="9"/>
                    </a:lnTo>
                    <a:close/>
                    <a:moveTo>
                      <a:pt x="137" y="13"/>
                    </a:moveTo>
                    <a:lnTo>
                      <a:pt x="137" y="14"/>
                    </a:lnTo>
                    <a:lnTo>
                      <a:pt x="138" y="17"/>
                    </a:lnTo>
                    <a:lnTo>
                      <a:pt x="140" y="17"/>
                    </a:lnTo>
                    <a:lnTo>
                      <a:pt x="138" y="17"/>
                    </a:lnTo>
                    <a:lnTo>
                      <a:pt x="135" y="17"/>
                    </a:lnTo>
                    <a:lnTo>
                      <a:pt x="134" y="17"/>
                    </a:lnTo>
                    <a:lnTo>
                      <a:pt x="134" y="17"/>
                    </a:lnTo>
                    <a:lnTo>
                      <a:pt x="134" y="19"/>
                    </a:lnTo>
                    <a:lnTo>
                      <a:pt x="132" y="19"/>
                    </a:lnTo>
                    <a:lnTo>
                      <a:pt x="131" y="19"/>
                    </a:lnTo>
                    <a:lnTo>
                      <a:pt x="130" y="17"/>
                    </a:lnTo>
                    <a:lnTo>
                      <a:pt x="130" y="16"/>
                    </a:lnTo>
                    <a:lnTo>
                      <a:pt x="130" y="13"/>
                    </a:lnTo>
                    <a:lnTo>
                      <a:pt x="130" y="11"/>
                    </a:lnTo>
                    <a:lnTo>
                      <a:pt x="131" y="10"/>
                    </a:lnTo>
                    <a:lnTo>
                      <a:pt x="131" y="10"/>
                    </a:lnTo>
                    <a:lnTo>
                      <a:pt x="132" y="9"/>
                    </a:lnTo>
                    <a:lnTo>
                      <a:pt x="134" y="9"/>
                    </a:lnTo>
                    <a:lnTo>
                      <a:pt x="134" y="9"/>
                    </a:lnTo>
                    <a:lnTo>
                      <a:pt x="135" y="10"/>
                    </a:lnTo>
                    <a:lnTo>
                      <a:pt x="137" y="11"/>
                    </a:lnTo>
                    <a:lnTo>
                      <a:pt x="137" y="11"/>
                    </a:lnTo>
                    <a:lnTo>
                      <a:pt x="137" y="13"/>
                    </a:lnTo>
                    <a:lnTo>
                      <a:pt x="137" y="13"/>
                    </a:lnTo>
                    <a:lnTo>
                      <a:pt x="137" y="1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84" name="Freeform 90">
                <a:extLst>
                  <a:ext uri="{FF2B5EF4-FFF2-40B4-BE49-F238E27FC236}">
                    <a16:creationId xmlns:a16="http://schemas.microsoft.com/office/drawing/2014/main" id="{B2D1E634-C850-2A5D-325A-E1461D8B9E4D}"/>
                  </a:ext>
                </a:extLst>
              </p:cNvPr>
              <p:cNvSpPr>
                <a:spLocks noEditPoints="1"/>
              </p:cNvSpPr>
              <p:nvPr/>
            </p:nvSpPr>
            <p:spPr bwMode="auto">
              <a:xfrm>
                <a:off x="3744" y="1210"/>
                <a:ext cx="228" cy="391"/>
              </a:xfrm>
              <a:custGeom>
                <a:avLst/>
                <a:gdLst>
                  <a:gd name="T0" fmla="*/ 140 w 228"/>
                  <a:gd name="T1" fmla="*/ 333 h 391"/>
                  <a:gd name="T2" fmla="*/ 128 w 228"/>
                  <a:gd name="T3" fmla="*/ 302 h 391"/>
                  <a:gd name="T4" fmla="*/ 228 w 228"/>
                  <a:gd name="T5" fmla="*/ 100 h 391"/>
                  <a:gd name="T6" fmla="*/ 204 w 228"/>
                  <a:gd name="T7" fmla="*/ 98 h 391"/>
                  <a:gd name="T8" fmla="*/ 192 w 228"/>
                  <a:gd name="T9" fmla="*/ 109 h 391"/>
                  <a:gd name="T10" fmla="*/ 186 w 228"/>
                  <a:gd name="T11" fmla="*/ 115 h 391"/>
                  <a:gd name="T12" fmla="*/ 184 w 228"/>
                  <a:gd name="T13" fmla="*/ 119 h 391"/>
                  <a:gd name="T14" fmla="*/ 176 w 228"/>
                  <a:gd name="T15" fmla="*/ 134 h 391"/>
                  <a:gd name="T16" fmla="*/ 168 w 228"/>
                  <a:gd name="T17" fmla="*/ 167 h 391"/>
                  <a:gd name="T18" fmla="*/ 150 w 228"/>
                  <a:gd name="T19" fmla="*/ 178 h 391"/>
                  <a:gd name="T20" fmla="*/ 139 w 228"/>
                  <a:gd name="T21" fmla="*/ 184 h 391"/>
                  <a:gd name="T22" fmla="*/ 132 w 228"/>
                  <a:gd name="T23" fmla="*/ 188 h 391"/>
                  <a:gd name="T24" fmla="*/ 128 w 228"/>
                  <a:gd name="T25" fmla="*/ 194 h 391"/>
                  <a:gd name="T26" fmla="*/ 119 w 228"/>
                  <a:gd name="T27" fmla="*/ 197 h 391"/>
                  <a:gd name="T28" fmla="*/ 119 w 228"/>
                  <a:gd name="T29" fmla="*/ 204 h 391"/>
                  <a:gd name="T30" fmla="*/ 110 w 228"/>
                  <a:gd name="T31" fmla="*/ 207 h 391"/>
                  <a:gd name="T32" fmla="*/ 110 w 228"/>
                  <a:gd name="T33" fmla="*/ 215 h 391"/>
                  <a:gd name="T34" fmla="*/ 106 w 228"/>
                  <a:gd name="T35" fmla="*/ 230 h 391"/>
                  <a:gd name="T36" fmla="*/ 107 w 228"/>
                  <a:gd name="T37" fmla="*/ 257 h 391"/>
                  <a:gd name="T38" fmla="*/ 119 w 228"/>
                  <a:gd name="T39" fmla="*/ 260 h 391"/>
                  <a:gd name="T40" fmla="*/ 129 w 228"/>
                  <a:gd name="T41" fmla="*/ 272 h 391"/>
                  <a:gd name="T42" fmla="*/ 130 w 228"/>
                  <a:gd name="T43" fmla="*/ 287 h 391"/>
                  <a:gd name="T44" fmla="*/ 113 w 228"/>
                  <a:gd name="T45" fmla="*/ 289 h 391"/>
                  <a:gd name="T46" fmla="*/ 102 w 228"/>
                  <a:gd name="T47" fmla="*/ 287 h 391"/>
                  <a:gd name="T48" fmla="*/ 96 w 228"/>
                  <a:gd name="T49" fmla="*/ 290 h 391"/>
                  <a:gd name="T50" fmla="*/ 128 w 228"/>
                  <a:gd name="T51" fmla="*/ 292 h 391"/>
                  <a:gd name="T52" fmla="*/ 120 w 228"/>
                  <a:gd name="T53" fmla="*/ 302 h 391"/>
                  <a:gd name="T54" fmla="*/ 102 w 228"/>
                  <a:gd name="T55" fmla="*/ 316 h 391"/>
                  <a:gd name="T56" fmla="*/ 97 w 228"/>
                  <a:gd name="T57" fmla="*/ 329 h 391"/>
                  <a:gd name="T58" fmla="*/ 94 w 228"/>
                  <a:gd name="T59" fmla="*/ 336 h 391"/>
                  <a:gd name="T60" fmla="*/ 93 w 228"/>
                  <a:gd name="T61" fmla="*/ 358 h 391"/>
                  <a:gd name="T62" fmla="*/ 64 w 228"/>
                  <a:gd name="T63" fmla="*/ 374 h 391"/>
                  <a:gd name="T64" fmla="*/ 56 w 228"/>
                  <a:gd name="T65" fmla="*/ 388 h 391"/>
                  <a:gd name="T66" fmla="*/ 31 w 228"/>
                  <a:gd name="T67" fmla="*/ 385 h 391"/>
                  <a:gd name="T68" fmla="*/ 30 w 228"/>
                  <a:gd name="T69" fmla="*/ 366 h 391"/>
                  <a:gd name="T70" fmla="*/ 13 w 228"/>
                  <a:gd name="T71" fmla="*/ 339 h 391"/>
                  <a:gd name="T72" fmla="*/ 7 w 228"/>
                  <a:gd name="T73" fmla="*/ 329 h 391"/>
                  <a:gd name="T74" fmla="*/ 1 w 228"/>
                  <a:gd name="T75" fmla="*/ 316 h 391"/>
                  <a:gd name="T76" fmla="*/ 10 w 228"/>
                  <a:gd name="T77" fmla="*/ 299 h 391"/>
                  <a:gd name="T78" fmla="*/ 21 w 228"/>
                  <a:gd name="T79" fmla="*/ 276 h 391"/>
                  <a:gd name="T80" fmla="*/ 23 w 228"/>
                  <a:gd name="T81" fmla="*/ 247 h 391"/>
                  <a:gd name="T82" fmla="*/ 20 w 228"/>
                  <a:gd name="T83" fmla="*/ 228 h 391"/>
                  <a:gd name="T84" fmla="*/ 18 w 228"/>
                  <a:gd name="T85" fmla="*/ 192 h 391"/>
                  <a:gd name="T86" fmla="*/ 18 w 228"/>
                  <a:gd name="T87" fmla="*/ 174 h 391"/>
                  <a:gd name="T88" fmla="*/ 38 w 228"/>
                  <a:gd name="T89" fmla="*/ 161 h 391"/>
                  <a:gd name="T90" fmla="*/ 49 w 228"/>
                  <a:gd name="T91" fmla="*/ 146 h 391"/>
                  <a:gd name="T92" fmla="*/ 69 w 228"/>
                  <a:gd name="T93" fmla="*/ 86 h 391"/>
                  <a:gd name="T94" fmla="*/ 83 w 228"/>
                  <a:gd name="T95" fmla="*/ 65 h 391"/>
                  <a:gd name="T96" fmla="*/ 94 w 228"/>
                  <a:gd name="T97" fmla="*/ 39 h 391"/>
                  <a:gd name="T98" fmla="*/ 110 w 228"/>
                  <a:gd name="T99" fmla="*/ 26 h 391"/>
                  <a:gd name="T100" fmla="*/ 123 w 228"/>
                  <a:gd name="T101" fmla="*/ 17 h 391"/>
                  <a:gd name="T102" fmla="*/ 159 w 228"/>
                  <a:gd name="T103" fmla="*/ 14 h 391"/>
                  <a:gd name="T104" fmla="*/ 192 w 228"/>
                  <a:gd name="T105" fmla="*/ 14 h 391"/>
                  <a:gd name="T106" fmla="*/ 212 w 228"/>
                  <a:gd name="T107" fmla="*/ 24 h 391"/>
                  <a:gd name="T108" fmla="*/ 217 w 228"/>
                  <a:gd name="T109" fmla="*/ 36 h 391"/>
                  <a:gd name="T110" fmla="*/ 221 w 228"/>
                  <a:gd name="T111" fmla="*/ 49 h 391"/>
                  <a:gd name="T112" fmla="*/ 224 w 228"/>
                  <a:gd name="T113" fmla="*/ 69 h 391"/>
                  <a:gd name="T114" fmla="*/ 221 w 228"/>
                  <a:gd name="T115" fmla="*/ 85 h 391"/>
                  <a:gd name="T116" fmla="*/ 105 w 228"/>
                  <a:gd name="T117" fmla="*/ 348 h 391"/>
                  <a:gd name="T118" fmla="*/ 123 w 228"/>
                  <a:gd name="T119" fmla="*/ 340 h 391"/>
                  <a:gd name="T120" fmla="*/ 125 w 228"/>
                  <a:gd name="T121" fmla="*/ 356 h 391"/>
                  <a:gd name="T122" fmla="*/ 133 w 228"/>
                  <a:gd name="T123" fmla="*/ 348 h 391"/>
                  <a:gd name="T124" fmla="*/ 136 w 228"/>
                  <a:gd name="T125" fmla="*/ 332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 h="391">
                    <a:moveTo>
                      <a:pt x="140" y="333"/>
                    </a:moveTo>
                    <a:lnTo>
                      <a:pt x="139" y="332"/>
                    </a:lnTo>
                    <a:lnTo>
                      <a:pt x="139" y="330"/>
                    </a:lnTo>
                    <a:lnTo>
                      <a:pt x="142" y="330"/>
                    </a:lnTo>
                    <a:lnTo>
                      <a:pt x="143" y="330"/>
                    </a:lnTo>
                    <a:lnTo>
                      <a:pt x="142" y="330"/>
                    </a:lnTo>
                    <a:lnTo>
                      <a:pt x="140" y="330"/>
                    </a:lnTo>
                    <a:lnTo>
                      <a:pt x="140" y="332"/>
                    </a:lnTo>
                    <a:lnTo>
                      <a:pt x="140" y="333"/>
                    </a:lnTo>
                    <a:close/>
                    <a:moveTo>
                      <a:pt x="130" y="289"/>
                    </a:moveTo>
                    <a:lnTo>
                      <a:pt x="130" y="290"/>
                    </a:lnTo>
                    <a:lnTo>
                      <a:pt x="130" y="292"/>
                    </a:lnTo>
                    <a:lnTo>
                      <a:pt x="130" y="290"/>
                    </a:lnTo>
                    <a:lnTo>
                      <a:pt x="132" y="289"/>
                    </a:lnTo>
                    <a:lnTo>
                      <a:pt x="130" y="289"/>
                    </a:lnTo>
                    <a:lnTo>
                      <a:pt x="130" y="289"/>
                    </a:lnTo>
                    <a:close/>
                    <a:moveTo>
                      <a:pt x="128" y="302"/>
                    </a:moveTo>
                    <a:lnTo>
                      <a:pt x="128" y="302"/>
                    </a:lnTo>
                    <a:lnTo>
                      <a:pt x="126" y="302"/>
                    </a:lnTo>
                    <a:lnTo>
                      <a:pt x="126" y="302"/>
                    </a:lnTo>
                    <a:lnTo>
                      <a:pt x="128" y="300"/>
                    </a:lnTo>
                    <a:lnTo>
                      <a:pt x="128" y="300"/>
                    </a:lnTo>
                    <a:lnTo>
                      <a:pt x="129" y="300"/>
                    </a:lnTo>
                    <a:lnTo>
                      <a:pt x="128" y="300"/>
                    </a:lnTo>
                    <a:lnTo>
                      <a:pt x="128" y="302"/>
                    </a:lnTo>
                    <a:close/>
                    <a:moveTo>
                      <a:pt x="227" y="92"/>
                    </a:moveTo>
                    <a:lnTo>
                      <a:pt x="228" y="100"/>
                    </a:lnTo>
                    <a:lnTo>
                      <a:pt x="225" y="100"/>
                    </a:lnTo>
                    <a:lnTo>
                      <a:pt x="218" y="100"/>
                    </a:lnTo>
                    <a:lnTo>
                      <a:pt x="214" y="100"/>
                    </a:lnTo>
                    <a:lnTo>
                      <a:pt x="212" y="100"/>
                    </a:lnTo>
                    <a:lnTo>
                      <a:pt x="211" y="102"/>
                    </a:lnTo>
                    <a:lnTo>
                      <a:pt x="209" y="103"/>
                    </a:lnTo>
                    <a:lnTo>
                      <a:pt x="208" y="102"/>
                    </a:lnTo>
                    <a:lnTo>
                      <a:pt x="206" y="100"/>
                    </a:lnTo>
                    <a:lnTo>
                      <a:pt x="204" y="98"/>
                    </a:lnTo>
                    <a:lnTo>
                      <a:pt x="201" y="100"/>
                    </a:lnTo>
                    <a:lnTo>
                      <a:pt x="199" y="100"/>
                    </a:lnTo>
                    <a:lnTo>
                      <a:pt x="198" y="99"/>
                    </a:lnTo>
                    <a:lnTo>
                      <a:pt x="196" y="100"/>
                    </a:lnTo>
                    <a:lnTo>
                      <a:pt x="195" y="102"/>
                    </a:lnTo>
                    <a:lnTo>
                      <a:pt x="195" y="106"/>
                    </a:lnTo>
                    <a:lnTo>
                      <a:pt x="195" y="108"/>
                    </a:lnTo>
                    <a:lnTo>
                      <a:pt x="192" y="108"/>
                    </a:lnTo>
                    <a:lnTo>
                      <a:pt x="192" y="109"/>
                    </a:lnTo>
                    <a:lnTo>
                      <a:pt x="192" y="111"/>
                    </a:lnTo>
                    <a:lnTo>
                      <a:pt x="191" y="111"/>
                    </a:lnTo>
                    <a:lnTo>
                      <a:pt x="189" y="111"/>
                    </a:lnTo>
                    <a:lnTo>
                      <a:pt x="189" y="112"/>
                    </a:lnTo>
                    <a:lnTo>
                      <a:pt x="189" y="113"/>
                    </a:lnTo>
                    <a:lnTo>
                      <a:pt x="189" y="115"/>
                    </a:lnTo>
                    <a:lnTo>
                      <a:pt x="188" y="115"/>
                    </a:lnTo>
                    <a:lnTo>
                      <a:pt x="188" y="115"/>
                    </a:lnTo>
                    <a:lnTo>
                      <a:pt x="186" y="115"/>
                    </a:lnTo>
                    <a:lnTo>
                      <a:pt x="185" y="115"/>
                    </a:lnTo>
                    <a:lnTo>
                      <a:pt x="185" y="115"/>
                    </a:lnTo>
                    <a:lnTo>
                      <a:pt x="184" y="115"/>
                    </a:lnTo>
                    <a:lnTo>
                      <a:pt x="182" y="115"/>
                    </a:lnTo>
                    <a:lnTo>
                      <a:pt x="182" y="116"/>
                    </a:lnTo>
                    <a:lnTo>
                      <a:pt x="182" y="118"/>
                    </a:lnTo>
                    <a:lnTo>
                      <a:pt x="182" y="118"/>
                    </a:lnTo>
                    <a:lnTo>
                      <a:pt x="184" y="118"/>
                    </a:lnTo>
                    <a:lnTo>
                      <a:pt x="184" y="119"/>
                    </a:lnTo>
                    <a:lnTo>
                      <a:pt x="184" y="121"/>
                    </a:lnTo>
                    <a:lnTo>
                      <a:pt x="182" y="121"/>
                    </a:lnTo>
                    <a:lnTo>
                      <a:pt x="182" y="119"/>
                    </a:lnTo>
                    <a:lnTo>
                      <a:pt x="181" y="119"/>
                    </a:lnTo>
                    <a:lnTo>
                      <a:pt x="182" y="122"/>
                    </a:lnTo>
                    <a:lnTo>
                      <a:pt x="182" y="125"/>
                    </a:lnTo>
                    <a:lnTo>
                      <a:pt x="182" y="126"/>
                    </a:lnTo>
                    <a:lnTo>
                      <a:pt x="181" y="129"/>
                    </a:lnTo>
                    <a:lnTo>
                      <a:pt x="176" y="134"/>
                    </a:lnTo>
                    <a:lnTo>
                      <a:pt x="176" y="135"/>
                    </a:lnTo>
                    <a:lnTo>
                      <a:pt x="176" y="138"/>
                    </a:lnTo>
                    <a:lnTo>
                      <a:pt x="181" y="148"/>
                    </a:lnTo>
                    <a:lnTo>
                      <a:pt x="181" y="149"/>
                    </a:lnTo>
                    <a:lnTo>
                      <a:pt x="181" y="151"/>
                    </a:lnTo>
                    <a:lnTo>
                      <a:pt x="175" y="157"/>
                    </a:lnTo>
                    <a:lnTo>
                      <a:pt x="173" y="158"/>
                    </a:lnTo>
                    <a:lnTo>
                      <a:pt x="169" y="164"/>
                    </a:lnTo>
                    <a:lnTo>
                      <a:pt x="168" y="167"/>
                    </a:lnTo>
                    <a:lnTo>
                      <a:pt x="166" y="168"/>
                    </a:lnTo>
                    <a:lnTo>
                      <a:pt x="162" y="171"/>
                    </a:lnTo>
                    <a:lnTo>
                      <a:pt x="161" y="172"/>
                    </a:lnTo>
                    <a:lnTo>
                      <a:pt x="159" y="172"/>
                    </a:lnTo>
                    <a:lnTo>
                      <a:pt x="158" y="174"/>
                    </a:lnTo>
                    <a:lnTo>
                      <a:pt x="155" y="174"/>
                    </a:lnTo>
                    <a:lnTo>
                      <a:pt x="153" y="175"/>
                    </a:lnTo>
                    <a:lnTo>
                      <a:pt x="152" y="177"/>
                    </a:lnTo>
                    <a:lnTo>
                      <a:pt x="150" y="178"/>
                    </a:lnTo>
                    <a:lnTo>
                      <a:pt x="149" y="178"/>
                    </a:lnTo>
                    <a:lnTo>
                      <a:pt x="146" y="178"/>
                    </a:lnTo>
                    <a:lnTo>
                      <a:pt x="146" y="178"/>
                    </a:lnTo>
                    <a:lnTo>
                      <a:pt x="146" y="180"/>
                    </a:lnTo>
                    <a:lnTo>
                      <a:pt x="146" y="180"/>
                    </a:lnTo>
                    <a:lnTo>
                      <a:pt x="145" y="178"/>
                    </a:lnTo>
                    <a:lnTo>
                      <a:pt x="143" y="180"/>
                    </a:lnTo>
                    <a:lnTo>
                      <a:pt x="140" y="182"/>
                    </a:lnTo>
                    <a:lnTo>
                      <a:pt x="139" y="184"/>
                    </a:lnTo>
                    <a:lnTo>
                      <a:pt x="138" y="185"/>
                    </a:lnTo>
                    <a:lnTo>
                      <a:pt x="136" y="185"/>
                    </a:lnTo>
                    <a:lnTo>
                      <a:pt x="133" y="185"/>
                    </a:lnTo>
                    <a:lnTo>
                      <a:pt x="135" y="185"/>
                    </a:lnTo>
                    <a:lnTo>
                      <a:pt x="135" y="185"/>
                    </a:lnTo>
                    <a:lnTo>
                      <a:pt x="135" y="187"/>
                    </a:lnTo>
                    <a:lnTo>
                      <a:pt x="133" y="187"/>
                    </a:lnTo>
                    <a:lnTo>
                      <a:pt x="132" y="187"/>
                    </a:lnTo>
                    <a:lnTo>
                      <a:pt x="132" y="188"/>
                    </a:lnTo>
                    <a:lnTo>
                      <a:pt x="130" y="188"/>
                    </a:lnTo>
                    <a:lnTo>
                      <a:pt x="128" y="191"/>
                    </a:lnTo>
                    <a:lnTo>
                      <a:pt x="128" y="191"/>
                    </a:lnTo>
                    <a:lnTo>
                      <a:pt x="126" y="192"/>
                    </a:lnTo>
                    <a:lnTo>
                      <a:pt x="126" y="192"/>
                    </a:lnTo>
                    <a:lnTo>
                      <a:pt x="126" y="192"/>
                    </a:lnTo>
                    <a:lnTo>
                      <a:pt x="128" y="192"/>
                    </a:lnTo>
                    <a:lnTo>
                      <a:pt x="129" y="192"/>
                    </a:lnTo>
                    <a:lnTo>
                      <a:pt x="128" y="194"/>
                    </a:lnTo>
                    <a:lnTo>
                      <a:pt x="126" y="197"/>
                    </a:lnTo>
                    <a:lnTo>
                      <a:pt x="123" y="198"/>
                    </a:lnTo>
                    <a:lnTo>
                      <a:pt x="122" y="198"/>
                    </a:lnTo>
                    <a:lnTo>
                      <a:pt x="122" y="198"/>
                    </a:lnTo>
                    <a:lnTo>
                      <a:pt x="122" y="197"/>
                    </a:lnTo>
                    <a:lnTo>
                      <a:pt x="122" y="197"/>
                    </a:lnTo>
                    <a:lnTo>
                      <a:pt x="120" y="197"/>
                    </a:lnTo>
                    <a:lnTo>
                      <a:pt x="120" y="197"/>
                    </a:lnTo>
                    <a:lnTo>
                      <a:pt x="119" y="197"/>
                    </a:lnTo>
                    <a:lnTo>
                      <a:pt x="119" y="195"/>
                    </a:lnTo>
                    <a:lnTo>
                      <a:pt x="119" y="197"/>
                    </a:lnTo>
                    <a:lnTo>
                      <a:pt x="119" y="198"/>
                    </a:lnTo>
                    <a:lnTo>
                      <a:pt x="119" y="200"/>
                    </a:lnTo>
                    <a:lnTo>
                      <a:pt x="119" y="201"/>
                    </a:lnTo>
                    <a:lnTo>
                      <a:pt x="119" y="203"/>
                    </a:lnTo>
                    <a:lnTo>
                      <a:pt x="120" y="203"/>
                    </a:lnTo>
                    <a:lnTo>
                      <a:pt x="120" y="203"/>
                    </a:lnTo>
                    <a:lnTo>
                      <a:pt x="119" y="204"/>
                    </a:lnTo>
                    <a:lnTo>
                      <a:pt x="116" y="205"/>
                    </a:lnTo>
                    <a:lnTo>
                      <a:pt x="115" y="205"/>
                    </a:lnTo>
                    <a:lnTo>
                      <a:pt x="115" y="207"/>
                    </a:lnTo>
                    <a:lnTo>
                      <a:pt x="115" y="207"/>
                    </a:lnTo>
                    <a:lnTo>
                      <a:pt x="113" y="207"/>
                    </a:lnTo>
                    <a:lnTo>
                      <a:pt x="113" y="207"/>
                    </a:lnTo>
                    <a:lnTo>
                      <a:pt x="113" y="207"/>
                    </a:lnTo>
                    <a:lnTo>
                      <a:pt x="112" y="207"/>
                    </a:lnTo>
                    <a:lnTo>
                      <a:pt x="110" y="207"/>
                    </a:lnTo>
                    <a:lnTo>
                      <a:pt x="110" y="207"/>
                    </a:lnTo>
                    <a:lnTo>
                      <a:pt x="109" y="207"/>
                    </a:lnTo>
                    <a:lnTo>
                      <a:pt x="109" y="207"/>
                    </a:lnTo>
                    <a:lnTo>
                      <a:pt x="109" y="208"/>
                    </a:lnTo>
                    <a:lnTo>
                      <a:pt x="110" y="210"/>
                    </a:lnTo>
                    <a:lnTo>
                      <a:pt x="110" y="211"/>
                    </a:lnTo>
                    <a:lnTo>
                      <a:pt x="112" y="213"/>
                    </a:lnTo>
                    <a:lnTo>
                      <a:pt x="113" y="213"/>
                    </a:lnTo>
                    <a:lnTo>
                      <a:pt x="110" y="215"/>
                    </a:lnTo>
                    <a:lnTo>
                      <a:pt x="109" y="220"/>
                    </a:lnTo>
                    <a:lnTo>
                      <a:pt x="109" y="224"/>
                    </a:lnTo>
                    <a:lnTo>
                      <a:pt x="110" y="228"/>
                    </a:lnTo>
                    <a:lnTo>
                      <a:pt x="109" y="228"/>
                    </a:lnTo>
                    <a:lnTo>
                      <a:pt x="109" y="227"/>
                    </a:lnTo>
                    <a:lnTo>
                      <a:pt x="107" y="227"/>
                    </a:lnTo>
                    <a:lnTo>
                      <a:pt x="106" y="227"/>
                    </a:lnTo>
                    <a:lnTo>
                      <a:pt x="106" y="228"/>
                    </a:lnTo>
                    <a:lnTo>
                      <a:pt x="106" y="230"/>
                    </a:lnTo>
                    <a:lnTo>
                      <a:pt x="106" y="233"/>
                    </a:lnTo>
                    <a:lnTo>
                      <a:pt x="105" y="234"/>
                    </a:lnTo>
                    <a:lnTo>
                      <a:pt x="106" y="236"/>
                    </a:lnTo>
                    <a:lnTo>
                      <a:pt x="106" y="237"/>
                    </a:lnTo>
                    <a:lnTo>
                      <a:pt x="106" y="238"/>
                    </a:lnTo>
                    <a:lnTo>
                      <a:pt x="106" y="247"/>
                    </a:lnTo>
                    <a:lnTo>
                      <a:pt x="106" y="254"/>
                    </a:lnTo>
                    <a:lnTo>
                      <a:pt x="107" y="256"/>
                    </a:lnTo>
                    <a:lnTo>
                      <a:pt x="107" y="257"/>
                    </a:lnTo>
                    <a:lnTo>
                      <a:pt x="109" y="257"/>
                    </a:lnTo>
                    <a:lnTo>
                      <a:pt x="110" y="257"/>
                    </a:lnTo>
                    <a:lnTo>
                      <a:pt x="110" y="259"/>
                    </a:lnTo>
                    <a:lnTo>
                      <a:pt x="113" y="260"/>
                    </a:lnTo>
                    <a:lnTo>
                      <a:pt x="115" y="260"/>
                    </a:lnTo>
                    <a:lnTo>
                      <a:pt x="115" y="260"/>
                    </a:lnTo>
                    <a:lnTo>
                      <a:pt x="117" y="260"/>
                    </a:lnTo>
                    <a:lnTo>
                      <a:pt x="119" y="260"/>
                    </a:lnTo>
                    <a:lnTo>
                      <a:pt x="119" y="260"/>
                    </a:lnTo>
                    <a:lnTo>
                      <a:pt x="122" y="263"/>
                    </a:lnTo>
                    <a:lnTo>
                      <a:pt x="122" y="264"/>
                    </a:lnTo>
                    <a:lnTo>
                      <a:pt x="123" y="264"/>
                    </a:lnTo>
                    <a:lnTo>
                      <a:pt x="126" y="266"/>
                    </a:lnTo>
                    <a:lnTo>
                      <a:pt x="128" y="267"/>
                    </a:lnTo>
                    <a:lnTo>
                      <a:pt x="129" y="269"/>
                    </a:lnTo>
                    <a:lnTo>
                      <a:pt x="129" y="269"/>
                    </a:lnTo>
                    <a:lnTo>
                      <a:pt x="129" y="270"/>
                    </a:lnTo>
                    <a:lnTo>
                      <a:pt x="129" y="272"/>
                    </a:lnTo>
                    <a:lnTo>
                      <a:pt x="130" y="273"/>
                    </a:lnTo>
                    <a:lnTo>
                      <a:pt x="133" y="273"/>
                    </a:lnTo>
                    <a:lnTo>
                      <a:pt x="135" y="274"/>
                    </a:lnTo>
                    <a:lnTo>
                      <a:pt x="136" y="276"/>
                    </a:lnTo>
                    <a:lnTo>
                      <a:pt x="138" y="279"/>
                    </a:lnTo>
                    <a:lnTo>
                      <a:pt x="136" y="282"/>
                    </a:lnTo>
                    <a:lnTo>
                      <a:pt x="135" y="283"/>
                    </a:lnTo>
                    <a:lnTo>
                      <a:pt x="133" y="286"/>
                    </a:lnTo>
                    <a:lnTo>
                      <a:pt x="130" y="287"/>
                    </a:lnTo>
                    <a:lnTo>
                      <a:pt x="126" y="290"/>
                    </a:lnTo>
                    <a:lnTo>
                      <a:pt x="122" y="293"/>
                    </a:lnTo>
                    <a:lnTo>
                      <a:pt x="119" y="293"/>
                    </a:lnTo>
                    <a:lnTo>
                      <a:pt x="117" y="293"/>
                    </a:lnTo>
                    <a:lnTo>
                      <a:pt x="116" y="292"/>
                    </a:lnTo>
                    <a:lnTo>
                      <a:pt x="116" y="287"/>
                    </a:lnTo>
                    <a:lnTo>
                      <a:pt x="115" y="286"/>
                    </a:lnTo>
                    <a:lnTo>
                      <a:pt x="115" y="289"/>
                    </a:lnTo>
                    <a:lnTo>
                      <a:pt x="113" y="289"/>
                    </a:lnTo>
                    <a:lnTo>
                      <a:pt x="112" y="289"/>
                    </a:lnTo>
                    <a:lnTo>
                      <a:pt x="110" y="287"/>
                    </a:lnTo>
                    <a:lnTo>
                      <a:pt x="109" y="287"/>
                    </a:lnTo>
                    <a:lnTo>
                      <a:pt x="109" y="287"/>
                    </a:lnTo>
                    <a:lnTo>
                      <a:pt x="109" y="289"/>
                    </a:lnTo>
                    <a:lnTo>
                      <a:pt x="109" y="290"/>
                    </a:lnTo>
                    <a:lnTo>
                      <a:pt x="106" y="289"/>
                    </a:lnTo>
                    <a:lnTo>
                      <a:pt x="103" y="289"/>
                    </a:lnTo>
                    <a:lnTo>
                      <a:pt x="102" y="287"/>
                    </a:lnTo>
                    <a:lnTo>
                      <a:pt x="99" y="289"/>
                    </a:lnTo>
                    <a:lnTo>
                      <a:pt x="96" y="287"/>
                    </a:lnTo>
                    <a:lnTo>
                      <a:pt x="94" y="286"/>
                    </a:lnTo>
                    <a:lnTo>
                      <a:pt x="93" y="289"/>
                    </a:lnTo>
                    <a:lnTo>
                      <a:pt x="92" y="289"/>
                    </a:lnTo>
                    <a:lnTo>
                      <a:pt x="89" y="290"/>
                    </a:lnTo>
                    <a:lnTo>
                      <a:pt x="86" y="290"/>
                    </a:lnTo>
                    <a:lnTo>
                      <a:pt x="89" y="292"/>
                    </a:lnTo>
                    <a:lnTo>
                      <a:pt x="96" y="290"/>
                    </a:lnTo>
                    <a:lnTo>
                      <a:pt x="99" y="292"/>
                    </a:lnTo>
                    <a:lnTo>
                      <a:pt x="102" y="292"/>
                    </a:lnTo>
                    <a:lnTo>
                      <a:pt x="109" y="295"/>
                    </a:lnTo>
                    <a:lnTo>
                      <a:pt x="109" y="295"/>
                    </a:lnTo>
                    <a:lnTo>
                      <a:pt x="112" y="295"/>
                    </a:lnTo>
                    <a:lnTo>
                      <a:pt x="115" y="296"/>
                    </a:lnTo>
                    <a:lnTo>
                      <a:pt x="117" y="295"/>
                    </a:lnTo>
                    <a:lnTo>
                      <a:pt x="123" y="295"/>
                    </a:lnTo>
                    <a:lnTo>
                      <a:pt x="128" y="292"/>
                    </a:lnTo>
                    <a:lnTo>
                      <a:pt x="129" y="292"/>
                    </a:lnTo>
                    <a:lnTo>
                      <a:pt x="130" y="295"/>
                    </a:lnTo>
                    <a:lnTo>
                      <a:pt x="129" y="295"/>
                    </a:lnTo>
                    <a:lnTo>
                      <a:pt x="128" y="295"/>
                    </a:lnTo>
                    <a:lnTo>
                      <a:pt x="128" y="297"/>
                    </a:lnTo>
                    <a:lnTo>
                      <a:pt x="126" y="297"/>
                    </a:lnTo>
                    <a:lnTo>
                      <a:pt x="125" y="300"/>
                    </a:lnTo>
                    <a:lnTo>
                      <a:pt x="123" y="300"/>
                    </a:lnTo>
                    <a:lnTo>
                      <a:pt x="120" y="302"/>
                    </a:lnTo>
                    <a:lnTo>
                      <a:pt x="113" y="306"/>
                    </a:lnTo>
                    <a:lnTo>
                      <a:pt x="105" y="310"/>
                    </a:lnTo>
                    <a:lnTo>
                      <a:pt x="102" y="312"/>
                    </a:lnTo>
                    <a:lnTo>
                      <a:pt x="99" y="312"/>
                    </a:lnTo>
                    <a:lnTo>
                      <a:pt x="92" y="312"/>
                    </a:lnTo>
                    <a:lnTo>
                      <a:pt x="89" y="313"/>
                    </a:lnTo>
                    <a:lnTo>
                      <a:pt x="96" y="313"/>
                    </a:lnTo>
                    <a:lnTo>
                      <a:pt x="99" y="315"/>
                    </a:lnTo>
                    <a:lnTo>
                      <a:pt x="102" y="316"/>
                    </a:lnTo>
                    <a:lnTo>
                      <a:pt x="100" y="317"/>
                    </a:lnTo>
                    <a:lnTo>
                      <a:pt x="99" y="317"/>
                    </a:lnTo>
                    <a:lnTo>
                      <a:pt x="97" y="317"/>
                    </a:lnTo>
                    <a:lnTo>
                      <a:pt x="96" y="317"/>
                    </a:lnTo>
                    <a:lnTo>
                      <a:pt x="97" y="320"/>
                    </a:lnTo>
                    <a:lnTo>
                      <a:pt x="97" y="323"/>
                    </a:lnTo>
                    <a:lnTo>
                      <a:pt x="97" y="325"/>
                    </a:lnTo>
                    <a:lnTo>
                      <a:pt x="97" y="328"/>
                    </a:lnTo>
                    <a:lnTo>
                      <a:pt x="97" y="329"/>
                    </a:lnTo>
                    <a:lnTo>
                      <a:pt x="97" y="330"/>
                    </a:lnTo>
                    <a:lnTo>
                      <a:pt x="97" y="332"/>
                    </a:lnTo>
                    <a:lnTo>
                      <a:pt x="97" y="332"/>
                    </a:lnTo>
                    <a:lnTo>
                      <a:pt x="96" y="332"/>
                    </a:lnTo>
                    <a:lnTo>
                      <a:pt x="96" y="332"/>
                    </a:lnTo>
                    <a:lnTo>
                      <a:pt x="94" y="332"/>
                    </a:lnTo>
                    <a:lnTo>
                      <a:pt x="94" y="333"/>
                    </a:lnTo>
                    <a:lnTo>
                      <a:pt x="94" y="335"/>
                    </a:lnTo>
                    <a:lnTo>
                      <a:pt x="94" y="336"/>
                    </a:lnTo>
                    <a:lnTo>
                      <a:pt x="94" y="338"/>
                    </a:lnTo>
                    <a:lnTo>
                      <a:pt x="96" y="342"/>
                    </a:lnTo>
                    <a:lnTo>
                      <a:pt x="96" y="343"/>
                    </a:lnTo>
                    <a:lnTo>
                      <a:pt x="96" y="345"/>
                    </a:lnTo>
                    <a:lnTo>
                      <a:pt x="94" y="348"/>
                    </a:lnTo>
                    <a:lnTo>
                      <a:pt x="93" y="349"/>
                    </a:lnTo>
                    <a:lnTo>
                      <a:pt x="93" y="351"/>
                    </a:lnTo>
                    <a:lnTo>
                      <a:pt x="93" y="355"/>
                    </a:lnTo>
                    <a:lnTo>
                      <a:pt x="93" y="358"/>
                    </a:lnTo>
                    <a:lnTo>
                      <a:pt x="87" y="368"/>
                    </a:lnTo>
                    <a:lnTo>
                      <a:pt x="84" y="372"/>
                    </a:lnTo>
                    <a:lnTo>
                      <a:pt x="82" y="374"/>
                    </a:lnTo>
                    <a:lnTo>
                      <a:pt x="80" y="374"/>
                    </a:lnTo>
                    <a:lnTo>
                      <a:pt x="77" y="374"/>
                    </a:lnTo>
                    <a:lnTo>
                      <a:pt x="76" y="374"/>
                    </a:lnTo>
                    <a:lnTo>
                      <a:pt x="70" y="374"/>
                    </a:lnTo>
                    <a:lnTo>
                      <a:pt x="67" y="374"/>
                    </a:lnTo>
                    <a:lnTo>
                      <a:pt x="64" y="374"/>
                    </a:lnTo>
                    <a:lnTo>
                      <a:pt x="63" y="374"/>
                    </a:lnTo>
                    <a:lnTo>
                      <a:pt x="63" y="376"/>
                    </a:lnTo>
                    <a:lnTo>
                      <a:pt x="60" y="376"/>
                    </a:lnTo>
                    <a:lnTo>
                      <a:pt x="57" y="376"/>
                    </a:lnTo>
                    <a:lnTo>
                      <a:pt x="56" y="378"/>
                    </a:lnTo>
                    <a:lnTo>
                      <a:pt x="54" y="381"/>
                    </a:lnTo>
                    <a:lnTo>
                      <a:pt x="54" y="384"/>
                    </a:lnTo>
                    <a:lnTo>
                      <a:pt x="54" y="385"/>
                    </a:lnTo>
                    <a:lnTo>
                      <a:pt x="56" y="388"/>
                    </a:lnTo>
                    <a:lnTo>
                      <a:pt x="54" y="389"/>
                    </a:lnTo>
                    <a:lnTo>
                      <a:pt x="51" y="391"/>
                    </a:lnTo>
                    <a:lnTo>
                      <a:pt x="49" y="391"/>
                    </a:lnTo>
                    <a:lnTo>
                      <a:pt x="46" y="391"/>
                    </a:lnTo>
                    <a:lnTo>
                      <a:pt x="41" y="391"/>
                    </a:lnTo>
                    <a:lnTo>
                      <a:pt x="38" y="391"/>
                    </a:lnTo>
                    <a:lnTo>
                      <a:pt x="36" y="391"/>
                    </a:lnTo>
                    <a:lnTo>
                      <a:pt x="30" y="391"/>
                    </a:lnTo>
                    <a:lnTo>
                      <a:pt x="31" y="385"/>
                    </a:lnTo>
                    <a:lnTo>
                      <a:pt x="30" y="379"/>
                    </a:lnTo>
                    <a:lnTo>
                      <a:pt x="27" y="375"/>
                    </a:lnTo>
                    <a:lnTo>
                      <a:pt x="23" y="371"/>
                    </a:lnTo>
                    <a:lnTo>
                      <a:pt x="24" y="371"/>
                    </a:lnTo>
                    <a:lnTo>
                      <a:pt x="26" y="372"/>
                    </a:lnTo>
                    <a:lnTo>
                      <a:pt x="27" y="372"/>
                    </a:lnTo>
                    <a:lnTo>
                      <a:pt x="28" y="371"/>
                    </a:lnTo>
                    <a:lnTo>
                      <a:pt x="26" y="368"/>
                    </a:lnTo>
                    <a:lnTo>
                      <a:pt x="30" y="366"/>
                    </a:lnTo>
                    <a:lnTo>
                      <a:pt x="30" y="363"/>
                    </a:lnTo>
                    <a:lnTo>
                      <a:pt x="27" y="362"/>
                    </a:lnTo>
                    <a:lnTo>
                      <a:pt x="24" y="359"/>
                    </a:lnTo>
                    <a:lnTo>
                      <a:pt x="21" y="355"/>
                    </a:lnTo>
                    <a:lnTo>
                      <a:pt x="18" y="352"/>
                    </a:lnTo>
                    <a:lnTo>
                      <a:pt x="17" y="348"/>
                    </a:lnTo>
                    <a:lnTo>
                      <a:pt x="15" y="343"/>
                    </a:lnTo>
                    <a:lnTo>
                      <a:pt x="14" y="345"/>
                    </a:lnTo>
                    <a:lnTo>
                      <a:pt x="13" y="339"/>
                    </a:lnTo>
                    <a:lnTo>
                      <a:pt x="11" y="338"/>
                    </a:lnTo>
                    <a:lnTo>
                      <a:pt x="11" y="338"/>
                    </a:lnTo>
                    <a:lnTo>
                      <a:pt x="10" y="336"/>
                    </a:lnTo>
                    <a:lnTo>
                      <a:pt x="10" y="335"/>
                    </a:lnTo>
                    <a:lnTo>
                      <a:pt x="10" y="335"/>
                    </a:lnTo>
                    <a:lnTo>
                      <a:pt x="10" y="332"/>
                    </a:lnTo>
                    <a:lnTo>
                      <a:pt x="10" y="330"/>
                    </a:lnTo>
                    <a:lnTo>
                      <a:pt x="8" y="330"/>
                    </a:lnTo>
                    <a:lnTo>
                      <a:pt x="7" y="329"/>
                    </a:lnTo>
                    <a:lnTo>
                      <a:pt x="7" y="329"/>
                    </a:lnTo>
                    <a:lnTo>
                      <a:pt x="5" y="328"/>
                    </a:lnTo>
                    <a:lnTo>
                      <a:pt x="5" y="328"/>
                    </a:lnTo>
                    <a:lnTo>
                      <a:pt x="5" y="326"/>
                    </a:lnTo>
                    <a:lnTo>
                      <a:pt x="5" y="325"/>
                    </a:lnTo>
                    <a:lnTo>
                      <a:pt x="4" y="320"/>
                    </a:lnTo>
                    <a:lnTo>
                      <a:pt x="4" y="319"/>
                    </a:lnTo>
                    <a:lnTo>
                      <a:pt x="1" y="319"/>
                    </a:lnTo>
                    <a:lnTo>
                      <a:pt x="1" y="316"/>
                    </a:lnTo>
                    <a:lnTo>
                      <a:pt x="1" y="313"/>
                    </a:lnTo>
                    <a:lnTo>
                      <a:pt x="0" y="305"/>
                    </a:lnTo>
                    <a:lnTo>
                      <a:pt x="0" y="302"/>
                    </a:lnTo>
                    <a:lnTo>
                      <a:pt x="1" y="300"/>
                    </a:lnTo>
                    <a:lnTo>
                      <a:pt x="4" y="302"/>
                    </a:lnTo>
                    <a:lnTo>
                      <a:pt x="5" y="305"/>
                    </a:lnTo>
                    <a:lnTo>
                      <a:pt x="7" y="305"/>
                    </a:lnTo>
                    <a:lnTo>
                      <a:pt x="8" y="302"/>
                    </a:lnTo>
                    <a:lnTo>
                      <a:pt x="10" y="299"/>
                    </a:lnTo>
                    <a:lnTo>
                      <a:pt x="10" y="296"/>
                    </a:lnTo>
                    <a:lnTo>
                      <a:pt x="10" y="290"/>
                    </a:lnTo>
                    <a:lnTo>
                      <a:pt x="8" y="287"/>
                    </a:lnTo>
                    <a:lnTo>
                      <a:pt x="10" y="286"/>
                    </a:lnTo>
                    <a:lnTo>
                      <a:pt x="13" y="280"/>
                    </a:lnTo>
                    <a:lnTo>
                      <a:pt x="14" y="279"/>
                    </a:lnTo>
                    <a:lnTo>
                      <a:pt x="15" y="277"/>
                    </a:lnTo>
                    <a:lnTo>
                      <a:pt x="18" y="277"/>
                    </a:lnTo>
                    <a:lnTo>
                      <a:pt x="21" y="276"/>
                    </a:lnTo>
                    <a:lnTo>
                      <a:pt x="23" y="273"/>
                    </a:lnTo>
                    <a:lnTo>
                      <a:pt x="24" y="269"/>
                    </a:lnTo>
                    <a:lnTo>
                      <a:pt x="24" y="263"/>
                    </a:lnTo>
                    <a:lnTo>
                      <a:pt x="23" y="259"/>
                    </a:lnTo>
                    <a:lnTo>
                      <a:pt x="20" y="250"/>
                    </a:lnTo>
                    <a:lnTo>
                      <a:pt x="20" y="249"/>
                    </a:lnTo>
                    <a:lnTo>
                      <a:pt x="20" y="247"/>
                    </a:lnTo>
                    <a:lnTo>
                      <a:pt x="21" y="247"/>
                    </a:lnTo>
                    <a:lnTo>
                      <a:pt x="23" y="247"/>
                    </a:lnTo>
                    <a:lnTo>
                      <a:pt x="24" y="247"/>
                    </a:lnTo>
                    <a:lnTo>
                      <a:pt x="26" y="246"/>
                    </a:lnTo>
                    <a:lnTo>
                      <a:pt x="27" y="246"/>
                    </a:lnTo>
                    <a:lnTo>
                      <a:pt x="28" y="243"/>
                    </a:lnTo>
                    <a:lnTo>
                      <a:pt x="30" y="240"/>
                    </a:lnTo>
                    <a:lnTo>
                      <a:pt x="30" y="238"/>
                    </a:lnTo>
                    <a:lnTo>
                      <a:pt x="28" y="236"/>
                    </a:lnTo>
                    <a:lnTo>
                      <a:pt x="27" y="234"/>
                    </a:lnTo>
                    <a:lnTo>
                      <a:pt x="20" y="228"/>
                    </a:lnTo>
                    <a:lnTo>
                      <a:pt x="18" y="227"/>
                    </a:lnTo>
                    <a:lnTo>
                      <a:pt x="18" y="224"/>
                    </a:lnTo>
                    <a:lnTo>
                      <a:pt x="20" y="215"/>
                    </a:lnTo>
                    <a:lnTo>
                      <a:pt x="20" y="213"/>
                    </a:lnTo>
                    <a:lnTo>
                      <a:pt x="20" y="210"/>
                    </a:lnTo>
                    <a:lnTo>
                      <a:pt x="17" y="203"/>
                    </a:lnTo>
                    <a:lnTo>
                      <a:pt x="17" y="194"/>
                    </a:lnTo>
                    <a:lnTo>
                      <a:pt x="17" y="194"/>
                    </a:lnTo>
                    <a:lnTo>
                      <a:pt x="18" y="192"/>
                    </a:lnTo>
                    <a:lnTo>
                      <a:pt x="18" y="192"/>
                    </a:lnTo>
                    <a:lnTo>
                      <a:pt x="18" y="191"/>
                    </a:lnTo>
                    <a:lnTo>
                      <a:pt x="17" y="191"/>
                    </a:lnTo>
                    <a:lnTo>
                      <a:pt x="17" y="190"/>
                    </a:lnTo>
                    <a:lnTo>
                      <a:pt x="15" y="185"/>
                    </a:lnTo>
                    <a:lnTo>
                      <a:pt x="15" y="184"/>
                    </a:lnTo>
                    <a:lnTo>
                      <a:pt x="17" y="178"/>
                    </a:lnTo>
                    <a:lnTo>
                      <a:pt x="18" y="175"/>
                    </a:lnTo>
                    <a:lnTo>
                      <a:pt x="18" y="174"/>
                    </a:lnTo>
                    <a:lnTo>
                      <a:pt x="18" y="174"/>
                    </a:lnTo>
                    <a:lnTo>
                      <a:pt x="21" y="169"/>
                    </a:lnTo>
                    <a:lnTo>
                      <a:pt x="26" y="167"/>
                    </a:lnTo>
                    <a:lnTo>
                      <a:pt x="27" y="164"/>
                    </a:lnTo>
                    <a:lnTo>
                      <a:pt x="28" y="162"/>
                    </a:lnTo>
                    <a:lnTo>
                      <a:pt x="31" y="161"/>
                    </a:lnTo>
                    <a:lnTo>
                      <a:pt x="34" y="161"/>
                    </a:lnTo>
                    <a:lnTo>
                      <a:pt x="36" y="161"/>
                    </a:lnTo>
                    <a:lnTo>
                      <a:pt x="38" y="161"/>
                    </a:lnTo>
                    <a:lnTo>
                      <a:pt x="44" y="162"/>
                    </a:lnTo>
                    <a:lnTo>
                      <a:pt x="47" y="162"/>
                    </a:lnTo>
                    <a:lnTo>
                      <a:pt x="50" y="161"/>
                    </a:lnTo>
                    <a:lnTo>
                      <a:pt x="51" y="159"/>
                    </a:lnTo>
                    <a:lnTo>
                      <a:pt x="53" y="157"/>
                    </a:lnTo>
                    <a:lnTo>
                      <a:pt x="53" y="154"/>
                    </a:lnTo>
                    <a:lnTo>
                      <a:pt x="51" y="151"/>
                    </a:lnTo>
                    <a:lnTo>
                      <a:pt x="50" y="148"/>
                    </a:lnTo>
                    <a:lnTo>
                      <a:pt x="49" y="146"/>
                    </a:lnTo>
                    <a:lnTo>
                      <a:pt x="44" y="144"/>
                    </a:lnTo>
                    <a:lnTo>
                      <a:pt x="51" y="132"/>
                    </a:lnTo>
                    <a:lnTo>
                      <a:pt x="56" y="125"/>
                    </a:lnTo>
                    <a:lnTo>
                      <a:pt x="59" y="119"/>
                    </a:lnTo>
                    <a:lnTo>
                      <a:pt x="60" y="111"/>
                    </a:lnTo>
                    <a:lnTo>
                      <a:pt x="60" y="103"/>
                    </a:lnTo>
                    <a:lnTo>
                      <a:pt x="60" y="95"/>
                    </a:lnTo>
                    <a:lnTo>
                      <a:pt x="59" y="88"/>
                    </a:lnTo>
                    <a:lnTo>
                      <a:pt x="69" y="86"/>
                    </a:lnTo>
                    <a:lnTo>
                      <a:pt x="73" y="85"/>
                    </a:lnTo>
                    <a:lnTo>
                      <a:pt x="76" y="80"/>
                    </a:lnTo>
                    <a:lnTo>
                      <a:pt x="76" y="79"/>
                    </a:lnTo>
                    <a:lnTo>
                      <a:pt x="74" y="76"/>
                    </a:lnTo>
                    <a:lnTo>
                      <a:pt x="74" y="75"/>
                    </a:lnTo>
                    <a:lnTo>
                      <a:pt x="76" y="75"/>
                    </a:lnTo>
                    <a:lnTo>
                      <a:pt x="76" y="73"/>
                    </a:lnTo>
                    <a:lnTo>
                      <a:pt x="76" y="73"/>
                    </a:lnTo>
                    <a:lnTo>
                      <a:pt x="83" y="65"/>
                    </a:lnTo>
                    <a:lnTo>
                      <a:pt x="89" y="60"/>
                    </a:lnTo>
                    <a:lnTo>
                      <a:pt x="92" y="57"/>
                    </a:lnTo>
                    <a:lnTo>
                      <a:pt x="93" y="53"/>
                    </a:lnTo>
                    <a:lnTo>
                      <a:pt x="92" y="50"/>
                    </a:lnTo>
                    <a:lnTo>
                      <a:pt x="89" y="47"/>
                    </a:lnTo>
                    <a:lnTo>
                      <a:pt x="87" y="44"/>
                    </a:lnTo>
                    <a:lnTo>
                      <a:pt x="90" y="42"/>
                    </a:lnTo>
                    <a:lnTo>
                      <a:pt x="93" y="40"/>
                    </a:lnTo>
                    <a:lnTo>
                      <a:pt x="94" y="39"/>
                    </a:lnTo>
                    <a:lnTo>
                      <a:pt x="96" y="37"/>
                    </a:lnTo>
                    <a:lnTo>
                      <a:pt x="96" y="36"/>
                    </a:lnTo>
                    <a:lnTo>
                      <a:pt x="97" y="31"/>
                    </a:lnTo>
                    <a:lnTo>
                      <a:pt x="99" y="30"/>
                    </a:lnTo>
                    <a:lnTo>
                      <a:pt x="100" y="29"/>
                    </a:lnTo>
                    <a:lnTo>
                      <a:pt x="102" y="29"/>
                    </a:lnTo>
                    <a:lnTo>
                      <a:pt x="107" y="26"/>
                    </a:lnTo>
                    <a:lnTo>
                      <a:pt x="109" y="26"/>
                    </a:lnTo>
                    <a:lnTo>
                      <a:pt x="110" y="26"/>
                    </a:lnTo>
                    <a:lnTo>
                      <a:pt x="116" y="27"/>
                    </a:lnTo>
                    <a:lnTo>
                      <a:pt x="117" y="27"/>
                    </a:lnTo>
                    <a:lnTo>
                      <a:pt x="120" y="27"/>
                    </a:lnTo>
                    <a:lnTo>
                      <a:pt x="122" y="26"/>
                    </a:lnTo>
                    <a:lnTo>
                      <a:pt x="122" y="24"/>
                    </a:lnTo>
                    <a:lnTo>
                      <a:pt x="123" y="23"/>
                    </a:lnTo>
                    <a:lnTo>
                      <a:pt x="123" y="21"/>
                    </a:lnTo>
                    <a:lnTo>
                      <a:pt x="123" y="19"/>
                    </a:lnTo>
                    <a:lnTo>
                      <a:pt x="123" y="17"/>
                    </a:lnTo>
                    <a:lnTo>
                      <a:pt x="122" y="14"/>
                    </a:lnTo>
                    <a:lnTo>
                      <a:pt x="123" y="13"/>
                    </a:lnTo>
                    <a:lnTo>
                      <a:pt x="125" y="13"/>
                    </a:lnTo>
                    <a:lnTo>
                      <a:pt x="126" y="13"/>
                    </a:lnTo>
                    <a:lnTo>
                      <a:pt x="140" y="14"/>
                    </a:lnTo>
                    <a:lnTo>
                      <a:pt x="149" y="17"/>
                    </a:lnTo>
                    <a:lnTo>
                      <a:pt x="152" y="17"/>
                    </a:lnTo>
                    <a:lnTo>
                      <a:pt x="156" y="17"/>
                    </a:lnTo>
                    <a:lnTo>
                      <a:pt x="159" y="14"/>
                    </a:lnTo>
                    <a:lnTo>
                      <a:pt x="155" y="13"/>
                    </a:lnTo>
                    <a:lnTo>
                      <a:pt x="159" y="10"/>
                    </a:lnTo>
                    <a:lnTo>
                      <a:pt x="161" y="7"/>
                    </a:lnTo>
                    <a:lnTo>
                      <a:pt x="161" y="4"/>
                    </a:lnTo>
                    <a:lnTo>
                      <a:pt x="158" y="1"/>
                    </a:lnTo>
                    <a:lnTo>
                      <a:pt x="166" y="0"/>
                    </a:lnTo>
                    <a:lnTo>
                      <a:pt x="169" y="1"/>
                    </a:lnTo>
                    <a:lnTo>
                      <a:pt x="188" y="13"/>
                    </a:lnTo>
                    <a:lnTo>
                      <a:pt x="192" y="14"/>
                    </a:lnTo>
                    <a:lnTo>
                      <a:pt x="204" y="17"/>
                    </a:lnTo>
                    <a:lnTo>
                      <a:pt x="206" y="19"/>
                    </a:lnTo>
                    <a:lnTo>
                      <a:pt x="209" y="21"/>
                    </a:lnTo>
                    <a:lnTo>
                      <a:pt x="211" y="21"/>
                    </a:lnTo>
                    <a:lnTo>
                      <a:pt x="211" y="23"/>
                    </a:lnTo>
                    <a:lnTo>
                      <a:pt x="211" y="24"/>
                    </a:lnTo>
                    <a:lnTo>
                      <a:pt x="211" y="24"/>
                    </a:lnTo>
                    <a:lnTo>
                      <a:pt x="212" y="24"/>
                    </a:lnTo>
                    <a:lnTo>
                      <a:pt x="212" y="24"/>
                    </a:lnTo>
                    <a:lnTo>
                      <a:pt x="214" y="26"/>
                    </a:lnTo>
                    <a:lnTo>
                      <a:pt x="218" y="27"/>
                    </a:lnTo>
                    <a:lnTo>
                      <a:pt x="218" y="29"/>
                    </a:lnTo>
                    <a:lnTo>
                      <a:pt x="219" y="30"/>
                    </a:lnTo>
                    <a:lnTo>
                      <a:pt x="218" y="30"/>
                    </a:lnTo>
                    <a:lnTo>
                      <a:pt x="217" y="31"/>
                    </a:lnTo>
                    <a:lnTo>
                      <a:pt x="217" y="33"/>
                    </a:lnTo>
                    <a:lnTo>
                      <a:pt x="217" y="33"/>
                    </a:lnTo>
                    <a:lnTo>
                      <a:pt x="217" y="36"/>
                    </a:lnTo>
                    <a:lnTo>
                      <a:pt x="217" y="40"/>
                    </a:lnTo>
                    <a:lnTo>
                      <a:pt x="217" y="43"/>
                    </a:lnTo>
                    <a:lnTo>
                      <a:pt x="217" y="43"/>
                    </a:lnTo>
                    <a:lnTo>
                      <a:pt x="217" y="43"/>
                    </a:lnTo>
                    <a:lnTo>
                      <a:pt x="219" y="44"/>
                    </a:lnTo>
                    <a:lnTo>
                      <a:pt x="221" y="44"/>
                    </a:lnTo>
                    <a:lnTo>
                      <a:pt x="221" y="46"/>
                    </a:lnTo>
                    <a:lnTo>
                      <a:pt x="221" y="47"/>
                    </a:lnTo>
                    <a:lnTo>
                      <a:pt x="221" y="49"/>
                    </a:lnTo>
                    <a:lnTo>
                      <a:pt x="219" y="50"/>
                    </a:lnTo>
                    <a:lnTo>
                      <a:pt x="219" y="52"/>
                    </a:lnTo>
                    <a:lnTo>
                      <a:pt x="219" y="53"/>
                    </a:lnTo>
                    <a:lnTo>
                      <a:pt x="219" y="56"/>
                    </a:lnTo>
                    <a:lnTo>
                      <a:pt x="221" y="57"/>
                    </a:lnTo>
                    <a:lnTo>
                      <a:pt x="224" y="60"/>
                    </a:lnTo>
                    <a:lnTo>
                      <a:pt x="225" y="63"/>
                    </a:lnTo>
                    <a:lnTo>
                      <a:pt x="225" y="66"/>
                    </a:lnTo>
                    <a:lnTo>
                      <a:pt x="224" y="69"/>
                    </a:lnTo>
                    <a:lnTo>
                      <a:pt x="222" y="72"/>
                    </a:lnTo>
                    <a:lnTo>
                      <a:pt x="222" y="73"/>
                    </a:lnTo>
                    <a:lnTo>
                      <a:pt x="221" y="75"/>
                    </a:lnTo>
                    <a:lnTo>
                      <a:pt x="221" y="76"/>
                    </a:lnTo>
                    <a:lnTo>
                      <a:pt x="219" y="79"/>
                    </a:lnTo>
                    <a:lnTo>
                      <a:pt x="219" y="80"/>
                    </a:lnTo>
                    <a:lnTo>
                      <a:pt x="219" y="82"/>
                    </a:lnTo>
                    <a:lnTo>
                      <a:pt x="221" y="83"/>
                    </a:lnTo>
                    <a:lnTo>
                      <a:pt x="221" y="85"/>
                    </a:lnTo>
                    <a:lnTo>
                      <a:pt x="222" y="86"/>
                    </a:lnTo>
                    <a:lnTo>
                      <a:pt x="224" y="88"/>
                    </a:lnTo>
                    <a:lnTo>
                      <a:pt x="224" y="88"/>
                    </a:lnTo>
                    <a:lnTo>
                      <a:pt x="225" y="89"/>
                    </a:lnTo>
                    <a:lnTo>
                      <a:pt x="227" y="92"/>
                    </a:lnTo>
                    <a:close/>
                    <a:moveTo>
                      <a:pt x="96" y="368"/>
                    </a:moveTo>
                    <a:lnTo>
                      <a:pt x="99" y="359"/>
                    </a:lnTo>
                    <a:lnTo>
                      <a:pt x="103" y="351"/>
                    </a:lnTo>
                    <a:lnTo>
                      <a:pt x="105" y="348"/>
                    </a:lnTo>
                    <a:lnTo>
                      <a:pt x="103" y="348"/>
                    </a:lnTo>
                    <a:lnTo>
                      <a:pt x="100" y="351"/>
                    </a:lnTo>
                    <a:lnTo>
                      <a:pt x="97" y="356"/>
                    </a:lnTo>
                    <a:lnTo>
                      <a:pt x="93" y="362"/>
                    </a:lnTo>
                    <a:lnTo>
                      <a:pt x="92" y="366"/>
                    </a:lnTo>
                    <a:lnTo>
                      <a:pt x="92" y="371"/>
                    </a:lnTo>
                    <a:lnTo>
                      <a:pt x="94" y="371"/>
                    </a:lnTo>
                    <a:lnTo>
                      <a:pt x="96" y="368"/>
                    </a:lnTo>
                    <a:close/>
                    <a:moveTo>
                      <a:pt x="123" y="340"/>
                    </a:moveTo>
                    <a:lnTo>
                      <a:pt x="122" y="343"/>
                    </a:lnTo>
                    <a:lnTo>
                      <a:pt x="122" y="346"/>
                    </a:lnTo>
                    <a:lnTo>
                      <a:pt x="123" y="351"/>
                    </a:lnTo>
                    <a:lnTo>
                      <a:pt x="125" y="353"/>
                    </a:lnTo>
                    <a:lnTo>
                      <a:pt x="125" y="353"/>
                    </a:lnTo>
                    <a:lnTo>
                      <a:pt x="123" y="355"/>
                    </a:lnTo>
                    <a:lnTo>
                      <a:pt x="123" y="356"/>
                    </a:lnTo>
                    <a:lnTo>
                      <a:pt x="123" y="356"/>
                    </a:lnTo>
                    <a:lnTo>
                      <a:pt x="125" y="356"/>
                    </a:lnTo>
                    <a:lnTo>
                      <a:pt x="126" y="355"/>
                    </a:lnTo>
                    <a:lnTo>
                      <a:pt x="128" y="352"/>
                    </a:lnTo>
                    <a:lnTo>
                      <a:pt x="129" y="351"/>
                    </a:lnTo>
                    <a:lnTo>
                      <a:pt x="130" y="351"/>
                    </a:lnTo>
                    <a:lnTo>
                      <a:pt x="132" y="349"/>
                    </a:lnTo>
                    <a:lnTo>
                      <a:pt x="132" y="349"/>
                    </a:lnTo>
                    <a:lnTo>
                      <a:pt x="133" y="349"/>
                    </a:lnTo>
                    <a:lnTo>
                      <a:pt x="133" y="348"/>
                    </a:lnTo>
                    <a:lnTo>
                      <a:pt x="133" y="348"/>
                    </a:lnTo>
                    <a:lnTo>
                      <a:pt x="135" y="346"/>
                    </a:lnTo>
                    <a:lnTo>
                      <a:pt x="135" y="345"/>
                    </a:lnTo>
                    <a:lnTo>
                      <a:pt x="136" y="345"/>
                    </a:lnTo>
                    <a:lnTo>
                      <a:pt x="133" y="342"/>
                    </a:lnTo>
                    <a:lnTo>
                      <a:pt x="135" y="339"/>
                    </a:lnTo>
                    <a:lnTo>
                      <a:pt x="136" y="336"/>
                    </a:lnTo>
                    <a:lnTo>
                      <a:pt x="139" y="333"/>
                    </a:lnTo>
                    <a:lnTo>
                      <a:pt x="138" y="332"/>
                    </a:lnTo>
                    <a:lnTo>
                      <a:pt x="136" y="332"/>
                    </a:lnTo>
                    <a:lnTo>
                      <a:pt x="136" y="332"/>
                    </a:lnTo>
                    <a:lnTo>
                      <a:pt x="135" y="332"/>
                    </a:lnTo>
                    <a:lnTo>
                      <a:pt x="135" y="332"/>
                    </a:lnTo>
                    <a:lnTo>
                      <a:pt x="135" y="333"/>
                    </a:lnTo>
                    <a:lnTo>
                      <a:pt x="132" y="333"/>
                    </a:lnTo>
                    <a:lnTo>
                      <a:pt x="128" y="335"/>
                    </a:lnTo>
                    <a:lnTo>
                      <a:pt x="125" y="338"/>
                    </a:lnTo>
                    <a:lnTo>
                      <a:pt x="123" y="34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85" name="Freeform 91">
                <a:extLst>
                  <a:ext uri="{FF2B5EF4-FFF2-40B4-BE49-F238E27FC236}">
                    <a16:creationId xmlns:a16="http://schemas.microsoft.com/office/drawing/2014/main" id="{CC43A715-FE2E-82FF-D863-9818F89CFF4E}"/>
                  </a:ext>
                </a:extLst>
              </p:cNvPr>
              <p:cNvSpPr>
                <a:spLocks/>
              </p:cNvSpPr>
              <p:nvPr/>
            </p:nvSpPr>
            <p:spPr bwMode="auto">
              <a:xfrm>
                <a:off x="3765" y="1878"/>
                <a:ext cx="2" cy="2"/>
              </a:xfrm>
              <a:custGeom>
                <a:avLst/>
                <a:gdLst>
                  <a:gd name="T0" fmla="*/ 2 w 2"/>
                  <a:gd name="T1" fmla="*/ 2 h 2"/>
                  <a:gd name="T2" fmla="*/ 2 w 2"/>
                  <a:gd name="T3" fmla="*/ 2 h 2"/>
                  <a:gd name="T4" fmla="*/ 2 w 2"/>
                  <a:gd name="T5" fmla="*/ 0 h 2"/>
                  <a:gd name="T6" fmla="*/ 2 w 2"/>
                  <a:gd name="T7" fmla="*/ 0 h 2"/>
                  <a:gd name="T8" fmla="*/ 2 w 2"/>
                  <a:gd name="T9" fmla="*/ 0 h 2"/>
                  <a:gd name="T10" fmla="*/ 0 w 2"/>
                  <a:gd name="T11" fmla="*/ 2 h 2"/>
                  <a:gd name="T12" fmla="*/ 2 w 2"/>
                  <a:gd name="T13" fmla="*/ 2 h 2"/>
                  <a:gd name="T14" fmla="*/ 2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2"/>
                    </a:moveTo>
                    <a:lnTo>
                      <a:pt x="2" y="2"/>
                    </a:lnTo>
                    <a:lnTo>
                      <a:pt x="2" y="0"/>
                    </a:lnTo>
                    <a:lnTo>
                      <a:pt x="2" y="0"/>
                    </a:lnTo>
                    <a:lnTo>
                      <a:pt x="2" y="0"/>
                    </a:lnTo>
                    <a:lnTo>
                      <a:pt x="0" y="2"/>
                    </a:lnTo>
                    <a:lnTo>
                      <a:pt x="2" y="2"/>
                    </a:lnTo>
                    <a:lnTo>
                      <a:pt x="2"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86" name="Freeform 92">
                <a:extLst>
                  <a:ext uri="{FF2B5EF4-FFF2-40B4-BE49-F238E27FC236}">
                    <a16:creationId xmlns:a16="http://schemas.microsoft.com/office/drawing/2014/main" id="{2E781C67-4C91-C45E-9386-A21F6FFCD228}"/>
                  </a:ext>
                </a:extLst>
              </p:cNvPr>
              <p:cNvSpPr>
                <a:spLocks noEditPoints="1"/>
              </p:cNvSpPr>
              <p:nvPr/>
            </p:nvSpPr>
            <p:spPr bwMode="auto">
              <a:xfrm>
                <a:off x="3464" y="1706"/>
                <a:ext cx="251" cy="230"/>
              </a:xfrm>
              <a:custGeom>
                <a:avLst/>
                <a:gdLst>
                  <a:gd name="T0" fmla="*/ 215 w 251"/>
                  <a:gd name="T1" fmla="*/ 175 h 230"/>
                  <a:gd name="T2" fmla="*/ 198 w 251"/>
                  <a:gd name="T3" fmla="*/ 189 h 230"/>
                  <a:gd name="T4" fmla="*/ 175 w 251"/>
                  <a:gd name="T5" fmla="*/ 187 h 230"/>
                  <a:gd name="T6" fmla="*/ 163 w 251"/>
                  <a:gd name="T7" fmla="*/ 185 h 230"/>
                  <a:gd name="T8" fmla="*/ 140 w 251"/>
                  <a:gd name="T9" fmla="*/ 191 h 230"/>
                  <a:gd name="T10" fmla="*/ 132 w 251"/>
                  <a:gd name="T11" fmla="*/ 207 h 230"/>
                  <a:gd name="T12" fmla="*/ 122 w 251"/>
                  <a:gd name="T13" fmla="*/ 208 h 230"/>
                  <a:gd name="T14" fmla="*/ 110 w 251"/>
                  <a:gd name="T15" fmla="*/ 202 h 230"/>
                  <a:gd name="T16" fmla="*/ 94 w 251"/>
                  <a:gd name="T17" fmla="*/ 201 h 230"/>
                  <a:gd name="T18" fmla="*/ 79 w 251"/>
                  <a:gd name="T19" fmla="*/ 198 h 230"/>
                  <a:gd name="T20" fmla="*/ 69 w 251"/>
                  <a:gd name="T21" fmla="*/ 195 h 230"/>
                  <a:gd name="T22" fmla="*/ 59 w 251"/>
                  <a:gd name="T23" fmla="*/ 194 h 230"/>
                  <a:gd name="T24" fmla="*/ 51 w 251"/>
                  <a:gd name="T25" fmla="*/ 185 h 230"/>
                  <a:gd name="T26" fmla="*/ 61 w 251"/>
                  <a:gd name="T27" fmla="*/ 156 h 230"/>
                  <a:gd name="T28" fmla="*/ 71 w 251"/>
                  <a:gd name="T29" fmla="*/ 146 h 230"/>
                  <a:gd name="T30" fmla="*/ 63 w 251"/>
                  <a:gd name="T31" fmla="*/ 133 h 230"/>
                  <a:gd name="T32" fmla="*/ 63 w 251"/>
                  <a:gd name="T33" fmla="*/ 119 h 230"/>
                  <a:gd name="T34" fmla="*/ 47 w 251"/>
                  <a:gd name="T35" fmla="*/ 108 h 230"/>
                  <a:gd name="T36" fmla="*/ 46 w 251"/>
                  <a:gd name="T37" fmla="*/ 97 h 230"/>
                  <a:gd name="T38" fmla="*/ 41 w 251"/>
                  <a:gd name="T39" fmla="*/ 96 h 230"/>
                  <a:gd name="T40" fmla="*/ 36 w 251"/>
                  <a:gd name="T41" fmla="*/ 90 h 230"/>
                  <a:gd name="T42" fmla="*/ 27 w 251"/>
                  <a:gd name="T43" fmla="*/ 86 h 230"/>
                  <a:gd name="T44" fmla="*/ 7 w 251"/>
                  <a:gd name="T45" fmla="*/ 80 h 230"/>
                  <a:gd name="T46" fmla="*/ 5 w 251"/>
                  <a:gd name="T47" fmla="*/ 73 h 230"/>
                  <a:gd name="T48" fmla="*/ 1 w 251"/>
                  <a:gd name="T49" fmla="*/ 69 h 230"/>
                  <a:gd name="T50" fmla="*/ 27 w 251"/>
                  <a:gd name="T51" fmla="*/ 59 h 230"/>
                  <a:gd name="T52" fmla="*/ 44 w 251"/>
                  <a:gd name="T53" fmla="*/ 63 h 230"/>
                  <a:gd name="T54" fmla="*/ 60 w 251"/>
                  <a:gd name="T55" fmla="*/ 63 h 230"/>
                  <a:gd name="T56" fmla="*/ 51 w 251"/>
                  <a:gd name="T57" fmla="*/ 37 h 230"/>
                  <a:gd name="T58" fmla="*/ 79 w 251"/>
                  <a:gd name="T59" fmla="*/ 46 h 230"/>
                  <a:gd name="T60" fmla="*/ 86 w 251"/>
                  <a:gd name="T61" fmla="*/ 40 h 230"/>
                  <a:gd name="T62" fmla="*/ 110 w 251"/>
                  <a:gd name="T63" fmla="*/ 23 h 230"/>
                  <a:gd name="T64" fmla="*/ 127 w 251"/>
                  <a:gd name="T65" fmla="*/ 0 h 230"/>
                  <a:gd name="T66" fmla="*/ 139 w 251"/>
                  <a:gd name="T67" fmla="*/ 8 h 230"/>
                  <a:gd name="T68" fmla="*/ 148 w 251"/>
                  <a:gd name="T69" fmla="*/ 20 h 230"/>
                  <a:gd name="T70" fmla="*/ 156 w 251"/>
                  <a:gd name="T71" fmla="*/ 24 h 230"/>
                  <a:gd name="T72" fmla="*/ 169 w 251"/>
                  <a:gd name="T73" fmla="*/ 26 h 230"/>
                  <a:gd name="T74" fmla="*/ 175 w 251"/>
                  <a:gd name="T75" fmla="*/ 36 h 230"/>
                  <a:gd name="T76" fmla="*/ 191 w 251"/>
                  <a:gd name="T77" fmla="*/ 43 h 230"/>
                  <a:gd name="T78" fmla="*/ 202 w 251"/>
                  <a:gd name="T79" fmla="*/ 50 h 230"/>
                  <a:gd name="T80" fmla="*/ 211 w 251"/>
                  <a:gd name="T81" fmla="*/ 50 h 230"/>
                  <a:gd name="T82" fmla="*/ 224 w 251"/>
                  <a:gd name="T83" fmla="*/ 53 h 230"/>
                  <a:gd name="T84" fmla="*/ 219 w 251"/>
                  <a:gd name="T85" fmla="*/ 69 h 230"/>
                  <a:gd name="T86" fmla="*/ 211 w 251"/>
                  <a:gd name="T87" fmla="*/ 92 h 230"/>
                  <a:gd name="T88" fmla="*/ 206 w 251"/>
                  <a:gd name="T89" fmla="*/ 95 h 230"/>
                  <a:gd name="T90" fmla="*/ 196 w 251"/>
                  <a:gd name="T91" fmla="*/ 105 h 230"/>
                  <a:gd name="T92" fmla="*/ 191 w 251"/>
                  <a:gd name="T93" fmla="*/ 115 h 230"/>
                  <a:gd name="T94" fmla="*/ 189 w 251"/>
                  <a:gd name="T95" fmla="*/ 122 h 230"/>
                  <a:gd name="T96" fmla="*/ 196 w 251"/>
                  <a:gd name="T97" fmla="*/ 116 h 230"/>
                  <a:gd name="T98" fmla="*/ 204 w 251"/>
                  <a:gd name="T99" fmla="*/ 122 h 230"/>
                  <a:gd name="T100" fmla="*/ 208 w 251"/>
                  <a:gd name="T101" fmla="*/ 138 h 230"/>
                  <a:gd name="T102" fmla="*/ 202 w 251"/>
                  <a:gd name="T103" fmla="*/ 145 h 230"/>
                  <a:gd name="T104" fmla="*/ 205 w 251"/>
                  <a:gd name="T105" fmla="*/ 158 h 230"/>
                  <a:gd name="T106" fmla="*/ 214 w 251"/>
                  <a:gd name="T107" fmla="*/ 169 h 230"/>
                  <a:gd name="T108" fmla="*/ 239 w 251"/>
                  <a:gd name="T109" fmla="*/ 225 h 230"/>
                  <a:gd name="T110" fmla="*/ 248 w 251"/>
                  <a:gd name="T111" fmla="*/ 224 h 230"/>
                  <a:gd name="T112" fmla="*/ 248 w 251"/>
                  <a:gd name="T113" fmla="*/ 198 h 230"/>
                  <a:gd name="T114" fmla="*/ 235 w 251"/>
                  <a:gd name="T115" fmla="*/ 210 h 230"/>
                  <a:gd name="T116" fmla="*/ 237 w 251"/>
                  <a:gd name="T117" fmla="*/ 215 h 230"/>
                  <a:gd name="T118" fmla="*/ 237 w 251"/>
                  <a:gd name="T119" fmla="*/ 218 h 230"/>
                  <a:gd name="T120" fmla="*/ 239 w 251"/>
                  <a:gd name="T121" fmla="*/ 22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1" h="230">
                    <a:moveTo>
                      <a:pt x="60" y="126"/>
                    </a:moveTo>
                    <a:lnTo>
                      <a:pt x="59" y="125"/>
                    </a:lnTo>
                    <a:lnTo>
                      <a:pt x="60" y="125"/>
                    </a:lnTo>
                    <a:lnTo>
                      <a:pt x="61" y="126"/>
                    </a:lnTo>
                    <a:lnTo>
                      <a:pt x="63" y="128"/>
                    </a:lnTo>
                    <a:lnTo>
                      <a:pt x="63" y="129"/>
                    </a:lnTo>
                    <a:lnTo>
                      <a:pt x="60" y="126"/>
                    </a:lnTo>
                    <a:close/>
                    <a:moveTo>
                      <a:pt x="215" y="175"/>
                    </a:moveTo>
                    <a:lnTo>
                      <a:pt x="215" y="177"/>
                    </a:lnTo>
                    <a:lnTo>
                      <a:pt x="214" y="178"/>
                    </a:lnTo>
                    <a:lnTo>
                      <a:pt x="214" y="177"/>
                    </a:lnTo>
                    <a:lnTo>
                      <a:pt x="214" y="177"/>
                    </a:lnTo>
                    <a:lnTo>
                      <a:pt x="214" y="177"/>
                    </a:lnTo>
                    <a:lnTo>
                      <a:pt x="214" y="178"/>
                    </a:lnTo>
                    <a:lnTo>
                      <a:pt x="208" y="181"/>
                    </a:lnTo>
                    <a:lnTo>
                      <a:pt x="198" y="189"/>
                    </a:lnTo>
                    <a:lnTo>
                      <a:pt x="192" y="192"/>
                    </a:lnTo>
                    <a:lnTo>
                      <a:pt x="189" y="192"/>
                    </a:lnTo>
                    <a:lnTo>
                      <a:pt x="186" y="192"/>
                    </a:lnTo>
                    <a:lnTo>
                      <a:pt x="182" y="191"/>
                    </a:lnTo>
                    <a:lnTo>
                      <a:pt x="179" y="189"/>
                    </a:lnTo>
                    <a:lnTo>
                      <a:pt x="179" y="189"/>
                    </a:lnTo>
                    <a:lnTo>
                      <a:pt x="178" y="187"/>
                    </a:lnTo>
                    <a:lnTo>
                      <a:pt x="175" y="187"/>
                    </a:lnTo>
                    <a:lnTo>
                      <a:pt x="173" y="187"/>
                    </a:lnTo>
                    <a:lnTo>
                      <a:pt x="173" y="185"/>
                    </a:lnTo>
                    <a:lnTo>
                      <a:pt x="172" y="185"/>
                    </a:lnTo>
                    <a:lnTo>
                      <a:pt x="172" y="184"/>
                    </a:lnTo>
                    <a:lnTo>
                      <a:pt x="171" y="185"/>
                    </a:lnTo>
                    <a:lnTo>
                      <a:pt x="168" y="185"/>
                    </a:lnTo>
                    <a:lnTo>
                      <a:pt x="166" y="185"/>
                    </a:lnTo>
                    <a:lnTo>
                      <a:pt x="163" y="185"/>
                    </a:lnTo>
                    <a:lnTo>
                      <a:pt x="160" y="184"/>
                    </a:lnTo>
                    <a:lnTo>
                      <a:pt x="158" y="182"/>
                    </a:lnTo>
                    <a:lnTo>
                      <a:pt x="155" y="181"/>
                    </a:lnTo>
                    <a:lnTo>
                      <a:pt x="152" y="181"/>
                    </a:lnTo>
                    <a:lnTo>
                      <a:pt x="150" y="182"/>
                    </a:lnTo>
                    <a:lnTo>
                      <a:pt x="146" y="187"/>
                    </a:lnTo>
                    <a:lnTo>
                      <a:pt x="142" y="189"/>
                    </a:lnTo>
                    <a:lnTo>
                      <a:pt x="140" y="191"/>
                    </a:lnTo>
                    <a:lnTo>
                      <a:pt x="139" y="192"/>
                    </a:lnTo>
                    <a:lnTo>
                      <a:pt x="138" y="197"/>
                    </a:lnTo>
                    <a:lnTo>
                      <a:pt x="138" y="199"/>
                    </a:lnTo>
                    <a:lnTo>
                      <a:pt x="139" y="204"/>
                    </a:lnTo>
                    <a:lnTo>
                      <a:pt x="140" y="207"/>
                    </a:lnTo>
                    <a:lnTo>
                      <a:pt x="136" y="207"/>
                    </a:lnTo>
                    <a:lnTo>
                      <a:pt x="135" y="207"/>
                    </a:lnTo>
                    <a:lnTo>
                      <a:pt x="132" y="207"/>
                    </a:lnTo>
                    <a:lnTo>
                      <a:pt x="132" y="208"/>
                    </a:lnTo>
                    <a:lnTo>
                      <a:pt x="130" y="208"/>
                    </a:lnTo>
                    <a:lnTo>
                      <a:pt x="129" y="208"/>
                    </a:lnTo>
                    <a:lnTo>
                      <a:pt x="129" y="208"/>
                    </a:lnTo>
                    <a:lnTo>
                      <a:pt x="127" y="208"/>
                    </a:lnTo>
                    <a:lnTo>
                      <a:pt x="125" y="207"/>
                    </a:lnTo>
                    <a:lnTo>
                      <a:pt x="123" y="207"/>
                    </a:lnTo>
                    <a:lnTo>
                      <a:pt x="122" y="208"/>
                    </a:lnTo>
                    <a:lnTo>
                      <a:pt x="120" y="208"/>
                    </a:lnTo>
                    <a:lnTo>
                      <a:pt x="119" y="208"/>
                    </a:lnTo>
                    <a:lnTo>
                      <a:pt x="117" y="208"/>
                    </a:lnTo>
                    <a:lnTo>
                      <a:pt x="115" y="205"/>
                    </a:lnTo>
                    <a:lnTo>
                      <a:pt x="113" y="205"/>
                    </a:lnTo>
                    <a:lnTo>
                      <a:pt x="113" y="204"/>
                    </a:lnTo>
                    <a:lnTo>
                      <a:pt x="112" y="202"/>
                    </a:lnTo>
                    <a:lnTo>
                      <a:pt x="110" y="202"/>
                    </a:lnTo>
                    <a:lnTo>
                      <a:pt x="109" y="204"/>
                    </a:lnTo>
                    <a:lnTo>
                      <a:pt x="106" y="201"/>
                    </a:lnTo>
                    <a:lnTo>
                      <a:pt x="102" y="199"/>
                    </a:lnTo>
                    <a:lnTo>
                      <a:pt x="97" y="198"/>
                    </a:lnTo>
                    <a:lnTo>
                      <a:pt x="94" y="198"/>
                    </a:lnTo>
                    <a:lnTo>
                      <a:pt x="94" y="199"/>
                    </a:lnTo>
                    <a:lnTo>
                      <a:pt x="94" y="201"/>
                    </a:lnTo>
                    <a:lnTo>
                      <a:pt x="94" y="201"/>
                    </a:lnTo>
                    <a:lnTo>
                      <a:pt x="93" y="201"/>
                    </a:lnTo>
                    <a:lnTo>
                      <a:pt x="93" y="201"/>
                    </a:lnTo>
                    <a:lnTo>
                      <a:pt x="90" y="201"/>
                    </a:lnTo>
                    <a:lnTo>
                      <a:pt x="84" y="201"/>
                    </a:lnTo>
                    <a:lnTo>
                      <a:pt x="83" y="201"/>
                    </a:lnTo>
                    <a:lnTo>
                      <a:pt x="82" y="201"/>
                    </a:lnTo>
                    <a:lnTo>
                      <a:pt x="80" y="198"/>
                    </a:lnTo>
                    <a:lnTo>
                      <a:pt x="79" y="198"/>
                    </a:lnTo>
                    <a:lnTo>
                      <a:pt x="77" y="198"/>
                    </a:lnTo>
                    <a:lnTo>
                      <a:pt x="74" y="198"/>
                    </a:lnTo>
                    <a:lnTo>
                      <a:pt x="73" y="198"/>
                    </a:lnTo>
                    <a:lnTo>
                      <a:pt x="73" y="198"/>
                    </a:lnTo>
                    <a:lnTo>
                      <a:pt x="71" y="197"/>
                    </a:lnTo>
                    <a:lnTo>
                      <a:pt x="70" y="195"/>
                    </a:lnTo>
                    <a:lnTo>
                      <a:pt x="70" y="195"/>
                    </a:lnTo>
                    <a:lnTo>
                      <a:pt x="69" y="195"/>
                    </a:lnTo>
                    <a:lnTo>
                      <a:pt x="67" y="195"/>
                    </a:lnTo>
                    <a:lnTo>
                      <a:pt x="63" y="194"/>
                    </a:lnTo>
                    <a:lnTo>
                      <a:pt x="61" y="194"/>
                    </a:lnTo>
                    <a:lnTo>
                      <a:pt x="60" y="192"/>
                    </a:lnTo>
                    <a:lnTo>
                      <a:pt x="60" y="192"/>
                    </a:lnTo>
                    <a:lnTo>
                      <a:pt x="60" y="192"/>
                    </a:lnTo>
                    <a:lnTo>
                      <a:pt x="59" y="194"/>
                    </a:lnTo>
                    <a:lnTo>
                      <a:pt x="59" y="194"/>
                    </a:lnTo>
                    <a:lnTo>
                      <a:pt x="59" y="192"/>
                    </a:lnTo>
                    <a:lnTo>
                      <a:pt x="59" y="191"/>
                    </a:lnTo>
                    <a:lnTo>
                      <a:pt x="59" y="191"/>
                    </a:lnTo>
                    <a:lnTo>
                      <a:pt x="59" y="191"/>
                    </a:lnTo>
                    <a:lnTo>
                      <a:pt x="57" y="189"/>
                    </a:lnTo>
                    <a:lnTo>
                      <a:pt x="54" y="188"/>
                    </a:lnTo>
                    <a:lnTo>
                      <a:pt x="53" y="187"/>
                    </a:lnTo>
                    <a:lnTo>
                      <a:pt x="51" y="185"/>
                    </a:lnTo>
                    <a:lnTo>
                      <a:pt x="59" y="181"/>
                    </a:lnTo>
                    <a:lnTo>
                      <a:pt x="60" y="171"/>
                    </a:lnTo>
                    <a:lnTo>
                      <a:pt x="60" y="161"/>
                    </a:lnTo>
                    <a:lnTo>
                      <a:pt x="64" y="156"/>
                    </a:lnTo>
                    <a:lnTo>
                      <a:pt x="63" y="154"/>
                    </a:lnTo>
                    <a:lnTo>
                      <a:pt x="63" y="155"/>
                    </a:lnTo>
                    <a:lnTo>
                      <a:pt x="61" y="156"/>
                    </a:lnTo>
                    <a:lnTo>
                      <a:pt x="61" y="156"/>
                    </a:lnTo>
                    <a:lnTo>
                      <a:pt x="63" y="146"/>
                    </a:lnTo>
                    <a:lnTo>
                      <a:pt x="64" y="136"/>
                    </a:lnTo>
                    <a:lnTo>
                      <a:pt x="66" y="138"/>
                    </a:lnTo>
                    <a:lnTo>
                      <a:pt x="67" y="139"/>
                    </a:lnTo>
                    <a:lnTo>
                      <a:pt x="69" y="141"/>
                    </a:lnTo>
                    <a:lnTo>
                      <a:pt x="70" y="142"/>
                    </a:lnTo>
                    <a:lnTo>
                      <a:pt x="71" y="143"/>
                    </a:lnTo>
                    <a:lnTo>
                      <a:pt x="71" y="146"/>
                    </a:lnTo>
                    <a:lnTo>
                      <a:pt x="71" y="148"/>
                    </a:lnTo>
                    <a:lnTo>
                      <a:pt x="74" y="149"/>
                    </a:lnTo>
                    <a:lnTo>
                      <a:pt x="73" y="146"/>
                    </a:lnTo>
                    <a:lnTo>
                      <a:pt x="71" y="141"/>
                    </a:lnTo>
                    <a:lnTo>
                      <a:pt x="70" y="138"/>
                    </a:lnTo>
                    <a:lnTo>
                      <a:pt x="67" y="136"/>
                    </a:lnTo>
                    <a:lnTo>
                      <a:pt x="66" y="135"/>
                    </a:lnTo>
                    <a:lnTo>
                      <a:pt x="63" y="133"/>
                    </a:lnTo>
                    <a:lnTo>
                      <a:pt x="63" y="131"/>
                    </a:lnTo>
                    <a:lnTo>
                      <a:pt x="63" y="131"/>
                    </a:lnTo>
                    <a:lnTo>
                      <a:pt x="64" y="131"/>
                    </a:lnTo>
                    <a:lnTo>
                      <a:pt x="64" y="131"/>
                    </a:lnTo>
                    <a:lnTo>
                      <a:pt x="66" y="132"/>
                    </a:lnTo>
                    <a:lnTo>
                      <a:pt x="64" y="128"/>
                    </a:lnTo>
                    <a:lnTo>
                      <a:pt x="64" y="120"/>
                    </a:lnTo>
                    <a:lnTo>
                      <a:pt x="63" y="119"/>
                    </a:lnTo>
                    <a:lnTo>
                      <a:pt x="63" y="118"/>
                    </a:lnTo>
                    <a:lnTo>
                      <a:pt x="59" y="118"/>
                    </a:lnTo>
                    <a:lnTo>
                      <a:pt x="57" y="116"/>
                    </a:lnTo>
                    <a:lnTo>
                      <a:pt x="54" y="115"/>
                    </a:lnTo>
                    <a:lnTo>
                      <a:pt x="53" y="113"/>
                    </a:lnTo>
                    <a:lnTo>
                      <a:pt x="51" y="113"/>
                    </a:lnTo>
                    <a:lnTo>
                      <a:pt x="50" y="112"/>
                    </a:lnTo>
                    <a:lnTo>
                      <a:pt x="47" y="108"/>
                    </a:lnTo>
                    <a:lnTo>
                      <a:pt x="47" y="106"/>
                    </a:lnTo>
                    <a:lnTo>
                      <a:pt x="47" y="105"/>
                    </a:lnTo>
                    <a:lnTo>
                      <a:pt x="47" y="105"/>
                    </a:lnTo>
                    <a:lnTo>
                      <a:pt x="47" y="100"/>
                    </a:lnTo>
                    <a:lnTo>
                      <a:pt x="47" y="100"/>
                    </a:lnTo>
                    <a:lnTo>
                      <a:pt x="46" y="99"/>
                    </a:lnTo>
                    <a:lnTo>
                      <a:pt x="46" y="99"/>
                    </a:lnTo>
                    <a:lnTo>
                      <a:pt x="46" y="97"/>
                    </a:lnTo>
                    <a:lnTo>
                      <a:pt x="47" y="96"/>
                    </a:lnTo>
                    <a:lnTo>
                      <a:pt x="48" y="96"/>
                    </a:lnTo>
                    <a:lnTo>
                      <a:pt x="50" y="96"/>
                    </a:lnTo>
                    <a:lnTo>
                      <a:pt x="53" y="97"/>
                    </a:lnTo>
                    <a:lnTo>
                      <a:pt x="51" y="96"/>
                    </a:lnTo>
                    <a:lnTo>
                      <a:pt x="48" y="96"/>
                    </a:lnTo>
                    <a:lnTo>
                      <a:pt x="47" y="96"/>
                    </a:lnTo>
                    <a:lnTo>
                      <a:pt x="41" y="96"/>
                    </a:lnTo>
                    <a:lnTo>
                      <a:pt x="40" y="95"/>
                    </a:lnTo>
                    <a:lnTo>
                      <a:pt x="40" y="95"/>
                    </a:lnTo>
                    <a:lnTo>
                      <a:pt x="40" y="93"/>
                    </a:lnTo>
                    <a:lnTo>
                      <a:pt x="40" y="92"/>
                    </a:lnTo>
                    <a:lnTo>
                      <a:pt x="40" y="92"/>
                    </a:lnTo>
                    <a:lnTo>
                      <a:pt x="38" y="90"/>
                    </a:lnTo>
                    <a:lnTo>
                      <a:pt x="37" y="90"/>
                    </a:lnTo>
                    <a:lnTo>
                      <a:pt x="36" y="90"/>
                    </a:lnTo>
                    <a:lnTo>
                      <a:pt x="34" y="90"/>
                    </a:lnTo>
                    <a:lnTo>
                      <a:pt x="36" y="87"/>
                    </a:lnTo>
                    <a:lnTo>
                      <a:pt x="34" y="87"/>
                    </a:lnTo>
                    <a:lnTo>
                      <a:pt x="33" y="87"/>
                    </a:lnTo>
                    <a:lnTo>
                      <a:pt x="31" y="87"/>
                    </a:lnTo>
                    <a:lnTo>
                      <a:pt x="30" y="87"/>
                    </a:lnTo>
                    <a:lnTo>
                      <a:pt x="28" y="86"/>
                    </a:lnTo>
                    <a:lnTo>
                      <a:pt x="27" y="86"/>
                    </a:lnTo>
                    <a:lnTo>
                      <a:pt x="17" y="83"/>
                    </a:lnTo>
                    <a:lnTo>
                      <a:pt x="15" y="83"/>
                    </a:lnTo>
                    <a:lnTo>
                      <a:pt x="14" y="83"/>
                    </a:lnTo>
                    <a:lnTo>
                      <a:pt x="10" y="83"/>
                    </a:lnTo>
                    <a:lnTo>
                      <a:pt x="10" y="83"/>
                    </a:lnTo>
                    <a:lnTo>
                      <a:pt x="8" y="83"/>
                    </a:lnTo>
                    <a:lnTo>
                      <a:pt x="7" y="82"/>
                    </a:lnTo>
                    <a:lnTo>
                      <a:pt x="7" y="80"/>
                    </a:lnTo>
                    <a:lnTo>
                      <a:pt x="5" y="80"/>
                    </a:lnTo>
                    <a:lnTo>
                      <a:pt x="5" y="79"/>
                    </a:lnTo>
                    <a:lnTo>
                      <a:pt x="4" y="79"/>
                    </a:lnTo>
                    <a:lnTo>
                      <a:pt x="1" y="77"/>
                    </a:lnTo>
                    <a:lnTo>
                      <a:pt x="3" y="76"/>
                    </a:lnTo>
                    <a:lnTo>
                      <a:pt x="5" y="76"/>
                    </a:lnTo>
                    <a:lnTo>
                      <a:pt x="7" y="74"/>
                    </a:lnTo>
                    <a:lnTo>
                      <a:pt x="5" y="73"/>
                    </a:lnTo>
                    <a:lnTo>
                      <a:pt x="4" y="73"/>
                    </a:lnTo>
                    <a:lnTo>
                      <a:pt x="3" y="72"/>
                    </a:lnTo>
                    <a:lnTo>
                      <a:pt x="4" y="72"/>
                    </a:lnTo>
                    <a:lnTo>
                      <a:pt x="7" y="72"/>
                    </a:lnTo>
                    <a:lnTo>
                      <a:pt x="8" y="72"/>
                    </a:lnTo>
                    <a:lnTo>
                      <a:pt x="7" y="70"/>
                    </a:lnTo>
                    <a:lnTo>
                      <a:pt x="4" y="70"/>
                    </a:lnTo>
                    <a:lnTo>
                      <a:pt x="1" y="69"/>
                    </a:lnTo>
                    <a:lnTo>
                      <a:pt x="0" y="67"/>
                    </a:lnTo>
                    <a:lnTo>
                      <a:pt x="3" y="64"/>
                    </a:lnTo>
                    <a:lnTo>
                      <a:pt x="7" y="62"/>
                    </a:lnTo>
                    <a:lnTo>
                      <a:pt x="15" y="62"/>
                    </a:lnTo>
                    <a:lnTo>
                      <a:pt x="18" y="62"/>
                    </a:lnTo>
                    <a:lnTo>
                      <a:pt x="23" y="59"/>
                    </a:lnTo>
                    <a:lnTo>
                      <a:pt x="24" y="59"/>
                    </a:lnTo>
                    <a:lnTo>
                      <a:pt x="27" y="59"/>
                    </a:lnTo>
                    <a:lnTo>
                      <a:pt x="30" y="59"/>
                    </a:lnTo>
                    <a:lnTo>
                      <a:pt x="31" y="60"/>
                    </a:lnTo>
                    <a:lnTo>
                      <a:pt x="34" y="64"/>
                    </a:lnTo>
                    <a:lnTo>
                      <a:pt x="36" y="64"/>
                    </a:lnTo>
                    <a:lnTo>
                      <a:pt x="37" y="64"/>
                    </a:lnTo>
                    <a:lnTo>
                      <a:pt x="40" y="63"/>
                    </a:lnTo>
                    <a:lnTo>
                      <a:pt x="41" y="63"/>
                    </a:lnTo>
                    <a:lnTo>
                      <a:pt x="44" y="63"/>
                    </a:lnTo>
                    <a:lnTo>
                      <a:pt x="47" y="63"/>
                    </a:lnTo>
                    <a:lnTo>
                      <a:pt x="48" y="64"/>
                    </a:lnTo>
                    <a:lnTo>
                      <a:pt x="48" y="63"/>
                    </a:lnTo>
                    <a:lnTo>
                      <a:pt x="50" y="62"/>
                    </a:lnTo>
                    <a:lnTo>
                      <a:pt x="51" y="63"/>
                    </a:lnTo>
                    <a:lnTo>
                      <a:pt x="51" y="63"/>
                    </a:lnTo>
                    <a:lnTo>
                      <a:pt x="57" y="63"/>
                    </a:lnTo>
                    <a:lnTo>
                      <a:pt x="60" y="63"/>
                    </a:lnTo>
                    <a:lnTo>
                      <a:pt x="57" y="60"/>
                    </a:lnTo>
                    <a:lnTo>
                      <a:pt x="56" y="59"/>
                    </a:lnTo>
                    <a:lnTo>
                      <a:pt x="56" y="51"/>
                    </a:lnTo>
                    <a:lnTo>
                      <a:pt x="56" y="50"/>
                    </a:lnTo>
                    <a:lnTo>
                      <a:pt x="54" y="47"/>
                    </a:lnTo>
                    <a:lnTo>
                      <a:pt x="51" y="40"/>
                    </a:lnTo>
                    <a:lnTo>
                      <a:pt x="50" y="39"/>
                    </a:lnTo>
                    <a:lnTo>
                      <a:pt x="51" y="37"/>
                    </a:lnTo>
                    <a:lnTo>
                      <a:pt x="53" y="36"/>
                    </a:lnTo>
                    <a:lnTo>
                      <a:pt x="60" y="36"/>
                    </a:lnTo>
                    <a:lnTo>
                      <a:pt x="61" y="37"/>
                    </a:lnTo>
                    <a:lnTo>
                      <a:pt x="63" y="43"/>
                    </a:lnTo>
                    <a:lnTo>
                      <a:pt x="63" y="44"/>
                    </a:lnTo>
                    <a:lnTo>
                      <a:pt x="66" y="44"/>
                    </a:lnTo>
                    <a:lnTo>
                      <a:pt x="74" y="44"/>
                    </a:lnTo>
                    <a:lnTo>
                      <a:pt x="79" y="46"/>
                    </a:lnTo>
                    <a:lnTo>
                      <a:pt x="82" y="46"/>
                    </a:lnTo>
                    <a:lnTo>
                      <a:pt x="83" y="46"/>
                    </a:lnTo>
                    <a:lnTo>
                      <a:pt x="84" y="44"/>
                    </a:lnTo>
                    <a:lnTo>
                      <a:pt x="90" y="43"/>
                    </a:lnTo>
                    <a:lnTo>
                      <a:pt x="92" y="41"/>
                    </a:lnTo>
                    <a:lnTo>
                      <a:pt x="89" y="43"/>
                    </a:lnTo>
                    <a:lnTo>
                      <a:pt x="87" y="41"/>
                    </a:lnTo>
                    <a:lnTo>
                      <a:pt x="86" y="40"/>
                    </a:lnTo>
                    <a:lnTo>
                      <a:pt x="86" y="39"/>
                    </a:lnTo>
                    <a:lnTo>
                      <a:pt x="87" y="36"/>
                    </a:lnTo>
                    <a:lnTo>
                      <a:pt x="89" y="34"/>
                    </a:lnTo>
                    <a:lnTo>
                      <a:pt x="92" y="33"/>
                    </a:lnTo>
                    <a:lnTo>
                      <a:pt x="94" y="31"/>
                    </a:lnTo>
                    <a:lnTo>
                      <a:pt x="103" y="30"/>
                    </a:lnTo>
                    <a:lnTo>
                      <a:pt x="107" y="27"/>
                    </a:lnTo>
                    <a:lnTo>
                      <a:pt x="110" y="23"/>
                    </a:lnTo>
                    <a:lnTo>
                      <a:pt x="110" y="21"/>
                    </a:lnTo>
                    <a:lnTo>
                      <a:pt x="110" y="21"/>
                    </a:lnTo>
                    <a:lnTo>
                      <a:pt x="112" y="10"/>
                    </a:lnTo>
                    <a:lnTo>
                      <a:pt x="112" y="7"/>
                    </a:lnTo>
                    <a:lnTo>
                      <a:pt x="115" y="4"/>
                    </a:lnTo>
                    <a:lnTo>
                      <a:pt x="119" y="1"/>
                    </a:lnTo>
                    <a:lnTo>
                      <a:pt x="123" y="1"/>
                    </a:lnTo>
                    <a:lnTo>
                      <a:pt x="127" y="0"/>
                    </a:lnTo>
                    <a:lnTo>
                      <a:pt x="129" y="1"/>
                    </a:lnTo>
                    <a:lnTo>
                      <a:pt x="129" y="3"/>
                    </a:lnTo>
                    <a:lnTo>
                      <a:pt x="129" y="5"/>
                    </a:lnTo>
                    <a:lnTo>
                      <a:pt x="130" y="7"/>
                    </a:lnTo>
                    <a:lnTo>
                      <a:pt x="133" y="8"/>
                    </a:lnTo>
                    <a:lnTo>
                      <a:pt x="135" y="8"/>
                    </a:lnTo>
                    <a:lnTo>
                      <a:pt x="136" y="8"/>
                    </a:lnTo>
                    <a:lnTo>
                      <a:pt x="139" y="8"/>
                    </a:lnTo>
                    <a:lnTo>
                      <a:pt x="140" y="10"/>
                    </a:lnTo>
                    <a:lnTo>
                      <a:pt x="140" y="13"/>
                    </a:lnTo>
                    <a:lnTo>
                      <a:pt x="142" y="16"/>
                    </a:lnTo>
                    <a:lnTo>
                      <a:pt x="143" y="16"/>
                    </a:lnTo>
                    <a:lnTo>
                      <a:pt x="146" y="16"/>
                    </a:lnTo>
                    <a:lnTo>
                      <a:pt x="148" y="16"/>
                    </a:lnTo>
                    <a:lnTo>
                      <a:pt x="148" y="17"/>
                    </a:lnTo>
                    <a:lnTo>
                      <a:pt x="148" y="20"/>
                    </a:lnTo>
                    <a:lnTo>
                      <a:pt x="149" y="20"/>
                    </a:lnTo>
                    <a:lnTo>
                      <a:pt x="149" y="20"/>
                    </a:lnTo>
                    <a:lnTo>
                      <a:pt x="150" y="20"/>
                    </a:lnTo>
                    <a:lnTo>
                      <a:pt x="153" y="20"/>
                    </a:lnTo>
                    <a:lnTo>
                      <a:pt x="155" y="20"/>
                    </a:lnTo>
                    <a:lnTo>
                      <a:pt x="156" y="21"/>
                    </a:lnTo>
                    <a:lnTo>
                      <a:pt x="156" y="23"/>
                    </a:lnTo>
                    <a:lnTo>
                      <a:pt x="156" y="24"/>
                    </a:lnTo>
                    <a:lnTo>
                      <a:pt x="158" y="26"/>
                    </a:lnTo>
                    <a:lnTo>
                      <a:pt x="156" y="28"/>
                    </a:lnTo>
                    <a:lnTo>
                      <a:pt x="156" y="28"/>
                    </a:lnTo>
                    <a:lnTo>
                      <a:pt x="158" y="30"/>
                    </a:lnTo>
                    <a:lnTo>
                      <a:pt x="160" y="30"/>
                    </a:lnTo>
                    <a:lnTo>
                      <a:pt x="163" y="30"/>
                    </a:lnTo>
                    <a:lnTo>
                      <a:pt x="168" y="24"/>
                    </a:lnTo>
                    <a:lnTo>
                      <a:pt x="169" y="26"/>
                    </a:lnTo>
                    <a:lnTo>
                      <a:pt x="168" y="27"/>
                    </a:lnTo>
                    <a:lnTo>
                      <a:pt x="168" y="28"/>
                    </a:lnTo>
                    <a:lnTo>
                      <a:pt x="169" y="33"/>
                    </a:lnTo>
                    <a:lnTo>
                      <a:pt x="169" y="33"/>
                    </a:lnTo>
                    <a:lnTo>
                      <a:pt x="169" y="34"/>
                    </a:lnTo>
                    <a:lnTo>
                      <a:pt x="171" y="34"/>
                    </a:lnTo>
                    <a:lnTo>
                      <a:pt x="172" y="34"/>
                    </a:lnTo>
                    <a:lnTo>
                      <a:pt x="175" y="36"/>
                    </a:lnTo>
                    <a:lnTo>
                      <a:pt x="179" y="40"/>
                    </a:lnTo>
                    <a:lnTo>
                      <a:pt x="181" y="40"/>
                    </a:lnTo>
                    <a:lnTo>
                      <a:pt x="185" y="40"/>
                    </a:lnTo>
                    <a:lnTo>
                      <a:pt x="186" y="41"/>
                    </a:lnTo>
                    <a:lnTo>
                      <a:pt x="188" y="41"/>
                    </a:lnTo>
                    <a:lnTo>
                      <a:pt x="189" y="43"/>
                    </a:lnTo>
                    <a:lnTo>
                      <a:pt x="189" y="43"/>
                    </a:lnTo>
                    <a:lnTo>
                      <a:pt x="191" y="43"/>
                    </a:lnTo>
                    <a:lnTo>
                      <a:pt x="192" y="41"/>
                    </a:lnTo>
                    <a:lnTo>
                      <a:pt x="194" y="41"/>
                    </a:lnTo>
                    <a:lnTo>
                      <a:pt x="195" y="43"/>
                    </a:lnTo>
                    <a:lnTo>
                      <a:pt x="196" y="43"/>
                    </a:lnTo>
                    <a:lnTo>
                      <a:pt x="198" y="44"/>
                    </a:lnTo>
                    <a:lnTo>
                      <a:pt x="201" y="47"/>
                    </a:lnTo>
                    <a:lnTo>
                      <a:pt x="202" y="49"/>
                    </a:lnTo>
                    <a:lnTo>
                      <a:pt x="202" y="50"/>
                    </a:lnTo>
                    <a:lnTo>
                      <a:pt x="204" y="49"/>
                    </a:lnTo>
                    <a:lnTo>
                      <a:pt x="206" y="49"/>
                    </a:lnTo>
                    <a:lnTo>
                      <a:pt x="206" y="49"/>
                    </a:lnTo>
                    <a:lnTo>
                      <a:pt x="206" y="50"/>
                    </a:lnTo>
                    <a:lnTo>
                      <a:pt x="206" y="50"/>
                    </a:lnTo>
                    <a:lnTo>
                      <a:pt x="208" y="51"/>
                    </a:lnTo>
                    <a:lnTo>
                      <a:pt x="209" y="51"/>
                    </a:lnTo>
                    <a:lnTo>
                      <a:pt x="211" y="50"/>
                    </a:lnTo>
                    <a:lnTo>
                      <a:pt x="212" y="50"/>
                    </a:lnTo>
                    <a:lnTo>
                      <a:pt x="212" y="50"/>
                    </a:lnTo>
                    <a:lnTo>
                      <a:pt x="214" y="50"/>
                    </a:lnTo>
                    <a:lnTo>
                      <a:pt x="214" y="50"/>
                    </a:lnTo>
                    <a:lnTo>
                      <a:pt x="215" y="50"/>
                    </a:lnTo>
                    <a:lnTo>
                      <a:pt x="215" y="51"/>
                    </a:lnTo>
                    <a:lnTo>
                      <a:pt x="217" y="51"/>
                    </a:lnTo>
                    <a:lnTo>
                      <a:pt x="224" y="53"/>
                    </a:lnTo>
                    <a:lnTo>
                      <a:pt x="225" y="54"/>
                    </a:lnTo>
                    <a:lnTo>
                      <a:pt x="227" y="56"/>
                    </a:lnTo>
                    <a:lnTo>
                      <a:pt x="225" y="59"/>
                    </a:lnTo>
                    <a:lnTo>
                      <a:pt x="225" y="60"/>
                    </a:lnTo>
                    <a:lnTo>
                      <a:pt x="222" y="62"/>
                    </a:lnTo>
                    <a:lnTo>
                      <a:pt x="221" y="63"/>
                    </a:lnTo>
                    <a:lnTo>
                      <a:pt x="221" y="64"/>
                    </a:lnTo>
                    <a:lnTo>
                      <a:pt x="219" y="69"/>
                    </a:lnTo>
                    <a:lnTo>
                      <a:pt x="217" y="79"/>
                    </a:lnTo>
                    <a:lnTo>
                      <a:pt x="215" y="85"/>
                    </a:lnTo>
                    <a:lnTo>
                      <a:pt x="218" y="89"/>
                    </a:lnTo>
                    <a:lnTo>
                      <a:pt x="217" y="89"/>
                    </a:lnTo>
                    <a:lnTo>
                      <a:pt x="215" y="92"/>
                    </a:lnTo>
                    <a:lnTo>
                      <a:pt x="214" y="92"/>
                    </a:lnTo>
                    <a:lnTo>
                      <a:pt x="212" y="92"/>
                    </a:lnTo>
                    <a:lnTo>
                      <a:pt x="211" y="92"/>
                    </a:lnTo>
                    <a:lnTo>
                      <a:pt x="211" y="92"/>
                    </a:lnTo>
                    <a:lnTo>
                      <a:pt x="209" y="92"/>
                    </a:lnTo>
                    <a:lnTo>
                      <a:pt x="206" y="92"/>
                    </a:lnTo>
                    <a:lnTo>
                      <a:pt x="206" y="92"/>
                    </a:lnTo>
                    <a:lnTo>
                      <a:pt x="205" y="93"/>
                    </a:lnTo>
                    <a:lnTo>
                      <a:pt x="205" y="93"/>
                    </a:lnTo>
                    <a:lnTo>
                      <a:pt x="205" y="93"/>
                    </a:lnTo>
                    <a:lnTo>
                      <a:pt x="206" y="95"/>
                    </a:lnTo>
                    <a:lnTo>
                      <a:pt x="206" y="95"/>
                    </a:lnTo>
                    <a:lnTo>
                      <a:pt x="205" y="97"/>
                    </a:lnTo>
                    <a:lnTo>
                      <a:pt x="204" y="99"/>
                    </a:lnTo>
                    <a:lnTo>
                      <a:pt x="199" y="102"/>
                    </a:lnTo>
                    <a:lnTo>
                      <a:pt x="199" y="103"/>
                    </a:lnTo>
                    <a:lnTo>
                      <a:pt x="198" y="103"/>
                    </a:lnTo>
                    <a:lnTo>
                      <a:pt x="196" y="105"/>
                    </a:lnTo>
                    <a:lnTo>
                      <a:pt x="196" y="105"/>
                    </a:lnTo>
                    <a:lnTo>
                      <a:pt x="196" y="108"/>
                    </a:lnTo>
                    <a:lnTo>
                      <a:pt x="196" y="108"/>
                    </a:lnTo>
                    <a:lnTo>
                      <a:pt x="195" y="109"/>
                    </a:lnTo>
                    <a:lnTo>
                      <a:pt x="192" y="110"/>
                    </a:lnTo>
                    <a:lnTo>
                      <a:pt x="191" y="112"/>
                    </a:lnTo>
                    <a:lnTo>
                      <a:pt x="191" y="115"/>
                    </a:lnTo>
                    <a:lnTo>
                      <a:pt x="191" y="115"/>
                    </a:lnTo>
                    <a:lnTo>
                      <a:pt x="191" y="115"/>
                    </a:lnTo>
                    <a:lnTo>
                      <a:pt x="191" y="116"/>
                    </a:lnTo>
                    <a:lnTo>
                      <a:pt x="191" y="116"/>
                    </a:lnTo>
                    <a:lnTo>
                      <a:pt x="191" y="116"/>
                    </a:lnTo>
                    <a:lnTo>
                      <a:pt x="191" y="118"/>
                    </a:lnTo>
                    <a:lnTo>
                      <a:pt x="189" y="120"/>
                    </a:lnTo>
                    <a:lnTo>
                      <a:pt x="188" y="120"/>
                    </a:lnTo>
                    <a:lnTo>
                      <a:pt x="189" y="122"/>
                    </a:lnTo>
                    <a:lnTo>
                      <a:pt x="189" y="122"/>
                    </a:lnTo>
                    <a:lnTo>
                      <a:pt x="189" y="122"/>
                    </a:lnTo>
                    <a:lnTo>
                      <a:pt x="191" y="122"/>
                    </a:lnTo>
                    <a:lnTo>
                      <a:pt x="192" y="120"/>
                    </a:lnTo>
                    <a:lnTo>
                      <a:pt x="194" y="120"/>
                    </a:lnTo>
                    <a:lnTo>
                      <a:pt x="194" y="119"/>
                    </a:lnTo>
                    <a:lnTo>
                      <a:pt x="194" y="118"/>
                    </a:lnTo>
                    <a:lnTo>
                      <a:pt x="195" y="116"/>
                    </a:lnTo>
                    <a:lnTo>
                      <a:pt x="196" y="116"/>
                    </a:lnTo>
                    <a:lnTo>
                      <a:pt x="198" y="115"/>
                    </a:lnTo>
                    <a:lnTo>
                      <a:pt x="199" y="115"/>
                    </a:lnTo>
                    <a:lnTo>
                      <a:pt x="202" y="116"/>
                    </a:lnTo>
                    <a:lnTo>
                      <a:pt x="202" y="116"/>
                    </a:lnTo>
                    <a:lnTo>
                      <a:pt x="202" y="118"/>
                    </a:lnTo>
                    <a:lnTo>
                      <a:pt x="204" y="120"/>
                    </a:lnTo>
                    <a:lnTo>
                      <a:pt x="204" y="120"/>
                    </a:lnTo>
                    <a:lnTo>
                      <a:pt x="204" y="122"/>
                    </a:lnTo>
                    <a:lnTo>
                      <a:pt x="204" y="123"/>
                    </a:lnTo>
                    <a:lnTo>
                      <a:pt x="205" y="125"/>
                    </a:lnTo>
                    <a:lnTo>
                      <a:pt x="206" y="126"/>
                    </a:lnTo>
                    <a:lnTo>
                      <a:pt x="206" y="128"/>
                    </a:lnTo>
                    <a:lnTo>
                      <a:pt x="204" y="131"/>
                    </a:lnTo>
                    <a:lnTo>
                      <a:pt x="204" y="131"/>
                    </a:lnTo>
                    <a:lnTo>
                      <a:pt x="205" y="133"/>
                    </a:lnTo>
                    <a:lnTo>
                      <a:pt x="208" y="138"/>
                    </a:lnTo>
                    <a:lnTo>
                      <a:pt x="209" y="141"/>
                    </a:lnTo>
                    <a:lnTo>
                      <a:pt x="208" y="142"/>
                    </a:lnTo>
                    <a:lnTo>
                      <a:pt x="208" y="143"/>
                    </a:lnTo>
                    <a:lnTo>
                      <a:pt x="206" y="143"/>
                    </a:lnTo>
                    <a:lnTo>
                      <a:pt x="205" y="145"/>
                    </a:lnTo>
                    <a:lnTo>
                      <a:pt x="205" y="145"/>
                    </a:lnTo>
                    <a:lnTo>
                      <a:pt x="204" y="145"/>
                    </a:lnTo>
                    <a:lnTo>
                      <a:pt x="202" y="145"/>
                    </a:lnTo>
                    <a:lnTo>
                      <a:pt x="201" y="145"/>
                    </a:lnTo>
                    <a:lnTo>
                      <a:pt x="201" y="146"/>
                    </a:lnTo>
                    <a:lnTo>
                      <a:pt x="201" y="148"/>
                    </a:lnTo>
                    <a:lnTo>
                      <a:pt x="202" y="149"/>
                    </a:lnTo>
                    <a:lnTo>
                      <a:pt x="205" y="152"/>
                    </a:lnTo>
                    <a:lnTo>
                      <a:pt x="206" y="154"/>
                    </a:lnTo>
                    <a:lnTo>
                      <a:pt x="206" y="156"/>
                    </a:lnTo>
                    <a:lnTo>
                      <a:pt x="205" y="158"/>
                    </a:lnTo>
                    <a:lnTo>
                      <a:pt x="204" y="159"/>
                    </a:lnTo>
                    <a:lnTo>
                      <a:pt x="204" y="161"/>
                    </a:lnTo>
                    <a:lnTo>
                      <a:pt x="205" y="164"/>
                    </a:lnTo>
                    <a:lnTo>
                      <a:pt x="206" y="165"/>
                    </a:lnTo>
                    <a:lnTo>
                      <a:pt x="208" y="166"/>
                    </a:lnTo>
                    <a:lnTo>
                      <a:pt x="211" y="168"/>
                    </a:lnTo>
                    <a:lnTo>
                      <a:pt x="212" y="168"/>
                    </a:lnTo>
                    <a:lnTo>
                      <a:pt x="214" y="169"/>
                    </a:lnTo>
                    <a:lnTo>
                      <a:pt x="215" y="168"/>
                    </a:lnTo>
                    <a:lnTo>
                      <a:pt x="217" y="168"/>
                    </a:lnTo>
                    <a:lnTo>
                      <a:pt x="218" y="168"/>
                    </a:lnTo>
                    <a:lnTo>
                      <a:pt x="218" y="169"/>
                    </a:lnTo>
                    <a:lnTo>
                      <a:pt x="218" y="171"/>
                    </a:lnTo>
                    <a:lnTo>
                      <a:pt x="215" y="175"/>
                    </a:lnTo>
                    <a:close/>
                    <a:moveTo>
                      <a:pt x="239" y="224"/>
                    </a:moveTo>
                    <a:lnTo>
                      <a:pt x="239" y="225"/>
                    </a:lnTo>
                    <a:lnTo>
                      <a:pt x="238" y="225"/>
                    </a:lnTo>
                    <a:lnTo>
                      <a:pt x="238" y="225"/>
                    </a:lnTo>
                    <a:lnTo>
                      <a:pt x="239" y="227"/>
                    </a:lnTo>
                    <a:lnTo>
                      <a:pt x="244" y="228"/>
                    </a:lnTo>
                    <a:lnTo>
                      <a:pt x="245" y="230"/>
                    </a:lnTo>
                    <a:lnTo>
                      <a:pt x="245" y="228"/>
                    </a:lnTo>
                    <a:lnTo>
                      <a:pt x="247" y="227"/>
                    </a:lnTo>
                    <a:lnTo>
                      <a:pt x="248" y="224"/>
                    </a:lnTo>
                    <a:lnTo>
                      <a:pt x="248" y="218"/>
                    </a:lnTo>
                    <a:lnTo>
                      <a:pt x="250" y="217"/>
                    </a:lnTo>
                    <a:lnTo>
                      <a:pt x="251" y="214"/>
                    </a:lnTo>
                    <a:lnTo>
                      <a:pt x="251" y="212"/>
                    </a:lnTo>
                    <a:lnTo>
                      <a:pt x="250" y="197"/>
                    </a:lnTo>
                    <a:lnTo>
                      <a:pt x="250" y="194"/>
                    </a:lnTo>
                    <a:lnTo>
                      <a:pt x="248" y="195"/>
                    </a:lnTo>
                    <a:lnTo>
                      <a:pt x="248" y="198"/>
                    </a:lnTo>
                    <a:lnTo>
                      <a:pt x="247" y="199"/>
                    </a:lnTo>
                    <a:lnTo>
                      <a:pt x="247" y="201"/>
                    </a:lnTo>
                    <a:lnTo>
                      <a:pt x="244" y="201"/>
                    </a:lnTo>
                    <a:lnTo>
                      <a:pt x="241" y="202"/>
                    </a:lnTo>
                    <a:lnTo>
                      <a:pt x="238" y="204"/>
                    </a:lnTo>
                    <a:lnTo>
                      <a:pt x="234" y="208"/>
                    </a:lnTo>
                    <a:lnTo>
                      <a:pt x="235" y="208"/>
                    </a:lnTo>
                    <a:lnTo>
                      <a:pt x="235" y="210"/>
                    </a:lnTo>
                    <a:lnTo>
                      <a:pt x="235" y="210"/>
                    </a:lnTo>
                    <a:lnTo>
                      <a:pt x="237" y="210"/>
                    </a:lnTo>
                    <a:lnTo>
                      <a:pt x="234" y="211"/>
                    </a:lnTo>
                    <a:lnTo>
                      <a:pt x="235" y="212"/>
                    </a:lnTo>
                    <a:lnTo>
                      <a:pt x="235" y="212"/>
                    </a:lnTo>
                    <a:lnTo>
                      <a:pt x="235" y="214"/>
                    </a:lnTo>
                    <a:lnTo>
                      <a:pt x="235" y="214"/>
                    </a:lnTo>
                    <a:lnTo>
                      <a:pt x="237" y="215"/>
                    </a:lnTo>
                    <a:lnTo>
                      <a:pt x="237" y="215"/>
                    </a:lnTo>
                    <a:lnTo>
                      <a:pt x="237" y="215"/>
                    </a:lnTo>
                    <a:lnTo>
                      <a:pt x="237" y="217"/>
                    </a:lnTo>
                    <a:lnTo>
                      <a:pt x="235" y="217"/>
                    </a:lnTo>
                    <a:lnTo>
                      <a:pt x="235" y="218"/>
                    </a:lnTo>
                    <a:lnTo>
                      <a:pt x="235" y="218"/>
                    </a:lnTo>
                    <a:lnTo>
                      <a:pt x="237" y="218"/>
                    </a:lnTo>
                    <a:lnTo>
                      <a:pt x="237" y="218"/>
                    </a:lnTo>
                    <a:lnTo>
                      <a:pt x="237" y="218"/>
                    </a:lnTo>
                    <a:lnTo>
                      <a:pt x="237" y="218"/>
                    </a:lnTo>
                    <a:lnTo>
                      <a:pt x="237" y="220"/>
                    </a:lnTo>
                    <a:lnTo>
                      <a:pt x="237" y="221"/>
                    </a:lnTo>
                    <a:lnTo>
                      <a:pt x="238" y="222"/>
                    </a:lnTo>
                    <a:lnTo>
                      <a:pt x="238" y="222"/>
                    </a:lnTo>
                    <a:lnTo>
                      <a:pt x="238" y="222"/>
                    </a:lnTo>
                    <a:lnTo>
                      <a:pt x="239" y="222"/>
                    </a:lnTo>
                    <a:lnTo>
                      <a:pt x="239" y="224"/>
                    </a:lnTo>
                    <a:lnTo>
                      <a:pt x="239" y="224"/>
                    </a:lnTo>
                    <a:lnTo>
                      <a:pt x="239" y="22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87" name="Freeform 93">
                <a:extLst>
                  <a:ext uri="{FF2B5EF4-FFF2-40B4-BE49-F238E27FC236}">
                    <a16:creationId xmlns:a16="http://schemas.microsoft.com/office/drawing/2014/main" id="{CE53505E-268C-BD47-86E8-4A37B3C2151E}"/>
                  </a:ext>
                </a:extLst>
              </p:cNvPr>
              <p:cNvSpPr>
                <a:spLocks noEditPoints="1"/>
              </p:cNvSpPr>
              <p:nvPr/>
            </p:nvSpPr>
            <p:spPr bwMode="auto">
              <a:xfrm>
                <a:off x="3797" y="2046"/>
                <a:ext cx="6" cy="5"/>
              </a:xfrm>
              <a:custGeom>
                <a:avLst/>
                <a:gdLst>
                  <a:gd name="T0" fmla="*/ 3 w 6"/>
                  <a:gd name="T1" fmla="*/ 3 h 5"/>
                  <a:gd name="T2" fmla="*/ 6 w 6"/>
                  <a:gd name="T3" fmla="*/ 3 h 5"/>
                  <a:gd name="T4" fmla="*/ 6 w 6"/>
                  <a:gd name="T5" fmla="*/ 5 h 5"/>
                  <a:gd name="T6" fmla="*/ 4 w 6"/>
                  <a:gd name="T7" fmla="*/ 5 h 5"/>
                  <a:gd name="T8" fmla="*/ 3 w 6"/>
                  <a:gd name="T9" fmla="*/ 3 h 5"/>
                  <a:gd name="T10" fmla="*/ 0 w 6"/>
                  <a:gd name="T11" fmla="*/ 0 h 5"/>
                  <a:gd name="T12" fmla="*/ 1 w 6"/>
                  <a:gd name="T13" fmla="*/ 2 h 5"/>
                  <a:gd name="T14" fmla="*/ 1 w 6"/>
                  <a:gd name="T15" fmla="*/ 2 h 5"/>
                  <a:gd name="T16" fmla="*/ 3 w 6"/>
                  <a:gd name="T17" fmla="*/ 2 h 5"/>
                  <a:gd name="T18" fmla="*/ 1 w 6"/>
                  <a:gd name="T19" fmla="*/ 0 h 5"/>
                  <a:gd name="T20" fmla="*/ 1 w 6"/>
                  <a:gd name="T21" fmla="*/ 0 h 5"/>
                  <a:gd name="T22" fmla="*/ 0 w 6"/>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3" y="3"/>
                    </a:moveTo>
                    <a:lnTo>
                      <a:pt x="6" y="3"/>
                    </a:lnTo>
                    <a:lnTo>
                      <a:pt x="6" y="5"/>
                    </a:lnTo>
                    <a:lnTo>
                      <a:pt x="4" y="5"/>
                    </a:lnTo>
                    <a:lnTo>
                      <a:pt x="3" y="3"/>
                    </a:lnTo>
                    <a:close/>
                    <a:moveTo>
                      <a:pt x="0" y="0"/>
                    </a:moveTo>
                    <a:lnTo>
                      <a:pt x="1" y="2"/>
                    </a:lnTo>
                    <a:lnTo>
                      <a:pt x="1" y="2"/>
                    </a:lnTo>
                    <a:lnTo>
                      <a:pt x="3" y="2"/>
                    </a:lnTo>
                    <a:lnTo>
                      <a:pt x="1" y="0"/>
                    </a:lnTo>
                    <a:lnTo>
                      <a:pt x="1" y="0"/>
                    </a:lnTo>
                    <a:lnTo>
                      <a:pt x="0"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88" name="Freeform 94">
                <a:extLst>
                  <a:ext uri="{FF2B5EF4-FFF2-40B4-BE49-F238E27FC236}">
                    <a16:creationId xmlns:a16="http://schemas.microsoft.com/office/drawing/2014/main" id="{24779348-D393-F622-555A-830A97D1D025}"/>
                  </a:ext>
                </a:extLst>
              </p:cNvPr>
              <p:cNvSpPr>
                <a:spLocks noEditPoints="1"/>
              </p:cNvSpPr>
              <p:nvPr/>
            </p:nvSpPr>
            <p:spPr bwMode="auto">
              <a:xfrm>
                <a:off x="3893" y="1927"/>
                <a:ext cx="151" cy="142"/>
              </a:xfrm>
              <a:custGeom>
                <a:avLst/>
                <a:gdLst>
                  <a:gd name="T0" fmla="*/ 119 w 151"/>
                  <a:gd name="T1" fmla="*/ 53 h 142"/>
                  <a:gd name="T2" fmla="*/ 114 w 151"/>
                  <a:gd name="T3" fmla="*/ 58 h 142"/>
                  <a:gd name="T4" fmla="*/ 122 w 151"/>
                  <a:gd name="T5" fmla="*/ 58 h 142"/>
                  <a:gd name="T6" fmla="*/ 112 w 151"/>
                  <a:gd name="T7" fmla="*/ 78 h 142"/>
                  <a:gd name="T8" fmla="*/ 111 w 151"/>
                  <a:gd name="T9" fmla="*/ 76 h 142"/>
                  <a:gd name="T10" fmla="*/ 101 w 151"/>
                  <a:gd name="T11" fmla="*/ 39 h 142"/>
                  <a:gd name="T12" fmla="*/ 105 w 151"/>
                  <a:gd name="T13" fmla="*/ 30 h 142"/>
                  <a:gd name="T14" fmla="*/ 101 w 151"/>
                  <a:gd name="T15" fmla="*/ 92 h 142"/>
                  <a:gd name="T16" fmla="*/ 92 w 151"/>
                  <a:gd name="T17" fmla="*/ 92 h 142"/>
                  <a:gd name="T18" fmla="*/ 89 w 151"/>
                  <a:gd name="T19" fmla="*/ 81 h 142"/>
                  <a:gd name="T20" fmla="*/ 57 w 151"/>
                  <a:gd name="T21" fmla="*/ 115 h 142"/>
                  <a:gd name="T22" fmla="*/ 151 w 151"/>
                  <a:gd name="T23" fmla="*/ 115 h 142"/>
                  <a:gd name="T24" fmla="*/ 129 w 151"/>
                  <a:gd name="T25" fmla="*/ 99 h 142"/>
                  <a:gd name="T26" fmla="*/ 145 w 151"/>
                  <a:gd name="T27" fmla="*/ 109 h 142"/>
                  <a:gd name="T28" fmla="*/ 83 w 151"/>
                  <a:gd name="T29" fmla="*/ 134 h 142"/>
                  <a:gd name="T30" fmla="*/ 108 w 151"/>
                  <a:gd name="T31" fmla="*/ 138 h 142"/>
                  <a:gd name="T32" fmla="*/ 88 w 151"/>
                  <a:gd name="T33" fmla="*/ 139 h 142"/>
                  <a:gd name="T34" fmla="*/ 70 w 151"/>
                  <a:gd name="T35" fmla="*/ 131 h 142"/>
                  <a:gd name="T36" fmla="*/ 109 w 151"/>
                  <a:gd name="T37" fmla="*/ 105 h 142"/>
                  <a:gd name="T38" fmla="*/ 116 w 151"/>
                  <a:gd name="T39" fmla="*/ 109 h 142"/>
                  <a:gd name="T40" fmla="*/ 103 w 151"/>
                  <a:gd name="T41" fmla="*/ 98 h 142"/>
                  <a:gd name="T42" fmla="*/ 132 w 151"/>
                  <a:gd name="T43" fmla="*/ 129 h 142"/>
                  <a:gd name="T44" fmla="*/ 102 w 151"/>
                  <a:gd name="T45" fmla="*/ 112 h 142"/>
                  <a:gd name="T46" fmla="*/ 99 w 151"/>
                  <a:gd name="T47" fmla="*/ 106 h 142"/>
                  <a:gd name="T48" fmla="*/ 85 w 151"/>
                  <a:gd name="T49" fmla="*/ 19 h 142"/>
                  <a:gd name="T50" fmla="*/ 73 w 151"/>
                  <a:gd name="T51" fmla="*/ 24 h 142"/>
                  <a:gd name="T52" fmla="*/ 82 w 151"/>
                  <a:gd name="T53" fmla="*/ 33 h 142"/>
                  <a:gd name="T54" fmla="*/ 66 w 151"/>
                  <a:gd name="T55" fmla="*/ 35 h 142"/>
                  <a:gd name="T56" fmla="*/ 52 w 151"/>
                  <a:gd name="T57" fmla="*/ 30 h 142"/>
                  <a:gd name="T58" fmla="*/ 62 w 151"/>
                  <a:gd name="T59" fmla="*/ 55 h 142"/>
                  <a:gd name="T60" fmla="*/ 52 w 151"/>
                  <a:gd name="T61" fmla="*/ 63 h 142"/>
                  <a:gd name="T62" fmla="*/ 78 w 151"/>
                  <a:gd name="T63" fmla="*/ 86 h 142"/>
                  <a:gd name="T64" fmla="*/ 63 w 151"/>
                  <a:gd name="T65" fmla="*/ 89 h 142"/>
                  <a:gd name="T66" fmla="*/ 56 w 151"/>
                  <a:gd name="T67" fmla="*/ 89 h 142"/>
                  <a:gd name="T68" fmla="*/ 50 w 151"/>
                  <a:gd name="T69" fmla="*/ 112 h 142"/>
                  <a:gd name="T70" fmla="*/ 36 w 151"/>
                  <a:gd name="T71" fmla="*/ 102 h 142"/>
                  <a:gd name="T72" fmla="*/ 29 w 151"/>
                  <a:gd name="T73" fmla="*/ 81 h 142"/>
                  <a:gd name="T74" fmla="*/ 57 w 151"/>
                  <a:gd name="T75" fmla="*/ 82 h 142"/>
                  <a:gd name="T76" fmla="*/ 40 w 151"/>
                  <a:gd name="T77" fmla="*/ 73 h 142"/>
                  <a:gd name="T78" fmla="*/ 20 w 151"/>
                  <a:gd name="T79" fmla="*/ 62 h 142"/>
                  <a:gd name="T80" fmla="*/ 12 w 151"/>
                  <a:gd name="T81" fmla="*/ 53 h 142"/>
                  <a:gd name="T82" fmla="*/ 13 w 151"/>
                  <a:gd name="T83" fmla="*/ 39 h 142"/>
                  <a:gd name="T84" fmla="*/ 24 w 151"/>
                  <a:gd name="T85" fmla="*/ 26 h 142"/>
                  <a:gd name="T86" fmla="*/ 55 w 151"/>
                  <a:gd name="T87" fmla="*/ 12 h 142"/>
                  <a:gd name="T88" fmla="*/ 86 w 151"/>
                  <a:gd name="T89" fmla="*/ 6 h 142"/>
                  <a:gd name="T90" fmla="*/ 114 w 151"/>
                  <a:gd name="T91" fmla="*/ 9 h 142"/>
                  <a:gd name="T92" fmla="*/ 122 w 151"/>
                  <a:gd name="T93" fmla="*/ 9 h 142"/>
                  <a:gd name="T94" fmla="*/ 86 w 151"/>
                  <a:gd name="T95" fmla="*/ 65 h 142"/>
                  <a:gd name="T96" fmla="*/ 85 w 151"/>
                  <a:gd name="T97" fmla="*/ 96 h 142"/>
                  <a:gd name="T98" fmla="*/ 85 w 151"/>
                  <a:gd name="T99" fmla="*/ 93 h 142"/>
                  <a:gd name="T100" fmla="*/ 83 w 151"/>
                  <a:gd name="T101" fmla="*/ 89 h 142"/>
                  <a:gd name="T102" fmla="*/ 19 w 151"/>
                  <a:gd name="T103" fmla="*/ 65 h 142"/>
                  <a:gd name="T104" fmla="*/ 7 w 151"/>
                  <a:gd name="T105" fmla="*/ 52 h 142"/>
                  <a:gd name="T106" fmla="*/ 72 w 151"/>
                  <a:gd name="T107" fmla="*/ 58 h 142"/>
                  <a:gd name="T108" fmla="*/ 66 w 151"/>
                  <a:gd name="T109" fmla="*/ 60 h 142"/>
                  <a:gd name="T110" fmla="*/ 73 w 151"/>
                  <a:gd name="T111" fmla="*/ 72 h 142"/>
                  <a:gd name="T112" fmla="*/ 80 w 151"/>
                  <a:gd name="T113" fmla="*/ 73 h 142"/>
                  <a:gd name="T114" fmla="*/ 20 w 151"/>
                  <a:gd name="T115" fmla="*/ 73 h 142"/>
                  <a:gd name="T116" fmla="*/ 14 w 151"/>
                  <a:gd name="T117" fmla="*/ 78 h 142"/>
                  <a:gd name="T118" fmla="*/ 17 w 151"/>
                  <a:gd name="T119" fmla="*/ 75 h 142"/>
                  <a:gd name="T120" fmla="*/ 68 w 151"/>
                  <a:gd name="T121" fmla="*/ 82 h 142"/>
                  <a:gd name="T122" fmla="*/ 19 w 151"/>
                  <a:gd name="T123" fmla="*/ 8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 h="142">
                    <a:moveTo>
                      <a:pt x="129" y="85"/>
                    </a:moveTo>
                    <a:lnTo>
                      <a:pt x="131" y="86"/>
                    </a:lnTo>
                    <a:lnTo>
                      <a:pt x="128" y="86"/>
                    </a:lnTo>
                    <a:lnTo>
                      <a:pt x="126" y="86"/>
                    </a:lnTo>
                    <a:lnTo>
                      <a:pt x="122" y="86"/>
                    </a:lnTo>
                    <a:lnTo>
                      <a:pt x="124" y="85"/>
                    </a:lnTo>
                    <a:lnTo>
                      <a:pt x="126" y="85"/>
                    </a:lnTo>
                    <a:lnTo>
                      <a:pt x="129" y="85"/>
                    </a:lnTo>
                    <a:close/>
                    <a:moveTo>
                      <a:pt x="122" y="58"/>
                    </a:moveTo>
                    <a:lnTo>
                      <a:pt x="121" y="56"/>
                    </a:lnTo>
                    <a:lnTo>
                      <a:pt x="119" y="55"/>
                    </a:lnTo>
                    <a:lnTo>
                      <a:pt x="119" y="53"/>
                    </a:lnTo>
                    <a:lnTo>
                      <a:pt x="118" y="52"/>
                    </a:lnTo>
                    <a:lnTo>
                      <a:pt x="116" y="52"/>
                    </a:lnTo>
                    <a:lnTo>
                      <a:pt x="114" y="53"/>
                    </a:lnTo>
                    <a:lnTo>
                      <a:pt x="111" y="53"/>
                    </a:lnTo>
                    <a:lnTo>
                      <a:pt x="109" y="55"/>
                    </a:lnTo>
                    <a:lnTo>
                      <a:pt x="109" y="56"/>
                    </a:lnTo>
                    <a:lnTo>
                      <a:pt x="111" y="58"/>
                    </a:lnTo>
                    <a:lnTo>
                      <a:pt x="114" y="58"/>
                    </a:lnTo>
                    <a:lnTo>
                      <a:pt x="115" y="56"/>
                    </a:lnTo>
                    <a:lnTo>
                      <a:pt x="116" y="56"/>
                    </a:lnTo>
                    <a:lnTo>
                      <a:pt x="115" y="58"/>
                    </a:lnTo>
                    <a:lnTo>
                      <a:pt x="114" y="58"/>
                    </a:lnTo>
                    <a:lnTo>
                      <a:pt x="115" y="59"/>
                    </a:lnTo>
                    <a:lnTo>
                      <a:pt x="116" y="59"/>
                    </a:lnTo>
                    <a:lnTo>
                      <a:pt x="119" y="60"/>
                    </a:lnTo>
                    <a:lnTo>
                      <a:pt x="119" y="60"/>
                    </a:lnTo>
                    <a:lnTo>
                      <a:pt x="119" y="60"/>
                    </a:lnTo>
                    <a:lnTo>
                      <a:pt x="121" y="60"/>
                    </a:lnTo>
                    <a:lnTo>
                      <a:pt x="121" y="60"/>
                    </a:lnTo>
                    <a:lnTo>
                      <a:pt x="121" y="59"/>
                    </a:lnTo>
                    <a:lnTo>
                      <a:pt x="121" y="59"/>
                    </a:lnTo>
                    <a:lnTo>
                      <a:pt x="121" y="58"/>
                    </a:lnTo>
                    <a:lnTo>
                      <a:pt x="122" y="59"/>
                    </a:lnTo>
                    <a:lnTo>
                      <a:pt x="122" y="58"/>
                    </a:lnTo>
                    <a:close/>
                    <a:moveTo>
                      <a:pt x="112" y="89"/>
                    </a:moveTo>
                    <a:lnTo>
                      <a:pt x="112" y="91"/>
                    </a:lnTo>
                    <a:lnTo>
                      <a:pt x="114" y="91"/>
                    </a:lnTo>
                    <a:lnTo>
                      <a:pt x="115" y="89"/>
                    </a:lnTo>
                    <a:lnTo>
                      <a:pt x="116" y="89"/>
                    </a:lnTo>
                    <a:lnTo>
                      <a:pt x="118" y="88"/>
                    </a:lnTo>
                    <a:lnTo>
                      <a:pt x="114" y="88"/>
                    </a:lnTo>
                    <a:lnTo>
                      <a:pt x="112" y="89"/>
                    </a:lnTo>
                    <a:close/>
                    <a:moveTo>
                      <a:pt x="111" y="76"/>
                    </a:moveTo>
                    <a:lnTo>
                      <a:pt x="111" y="76"/>
                    </a:lnTo>
                    <a:lnTo>
                      <a:pt x="111" y="76"/>
                    </a:lnTo>
                    <a:lnTo>
                      <a:pt x="112" y="78"/>
                    </a:lnTo>
                    <a:lnTo>
                      <a:pt x="114" y="75"/>
                    </a:lnTo>
                    <a:lnTo>
                      <a:pt x="114" y="73"/>
                    </a:lnTo>
                    <a:lnTo>
                      <a:pt x="115" y="69"/>
                    </a:lnTo>
                    <a:lnTo>
                      <a:pt x="114" y="69"/>
                    </a:lnTo>
                    <a:lnTo>
                      <a:pt x="111" y="68"/>
                    </a:lnTo>
                    <a:lnTo>
                      <a:pt x="109" y="69"/>
                    </a:lnTo>
                    <a:lnTo>
                      <a:pt x="109" y="70"/>
                    </a:lnTo>
                    <a:lnTo>
                      <a:pt x="109" y="72"/>
                    </a:lnTo>
                    <a:lnTo>
                      <a:pt x="111" y="73"/>
                    </a:lnTo>
                    <a:lnTo>
                      <a:pt x="111" y="73"/>
                    </a:lnTo>
                    <a:lnTo>
                      <a:pt x="109" y="75"/>
                    </a:lnTo>
                    <a:lnTo>
                      <a:pt x="111" y="76"/>
                    </a:lnTo>
                    <a:close/>
                    <a:moveTo>
                      <a:pt x="99" y="39"/>
                    </a:moveTo>
                    <a:lnTo>
                      <a:pt x="98" y="39"/>
                    </a:lnTo>
                    <a:lnTo>
                      <a:pt x="96" y="39"/>
                    </a:lnTo>
                    <a:lnTo>
                      <a:pt x="95" y="40"/>
                    </a:lnTo>
                    <a:lnTo>
                      <a:pt x="95" y="42"/>
                    </a:lnTo>
                    <a:lnTo>
                      <a:pt x="96" y="42"/>
                    </a:lnTo>
                    <a:lnTo>
                      <a:pt x="98" y="42"/>
                    </a:lnTo>
                    <a:lnTo>
                      <a:pt x="99" y="40"/>
                    </a:lnTo>
                    <a:lnTo>
                      <a:pt x="99" y="43"/>
                    </a:lnTo>
                    <a:lnTo>
                      <a:pt x="101" y="42"/>
                    </a:lnTo>
                    <a:lnTo>
                      <a:pt x="102" y="37"/>
                    </a:lnTo>
                    <a:lnTo>
                      <a:pt x="101" y="39"/>
                    </a:lnTo>
                    <a:lnTo>
                      <a:pt x="99" y="39"/>
                    </a:lnTo>
                    <a:close/>
                    <a:moveTo>
                      <a:pt x="95" y="88"/>
                    </a:moveTo>
                    <a:lnTo>
                      <a:pt x="98" y="91"/>
                    </a:lnTo>
                    <a:lnTo>
                      <a:pt x="99" y="89"/>
                    </a:lnTo>
                    <a:lnTo>
                      <a:pt x="95" y="88"/>
                    </a:lnTo>
                    <a:lnTo>
                      <a:pt x="95" y="88"/>
                    </a:lnTo>
                    <a:close/>
                    <a:moveTo>
                      <a:pt x="105" y="27"/>
                    </a:moveTo>
                    <a:lnTo>
                      <a:pt x="103" y="27"/>
                    </a:lnTo>
                    <a:lnTo>
                      <a:pt x="102" y="29"/>
                    </a:lnTo>
                    <a:lnTo>
                      <a:pt x="103" y="29"/>
                    </a:lnTo>
                    <a:lnTo>
                      <a:pt x="103" y="30"/>
                    </a:lnTo>
                    <a:lnTo>
                      <a:pt x="105" y="30"/>
                    </a:lnTo>
                    <a:lnTo>
                      <a:pt x="106" y="29"/>
                    </a:lnTo>
                    <a:lnTo>
                      <a:pt x="105" y="29"/>
                    </a:lnTo>
                    <a:lnTo>
                      <a:pt x="105" y="27"/>
                    </a:lnTo>
                    <a:close/>
                    <a:moveTo>
                      <a:pt x="101" y="92"/>
                    </a:moveTo>
                    <a:lnTo>
                      <a:pt x="102" y="92"/>
                    </a:lnTo>
                    <a:lnTo>
                      <a:pt x="102" y="92"/>
                    </a:lnTo>
                    <a:lnTo>
                      <a:pt x="101" y="91"/>
                    </a:lnTo>
                    <a:lnTo>
                      <a:pt x="101" y="91"/>
                    </a:lnTo>
                    <a:lnTo>
                      <a:pt x="99" y="91"/>
                    </a:lnTo>
                    <a:lnTo>
                      <a:pt x="99" y="92"/>
                    </a:lnTo>
                    <a:lnTo>
                      <a:pt x="101" y="92"/>
                    </a:lnTo>
                    <a:lnTo>
                      <a:pt x="101" y="92"/>
                    </a:lnTo>
                    <a:close/>
                    <a:moveTo>
                      <a:pt x="88" y="22"/>
                    </a:moveTo>
                    <a:lnTo>
                      <a:pt x="86" y="23"/>
                    </a:lnTo>
                    <a:lnTo>
                      <a:pt x="86" y="24"/>
                    </a:lnTo>
                    <a:lnTo>
                      <a:pt x="86" y="26"/>
                    </a:lnTo>
                    <a:lnTo>
                      <a:pt x="88" y="26"/>
                    </a:lnTo>
                    <a:lnTo>
                      <a:pt x="89" y="26"/>
                    </a:lnTo>
                    <a:lnTo>
                      <a:pt x="91" y="23"/>
                    </a:lnTo>
                    <a:lnTo>
                      <a:pt x="89" y="22"/>
                    </a:lnTo>
                    <a:lnTo>
                      <a:pt x="88" y="22"/>
                    </a:lnTo>
                    <a:close/>
                    <a:moveTo>
                      <a:pt x="93" y="91"/>
                    </a:moveTo>
                    <a:lnTo>
                      <a:pt x="92" y="91"/>
                    </a:lnTo>
                    <a:lnTo>
                      <a:pt x="92" y="92"/>
                    </a:lnTo>
                    <a:lnTo>
                      <a:pt x="92" y="92"/>
                    </a:lnTo>
                    <a:lnTo>
                      <a:pt x="92" y="92"/>
                    </a:lnTo>
                    <a:lnTo>
                      <a:pt x="92" y="93"/>
                    </a:lnTo>
                    <a:lnTo>
                      <a:pt x="93" y="93"/>
                    </a:lnTo>
                    <a:lnTo>
                      <a:pt x="93" y="92"/>
                    </a:lnTo>
                    <a:lnTo>
                      <a:pt x="93" y="92"/>
                    </a:lnTo>
                    <a:lnTo>
                      <a:pt x="93" y="91"/>
                    </a:lnTo>
                    <a:close/>
                    <a:moveTo>
                      <a:pt x="93" y="85"/>
                    </a:moveTo>
                    <a:lnTo>
                      <a:pt x="93" y="83"/>
                    </a:lnTo>
                    <a:lnTo>
                      <a:pt x="92" y="82"/>
                    </a:lnTo>
                    <a:lnTo>
                      <a:pt x="91" y="81"/>
                    </a:lnTo>
                    <a:lnTo>
                      <a:pt x="89" y="81"/>
                    </a:lnTo>
                    <a:lnTo>
                      <a:pt x="89" y="82"/>
                    </a:lnTo>
                    <a:lnTo>
                      <a:pt x="91" y="83"/>
                    </a:lnTo>
                    <a:lnTo>
                      <a:pt x="93" y="86"/>
                    </a:lnTo>
                    <a:lnTo>
                      <a:pt x="93" y="85"/>
                    </a:lnTo>
                    <a:close/>
                    <a:moveTo>
                      <a:pt x="60" y="118"/>
                    </a:moveTo>
                    <a:lnTo>
                      <a:pt x="60" y="116"/>
                    </a:lnTo>
                    <a:lnTo>
                      <a:pt x="60" y="115"/>
                    </a:lnTo>
                    <a:lnTo>
                      <a:pt x="59" y="115"/>
                    </a:lnTo>
                    <a:lnTo>
                      <a:pt x="57" y="114"/>
                    </a:lnTo>
                    <a:lnTo>
                      <a:pt x="57" y="114"/>
                    </a:lnTo>
                    <a:lnTo>
                      <a:pt x="57" y="114"/>
                    </a:lnTo>
                    <a:lnTo>
                      <a:pt x="57" y="115"/>
                    </a:lnTo>
                    <a:lnTo>
                      <a:pt x="57" y="116"/>
                    </a:lnTo>
                    <a:lnTo>
                      <a:pt x="57" y="116"/>
                    </a:lnTo>
                    <a:lnTo>
                      <a:pt x="59" y="118"/>
                    </a:lnTo>
                    <a:lnTo>
                      <a:pt x="60" y="118"/>
                    </a:lnTo>
                    <a:close/>
                    <a:moveTo>
                      <a:pt x="142" y="118"/>
                    </a:moveTo>
                    <a:lnTo>
                      <a:pt x="142" y="122"/>
                    </a:lnTo>
                    <a:lnTo>
                      <a:pt x="142" y="122"/>
                    </a:lnTo>
                    <a:lnTo>
                      <a:pt x="144" y="122"/>
                    </a:lnTo>
                    <a:lnTo>
                      <a:pt x="147" y="121"/>
                    </a:lnTo>
                    <a:lnTo>
                      <a:pt x="148" y="119"/>
                    </a:lnTo>
                    <a:lnTo>
                      <a:pt x="148" y="118"/>
                    </a:lnTo>
                    <a:lnTo>
                      <a:pt x="151" y="115"/>
                    </a:lnTo>
                    <a:lnTo>
                      <a:pt x="151" y="112"/>
                    </a:lnTo>
                    <a:lnTo>
                      <a:pt x="148" y="114"/>
                    </a:lnTo>
                    <a:lnTo>
                      <a:pt x="145" y="114"/>
                    </a:lnTo>
                    <a:lnTo>
                      <a:pt x="144" y="116"/>
                    </a:lnTo>
                    <a:lnTo>
                      <a:pt x="142" y="118"/>
                    </a:lnTo>
                    <a:close/>
                    <a:moveTo>
                      <a:pt x="128" y="102"/>
                    </a:moveTo>
                    <a:lnTo>
                      <a:pt x="128" y="101"/>
                    </a:lnTo>
                    <a:lnTo>
                      <a:pt x="128" y="101"/>
                    </a:lnTo>
                    <a:lnTo>
                      <a:pt x="128" y="99"/>
                    </a:lnTo>
                    <a:lnTo>
                      <a:pt x="128" y="99"/>
                    </a:lnTo>
                    <a:lnTo>
                      <a:pt x="128" y="99"/>
                    </a:lnTo>
                    <a:lnTo>
                      <a:pt x="129" y="99"/>
                    </a:lnTo>
                    <a:lnTo>
                      <a:pt x="129" y="101"/>
                    </a:lnTo>
                    <a:lnTo>
                      <a:pt x="129" y="101"/>
                    </a:lnTo>
                    <a:lnTo>
                      <a:pt x="129" y="102"/>
                    </a:lnTo>
                    <a:lnTo>
                      <a:pt x="129" y="102"/>
                    </a:lnTo>
                    <a:lnTo>
                      <a:pt x="128" y="102"/>
                    </a:lnTo>
                    <a:close/>
                    <a:moveTo>
                      <a:pt x="144" y="111"/>
                    </a:moveTo>
                    <a:lnTo>
                      <a:pt x="144" y="109"/>
                    </a:lnTo>
                    <a:lnTo>
                      <a:pt x="144" y="109"/>
                    </a:lnTo>
                    <a:lnTo>
                      <a:pt x="144" y="109"/>
                    </a:lnTo>
                    <a:lnTo>
                      <a:pt x="145" y="108"/>
                    </a:lnTo>
                    <a:lnTo>
                      <a:pt x="145" y="109"/>
                    </a:lnTo>
                    <a:lnTo>
                      <a:pt x="145" y="109"/>
                    </a:lnTo>
                    <a:lnTo>
                      <a:pt x="144" y="109"/>
                    </a:lnTo>
                    <a:lnTo>
                      <a:pt x="144" y="111"/>
                    </a:lnTo>
                    <a:close/>
                    <a:moveTo>
                      <a:pt x="76" y="129"/>
                    </a:moveTo>
                    <a:lnTo>
                      <a:pt x="79" y="129"/>
                    </a:lnTo>
                    <a:lnTo>
                      <a:pt x="80" y="131"/>
                    </a:lnTo>
                    <a:lnTo>
                      <a:pt x="79" y="131"/>
                    </a:lnTo>
                    <a:lnTo>
                      <a:pt x="79" y="131"/>
                    </a:lnTo>
                    <a:lnTo>
                      <a:pt x="79" y="132"/>
                    </a:lnTo>
                    <a:lnTo>
                      <a:pt x="80" y="132"/>
                    </a:lnTo>
                    <a:lnTo>
                      <a:pt x="80" y="132"/>
                    </a:lnTo>
                    <a:lnTo>
                      <a:pt x="82" y="134"/>
                    </a:lnTo>
                    <a:lnTo>
                      <a:pt x="83" y="134"/>
                    </a:lnTo>
                    <a:lnTo>
                      <a:pt x="88" y="132"/>
                    </a:lnTo>
                    <a:lnTo>
                      <a:pt x="92" y="132"/>
                    </a:lnTo>
                    <a:lnTo>
                      <a:pt x="99" y="135"/>
                    </a:lnTo>
                    <a:lnTo>
                      <a:pt x="102" y="135"/>
                    </a:lnTo>
                    <a:lnTo>
                      <a:pt x="103" y="135"/>
                    </a:lnTo>
                    <a:lnTo>
                      <a:pt x="105" y="134"/>
                    </a:lnTo>
                    <a:lnTo>
                      <a:pt x="106" y="134"/>
                    </a:lnTo>
                    <a:lnTo>
                      <a:pt x="108" y="135"/>
                    </a:lnTo>
                    <a:lnTo>
                      <a:pt x="108" y="135"/>
                    </a:lnTo>
                    <a:lnTo>
                      <a:pt x="108" y="137"/>
                    </a:lnTo>
                    <a:lnTo>
                      <a:pt x="108" y="138"/>
                    </a:lnTo>
                    <a:lnTo>
                      <a:pt x="108" y="138"/>
                    </a:lnTo>
                    <a:lnTo>
                      <a:pt x="109" y="138"/>
                    </a:lnTo>
                    <a:lnTo>
                      <a:pt x="112" y="137"/>
                    </a:lnTo>
                    <a:lnTo>
                      <a:pt x="118" y="135"/>
                    </a:lnTo>
                    <a:lnTo>
                      <a:pt x="116" y="138"/>
                    </a:lnTo>
                    <a:lnTo>
                      <a:pt x="116" y="139"/>
                    </a:lnTo>
                    <a:lnTo>
                      <a:pt x="115" y="141"/>
                    </a:lnTo>
                    <a:lnTo>
                      <a:pt x="114" y="141"/>
                    </a:lnTo>
                    <a:lnTo>
                      <a:pt x="106" y="141"/>
                    </a:lnTo>
                    <a:lnTo>
                      <a:pt x="93" y="142"/>
                    </a:lnTo>
                    <a:lnTo>
                      <a:pt x="91" y="142"/>
                    </a:lnTo>
                    <a:lnTo>
                      <a:pt x="89" y="142"/>
                    </a:lnTo>
                    <a:lnTo>
                      <a:pt x="88" y="139"/>
                    </a:lnTo>
                    <a:lnTo>
                      <a:pt x="88" y="139"/>
                    </a:lnTo>
                    <a:lnTo>
                      <a:pt x="86" y="138"/>
                    </a:lnTo>
                    <a:lnTo>
                      <a:pt x="83" y="138"/>
                    </a:lnTo>
                    <a:lnTo>
                      <a:pt x="80" y="137"/>
                    </a:lnTo>
                    <a:lnTo>
                      <a:pt x="73" y="137"/>
                    </a:lnTo>
                    <a:lnTo>
                      <a:pt x="69" y="135"/>
                    </a:lnTo>
                    <a:lnTo>
                      <a:pt x="69" y="132"/>
                    </a:lnTo>
                    <a:lnTo>
                      <a:pt x="69" y="132"/>
                    </a:lnTo>
                    <a:lnTo>
                      <a:pt x="69" y="131"/>
                    </a:lnTo>
                    <a:lnTo>
                      <a:pt x="69" y="131"/>
                    </a:lnTo>
                    <a:lnTo>
                      <a:pt x="69" y="129"/>
                    </a:lnTo>
                    <a:lnTo>
                      <a:pt x="70" y="131"/>
                    </a:lnTo>
                    <a:lnTo>
                      <a:pt x="72" y="131"/>
                    </a:lnTo>
                    <a:lnTo>
                      <a:pt x="72" y="129"/>
                    </a:lnTo>
                    <a:lnTo>
                      <a:pt x="72" y="128"/>
                    </a:lnTo>
                    <a:lnTo>
                      <a:pt x="73" y="131"/>
                    </a:lnTo>
                    <a:lnTo>
                      <a:pt x="76" y="129"/>
                    </a:lnTo>
                    <a:close/>
                    <a:moveTo>
                      <a:pt x="108" y="105"/>
                    </a:moveTo>
                    <a:lnTo>
                      <a:pt x="111" y="104"/>
                    </a:lnTo>
                    <a:lnTo>
                      <a:pt x="112" y="102"/>
                    </a:lnTo>
                    <a:lnTo>
                      <a:pt x="114" y="104"/>
                    </a:lnTo>
                    <a:lnTo>
                      <a:pt x="112" y="104"/>
                    </a:lnTo>
                    <a:lnTo>
                      <a:pt x="111" y="105"/>
                    </a:lnTo>
                    <a:lnTo>
                      <a:pt x="109" y="105"/>
                    </a:lnTo>
                    <a:lnTo>
                      <a:pt x="108" y="105"/>
                    </a:lnTo>
                    <a:close/>
                    <a:moveTo>
                      <a:pt x="116" y="109"/>
                    </a:moveTo>
                    <a:lnTo>
                      <a:pt x="118" y="109"/>
                    </a:lnTo>
                    <a:lnTo>
                      <a:pt x="118" y="108"/>
                    </a:lnTo>
                    <a:lnTo>
                      <a:pt x="119" y="108"/>
                    </a:lnTo>
                    <a:lnTo>
                      <a:pt x="119" y="109"/>
                    </a:lnTo>
                    <a:lnTo>
                      <a:pt x="119" y="109"/>
                    </a:lnTo>
                    <a:lnTo>
                      <a:pt x="119" y="109"/>
                    </a:lnTo>
                    <a:lnTo>
                      <a:pt x="119" y="111"/>
                    </a:lnTo>
                    <a:lnTo>
                      <a:pt x="118" y="111"/>
                    </a:lnTo>
                    <a:lnTo>
                      <a:pt x="116" y="111"/>
                    </a:lnTo>
                    <a:lnTo>
                      <a:pt x="116" y="109"/>
                    </a:lnTo>
                    <a:close/>
                    <a:moveTo>
                      <a:pt x="135" y="104"/>
                    </a:moveTo>
                    <a:lnTo>
                      <a:pt x="132" y="105"/>
                    </a:lnTo>
                    <a:lnTo>
                      <a:pt x="128" y="106"/>
                    </a:lnTo>
                    <a:lnTo>
                      <a:pt x="129" y="105"/>
                    </a:lnTo>
                    <a:lnTo>
                      <a:pt x="131" y="104"/>
                    </a:lnTo>
                    <a:lnTo>
                      <a:pt x="134" y="104"/>
                    </a:lnTo>
                    <a:lnTo>
                      <a:pt x="135" y="104"/>
                    </a:lnTo>
                    <a:close/>
                    <a:moveTo>
                      <a:pt x="103" y="102"/>
                    </a:moveTo>
                    <a:lnTo>
                      <a:pt x="102" y="102"/>
                    </a:lnTo>
                    <a:lnTo>
                      <a:pt x="101" y="101"/>
                    </a:lnTo>
                    <a:lnTo>
                      <a:pt x="102" y="98"/>
                    </a:lnTo>
                    <a:lnTo>
                      <a:pt x="103" y="98"/>
                    </a:lnTo>
                    <a:lnTo>
                      <a:pt x="105" y="98"/>
                    </a:lnTo>
                    <a:lnTo>
                      <a:pt x="105" y="99"/>
                    </a:lnTo>
                    <a:lnTo>
                      <a:pt x="105" y="101"/>
                    </a:lnTo>
                    <a:lnTo>
                      <a:pt x="103" y="102"/>
                    </a:lnTo>
                    <a:close/>
                    <a:moveTo>
                      <a:pt x="98" y="98"/>
                    </a:moveTo>
                    <a:lnTo>
                      <a:pt x="99" y="99"/>
                    </a:lnTo>
                    <a:lnTo>
                      <a:pt x="98" y="101"/>
                    </a:lnTo>
                    <a:lnTo>
                      <a:pt x="96" y="101"/>
                    </a:lnTo>
                    <a:lnTo>
                      <a:pt x="98" y="98"/>
                    </a:lnTo>
                    <a:close/>
                    <a:moveTo>
                      <a:pt x="134" y="127"/>
                    </a:moveTo>
                    <a:lnTo>
                      <a:pt x="132" y="128"/>
                    </a:lnTo>
                    <a:lnTo>
                      <a:pt x="132" y="129"/>
                    </a:lnTo>
                    <a:lnTo>
                      <a:pt x="134" y="132"/>
                    </a:lnTo>
                    <a:lnTo>
                      <a:pt x="132" y="132"/>
                    </a:lnTo>
                    <a:lnTo>
                      <a:pt x="131" y="129"/>
                    </a:lnTo>
                    <a:lnTo>
                      <a:pt x="131" y="128"/>
                    </a:lnTo>
                    <a:lnTo>
                      <a:pt x="132" y="125"/>
                    </a:lnTo>
                    <a:lnTo>
                      <a:pt x="134" y="125"/>
                    </a:lnTo>
                    <a:lnTo>
                      <a:pt x="134" y="127"/>
                    </a:lnTo>
                    <a:close/>
                    <a:moveTo>
                      <a:pt x="102" y="114"/>
                    </a:moveTo>
                    <a:lnTo>
                      <a:pt x="101" y="114"/>
                    </a:lnTo>
                    <a:lnTo>
                      <a:pt x="101" y="114"/>
                    </a:lnTo>
                    <a:lnTo>
                      <a:pt x="101" y="114"/>
                    </a:lnTo>
                    <a:lnTo>
                      <a:pt x="102" y="112"/>
                    </a:lnTo>
                    <a:lnTo>
                      <a:pt x="101" y="112"/>
                    </a:lnTo>
                    <a:lnTo>
                      <a:pt x="102" y="112"/>
                    </a:lnTo>
                    <a:lnTo>
                      <a:pt x="102" y="114"/>
                    </a:lnTo>
                    <a:lnTo>
                      <a:pt x="102" y="114"/>
                    </a:lnTo>
                    <a:close/>
                    <a:moveTo>
                      <a:pt x="99" y="106"/>
                    </a:moveTo>
                    <a:lnTo>
                      <a:pt x="99" y="105"/>
                    </a:lnTo>
                    <a:lnTo>
                      <a:pt x="101" y="106"/>
                    </a:lnTo>
                    <a:lnTo>
                      <a:pt x="101" y="106"/>
                    </a:lnTo>
                    <a:lnTo>
                      <a:pt x="101" y="108"/>
                    </a:lnTo>
                    <a:lnTo>
                      <a:pt x="99" y="106"/>
                    </a:lnTo>
                    <a:lnTo>
                      <a:pt x="99" y="106"/>
                    </a:lnTo>
                    <a:lnTo>
                      <a:pt x="99" y="106"/>
                    </a:lnTo>
                    <a:close/>
                    <a:moveTo>
                      <a:pt x="114" y="22"/>
                    </a:moveTo>
                    <a:lnTo>
                      <a:pt x="112" y="23"/>
                    </a:lnTo>
                    <a:lnTo>
                      <a:pt x="111" y="22"/>
                    </a:lnTo>
                    <a:lnTo>
                      <a:pt x="109" y="20"/>
                    </a:lnTo>
                    <a:lnTo>
                      <a:pt x="103" y="20"/>
                    </a:lnTo>
                    <a:lnTo>
                      <a:pt x="98" y="17"/>
                    </a:lnTo>
                    <a:lnTo>
                      <a:pt x="96" y="17"/>
                    </a:lnTo>
                    <a:lnTo>
                      <a:pt x="95" y="17"/>
                    </a:lnTo>
                    <a:lnTo>
                      <a:pt x="91" y="20"/>
                    </a:lnTo>
                    <a:lnTo>
                      <a:pt x="89" y="20"/>
                    </a:lnTo>
                    <a:lnTo>
                      <a:pt x="86" y="20"/>
                    </a:lnTo>
                    <a:lnTo>
                      <a:pt x="85" y="19"/>
                    </a:lnTo>
                    <a:lnTo>
                      <a:pt x="85" y="19"/>
                    </a:lnTo>
                    <a:lnTo>
                      <a:pt x="82" y="20"/>
                    </a:lnTo>
                    <a:lnTo>
                      <a:pt x="82" y="20"/>
                    </a:lnTo>
                    <a:lnTo>
                      <a:pt x="80" y="22"/>
                    </a:lnTo>
                    <a:lnTo>
                      <a:pt x="80" y="22"/>
                    </a:lnTo>
                    <a:lnTo>
                      <a:pt x="79" y="23"/>
                    </a:lnTo>
                    <a:lnTo>
                      <a:pt x="78" y="23"/>
                    </a:lnTo>
                    <a:lnTo>
                      <a:pt x="76" y="23"/>
                    </a:lnTo>
                    <a:lnTo>
                      <a:pt x="75" y="23"/>
                    </a:lnTo>
                    <a:lnTo>
                      <a:pt x="73" y="23"/>
                    </a:lnTo>
                    <a:lnTo>
                      <a:pt x="72" y="24"/>
                    </a:lnTo>
                    <a:lnTo>
                      <a:pt x="73" y="24"/>
                    </a:lnTo>
                    <a:lnTo>
                      <a:pt x="75" y="27"/>
                    </a:lnTo>
                    <a:lnTo>
                      <a:pt x="75" y="27"/>
                    </a:lnTo>
                    <a:lnTo>
                      <a:pt x="73" y="29"/>
                    </a:lnTo>
                    <a:lnTo>
                      <a:pt x="73" y="29"/>
                    </a:lnTo>
                    <a:lnTo>
                      <a:pt x="75" y="30"/>
                    </a:lnTo>
                    <a:lnTo>
                      <a:pt x="75" y="30"/>
                    </a:lnTo>
                    <a:lnTo>
                      <a:pt x="76" y="30"/>
                    </a:lnTo>
                    <a:lnTo>
                      <a:pt x="76" y="30"/>
                    </a:lnTo>
                    <a:lnTo>
                      <a:pt x="78" y="30"/>
                    </a:lnTo>
                    <a:lnTo>
                      <a:pt x="79" y="30"/>
                    </a:lnTo>
                    <a:lnTo>
                      <a:pt x="80" y="32"/>
                    </a:lnTo>
                    <a:lnTo>
                      <a:pt x="82" y="33"/>
                    </a:lnTo>
                    <a:lnTo>
                      <a:pt x="82" y="36"/>
                    </a:lnTo>
                    <a:lnTo>
                      <a:pt x="78" y="32"/>
                    </a:lnTo>
                    <a:lnTo>
                      <a:pt x="75" y="30"/>
                    </a:lnTo>
                    <a:lnTo>
                      <a:pt x="72" y="32"/>
                    </a:lnTo>
                    <a:lnTo>
                      <a:pt x="72" y="33"/>
                    </a:lnTo>
                    <a:lnTo>
                      <a:pt x="76" y="36"/>
                    </a:lnTo>
                    <a:lnTo>
                      <a:pt x="76" y="39"/>
                    </a:lnTo>
                    <a:lnTo>
                      <a:pt x="75" y="39"/>
                    </a:lnTo>
                    <a:lnTo>
                      <a:pt x="73" y="37"/>
                    </a:lnTo>
                    <a:lnTo>
                      <a:pt x="70" y="35"/>
                    </a:lnTo>
                    <a:lnTo>
                      <a:pt x="69" y="33"/>
                    </a:lnTo>
                    <a:lnTo>
                      <a:pt x="66" y="35"/>
                    </a:lnTo>
                    <a:lnTo>
                      <a:pt x="66" y="36"/>
                    </a:lnTo>
                    <a:lnTo>
                      <a:pt x="69" y="37"/>
                    </a:lnTo>
                    <a:lnTo>
                      <a:pt x="70" y="39"/>
                    </a:lnTo>
                    <a:lnTo>
                      <a:pt x="69" y="40"/>
                    </a:lnTo>
                    <a:lnTo>
                      <a:pt x="66" y="39"/>
                    </a:lnTo>
                    <a:lnTo>
                      <a:pt x="65" y="35"/>
                    </a:lnTo>
                    <a:lnTo>
                      <a:pt x="62" y="32"/>
                    </a:lnTo>
                    <a:lnTo>
                      <a:pt x="59" y="30"/>
                    </a:lnTo>
                    <a:lnTo>
                      <a:pt x="56" y="29"/>
                    </a:lnTo>
                    <a:lnTo>
                      <a:pt x="57" y="26"/>
                    </a:lnTo>
                    <a:lnTo>
                      <a:pt x="55" y="27"/>
                    </a:lnTo>
                    <a:lnTo>
                      <a:pt x="52" y="30"/>
                    </a:lnTo>
                    <a:lnTo>
                      <a:pt x="52" y="33"/>
                    </a:lnTo>
                    <a:lnTo>
                      <a:pt x="52" y="37"/>
                    </a:lnTo>
                    <a:lnTo>
                      <a:pt x="53" y="39"/>
                    </a:lnTo>
                    <a:lnTo>
                      <a:pt x="57" y="46"/>
                    </a:lnTo>
                    <a:lnTo>
                      <a:pt x="63" y="52"/>
                    </a:lnTo>
                    <a:lnTo>
                      <a:pt x="63" y="53"/>
                    </a:lnTo>
                    <a:lnTo>
                      <a:pt x="65" y="55"/>
                    </a:lnTo>
                    <a:lnTo>
                      <a:pt x="63" y="58"/>
                    </a:lnTo>
                    <a:lnTo>
                      <a:pt x="62" y="58"/>
                    </a:lnTo>
                    <a:lnTo>
                      <a:pt x="62" y="58"/>
                    </a:lnTo>
                    <a:lnTo>
                      <a:pt x="62" y="56"/>
                    </a:lnTo>
                    <a:lnTo>
                      <a:pt x="62" y="55"/>
                    </a:lnTo>
                    <a:lnTo>
                      <a:pt x="60" y="53"/>
                    </a:lnTo>
                    <a:lnTo>
                      <a:pt x="59" y="53"/>
                    </a:lnTo>
                    <a:lnTo>
                      <a:pt x="57" y="53"/>
                    </a:lnTo>
                    <a:lnTo>
                      <a:pt x="56" y="55"/>
                    </a:lnTo>
                    <a:lnTo>
                      <a:pt x="56" y="56"/>
                    </a:lnTo>
                    <a:lnTo>
                      <a:pt x="57" y="58"/>
                    </a:lnTo>
                    <a:lnTo>
                      <a:pt x="59" y="59"/>
                    </a:lnTo>
                    <a:lnTo>
                      <a:pt x="60" y="59"/>
                    </a:lnTo>
                    <a:lnTo>
                      <a:pt x="57" y="60"/>
                    </a:lnTo>
                    <a:lnTo>
                      <a:pt x="56" y="62"/>
                    </a:lnTo>
                    <a:lnTo>
                      <a:pt x="53" y="62"/>
                    </a:lnTo>
                    <a:lnTo>
                      <a:pt x="52" y="63"/>
                    </a:lnTo>
                    <a:lnTo>
                      <a:pt x="53" y="63"/>
                    </a:lnTo>
                    <a:lnTo>
                      <a:pt x="60" y="66"/>
                    </a:lnTo>
                    <a:lnTo>
                      <a:pt x="62" y="66"/>
                    </a:lnTo>
                    <a:lnTo>
                      <a:pt x="63" y="68"/>
                    </a:lnTo>
                    <a:lnTo>
                      <a:pt x="65" y="69"/>
                    </a:lnTo>
                    <a:lnTo>
                      <a:pt x="66" y="70"/>
                    </a:lnTo>
                    <a:lnTo>
                      <a:pt x="72" y="73"/>
                    </a:lnTo>
                    <a:lnTo>
                      <a:pt x="75" y="75"/>
                    </a:lnTo>
                    <a:lnTo>
                      <a:pt x="78" y="79"/>
                    </a:lnTo>
                    <a:lnTo>
                      <a:pt x="78" y="83"/>
                    </a:lnTo>
                    <a:lnTo>
                      <a:pt x="78" y="85"/>
                    </a:lnTo>
                    <a:lnTo>
                      <a:pt x="78" y="86"/>
                    </a:lnTo>
                    <a:lnTo>
                      <a:pt x="76" y="86"/>
                    </a:lnTo>
                    <a:lnTo>
                      <a:pt x="75" y="86"/>
                    </a:lnTo>
                    <a:lnTo>
                      <a:pt x="72" y="83"/>
                    </a:lnTo>
                    <a:lnTo>
                      <a:pt x="69" y="81"/>
                    </a:lnTo>
                    <a:lnTo>
                      <a:pt x="66" y="81"/>
                    </a:lnTo>
                    <a:lnTo>
                      <a:pt x="63" y="81"/>
                    </a:lnTo>
                    <a:lnTo>
                      <a:pt x="59" y="83"/>
                    </a:lnTo>
                    <a:lnTo>
                      <a:pt x="60" y="83"/>
                    </a:lnTo>
                    <a:lnTo>
                      <a:pt x="62" y="85"/>
                    </a:lnTo>
                    <a:lnTo>
                      <a:pt x="62" y="88"/>
                    </a:lnTo>
                    <a:lnTo>
                      <a:pt x="63" y="89"/>
                    </a:lnTo>
                    <a:lnTo>
                      <a:pt x="63" y="89"/>
                    </a:lnTo>
                    <a:lnTo>
                      <a:pt x="65" y="89"/>
                    </a:lnTo>
                    <a:lnTo>
                      <a:pt x="66" y="89"/>
                    </a:lnTo>
                    <a:lnTo>
                      <a:pt x="66" y="91"/>
                    </a:lnTo>
                    <a:lnTo>
                      <a:pt x="68" y="92"/>
                    </a:lnTo>
                    <a:lnTo>
                      <a:pt x="66" y="93"/>
                    </a:lnTo>
                    <a:lnTo>
                      <a:pt x="65" y="93"/>
                    </a:lnTo>
                    <a:lnTo>
                      <a:pt x="63" y="93"/>
                    </a:lnTo>
                    <a:lnTo>
                      <a:pt x="62" y="93"/>
                    </a:lnTo>
                    <a:lnTo>
                      <a:pt x="60" y="93"/>
                    </a:lnTo>
                    <a:lnTo>
                      <a:pt x="60" y="92"/>
                    </a:lnTo>
                    <a:lnTo>
                      <a:pt x="59" y="91"/>
                    </a:lnTo>
                    <a:lnTo>
                      <a:pt x="56" y="89"/>
                    </a:lnTo>
                    <a:lnTo>
                      <a:pt x="55" y="91"/>
                    </a:lnTo>
                    <a:lnTo>
                      <a:pt x="56" y="95"/>
                    </a:lnTo>
                    <a:lnTo>
                      <a:pt x="59" y="102"/>
                    </a:lnTo>
                    <a:lnTo>
                      <a:pt x="62" y="112"/>
                    </a:lnTo>
                    <a:lnTo>
                      <a:pt x="59" y="111"/>
                    </a:lnTo>
                    <a:lnTo>
                      <a:pt x="57" y="109"/>
                    </a:lnTo>
                    <a:lnTo>
                      <a:pt x="56" y="106"/>
                    </a:lnTo>
                    <a:lnTo>
                      <a:pt x="55" y="105"/>
                    </a:lnTo>
                    <a:lnTo>
                      <a:pt x="53" y="105"/>
                    </a:lnTo>
                    <a:lnTo>
                      <a:pt x="50" y="106"/>
                    </a:lnTo>
                    <a:lnTo>
                      <a:pt x="50" y="109"/>
                    </a:lnTo>
                    <a:lnTo>
                      <a:pt x="50" y="112"/>
                    </a:lnTo>
                    <a:lnTo>
                      <a:pt x="49" y="111"/>
                    </a:lnTo>
                    <a:lnTo>
                      <a:pt x="49" y="111"/>
                    </a:lnTo>
                    <a:lnTo>
                      <a:pt x="49" y="109"/>
                    </a:lnTo>
                    <a:lnTo>
                      <a:pt x="47" y="108"/>
                    </a:lnTo>
                    <a:lnTo>
                      <a:pt x="47" y="106"/>
                    </a:lnTo>
                    <a:lnTo>
                      <a:pt x="46" y="105"/>
                    </a:lnTo>
                    <a:lnTo>
                      <a:pt x="45" y="104"/>
                    </a:lnTo>
                    <a:lnTo>
                      <a:pt x="43" y="101"/>
                    </a:lnTo>
                    <a:lnTo>
                      <a:pt x="42" y="101"/>
                    </a:lnTo>
                    <a:lnTo>
                      <a:pt x="39" y="106"/>
                    </a:lnTo>
                    <a:lnTo>
                      <a:pt x="37" y="105"/>
                    </a:lnTo>
                    <a:lnTo>
                      <a:pt x="36" y="102"/>
                    </a:lnTo>
                    <a:lnTo>
                      <a:pt x="35" y="101"/>
                    </a:lnTo>
                    <a:lnTo>
                      <a:pt x="35" y="98"/>
                    </a:lnTo>
                    <a:lnTo>
                      <a:pt x="35" y="96"/>
                    </a:lnTo>
                    <a:lnTo>
                      <a:pt x="36" y="95"/>
                    </a:lnTo>
                    <a:lnTo>
                      <a:pt x="36" y="92"/>
                    </a:lnTo>
                    <a:lnTo>
                      <a:pt x="35" y="91"/>
                    </a:lnTo>
                    <a:lnTo>
                      <a:pt x="33" y="89"/>
                    </a:lnTo>
                    <a:lnTo>
                      <a:pt x="30" y="86"/>
                    </a:lnTo>
                    <a:lnTo>
                      <a:pt x="27" y="83"/>
                    </a:lnTo>
                    <a:lnTo>
                      <a:pt x="26" y="83"/>
                    </a:lnTo>
                    <a:lnTo>
                      <a:pt x="27" y="82"/>
                    </a:lnTo>
                    <a:lnTo>
                      <a:pt x="29" y="81"/>
                    </a:lnTo>
                    <a:lnTo>
                      <a:pt x="30" y="78"/>
                    </a:lnTo>
                    <a:lnTo>
                      <a:pt x="30" y="76"/>
                    </a:lnTo>
                    <a:lnTo>
                      <a:pt x="32" y="76"/>
                    </a:lnTo>
                    <a:lnTo>
                      <a:pt x="33" y="78"/>
                    </a:lnTo>
                    <a:lnTo>
                      <a:pt x="35" y="78"/>
                    </a:lnTo>
                    <a:lnTo>
                      <a:pt x="36" y="76"/>
                    </a:lnTo>
                    <a:lnTo>
                      <a:pt x="37" y="75"/>
                    </a:lnTo>
                    <a:lnTo>
                      <a:pt x="39" y="75"/>
                    </a:lnTo>
                    <a:lnTo>
                      <a:pt x="40" y="75"/>
                    </a:lnTo>
                    <a:lnTo>
                      <a:pt x="45" y="76"/>
                    </a:lnTo>
                    <a:lnTo>
                      <a:pt x="53" y="81"/>
                    </a:lnTo>
                    <a:lnTo>
                      <a:pt x="57" y="82"/>
                    </a:lnTo>
                    <a:lnTo>
                      <a:pt x="57" y="79"/>
                    </a:lnTo>
                    <a:lnTo>
                      <a:pt x="62" y="78"/>
                    </a:lnTo>
                    <a:lnTo>
                      <a:pt x="60" y="76"/>
                    </a:lnTo>
                    <a:lnTo>
                      <a:pt x="59" y="76"/>
                    </a:lnTo>
                    <a:lnTo>
                      <a:pt x="55" y="75"/>
                    </a:lnTo>
                    <a:lnTo>
                      <a:pt x="53" y="75"/>
                    </a:lnTo>
                    <a:lnTo>
                      <a:pt x="50" y="72"/>
                    </a:lnTo>
                    <a:lnTo>
                      <a:pt x="49" y="72"/>
                    </a:lnTo>
                    <a:lnTo>
                      <a:pt x="47" y="72"/>
                    </a:lnTo>
                    <a:lnTo>
                      <a:pt x="47" y="73"/>
                    </a:lnTo>
                    <a:lnTo>
                      <a:pt x="46" y="73"/>
                    </a:lnTo>
                    <a:lnTo>
                      <a:pt x="40" y="73"/>
                    </a:lnTo>
                    <a:lnTo>
                      <a:pt x="37" y="73"/>
                    </a:lnTo>
                    <a:lnTo>
                      <a:pt x="35" y="73"/>
                    </a:lnTo>
                    <a:lnTo>
                      <a:pt x="33" y="73"/>
                    </a:lnTo>
                    <a:lnTo>
                      <a:pt x="32" y="73"/>
                    </a:lnTo>
                    <a:lnTo>
                      <a:pt x="30" y="70"/>
                    </a:lnTo>
                    <a:lnTo>
                      <a:pt x="29" y="72"/>
                    </a:lnTo>
                    <a:lnTo>
                      <a:pt x="29" y="73"/>
                    </a:lnTo>
                    <a:lnTo>
                      <a:pt x="27" y="72"/>
                    </a:lnTo>
                    <a:lnTo>
                      <a:pt x="26" y="72"/>
                    </a:lnTo>
                    <a:lnTo>
                      <a:pt x="24" y="70"/>
                    </a:lnTo>
                    <a:lnTo>
                      <a:pt x="22" y="65"/>
                    </a:lnTo>
                    <a:lnTo>
                      <a:pt x="20" y="62"/>
                    </a:lnTo>
                    <a:lnTo>
                      <a:pt x="20" y="62"/>
                    </a:lnTo>
                    <a:lnTo>
                      <a:pt x="23" y="62"/>
                    </a:lnTo>
                    <a:lnTo>
                      <a:pt x="23" y="62"/>
                    </a:lnTo>
                    <a:lnTo>
                      <a:pt x="24" y="62"/>
                    </a:lnTo>
                    <a:lnTo>
                      <a:pt x="26" y="62"/>
                    </a:lnTo>
                    <a:lnTo>
                      <a:pt x="26" y="60"/>
                    </a:lnTo>
                    <a:lnTo>
                      <a:pt x="26" y="59"/>
                    </a:lnTo>
                    <a:lnTo>
                      <a:pt x="24" y="59"/>
                    </a:lnTo>
                    <a:lnTo>
                      <a:pt x="22" y="59"/>
                    </a:lnTo>
                    <a:lnTo>
                      <a:pt x="19" y="59"/>
                    </a:lnTo>
                    <a:lnTo>
                      <a:pt x="19" y="58"/>
                    </a:lnTo>
                    <a:lnTo>
                      <a:pt x="12" y="53"/>
                    </a:lnTo>
                    <a:lnTo>
                      <a:pt x="10" y="52"/>
                    </a:lnTo>
                    <a:lnTo>
                      <a:pt x="10" y="49"/>
                    </a:lnTo>
                    <a:lnTo>
                      <a:pt x="9" y="47"/>
                    </a:lnTo>
                    <a:lnTo>
                      <a:pt x="7" y="46"/>
                    </a:lnTo>
                    <a:lnTo>
                      <a:pt x="6" y="45"/>
                    </a:lnTo>
                    <a:lnTo>
                      <a:pt x="9" y="46"/>
                    </a:lnTo>
                    <a:lnTo>
                      <a:pt x="10" y="46"/>
                    </a:lnTo>
                    <a:lnTo>
                      <a:pt x="12" y="45"/>
                    </a:lnTo>
                    <a:lnTo>
                      <a:pt x="12" y="43"/>
                    </a:lnTo>
                    <a:lnTo>
                      <a:pt x="12" y="42"/>
                    </a:lnTo>
                    <a:lnTo>
                      <a:pt x="12" y="40"/>
                    </a:lnTo>
                    <a:lnTo>
                      <a:pt x="13" y="39"/>
                    </a:lnTo>
                    <a:lnTo>
                      <a:pt x="14" y="37"/>
                    </a:lnTo>
                    <a:lnTo>
                      <a:pt x="16" y="37"/>
                    </a:lnTo>
                    <a:lnTo>
                      <a:pt x="16" y="36"/>
                    </a:lnTo>
                    <a:lnTo>
                      <a:pt x="17" y="36"/>
                    </a:lnTo>
                    <a:lnTo>
                      <a:pt x="17" y="36"/>
                    </a:lnTo>
                    <a:lnTo>
                      <a:pt x="19" y="35"/>
                    </a:lnTo>
                    <a:lnTo>
                      <a:pt x="19" y="32"/>
                    </a:lnTo>
                    <a:lnTo>
                      <a:pt x="20" y="30"/>
                    </a:lnTo>
                    <a:lnTo>
                      <a:pt x="22" y="29"/>
                    </a:lnTo>
                    <a:lnTo>
                      <a:pt x="22" y="29"/>
                    </a:lnTo>
                    <a:lnTo>
                      <a:pt x="23" y="27"/>
                    </a:lnTo>
                    <a:lnTo>
                      <a:pt x="24" y="26"/>
                    </a:lnTo>
                    <a:lnTo>
                      <a:pt x="24" y="24"/>
                    </a:lnTo>
                    <a:lnTo>
                      <a:pt x="23" y="22"/>
                    </a:lnTo>
                    <a:lnTo>
                      <a:pt x="23" y="20"/>
                    </a:lnTo>
                    <a:lnTo>
                      <a:pt x="33" y="20"/>
                    </a:lnTo>
                    <a:lnTo>
                      <a:pt x="36" y="19"/>
                    </a:lnTo>
                    <a:lnTo>
                      <a:pt x="39" y="16"/>
                    </a:lnTo>
                    <a:lnTo>
                      <a:pt x="42" y="14"/>
                    </a:lnTo>
                    <a:lnTo>
                      <a:pt x="45" y="14"/>
                    </a:lnTo>
                    <a:lnTo>
                      <a:pt x="49" y="14"/>
                    </a:lnTo>
                    <a:lnTo>
                      <a:pt x="50" y="14"/>
                    </a:lnTo>
                    <a:lnTo>
                      <a:pt x="53" y="13"/>
                    </a:lnTo>
                    <a:lnTo>
                      <a:pt x="55" y="12"/>
                    </a:lnTo>
                    <a:lnTo>
                      <a:pt x="56" y="10"/>
                    </a:lnTo>
                    <a:lnTo>
                      <a:pt x="57" y="10"/>
                    </a:lnTo>
                    <a:lnTo>
                      <a:pt x="60" y="10"/>
                    </a:lnTo>
                    <a:lnTo>
                      <a:pt x="68" y="9"/>
                    </a:lnTo>
                    <a:lnTo>
                      <a:pt x="73" y="7"/>
                    </a:lnTo>
                    <a:lnTo>
                      <a:pt x="76" y="7"/>
                    </a:lnTo>
                    <a:lnTo>
                      <a:pt x="78" y="7"/>
                    </a:lnTo>
                    <a:lnTo>
                      <a:pt x="79" y="6"/>
                    </a:lnTo>
                    <a:lnTo>
                      <a:pt x="80" y="6"/>
                    </a:lnTo>
                    <a:lnTo>
                      <a:pt x="83" y="6"/>
                    </a:lnTo>
                    <a:lnTo>
                      <a:pt x="85" y="6"/>
                    </a:lnTo>
                    <a:lnTo>
                      <a:pt x="86" y="6"/>
                    </a:lnTo>
                    <a:lnTo>
                      <a:pt x="89" y="9"/>
                    </a:lnTo>
                    <a:lnTo>
                      <a:pt x="91" y="9"/>
                    </a:lnTo>
                    <a:lnTo>
                      <a:pt x="92" y="9"/>
                    </a:lnTo>
                    <a:lnTo>
                      <a:pt x="93" y="9"/>
                    </a:lnTo>
                    <a:lnTo>
                      <a:pt x="95" y="10"/>
                    </a:lnTo>
                    <a:lnTo>
                      <a:pt x="96" y="10"/>
                    </a:lnTo>
                    <a:lnTo>
                      <a:pt x="98" y="12"/>
                    </a:lnTo>
                    <a:lnTo>
                      <a:pt x="99" y="12"/>
                    </a:lnTo>
                    <a:lnTo>
                      <a:pt x="102" y="12"/>
                    </a:lnTo>
                    <a:lnTo>
                      <a:pt x="106" y="10"/>
                    </a:lnTo>
                    <a:lnTo>
                      <a:pt x="112" y="10"/>
                    </a:lnTo>
                    <a:lnTo>
                      <a:pt x="114" y="9"/>
                    </a:lnTo>
                    <a:lnTo>
                      <a:pt x="114" y="7"/>
                    </a:lnTo>
                    <a:lnTo>
                      <a:pt x="114" y="4"/>
                    </a:lnTo>
                    <a:lnTo>
                      <a:pt x="114" y="3"/>
                    </a:lnTo>
                    <a:lnTo>
                      <a:pt x="114" y="1"/>
                    </a:lnTo>
                    <a:lnTo>
                      <a:pt x="115" y="0"/>
                    </a:lnTo>
                    <a:lnTo>
                      <a:pt x="118" y="1"/>
                    </a:lnTo>
                    <a:lnTo>
                      <a:pt x="119" y="1"/>
                    </a:lnTo>
                    <a:lnTo>
                      <a:pt x="121" y="3"/>
                    </a:lnTo>
                    <a:lnTo>
                      <a:pt x="122" y="4"/>
                    </a:lnTo>
                    <a:lnTo>
                      <a:pt x="122" y="6"/>
                    </a:lnTo>
                    <a:lnTo>
                      <a:pt x="122" y="9"/>
                    </a:lnTo>
                    <a:lnTo>
                      <a:pt x="122" y="9"/>
                    </a:lnTo>
                    <a:lnTo>
                      <a:pt x="119" y="10"/>
                    </a:lnTo>
                    <a:lnTo>
                      <a:pt x="118" y="12"/>
                    </a:lnTo>
                    <a:lnTo>
                      <a:pt x="118" y="13"/>
                    </a:lnTo>
                    <a:lnTo>
                      <a:pt x="118" y="16"/>
                    </a:lnTo>
                    <a:lnTo>
                      <a:pt x="118" y="17"/>
                    </a:lnTo>
                    <a:lnTo>
                      <a:pt x="116" y="19"/>
                    </a:lnTo>
                    <a:lnTo>
                      <a:pt x="115" y="20"/>
                    </a:lnTo>
                    <a:lnTo>
                      <a:pt x="114" y="22"/>
                    </a:lnTo>
                    <a:close/>
                    <a:moveTo>
                      <a:pt x="85" y="62"/>
                    </a:moveTo>
                    <a:lnTo>
                      <a:pt x="85" y="62"/>
                    </a:lnTo>
                    <a:lnTo>
                      <a:pt x="86" y="63"/>
                    </a:lnTo>
                    <a:lnTo>
                      <a:pt x="86" y="65"/>
                    </a:lnTo>
                    <a:lnTo>
                      <a:pt x="86" y="65"/>
                    </a:lnTo>
                    <a:lnTo>
                      <a:pt x="88" y="65"/>
                    </a:lnTo>
                    <a:lnTo>
                      <a:pt x="88" y="65"/>
                    </a:lnTo>
                    <a:lnTo>
                      <a:pt x="89" y="63"/>
                    </a:lnTo>
                    <a:lnTo>
                      <a:pt x="86" y="60"/>
                    </a:lnTo>
                    <a:lnTo>
                      <a:pt x="85" y="60"/>
                    </a:lnTo>
                    <a:lnTo>
                      <a:pt x="85" y="62"/>
                    </a:lnTo>
                    <a:close/>
                    <a:moveTo>
                      <a:pt x="85" y="96"/>
                    </a:moveTo>
                    <a:lnTo>
                      <a:pt x="83" y="98"/>
                    </a:lnTo>
                    <a:lnTo>
                      <a:pt x="85" y="99"/>
                    </a:lnTo>
                    <a:lnTo>
                      <a:pt x="86" y="98"/>
                    </a:lnTo>
                    <a:lnTo>
                      <a:pt x="85" y="96"/>
                    </a:lnTo>
                    <a:close/>
                    <a:moveTo>
                      <a:pt x="85" y="108"/>
                    </a:moveTo>
                    <a:lnTo>
                      <a:pt x="86" y="106"/>
                    </a:lnTo>
                    <a:lnTo>
                      <a:pt x="86" y="105"/>
                    </a:lnTo>
                    <a:lnTo>
                      <a:pt x="85" y="106"/>
                    </a:lnTo>
                    <a:lnTo>
                      <a:pt x="85" y="106"/>
                    </a:lnTo>
                    <a:lnTo>
                      <a:pt x="83" y="106"/>
                    </a:lnTo>
                    <a:lnTo>
                      <a:pt x="82" y="106"/>
                    </a:lnTo>
                    <a:lnTo>
                      <a:pt x="82" y="108"/>
                    </a:lnTo>
                    <a:lnTo>
                      <a:pt x="83" y="108"/>
                    </a:lnTo>
                    <a:lnTo>
                      <a:pt x="85" y="108"/>
                    </a:lnTo>
                    <a:close/>
                    <a:moveTo>
                      <a:pt x="83" y="93"/>
                    </a:moveTo>
                    <a:lnTo>
                      <a:pt x="85" y="93"/>
                    </a:lnTo>
                    <a:lnTo>
                      <a:pt x="85" y="93"/>
                    </a:lnTo>
                    <a:lnTo>
                      <a:pt x="85" y="92"/>
                    </a:lnTo>
                    <a:lnTo>
                      <a:pt x="85" y="92"/>
                    </a:lnTo>
                    <a:lnTo>
                      <a:pt x="85" y="91"/>
                    </a:lnTo>
                    <a:lnTo>
                      <a:pt x="83" y="92"/>
                    </a:lnTo>
                    <a:lnTo>
                      <a:pt x="83" y="92"/>
                    </a:lnTo>
                    <a:lnTo>
                      <a:pt x="83" y="93"/>
                    </a:lnTo>
                    <a:lnTo>
                      <a:pt x="83" y="95"/>
                    </a:lnTo>
                    <a:lnTo>
                      <a:pt x="83" y="93"/>
                    </a:lnTo>
                    <a:close/>
                    <a:moveTo>
                      <a:pt x="82" y="89"/>
                    </a:moveTo>
                    <a:lnTo>
                      <a:pt x="82" y="91"/>
                    </a:lnTo>
                    <a:lnTo>
                      <a:pt x="83" y="89"/>
                    </a:lnTo>
                    <a:lnTo>
                      <a:pt x="83" y="88"/>
                    </a:lnTo>
                    <a:lnTo>
                      <a:pt x="83" y="88"/>
                    </a:lnTo>
                    <a:lnTo>
                      <a:pt x="82" y="89"/>
                    </a:lnTo>
                    <a:close/>
                    <a:moveTo>
                      <a:pt x="19" y="63"/>
                    </a:moveTo>
                    <a:lnTo>
                      <a:pt x="17" y="65"/>
                    </a:lnTo>
                    <a:lnTo>
                      <a:pt x="16" y="65"/>
                    </a:lnTo>
                    <a:lnTo>
                      <a:pt x="16" y="68"/>
                    </a:lnTo>
                    <a:lnTo>
                      <a:pt x="16" y="69"/>
                    </a:lnTo>
                    <a:lnTo>
                      <a:pt x="17" y="68"/>
                    </a:lnTo>
                    <a:lnTo>
                      <a:pt x="19" y="68"/>
                    </a:lnTo>
                    <a:lnTo>
                      <a:pt x="19" y="66"/>
                    </a:lnTo>
                    <a:lnTo>
                      <a:pt x="19" y="65"/>
                    </a:lnTo>
                    <a:lnTo>
                      <a:pt x="19" y="63"/>
                    </a:lnTo>
                    <a:close/>
                    <a:moveTo>
                      <a:pt x="4" y="45"/>
                    </a:moveTo>
                    <a:lnTo>
                      <a:pt x="4" y="43"/>
                    </a:lnTo>
                    <a:lnTo>
                      <a:pt x="4" y="43"/>
                    </a:lnTo>
                    <a:lnTo>
                      <a:pt x="3" y="43"/>
                    </a:lnTo>
                    <a:lnTo>
                      <a:pt x="1" y="43"/>
                    </a:lnTo>
                    <a:lnTo>
                      <a:pt x="1" y="43"/>
                    </a:lnTo>
                    <a:lnTo>
                      <a:pt x="0" y="43"/>
                    </a:lnTo>
                    <a:lnTo>
                      <a:pt x="1" y="46"/>
                    </a:lnTo>
                    <a:lnTo>
                      <a:pt x="3" y="49"/>
                    </a:lnTo>
                    <a:lnTo>
                      <a:pt x="6" y="50"/>
                    </a:lnTo>
                    <a:lnTo>
                      <a:pt x="7" y="52"/>
                    </a:lnTo>
                    <a:lnTo>
                      <a:pt x="7" y="50"/>
                    </a:lnTo>
                    <a:lnTo>
                      <a:pt x="6" y="49"/>
                    </a:lnTo>
                    <a:lnTo>
                      <a:pt x="4" y="47"/>
                    </a:lnTo>
                    <a:lnTo>
                      <a:pt x="3" y="46"/>
                    </a:lnTo>
                    <a:lnTo>
                      <a:pt x="4" y="45"/>
                    </a:lnTo>
                    <a:lnTo>
                      <a:pt x="4" y="45"/>
                    </a:lnTo>
                    <a:close/>
                    <a:moveTo>
                      <a:pt x="72" y="58"/>
                    </a:moveTo>
                    <a:lnTo>
                      <a:pt x="73" y="58"/>
                    </a:lnTo>
                    <a:lnTo>
                      <a:pt x="69" y="56"/>
                    </a:lnTo>
                    <a:lnTo>
                      <a:pt x="70" y="56"/>
                    </a:lnTo>
                    <a:lnTo>
                      <a:pt x="70" y="58"/>
                    </a:lnTo>
                    <a:lnTo>
                      <a:pt x="72" y="58"/>
                    </a:lnTo>
                    <a:close/>
                    <a:moveTo>
                      <a:pt x="76" y="55"/>
                    </a:moveTo>
                    <a:lnTo>
                      <a:pt x="76" y="55"/>
                    </a:lnTo>
                    <a:lnTo>
                      <a:pt x="75" y="55"/>
                    </a:lnTo>
                    <a:lnTo>
                      <a:pt x="75" y="55"/>
                    </a:lnTo>
                    <a:lnTo>
                      <a:pt x="75" y="56"/>
                    </a:lnTo>
                    <a:lnTo>
                      <a:pt x="73" y="56"/>
                    </a:lnTo>
                    <a:lnTo>
                      <a:pt x="75" y="56"/>
                    </a:lnTo>
                    <a:lnTo>
                      <a:pt x="75" y="56"/>
                    </a:lnTo>
                    <a:lnTo>
                      <a:pt x="76" y="55"/>
                    </a:lnTo>
                    <a:close/>
                    <a:moveTo>
                      <a:pt x="68" y="63"/>
                    </a:moveTo>
                    <a:lnTo>
                      <a:pt x="68" y="63"/>
                    </a:lnTo>
                    <a:lnTo>
                      <a:pt x="66" y="60"/>
                    </a:lnTo>
                    <a:lnTo>
                      <a:pt x="65" y="60"/>
                    </a:lnTo>
                    <a:lnTo>
                      <a:pt x="63" y="59"/>
                    </a:lnTo>
                    <a:lnTo>
                      <a:pt x="60" y="60"/>
                    </a:lnTo>
                    <a:lnTo>
                      <a:pt x="56" y="62"/>
                    </a:lnTo>
                    <a:lnTo>
                      <a:pt x="57" y="63"/>
                    </a:lnTo>
                    <a:lnTo>
                      <a:pt x="62" y="63"/>
                    </a:lnTo>
                    <a:lnTo>
                      <a:pt x="63" y="63"/>
                    </a:lnTo>
                    <a:lnTo>
                      <a:pt x="65" y="65"/>
                    </a:lnTo>
                    <a:lnTo>
                      <a:pt x="66" y="66"/>
                    </a:lnTo>
                    <a:lnTo>
                      <a:pt x="70" y="72"/>
                    </a:lnTo>
                    <a:lnTo>
                      <a:pt x="72" y="72"/>
                    </a:lnTo>
                    <a:lnTo>
                      <a:pt x="73" y="72"/>
                    </a:lnTo>
                    <a:lnTo>
                      <a:pt x="76" y="73"/>
                    </a:lnTo>
                    <a:lnTo>
                      <a:pt x="78" y="73"/>
                    </a:lnTo>
                    <a:lnTo>
                      <a:pt x="79" y="75"/>
                    </a:lnTo>
                    <a:lnTo>
                      <a:pt x="80" y="78"/>
                    </a:lnTo>
                    <a:lnTo>
                      <a:pt x="82" y="79"/>
                    </a:lnTo>
                    <a:lnTo>
                      <a:pt x="83" y="81"/>
                    </a:lnTo>
                    <a:lnTo>
                      <a:pt x="86" y="81"/>
                    </a:lnTo>
                    <a:lnTo>
                      <a:pt x="86" y="79"/>
                    </a:lnTo>
                    <a:lnTo>
                      <a:pt x="85" y="78"/>
                    </a:lnTo>
                    <a:lnTo>
                      <a:pt x="83" y="78"/>
                    </a:lnTo>
                    <a:lnTo>
                      <a:pt x="80" y="75"/>
                    </a:lnTo>
                    <a:lnTo>
                      <a:pt x="80" y="73"/>
                    </a:lnTo>
                    <a:lnTo>
                      <a:pt x="80" y="72"/>
                    </a:lnTo>
                    <a:lnTo>
                      <a:pt x="80" y="69"/>
                    </a:lnTo>
                    <a:lnTo>
                      <a:pt x="79" y="68"/>
                    </a:lnTo>
                    <a:lnTo>
                      <a:pt x="76" y="66"/>
                    </a:lnTo>
                    <a:lnTo>
                      <a:pt x="70" y="65"/>
                    </a:lnTo>
                    <a:lnTo>
                      <a:pt x="69" y="65"/>
                    </a:lnTo>
                    <a:lnTo>
                      <a:pt x="68" y="63"/>
                    </a:lnTo>
                    <a:close/>
                    <a:moveTo>
                      <a:pt x="17" y="70"/>
                    </a:moveTo>
                    <a:lnTo>
                      <a:pt x="17" y="72"/>
                    </a:lnTo>
                    <a:lnTo>
                      <a:pt x="17" y="73"/>
                    </a:lnTo>
                    <a:lnTo>
                      <a:pt x="19" y="73"/>
                    </a:lnTo>
                    <a:lnTo>
                      <a:pt x="20" y="73"/>
                    </a:lnTo>
                    <a:lnTo>
                      <a:pt x="19" y="73"/>
                    </a:lnTo>
                    <a:lnTo>
                      <a:pt x="19" y="72"/>
                    </a:lnTo>
                    <a:lnTo>
                      <a:pt x="17" y="70"/>
                    </a:lnTo>
                    <a:lnTo>
                      <a:pt x="17" y="70"/>
                    </a:lnTo>
                    <a:close/>
                    <a:moveTo>
                      <a:pt x="14" y="73"/>
                    </a:moveTo>
                    <a:lnTo>
                      <a:pt x="13" y="75"/>
                    </a:lnTo>
                    <a:lnTo>
                      <a:pt x="13" y="76"/>
                    </a:lnTo>
                    <a:lnTo>
                      <a:pt x="13" y="76"/>
                    </a:lnTo>
                    <a:lnTo>
                      <a:pt x="14" y="76"/>
                    </a:lnTo>
                    <a:lnTo>
                      <a:pt x="14" y="76"/>
                    </a:lnTo>
                    <a:lnTo>
                      <a:pt x="14" y="76"/>
                    </a:lnTo>
                    <a:lnTo>
                      <a:pt x="14" y="78"/>
                    </a:lnTo>
                    <a:lnTo>
                      <a:pt x="16" y="78"/>
                    </a:lnTo>
                    <a:lnTo>
                      <a:pt x="16" y="79"/>
                    </a:lnTo>
                    <a:lnTo>
                      <a:pt x="16" y="78"/>
                    </a:lnTo>
                    <a:lnTo>
                      <a:pt x="17" y="78"/>
                    </a:lnTo>
                    <a:lnTo>
                      <a:pt x="17" y="78"/>
                    </a:lnTo>
                    <a:lnTo>
                      <a:pt x="19" y="79"/>
                    </a:lnTo>
                    <a:lnTo>
                      <a:pt x="20" y="79"/>
                    </a:lnTo>
                    <a:lnTo>
                      <a:pt x="19" y="78"/>
                    </a:lnTo>
                    <a:lnTo>
                      <a:pt x="19" y="76"/>
                    </a:lnTo>
                    <a:lnTo>
                      <a:pt x="19" y="76"/>
                    </a:lnTo>
                    <a:lnTo>
                      <a:pt x="17" y="75"/>
                    </a:lnTo>
                    <a:lnTo>
                      <a:pt x="17" y="75"/>
                    </a:lnTo>
                    <a:lnTo>
                      <a:pt x="17" y="73"/>
                    </a:lnTo>
                    <a:lnTo>
                      <a:pt x="16" y="72"/>
                    </a:lnTo>
                    <a:lnTo>
                      <a:pt x="16" y="70"/>
                    </a:lnTo>
                    <a:lnTo>
                      <a:pt x="16" y="73"/>
                    </a:lnTo>
                    <a:lnTo>
                      <a:pt x="14" y="73"/>
                    </a:lnTo>
                    <a:close/>
                    <a:moveTo>
                      <a:pt x="68" y="81"/>
                    </a:moveTo>
                    <a:lnTo>
                      <a:pt x="68" y="81"/>
                    </a:lnTo>
                    <a:lnTo>
                      <a:pt x="66" y="82"/>
                    </a:lnTo>
                    <a:lnTo>
                      <a:pt x="66" y="82"/>
                    </a:lnTo>
                    <a:lnTo>
                      <a:pt x="68" y="82"/>
                    </a:lnTo>
                    <a:lnTo>
                      <a:pt x="68" y="82"/>
                    </a:lnTo>
                    <a:lnTo>
                      <a:pt x="68" y="82"/>
                    </a:lnTo>
                    <a:lnTo>
                      <a:pt x="68" y="81"/>
                    </a:lnTo>
                    <a:close/>
                    <a:moveTo>
                      <a:pt x="17" y="83"/>
                    </a:moveTo>
                    <a:lnTo>
                      <a:pt x="17" y="85"/>
                    </a:lnTo>
                    <a:lnTo>
                      <a:pt x="19" y="85"/>
                    </a:lnTo>
                    <a:lnTo>
                      <a:pt x="19" y="86"/>
                    </a:lnTo>
                    <a:lnTo>
                      <a:pt x="20" y="86"/>
                    </a:lnTo>
                    <a:lnTo>
                      <a:pt x="20" y="86"/>
                    </a:lnTo>
                    <a:lnTo>
                      <a:pt x="23" y="86"/>
                    </a:lnTo>
                    <a:lnTo>
                      <a:pt x="23" y="86"/>
                    </a:lnTo>
                    <a:lnTo>
                      <a:pt x="23" y="85"/>
                    </a:lnTo>
                    <a:lnTo>
                      <a:pt x="20" y="83"/>
                    </a:lnTo>
                    <a:lnTo>
                      <a:pt x="19" y="82"/>
                    </a:lnTo>
                    <a:lnTo>
                      <a:pt x="17" y="83"/>
                    </a:lnTo>
                    <a:close/>
                    <a:moveTo>
                      <a:pt x="88" y="101"/>
                    </a:moveTo>
                    <a:lnTo>
                      <a:pt x="89" y="101"/>
                    </a:lnTo>
                    <a:lnTo>
                      <a:pt x="89" y="102"/>
                    </a:lnTo>
                    <a:lnTo>
                      <a:pt x="89" y="102"/>
                    </a:lnTo>
                    <a:lnTo>
                      <a:pt x="88" y="10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89" name="Freeform 95">
                <a:extLst>
                  <a:ext uri="{FF2B5EF4-FFF2-40B4-BE49-F238E27FC236}">
                    <a16:creationId xmlns:a16="http://schemas.microsoft.com/office/drawing/2014/main" id="{9D454403-6ED4-4CB9-36AA-F7005CD79C77}"/>
                  </a:ext>
                </a:extLst>
              </p:cNvPr>
              <p:cNvSpPr>
                <a:spLocks noEditPoints="1"/>
              </p:cNvSpPr>
              <p:nvPr/>
            </p:nvSpPr>
            <p:spPr bwMode="auto">
              <a:xfrm>
                <a:off x="3386" y="1884"/>
                <a:ext cx="237" cy="164"/>
              </a:xfrm>
              <a:custGeom>
                <a:avLst/>
                <a:gdLst>
                  <a:gd name="T0" fmla="*/ 220 w 237"/>
                  <a:gd name="T1" fmla="*/ 32 h 164"/>
                  <a:gd name="T2" fmla="*/ 218 w 237"/>
                  <a:gd name="T3" fmla="*/ 36 h 164"/>
                  <a:gd name="T4" fmla="*/ 200 w 237"/>
                  <a:gd name="T5" fmla="*/ 53 h 164"/>
                  <a:gd name="T6" fmla="*/ 178 w 237"/>
                  <a:gd name="T7" fmla="*/ 62 h 164"/>
                  <a:gd name="T8" fmla="*/ 167 w 237"/>
                  <a:gd name="T9" fmla="*/ 78 h 164"/>
                  <a:gd name="T10" fmla="*/ 158 w 237"/>
                  <a:gd name="T11" fmla="*/ 102 h 164"/>
                  <a:gd name="T12" fmla="*/ 161 w 237"/>
                  <a:gd name="T13" fmla="*/ 111 h 164"/>
                  <a:gd name="T14" fmla="*/ 147 w 237"/>
                  <a:gd name="T15" fmla="*/ 132 h 164"/>
                  <a:gd name="T16" fmla="*/ 131 w 237"/>
                  <a:gd name="T17" fmla="*/ 139 h 164"/>
                  <a:gd name="T18" fmla="*/ 124 w 237"/>
                  <a:gd name="T19" fmla="*/ 148 h 164"/>
                  <a:gd name="T20" fmla="*/ 88 w 237"/>
                  <a:gd name="T21" fmla="*/ 149 h 164"/>
                  <a:gd name="T22" fmla="*/ 78 w 237"/>
                  <a:gd name="T23" fmla="*/ 154 h 164"/>
                  <a:gd name="T24" fmla="*/ 66 w 237"/>
                  <a:gd name="T25" fmla="*/ 161 h 164"/>
                  <a:gd name="T26" fmla="*/ 55 w 237"/>
                  <a:gd name="T27" fmla="*/ 159 h 164"/>
                  <a:gd name="T28" fmla="*/ 50 w 237"/>
                  <a:gd name="T29" fmla="*/ 151 h 164"/>
                  <a:gd name="T30" fmla="*/ 52 w 237"/>
                  <a:gd name="T31" fmla="*/ 145 h 164"/>
                  <a:gd name="T32" fmla="*/ 42 w 237"/>
                  <a:gd name="T33" fmla="*/ 141 h 164"/>
                  <a:gd name="T34" fmla="*/ 30 w 237"/>
                  <a:gd name="T35" fmla="*/ 134 h 164"/>
                  <a:gd name="T36" fmla="*/ 37 w 237"/>
                  <a:gd name="T37" fmla="*/ 122 h 164"/>
                  <a:gd name="T38" fmla="*/ 33 w 237"/>
                  <a:gd name="T39" fmla="*/ 116 h 164"/>
                  <a:gd name="T40" fmla="*/ 39 w 237"/>
                  <a:gd name="T41" fmla="*/ 102 h 164"/>
                  <a:gd name="T42" fmla="*/ 32 w 237"/>
                  <a:gd name="T43" fmla="*/ 93 h 164"/>
                  <a:gd name="T44" fmla="*/ 40 w 237"/>
                  <a:gd name="T45" fmla="*/ 82 h 164"/>
                  <a:gd name="T46" fmla="*/ 42 w 237"/>
                  <a:gd name="T47" fmla="*/ 73 h 164"/>
                  <a:gd name="T48" fmla="*/ 52 w 237"/>
                  <a:gd name="T49" fmla="*/ 50 h 164"/>
                  <a:gd name="T50" fmla="*/ 46 w 237"/>
                  <a:gd name="T51" fmla="*/ 46 h 164"/>
                  <a:gd name="T52" fmla="*/ 45 w 237"/>
                  <a:gd name="T53" fmla="*/ 40 h 164"/>
                  <a:gd name="T54" fmla="*/ 35 w 237"/>
                  <a:gd name="T55" fmla="*/ 40 h 164"/>
                  <a:gd name="T56" fmla="*/ 19 w 237"/>
                  <a:gd name="T57" fmla="*/ 43 h 164"/>
                  <a:gd name="T58" fmla="*/ 16 w 237"/>
                  <a:gd name="T59" fmla="*/ 36 h 164"/>
                  <a:gd name="T60" fmla="*/ 7 w 237"/>
                  <a:gd name="T61" fmla="*/ 34 h 164"/>
                  <a:gd name="T62" fmla="*/ 7 w 237"/>
                  <a:gd name="T63" fmla="*/ 29 h 164"/>
                  <a:gd name="T64" fmla="*/ 4 w 237"/>
                  <a:gd name="T65" fmla="*/ 20 h 164"/>
                  <a:gd name="T66" fmla="*/ 10 w 237"/>
                  <a:gd name="T67" fmla="*/ 9 h 164"/>
                  <a:gd name="T68" fmla="*/ 16 w 237"/>
                  <a:gd name="T69" fmla="*/ 4 h 164"/>
                  <a:gd name="T70" fmla="*/ 22 w 237"/>
                  <a:gd name="T71" fmla="*/ 0 h 164"/>
                  <a:gd name="T72" fmla="*/ 32 w 237"/>
                  <a:gd name="T73" fmla="*/ 1 h 164"/>
                  <a:gd name="T74" fmla="*/ 63 w 237"/>
                  <a:gd name="T75" fmla="*/ 3 h 164"/>
                  <a:gd name="T76" fmla="*/ 106 w 237"/>
                  <a:gd name="T77" fmla="*/ 7 h 164"/>
                  <a:gd name="T78" fmla="*/ 114 w 237"/>
                  <a:gd name="T79" fmla="*/ 7 h 164"/>
                  <a:gd name="T80" fmla="*/ 132 w 237"/>
                  <a:gd name="T81" fmla="*/ 10 h 164"/>
                  <a:gd name="T82" fmla="*/ 137 w 237"/>
                  <a:gd name="T83" fmla="*/ 16 h 164"/>
                  <a:gd name="T84" fmla="*/ 141 w 237"/>
                  <a:gd name="T85" fmla="*/ 16 h 164"/>
                  <a:gd name="T86" fmla="*/ 151 w 237"/>
                  <a:gd name="T87" fmla="*/ 20 h 164"/>
                  <a:gd name="T88" fmla="*/ 160 w 237"/>
                  <a:gd name="T89" fmla="*/ 23 h 164"/>
                  <a:gd name="T90" fmla="*/ 172 w 237"/>
                  <a:gd name="T91" fmla="*/ 23 h 164"/>
                  <a:gd name="T92" fmla="*/ 184 w 237"/>
                  <a:gd name="T93" fmla="*/ 23 h 164"/>
                  <a:gd name="T94" fmla="*/ 193 w 237"/>
                  <a:gd name="T95" fmla="*/ 27 h 164"/>
                  <a:gd name="T96" fmla="*/ 203 w 237"/>
                  <a:gd name="T97" fmla="*/ 29 h 164"/>
                  <a:gd name="T98" fmla="*/ 210 w 237"/>
                  <a:gd name="T99" fmla="*/ 29 h 164"/>
                  <a:gd name="T100" fmla="*/ 184 w 237"/>
                  <a:gd name="T101" fmla="*/ 103 h 164"/>
                  <a:gd name="T102" fmla="*/ 218 w 237"/>
                  <a:gd name="T103" fmla="*/ 82 h 164"/>
                  <a:gd name="T104" fmla="*/ 210 w 237"/>
                  <a:gd name="T105" fmla="*/ 92 h 164"/>
                  <a:gd name="T106" fmla="*/ 223 w 237"/>
                  <a:gd name="T107" fmla="*/ 88 h 164"/>
                  <a:gd name="T108" fmla="*/ 218 w 237"/>
                  <a:gd name="T109" fmla="*/ 82 h 164"/>
                  <a:gd name="T110" fmla="*/ 228 w 237"/>
                  <a:gd name="T111" fmla="*/ 82 h 164"/>
                  <a:gd name="T112" fmla="*/ 188 w 237"/>
                  <a:gd name="T113" fmla="*/ 10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7" h="164">
                    <a:moveTo>
                      <a:pt x="214" y="29"/>
                    </a:moveTo>
                    <a:lnTo>
                      <a:pt x="218" y="29"/>
                    </a:lnTo>
                    <a:lnTo>
                      <a:pt x="218" y="29"/>
                    </a:lnTo>
                    <a:lnTo>
                      <a:pt x="220" y="30"/>
                    </a:lnTo>
                    <a:lnTo>
                      <a:pt x="220" y="32"/>
                    </a:lnTo>
                    <a:lnTo>
                      <a:pt x="220" y="32"/>
                    </a:lnTo>
                    <a:lnTo>
                      <a:pt x="218" y="33"/>
                    </a:lnTo>
                    <a:lnTo>
                      <a:pt x="218" y="33"/>
                    </a:lnTo>
                    <a:lnTo>
                      <a:pt x="217" y="33"/>
                    </a:lnTo>
                    <a:lnTo>
                      <a:pt x="217" y="34"/>
                    </a:lnTo>
                    <a:lnTo>
                      <a:pt x="218" y="34"/>
                    </a:lnTo>
                    <a:lnTo>
                      <a:pt x="218" y="36"/>
                    </a:lnTo>
                    <a:lnTo>
                      <a:pt x="218" y="37"/>
                    </a:lnTo>
                    <a:lnTo>
                      <a:pt x="217" y="42"/>
                    </a:lnTo>
                    <a:lnTo>
                      <a:pt x="213" y="44"/>
                    </a:lnTo>
                    <a:lnTo>
                      <a:pt x="204" y="49"/>
                    </a:lnTo>
                    <a:lnTo>
                      <a:pt x="203" y="50"/>
                    </a:lnTo>
                    <a:lnTo>
                      <a:pt x="200" y="53"/>
                    </a:lnTo>
                    <a:lnTo>
                      <a:pt x="198" y="55"/>
                    </a:lnTo>
                    <a:lnTo>
                      <a:pt x="195" y="55"/>
                    </a:lnTo>
                    <a:lnTo>
                      <a:pt x="190" y="56"/>
                    </a:lnTo>
                    <a:lnTo>
                      <a:pt x="185" y="57"/>
                    </a:lnTo>
                    <a:lnTo>
                      <a:pt x="181" y="59"/>
                    </a:lnTo>
                    <a:lnTo>
                      <a:pt x="178" y="62"/>
                    </a:lnTo>
                    <a:lnTo>
                      <a:pt x="174" y="65"/>
                    </a:lnTo>
                    <a:lnTo>
                      <a:pt x="177" y="65"/>
                    </a:lnTo>
                    <a:lnTo>
                      <a:pt x="177" y="66"/>
                    </a:lnTo>
                    <a:lnTo>
                      <a:pt x="172" y="69"/>
                    </a:lnTo>
                    <a:lnTo>
                      <a:pt x="171" y="70"/>
                    </a:lnTo>
                    <a:lnTo>
                      <a:pt x="167" y="78"/>
                    </a:lnTo>
                    <a:lnTo>
                      <a:pt x="162" y="82"/>
                    </a:lnTo>
                    <a:lnTo>
                      <a:pt x="158" y="88"/>
                    </a:lnTo>
                    <a:lnTo>
                      <a:pt x="157" y="93"/>
                    </a:lnTo>
                    <a:lnTo>
                      <a:pt x="157" y="99"/>
                    </a:lnTo>
                    <a:lnTo>
                      <a:pt x="158" y="102"/>
                    </a:lnTo>
                    <a:lnTo>
                      <a:pt x="158" y="102"/>
                    </a:lnTo>
                    <a:lnTo>
                      <a:pt x="160" y="103"/>
                    </a:lnTo>
                    <a:lnTo>
                      <a:pt x="161" y="105"/>
                    </a:lnTo>
                    <a:lnTo>
                      <a:pt x="164" y="106"/>
                    </a:lnTo>
                    <a:lnTo>
                      <a:pt x="164" y="106"/>
                    </a:lnTo>
                    <a:lnTo>
                      <a:pt x="164" y="109"/>
                    </a:lnTo>
                    <a:lnTo>
                      <a:pt x="161" y="111"/>
                    </a:lnTo>
                    <a:lnTo>
                      <a:pt x="155" y="113"/>
                    </a:lnTo>
                    <a:lnTo>
                      <a:pt x="152" y="118"/>
                    </a:lnTo>
                    <a:lnTo>
                      <a:pt x="149" y="122"/>
                    </a:lnTo>
                    <a:lnTo>
                      <a:pt x="148" y="128"/>
                    </a:lnTo>
                    <a:lnTo>
                      <a:pt x="149" y="131"/>
                    </a:lnTo>
                    <a:lnTo>
                      <a:pt x="147" y="132"/>
                    </a:lnTo>
                    <a:lnTo>
                      <a:pt x="144" y="132"/>
                    </a:lnTo>
                    <a:lnTo>
                      <a:pt x="141" y="132"/>
                    </a:lnTo>
                    <a:lnTo>
                      <a:pt x="138" y="132"/>
                    </a:lnTo>
                    <a:lnTo>
                      <a:pt x="135" y="134"/>
                    </a:lnTo>
                    <a:lnTo>
                      <a:pt x="132" y="136"/>
                    </a:lnTo>
                    <a:lnTo>
                      <a:pt x="131" y="139"/>
                    </a:lnTo>
                    <a:lnTo>
                      <a:pt x="129" y="141"/>
                    </a:lnTo>
                    <a:lnTo>
                      <a:pt x="128" y="145"/>
                    </a:lnTo>
                    <a:lnTo>
                      <a:pt x="126" y="147"/>
                    </a:lnTo>
                    <a:lnTo>
                      <a:pt x="125" y="147"/>
                    </a:lnTo>
                    <a:lnTo>
                      <a:pt x="124" y="148"/>
                    </a:lnTo>
                    <a:lnTo>
                      <a:pt x="124" y="148"/>
                    </a:lnTo>
                    <a:lnTo>
                      <a:pt x="122" y="148"/>
                    </a:lnTo>
                    <a:lnTo>
                      <a:pt x="122" y="148"/>
                    </a:lnTo>
                    <a:lnTo>
                      <a:pt x="119" y="148"/>
                    </a:lnTo>
                    <a:lnTo>
                      <a:pt x="114" y="149"/>
                    </a:lnTo>
                    <a:lnTo>
                      <a:pt x="111" y="149"/>
                    </a:lnTo>
                    <a:lnTo>
                      <a:pt x="88" y="149"/>
                    </a:lnTo>
                    <a:lnTo>
                      <a:pt x="85" y="149"/>
                    </a:lnTo>
                    <a:lnTo>
                      <a:pt x="83" y="151"/>
                    </a:lnTo>
                    <a:lnTo>
                      <a:pt x="82" y="152"/>
                    </a:lnTo>
                    <a:lnTo>
                      <a:pt x="81" y="152"/>
                    </a:lnTo>
                    <a:lnTo>
                      <a:pt x="79" y="154"/>
                    </a:lnTo>
                    <a:lnTo>
                      <a:pt x="78" y="154"/>
                    </a:lnTo>
                    <a:lnTo>
                      <a:pt x="75" y="154"/>
                    </a:lnTo>
                    <a:lnTo>
                      <a:pt x="72" y="155"/>
                    </a:lnTo>
                    <a:lnTo>
                      <a:pt x="70" y="157"/>
                    </a:lnTo>
                    <a:lnTo>
                      <a:pt x="68" y="158"/>
                    </a:lnTo>
                    <a:lnTo>
                      <a:pt x="68" y="161"/>
                    </a:lnTo>
                    <a:lnTo>
                      <a:pt x="66" y="161"/>
                    </a:lnTo>
                    <a:lnTo>
                      <a:pt x="65" y="162"/>
                    </a:lnTo>
                    <a:lnTo>
                      <a:pt x="63" y="164"/>
                    </a:lnTo>
                    <a:lnTo>
                      <a:pt x="60" y="164"/>
                    </a:lnTo>
                    <a:lnTo>
                      <a:pt x="58" y="162"/>
                    </a:lnTo>
                    <a:lnTo>
                      <a:pt x="56" y="161"/>
                    </a:lnTo>
                    <a:lnTo>
                      <a:pt x="55" y="159"/>
                    </a:lnTo>
                    <a:lnTo>
                      <a:pt x="53" y="158"/>
                    </a:lnTo>
                    <a:lnTo>
                      <a:pt x="52" y="155"/>
                    </a:lnTo>
                    <a:lnTo>
                      <a:pt x="52" y="154"/>
                    </a:lnTo>
                    <a:lnTo>
                      <a:pt x="52" y="152"/>
                    </a:lnTo>
                    <a:lnTo>
                      <a:pt x="50" y="151"/>
                    </a:lnTo>
                    <a:lnTo>
                      <a:pt x="50" y="151"/>
                    </a:lnTo>
                    <a:lnTo>
                      <a:pt x="49" y="149"/>
                    </a:lnTo>
                    <a:lnTo>
                      <a:pt x="49" y="148"/>
                    </a:lnTo>
                    <a:lnTo>
                      <a:pt x="50" y="148"/>
                    </a:lnTo>
                    <a:lnTo>
                      <a:pt x="50" y="147"/>
                    </a:lnTo>
                    <a:lnTo>
                      <a:pt x="52" y="147"/>
                    </a:lnTo>
                    <a:lnTo>
                      <a:pt x="52" y="145"/>
                    </a:lnTo>
                    <a:lnTo>
                      <a:pt x="50" y="147"/>
                    </a:lnTo>
                    <a:lnTo>
                      <a:pt x="50" y="147"/>
                    </a:lnTo>
                    <a:lnTo>
                      <a:pt x="49" y="148"/>
                    </a:lnTo>
                    <a:lnTo>
                      <a:pt x="47" y="145"/>
                    </a:lnTo>
                    <a:lnTo>
                      <a:pt x="43" y="142"/>
                    </a:lnTo>
                    <a:lnTo>
                      <a:pt x="42" y="141"/>
                    </a:lnTo>
                    <a:lnTo>
                      <a:pt x="40" y="138"/>
                    </a:lnTo>
                    <a:lnTo>
                      <a:pt x="39" y="139"/>
                    </a:lnTo>
                    <a:lnTo>
                      <a:pt x="36" y="141"/>
                    </a:lnTo>
                    <a:lnTo>
                      <a:pt x="32" y="141"/>
                    </a:lnTo>
                    <a:lnTo>
                      <a:pt x="30" y="136"/>
                    </a:lnTo>
                    <a:lnTo>
                      <a:pt x="30" y="134"/>
                    </a:lnTo>
                    <a:lnTo>
                      <a:pt x="30" y="131"/>
                    </a:lnTo>
                    <a:lnTo>
                      <a:pt x="32" y="128"/>
                    </a:lnTo>
                    <a:lnTo>
                      <a:pt x="33" y="126"/>
                    </a:lnTo>
                    <a:lnTo>
                      <a:pt x="33" y="125"/>
                    </a:lnTo>
                    <a:lnTo>
                      <a:pt x="36" y="124"/>
                    </a:lnTo>
                    <a:lnTo>
                      <a:pt x="37" y="122"/>
                    </a:lnTo>
                    <a:lnTo>
                      <a:pt x="37" y="122"/>
                    </a:lnTo>
                    <a:lnTo>
                      <a:pt x="39" y="121"/>
                    </a:lnTo>
                    <a:lnTo>
                      <a:pt x="39" y="119"/>
                    </a:lnTo>
                    <a:lnTo>
                      <a:pt x="37" y="119"/>
                    </a:lnTo>
                    <a:lnTo>
                      <a:pt x="35" y="118"/>
                    </a:lnTo>
                    <a:lnTo>
                      <a:pt x="33" y="116"/>
                    </a:lnTo>
                    <a:lnTo>
                      <a:pt x="33" y="113"/>
                    </a:lnTo>
                    <a:lnTo>
                      <a:pt x="33" y="111"/>
                    </a:lnTo>
                    <a:lnTo>
                      <a:pt x="35" y="109"/>
                    </a:lnTo>
                    <a:lnTo>
                      <a:pt x="36" y="108"/>
                    </a:lnTo>
                    <a:lnTo>
                      <a:pt x="37" y="105"/>
                    </a:lnTo>
                    <a:lnTo>
                      <a:pt x="39" y="102"/>
                    </a:lnTo>
                    <a:lnTo>
                      <a:pt x="37" y="101"/>
                    </a:lnTo>
                    <a:lnTo>
                      <a:pt x="36" y="99"/>
                    </a:lnTo>
                    <a:lnTo>
                      <a:pt x="35" y="98"/>
                    </a:lnTo>
                    <a:lnTo>
                      <a:pt x="33" y="96"/>
                    </a:lnTo>
                    <a:lnTo>
                      <a:pt x="33" y="93"/>
                    </a:lnTo>
                    <a:lnTo>
                      <a:pt x="32" y="93"/>
                    </a:lnTo>
                    <a:lnTo>
                      <a:pt x="32" y="92"/>
                    </a:lnTo>
                    <a:lnTo>
                      <a:pt x="30" y="90"/>
                    </a:lnTo>
                    <a:lnTo>
                      <a:pt x="29" y="89"/>
                    </a:lnTo>
                    <a:lnTo>
                      <a:pt x="36" y="88"/>
                    </a:lnTo>
                    <a:lnTo>
                      <a:pt x="39" y="86"/>
                    </a:lnTo>
                    <a:lnTo>
                      <a:pt x="40" y="82"/>
                    </a:lnTo>
                    <a:lnTo>
                      <a:pt x="40" y="80"/>
                    </a:lnTo>
                    <a:lnTo>
                      <a:pt x="39" y="79"/>
                    </a:lnTo>
                    <a:lnTo>
                      <a:pt x="37" y="78"/>
                    </a:lnTo>
                    <a:lnTo>
                      <a:pt x="39" y="76"/>
                    </a:lnTo>
                    <a:lnTo>
                      <a:pt x="40" y="75"/>
                    </a:lnTo>
                    <a:lnTo>
                      <a:pt x="42" y="73"/>
                    </a:lnTo>
                    <a:lnTo>
                      <a:pt x="42" y="72"/>
                    </a:lnTo>
                    <a:lnTo>
                      <a:pt x="42" y="67"/>
                    </a:lnTo>
                    <a:lnTo>
                      <a:pt x="40" y="59"/>
                    </a:lnTo>
                    <a:lnTo>
                      <a:pt x="40" y="59"/>
                    </a:lnTo>
                    <a:lnTo>
                      <a:pt x="43" y="56"/>
                    </a:lnTo>
                    <a:lnTo>
                      <a:pt x="52" y="50"/>
                    </a:lnTo>
                    <a:lnTo>
                      <a:pt x="52" y="49"/>
                    </a:lnTo>
                    <a:lnTo>
                      <a:pt x="50" y="47"/>
                    </a:lnTo>
                    <a:lnTo>
                      <a:pt x="49" y="46"/>
                    </a:lnTo>
                    <a:lnTo>
                      <a:pt x="47" y="46"/>
                    </a:lnTo>
                    <a:lnTo>
                      <a:pt x="47" y="46"/>
                    </a:lnTo>
                    <a:lnTo>
                      <a:pt x="46" y="46"/>
                    </a:lnTo>
                    <a:lnTo>
                      <a:pt x="46" y="44"/>
                    </a:lnTo>
                    <a:lnTo>
                      <a:pt x="46" y="44"/>
                    </a:lnTo>
                    <a:lnTo>
                      <a:pt x="46" y="42"/>
                    </a:lnTo>
                    <a:lnTo>
                      <a:pt x="46" y="42"/>
                    </a:lnTo>
                    <a:lnTo>
                      <a:pt x="46" y="40"/>
                    </a:lnTo>
                    <a:lnTo>
                      <a:pt x="45" y="40"/>
                    </a:lnTo>
                    <a:lnTo>
                      <a:pt x="43" y="39"/>
                    </a:lnTo>
                    <a:lnTo>
                      <a:pt x="42" y="39"/>
                    </a:lnTo>
                    <a:lnTo>
                      <a:pt x="39" y="39"/>
                    </a:lnTo>
                    <a:lnTo>
                      <a:pt x="37" y="39"/>
                    </a:lnTo>
                    <a:lnTo>
                      <a:pt x="36" y="40"/>
                    </a:lnTo>
                    <a:lnTo>
                      <a:pt x="35" y="40"/>
                    </a:lnTo>
                    <a:lnTo>
                      <a:pt x="32" y="42"/>
                    </a:lnTo>
                    <a:lnTo>
                      <a:pt x="29" y="42"/>
                    </a:lnTo>
                    <a:lnTo>
                      <a:pt x="26" y="42"/>
                    </a:lnTo>
                    <a:lnTo>
                      <a:pt x="23" y="42"/>
                    </a:lnTo>
                    <a:lnTo>
                      <a:pt x="20" y="42"/>
                    </a:lnTo>
                    <a:lnTo>
                      <a:pt x="19" y="43"/>
                    </a:lnTo>
                    <a:lnTo>
                      <a:pt x="17" y="42"/>
                    </a:lnTo>
                    <a:lnTo>
                      <a:pt x="17" y="42"/>
                    </a:lnTo>
                    <a:lnTo>
                      <a:pt x="17" y="40"/>
                    </a:lnTo>
                    <a:lnTo>
                      <a:pt x="19" y="39"/>
                    </a:lnTo>
                    <a:lnTo>
                      <a:pt x="19" y="37"/>
                    </a:lnTo>
                    <a:lnTo>
                      <a:pt x="16" y="36"/>
                    </a:lnTo>
                    <a:lnTo>
                      <a:pt x="13" y="36"/>
                    </a:lnTo>
                    <a:lnTo>
                      <a:pt x="10" y="37"/>
                    </a:lnTo>
                    <a:lnTo>
                      <a:pt x="7" y="40"/>
                    </a:lnTo>
                    <a:lnTo>
                      <a:pt x="6" y="39"/>
                    </a:lnTo>
                    <a:lnTo>
                      <a:pt x="6" y="37"/>
                    </a:lnTo>
                    <a:lnTo>
                      <a:pt x="7" y="34"/>
                    </a:lnTo>
                    <a:lnTo>
                      <a:pt x="9" y="32"/>
                    </a:lnTo>
                    <a:lnTo>
                      <a:pt x="9" y="32"/>
                    </a:lnTo>
                    <a:lnTo>
                      <a:pt x="7" y="32"/>
                    </a:lnTo>
                    <a:lnTo>
                      <a:pt x="6" y="32"/>
                    </a:lnTo>
                    <a:lnTo>
                      <a:pt x="7" y="30"/>
                    </a:lnTo>
                    <a:lnTo>
                      <a:pt x="7" y="29"/>
                    </a:lnTo>
                    <a:lnTo>
                      <a:pt x="7" y="26"/>
                    </a:lnTo>
                    <a:lnTo>
                      <a:pt x="6" y="24"/>
                    </a:lnTo>
                    <a:lnTo>
                      <a:pt x="4" y="26"/>
                    </a:lnTo>
                    <a:lnTo>
                      <a:pt x="3" y="24"/>
                    </a:lnTo>
                    <a:lnTo>
                      <a:pt x="3" y="23"/>
                    </a:lnTo>
                    <a:lnTo>
                      <a:pt x="4" y="20"/>
                    </a:lnTo>
                    <a:lnTo>
                      <a:pt x="0" y="19"/>
                    </a:lnTo>
                    <a:lnTo>
                      <a:pt x="0" y="16"/>
                    </a:lnTo>
                    <a:lnTo>
                      <a:pt x="2" y="13"/>
                    </a:lnTo>
                    <a:lnTo>
                      <a:pt x="4" y="10"/>
                    </a:lnTo>
                    <a:lnTo>
                      <a:pt x="6" y="9"/>
                    </a:lnTo>
                    <a:lnTo>
                      <a:pt x="10" y="9"/>
                    </a:lnTo>
                    <a:lnTo>
                      <a:pt x="12" y="9"/>
                    </a:lnTo>
                    <a:lnTo>
                      <a:pt x="13" y="9"/>
                    </a:lnTo>
                    <a:lnTo>
                      <a:pt x="14" y="7"/>
                    </a:lnTo>
                    <a:lnTo>
                      <a:pt x="16" y="6"/>
                    </a:lnTo>
                    <a:lnTo>
                      <a:pt x="16" y="6"/>
                    </a:lnTo>
                    <a:lnTo>
                      <a:pt x="16" y="4"/>
                    </a:lnTo>
                    <a:lnTo>
                      <a:pt x="16" y="4"/>
                    </a:lnTo>
                    <a:lnTo>
                      <a:pt x="16" y="3"/>
                    </a:lnTo>
                    <a:lnTo>
                      <a:pt x="17" y="3"/>
                    </a:lnTo>
                    <a:lnTo>
                      <a:pt x="17" y="3"/>
                    </a:lnTo>
                    <a:lnTo>
                      <a:pt x="20" y="1"/>
                    </a:lnTo>
                    <a:lnTo>
                      <a:pt x="22" y="0"/>
                    </a:lnTo>
                    <a:lnTo>
                      <a:pt x="23" y="0"/>
                    </a:lnTo>
                    <a:lnTo>
                      <a:pt x="26" y="0"/>
                    </a:lnTo>
                    <a:lnTo>
                      <a:pt x="27" y="0"/>
                    </a:lnTo>
                    <a:lnTo>
                      <a:pt x="29" y="0"/>
                    </a:lnTo>
                    <a:lnTo>
                      <a:pt x="30" y="0"/>
                    </a:lnTo>
                    <a:lnTo>
                      <a:pt x="32" y="1"/>
                    </a:lnTo>
                    <a:lnTo>
                      <a:pt x="33" y="3"/>
                    </a:lnTo>
                    <a:lnTo>
                      <a:pt x="36" y="3"/>
                    </a:lnTo>
                    <a:lnTo>
                      <a:pt x="37" y="3"/>
                    </a:lnTo>
                    <a:lnTo>
                      <a:pt x="39" y="3"/>
                    </a:lnTo>
                    <a:lnTo>
                      <a:pt x="60" y="3"/>
                    </a:lnTo>
                    <a:lnTo>
                      <a:pt x="63" y="3"/>
                    </a:lnTo>
                    <a:lnTo>
                      <a:pt x="81" y="7"/>
                    </a:lnTo>
                    <a:lnTo>
                      <a:pt x="85" y="7"/>
                    </a:lnTo>
                    <a:lnTo>
                      <a:pt x="95" y="6"/>
                    </a:lnTo>
                    <a:lnTo>
                      <a:pt x="98" y="6"/>
                    </a:lnTo>
                    <a:lnTo>
                      <a:pt x="102" y="6"/>
                    </a:lnTo>
                    <a:lnTo>
                      <a:pt x="106" y="7"/>
                    </a:lnTo>
                    <a:lnTo>
                      <a:pt x="108" y="7"/>
                    </a:lnTo>
                    <a:lnTo>
                      <a:pt x="108" y="7"/>
                    </a:lnTo>
                    <a:lnTo>
                      <a:pt x="109" y="7"/>
                    </a:lnTo>
                    <a:lnTo>
                      <a:pt x="109" y="7"/>
                    </a:lnTo>
                    <a:lnTo>
                      <a:pt x="112" y="6"/>
                    </a:lnTo>
                    <a:lnTo>
                      <a:pt x="114" y="7"/>
                    </a:lnTo>
                    <a:lnTo>
                      <a:pt x="119" y="9"/>
                    </a:lnTo>
                    <a:lnTo>
                      <a:pt x="124" y="9"/>
                    </a:lnTo>
                    <a:lnTo>
                      <a:pt x="126" y="9"/>
                    </a:lnTo>
                    <a:lnTo>
                      <a:pt x="129" y="7"/>
                    </a:lnTo>
                    <a:lnTo>
                      <a:pt x="131" y="9"/>
                    </a:lnTo>
                    <a:lnTo>
                      <a:pt x="132" y="10"/>
                    </a:lnTo>
                    <a:lnTo>
                      <a:pt x="135" y="11"/>
                    </a:lnTo>
                    <a:lnTo>
                      <a:pt x="137" y="13"/>
                    </a:lnTo>
                    <a:lnTo>
                      <a:pt x="137" y="13"/>
                    </a:lnTo>
                    <a:lnTo>
                      <a:pt x="137" y="13"/>
                    </a:lnTo>
                    <a:lnTo>
                      <a:pt x="137" y="14"/>
                    </a:lnTo>
                    <a:lnTo>
                      <a:pt x="137" y="16"/>
                    </a:lnTo>
                    <a:lnTo>
                      <a:pt x="137" y="16"/>
                    </a:lnTo>
                    <a:lnTo>
                      <a:pt x="138" y="14"/>
                    </a:lnTo>
                    <a:lnTo>
                      <a:pt x="138" y="14"/>
                    </a:lnTo>
                    <a:lnTo>
                      <a:pt x="138" y="14"/>
                    </a:lnTo>
                    <a:lnTo>
                      <a:pt x="139" y="16"/>
                    </a:lnTo>
                    <a:lnTo>
                      <a:pt x="141" y="16"/>
                    </a:lnTo>
                    <a:lnTo>
                      <a:pt x="145" y="17"/>
                    </a:lnTo>
                    <a:lnTo>
                      <a:pt x="147" y="17"/>
                    </a:lnTo>
                    <a:lnTo>
                      <a:pt x="148" y="17"/>
                    </a:lnTo>
                    <a:lnTo>
                      <a:pt x="148" y="17"/>
                    </a:lnTo>
                    <a:lnTo>
                      <a:pt x="149" y="19"/>
                    </a:lnTo>
                    <a:lnTo>
                      <a:pt x="151" y="20"/>
                    </a:lnTo>
                    <a:lnTo>
                      <a:pt x="151" y="20"/>
                    </a:lnTo>
                    <a:lnTo>
                      <a:pt x="152" y="20"/>
                    </a:lnTo>
                    <a:lnTo>
                      <a:pt x="155" y="20"/>
                    </a:lnTo>
                    <a:lnTo>
                      <a:pt x="157" y="20"/>
                    </a:lnTo>
                    <a:lnTo>
                      <a:pt x="158" y="20"/>
                    </a:lnTo>
                    <a:lnTo>
                      <a:pt x="160" y="23"/>
                    </a:lnTo>
                    <a:lnTo>
                      <a:pt x="161" y="23"/>
                    </a:lnTo>
                    <a:lnTo>
                      <a:pt x="162" y="23"/>
                    </a:lnTo>
                    <a:lnTo>
                      <a:pt x="168" y="23"/>
                    </a:lnTo>
                    <a:lnTo>
                      <a:pt x="171" y="23"/>
                    </a:lnTo>
                    <a:lnTo>
                      <a:pt x="171" y="23"/>
                    </a:lnTo>
                    <a:lnTo>
                      <a:pt x="172" y="23"/>
                    </a:lnTo>
                    <a:lnTo>
                      <a:pt x="172" y="23"/>
                    </a:lnTo>
                    <a:lnTo>
                      <a:pt x="172" y="21"/>
                    </a:lnTo>
                    <a:lnTo>
                      <a:pt x="172" y="20"/>
                    </a:lnTo>
                    <a:lnTo>
                      <a:pt x="175" y="20"/>
                    </a:lnTo>
                    <a:lnTo>
                      <a:pt x="180" y="21"/>
                    </a:lnTo>
                    <a:lnTo>
                      <a:pt x="184" y="23"/>
                    </a:lnTo>
                    <a:lnTo>
                      <a:pt x="187" y="26"/>
                    </a:lnTo>
                    <a:lnTo>
                      <a:pt x="187" y="27"/>
                    </a:lnTo>
                    <a:lnTo>
                      <a:pt x="188" y="29"/>
                    </a:lnTo>
                    <a:lnTo>
                      <a:pt x="190" y="29"/>
                    </a:lnTo>
                    <a:lnTo>
                      <a:pt x="191" y="27"/>
                    </a:lnTo>
                    <a:lnTo>
                      <a:pt x="193" y="27"/>
                    </a:lnTo>
                    <a:lnTo>
                      <a:pt x="195" y="30"/>
                    </a:lnTo>
                    <a:lnTo>
                      <a:pt x="197" y="30"/>
                    </a:lnTo>
                    <a:lnTo>
                      <a:pt x="198" y="30"/>
                    </a:lnTo>
                    <a:lnTo>
                      <a:pt x="200" y="30"/>
                    </a:lnTo>
                    <a:lnTo>
                      <a:pt x="201" y="29"/>
                    </a:lnTo>
                    <a:lnTo>
                      <a:pt x="203" y="29"/>
                    </a:lnTo>
                    <a:lnTo>
                      <a:pt x="205" y="30"/>
                    </a:lnTo>
                    <a:lnTo>
                      <a:pt x="207" y="30"/>
                    </a:lnTo>
                    <a:lnTo>
                      <a:pt x="207" y="30"/>
                    </a:lnTo>
                    <a:lnTo>
                      <a:pt x="208" y="30"/>
                    </a:lnTo>
                    <a:lnTo>
                      <a:pt x="210" y="30"/>
                    </a:lnTo>
                    <a:lnTo>
                      <a:pt x="210" y="29"/>
                    </a:lnTo>
                    <a:lnTo>
                      <a:pt x="213" y="29"/>
                    </a:lnTo>
                    <a:lnTo>
                      <a:pt x="214" y="29"/>
                    </a:lnTo>
                    <a:close/>
                    <a:moveTo>
                      <a:pt x="188" y="101"/>
                    </a:moveTo>
                    <a:lnTo>
                      <a:pt x="187" y="101"/>
                    </a:lnTo>
                    <a:lnTo>
                      <a:pt x="184" y="102"/>
                    </a:lnTo>
                    <a:lnTo>
                      <a:pt x="184" y="103"/>
                    </a:lnTo>
                    <a:lnTo>
                      <a:pt x="184" y="105"/>
                    </a:lnTo>
                    <a:lnTo>
                      <a:pt x="185" y="105"/>
                    </a:lnTo>
                    <a:lnTo>
                      <a:pt x="188" y="103"/>
                    </a:lnTo>
                    <a:lnTo>
                      <a:pt x="190" y="102"/>
                    </a:lnTo>
                    <a:lnTo>
                      <a:pt x="188" y="101"/>
                    </a:lnTo>
                    <a:close/>
                    <a:moveTo>
                      <a:pt x="218" y="82"/>
                    </a:moveTo>
                    <a:lnTo>
                      <a:pt x="213" y="83"/>
                    </a:lnTo>
                    <a:lnTo>
                      <a:pt x="207" y="86"/>
                    </a:lnTo>
                    <a:lnTo>
                      <a:pt x="204" y="89"/>
                    </a:lnTo>
                    <a:lnTo>
                      <a:pt x="205" y="93"/>
                    </a:lnTo>
                    <a:lnTo>
                      <a:pt x="207" y="92"/>
                    </a:lnTo>
                    <a:lnTo>
                      <a:pt x="210" y="92"/>
                    </a:lnTo>
                    <a:lnTo>
                      <a:pt x="211" y="93"/>
                    </a:lnTo>
                    <a:lnTo>
                      <a:pt x="213" y="95"/>
                    </a:lnTo>
                    <a:lnTo>
                      <a:pt x="217" y="96"/>
                    </a:lnTo>
                    <a:lnTo>
                      <a:pt x="218" y="93"/>
                    </a:lnTo>
                    <a:lnTo>
                      <a:pt x="221" y="92"/>
                    </a:lnTo>
                    <a:lnTo>
                      <a:pt x="223" y="88"/>
                    </a:lnTo>
                    <a:lnTo>
                      <a:pt x="221" y="86"/>
                    </a:lnTo>
                    <a:lnTo>
                      <a:pt x="220" y="86"/>
                    </a:lnTo>
                    <a:lnTo>
                      <a:pt x="218" y="86"/>
                    </a:lnTo>
                    <a:lnTo>
                      <a:pt x="217" y="86"/>
                    </a:lnTo>
                    <a:lnTo>
                      <a:pt x="217" y="85"/>
                    </a:lnTo>
                    <a:lnTo>
                      <a:pt x="218" y="82"/>
                    </a:lnTo>
                    <a:close/>
                    <a:moveTo>
                      <a:pt x="236" y="85"/>
                    </a:moveTo>
                    <a:lnTo>
                      <a:pt x="237" y="83"/>
                    </a:lnTo>
                    <a:lnTo>
                      <a:pt x="236" y="82"/>
                    </a:lnTo>
                    <a:lnTo>
                      <a:pt x="233" y="80"/>
                    </a:lnTo>
                    <a:lnTo>
                      <a:pt x="230" y="80"/>
                    </a:lnTo>
                    <a:lnTo>
                      <a:pt x="228" y="82"/>
                    </a:lnTo>
                    <a:lnTo>
                      <a:pt x="230" y="83"/>
                    </a:lnTo>
                    <a:lnTo>
                      <a:pt x="233" y="85"/>
                    </a:lnTo>
                    <a:lnTo>
                      <a:pt x="236" y="85"/>
                    </a:lnTo>
                    <a:close/>
                    <a:moveTo>
                      <a:pt x="187" y="109"/>
                    </a:moveTo>
                    <a:lnTo>
                      <a:pt x="187" y="109"/>
                    </a:lnTo>
                    <a:lnTo>
                      <a:pt x="188" y="109"/>
                    </a:lnTo>
                    <a:lnTo>
                      <a:pt x="190" y="109"/>
                    </a:lnTo>
                    <a:lnTo>
                      <a:pt x="187" y="108"/>
                    </a:lnTo>
                    <a:lnTo>
                      <a:pt x="187" y="10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90" name="Freeform 96">
                <a:extLst>
                  <a:ext uri="{FF2B5EF4-FFF2-40B4-BE49-F238E27FC236}">
                    <a16:creationId xmlns:a16="http://schemas.microsoft.com/office/drawing/2014/main" id="{F0085604-58DC-0DA7-A334-5B23193394A3}"/>
                  </a:ext>
                </a:extLst>
              </p:cNvPr>
              <p:cNvSpPr>
                <a:spLocks noEditPoints="1"/>
              </p:cNvSpPr>
              <p:nvPr/>
            </p:nvSpPr>
            <p:spPr bwMode="auto">
              <a:xfrm>
                <a:off x="3665" y="1806"/>
                <a:ext cx="207" cy="229"/>
              </a:xfrm>
              <a:custGeom>
                <a:avLst/>
                <a:gdLst>
                  <a:gd name="T0" fmla="*/ 66 w 207"/>
                  <a:gd name="T1" fmla="*/ 98 h 229"/>
                  <a:gd name="T2" fmla="*/ 64 w 207"/>
                  <a:gd name="T3" fmla="*/ 99 h 229"/>
                  <a:gd name="T4" fmla="*/ 122 w 207"/>
                  <a:gd name="T5" fmla="*/ 26 h 229"/>
                  <a:gd name="T6" fmla="*/ 122 w 207"/>
                  <a:gd name="T7" fmla="*/ 22 h 229"/>
                  <a:gd name="T8" fmla="*/ 119 w 207"/>
                  <a:gd name="T9" fmla="*/ 20 h 229"/>
                  <a:gd name="T10" fmla="*/ 99 w 207"/>
                  <a:gd name="T11" fmla="*/ 6 h 229"/>
                  <a:gd name="T12" fmla="*/ 82 w 207"/>
                  <a:gd name="T13" fmla="*/ 2 h 229"/>
                  <a:gd name="T14" fmla="*/ 66 w 207"/>
                  <a:gd name="T15" fmla="*/ 8 h 229"/>
                  <a:gd name="T16" fmla="*/ 61 w 207"/>
                  <a:gd name="T17" fmla="*/ 18 h 229"/>
                  <a:gd name="T18" fmla="*/ 54 w 207"/>
                  <a:gd name="T19" fmla="*/ 18 h 229"/>
                  <a:gd name="T20" fmla="*/ 46 w 207"/>
                  <a:gd name="T21" fmla="*/ 15 h 229"/>
                  <a:gd name="T22" fmla="*/ 41 w 207"/>
                  <a:gd name="T23" fmla="*/ 26 h 229"/>
                  <a:gd name="T24" fmla="*/ 37 w 207"/>
                  <a:gd name="T25" fmla="*/ 23 h 229"/>
                  <a:gd name="T26" fmla="*/ 31 w 207"/>
                  <a:gd name="T27" fmla="*/ 16 h 229"/>
                  <a:gd name="T28" fmla="*/ 26 w 207"/>
                  <a:gd name="T29" fmla="*/ 20 h 229"/>
                  <a:gd name="T30" fmla="*/ 17 w 207"/>
                  <a:gd name="T31" fmla="*/ 26 h 229"/>
                  <a:gd name="T32" fmla="*/ 7 w 207"/>
                  <a:gd name="T33" fmla="*/ 38 h 229"/>
                  <a:gd name="T34" fmla="*/ 1 w 207"/>
                  <a:gd name="T35" fmla="*/ 45 h 229"/>
                  <a:gd name="T36" fmla="*/ 4 w 207"/>
                  <a:gd name="T37" fmla="*/ 58 h 229"/>
                  <a:gd name="T38" fmla="*/ 13 w 207"/>
                  <a:gd name="T39" fmla="*/ 69 h 229"/>
                  <a:gd name="T40" fmla="*/ 17 w 207"/>
                  <a:gd name="T41" fmla="*/ 77 h 229"/>
                  <a:gd name="T42" fmla="*/ 43 w 207"/>
                  <a:gd name="T43" fmla="*/ 64 h 229"/>
                  <a:gd name="T44" fmla="*/ 67 w 207"/>
                  <a:gd name="T45" fmla="*/ 88 h 229"/>
                  <a:gd name="T46" fmla="*/ 72 w 207"/>
                  <a:gd name="T47" fmla="*/ 97 h 229"/>
                  <a:gd name="T48" fmla="*/ 86 w 207"/>
                  <a:gd name="T49" fmla="*/ 108 h 229"/>
                  <a:gd name="T50" fmla="*/ 113 w 207"/>
                  <a:gd name="T51" fmla="*/ 133 h 229"/>
                  <a:gd name="T52" fmla="*/ 136 w 207"/>
                  <a:gd name="T53" fmla="*/ 144 h 229"/>
                  <a:gd name="T54" fmla="*/ 145 w 207"/>
                  <a:gd name="T55" fmla="*/ 148 h 229"/>
                  <a:gd name="T56" fmla="*/ 159 w 207"/>
                  <a:gd name="T57" fmla="*/ 160 h 229"/>
                  <a:gd name="T58" fmla="*/ 166 w 207"/>
                  <a:gd name="T59" fmla="*/ 186 h 229"/>
                  <a:gd name="T60" fmla="*/ 162 w 207"/>
                  <a:gd name="T61" fmla="*/ 193 h 229"/>
                  <a:gd name="T62" fmla="*/ 166 w 207"/>
                  <a:gd name="T63" fmla="*/ 202 h 229"/>
                  <a:gd name="T64" fmla="*/ 173 w 207"/>
                  <a:gd name="T65" fmla="*/ 187 h 229"/>
                  <a:gd name="T66" fmla="*/ 184 w 207"/>
                  <a:gd name="T67" fmla="*/ 183 h 229"/>
                  <a:gd name="T68" fmla="*/ 175 w 207"/>
                  <a:gd name="T69" fmla="*/ 167 h 229"/>
                  <a:gd name="T70" fmla="*/ 184 w 207"/>
                  <a:gd name="T71" fmla="*/ 148 h 229"/>
                  <a:gd name="T72" fmla="*/ 204 w 207"/>
                  <a:gd name="T73" fmla="*/ 163 h 229"/>
                  <a:gd name="T74" fmla="*/ 162 w 207"/>
                  <a:gd name="T75" fmla="*/ 127 h 229"/>
                  <a:gd name="T76" fmla="*/ 156 w 207"/>
                  <a:gd name="T77" fmla="*/ 118 h 229"/>
                  <a:gd name="T78" fmla="*/ 129 w 207"/>
                  <a:gd name="T79" fmla="*/ 101 h 229"/>
                  <a:gd name="T80" fmla="*/ 100 w 207"/>
                  <a:gd name="T81" fmla="*/ 65 h 229"/>
                  <a:gd name="T82" fmla="*/ 102 w 207"/>
                  <a:gd name="T83" fmla="*/ 49 h 229"/>
                  <a:gd name="T84" fmla="*/ 102 w 207"/>
                  <a:gd name="T85" fmla="*/ 38 h 229"/>
                  <a:gd name="T86" fmla="*/ 117 w 207"/>
                  <a:gd name="T87" fmla="*/ 31 h 229"/>
                  <a:gd name="T88" fmla="*/ 125 w 207"/>
                  <a:gd name="T89" fmla="*/ 35 h 229"/>
                  <a:gd name="T90" fmla="*/ 102 w 207"/>
                  <a:gd name="T91" fmla="*/ 72 h 229"/>
                  <a:gd name="T92" fmla="*/ 125 w 207"/>
                  <a:gd name="T93" fmla="*/ 202 h 229"/>
                  <a:gd name="T94" fmla="*/ 156 w 207"/>
                  <a:gd name="T95" fmla="*/ 196 h 229"/>
                  <a:gd name="T96" fmla="*/ 151 w 207"/>
                  <a:gd name="T97" fmla="*/ 223 h 229"/>
                  <a:gd name="T98" fmla="*/ 135 w 207"/>
                  <a:gd name="T99" fmla="*/ 222 h 229"/>
                  <a:gd name="T100" fmla="*/ 107 w 207"/>
                  <a:gd name="T101" fmla="*/ 210 h 229"/>
                  <a:gd name="T102" fmla="*/ 109 w 207"/>
                  <a:gd name="T103" fmla="*/ 200 h 229"/>
                  <a:gd name="T104" fmla="*/ 93 w 207"/>
                  <a:gd name="T105" fmla="*/ 227 h 229"/>
                  <a:gd name="T106" fmla="*/ 93 w 207"/>
                  <a:gd name="T107" fmla="*/ 227 h 229"/>
                  <a:gd name="T108" fmla="*/ 30 w 207"/>
                  <a:gd name="T109" fmla="*/ 179 h 229"/>
                  <a:gd name="T110" fmla="*/ 46 w 207"/>
                  <a:gd name="T111" fmla="*/ 133 h 229"/>
                  <a:gd name="T112" fmla="*/ 54 w 207"/>
                  <a:gd name="T113" fmla="*/ 150 h 229"/>
                  <a:gd name="T114" fmla="*/ 51 w 207"/>
                  <a:gd name="T115" fmla="*/ 176 h 229"/>
                  <a:gd name="T116" fmla="*/ 31 w 207"/>
                  <a:gd name="T117" fmla="*/ 179 h 229"/>
                  <a:gd name="T118" fmla="*/ 31 w 207"/>
                  <a:gd name="T119" fmla="*/ 161 h 229"/>
                  <a:gd name="T120" fmla="*/ 31 w 207"/>
                  <a:gd name="T121" fmla="*/ 153 h 229"/>
                  <a:gd name="T122" fmla="*/ 27 w 207"/>
                  <a:gd name="T123" fmla="*/ 138 h 229"/>
                  <a:gd name="T124" fmla="*/ 27 w 207"/>
                  <a:gd name="T125" fmla="*/ 13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7" h="229">
                    <a:moveTo>
                      <a:pt x="128" y="144"/>
                    </a:moveTo>
                    <a:lnTo>
                      <a:pt x="126" y="144"/>
                    </a:lnTo>
                    <a:lnTo>
                      <a:pt x="126" y="143"/>
                    </a:lnTo>
                    <a:lnTo>
                      <a:pt x="128" y="144"/>
                    </a:lnTo>
                    <a:lnTo>
                      <a:pt x="128" y="144"/>
                    </a:lnTo>
                    <a:close/>
                    <a:moveTo>
                      <a:pt x="66" y="99"/>
                    </a:moveTo>
                    <a:lnTo>
                      <a:pt x="66" y="98"/>
                    </a:lnTo>
                    <a:lnTo>
                      <a:pt x="66" y="98"/>
                    </a:lnTo>
                    <a:lnTo>
                      <a:pt x="66" y="98"/>
                    </a:lnTo>
                    <a:lnTo>
                      <a:pt x="66" y="97"/>
                    </a:lnTo>
                    <a:lnTo>
                      <a:pt x="64" y="98"/>
                    </a:lnTo>
                    <a:lnTo>
                      <a:pt x="61" y="98"/>
                    </a:lnTo>
                    <a:lnTo>
                      <a:pt x="60" y="98"/>
                    </a:lnTo>
                    <a:lnTo>
                      <a:pt x="61" y="99"/>
                    </a:lnTo>
                    <a:lnTo>
                      <a:pt x="63" y="99"/>
                    </a:lnTo>
                    <a:lnTo>
                      <a:pt x="64" y="99"/>
                    </a:lnTo>
                    <a:lnTo>
                      <a:pt x="66" y="101"/>
                    </a:lnTo>
                    <a:lnTo>
                      <a:pt x="66" y="99"/>
                    </a:lnTo>
                    <a:lnTo>
                      <a:pt x="66" y="99"/>
                    </a:lnTo>
                    <a:lnTo>
                      <a:pt x="66" y="99"/>
                    </a:lnTo>
                    <a:close/>
                    <a:moveTo>
                      <a:pt x="125" y="33"/>
                    </a:moveTo>
                    <a:lnTo>
                      <a:pt x="122" y="31"/>
                    </a:lnTo>
                    <a:lnTo>
                      <a:pt x="122" y="29"/>
                    </a:lnTo>
                    <a:lnTo>
                      <a:pt x="122" y="26"/>
                    </a:lnTo>
                    <a:lnTo>
                      <a:pt x="120" y="26"/>
                    </a:lnTo>
                    <a:lnTo>
                      <a:pt x="120" y="26"/>
                    </a:lnTo>
                    <a:lnTo>
                      <a:pt x="119" y="25"/>
                    </a:lnTo>
                    <a:lnTo>
                      <a:pt x="120" y="25"/>
                    </a:lnTo>
                    <a:lnTo>
                      <a:pt x="120" y="23"/>
                    </a:lnTo>
                    <a:lnTo>
                      <a:pt x="120" y="23"/>
                    </a:lnTo>
                    <a:lnTo>
                      <a:pt x="120" y="23"/>
                    </a:lnTo>
                    <a:lnTo>
                      <a:pt x="122" y="22"/>
                    </a:lnTo>
                    <a:lnTo>
                      <a:pt x="122" y="22"/>
                    </a:lnTo>
                    <a:lnTo>
                      <a:pt x="122" y="22"/>
                    </a:lnTo>
                    <a:lnTo>
                      <a:pt x="122" y="22"/>
                    </a:lnTo>
                    <a:lnTo>
                      <a:pt x="122" y="22"/>
                    </a:lnTo>
                    <a:lnTo>
                      <a:pt x="120" y="20"/>
                    </a:lnTo>
                    <a:lnTo>
                      <a:pt x="120" y="20"/>
                    </a:lnTo>
                    <a:lnTo>
                      <a:pt x="119" y="20"/>
                    </a:lnTo>
                    <a:lnTo>
                      <a:pt x="119" y="20"/>
                    </a:lnTo>
                    <a:lnTo>
                      <a:pt x="117" y="20"/>
                    </a:lnTo>
                    <a:lnTo>
                      <a:pt x="117" y="18"/>
                    </a:lnTo>
                    <a:lnTo>
                      <a:pt x="120" y="16"/>
                    </a:lnTo>
                    <a:lnTo>
                      <a:pt x="122" y="15"/>
                    </a:lnTo>
                    <a:lnTo>
                      <a:pt x="123" y="13"/>
                    </a:lnTo>
                    <a:lnTo>
                      <a:pt x="105" y="10"/>
                    </a:lnTo>
                    <a:lnTo>
                      <a:pt x="102" y="9"/>
                    </a:lnTo>
                    <a:lnTo>
                      <a:pt x="99" y="6"/>
                    </a:lnTo>
                    <a:lnTo>
                      <a:pt x="96" y="3"/>
                    </a:lnTo>
                    <a:lnTo>
                      <a:pt x="97" y="0"/>
                    </a:lnTo>
                    <a:lnTo>
                      <a:pt x="94" y="0"/>
                    </a:lnTo>
                    <a:lnTo>
                      <a:pt x="92" y="2"/>
                    </a:lnTo>
                    <a:lnTo>
                      <a:pt x="89" y="3"/>
                    </a:lnTo>
                    <a:lnTo>
                      <a:pt x="87" y="3"/>
                    </a:lnTo>
                    <a:lnTo>
                      <a:pt x="84" y="2"/>
                    </a:lnTo>
                    <a:lnTo>
                      <a:pt x="82" y="2"/>
                    </a:lnTo>
                    <a:lnTo>
                      <a:pt x="80" y="3"/>
                    </a:lnTo>
                    <a:lnTo>
                      <a:pt x="79" y="5"/>
                    </a:lnTo>
                    <a:lnTo>
                      <a:pt x="77" y="6"/>
                    </a:lnTo>
                    <a:lnTo>
                      <a:pt x="76" y="8"/>
                    </a:lnTo>
                    <a:lnTo>
                      <a:pt x="74" y="8"/>
                    </a:lnTo>
                    <a:lnTo>
                      <a:pt x="73" y="8"/>
                    </a:lnTo>
                    <a:lnTo>
                      <a:pt x="66" y="6"/>
                    </a:lnTo>
                    <a:lnTo>
                      <a:pt x="66" y="8"/>
                    </a:lnTo>
                    <a:lnTo>
                      <a:pt x="66" y="12"/>
                    </a:lnTo>
                    <a:lnTo>
                      <a:pt x="64" y="13"/>
                    </a:lnTo>
                    <a:lnTo>
                      <a:pt x="64" y="12"/>
                    </a:lnTo>
                    <a:lnTo>
                      <a:pt x="63" y="12"/>
                    </a:lnTo>
                    <a:lnTo>
                      <a:pt x="61" y="12"/>
                    </a:lnTo>
                    <a:lnTo>
                      <a:pt x="59" y="13"/>
                    </a:lnTo>
                    <a:lnTo>
                      <a:pt x="60" y="15"/>
                    </a:lnTo>
                    <a:lnTo>
                      <a:pt x="61" y="18"/>
                    </a:lnTo>
                    <a:lnTo>
                      <a:pt x="61" y="19"/>
                    </a:lnTo>
                    <a:lnTo>
                      <a:pt x="60" y="20"/>
                    </a:lnTo>
                    <a:lnTo>
                      <a:pt x="59" y="19"/>
                    </a:lnTo>
                    <a:lnTo>
                      <a:pt x="59" y="18"/>
                    </a:lnTo>
                    <a:lnTo>
                      <a:pt x="57" y="18"/>
                    </a:lnTo>
                    <a:lnTo>
                      <a:pt x="56" y="18"/>
                    </a:lnTo>
                    <a:lnTo>
                      <a:pt x="56" y="18"/>
                    </a:lnTo>
                    <a:lnTo>
                      <a:pt x="54" y="18"/>
                    </a:lnTo>
                    <a:lnTo>
                      <a:pt x="53" y="18"/>
                    </a:lnTo>
                    <a:lnTo>
                      <a:pt x="51" y="18"/>
                    </a:lnTo>
                    <a:lnTo>
                      <a:pt x="50" y="18"/>
                    </a:lnTo>
                    <a:lnTo>
                      <a:pt x="50" y="18"/>
                    </a:lnTo>
                    <a:lnTo>
                      <a:pt x="49" y="16"/>
                    </a:lnTo>
                    <a:lnTo>
                      <a:pt x="47" y="15"/>
                    </a:lnTo>
                    <a:lnTo>
                      <a:pt x="47" y="13"/>
                    </a:lnTo>
                    <a:lnTo>
                      <a:pt x="46" y="15"/>
                    </a:lnTo>
                    <a:lnTo>
                      <a:pt x="46" y="16"/>
                    </a:lnTo>
                    <a:lnTo>
                      <a:pt x="44" y="19"/>
                    </a:lnTo>
                    <a:lnTo>
                      <a:pt x="44" y="20"/>
                    </a:lnTo>
                    <a:lnTo>
                      <a:pt x="43" y="22"/>
                    </a:lnTo>
                    <a:lnTo>
                      <a:pt x="43" y="23"/>
                    </a:lnTo>
                    <a:lnTo>
                      <a:pt x="41" y="23"/>
                    </a:lnTo>
                    <a:lnTo>
                      <a:pt x="41" y="25"/>
                    </a:lnTo>
                    <a:lnTo>
                      <a:pt x="41" y="26"/>
                    </a:lnTo>
                    <a:lnTo>
                      <a:pt x="41" y="28"/>
                    </a:lnTo>
                    <a:lnTo>
                      <a:pt x="41" y="28"/>
                    </a:lnTo>
                    <a:lnTo>
                      <a:pt x="40" y="29"/>
                    </a:lnTo>
                    <a:lnTo>
                      <a:pt x="40" y="29"/>
                    </a:lnTo>
                    <a:lnTo>
                      <a:pt x="38" y="28"/>
                    </a:lnTo>
                    <a:lnTo>
                      <a:pt x="37" y="26"/>
                    </a:lnTo>
                    <a:lnTo>
                      <a:pt x="37" y="25"/>
                    </a:lnTo>
                    <a:lnTo>
                      <a:pt x="37" y="23"/>
                    </a:lnTo>
                    <a:lnTo>
                      <a:pt x="37" y="23"/>
                    </a:lnTo>
                    <a:lnTo>
                      <a:pt x="37" y="23"/>
                    </a:lnTo>
                    <a:lnTo>
                      <a:pt x="34" y="22"/>
                    </a:lnTo>
                    <a:lnTo>
                      <a:pt x="33" y="22"/>
                    </a:lnTo>
                    <a:lnTo>
                      <a:pt x="33" y="20"/>
                    </a:lnTo>
                    <a:lnTo>
                      <a:pt x="31" y="19"/>
                    </a:lnTo>
                    <a:lnTo>
                      <a:pt x="31" y="18"/>
                    </a:lnTo>
                    <a:lnTo>
                      <a:pt x="31" y="16"/>
                    </a:lnTo>
                    <a:lnTo>
                      <a:pt x="30" y="16"/>
                    </a:lnTo>
                    <a:lnTo>
                      <a:pt x="30" y="16"/>
                    </a:lnTo>
                    <a:lnTo>
                      <a:pt x="30" y="16"/>
                    </a:lnTo>
                    <a:lnTo>
                      <a:pt x="28" y="16"/>
                    </a:lnTo>
                    <a:lnTo>
                      <a:pt x="26" y="19"/>
                    </a:lnTo>
                    <a:lnTo>
                      <a:pt x="26" y="19"/>
                    </a:lnTo>
                    <a:lnTo>
                      <a:pt x="26" y="20"/>
                    </a:lnTo>
                    <a:lnTo>
                      <a:pt x="26" y="20"/>
                    </a:lnTo>
                    <a:lnTo>
                      <a:pt x="26" y="20"/>
                    </a:lnTo>
                    <a:lnTo>
                      <a:pt x="24" y="23"/>
                    </a:lnTo>
                    <a:lnTo>
                      <a:pt x="24" y="25"/>
                    </a:lnTo>
                    <a:lnTo>
                      <a:pt x="23" y="25"/>
                    </a:lnTo>
                    <a:lnTo>
                      <a:pt x="21" y="26"/>
                    </a:lnTo>
                    <a:lnTo>
                      <a:pt x="20" y="26"/>
                    </a:lnTo>
                    <a:lnTo>
                      <a:pt x="18" y="26"/>
                    </a:lnTo>
                    <a:lnTo>
                      <a:pt x="17" y="26"/>
                    </a:lnTo>
                    <a:lnTo>
                      <a:pt x="14" y="26"/>
                    </a:lnTo>
                    <a:lnTo>
                      <a:pt x="11" y="28"/>
                    </a:lnTo>
                    <a:lnTo>
                      <a:pt x="8" y="28"/>
                    </a:lnTo>
                    <a:lnTo>
                      <a:pt x="5" y="28"/>
                    </a:lnTo>
                    <a:lnTo>
                      <a:pt x="3" y="31"/>
                    </a:lnTo>
                    <a:lnTo>
                      <a:pt x="3" y="31"/>
                    </a:lnTo>
                    <a:lnTo>
                      <a:pt x="4" y="33"/>
                    </a:lnTo>
                    <a:lnTo>
                      <a:pt x="7" y="38"/>
                    </a:lnTo>
                    <a:lnTo>
                      <a:pt x="8" y="41"/>
                    </a:lnTo>
                    <a:lnTo>
                      <a:pt x="7" y="42"/>
                    </a:lnTo>
                    <a:lnTo>
                      <a:pt x="7" y="43"/>
                    </a:lnTo>
                    <a:lnTo>
                      <a:pt x="5" y="43"/>
                    </a:lnTo>
                    <a:lnTo>
                      <a:pt x="4" y="45"/>
                    </a:lnTo>
                    <a:lnTo>
                      <a:pt x="4" y="45"/>
                    </a:lnTo>
                    <a:lnTo>
                      <a:pt x="3" y="45"/>
                    </a:lnTo>
                    <a:lnTo>
                      <a:pt x="1" y="45"/>
                    </a:lnTo>
                    <a:lnTo>
                      <a:pt x="0" y="45"/>
                    </a:lnTo>
                    <a:lnTo>
                      <a:pt x="0" y="46"/>
                    </a:lnTo>
                    <a:lnTo>
                      <a:pt x="0" y="48"/>
                    </a:lnTo>
                    <a:lnTo>
                      <a:pt x="1" y="49"/>
                    </a:lnTo>
                    <a:lnTo>
                      <a:pt x="4" y="52"/>
                    </a:lnTo>
                    <a:lnTo>
                      <a:pt x="5" y="54"/>
                    </a:lnTo>
                    <a:lnTo>
                      <a:pt x="5" y="56"/>
                    </a:lnTo>
                    <a:lnTo>
                      <a:pt x="4" y="58"/>
                    </a:lnTo>
                    <a:lnTo>
                      <a:pt x="3" y="59"/>
                    </a:lnTo>
                    <a:lnTo>
                      <a:pt x="3" y="61"/>
                    </a:lnTo>
                    <a:lnTo>
                      <a:pt x="4" y="64"/>
                    </a:lnTo>
                    <a:lnTo>
                      <a:pt x="5" y="65"/>
                    </a:lnTo>
                    <a:lnTo>
                      <a:pt x="7" y="66"/>
                    </a:lnTo>
                    <a:lnTo>
                      <a:pt x="10" y="68"/>
                    </a:lnTo>
                    <a:lnTo>
                      <a:pt x="11" y="68"/>
                    </a:lnTo>
                    <a:lnTo>
                      <a:pt x="13" y="69"/>
                    </a:lnTo>
                    <a:lnTo>
                      <a:pt x="14" y="68"/>
                    </a:lnTo>
                    <a:lnTo>
                      <a:pt x="16" y="68"/>
                    </a:lnTo>
                    <a:lnTo>
                      <a:pt x="17" y="68"/>
                    </a:lnTo>
                    <a:lnTo>
                      <a:pt x="17" y="69"/>
                    </a:lnTo>
                    <a:lnTo>
                      <a:pt x="17" y="71"/>
                    </a:lnTo>
                    <a:lnTo>
                      <a:pt x="14" y="75"/>
                    </a:lnTo>
                    <a:lnTo>
                      <a:pt x="14" y="77"/>
                    </a:lnTo>
                    <a:lnTo>
                      <a:pt x="17" y="77"/>
                    </a:lnTo>
                    <a:lnTo>
                      <a:pt x="21" y="75"/>
                    </a:lnTo>
                    <a:lnTo>
                      <a:pt x="24" y="74"/>
                    </a:lnTo>
                    <a:lnTo>
                      <a:pt x="26" y="72"/>
                    </a:lnTo>
                    <a:lnTo>
                      <a:pt x="31" y="66"/>
                    </a:lnTo>
                    <a:lnTo>
                      <a:pt x="33" y="64"/>
                    </a:lnTo>
                    <a:lnTo>
                      <a:pt x="37" y="62"/>
                    </a:lnTo>
                    <a:lnTo>
                      <a:pt x="40" y="62"/>
                    </a:lnTo>
                    <a:lnTo>
                      <a:pt x="43" y="64"/>
                    </a:lnTo>
                    <a:lnTo>
                      <a:pt x="57" y="71"/>
                    </a:lnTo>
                    <a:lnTo>
                      <a:pt x="60" y="72"/>
                    </a:lnTo>
                    <a:lnTo>
                      <a:pt x="61" y="74"/>
                    </a:lnTo>
                    <a:lnTo>
                      <a:pt x="63" y="77"/>
                    </a:lnTo>
                    <a:lnTo>
                      <a:pt x="63" y="79"/>
                    </a:lnTo>
                    <a:lnTo>
                      <a:pt x="64" y="84"/>
                    </a:lnTo>
                    <a:lnTo>
                      <a:pt x="66" y="85"/>
                    </a:lnTo>
                    <a:lnTo>
                      <a:pt x="67" y="88"/>
                    </a:lnTo>
                    <a:lnTo>
                      <a:pt x="67" y="89"/>
                    </a:lnTo>
                    <a:lnTo>
                      <a:pt x="67" y="91"/>
                    </a:lnTo>
                    <a:lnTo>
                      <a:pt x="67" y="94"/>
                    </a:lnTo>
                    <a:lnTo>
                      <a:pt x="67" y="95"/>
                    </a:lnTo>
                    <a:lnTo>
                      <a:pt x="69" y="95"/>
                    </a:lnTo>
                    <a:lnTo>
                      <a:pt x="70" y="95"/>
                    </a:lnTo>
                    <a:lnTo>
                      <a:pt x="72" y="97"/>
                    </a:lnTo>
                    <a:lnTo>
                      <a:pt x="72" y="97"/>
                    </a:lnTo>
                    <a:lnTo>
                      <a:pt x="73" y="99"/>
                    </a:lnTo>
                    <a:lnTo>
                      <a:pt x="77" y="102"/>
                    </a:lnTo>
                    <a:lnTo>
                      <a:pt x="79" y="105"/>
                    </a:lnTo>
                    <a:lnTo>
                      <a:pt x="77" y="107"/>
                    </a:lnTo>
                    <a:lnTo>
                      <a:pt x="79" y="108"/>
                    </a:lnTo>
                    <a:lnTo>
                      <a:pt x="82" y="108"/>
                    </a:lnTo>
                    <a:lnTo>
                      <a:pt x="83" y="108"/>
                    </a:lnTo>
                    <a:lnTo>
                      <a:pt x="86" y="108"/>
                    </a:lnTo>
                    <a:lnTo>
                      <a:pt x="87" y="111"/>
                    </a:lnTo>
                    <a:lnTo>
                      <a:pt x="89" y="112"/>
                    </a:lnTo>
                    <a:lnTo>
                      <a:pt x="90" y="114"/>
                    </a:lnTo>
                    <a:lnTo>
                      <a:pt x="97" y="120"/>
                    </a:lnTo>
                    <a:lnTo>
                      <a:pt x="103" y="127"/>
                    </a:lnTo>
                    <a:lnTo>
                      <a:pt x="105" y="128"/>
                    </a:lnTo>
                    <a:lnTo>
                      <a:pt x="112" y="133"/>
                    </a:lnTo>
                    <a:lnTo>
                      <a:pt x="113" y="133"/>
                    </a:lnTo>
                    <a:lnTo>
                      <a:pt x="117" y="133"/>
                    </a:lnTo>
                    <a:lnTo>
                      <a:pt x="122" y="133"/>
                    </a:lnTo>
                    <a:lnTo>
                      <a:pt x="126" y="135"/>
                    </a:lnTo>
                    <a:lnTo>
                      <a:pt x="128" y="138"/>
                    </a:lnTo>
                    <a:lnTo>
                      <a:pt x="130" y="143"/>
                    </a:lnTo>
                    <a:lnTo>
                      <a:pt x="132" y="141"/>
                    </a:lnTo>
                    <a:lnTo>
                      <a:pt x="135" y="143"/>
                    </a:lnTo>
                    <a:lnTo>
                      <a:pt x="136" y="144"/>
                    </a:lnTo>
                    <a:lnTo>
                      <a:pt x="135" y="147"/>
                    </a:lnTo>
                    <a:lnTo>
                      <a:pt x="138" y="145"/>
                    </a:lnTo>
                    <a:lnTo>
                      <a:pt x="140" y="145"/>
                    </a:lnTo>
                    <a:lnTo>
                      <a:pt x="142" y="145"/>
                    </a:lnTo>
                    <a:lnTo>
                      <a:pt x="142" y="145"/>
                    </a:lnTo>
                    <a:lnTo>
                      <a:pt x="143" y="145"/>
                    </a:lnTo>
                    <a:lnTo>
                      <a:pt x="143" y="147"/>
                    </a:lnTo>
                    <a:lnTo>
                      <a:pt x="145" y="148"/>
                    </a:lnTo>
                    <a:lnTo>
                      <a:pt x="145" y="150"/>
                    </a:lnTo>
                    <a:lnTo>
                      <a:pt x="145" y="151"/>
                    </a:lnTo>
                    <a:lnTo>
                      <a:pt x="145" y="153"/>
                    </a:lnTo>
                    <a:lnTo>
                      <a:pt x="145" y="153"/>
                    </a:lnTo>
                    <a:lnTo>
                      <a:pt x="148" y="156"/>
                    </a:lnTo>
                    <a:lnTo>
                      <a:pt x="152" y="157"/>
                    </a:lnTo>
                    <a:lnTo>
                      <a:pt x="156" y="158"/>
                    </a:lnTo>
                    <a:lnTo>
                      <a:pt x="159" y="160"/>
                    </a:lnTo>
                    <a:lnTo>
                      <a:pt x="162" y="164"/>
                    </a:lnTo>
                    <a:lnTo>
                      <a:pt x="166" y="180"/>
                    </a:lnTo>
                    <a:lnTo>
                      <a:pt x="166" y="181"/>
                    </a:lnTo>
                    <a:lnTo>
                      <a:pt x="166" y="181"/>
                    </a:lnTo>
                    <a:lnTo>
                      <a:pt x="168" y="183"/>
                    </a:lnTo>
                    <a:lnTo>
                      <a:pt x="168" y="184"/>
                    </a:lnTo>
                    <a:lnTo>
                      <a:pt x="168" y="186"/>
                    </a:lnTo>
                    <a:lnTo>
                      <a:pt x="166" y="186"/>
                    </a:lnTo>
                    <a:lnTo>
                      <a:pt x="166" y="186"/>
                    </a:lnTo>
                    <a:lnTo>
                      <a:pt x="165" y="187"/>
                    </a:lnTo>
                    <a:lnTo>
                      <a:pt x="163" y="187"/>
                    </a:lnTo>
                    <a:lnTo>
                      <a:pt x="163" y="187"/>
                    </a:lnTo>
                    <a:lnTo>
                      <a:pt x="162" y="189"/>
                    </a:lnTo>
                    <a:lnTo>
                      <a:pt x="162" y="190"/>
                    </a:lnTo>
                    <a:lnTo>
                      <a:pt x="162" y="191"/>
                    </a:lnTo>
                    <a:lnTo>
                      <a:pt x="162" y="193"/>
                    </a:lnTo>
                    <a:lnTo>
                      <a:pt x="161" y="196"/>
                    </a:lnTo>
                    <a:lnTo>
                      <a:pt x="159" y="197"/>
                    </a:lnTo>
                    <a:lnTo>
                      <a:pt x="158" y="199"/>
                    </a:lnTo>
                    <a:lnTo>
                      <a:pt x="158" y="202"/>
                    </a:lnTo>
                    <a:lnTo>
                      <a:pt x="159" y="203"/>
                    </a:lnTo>
                    <a:lnTo>
                      <a:pt x="162" y="203"/>
                    </a:lnTo>
                    <a:lnTo>
                      <a:pt x="163" y="203"/>
                    </a:lnTo>
                    <a:lnTo>
                      <a:pt x="166" y="202"/>
                    </a:lnTo>
                    <a:lnTo>
                      <a:pt x="166" y="200"/>
                    </a:lnTo>
                    <a:lnTo>
                      <a:pt x="168" y="199"/>
                    </a:lnTo>
                    <a:lnTo>
                      <a:pt x="168" y="197"/>
                    </a:lnTo>
                    <a:lnTo>
                      <a:pt x="169" y="196"/>
                    </a:lnTo>
                    <a:lnTo>
                      <a:pt x="172" y="194"/>
                    </a:lnTo>
                    <a:lnTo>
                      <a:pt x="172" y="194"/>
                    </a:lnTo>
                    <a:lnTo>
                      <a:pt x="173" y="191"/>
                    </a:lnTo>
                    <a:lnTo>
                      <a:pt x="173" y="187"/>
                    </a:lnTo>
                    <a:lnTo>
                      <a:pt x="175" y="186"/>
                    </a:lnTo>
                    <a:lnTo>
                      <a:pt x="175" y="184"/>
                    </a:lnTo>
                    <a:lnTo>
                      <a:pt x="176" y="184"/>
                    </a:lnTo>
                    <a:lnTo>
                      <a:pt x="178" y="183"/>
                    </a:lnTo>
                    <a:lnTo>
                      <a:pt x="178" y="183"/>
                    </a:lnTo>
                    <a:lnTo>
                      <a:pt x="179" y="183"/>
                    </a:lnTo>
                    <a:lnTo>
                      <a:pt x="182" y="183"/>
                    </a:lnTo>
                    <a:lnTo>
                      <a:pt x="184" y="183"/>
                    </a:lnTo>
                    <a:lnTo>
                      <a:pt x="184" y="181"/>
                    </a:lnTo>
                    <a:lnTo>
                      <a:pt x="184" y="179"/>
                    </a:lnTo>
                    <a:lnTo>
                      <a:pt x="184" y="176"/>
                    </a:lnTo>
                    <a:lnTo>
                      <a:pt x="184" y="173"/>
                    </a:lnTo>
                    <a:lnTo>
                      <a:pt x="182" y="171"/>
                    </a:lnTo>
                    <a:lnTo>
                      <a:pt x="179" y="170"/>
                    </a:lnTo>
                    <a:lnTo>
                      <a:pt x="178" y="168"/>
                    </a:lnTo>
                    <a:lnTo>
                      <a:pt x="175" y="167"/>
                    </a:lnTo>
                    <a:lnTo>
                      <a:pt x="173" y="166"/>
                    </a:lnTo>
                    <a:lnTo>
                      <a:pt x="173" y="163"/>
                    </a:lnTo>
                    <a:lnTo>
                      <a:pt x="173" y="161"/>
                    </a:lnTo>
                    <a:lnTo>
                      <a:pt x="176" y="154"/>
                    </a:lnTo>
                    <a:lnTo>
                      <a:pt x="178" y="151"/>
                    </a:lnTo>
                    <a:lnTo>
                      <a:pt x="179" y="150"/>
                    </a:lnTo>
                    <a:lnTo>
                      <a:pt x="182" y="148"/>
                    </a:lnTo>
                    <a:lnTo>
                      <a:pt x="184" y="148"/>
                    </a:lnTo>
                    <a:lnTo>
                      <a:pt x="186" y="151"/>
                    </a:lnTo>
                    <a:lnTo>
                      <a:pt x="188" y="151"/>
                    </a:lnTo>
                    <a:lnTo>
                      <a:pt x="194" y="153"/>
                    </a:lnTo>
                    <a:lnTo>
                      <a:pt x="196" y="154"/>
                    </a:lnTo>
                    <a:lnTo>
                      <a:pt x="198" y="157"/>
                    </a:lnTo>
                    <a:lnTo>
                      <a:pt x="199" y="158"/>
                    </a:lnTo>
                    <a:lnTo>
                      <a:pt x="201" y="161"/>
                    </a:lnTo>
                    <a:lnTo>
                      <a:pt x="204" y="163"/>
                    </a:lnTo>
                    <a:lnTo>
                      <a:pt x="207" y="160"/>
                    </a:lnTo>
                    <a:lnTo>
                      <a:pt x="207" y="156"/>
                    </a:lnTo>
                    <a:lnTo>
                      <a:pt x="205" y="151"/>
                    </a:lnTo>
                    <a:lnTo>
                      <a:pt x="201" y="148"/>
                    </a:lnTo>
                    <a:lnTo>
                      <a:pt x="182" y="137"/>
                    </a:lnTo>
                    <a:lnTo>
                      <a:pt x="166" y="130"/>
                    </a:lnTo>
                    <a:lnTo>
                      <a:pt x="163" y="128"/>
                    </a:lnTo>
                    <a:lnTo>
                      <a:pt x="162" y="127"/>
                    </a:lnTo>
                    <a:lnTo>
                      <a:pt x="162" y="125"/>
                    </a:lnTo>
                    <a:lnTo>
                      <a:pt x="163" y="124"/>
                    </a:lnTo>
                    <a:lnTo>
                      <a:pt x="166" y="122"/>
                    </a:lnTo>
                    <a:lnTo>
                      <a:pt x="168" y="121"/>
                    </a:lnTo>
                    <a:lnTo>
                      <a:pt x="166" y="118"/>
                    </a:lnTo>
                    <a:lnTo>
                      <a:pt x="165" y="118"/>
                    </a:lnTo>
                    <a:lnTo>
                      <a:pt x="162" y="118"/>
                    </a:lnTo>
                    <a:lnTo>
                      <a:pt x="156" y="118"/>
                    </a:lnTo>
                    <a:lnTo>
                      <a:pt x="153" y="118"/>
                    </a:lnTo>
                    <a:lnTo>
                      <a:pt x="151" y="118"/>
                    </a:lnTo>
                    <a:lnTo>
                      <a:pt x="148" y="117"/>
                    </a:lnTo>
                    <a:lnTo>
                      <a:pt x="145" y="115"/>
                    </a:lnTo>
                    <a:lnTo>
                      <a:pt x="140" y="112"/>
                    </a:lnTo>
                    <a:lnTo>
                      <a:pt x="136" y="110"/>
                    </a:lnTo>
                    <a:lnTo>
                      <a:pt x="132" y="105"/>
                    </a:lnTo>
                    <a:lnTo>
                      <a:pt x="129" y="101"/>
                    </a:lnTo>
                    <a:lnTo>
                      <a:pt x="128" y="97"/>
                    </a:lnTo>
                    <a:lnTo>
                      <a:pt x="126" y="91"/>
                    </a:lnTo>
                    <a:lnTo>
                      <a:pt x="123" y="85"/>
                    </a:lnTo>
                    <a:lnTo>
                      <a:pt x="120" y="81"/>
                    </a:lnTo>
                    <a:lnTo>
                      <a:pt x="116" y="78"/>
                    </a:lnTo>
                    <a:lnTo>
                      <a:pt x="105" y="71"/>
                    </a:lnTo>
                    <a:lnTo>
                      <a:pt x="100" y="66"/>
                    </a:lnTo>
                    <a:lnTo>
                      <a:pt x="100" y="65"/>
                    </a:lnTo>
                    <a:lnTo>
                      <a:pt x="99" y="62"/>
                    </a:lnTo>
                    <a:lnTo>
                      <a:pt x="99" y="59"/>
                    </a:lnTo>
                    <a:lnTo>
                      <a:pt x="97" y="56"/>
                    </a:lnTo>
                    <a:lnTo>
                      <a:pt x="99" y="54"/>
                    </a:lnTo>
                    <a:lnTo>
                      <a:pt x="99" y="54"/>
                    </a:lnTo>
                    <a:lnTo>
                      <a:pt x="100" y="54"/>
                    </a:lnTo>
                    <a:lnTo>
                      <a:pt x="102" y="52"/>
                    </a:lnTo>
                    <a:lnTo>
                      <a:pt x="102" y="49"/>
                    </a:lnTo>
                    <a:lnTo>
                      <a:pt x="100" y="48"/>
                    </a:lnTo>
                    <a:lnTo>
                      <a:pt x="99" y="45"/>
                    </a:lnTo>
                    <a:lnTo>
                      <a:pt x="97" y="43"/>
                    </a:lnTo>
                    <a:lnTo>
                      <a:pt x="97" y="41"/>
                    </a:lnTo>
                    <a:lnTo>
                      <a:pt x="99" y="38"/>
                    </a:lnTo>
                    <a:lnTo>
                      <a:pt x="100" y="36"/>
                    </a:lnTo>
                    <a:lnTo>
                      <a:pt x="103" y="36"/>
                    </a:lnTo>
                    <a:lnTo>
                      <a:pt x="102" y="38"/>
                    </a:lnTo>
                    <a:lnTo>
                      <a:pt x="103" y="38"/>
                    </a:lnTo>
                    <a:lnTo>
                      <a:pt x="105" y="38"/>
                    </a:lnTo>
                    <a:lnTo>
                      <a:pt x="109" y="35"/>
                    </a:lnTo>
                    <a:lnTo>
                      <a:pt x="110" y="35"/>
                    </a:lnTo>
                    <a:lnTo>
                      <a:pt x="113" y="32"/>
                    </a:lnTo>
                    <a:lnTo>
                      <a:pt x="113" y="32"/>
                    </a:lnTo>
                    <a:lnTo>
                      <a:pt x="115" y="31"/>
                    </a:lnTo>
                    <a:lnTo>
                      <a:pt x="117" y="31"/>
                    </a:lnTo>
                    <a:lnTo>
                      <a:pt x="120" y="32"/>
                    </a:lnTo>
                    <a:lnTo>
                      <a:pt x="120" y="32"/>
                    </a:lnTo>
                    <a:lnTo>
                      <a:pt x="122" y="31"/>
                    </a:lnTo>
                    <a:lnTo>
                      <a:pt x="122" y="31"/>
                    </a:lnTo>
                    <a:lnTo>
                      <a:pt x="123" y="32"/>
                    </a:lnTo>
                    <a:lnTo>
                      <a:pt x="125" y="32"/>
                    </a:lnTo>
                    <a:lnTo>
                      <a:pt x="125" y="33"/>
                    </a:lnTo>
                    <a:lnTo>
                      <a:pt x="125" y="35"/>
                    </a:lnTo>
                    <a:lnTo>
                      <a:pt x="123" y="35"/>
                    </a:lnTo>
                    <a:lnTo>
                      <a:pt x="126" y="35"/>
                    </a:lnTo>
                    <a:lnTo>
                      <a:pt x="125" y="33"/>
                    </a:lnTo>
                    <a:close/>
                    <a:moveTo>
                      <a:pt x="102" y="118"/>
                    </a:moveTo>
                    <a:lnTo>
                      <a:pt x="102" y="118"/>
                    </a:lnTo>
                    <a:lnTo>
                      <a:pt x="102" y="118"/>
                    </a:lnTo>
                    <a:lnTo>
                      <a:pt x="102" y="118"/>
                    </a:lnTo>
                    <a:close/>
                    <a:moveTo>
                      <a:pt x="102" y="72"/>
                    </a:moveTo>
                    <a:lnTo>
                      <a:pt x="102" y="72"/>
                    </a:lnTo>
                    <a:lnTo>
                      <a:pt x="102" y="72"/>
                    </a:lnTo>
                    <a:lnTo>
                      <a:pt x="102" y="74"/>
                    </a:lnTo>
                    <a:lnTo>
                      <a:pt x="102" y="74"/>
                    </a:lnTo>
                    <a:lnTo>
                      <a:pt x="102" y="74"/>
                    </a:lnTo>
                    <a:lnTo>
                      <a:pt x="100" y="74"/>
                    </a:lnTo>
                    <a:lnTo>
                      <a:pt x="102" y="72"/>
                    </a:lnTo>
                    <a:close/>
                    <a:moveTo>
                      <a:pt x="125" y="202"/>
                    </a:moveTo>
                    <a:lnTo>
                      <a:pt x="130" y="200"/>
                    </a:lnTo>
                    <a:lnTo>
                      <a:pt x="136" y="200"/>
                    </a:lnTo>
                    <a:lnTo>
                      <a:pt x="139" y="200"/>
                    </a:lnTo>
                    <a:lnTo>
                      <a:pt x="142" y="199"/>
                    </a:lnTo>
                    <a:lnTo>
                      <a:pt x="143" y="199"/>
                    </a:lnTo>
                    <a:lnTo>
                      <a:pt x="148" y="197"/>
                    </a:lnTo>
                    <a:lnTo>
                      <a:pt x="155" y="196"/>
                    </a:lnTo>
                    <a:lnTo>
                      <a:pt x="156" y="196"/>
                    </a:lnTo>
                    <a:lnTo>
                      <a:pt x="158" y="196"/>
                    </a:lnTo>
                    <a:lnTo>
                      <a:pt x="153" y="200"/>
                    </a:lnTo>
                    <a:lnTo>
                      <a:pt x="151" y="206"/>
                    </a:lnTo>
                    <a:lnTo>
                      <a:pt x="148" y="213"/>
                    </a:lnTo>
                    <a:lnTo>
                      <a:pt x="151" y="217"/>
                    </a:lnTo>
                    <a:lnTo>
                      <a:pt x="149" y="217"/>
                    </a:lnTo>
                    <a:lnTo>
                      <a:pt x="151" y="220"/>
                    </a:lnTo>
                    <a:lnTo>
                      <a:pt x="151" y="223"/>
                    </a:lnTo>
                    <a:lnTo>
                      <a:pt x="149" y="225"/>
                    </a:lnTo>
                    <a:lnTo>
                      <a:pt x="148" y="229"/>
                    </a:lnTo>
                    <a:lnTo>
                      <a:pt x="146" y="229"/>
                    </a:lnTo>
                    <a:lnTo>
                      <a:pt x="143" y="227"/>
                    </a:lnTo>
                    <a:lnTo>
                      <a:pt x="140" y="227"/>
                    </a:lnTo>
                    <a:lnTo>
                      <a:pt x="139" y="226"/>
                    </a:lnTo>
                    <a:lnTo>
                      <a:pt x="138" y="225"/>
                    </a:lnTo>
                    <a:lnTo>
                      <a:pt x="135" y="222"/>
                    </a:lnTo>
                    <a:lnTo>
                      <a:pt x="133" y="220"/>
                    </a:lnTo>
                    <a:lnTo>
                      <a:pt x="130" y="220"/>
                    </a:lnTo>
                    <a:lnTo>
                      <a:pt x="128" y="219"/>
                    </a:lnTo>
                    <a:lnTo>
                      <a:pt x="125" y="219"/>
                    </a:lnTo>
                    <a:lnTo>
                      <a:pt x="122" y="217"/>
                    </a:lnTo>
                    <a:lnTo>
                      <a:pt x="112" y="210"/>
                    </a:lnTo>
                    <a:lnTo>
                      <a:pt x="110" y="210"/>
                    </a:lnTo>
                    <a:lnTo>
                      <a:pt x="107" y="210"/>
                    </a:lnTo>
                    <a:lnTo>
                      <a:pt x="106" y="210"/>
                    </a:lnTo>
                    <a:lnTo>
                      <a:pt x="105" y="210"/>
                    </a:lnTo>
                    <a:lnTo>
                      <a:pt x="103" y="209"/>
                    </a:lnTo>
                    <a:lnTo>
                      <a:pt x="102" y="206"/>
                    </a:lnTo>
                    <a:lnTo>
                      <a:pt x="102" y="203"/>
                    </a:lnTo>
                    <a:lnTo>
                      <a:pt x="106" y="197"/>
                    </a:lnTo>
                    <a:lnTo>
                      <a:pt x="107" y="200"/>
                    </a:lnTo>
                    <a:lnTo>
                      <a:pt x="109" y="200"/>
                    </a:lnTo>
                    <a:lnTo>
                      <a:pt x="110" y="200"/>
                    </a:lnTo>
                    <a:lnTo>
                      <a:pt x="115" y="199"/>
                    </a:lnTo>
                    <a:lnTo>
                      <a:pt x="116" y="199"/>
                    </a:lnTo>
                    <a:lnTo>
                      <a:pt x="117" y="199"/>
                    </a:lnTo>
                    <a:lnTo>
                      <a:pt x="122" y="202"/>
                    </a:lnTo>
                    <a:lnTo>
                      <a:pt x="123" y="202"/>
                    </a:lnTo>
                    <a:lnTo>
                      <a:pt x="125" y="202"/>
                    </a:lnTo>
                    <a:close/>
                    <a:moveTo>
                      <a:pt x="93" y="227"/>
                    </a:moveTo>
                    <a:lnTo>
                      <a:pt x="93" y="226"/>
                    </a:lnTo>
                    <a:lnTo>
                      <a:pt x="93" y="226"/>
                    </a:lnTo>
                    <a:lnTo>
                      <a:pt x="93" y="225"/>
                    </a:lnTo>
                    <a:lnTo>
                      <a:pt x="93" y="225"/>
                    </a:lnTo>
                    <a:lnTo>
                      <a:pt x="94" y="226"/>
                    </a:lnTo>
                    <a:lnTo>
                      <a:pt x="94" y="226"/>
                    </a:lnTo>
                    <a:lnTo>
                      <a:pt x="94" y="227"/>
                    </a:lnTo>
                    <a:lnTo>
                      <a:pt x="93" y="227"/>
                    </a:lnTo>
                    <a:close/>
                    <a:moveTo>
                      <a:pt x="31" y="179"/>
                    </a:moveTo>
                    <a:lnTo>
                      <a:pt x="31" y="180"/>
                    </a:lnTo>
                    <a:lnTo>
                      <a:pt x="31" y="180"/>
                    </a:lnTo>
                    <a:lnTo>
                      <a:pt x="30" y="181"/>
                    </a:lnTo>
                    <a:lnTo>
                      <a:pt x="30" y="181"/>
                    </a:lnTo>
                    <a:lnTo>
                      <a:pt x="30" y="180"/>
                    </a:lnTo>
                    <a:lnTo>
                      <a:pt x="30" y="180"/>
                    </a:lnTo>
                    <a:lnTo>
                      <a:pt x="30" y="179"/>
                    </a:lnTo>
                    <a:lnTo>
                      <a:pt x="31" y="179"/>
                    </a:lnTo>
                    <a:close/>
                    <a:moveTo>
                      <a:pt x="27" y="141"/>
                    </a:moveTo>
                    <a:lnTo>
                      <a:pt x="27" y="140"/>
                    </a:lnTo>
                    <a:lnTo>
                      <a:pt x="31" y="141"/>
                    </a:lnTo>
                    <a:lnTo>
                      <a:pt x="36" y="141"/>
                    </a:lnTo>
                    <a:lnTo>
                      <a:pt x="38" y="138"/>
                    </a:lnTo>
                    <a:lnTo>
                      <a:pt x="44" y="133"/>
                    </a:lnTo>
                    <a:lnTo>
                      <a:pt x="46" y="133"/>
                    </a:lnTo>
                    <a:lnTo>
                      <a:pt x="47" y="134"/>
                    </a:lnTo>
                    <a:lnTo>
                      <a:pt x="49" y="135"/>
                    </a:lnTo>
                    <a:lnTo>
                      <a:pt x="50" y="137"/>
                    </a:lnTo>
                    <a:lnTo>
                      <a:pt x="51" y="138"/>
                    </a:lnTo>
                    <a:lnTo>
                      <a:pt x="51" y="140"/>
                    </a:lnTo>
                    <a:lnTo>
                      <a:pt x="54" y="145"/>
                    </a:lnTo>
                    <a:lnTo>
                      <a:pt x="54" y="148"/>
                    </a:lnTo>
                    <a:lnTo>
                      <a:pt x="54" y="150"/>
                    </a:lnTo>
                    <a:lnTo>
                      <a:pt x="53" y="153"/>
                    </a:lnTo>
                    <a:lnTo>
                      <a:pt x="53" y="154"/>
                    </a:lnTo>
                    <a:lnTo>
                      <a:pt x="53" y="156"/>
                    </a:lnTo>
                    <a:lnTo>
                      <a:pt x="53" y="158"/>
                    </a:lnTo>
                    <a:lnTo>
                      <a:pt x="53" y="160"/>
                    </a:lnTo>
                    <a:lnTo>
                      <a:pt x="53" y="168"/>
                    </a:lnTo>
                    <a:lnTo>
                      <a:pt x="53" y="173"/>
                    </a:lnTo>
                    <a:lnTo>
                      <a:pt x="51" y="176"/>
                    </a:lnTo>
                    <a:lnTo>
                      <a:pt x="49" y="177"/>
                    </a:lnTo>
                    <a:lnTo>
                      <a:pt x="47" y="177"/>
                    </a:lnTo>
                    <a:lnTo>
                      <a:pt x="44" y="177"/>
                    </a:lnTo>
                    <a:lnTo>
                      <a:pt x="41" y="176"/>
                    </a:lnTo>
                    <a:lnTo>
                      <a:pt x="40" y="180"/>
                    </a:lnTo>
                    <a:lnTo>
                      <a:pt x="38" y="183"/>
                    </a:lnTo>
                    <a:lnTo>
                      <a:pt x="36" y="183"/>
                    </a:lnTo>
                    <a:lnTo>
                      <a:pt x="31" y="179"/>
                    </a:lnTo>
                    <a:lnTo>
                      <a:pt x="31" y="176"/>
                    </a:lnTo>
                    <a:lnTo>
                      <a:pt x="30" y="171"/>
                    </a:lnTo>
                    <a:lnTo>
                      <a:pt x="31" y="168"/>
                    </a:lnTo>
                    <a:lnTo>
                      <a:pt x="31" y="166"/>
                    </a:lnTo>
                    <a:lnTo>
                      <a:pt x="33" y="166"/>
                    </a:lnTo>
                    <a:lnTo>
                      <a:pt x="33" y="164"/>
                    </a:lnTo>
                    <a:lnTo>
                      <a:pt x="31" y="161"/>
                    </a:lnTo>
                    <a:lnTo>
                      <a:pt x="31" y="161"/>
                    </a:lnTo>
                    <a:lnTo>
                      <a:pt x="31" y="161"/>
                    </a:lnTo>
                    <a:lnTo>
                      <a:pt x="30" y="160"/>
                    </a:lnTo>
                    <a:lnTo>
                      <a:pt x="30" y="160"/>
                    </a:lnTo>
                    <a:lnTo>
                      <a:pt x="30" y="158"/>
                    </a:lnTo>
                    <a:lnTo>
                      <a:pt x="31" y="158"/>
                    </a:lnTo>
                    <a:lnTo>
                      <a:pt x="31" y="157"/>
                    </a:lnTo>
                    <a:lnTo>
                      <a:pt x="31" y="156"/>
                    </a:lnTo>
                    <a:lnTo>
                      <a:pt x="31" y="153"/>
                    </a:lnTo>
                    <a:lnTo>
                      <a:pt x="30" y="151"/>
                    </a:lnTo>
                    <a:lnTo>
                      <a:pt x="30" y="150"/>
                    </a:lnTo>
                    <a:lnTo>
                      <a:pt x="27" y="147"/>
                    </a:lnTo>
                    <a:lnTo>
                      <a:pt x="27" y="145"/>
                    </a:lnTo>
                    <a:lnTo>
                      <a:pt x="27" y="143"/>
                    </a:lnTo>
                    <a:lnTo>
                      <a:pt x="27" y="143"/>
                    </a:lnTo>
                    <a:lnTo>
                      <a:pt x="27" y="141"/>
                    </a:lnTo>
                    <a:close/>
                    <a:moveTo>
                      <a:pt x="27" y="138"/>
                    </a:moveTo>
                    <a:lnTo>
                      <a:pt x="27" y="138"/>
                    </a:lnTo>
                    <a:lnTo>
                      <a:pt x="27" y="137"/>
                    </a:lnTo>
                    <a:lnTo>
                      <a:pt x="27" y="137"/>
                    </a:lnTo>
                    <a:lnTo>
                      <a:pt x="28" y="135"/>
                    </a:lnTo>
                    <a:lnTo>
                      <a:pt x="30" y="135"/>
                    </a:lnTo>
                    <a:lnTo>
                      <a:pt x="28" y="137"/>
                    </a:lnTo>
                    <a:lnTo>
                      <a:pt x="28" y="137"/>
                    </a:lnTo>
                    <a:lnTo>
                      <a:pt x="27" y="13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91" name="Rectangle 97">
                <a:extLst>
                  <a:ext uri="{FF2B5EF4-FFF2-40B4-BE49-F238E27FC236}">
                    <a16:creationId xmlns:a16="http://schemas.microsoft.com/office/drawing/2014/main" id="{6F029EBC-CE52-E867-A5AB-05B4A11DA3A1}"/>
                  </a:ext>
                </a:extLst>
              </p:cNvPr>
              <p:cNvSpPr>
                <a:spLocks noChangeArrowheads="1"/>
              </p:cNvSpPr>
              <p:nvPr/>
            </p:nvSpPr>
            <p:spPr bwMode="auto">
              <a:xfrm>
                <a:off x="3767" y="1924"/>
                <a:ext cx="1" cy="1"/>
              </a:xfrm>
              <a:prstGeom prst="rect">
                <a:avLst/>
              </a:pr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92" name="Freeform 98">
                <a:extLst>
                  <a:ext uri="{FF2B5EF4-FFF2-40B4-BE49-F238E27FC236}">
                    <a16:creationId xmlns:a16="http://schemas.microsoft.com/office/drawing/2014/main" id="{83936B1D-8EA7-556F-3A40-E5B492224F99}"/>
                  </a:ext>
                </a:extLst>
              </p:cNvPr>
              <p:cNvSpPr>
                <a:spLocks/>
              </p:cNvSpPr>
              <p:nvPr/>
            </p:nvSpPr>
            <p:spPr bwMode="auto">
              <a:xfrm>
                <a:off x="3907" y="1914"/>
                <a:ext cx="45" cy="33"/>
              </a:xfrm>
              <a:custGeom>
                <a:avLst/>
                <a:gdLst>
                  <a:gd name="T0" fmla="*/ 43 w 45"/>
                  <a:gd name="T1" fmla="*/ 14 h 33"/>
                  <a:gd name="T2" fmla="*/ 43 w 45"/>
                  <a:gd name="T3" fmla="*/ 12 h 33"/>
                  <a:gd name="T4" fmla="*/ 41 w 45"/>
                  <a:gd name="T5" fmla="*/ 9 h 33"/>
                  <a:gd name="T6" fmla="*/ 33 w 45"/>
                  <a:gd name="T7" fmla="*/ 2 h 33"/>
                  <a:gd name="T8" fmla="*/ 31 w 45"/>
                  <a:gd name="T9" fmla="*/ 0 h 33"/>
                  <a:gd name="T10" fmla="*/ 26 w 45"/>
                  <a:gd name="T11" fmla="*/ 2 h 33"/>
                  <a:gd name="T12" fmla="*/ 23 w 45"/>
                  <a:gd name="T13" fmla="*/ 3 h 33"/>
                  <a:gd name="T14" fmla="*/ 19 w 45"/>
                  <a:gd name="T15" fmla="*/ 3 h 33"/>
                  <a:gd name="T16" fmla="*/ 19 w 45"/>
                  <a:gd name="T17" fmla="*/ 3 h 33"/>
                  <a:gd name="T18" fmla="*/ 19 w 45"/>
                  <a:gd name="T19" fmla="*/ 3 h 33"/>
                  <a:gd name="T20" fmla="*/ 19 w 45"/>
                  <a:gd name="T21" fmla="*/ 3 h 33"/>
                  <a:gd name="T22" fmla="*/ 19 w 45"/>
                  <a:gd name="T23" fmla="*/ 3 h 33"/>
                  <a:gd name="T24" fmla="*/ 16 w 45"/>
                  <a:gd name="T25" fmla="*/ 3 h 33"/>
                  <a:gd name="T26" fmla="*/ 15 w 45"/>
                  <a:gd name="T27" fmla="*/ 6 h 33"/>
                  <a:gd name="T28" fmla="*/ 13 w 45"/>
                  <a:gd name="T29" fmla="*/ 6 h 33"/>
                  <a:gd name="T30" fmla="*/ 12 w 45"/>
                  <a:gd name="T31" fmla="*/ 4 h 33"/>
                  <a:gd name="T32" fmla="*/ 9 w 45"/>
                  <a:gd name="T33" fmla="*/ 6 h 33"/>
                  <a:gd name="T34" fmla="*/ 8 w 45"/>
                  <a:gd name="T35" fmla="*/ 7 h 33"/>
                  <a:gd name="T36" fmla="*/ 6 w 45"/>
                  <a:gd name="T37" fmla="*/ 9 h 33"/>
                  <a:gd name="T38" fmla="*/ 5 w 45"/>
                  <a:gd name="T39" fmla="*/ 12 h 33"/>
                  <a:gd name="T40" fmla="*/ 2 w 45"/>
                  <a:gd name="T41" fmla="*/ 12 h 33"/>
                  <a:gd name="T42" fmla="*/ 0 w 45"/>
                  <a:gd name="T43" fmla="*/ 14 h 33"/>
                  <a:gd name="T44" fmla="*/ 0 w 45"/>
                  <a:gd name="T45" fmla="*/ 17 h 33"/>
                  <a:gd name="T46" fmla="*/ 0 w 45"/>
                  <a:gd name="T47" fmla="*/ 22 h 33"/>
                  <a:gd name="T48" fmla="*/ 0 w 45"/>
                  <a:gd name="T49" fmla="*/ 25 h 33"/>
                  <a:gd name="T50" fmla="*/ 2 w 45"/>
                  <a:gd name="T51" fmla="*/ 27 h 33"/>
                  <a:gd name="T52" fmla="*/ 3 w 45"/>
                  <a:gd name="T53" fmla="*/ 30 h 33"/>
                  <a:gd name="T54" fmla="*/ 5 w 45"/>
                  <a:gd name="T55" fmla="*/ 32 h 33"/>
                  <a:gd name="T56" fmla="*/ 6 w 45"/>
                  <a:gd name="T57" fmla="*/ 32 h 33"/>
                  <a:gd name="T58" fmla="*/ 8 w 45"/>
                  <a:gd name="T59" fmla="*/ 32 h 33"/>
                  <a:gd name="T60" fmla="*/ 8 w 45"/>
                  <a:gd name="T61" fmla="*/ 32 h 33"/>
                  <a:gd name="T62" fmla="*/ 9 w 45"/>
                  <a:gd name="T63" fmla="*/ 33 h 33"/>
                  <a:gd name="T64" fmla="*/ 19 w 45"/>
                  <a:gd name="T65" fmla="*/ 33 h 33"/>
                  <a:gd name="T66" fmla="*/ 22 w 45"/>
                  <a:gd name="T67" fmla="*/ 32 h 33"/>
                  <a:gd name="T68" fmla="*/ 25 w 45"/>
                  <a:gd name="T69" fmla="*/ 29 h 33"/>
                  <a:gd name="T70" fmla="*/ 28 w 45"/>
                  <a:gd name="T71" fmla="*/ 27 h 33"/>
                  <a:gd name="T72" fmla="*/ 31 w 45"/>
                  <a:gd name="T73" fmla="*/ 27 h 33"/>
                  <a:gd name="T74" fmla="*/ 35 w 45"/>
                  <a:gd name="T75" fmla="*/ 27 h 33"/>
                  <a:gd name="T76" fmla="*/ 36 w 45"/>
                  <a:gd name="T77" fmla="*/ 27 h 33"/>
                  <a:gd name="T78" fmla="*/ 39 w 45"/>
                  <a:gd name="T79" fmla="*/ 26 h 33"/>
                  <a:gd name="T80" fmla="*/ 41 w 45"/>
                  <a:gd name="T81" fmla="*/ 25 h 33"/>
                  <a:gd name="T82" fmla="*/ 42 w 45"/>
                  <a:gd name="T83" fmla="*/ 23 h 33"/>
                  <a:gd name="T84" fmla="*/ 43 w 45"/>
                  <a:gd name="T85" fmla="*/ 23 h 33"/>
                  <a:gd name="T86" fmla="*/ 45 w 45"/>
                  <a:gd name="T87" fmla="*/ 20 h 33"/>
                  <a:gd name="T88" fmla="*/ 45 w 45"/>
                  <a:gd name="T89" fmla="*/ 17 h 33"/>
                  <a:gd name="T90" fmla="*/ 43 w 45"/>
                  <a:gd name="T91"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 h="33">
                    <a:moveTo>
                      <a:pt x="43" y="14"/>
                    </a:moveTo>
                    <a:lnTo>
                      <a:pt x="43" y="12"/>
                    </a:lnTo>
                    <a:lnTo>
                      <a:pt x="41" y="9"/>
                    </a:lnTo>
                    <a:lnTo>
                      <a:pt x="33" y="2"/>
                    </a:lnTo>
                    <a:lnTo>
                      <a:pt x="31" y="0"/>
                    </a:lnTo>
                    <a:lnTo>
                      <a:pt x="26" y="2"/>
                    </a:lnTo>
                    <a:lnTo>
                      <a:pt x="23" y="3"/>
                    </a:lnTo>
                    <a:lnTo>
                      <a:pt x="19" y="3"/>
                    </a:lnTo>
                    <a:lnTo>
                      <a:pt x="19" y="3"/>
                    </a:lnTo>
                    <a:lnTo>
                      <a:pt x="19" y="3"/>
                    </a:lnTo>
                    <a:lnTo>
                      <a:pt x="19" y="3"/>
                    </a:lnTo>
                    <a:lnTo>
                      <a:pt x="19" y="3"/>
                    </a:lnTo>
                    <a:lnTo>
                      <a:pt x="16" y="3"/>
                    </a:lnTo>
                    <a:lnTo>
                      <a:pt x="15" y="6"/>
                    </a:lnTo>
                    <a:lnTo>
                      <a:pt x="13" y="6"/>
                    </a:lnTo>
                    <a:lnTo>
                      <a:pt x="12" y="4"/>
                    </a:lnTo>
                    <a:lnTo>
                      <a:pt x="9" y="6"/>
                    </a:lnTo>
                    <a:lnTo>
                      <a:pt x="8" y="7"/>
                    </a:lnTo>
                    <a:lnTo>
                      <a:pt x="6" y="9"/>
                    </a:lnTo>
                    <a:lnTo>
                      <a:pt x="5" y="12"/>
                    </a:lnTo>
                    <a:lnTo>
                      <a:pt x="2" y="12"/>
                    </a:lnTo>
                    <a:lnTo>
                      <a:pt x="0" y="14"/>
                    </a:lnTo>
                    <a:lnTo>
                      <a:pt x="0" y="17"/>
                    </a:lnTo>
                    <a:lnTo>
                      <a:pt x="0" y="22"/>
                    </a:lnTo>
                    <a:lnTo>
                      <a:pt x="0" y="25"/>
                    </a:lnTo>
                    <a:lnTo>
                      <a:pt x="2" y="27"/>
                    </a:lnTo>
                    <a:lnTo>
                      <a:pt x="3" y="30"/>
                    </a:lnTo>
                    <a:lnTo>
                      <a:pt x="5" y="32"/>
                    </a:lnTo>
                    <a:lnTo>
                      <a:pt x="6" y="32"/>
                    </a:lnTo>
                    <a:lnTo>
                      <a:pt x="8" y="32"/>
                    </a:lnTo>
                    <a:lnTo>
                      <a:pt x="8" y="32"/>
                    </a:lnTo>
                    <a:lnTo>
                      <a:pt x="9" y="33"/>
                    </a:lnTo>
                    <a:lnTo>
                      <a:pt x="19" y="33"/>
                    </a:lnTo>
                    <a:lnTo>
                      <a:pt x="22" y="32"/>
                    </a:lnTo>
                    <a:lnTo>
                      <a:pt x="25" y="29"/>
                    </a:lnTo>
                    <a:lnTo>
                      <a:pt x="28" y="27"/>
                    </a:lnTo>
                    <a:lnTo>
                      <a:pt x="31" y="27"/>
                    </a:lnTo>
                    <a:lnTo>
                      <a:pt x="35" y="27"/>
                    </a:lnTo>
                    <a:lnTo>
                      <a:pt x="36" y="27"/>
                    </a:lnTo>
                    <a:lnTo>
                      <a:pt x="39" y="26"/>
                    </a:lnTo>
                    <a:lnTo>
                      <a:pt x="41" y="25"/>
                    </a:lnTo>
                    <a:lnTo>
                      <a:pt x="42" y="23"/>
                    </a:lnTo>
                    <a:lnTo>
                      <a:pt x="43" y="23"/>
                    </a:lnTo>
                    <a:lnTo>
                      <a:pt x="45" y="20"/>
                    </a:lnTo>
                    <a:lnTo>
                      <a:pt x="45" y="17"/>
                    </a:lnTo>
                    <a:lnTo>
                      <a:pt x="43" y="1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93" name="Freeform 99">
                <a:extLst>
                  <a:ext uri="{FF2B5EF4-FFF2-40B4-BE49-F238E27FC236}">
                    <a16:creationId xmlns:a16="http://schemas.microsoft.com/office/drawing/2014/main" id="{67F6084C-CC8B-9F9F-05B1-36F15B16EE50}"/>
                  </a:ext>
                </a:extLst>
              </p:cNvPr>
              <p:cNvSpPr>
                <a:spLocks noEditPoints="1"/>
              </p:cNvSpPr>
              <p:nvPr/>
            </p:nvSpPr>
            <p:spPr bwMode="auto">
              <a:xfrm>
                <a:off x="3915" y="1578"/>
                <a:ext cx="103" cy="57"/>
              </a:xfrm>
              <a:custGeom>
                <a:avLst/>
                <a:gdLst>
                  <a:gd name="T0" fmla="*/ 4 w 103"/>
                  <a:gd name="T1" fmla="*/ 20 h 57"/>
                  <a:gd name="T2" fmla="*/ 1 w 103"/>
                  <a:gd name="T3" fmla="*/ 26 h 57"/>
                  <a:gd name="T4" fmla="*/ 2 w 103"/>
                  <a:gd name="T5" fmla="*/ 21 h 57"/>
                  <a:gd name="T6" fmla="*/ 99 w 103"/>
                  <a:gd name="T7" fmla="*/ 24 h 57"/>
                  <a:gd name="T8" fmla="*/ 100 w 103"/>
                  <a:gd name="T9" fmla="*/ 18 h 57"/>
                  <a:gd name="T10" fmla="*/ 94 w 103"/>
                  <a:gd name="T11" fmla="*/ 14 h 57"/>
                  <a:gd name="T12" fmla="*/ 84 w 103"/>
                  <a:gd name="T13" fmla="*/ 7 h 57"/>
                  <a:gd name="T14" fmla="*/ 74 w 103"/>
                  <a:gd name="T15" fmla="*/ 4 h 57"/>
                  <a:gd name="T16" fmla="*/ 71 w 103"/>
                  <a:gd name="T17" fmla="*/ 3 h 57"/>
                  <a:gd name="T18" fmla="*/ 69 w 103"/>
                  <a:gd name="T19" fmla="*/ 0 h 57"/>
                  <a:gd name="T20" fmla="*/ 63 w 103"/>
                  <a:gd name="T21" fmla="*/ 3 h 57"/>
                  <a:gd name="T22" fmla="*/ 23 w 103"/>
                  <a:gd name="T23" fmla="*/ 1 h 57"/>
                  <a:gd name="T24" fmla="*/ 10 w 103"/>
                  <a:gd name="T25" fmla="*/ 4 h 57"/>
                  <a:gd name="T26" fmla="*/ 4 w 103"/>
                  <a:gd name="T27" fmla="*/ 14 h 57"/>
                  <a:gd name="T28" fmla="*/ 5 w 103"/>
                  <a:gd name="T29" fmla="*/ 24 h 57"/>
                  <a:gd name="T30" fmla="*/ 8 w 103"/>
                  <a:gd name="T31" fmla="*/ 26 h 57"/>
                  <a:gd name="T32" fmla="*/ 10 w 103"/>
                  <a:gd name="T33" fmla="*/ 26 h 57"/>
                  <a:gd name="T34" fmla="*/ 14 w 103"/>
                  <a:gd name="T35" fmla="*/ 29 h 57"/>
                  <a:gd name="T36" fmla="*/ 21 w 103"/>
                  <a:gd name="T37" fmla="*/ 30 h 57"/>
                  <a:gd name="T38" fmla="*/ 30 w 103"/>
                  <a:gd name="T39" fmla="*/ 30 h 57"/>
                  <a:gd name="T40" fmla="*/ 33 w 103"/>
                  <a:gd name="T41" fmla="*/ 34 h 57"/>
                  <a:gd name="T42" fmla="*/ 33 w 103"/>
                  <a:gd name="T43" fmla="*/ 40 h 57"/>
                  <a:gd name="T44" fmla="*/ 31 w 103"/>
                  <a:gd name="T45" fmla="*/ 44 h 57"/>
                  <a:gd name="T46" fmla="*/ 33 w 103"/>
                  <a:gd name="T47" fmla="*/ 47 h 57"/>
                  <a:gd name="T48" fmla="*/ 38 w 103"/>
                  <a:gd name="T49" fmla="*/ 49 h 57"/>
                  <a:gd name="T50" fmla="*/ 46 w 103"/>
                  <a:gd name="T51" fmla="*/ 53 h 57"/>
                  <a:gd name="T52" fmla="*/ 51 w 103"/>
                  <a:gd name="T53" fmla="*/ 57 h 57"/>
                  <a:gd name="T54" fmla="*/ 60 w 103"/>
                  <a:gd name="T55" fmla="*/ 56 h 57"/>
                  <a:gd name="T56" fmla="*/ 63 w 103"/>
                  <a:gd name="T57" fmla="*/ 57 h 57"/>
                  <a:gd name="T58" fmla="*/ 69 w 103"/>
                  <a:gd name="T59" fmla="*/ 54 h 57"/>
                  <a:gd name="T60" fmla="*/ 70 w 103"/>
                  <a:gd name="T61" fmla="*/ 52 h 57"/>
                  <a:gd name="T62" fmla="*/ 71 w 103"/>
                  <a:gd name="T63" fmla="*/ 52 h 57"/>
                  <a:gd name="T64" fmla="*/ 77 w 103"/>
                  <a:gd name="T65" fmla="*/ 50 h 57"/>
                  <a:gd name="T66" fmla="*/ 80 w 103"/>
                  <a:gd name="T67" fmla="*/ 49 h 57"/>
                  <a:gd name="T68" fmla="*/ 83 w 103"/>
                  <a:gd name="T69" fmla="*/ 52 h 57"/>
                  <a:gd name="T70" fmla="*/ 86 w 103"/>
                  <a:gd name="T71" fmla="*/ 50 h 57"/>
                  <a:gd name="T72" fmla="*/ 84 w 103"/>
                  <a:gd name="T73" fmla="*/ 49 h 57"/>
                  <a:gd name="T74" fmla="*/ 83 w 103"/>
                  <a:gd name="T75" fmla="*/ 47 h 57"/>
                  <a:gd name="T76" fmla="*/ 83 w 103"/>
                  <a:gd name="T77" fmla="*/ 44 h 57"/>
                  <a:gd name="T78" fmla="*/ 86 w 103"/>
                  <a:gd name="T79" fmla="*/ 40 h 57"/>
                  <a:gd name="T80" fmla="*/ 86 w 103"/>
                  <a:gd name="T81" fmla="*/ 36 h 57"/>
                  <a:gd name="T82" fmla="*/ 90 w 103"/>
                  <a:gd name="T83" fmla="*/ 33 h 57"/>
                  <a:gd name="T84" fmla="*/ 93 w 103"/>
                  <a:gd name="T85" fmla="*/ 30 h 57"/>
                  <a:gd name="T86" fmla="*/ 99 w 103"/>
                  <a:gd name="T87" fmla="*/ 29 h 57"/>
                  <a:gd name="T88" fmla="*/ 103 w 103"/>
                  <a:gd name="T89" fmla="*/ 2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3" h="57">
                    <a:moveTo>
                      <a:pt x="2" y="21"/>
                    </a:moveTo>
                    <a:lnTo>
                      <a:pt x="4" y="18"/>
                    </a:lnTo>
                    <a:lnTo>
                      <a:pt x="4" y="20"/>
                    </a:lnTo>
                    <a:lnTo>
                      <a:pt x="2" y="21"/>
                    </a:lnTo>
                    <a:lnTo>
                      <a:pt x="2" y="24"/>
                    </a:lnTo>
                    <a:lnTo>
                      <a:pt x="1" y="26"/>
                    </a:lnTo>
                    <a:lnTo>
                      <a:pt x="0" y="26"/>
                    </a:lnTo>
                    <a:lnTo>
                      <a:pt x="1" y="23"/>
                    </a:lnTo>
                    <a:lnTo>
                      <a:pt x="2" y="21"/>
                    </a:lnTo>
                    <a:close/>
                    <a:moveTo>
                      <a:pt x="102" y="26"/>
                    </a:moveTo>
                    <a:lnTo>
                      <a:pt x="100" y="24"/>
                    </a:lnTo>
                    <a:lnTo>
                      <a:pt x="99" y="24"/>
                    </a:lnTo>
                    <a:lnTo>
                      <a:pt x="97" y="23"/>
                    </a:lnTo>
                    <a:lnTo>
                      <a:pt x="99" y="23"/>
                    </a:lnTo>
                    <a:lnTo>
                      <a:pt x="100" y="18"/>
                    </a:lnTo>
                    <a:lnTo>
                      <a:pt x="100" y="17"/>
                    </a:lnTo>
                    <a:lnTo>
                      <a:pt x="97" y="16"/>
                    </a:lnTo>
                    <a:lnTo>
                      <a:pt x="94" y="14"/>
                    </a:lnTo>
                    <a:lnTo>
                      <a:pt x="90" y="10"/>
                    </a:lnTo>
                    <a:lnTo>
                      <a:pt x="87" y="8"/>
                    </a:lnTo>
                    <a:lnTo>
                      <a:pt x="84" y="7"/>
                    </a:lnTo>
                    <a:lnTo>
                      <a:pt x="80" y="6"/>
                    </a:lnTo>
                    <a:lnTo>
                      <a:pt x="76" y="6"/>
                    </a:lnTo>
                    <a:lnTo>
                      <a:pt x="74" y="4"/>
                    </a:lnTo>
                    <a:lnTo>
                      <a:pt x="73" y="4"/>
                    </a:lnTo>
                    <a:lnTo>
                      <a:pt x="73" y="3"/>
                    </a:lnTo>
                    <a:lnTo>
                      <a:pt x="71" y="3"/>
                    </a:lnTo>
                    <a:lnTo>
                      <a:pt x="70" y="1"/>
                    </a:lnTo>
                    <a:lnTo>
                      <a:pt x="70" y="1"/>
                    </a:lnTo>
                    <a:lnTo>
                      <a:pt x="69" y="0"/>
                    </a:lnTo>
                    <a:lnTo>
                      <a:pt x="67" y="1"/>
                    </a:lnTo>
                    <a:lnTo>
                      <a:pt x="64" y="3"/>
                    </a:lnTo>
                    <a:lnTo>
                      <a:pt x="63" y="3"/>
                    </a:lnTo>
                    <a:lnTo>
                      <a:pt x="61" y="3"/>
                    </a:lnTo>
                    <a:lnTo>
                      <a:pt x="60" y="3"/>
                    </a:lnTo>
                    <a:lnTo>
                      <a:pt x="23" y="1"/>
                    </a:lnTo>
                    <a:lnTo>
                      <a:pt x="20" y="1"/>
                    </a:lnTo>
                    <a:lnTo>
                      <a:pt x="15" y="1"/>
                    </a:lnTo>
                    <a:lnTo>
                      <a:pt x="10" y="4"/>
                    </a:lnTo>
                    <a:lnTo>
                      <a:pt x="2" y="7"/>
                    </a:lnTo>
                    <a:lnTo>
                      <a:pt x="4" y="13"/>
                    </a:lnTo>
                    <a:lnTo>
                      <a:pt x="4" y="14"/>
                    </a:lnTo>
                    <a:lnTo>
                      <a:pt x="4" y="17"/>
                    </a:lnTo>
                    <a:lnTo>
                      <a:pt x="5" y="20"/>
                    </a:lnTo>
                    <a:lnTo>
                      <a:pt x="5" y="24"/>
                    </a:lnTo>
                    <a:lnTo>
                      <a:pt x="5" y="26"/>
                    </a:lnTo>
                    <a:lnTo>
                      <a:pt x="7" y="26"/>
                    </a:lnTo>
                    <a:lnTo>
                      <a:pt x="8" y="26"/>
                    </a:lnTo>
                    <a:lnTo>
                      <a:pt x="8" y="26"/>
                    </a:lnTo>
                    <a:lnTo>
                      <a:pt x="8" y="26"/>
                    </a:lnTo>
                    <a:lnTo>
                      <a:pt x="10" y="26"/>
                    </a:lnTo>
                    <a:lnTo>
                      <a:pt x="10" y="27"/>
                    </a:lnTo>
                    <a:lnTo>
                      <a:pt x="11" y="27"/>
                    </a:lnTo>
                    <a:lnTo>
                      <a:pt x="14" y="29"/>
                    </a:lnTo>
                    <a:lnTo>
                      <a:pt x="17" y="30"/>
                    </a:lnTo>
                    <a:lnTo>
                      <a:pt x="20" y="30"/>
                    </a:lnTo>
                    <a:lnTo>
                      <a:pt x="21" y="30"/>
                    </a:lnTo>
                    <a:lnTo>
                      <a:pt x="24" y="30"/>
                    </a:lnTo>
                    <a:lnTo>
                      <a:pt x="25" y="30"/>
                    </a:lnTo>
                    <a:lnTo>
                      <a:pt x="30" y="30"/>
                    </a:lnTo>
                    <a:lnTo>
                      <a:pt x="30" y="31"/>
                    </a:lnTo>
                    <a:lnTo>
                      <a:pt x="31" y="33"/>
                    </a:lnTo>
                    <a:lnTo>
                      <a:pt x="33" y="34"/>
                    </a:lnTo>
                    <a:lnTo>
                      <a:pt x="34" y="36"/>
                    </a:lnTo>
                    <a:lnTo>
                      <a:pt x="33" y="37"/>
                    </a:lnTo>
                    <a:lnTo>
                      <a:pt x="33" y="40"/>
                    </a:lnTo>
                    <a:lnTo>
                      <a:pt x="31" y="41"/>
                    </a:lnTo>
                    <a:lnTo>
                      <a:pt x="31" y="43"/>
                    </a:lnTo>
                    <a:lnTo>
                      <a:pt x="31" y="44"/>
                    </a:lnTo>
                    <a:lnTo>
                      <a:pt x="33" y="46"/>
                    </a:lnTo>
                    <a:lnTo>
                      <a:pt x="33" y="46"/>
                    </a:lnTo>
                    <a:lnTo>
                      <a:pt x="33" y="47"/>
                    </a:lnTo>
                    <a:lnTo>
                      <a:pt x="34" y="46"/>
                    </a:lnTo>
                    <a:lnTo>
                      <a:pt x="35" y="46"/>
                    </a:lnTo>
                    <a:lnTo>
                      <a:pt x="38" y="49"/>
                    </a:lnTo>
                    <a:lnTo>
                      <a:pt x="41" y="50"/>
                    </a:lnTo>
                    <a:lnTo>
                      <a:pt x="44" y="52"/>
                    </a:lnTo>
                    <a:lnTo>
                      <a:pt x="46" y="53"/>
                    </a:lnTo>
                    <a:lnTo>
                      <a:pt x="46" y="56"/>
                    </a:lnTo>
                    <a:lnTo>
                      <a:pt x="48" y="57"/>
                    </a:lnTo>
                    <a:lnTo>
                      <a:pt x="51" y="57"/>
                    </a:lnTo>
                    <a:lnTo>
                      <a:pt x="54" y="56"/>
                    </a:lnTo>
                    <a:lnTo>
                      <a:pt x="58" y="56"/>
                    </a:lnTo>
                    <a:lnTo>
                      <a:pt x="60" y="56"/>
                    </a:lnTo>
                    <a:lnTo>
                      <a:pt x="60" y="57"/>
                    </a:lnTo>
                    <a:lnTo>
                      <a:pt x="61" y="57"/>
                    </a:lnTo>
                    <a:lnTo>
                      <a:pt x="63" y="57"/>
                    </a:lnTo>
                    <a:lnTo>
                      <a:pt x="66" y="56"/>
                    </a:lnTo>
                    <a:lnTo>
                      <a:pt x="67" y="56"/>
                    </a:lnTo>
                    <a:lnTo>
                      <a:pt x="69" y="54"/>
                    </a:lnTo>
                    <a:lnTo>
                      <a:pt x="69" y="54"/>
                    </a:lnTo>
                    <a:lnTo>
                      <a:pt x="69" y="53"/>
                    </a:lnTo>
                    <a:lnTo>
                      <a:pt x="70" y="52"/>
                    </a:lnTo>
                    <a:lnTo>
                      <a:pt x="70" y="52"/>
                    </a:lnTo>
                    <a:lnTo>
                      <a:pt x="71" y="52"/>
                    </a:lnTo>
                    <a:lnTo>
                      <a:pt x="71" y="52"/>
                    </a:lnTo>
                    <a:lnTo>
                      <a:pt x="73" y="52"/>
                    </a:lnTo>
                    <a:lnTo>
                      <a:pt x="74" y="52"/>
                    </a:lnTo>
                    <a:lnTo>
                      <a:pt x="77" y="50"/>
                    </a:lnTo>
                    <a:lnTo>
                      <a:pt x="77" y="49"/>
                    </a:lnTo>
                    <a:lnTo>
                      <a:pt x="80" y="49"/>
                    </a:lnTo>
                    <a:lnTo>
                      <a:pt x="80" y="49"/>
                    </a:lnTo>
                    <a:lnTo>
                      <a:pt x="80" y="50"/>
                    </a:lnTo>
                    <a:lnTo>
                      <a:pt x="81" y="52"/>
                    </a:lnTo>
                    <a:lnTo>
                      <a:pt x="83" y="52"/>
                    </a:lnTo>
                    <a:lnTo>
                      <a:pt x="83" y="52"/>
                    </a:lnTo>
                    <a:lnTo>
                      <a:pt x="84" y="52"/>
                    </a:lnTo>
                    <a:lnTo>
                      <a:pt x="86" y="50"/>
                    </a:lnTo>
                    <a:lnTo>
                      <a:pt x="86" y="50"/>
                    </a:lnTo>
                    <a:lnTo>
                      <a:pt x="86" y="49"/>
                    </a:lnTo>
                    <a:lnTo>
                      <a:pt x="84" y="49"/>
                    </a:lnTo>
                    <a:lnTo>
                      <a:pt x="84" y="47"/>
                    </a:lnTo>
                    <a:lnTo>
                      <a:pt x="83" y="47"/>
                    </a:lnTo>
                    <a:lnTo>
                      <a:pt x="83" y="47"/>
                    </a:lnTo>
                    <a:lnTo>
                      <a:pt x="81" y="46"/>
                    </a:lnTo>
                    <a:lnTo>
                      <a:pt x="83" y="44"/>
                    </a:lnTo>
                    <a:lnTo>
                      <a:pt x="83" y="44"/>
                    </a:lnTo>
                    <a:lnTo>
                      <a:pt x="84" y="43"/>
                    </a:lnTo>
                    <a:lnTo>
                      <a:pt x="84" y="41"/>
                    </a:lnTo>
                    <a:lnTo>
                      <a:pt x="86" y="40"/>
                    </a:lnTo>
                    <a:lnTo>
                      <a:pt x="86" y="39"/>
                    </a:lnTo>
                    <a:lnTo>
                      <a:pt x="86" y="37"/>
                    </a:lnTo>
                    <a:lnTo>
                      <a:pt x="86" y="36"/>
                    </a:lnTo>
                    <a:lnTo>
                      <a:pt x="87" y="34"/>
                    </a:lnTo>
                    <a:lnTo>
                      <a:pt x="89" y="34"/>
                    </a:lnTo>
                    <a:lnTo>
                      <a:pt x="90" y="33"/>
                    </a:lnTo>
                    <a:lnTo>
                      <a:pt x="92" y="33"/>
                    </a:lnTo>
                    <a:lnTo>
                      <a:pt x="92" y="31"/>
                    </a:lnTo>
                    <a:lnTo>
                      <a:pt x="93" y="30"/>
                    </a:lnTo>
                    <a:lnTo>
                      <a:pt x="94" y="30"/>
                    </a:lnTo>
                    <a:lnTo>
                      <a:pt x="96" y="29"/>
                    </a:lnTo>
                    <a:lnTo>
                      <a:pt x="99" y="29"/>
                    </a:lnTo>
                    <a:lnTo>
                      <a:pt x="100" y="29"/>
                    </a:lnTo>
                    <a:lnTo>
                      <a:pt x="102" y="29"/>
                    </a:lnTo>
                    <a:lnTo>
                      <a:pt x="103" y="26"/>
                    </a:lnTo>
                    <a:lnTo>
                      <a:pt x="103" y="26"/>
                    </a:lnTo>
                    <a:lnTo>
                      <a:pt x="102" y="2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94" name="Freeform 100">
                <a:extLst>
                  <a:ext uri="{FF2B5EF4-FFF2-40B4-BE49-F238E27FC236}">
                    <a16:creationId xmlns:a16="http://schemas.microsoft.com/office/drawing/2014/main" id="{2E50A8DB-7ABC-21F3-1D11-498BDD43F82B}"/>
                  </a:ext>
                </a:extLst>
              </p:cNvPr>
              <p:cNvSpPr>
                <a:spLocks/>
              </p:cNvSpPr>
              <p:nvPr/>
            </p:nvSpPr>
            <p:spPr bwMode="auto">
              <a:xfrm>
                <a:off x="3678" y="1883"/>
                <a:ext cx="0" cy="1"/>
              </a:xfrm>
              <a:custGeom>
                <a:avLst/>
                <a:gdLst>
                  <a:gd name="T0" fmla="*/ 0 h 1"/>
                  <a:gd name="T1" fmla="*/ 0 h 1"/>
                  <a:gd name="T2" fmla="*/ 1 h 1"/>
                  <a:gd name="T3" fmla="*/ 1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lnTo>
                      <a:pt x="0" y="0"/>
                    </a:lnTo>
                    <a:lnTo>
                      <a:pt x="0" y="1"/>
                    </a:lnTo>
                    <a:lnTo>
                      <a:pt x="0" y="1"/>
                    </a:lnTo>
                    <a:lnTo>
                      <a:pt x="0" y="0"/>
                    </a:lnTo>
                    <a:lnTo>
                      <a:pt x="0"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95" name="Freeform 101">
                <a:extLst>
                  <a:ext uri="{FF2B5EF4-FFF2-40B4-BE49-F238E27FC236}">
                    <a16:creationId xmlns:a16="http://schemas.microsoft.com/office/drawing/2014/main" id="{35E023B3-3E7B-3645-791C-8BEB998E87D8}"/>
                  </a:ext>
                </a:extLst>
              </p:cNvPr>
              <p:cNvSpPr>
                <a:spLocks noEditPoints="1"/>
              </p:cNvSpPr>
              <p:nvPr/>
            </p:nvSpPr>
            <p:spPr bwMode="auto">
              <a:xfrm>
                <a:off x="3388" y="1035"/>
                <a:ext cx="498" cy="123"/>
              </a:xfrm>
              <a:custGeom>
                <a:avLst/>
                <a:gdLst>
                  <a:gd name="T0" fmla="*/ 2 w 498"/>
                  <a:gd name="T1" fmla="*/ 123 h 123"/>
                  <a:gd name="T2" fmla="*/ 0 w 498"/>
                  <a:gd name="T3" fmla="*/ 123 h 123"/>
                  <a:gd name="T4" fmla="*/ 2 w 498"/>
                  <a:gd name="T5" fmla="*/ 122 h 123"/>
                  <a:gd name="T6" fmla="*/ 7 w 498"/>
                  <a:gd name="T7" fmla="*/ 119 h 123"/>
                  <a:gd name="T8" fmla="*/ 10 w 498"/>
                  <a:gd name="T9" fmla="*/ 117 h 123"/>
                  <a:gd name="T10" fmla="*/ 12 w 498"/>
                  <a:gd name="T11" fmla="*/ 116 h 123"/>
                  <a:gd name="T12" fmla="*/ 15 w 498"/>
                  <a:gd name="T13" fmla="*/ 114 h 123"/>
                  <a:gd name="T14" fmla="*/ 18 w 498"/>
                  <a:gd name="T15" fmla="*/ 113 h 123"/>
                  <a:gd name="T16" fmla="*/ 20 w 498"/>
                  <a:gd name="T17" fmla="*/ 114 h 123"/>
                  <a:gd name="T18" fmla="*/ 18 w 498"/>
                  <a:gd name="T19" fmla="*/ 117 h 123"/>
                  <a:gd name="T20" fmla="*/ 15 w 498"/>
                  <a:gd name="T21" fmla="*/ 119 h 123"/>
                  <a:gd name="T22" fmla="*/ 10 w 498"/>
                  <a:gd name="T23" fmla="*/ 120 h 123"/>
                  <a:gd name="T24" fmla="*/ 5 w 498"/>
                  <a:gd name="T25" fmla="*/ 123 h 123"/>
                  <a:gd name="T26" fmla="*/ 2 w 498"/>
                  <a:gd name="T27" fmla="*/ 123 h 123"/>
                  <a:gd name="T28" fmla="*/ 494 w 498"/>
                  <a:gd name="T29" fmla="*/ 5 h 123"/>
                  <a:gd name="T30" fmla="*/ 496 w 498"/>
                  <a:gd name="T31" fmla="*/ 5 h 123"/>
                  <a:gd name="T32" fmla="*/ 498 w 498"/>
                  <a:gd name="T33" fmla="*/ 2 h 123"/>
                  <a:gd name="T34" fmla="*/ 496 w 498"/>
                  <a:gd name="T35" fmla="*/ 1 h 123"/>
                  <a:gd name="T36" fmla="*/ 494 w 498"/>
                  <a:gd name="T37" fmla="*/ 0 h 123"/>
                  <a:gd name="T38" fmla="*/ 492 w 498"/>
                  <a:gd name="T39" fmla="*/ 1 h 123"/>
                  <a:gd name="T40" fmla="*/ 491 w 498"/>
                  <a:gd name="T41" fmla="*/ 2 h 123"/>
                  <a:gd name="T42" fmla="*/ 492 w 498"/>
                  <a:gd name="T43" fmla="*/ 5 h 123"/>
                  <a:gd name="T44" fmla="*/ 494 w 498"/>
                  <a:gd name="T45" fmla="*/ 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8" h="123">
                    <a:moveTo>
                      <a:pt x="2" y="123"/>
                    </a:moveTo>
                    <a:lnTo>
                      <a:pt x="0" y="123"/>
                    </a:lnTo>
                    <a:lnTo>
                      <a:pt x="2" y="122"/>
                    </a:lnTo>
                    <a:lnTo>
                      <a:pt x="7" y="119"/>
                    </a:lnTo>
                    <a:lnTo>
                      <a:pt x="10" y="117"/>
                    </a:lnTo>
                    <a:lnTo>
                      <a:pt x="12" y="116"/>
                    </a:lnTo>
                    <a:lnTo>
                      <a:pt x="15" y="114"/>
                    </a:lnTo>
                    <a:lnTo>
                      <a:pt x="18" y="113"/>
                    </a:lnTo>
                    <a:lnTo>
                      <a:pt x="20" y="114"/>
                    </a:lnTo>
                    <a:lnTo>
                      <a:pt x="18" y="117"/>
                    </a:lnTo>
                    <a:lnTo>
                      <a:pt x="15" y="119"/>
                    </a:lnTo>
                    <a:lnTo>
                      <a:pt x="10" y="120"/>
                    </a:lnTo>
                    <a:lnTo>
                      <a:pt x="5" y="123"/>
                    </a:lnTo>
                    <a:lnTo>
                      <a:pt x="2" y="123"/>
                    </a:lnTo>
                    <a:close/>
                    <a:moveTo>
                      <a:pt x="494" y="5"/>
                    </a:moveTo>
                    <a:lnTo>
                      <a:pt x="496" y="5"/>
                    </a:lnTo>
                    <a:lnTo>
                      <a:pt x="498" y="2"/>
                    </a:lnTo>
                    <a:lnTo>
                      <a:pt x="496" y="1"/>
                    </a:lnTo>
                    <a:lnTo>
                      <a:pt x="494" y="0"/>
                    </a:lnTo>
                    <a:lnTo>
                      <a:pt x="492" y="1"/>
                    </a:lnTo>
                    <a:lnTo>
                      <a:pt x="491" y="2"/>
                    </a:lnTo>
                    <a:lnTo>
                      <a:pt x="492" y="5"/>
                    </a:lnTo>
                    <a:lnTo>
                      <a:pt x="494" y="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96" name="Freeform 102">
                <a:extLst>
                  <a:ext uri="{FF2B5EF4-FFF2-40B4-BE49-F238E27FC236}">
                    <a16:creationId xmlns:a16="http://schemas.microsoft.com/office/drawing/2014/main" id="{58C471AB-DA46-779C-4222-3F0708B5D3E6}"/>
                  </a:ext>
                </a:extLst>
              </p:cNvPr>
              <p:cNvSpPr>
                <a:spLocks noEditPoints="1"/>
              </p:cNvSpPr>
              <p:nvPr/>
            </p:nvSpPr>
            <p:spPr bwMode="auto">
              <a:xfrm>
                <a:off x="3734" y="792"/>
                <a:ext cx="405" cy="152"/>
              </a:xfrm>
              <a:custGeom>
                <a:avLst/>
                <a:gdLst>
                  <a:gd name="T0" fmla="*/ 136 w 405"/>
                  <a:gd name="T1" fmla="*/ 20 h 152"/>
                  <a:gd name="T2" fmla="*/ 136 w 405"/>
                  <a:gd name="T3" fmla="*/ 30 h 152"/>
                  <a:gd name="T4" fmla="*/ 175 w 405"/>
                  <a:gd name="T5" fmla="*/ 38 h 152"/>
                  <a:gd name="T6" fmla="*/ 192 w 405"/>
                  <a:gd name="T7" fmla="*/ 50 h 152"/>
                  <a:gd name="T8" fmla="*/ 248 w 405"/>
                  <a:gd name="T9" fmla="*/ 51 h 152"/>
                  <a:gd name="T10" fmla="*/ 287 w 405"/>
                  <a:gd name="T11" fmla="*/ 31 h 152"/>
                  <a:gd name="T12" fmla="*/ 251 w 405"/>
                  <a:gd name="T13" fmla="*/ 7 h 152"/>
                  <a:gd name="T14" fmla="*/ 241 w 405"/>
                  <a:gd name="T15" fmla="*/ 5 h 152"/>
                  <a:gd name="T16" fmla="*/ 228 w 405"/>
                  <a:gd name="T17" fmla="*/ 13 h 152"/>
                  <a:gd name="T18" fmla="*/ 211 w 405"/>
                  <a:gd name="T19" fmla="*/ 2 h 152"/>
                  <a:gd name="T20" fmla="*/ 206 w 405"/>
                  <a:gd name="T21" fmla="*/ 20 h 152"/>
                  <a:gd name="T22" fmla="*/ 181 w 405"/>
                  <a:gd name="T23" fmla="*/ 10 h 152"/>
                  <a:gd name="T24" fmla="*/ 153 w 405"/>
                  <a:gd name="T25" fmla="*/ 5 h 152"/>
                  <a:gd name="T26" fmla="*/ 143 w 405"/>
                  <a:gd name="T27" fmla="*/ 14 h 152"/>
                  <a:gd name="T28" fmla="*/ 278 w 405"/>
                  <a:gd name="T29" fmla="*/ 74 h 152"/>
                  <a:gd name="T30" fmla="*/ 320 w 405"/>
                  <a:gd name="T31" fmla="*/ 70 h 152"/>
                  <a:gd name="T32" fmla="*/ 316 w 405"/>
                  <a:gd name="T33" fmla="*/ 67 h 152"/>
                  <a:gd name="T34" fmla="*/ 140 w 405"/>
                  <a:gd name="T35" fmla="*/ 8 h 152"/>
                  <a:gd name="T36" fmla="*/ 3 w 405"/>
                  <a:gd name="T37" fmla="*/ 79 h 152"/>
                  <a:gd name="T38" fmla="*/ 27 w 405"/>
                  <a:gd name="T39" fmla="*/ 96 h 152"/>
                  <a:gd name="T40" fmla="*/ 10 w 405"/>
                  <a:gd name="T41" fmla="*/ 79 h 152"/>
                  <a:gd name="T42" fmla="*/ 3 w 405"/>
                  <a:gd name="T43" fmla="*/ 41 h 152"/>
                  <a:gd name="T44" fmla="*/ 15 w 405"/>
                  <a:gd name="T45" fmla="*/ 60 h 152"/>
                  <a:gd name="T46" fmla="*/ 24 w 405"/>
                  <a:gd name="T47" fmla="*/ 59 h 152"/>
                  <a:gd name="T48" fmla="*/ 23 w 405"/>
                  <a:gd name="T49" fmla="*/ 73 h 152"/>
                  <a:gd name="T50" fmla="*/ 48 w 405"/>
                  <a:gd name="T51" fmla="*/ 94 h 152"/>
                  <a:gd name="T52" fmla="*/ 69 w 405"/>
                  <a:gd name="T53" fmla="*/ 82 h 152"/>
                  <a:gd name="T54" fmla="*/ 74 w 405"/>
                  <a:gd name="T55" fmla="*/ 79 h 152"/>
                  <a:gd name="T56" fmla="*/ 82 w 405"/>
                  <a:gd name="T57" fmla="*/ 82 h 152"/>
                  <a:gd name="T58" fmla="*/ 107 w 405"/>
                  <a:gd name="T59" fmla="*/ 82 h 152"/>
                  <a:gd name="T60" fmla="*/ 107 w 405"/>
                  <a:gd name="T61" fmla="*/ 92 h 152"/>
                  <a:gd name="T62" fmla="*/ 64 w 405"/>
                  <a:gd name="T63" fmla="*/ 102 h 152"/>
                  <a:gd name="T64" fmla="*/ 56 w 405"/>
                  <a:gd name="T65" fmla="*/ 109 h 152"/>
                  <a:gd name="T66" fmla="*/ 93 w 405"/>
                  <a:gd name="T67" fmla="*/ 110 h 152"/>
                  <a:gd name="T68" fmla="*/ 76 w 405"/>
                  <a:gd name="T69" fmla="*/ 119 h 152"/>
                  <a:gd name="T70" fmla="*/ 77 w 405"/>
                  <a:gd name="T71" fmla="*/ 133 h 152"/>
                  <a:gd name="T72" fmla="*/ 113 w 405"/>
                  <a:gd name="T73" fmla="*/ 149 h 152"/>
                  <a:gd name="T74" fmla="*/ 116 w 405"/>
                  <a:gd name="T75" fmla="*/ 138 h 152"/>
                  <a:gd name="T76" fmla="*/ 136 w 405"/>
                  <a:gd name="T77" fmla="*/ 120 h 152"/>
                  <a:gd name="T78" fmla="*/ 148 w 405"/>
                  <a:gd name="T79" fmla="*/ 97 h 152"/>
                  <a:gd name="T80" fmla="*/ 160 w 405"/>
                  <a:gd name="T81" fmla="*/ 82 h 152"/>
                  <a:gd name="T82" fmla="*/ 179 w 405"/>
                  <a:gd name="T83" fmla="*/ 63 h 152"/>
                  <a:gd name="T84" fmla="*/ 165 w 405"/>
                  <a:gd name="T85" fmla="*/ 64 h 152"/>
                  <a:gd name="T86" fmla="*/ 148 w 405"/>
                  <a:gd name="T87" fmla="*/ 59 h 152"/>
                  <a:gd name="T88" fmla="*/ 140 w 405"/>
                  <a:gd name="T89" fmla="*/ 41 h 152"/>
                  <a:gd name="T90" fmla="*/ 129 w 405"/>
                  <a:gd name="T91" fmla="*/ 36 h 152"/>
                  <a:gd name="T92" fmla="*/ 112 w 405"/>
                  <a:gd name="T93" fmla="*/ 27 h 152"/>
                  <a:gd name="T94" fmla="*/ 96 w 405"/>
                  <a:gd name="T95" fmla="*/ 28 h 152"/>
                  <a:gd name="T96" fmla="*/ 96 w 405"/>
                  <a:gd name="T97" fmla="*/ 64 h 152"/>
                  <a:gd name="T98" fmla="*/ 60 w 405"/>
                  <a:gd name="T99" fmla="*/ 46 h 152"/>
                  <a:gd name="T100" fmla="*/ 48 w 405"/>
                  <a:gd name="T101" fmla="*/ 41 h 152"/>
                  <a:gd name="T102" fmla="*/ 57 w 405"/>
                  <a:gd name="T103" fmla="*/ 34 h 152"/>
                  <a:gd name="T104" fmla="*/ 25 w 405"/>
                  <a:gd name="T105" fmla="*/ 36 h 152"/>
                  <a:gd name="T106" fmla="*/ 10 w 405"/>
                  <a:gd name="T107" fmla="*/ 36 h 152"/>
                  <a:gd name="T108" fmla="*/ 244 w 405"/>
                  <a:gd name="T109" fmla="*/ 110 h 152"/>
                  <a:gd name="T110" fmla="*/ 221 w 405"/>
                  <a:gd name="T111" fmla="*/ 102 h 152"/>
                  <a:gd name="T112" fmla="*/ 205 w 405"/>
                  <a:gd name="T113" fmla="*/ 93 h 152"/>
                  <a:gd name="T114" fmla="*/ 172 w 405"/>
                  <a:gd name="T115" fmla="*/ 89 h 152"/>
                  <a:gd name="T116" fmla="*/ 182 w 405"/>
                  <a:gd name="T117" fmla="*/ 100 h 152"/>
                  <a:gd name="T118" fmla="*/ 181 w 405"/>
                  <a:gd name="T119" fmla="*/ 122 h 152"/>
                  <a:gd name="T120" fmla="*/ 208 w 405"/>
                  <a:gd name="T121" fmla="*/ 126 h 152"/>
                  <a:gd name="T122" fmla="*/ 232 w 405"/>
                  <a:gd name="T123" fmla="*/ 12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5" h="152">
                    <a:moveTo>
                      <a:pt x="374" y="20"/>
                    </a:moveTo>
                    <a:lnTo>
                      <a:pt x="367" y="18"/>
                    </a:lnTo>
                    <a:lnTo>
                      <a:pt x="397" y="11"/>
                    </a:lnTo>
                    <a:lnTo>
                      <a:pt x="400" y="11"/>
                    </a:lnTo>
                    <a:lnTo>
                      <a:pt x="405" y="13"/>
                    </a:lnTo>
                    <a:lnTo>
                      <a:pt x="397" y="15"/>
                    </a:lnTo>
                    <a:lnTo>
                      <a:pt x="386" y="18"/>
                    </a:lnTo>
                    <a:lnTo>
                      <a:pt x="374" y="20"/>
                    </a:lnTo>
                    <a:close/>
                    <a:moveTo>
                      <a:pt x="136" y="20"/>
                    </a:moveTo>
                    <a:lnTo>
                      <a:pt x="140" y="21"/>
                    </a:lnTo>
                    <a:lnTo>
                      <a:pt x="145" y="21"/>
                    </a:lnTo>
                    <a:lnTo>
                      <a:pt x="143" y="23"/>
                    </a:lnTo>
                    <a:lnTo>
                      <a:pt x="142" y="24"/>
                    </a:lnTo>
                    <a:lnTo>
                      <a:pt x="140" y="25"/>
                    </a:lnTo>
                    <a:lnTo>
                      <a:pt x="139" y="25"/>
                    </a:lnTo>
                    <a:lnTo>
                      <a:pt x="135" y="27"/>
                    </a:lnTo>
                    <a:lnTo>
                      <a:pt x="135" y="28"/>
                    </a:lnTo>
                    <a:lnTo>
                      <a:pt x="136" y="30"/>
                    </a:lnTo>
                    <a:lnTo>
                      <a:pt x="138" y="33"/>
                    </a:lnTo>
                    <a:lnTo>
                      <a:pt x="142" y="34"/>
                    </a:lnTo>
                    <a:lnTo>
                      <a:pt x="145" y="34"/>
                    </a:lnTo>
                    <a:lnTo>
                      <a:pt x="148" y="36"/>
                    </a:lnTo>
                    <a:lnTo>
                      <a:pt x="156" y="36"/>
                    </a:lnTo>
                    <a:lnTo>
                      <a:pt x="171" y="34"/>
                    </a:lnTo>
                    <a:lnTo>
                      <a:pt x="179" y="34"/>
                    </a:lnTo>
                    <a:lnTo>
                      <a:pt x="178" y="37"/>
                    </a:lnTo>
                    <a:lnTo>
                      <a:pt x="175" y="38"/>
                    </a:lnTo>
                    <a:lnTo>
                      <a:pt x="172" y="38"/>
                    </a:lnTo>
                    <a:lnTo>
                      <a:pt x="169" y="38"/>
                    </a:lnTo>
                    <a:lnTo>
                      <a:pt x="165" y="38"/>
                    </a:lnTo>
                    <a:lnTo>
                      <a:pt x="162" y="40"/>
                    </a:lnTo>
                    <a:lnTo>
                      <a:pt x="159" y="41"/>
                    </a:lnTo>
                    <a:lnTo>
                      <a:pt x="166" y="44"/>
                    </a:lnTo>
                    <a:lnTo>
                      <a:pt x="181" y="48"/>
                    </a:lnTo>
                    <a:lnTo>
                      <a:pt x="183" y="48"/>
                    </a:lnTo>
                    <a:lnTo>
                      <a:pt x="192" y="50"/>
                    </a:lnTo>
                    <a:lnTo>
                      <a:pt x="215" y="48"/>
                    </a:lnTo>
                    <a:lnTo>
                      <a:pt x="214" y="54"/>
                    </a:lnTo>
                    <a:lnTo>
                      <a:pt x="218" y="56"/>
                    </a:lnTo>
                    <a:lnTo>
                      <a:pt x="225" y="57"/>
                    </a:lnTo>
                    <a:lnTo>
                      <a:pt x="234" y="57"/>
                    </a:lnTo>
                    <a:lnTo>
                      <a:pt x="235" y="57"/>
                    </a:lnTo>
                    <a:lnTo>
                      <a:pt x="238" y="56"/>
                    </a:lnTo>
                    <a:lnTo>
                      <a:pt x="245" y="51"/>
                    </a:lnTo>
                    <a:lnTo>
                      <a:pt x="248" y="51"/>
                    </a:lnTo>
                    <a:lnTo>
                      <a:pt x="251" y="50"/>
                    </a:lnTo>
                    <a:lnTo>
                      <a:pt x="257" y="51"/>
                    </a:lnTo>
                    <a:lnTo>
                      <a:pt x="260" y="50"/>
                    </a:lnTo>
                    <a:lnTo>
                      <a:pt x="264" y="48"/>
                    </a:lnTo>
                    <a:lnTo>
                      <a:pt x="265" y="47"/>
                    </a:lnTo>
                    <a:lnTo>
                      <a:pt x="268" y="43"/>
                    </a:lnTo>
                    <a:lnTo>
                      <a:pt x="270" y="41"/>
                    </a:lnTo>
                    <a:lnTo>
                      <a:pt x="275" y="37"/>
                    </a:lnTo>
                    <a:lnTo>
                      <a:pt x="287" y="31"/>
                    </a:lnTo>
                    <a:lnTo>
                      <a:pt x="291" y="28"/>
                    </a:lnTo>
                    <a:lnTo>
                      <a:pt x="291" y="21"/>
                    </a:lnTo>
                    <a:lnTo>
                      <a:pt x="288" y="17"/>
                    </a:lnTo>
                    <a:lnTo>
                      <a:pt x="284" y="15"/>
                    </a:lnTo>
                    <a:lnTo>
                      <a:pt x="278" y="14"/>
                    </a:lnTo>
                    <a:lnTo>
                      <a:pt x="271" y="14"/>
                    </a:lnTo>
                    <a:lnTo>
                      <a:pt x="268" y="14"/>
                    </a:lnTo>
                    <a:lnTo>
                      <a:pt x="254" y="8"/>
                    </a:lnTo>
                    <a:lnTo>
                      <a:pt x="251" y="7"/>
                    </a:lnTo>
                    <a:lnTo>
                      <a:pt x="250" y="7"/>
                    </a:lnTo>
                    <a:lnTo>
                      <a:pt x="248" y="7"/>
                    </a:lnTo>
                    <a:lnTo>
                      <a:pt x="247" y="8"/>
                    </a:lnTo>
                    <a:lnTo>
                      <a:pt x="247" y="8"/>
                    </a:lnTo>
                    <a:lnTo>
                      <a:pt x="245" y="7"/>
                    </a:lnTo>
                    <a:lnTo>
                      <a:pt x="244" y="5"/>
                    </a:lnTo>
                    <a:lnTo>
                      <a:pt x="242" y="5"/>
                    </a:lnTo>
                    <a:lnTo>
                      <a:pt x="241" y="5"/>
                    </a:lnTo>
                    <a:lnTo>
                      <a:pt x="241" y="5"/>
                    </a:lnTo>
                    <a:lnTo>
                      <a:pt x="241" y="5"/>
                    </a:lnTo>
                    <a:lnTo>
                      <a:pt x="239" y="7"/>
                    </a:lnTo>
                    <a:lnTo>
                      <a:pt x="238" y="7"/>
                    </a:lnTo>
                    <a:lnTo>
                      <a:pt x="235" y="7"/>
                    </a:lnTo>
                    <a:lnTo>
                      <a:pt x="235" y="7"/>
                    </a:lnTo>
                    <a:lnTo>
                      <a:pt x="234" y="7"/>
                    </a:lnTo>
                    <a:lnTo>
                      <a:pt x="232" y="10"/>
                    </a:lnTo>
                    <a:lnTo>
                      <a:pt x="231" y="11"/>
                    </a:lnTo>
                    <a:lnTo>
                      <a:pt x="228" y="13"/>
                    </a:lnTo>
                    <a:lnTo>
                      <a:pt x="227" y="14"/>
                    </a:lnTo>
                    <a:lnTo>
                      <a:pt x="224" y="14"/>
                    </a:lnTo>
                    <a:lnTo>
                      <a:pt x="219" y="14"/>
                    </a:lnTo>
                    <a:lnTo>
                      <a:pt x="222" y="4"/>
                    </a:lnTo>
                    <a:lnTo>
                      <a:pt x="222" y="2"/>
                    </a:lnTo>
                    <a:lnTo>
                      <a:pt x="221" y="0"/>
                    </a:lnTo>
                    <a:lnTo>
                      <a:pt x="218" y="1"/>
                    </a:lnTo>
                    <a:lnTo>
                      <a:pt x="212" y="2"/>
                    </a:lnTo>
                    <a:lnTo>
                      <a:pt x="211" y="2"/>
                    </a:lnTo>
                    <a:lnTo>
                      <a:pt x="209" y="2"/>
                    </a:lnTo>
                    <a:lnTo>
                      <a:pt x="208" y="4"/>
                    </a:lnTo>
                    <a:lnTo>
                      <a:pt x="208" y="5"/>
                    </a:lnTo>
                    <a:lnTo>
                      <a:pt x="208" y="7"/>
                    </a:lnTo>
                    <a:lnTo>
                      <a:pt x="208" y="11"/>
                    </a:lnTo>
                    <a:lnTo>
                      <a:pt x="208" y="13"/>
                    </a:lnTo>
                    <a:lnTo>
                      <a:pt x="208" y="15"/>
                    </a:lnTo>
                    <a:lnTo>
                      <a:pt x="208" y="18"/>
                    </a:lnTo>
                    <a:lnTo>
                      <a:pt x="206" y="20"/>
                    </a:lnTo>
                    <a:lnTo>
                      <a:pt x="204" y="20"/>
                    </a:lnTo>
                    <a:lnTo>
                      <a:pt x="196" y="17"/>
                    </a:lnTo>
                    <a:lnTo>
                      <a:pt x="196" y="15"/>
                    </a:lnTo>
                    <a:lnTo>
                      <a:pt x="195" y="13"/>
                    </a:lnTo>
                    <a:lnTo>
                      <a:pt x="195" y="11"/>
                    </a:lnTo>
                    <a:lnTo>
                      <a:pt x="191" y="10"/>
                    </a:lnTo>
                    <a:lnTo>
                      <a:pt x="188" y="10"/>
                    </a:lnTo>
                    <a:lnTo>
                      <a:pt x="185" y="11"/>
                    </a:lnTo>
                    <a:lnTo>
                      <a:pt x="181" y="10"/>
                    </a:lnTo>
                    <a:lnTo>
                      <a:pt x="171" y="2"/>
                    </a:lnTo>
                    <a:lnTo>
                      <a:pt x="165" y="1"/>
                    </a:lnTo>
                    <a:lnTo>
                      <a:pt x="159" y="1"/>
                    </a:lnTo>
                    <a:lnTo>
                      <a:pt x="160" y="5"/>
                    </a:lnTo>
                    <a:lnTo>
                      <a:pt x="162" y="8"/>
                    </a:lnTo>
                    <a:lnTo>
                      <a:pt x="160" y="11"/>
                    </a:lnTo>
                    <a:lnTo>
                      <a:pt x="159" y="10"/>
                    </a:lnTo>
                    <a:lnTo>
                      <a:pt x="156" y="8"/>
                    </a:lnTo>
                    <a:lnTo>
                      <a:pt x="153" y="5"/>
                    </a:lnTo>
                    <a:lnTo>
                      <a:pt x="150" y="5"/>
                    </a:lnTo>
                    <a:lnTo>
                      <a:pt x="150" y="8"/>
                    </a:lnTo>
                    <a:lnTo>
                      <a:pt x="152" y="11"/>
                    </a:lnTo>
                    <a:lnTo>
                      <a:pt x="155" y="14"/>
                    </a:lnTo>
                    <a:lnTo>
                      <a:pt x="158" y="15"/>
                    </a:lnTo>
                    <a:lnTo>
                      <a:pt x="153" y="17"/>
                    </a:lnTo>
                    <a:lnTo>
                      <a:pt x="150" y="17"/>
                    </a:lnTo>
                    <a:lnTo>
                      <a:pt x="148" y="14"/>
                    </a:lnTo>
                    <a:lnTo>
                      <a:pt x="143" y="14"/>
                    </a:lnTo>
                    <a:lnTo>
                      <a:pt x="140" y="13"/>
                    </a:lnTo>
                    <a:lnTo>
                      <a:pt x="136" y="14"/>
                    </a:lnTo>
                    <a:lnTo>
                      <a:pt x="132" y="14"/>
                    </a:lnTo>
                    <a:lnTo>
                      <a:pt x="129" y="15"/>
                    </a:lnTo>
                    <a:lnTo>
                      <a:pt x="133" y="18"/>
                    </a:lnTo>
                    <a:lnTo>
                      <a:pt x="136" y="20"/>
                    </a:lnTo>
                    <a:close/>
                    <a:moveTo>
                      <a:pt x="283" y="74"/>
                    </a:moveTo>
                    <a:lnTo>
                      <a:pt x="280" y="73"/>
                    </a:lnTo>
                    <a:lnTo>
                      <a:pt x="278" y="74"/>
                    </a:lnTo>
                    <a:lnTo>
                      <a:pt x="280" y="77"/>
                    </a:lnTo>
                    <a:lnTo>
                      <a:pt x="283" y="80"/>
                    </a:lnTo>
                    <a:lnTo>
                      <a:pt x="285" y="80"/>
                    </a:lnTo>
                    <a:lnTo>
                      <a:pt x="288" y="79"/>
                    </a:lnTo>
                    <a:lnTo>
                      <a:pt x="285" y="77"/>
                    </a:lnTo>
                    <a:lnTo>
                      <a:pt x="283" y="74"/>
                    </a:lnTo>
                    <a:close/>
                    <a:moveTo>
                      <a:pt x="311" y="71"/>
                    </a:moveTo>
                    <a:lnTo>
                      <a:pt x="316" y="71"/>
                    </a:lnTo>
                    <a:lnTo>
                      <a:pt x="320" y="70"/>
                    </a:lnTo>
                    <a:lnTo>
                      <a:pt x="329" y="71"/>
                    </a:lnTo>
                    <a:lnTo>
                      <a:pt x="331" y="70"/>
                    </a:lnTo>
                    <a:lnTo>
                      <a:pt x="336" y="70"/>
                    </a:lnTo>
                    <a:lnTo>
                      <a:pt x="334" y="69"/>
                    </a:lnTo>
                    <a:lnTo>
                      <a:pt x="327" y="70"/>
                    </a:lnTo>
                    <a:lnTo>
                      <a:pt x="326" y="69"/>
                    </a:lnTo>
                    <a:lnTo>
                      <a:pt x="321" y="67"/>
                    </a:lnTo>
                    <a:lnTo>
                      <a:pt x="320" y="67"/>
                    </a:lnTo>
                    <a:lnTo>
                      <a:pt x="316" y="67"/>
                    </a:lnTo>
                    <a:lnTo>
                      <a:pt x="311" y="69"/>
                    </a:lnTo>
                    <a:lnTo>
                      <a:pt x="307" y="70"/>
                    </a:lnTo>
                    <a:lnTo>
                      <a:pt x="304" y="71"/>
                    </a:lnTo>
                    <a:lnTo>
                      <a:pt x="307" y="73"/>
                    </a:lnTo>
                    <a:lnTo>
                      <a:pt x="311" y="71"/>
                    </a:lnTo>
                    <a:close/>
                    <a:moveTo>
                      <a:pt x="138" y="10"/>
                    </a:moveTo>
                    <a:lnTo>
                      <a:pt x="139" y="10"/>
                    </a:lnTo>
                    <a:lnTo>
                      <a:pt x="140" y="10"/>
                    </a:lnTo>
                    <a:lnTo>
                      <a:pt x="140" y="8"/>
                    </a:lnTo>
                    <a:lnTo>
                      <a:pt x="143" y="7"/>
                    </a:lnTo>
                    <a:lnTo>
                      <a:pt x="140" y="5"/>
                    </a:lnTo>
                    <a:lnTo>
                      <a:pt x="138" y="5"/>
                    </a:lnTo>
                    <a:lnTo>
                      <a:pt x="133" y="5"/>
                    </a:lnTo>
                    <a:lnTo>
                      <a:pt x="133" y="8"/>
                    </a:lnTo>
                    <a:lnTo>
                      <a:pt x="133" y="8"/>
                    </a:lnTo>
                    <a:lnTo>
                      <a:pt x="138" y="10"/>
                    </a:lnTo>
                    <a:close/>
                    <a:moveTo>
                      <a:pt x="0" y="74"/>
                    </a:moveTo>
                    <a:lnTo>
                      <a:pt x="3" y="79"/>
                    </a:lnTo>
                    <a:lnTo>
                      <a:pt x="7" y="86"/>
                    </a:lnTo>
                    <a:lnTo>
                      <a:pt x="10" y="87"/>
                    </a:lnTo>
                    <a:lnTo>
                      <a:pt x="11" y="89"/>
                    </a:lnTo>
                    <a:lnTo>
                      <a:pt x="15" y="89"/>
                    </a:lnTo>
                    <a:lnTo>
                      <a:pt x="18" y="90"/>
                    </a:lnTo>
                    <a:lnTo>
                      <a:pt x="20" y="92"/>
                    </a:lnTo>
                    <a:lnTo>
                      <a:pt x="21" y="94"/>
                    </a:lnTo>
                    <a:lnTo>
                      <a:pt x="24" y="96"/>
                    </a:lnTo>
                    <a:lnTo>
                      <a:pt x="27" y="96"/>
                    </a:lnTo>
                    <a:lnTo>
                      <a:pt x="24" y="92"/>
                    </a:lnTo>
                    <a:lnTo>
                      <a:pt x="20" y="87"/>
                    </a:lnTo>
                    <a:lnTo>
                      <a:pt x="15" y="84"/>
                    </a:lnTo>
                    <a:lnTo>
                      <a:pt x="11" y="84"/>
                    </a:lnTo>
                    <a:lnTo>
                      <a:pt x="11" y="83"/>
                    </a:lnTo>
                    <a:lnTo>
                      <a:pt x="11" y="82"/>
                    </a:lnTo>
                    <a:lnTo>
                      <a:pt x="10" y="82"/>
                    </a:lnTo>
                    <a:lnTo>
                      <a:pt x="10" y="80"/>
                    </a:lnTo>
                    <a:lnTo>
                      <a:pt x="10" y="79"/>
                    </a:lnTo>
                    <a:lnTo>
                      <a:pt x="10" y="77"/>
                    </a:lnTo>
                    <a:lnTo>
                      <a:pt x="8" y="76"/>
                    </a:lnTo>
                    <a:lnTo>
                      <a:pt x="7" y="73"/>
                    </a:lnTo>
                    <a:lnTo>
                      <a:pt x="5" y="71"/>
                    </a:lnTo>
                    <a:lnTo>
                      <a:pt x="3" y="70"/>
                    </a:lnTo>
                    <a:lnTo>
                      <a:pt x="0" y="70"/>
                    </a:lnTo>
                    <a:lnTo>
                      <a:pt x="0" y="73"/>
                    </a:lnTo>
                    <a:lnTo>
                      <a:pt x="0" y="74"/>
                    </a:lnTo>
                    <a:close/>
                    <a:moveTo>
                      <a:pt x="3" y="41"/>
                    </a:moveTo>
                    <a:lnTo>
                      <a:pt x="3" y="41"/>
                    </a:lnTo>
                    <a:lnTo>
                      <a:pt x="3" y="43"/>
                    </a:lnTo>
                    <a:lnTo>
                      <a:pt x="3" y="44"/>
                    </a:lnTo>
                    <a:lnTo>
                      <a:pt x="5" y="51"/>
                    </a:lnTo>
                    <a:lnTo>
                      <a:pt x="8" y="57"/>
                    </a:lnTo>
                    <a:lnTo>
                      <a:pt x="11" y="60"/>
                    </a:lnTo>
                    <a:lnTo>
                      <a:pt x="13" y="61"/>
                    </a:lnTo>
                    <a:lnTo>
                      <a:pt x="14" y="61"/>
                    </a:lnTo>
                    <a:lnTo>
                      <a:pt x="15" y="60"/>
                    </a:lnTo>
                    <a:lnTo>
                      <a:pt x="17" y="59"/>
                    </a:lnTo>
                    <a:lnTo>
                      <a:pt x="18" y="57"/>
                    </a:lnTo>
                    <a:lnTo>
                      <a:pt x="18" y="56"/>
                    </a:lnTo>
                    <a:lnTo>
                      <a:pt x="18" y="54"/>
                    </a:lnTo>
                    <a:lnTo>
                      <a:pt x="18" y="54"/>
                    </a:lnTo>
                    <a:lnTo>
                      <a:pt x="21" y="54"/>
                    </a:lnTo>
                    <a:lnTo>
                      <a:pt x="24" y="54"/>
                    </a:lnTo>
                    <a:lnTo>
                      <a:pt x="25" y="56"/>
                    </a:lnTo>
                    <a:lnTo>
                      <a:pt x="24" y="59"/>
                    </a:lnTo>
                    <a:lnTo>
                      <a:pt x="23" y="61"/>
                    </a:lnTo>
                    <a:lnTo>
                      <a:pt x="24" y="66"/>
                    </a:lnTo>
                    <a:lnTo>
                      <a:pt x="27" y="66"/>
                    </a:lnTo>
                    <a:lnTo>
                      <a:pt x="28" y="67"/>
                    </a:lnTo>
                    <a:lnTo>
                      <a:pt x="31" y="67"/>
                    </a:lnTo>
                    <a:lnTo>
                      <a:pt x="28" y="70"/>
                    </a:lnTo>
                    <a:lnTo>
                      <a:pt x="18" y="67"/>
                    </a:lnTo>
                    <a:lnTo>
                      <a:pt x="14" y="69"/>
                    </a:lnTo>
                    <a:lnTo>
                      <a:pt x="23" y="73"/>
                    </a:lnTo>
                    <a:lnTo>
                      <a:pt x="20" y="74"/>
                    </a:lnTo>
                    <a:lnTo>
                      <a:pt x="23" y="79"/>
                    </a:lnTo>
                    <a:lnTo>
                      <a:pt x="28" y="83"/>
                    </a:lnTo>
                    <a:lnTo>
                      <a:pt x="31" y="84"/>
                    </a:lnTo>
                    <a:lnTo>
                      <a:pt x="34" y="87"/>
                    </a:lnTo>
                    <a:lnTo>
                      <a:pt x="36" y="89"/>
                    </a:lnTo>
                    <a:lnTo>
                      <a:pt x="40" y="93"/>
                    </a:lnTo>
                    <a:lnTo>
                      <a:pt x="44" y="94"/>
                    </a:lnTo>
                    <a:lnTo>
                      <a:pt x="48" y="94"/>
                    </a:lnTo>
                    <a:lnTo>
                      <a:pt x="57" y="94"/>
                    </a:lnTo>
                    <a:lnTo>
                      <a:pt x="61" y="93"/>
                    </a:lnTo>
                    <a:lnTo>
                      <a:pt x="67" y="90"/>
                    </a:lnTo>
                    <a:lnTo>
                      <a:pt x="71" y="89"/>
                    </a:lnTo>
                    <a:lnTo>
                      <a:pt x="70" y="89"/>
                    </a:lnTo>
                    <a:lnTo>
                      <a:pt x="69" y="87"/>
                    </a:lnTo>
                    <a:lnTo>
                      <a:pt x="67" y="86"/>
                    </a:lnTo>
                    <a:lnTo>
                      <a:pt x="67" y="86"/>
                    </a:lnTo>
                    <a:lnTo>
                      <a:pt x="69" y="82"/>
                    </a:lnTo>
                    <a:lnTo>
                      <a:pt x="69" y="80"/>
                    </a:lnTo>
                    <a:lnTo>
                      <a:pt x="69" y="80"/>
                    </a:lnTo>
                    <a:lnTo>
                      <a:pt x="69" y="79"/>
                    </a:lnTo>
                    <a:lnTo>
                      <a:pt x="70" y="79"/>
                    </a:lnTo>
                    <a:lnTo>
                      <a:pt x="70" y="77"/>
                    </a:lnTo>
                    <a:lnTo>
                      <a:pt x="71" y="77"/>
                    </a:lnTo>
                    <a:lnTo>
                      <a:pt x="71" y="77"/>
                    </a:lnTo>
                    <a:lnTo>
                      <a:pt x="73" y="77"/>
                    </a:lnTo>
                    <a:lnTo>
                      <a:pt x="74" y="79"/>
                    </a:lnTo>
                    <a:lnTo>
                      <a:pt x="76" y="80"/>
                    </a:lnTo>
                    <a:lnTo>
                      <a:pt x="77" y="80"/>
                    </a:lnTo>
                    <a:lnTo>
                      <a:pt x="79" y="80"/>
                    </a:lnTo>
                    <a:lnTo>
                      <a:pt x="80" y="79"/>
                    </a:lnTo>
                    <a:lnTo>
                      <a:pt x="82" y="76"/>
                    </a:lnTo>
                    <a:lnTo>
                      <a:pt x="83" y="74"/>
                    </a:lnTo>
                    <a:lnTo>
                      <a:pt x="84" y="77"/>
                    </a:lnTo>
                    <a:lnTo>
                      <a:pt x="84" y="79"/>
                    </a:lnTo>
                    <a:lnTo>
                      <a:pt x="82" y="82"/>
                    </a:lnTo>
                    <a:lnTo>
                      <a:pt x="82" y="84"/>
                    </a:lnTo>
                    <a:lnTo>
                      <a:pt x="83" y="86"/>
                    </a:lnTo>
                    <a:lnTo>
                      <a:pt x="84" y="87"/>
                    </a:lnTo>
                    <a:lnTo>
                      <a:pt x="87" y="87"/>
                    </a:lnTo>
                    <a:lnTo>
                      <a:pt x="90" y="87"/>
                    </a:lnTo>
                    <a:lnTo>
                      <a:pt x="94" y="86"/>
                    </a:lnTo>
                    <a:lnTo>
                      <a:pt x="103" y="80"/>
                    </a:lnTo>
                    <a:lnTo>
                      <a:pt x="109" y="80"/>
                    </a:lnTo>
                    <a:lnTo>
                      <a:pt x="107" y="82"/>
                    </a:lnTo>
                    <a:lnTo>
                      <a:pt x="104" y="83"/>
                    </a:lnTo>
                    <a:lnTo>
                      <a:pt x="103" y="86"/>
                    </a:lnTo>
                    <a:lnTo>
                      <a:pt x="104" y="87"/>
                    </a:lnTo>
                    <a:lnTo>
                      <a:pt x="106" y="89"/>
                    </a:lnTo>
                    <a:lnTo>
                      <a:pt x="110" y="90"/>
                    </a:lnTo>
                    <a:lnTo>
                      <a:pt x="113" y="89"/>
                    </a:lnTo>
                    <a:lnTo>
                      <a:pt x="116" y="89"/>
                    </a:lnTo>
                    <a:lnTo>
                      <a:pt x="112" y="90"/>
                    </a:lnTo>
                    <a:lnTo>
                      <a:pt x="107" y="92"/>
                    </a:lnTo>
                    <a:lnTo>
                      <a:pt x="96" y="92"/>
                    </a:lnTo>
                    <a:lnTo>
                      <a:pt x="92" y="92"/>
                    </a:lnTo>
                    <a:lnTo>
                      <a:pt x="89" y="93"/>
                    </a:lnTo>
                    <a:lnTo>
                      <a:pt x="90" y="96"/>
                    </a:lnTo>
                    <a:lnTo>
                      <a:pt x="86" y="96"/>
                    </a:lnTo>
                    <a:lnTo>
                      <a:pt x="83" y="96"/>
                    </a:lnTo>
                    <a:lnTo>
                      <a:pt x="77" y="99"/>
                    </a:lnTo>
                    <a:lnTo>
                      <a:pt x="64" y="102"/>
                    </a:lnTo>
                    <a:lnTo>
                      <a:pt x="64" y="102"/>
                    </a:lnTo>
                    <a:lnTo>
                      <a:pt x="64" y="103"/>
                    </a:lnTo>
                    <a:lnTo>
                      <a:pt x="66" y="105"/>
                    </a:lnTo>
                    <a:lnTo>
                      <a:pt x="60" y="102"/>
                    </a:lnTo>
                    <a:lnTo>
                      <a:pt x="59" y="100"/>
                    </a:lnTo>
                    <a:lnTo>
                      <a:pt x="56" y="102"/>
                    </a:lnTo>
                    <a:lnTo>
                      <a:pt x="54" y="103"/>
                    </a:lnTo>
                    <a:lnTo>
                      <a:pt x="54" y="105"/>
                    </a:lnTo>
                    <a:lnTo>
                      <a:pt x="54" y="107"/>
                    </a:lnTo>
                    <a:lnTo>
                      <a:pt x="56" y="109"/>
                    </a:lnTo>
                    <a:lnTo>
                      <a:pt x="59" y="113"/>
                    </a:lnTo>
                    <a:lnTo>
                      <a:pt x="64" y="115"/>
                    </a:lnTo>
                    <a:lnTo>
                      <a:pt x="70" y="115"/>
                    </a:lnTo>
                    <a:lnTo>
                      <a:pt x="74" y="115"/>
                    </a:lnTo>
                    <a:lnTo>
                      <a:pt x="77" y="113"/>
                    </a:lnTo>
                    <a:lnTo>
                      <a:pt x="82" y="112"/>
                    </a:lnTo>
                    <a:lnTo>
                      <a:pt x="84" y="110"/>
                    </a:lnTo>
                    <a:lnTo>
                      <a:pt x="87" y="110"/>
                    </a:lnTo>
                    <a:lnTo>
                      <a:pt x="93" y="110"/>
                    </a:lnTo>
                    <a:lnTo>
                      <a:pt x="96" y="110"/>
                    </a:lnTo>
                    <a:lnTo>
                      <a:pt x="106" y="109"/>
                    </a:lnTo>
                    <a:lnTo>
                      <a:pt x="109" y="109"/>
                    </a:lnTo>
                    <a:lnTo>
                      <a:pt x="110" y="109"/>
                    </a:lnTo>
                    <a:lnTo>
                      <a:pt x="113" y="113"/>
                    </a:lnTo>
                    <a:lnTo>
                      <a:pt x="106" y="113"/>
                    </a:lnTo>
                    <a:lnTo>
                      <a:pt x="77" y="117"/>
                    </a:lnTo>
                    <a:lnTo>
                      <a:pt x="76" y="117"/>
                    </a:lnTo>
                    <a:lnTo>
                      <a:pt x="76" y="119"/>
                    </a:lnTo>
                    <a:lnTo>
                      <a:pt x="73" y="122"/>
                    </a:lnTo>
                    <a:lnTo>
                      <a:pt x="71" y="122"/>
                    </a:lnTo>
                    <a:lnTo>
                      <a:pt x="70" y="122"/>
                    </a:lnTo>
                    <a:lnTo>
                      <a:pt x="66" y="120"/>
                    </a:lnTo>
                    <a:lnTo>
                      <a:pt x="63" y="120"/>
                    </a:lnTo>
                    <a:lnTo>
                      <a:pt x="60" y="122"/>
                    </a:lnTo>
                    <a:lnTo>
                      <a:pt x="60" y="126"/>
                    </a:lnTo>
                    <a:lnTo>
                      <a:pt x="66" y="130"/>
                    </a:lnTo>
                    <a:lnTo>
                      <a:pt x="77" y="133"/>
                    </a:lnTo>
                    <a:lnTo>
                      <a:pt x="80" y="136"/>
                    </a:lnTo>
                    <a:lnTo>
                      <a:pt x="87" y="142"/>
                    </a:lnTo>
                    <a:lnTo>
                      <a:pt x="96" y="146"/>
                    </a:lnTo>
                    <a:lnTo>
                      <a:pt x="99" y="148"/>
                    </a:lnTo>
                    <a:lnTo>
                      <a:pt x="102" y="149"/>
                    </a:lnTo>
                    <a:lnTo>
                      <a:pt x="104" y="151"/>
                    </a:lnTo>
                    <a:lnTo>
                      <a:pt x="107" y="152"/>
                    </a:lnTo>
                    <a:lnTo>
                      <a:pt x="112" y="151"/>
                    </a:lnTo>
                    <a:lnTo>
                      <a:pt x="113" y="149"/>
                    </a:lnTo>
                    <a:lnTo>
                      <a:pt x="113" y="148"/>
                    </a:lnTo>
                    <a:lnTo>
                      <a:pt x="113" y="148"/>
                    </a:lnTo>
                    <a:lnTo>
                      <a:pt x="113" y="145"/>
                    </a:lnTo>
                    <a:lnTo>
                      <a:pt x="113" y="143"/>
                    </a:lnTo>
                    <a:lnTo>
                      <a:pt x="113" y="143"/>
                    </a:lnTo>
                    <a:lnTo>
                      <a:pt x="115" y="140"/>
                    </a:lnTo>
                    <a:lnTo>
                      <a:pt x="116" y="139"/>
                    </a:lnTo>
                    <a:lnTo>
                      <a:pt x="117" y="138"/>
                    </a:lnTo>
                    <a:lnTo>
                      <a:pt x="116" y="138"/>
                    </a:lnTo>
                    <a:lnTo>
                      <a:pt x="116" y="136"/>
                    </a:lnTo>
                    <a:lnTo>
                      <a:pt x="116" y="136"/>
                    </a:lnTo>
                    <a:lnTo>
                      <a:pt x="116" y="135"/>
                    </a:lnTo>
                    <a:lnTo>
                      <a:pt x="119" y="132"/>
                    </a:lnTo>
                    <a:lnTo>
                      <a:pt x="123" y="126"/>
                    </a:lnTo>
                    <a:lnTo>
                      <a:pt x="125" y="125"/>
                    </a:lnTo>
                    <a:lnTo>
                      <a:pt x="127" y="123"/>
                    </a:lnTo>
                    <a:lnTo>
                      <a:pt x="133" y="122"/>
                    </a:lnTo>
                    <a:lnTo>
                      <a:pt x="136" y="120"/>
                    </a:lnTo>
                    <a:lnTo>
                      <a:pt x="136" y="116"/>
                    </a:lnTo>
                    <a:lnTo>
                      <a:pt x="138" y="106"/>
                    </a:lnTo>
                    <a:lnTo>
                      <a:pt x="138" y="103"/>
                    </a:lnTo>
                    <a:lnTo>
                      <a:pt x="140" y="102"/>
                    </a:lnTo>
                    <a:lnTo>
                      <a:pt x="143" y="102"/>
                    </a:lnTo>
                    <a:lnTo>
                      <a:pt x="146" y="102"/>
                    </a:lnTo>
                    <a:lnTo>
                      <a:pt x="148" y="99"/>
                    </a:lnTo>
                    <a:lnTo>
                      <a:pt x="148" y="99"/>
                    </a:lnTo>
                    <a:lnTo>
                      <a:pt x="148" y="97"/>
                    </a:lnTo>
                    <a:lnTo>
                      <a:pt x="148" y="96"/>
                    </a:lnTo>
                    <a:lnTo>
                      <a:pt x="148" y="94"/>
                    </a:lnTo>
                    <a:lnTo>
                      <a:pt x="148" y="94"/>
                    </a:lnTo>
                    <a:lnTo>
                      <a:pt x="148" y="93"/>
                    </a:lnTo>
                    <a:lnTo>
                      <a:pt x="149" y="93"/>
                    </a:lnTo>
                    <a:lnTo>
                      <a:pt x="149" y="90"/>
                    </a:lnTo>
                    <a:lnTo>
                      <a:pt x="150" y="90"/>
                    </a:lnTo>
                    <a:lnTo>
                      <a:pt x="158" y="83"/>
                    </a:lnTo>
                    <a:lnTo>
                      <a:pt x="160" y="82"/>
                    </a:lnTo>
                    <a:lnTo>
                      <a:pt x="163" y="82"/>
                    </a:lnTo>
                    <a:lnTo>
                      <a:pt x="183" y="79"/>
                    </a:lnTo>
                    <a:lnTo>
                      <a:pt x="186" y="79"/>
                    </a:lnTo>
                    <a:lnTo>
                      <a:pt x="189" y="76"/>
                    </a:lnTo>
                    <a:lnTo>
                      <a:pt x="188" y="73"/>
                    </a:lnTo>
                    <a:lnTo>
                      <a:pt x="185" y="71"/>
                    </a:lnTo>
                    <a:lnTo>
                      <a:pt x="178" y="69"/>
                    </a:lnTo>
                    <a:lnTo>
                      <a:pt x="173" y="67"/>
                    </a:lnTo>
                    <a:lnTo>
                      <a:pt x="179" y="63"/>
                    </a:lnTo>
                    <a:lnTo>
                      <a:pt x="176" y="61"/>
                    </a:lnTo>
                    <a:lnTo>
                      <a:pt x="173" y="60"/>
                    </a:lnTo>
                    <a:lnTo>
                      <a:pt x="171" y="60"/>
                    </a:lnTo>
                    <a:lnTo>
                      <a:pt x="168" y="60"/>
                    </a:lnTo>
                    <a:lnTo>
                      <a:pt x="168" y="60"/>
                    </a:lnTo>
                    <a:lnTo>
                      <a:pt x="168" y="61"/>
                    </a:lnTo>
                    <a:lnTo>
                      <a:pt x="168" y="63"/>
                    </a:lnTo>
                    <a:lnTo>
                      <a:pt x="166" y="63"/>
                    </a:lnTo>
                    <a:lnTo>
                      <a:pt x="165" y="64"/>
                    </a:lnTo>
                    <a:lnTo>
                      <a:pt x="163" y="63"/>
                    </a:lnTo>
                    <a:lnTo>
                      <a:pt x="163" y="63"/>
                    </a:lnTo>
                    <a:lnTo>
                      <a:pt x="162" y="61"/>
                    </a:lnTo>
                    <a:lnTo>
                      <a:pt x="159" y="60"/>
                    </a:lnTo>
                    <a:lnTo>
                      <a:pt x="158" y="59"/>
                    </a:lnTo>
                    <a:lnTo>
                      <a:pt x="155" y="59"/>
                    </a:lnTo>
                    <a:lnTo>
                      <a:pt x="150" y="59"/>
                    </a:lnTo>
                    <a:lnTo>
                      <a:pt x="149" y="59"/>
                    </a:lnTo>
                    <a:lnTo>
                      <a:pt x="148" y="59"/>
                    </a:lnTo>
                    <a:lnTo>
                      <a:pt x="146" y="59"/>
                    </a:lnTo>
                    <a:lnTo>
                      <a:pt x="146" y="57"/>
                    </a:lnTo>
                    <a:lnTo>
                      <a:pt x="145" y="56"/>
                    </a:lnTo>
                    <a:lnTo>
                      <a:pt x="143" y="56"/>
                    </a:lnTo>
                    <a:lnTo>
                      <a:pt x="142" y="54"/>
                    </a:lnTo>
                    <a:lnTo>
                      <a:pt x="145" y="51"/>
                    </a:lnTo>
                    <a:lnTo>
                      <a:pt x="145" y="47"/>
                    </a:lnTo>
                    <a:lnTo>
                      <a:pt x="143" y="44"/>
                    </a:lnTo>
                    <a:lnTo>
                      <a:pt x="140" y="41"/>
                    </a:lnTo>
                    <a:lnTo>
                      <a:pt x="136" y="40"/>
                    </a:lnTo>
                    <a:lnTo>
                      <a:pt x="132" y="43"/>
                    </a:lnTo>
                    <a:lnTo>
                      <a:pt x="125" y="50"/>
                    </a:lnTo>
                    <a:lnTo>
                      <a:pt x="125" y="47"/>
                    </a:lnTo>
                    <a:lnTo>
                      <a:pt x="125" y="43"/>
                    </a:lnTo>
                    <a:lnTo>
                      <a:pt x="126" y="41"/>
                    </a:lnTo>
                    <a:lnTo>
                      <a:pt x="127" y="38"/>
                    </a:lnTo>
                    <a:lnTo>
                      <a:pt x="127" y="37"/>
                    </a:lnTo>
                    <a:lnTo>
                      <a:pt x="129" y="36"/>
                    </a:lnTo>
                    <a:lnTo>
                      <a:pt x="127" y="33"/>
                    </a:lnTo>
                    <a:lnTo>
                      <a:pt x="125" y="31"/>
                    </a:lnTo>
                    <a:lnTo>
                      <a:pt x="123" y="28"/>
                    </a:lnTo>
                    <a:lnTo>
                      <a:pt x="120" y="28"/>
                    </a:lnTo>
                    <a:lnTo>
                      <a:pt x="115" y="25"/>
                    </a:lnTo>
                    <a:lnTo>
                      <a:pt x="115" y="25"/>
                    </a:lnTo>
                    <a:lnTo>
                      <a:pt x="113" y="25"/>
                    </a:lnTo>
                    <a:lnTo>
                      <a:pt x="112" y="25"/>
                    </a:lnTo>
                    <a:lnTo>
                      <a:pt x="112" y="27"/>
                    </a:lnTo>
                    <a:lnTo>
                      <a:pt x="110" y="27"/>
                    </a:lnTo>
                    <a:lnTo>
                      <a:pt x="110" y="27"/>
                    </a:lnTo>
                    <a:lnTo>
                      <a:pt x="107" y="25"/>
                    </a:lnTo>
                    <a:lnTo>
                      <a:pt x="103" y="23"/>
                    </a:lnTo>
                    <a:lnTo>
                      <a:pt x="99" y="21"/>
                    </a:lnTo>
                    <a:lnTo>
                      <a:pt x="96" y="25"/>
                    </a:lnTo>
                    <a:lnTo>
                      <a:pt x="96" y="25"/>
                    </a:lnTo>
                    <a:lnTo>
                      <a:pt x="96" y="27"/>
                    </a:lnTo>
                    <a:lnTo>
                      <a:pt x="96" y="28"/>
                    </a:lnTo>
                    <a:lnTo>
                      <a:pt x="96" y="28"/>
                    </a:lnTo>
                    <a:lnTo>
                      <a:pt x="96" y="30"/>
                    </a:lnTo>
                    <a:lnTo>
                      <a:pt x="93" y="34"/>
                    </a:lnTo>
                    <a:lnTo>
                      <a:pt x="92" y="36"/>
                    </a:lnTo>
                    <a:lnTo>
                      <a:pt x="92" y="37"/>
                    </a:lnTo>
                    <a:lnTo>
                      <a:pt x="92" y="40"/>
                    </a:lnTo>
                    <a:lnTo>
                      <a:pt x="92" y="41"/>
                    </a:lnTo>
                    <a:lnTo>
                      <a:pt x="100" y="67"/>
                    </a:lnTo>
                    <a:lnTo>
                      <a:pt x="96" y="64"/>
                    </a:lnTo>
                    <a:lnTo>
                      <a:pt x="92" y="59"/>
                    </a:lnTo>
                    <a:lnTo>
                      <a:pt x="82" y="43"/>
                    </a:lnTo>
                    <a:lnTo>
                      <a:pt x="77" y="37"/>
                    </a:lnTo>
                    <a:lnTo>
                      <a:pt x="71" y="33"/>
                    </a:lnTo>
                    <a:lnTo>
                      <a:pt x="66" y="36"/>
                    </a:lnTo>
                    <a:lnTo>
                      <a:pt x="64" y="38"/>
                    </a:lnTo>
                    <a:lnTo>
                      <a:pt x="61" y="40"/>
                    </a:lnTo>
                    <a:lnTo>
                      <a:pt x="60" y="43"/>
                    </a:lnTo>
                    <a:lnTo>
                      <a:pt x="60" y="46"/>
                    </a:lnTo>
                    <a:lnTo>
                      <a:pt x="60" y="48"/>
                    </a:lnTo>
                    <a:lnTo>
                      <a:pt x="60" y="51"/>
                    </a:lnTo>
                    <a:lnTo>
                      <a:pt x="59" y="50"/>
                    </a:lnTo>
                    <a:lnTo>
                      <a:pt x="54" y="47"/>
                    </a:lnTo>
                    <a:lnTo>
                      <a:pt x="51" y="46"/>
                    </a:lnTo>
                    <a:lnTo>
                      <a:pt x="50" y="46"/>
                    </a:lnTo>
                    <a:lnTo>
                      <a:pt x="50" y="44"/>
                    </a:lnTo>
                    <a:lnTo>
                      <a:pt x="48" y="43"/>
                    </a:lnTo>
                    <a:lnTo>
                      <a:pt x="48" y="41"/>
                    </a:lnTo>
                    <a:lnTo>
                      <a:pt x="46" y="40"/>
                    </a:lnTo>
                    <a:lnTo>
                      <a:pt x="41" y="40"/>
                    </a:lnTo>
                    <a:lnTo>
                      <a:pt x="34" y="41"/>
                    </a:lnTo>
                    <a:lnTo>
                      <a:pt x="38" y="40"/>
                    </a:lnTo>
                    <a:lnTo>
                      <a:pt x="43" y="38"/>
                    </a:lnTo>
                    <a:lnTo>
                      <a:pt x="46" y="37"/>
                    </a:lnTo>
                    <a:lnTo>
                      <a:pt x="51" y="37"/>
                    </a:lnTo>
                    <a:lnTo>
                      <a:pt x="54" y="36"/>
                    </a:lnTo>
                    <a:lnTo>
                      <a:pt x="57" y="34"/>
                    </a:lnTo>
                    <a:lnTo>
                      <a:pt x="59" y="33"/>
                    </a:lnTo>
                    <a:lnTo>
                      <a:pt x="54" y="30"/>
                    </a:lnTo>
                    <a:lnTo>
                      <a:pt x="51" y="30"/>
                    </a:lnTo>
                    <a:lnTo>
                      <a:pt x="47" y="31"/>
                    </a:lnTo>
                    <a:lnTo>
                      <a:pt x="38" y="33"/>
                    </a:lnTo>
                    <a:lnTo>
                      <a:pt x="31" y="33"/>
                    </a:lnTo>
                    <a:lnTo>
                      <a:pt x="28" y="33"/>
                    </a:lnTo>
                    <a:lnTo>
                      <a:pt x="30" y="36"/>
                    </a:lnTo>
                    <a:lnTo>
                      <a:pt x="25" y="36"/>
                    </a:lnTo>
                    <a:lnTo>
                      <a:pt x="20" y="33"/>
                    </a:lnTo>
                    <a:lnTo>
                      <a:pt x="15" y="33"/>
                    </a:lnTo>
                    <a:lnTo>
                      <a:pt x="14" y="33"/>
                    </a:lnTo>
                    <a:lnTo>
                      <a:pt x="13" y="33"/>
                    </a:lnTo>
                    <a:lnTo>
                      <a:pt x="13" y="33"/>
                    </a:lnTo>
                    <a:lnTo>
                      <a:pt x="11" y="34"/>
                    </a:lnTo>
                    <a:lnTo>
                      <a:pt x="11" y="36"/>
                    </a:lnTo>
                    <a:lnTo>
                      <a:pt x="10" y="36"/>
                    </a:lnTo>
                    <a:lnTo>
                      <a:pt x="10" y="36"/>
                    </a:lnTo>
                    <a:lnTo>
                      <a:pt x="7" y="34"/>
                    </a:lnTo>
                    <a:lnTo>
                      <a:pt x="7" y="33"/>
                    </a:lnTo>
                    <a:lnTo>
                      <a:pt x="3" y="33"/>
                    </a:lnTo>
                    <a:lnTo>
                      <a:pt x="3" y="34"/>
                    </a:lnTo>
                    <a:lnTo>
                      <a:pt x="4" y="40"/>
                    </a:lnTo>
                    <a:lnTo>
                      <a:pt x="3" y="41"/>
                    </a:lnTo>
                    <a:close/>
                    <a:moveTo>
                      <a:pt x="241" y="117"/>
                    </a:moveTo>
                    <a:lnTo>
                      <a:pt x="251" y="115"/>
                    </a:lnTo>
                    <a:lnTo>
                      <a:pt x="244" y="110"/>
                    </a:lnTo>
                    <a:lnTo>
                      <a:pt x="241" y="109"/>
                    </a:lnTo>
                    <a:lnTo>
                      <a:pt x="238" y="109"/>
                    </a:lnTo>
                    <a:lnTo>
                      <a:pt x="234" y="110"/>
                    </a:lnTo>
                    <a:lnTo>
                      <a:pt x="231" y="110"/>
                    </a:lnTo>
                    <a:lnTo>
                      <a:pt x="225" y="107"/>
                    </a:lnTo>
                    <a:lnTo>
                      <a:pt x="222" y="106"/>
                    </a:lnTo>
                    <a:lnTo>
                      <a:pt x="221" y="105"/>
                    </a:lnTo>
                    <a:lnTo>
                      <a:pt x="219" y="103"/>
                    </a:lnTo>
                    <a:lnTo>
                      <a:pt x="221" y="102"/>
                    </a:lnTo>
                    <a:lnTo>
                      <a:pt x="227" y="99"/>
                    </a:lnTo>
                    <a:lnTo>
                      <a:pt x="222" y="96"/>
                    </a:lnTo>
                    <a:lnTo>
                      <a:pt x="219" y="96"/>
                    </a:lnTo>
                    <a:lnTo>
                      <a:pt x="216" y="94"/>
                    </a:lnTo>
                    <a:lnTo>
                      <a:pt x="212" y="96"/>
                    </a:lnTo>
                    <a:lnTo>
                      <a:pt x="208" y="96"/>
                    </a:lnTo>
                    <a:lnTo>
                      <a:pt x="206" y="96"/>
                    </a:lnTo>
                    <a:lnTo>
                      <a:pt x="205" y="94"/>
                    </a:lnTo>
                    <a:lnTo>
                      <a:pt x="205" y="93"/>
                    </a:lnTo>
                    <a:lnTo>
                      <a:pt x="204" y="87"/>
                    </a:lnTo>
                    <a:lnTo>
                      <a:pt x="202" y="84"/>
                    </a:lnTo>
                    <a:lnTo>
                      <a:pt x="199" y="83"/>
                    </a:lnTo>
                    <a:lnTo>
                      <a:pt x="195" y="83"/>
                    </a:lnTo>
                    <a:lnTo>
                      <a:pt x="191" y="83"/>
                    </a:lnTo>
                    <a:lnTo>
                      <a:pt x="173" y="84"/>
                    </a:lnTo>
                    <a:lnTo>
                      <a:pt x="169" y="87"/>
                    </a:lnTo>
                    <a:lnTo>
                      <a:pt x="171" y="89"/>
                    </a:lnTo>
                    <a:lnTo>
                      <a:pt x="172" y="89"/>
                    </a:lnTo>
                    <a:lnTo>
                      <a:pt x="173" y="89"/>
                    </a:lnTo>
                    <a:lnTo>
                      <a:pt x="175" y="89"/>
                    </a:lnTo>
                    <a:lnTo>
                      <a:pt x="175" y="92"/>
                    </a:lnTo>
                    <a:lnTo>
                      <a:pt x="175" y="93"/>
                    </a:lnTo>
                    <a:lnTo>
                      <a:pt x="176" y="93"/>
                    </a:lnTo>
                    <a:lnTo>
                      <a:pt x="179" y="94"/>
                    </a:lnTo>
                    <a:lnTo>
                      <a:pt x="179" y="96"/>
                    </a:lnTo>
                    <a:lnTo>
                      <a:pt x="181" y="99"/>
                    </a:lnTo>
                    <a:lnTo>
                      <a:pt x="182" y="100"/>
                    </a:lnTo>
                    <a:lnTo>
                      <a:pt x="185" y="103"/>
                    </a:lnTo>
                    <a:lnTo>
                      <a:pt x="188" y="105"/>
                    </a:lnTo>
                    <a:lnTo>
                      <a:pt x="195" y="107"/>
                    </a:lnTo>
                    <a:lnTo>
                      <a:pt x="192" y="109"/>
                    </a:lnTo>
                    <a:lnTo>
                      <a:pt x="191" y="110"/>
                    </a:lnTo>
                    <a:lnTo>
                      <a:pt x="186" y="117"/>
                    </a:lnTo>
                    <a:lnTo>
                      <a:pt x="185" y="119"/>
                    </a:lnTo>
                    <a:lnTo>
                      <a:pt x="183" y="120"/>
                    </a:lnTo>
                    <a:lnTo>
                      <a:pt x="181" y="122"/>
                    </a:lnTo>
                    <a:lnTo>
                      <a:pt x="183" y="125"/>
                    </a:lnTo>
                    <a:lnTo>
                      <a:pt x="188" y="125"/>
                    </a:lnTo>
                    <a:lnTo>
                      <a:pt x="209" y="122"/>
                    </a:lnTo>
                    <a:lnTo>
                      <a:pt x="214" y="122"/>
                    </a:lnTo>
                    <a:lnTo>
                      <a:pt x="212" y="123"/>
                    </a:lnTo>
                    <a:lnTo>
                      <a:pt x="209" y="123"/>
                    </a:lnTo>
                    <a:lnTo>
                      <a:pt x="208" y="125"/>
                    </a:lnTo>
                    <a:lnTo>
                      <a:pt x="208" y="126"/>
                    </a:lnTo>
                    <a:lnTo>
                      <a:pt x="208" y="126"/>
                    </a:lnTo>
                    <a:lnTo>
                      <a:pt x="208" y="128"/>
                    </a:lnTo>
                    <a:lnTo>
                      <a:pt x="208" y="128"/>
                    </a:lnTo>
                    <a:lnTo>
                      <a:pt x="211" y="129"/>
                    </a:lnTo>
                    <a:lnTo>
                      <a:pt x="214" y="129"/>
                    </a:lnTo>
                    <a:lnTo>
                      <a:pt x="219" y="126"/>
                    </a:lnTo>
                    <a:lnTo>
                      <a:pt x="222" y="126"/>
                    </a:lnTo>
                    <a:lnTo>
                      <a:pt x="228" y="125"/>
                    </a:lnTo>
                    <a:lnTo>
                      <a:pt x="231" y="125"/>
                    </a:lnTo>
                    <a:lnTo>
                      <a:pt x="232" y="123"/>
                    </a:lnTo>
                    <a:lnTo>
                      <a:pt x="237" y="120"/>
                    </a:lnTo>
                    <a:lnTo>
                      <a:pt x="238" y="119"/>
                    </a:lnTo>
                    <a:lnTo>
                      <a:pt x="241" y="11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97" name="Freeform 103">
                <a:extLst>
                  <a:ext uri="{FF2B5EF4-FFF2-40B4-BE49-F238E27FC236}">
                    <a16:creationId xmlns:a16="http://schemas.microsoft.com/office/drawing/2014/main" id="{5BB0D981-D638-EAD0-7817-5BD0DA160ACE}"/>
                  </a:ext>
                </a:extLst>
              </p:cNvPr>
              <p:cNvSpPr>
                <a:spLocks noEditPoints="1"/>
              </p:cNvSpPr>
              <p:nvPr/>
            </p:nvSpPr>
            <p:spPr bwMode="auto">
              <a:xfrm>
                <a:off x="2997" y="1976"/>
                <a:ext cx="110" cy="53"/>
              </a:xfrm>
              <a:custGeom>
                <a:avLst/>
                <a:gdLst>
                  <a:gd name="T0" fmla="*/ 3 w 110"/>
                  <a:gd name="T1" fmla="*/ 1 h 53"/>
                  <a:gd name="T2" fmla="*/ 3 w 110"/>
                  <a:gd name="T3" fmla="*/ 3 h 53"/>
                  <a:gd name="T4" fmla="*/ 0 w 110"/>
                  <a:gd name="T5" fmla="*/ 3 h 53"/>
                  <a:gd name="T6" fmla="*/ 1 w 110"/>
                  <a:gd name="T7" fmla="*/ 0 h 53"/>
                  <a:gd name="T8" fmla="*/ 3 w 110"/>
                  <a:gd name="T9" fmla="*/ 1 h 53"/>
                  <a:gd name="T10" fmla="*/ 43 w 110"/>
                  <a:gd name="T11" fmla="*/ 19 h 53"/>
                  <a:gd name="T12" fmla="*/ 46 w 110"/>
                  <a:gd name="T13" fmla="*/ 21 h 53"/>
                  <a:gd name="T14" fmla="*/ 47 w 110"/>
                  <a:gd name="T15" fmla="*/ 20 h 53"/>
                  <a:gd name="T16" fmla="*/ 46 w 110"/>
                  <a:gd name="T17" fmla="*/ 19 h 53"/>
                  <a:gd name="T18" fmla="*/ 43 w 110"/>
                  <a:gd name="T19" fmla="*/ 19 h 53"/>
                  <a:gd name="T20" fmla="*/ 109 w 110"/>
                  <a:gd name="T21" fmla="*/ 53 h 53"/>
                  <a:gd name="T22" fmla="*/ 109 w 110"/>
                  <a:gd name="T23" fmla="*/ 53 h 53"/>
                  <a:gd name="T24" fmla="*/ 110 w 110"/>
                  <a:gd name="T25" fmla="*/ 53 h 53"/>
                  <a:gd name="T26" fmla="*/ 110 w 110"/>
                  <a:gd name="T27" fmla="*/ 52 h 53"/>
                  <a:gd name="T28" fmla="*/ 109 w 110"/>
                  <a:gd name="T29" fmla="*/ 52 h 53"/>
                  <a:gd name="T30" fmla="*/ 109 w 110"/>
                  <a:gd name="T31" fmla="*/ 52 h 53"/>
                  <a:gd name="T32" fmla="*/ 108 w 110"/>
                  <a:gd name="T33" fmla="*/ 52 h 53"/>
                  <a:gd name="T34" fmla="*/ 108 w 110"/>
                  <a:gd name="T35" fmla="*/ 53 h 53"/>
                  <a:gd name="T36" fmla="*/ 109 w 110"/>
                  <a:gd name="T37" fmla="*/ 53 h 53"/>
                  <a:gd name="T38" fmla="*/ 108 w 110"/>
                  <a:gd name="T39" fmla="*/ 34 h 53"/>
                  <a:gd name="T40" fmla="*/ 106 w 110"/>
                  <a:gd name="T41" fmla="*/ 34 h 53"/>
                  <a:gd name="T42" fmla="*/ 96 w 110"/>
                  <a:gd name="T43" fmla="*/ 34 h 53"/>
                  <a:gd name="T44" fmla="*/ 99 w 110"/>
                  <a:gd name="T45" fmla="*/ 36 h 53"/>
                  <a:gd name="T46" fmla="*/ 103 w 110"/>
                  <a:gd name="T47" fmla="*/ 37 h 53"/>
                  <a:gd name="T48" fmla="*/ 106 w 110"/>
                  <a:gd name="T49" fmla="*/ 36 h 53"/>
                  <a:gd name="T50" fmla="*/ 108 w 110"/>
                  <a:gd name="T51" fmla="*/ 34 h 53"/>
                  <a:gd name="T52" fmla="*/ 50 w 110"/>
                  <a:gd name="T53" fmla="*/ 20 h 53"/>
                  <a:gd name="T54" fmla="*/ 49 w 110"/>
                  <a:gd name="T55" fmla="*/ 21 h 53"/>
                  <a:gd name="T56" fmla="*/ 50 w 110"/>
                  <a:gd name="T57" fmla="*/ 23 h 53"/>
                  <a:gd name="T58" fmla="*/ 52 w 110"/>
                  <a:gd name="T59" fmla="*/ 23 h 53"/>
                  <a:gd name="T60" fmla="*/ 54 w 110"/>
                  <a:gd name="T61" fmla="*/ 23 h 53"/>
                  <a:gd name="T62" fmla="*/ 57 w 110"/>
                  <a:gd name="T63" fmla="*/ 23 h 53"/>
                  <a:gd name="T64" fmla="*/ 53 w 110"/>
                  <a:gd name="T65" fmla="*/ 20 h 53"/>
                  <a:gd name="T66" fmla="*/ 50 w 110"/>
                  <a:gd name="T67" fmla="*/ 20 h 53"/>
                  <a:gd name="T68" fmla="*/ 53 w 110"/>
                  <a:gd name="T69" fmla="*/ 16 h 53"/>
                  <a:gd name="T70" fmla="*/ 54 w 110"/>
                  <a:gd name="T71" fmla="*/ 17 h 53"/>
                  <a:gd name="T72" fmla="*/ 57 w 110"/>
                  <a:gd name="T73" fmla="*/ 19 h 53"/>
                  <a:gd name="T74" fmla="*/ 62 w 110"/>
                  <a:gd name="T75" fmla="*/ 20 h 53"/>
                  <a:gd name="T76" fmla="*/ 62 w 110"/>
                  <a:gd name="T77" fmla="*/ 20 h 53"/>
                  <a:gd name="T78" fmla="*/ 62 w 110"/>
                  <a:gd name="T79" fmla="*/ 19 h 53"/>
                  <a:gd name="T80" fmla="*/ 53 w 110"/>
                  <a:gd name="T81" fmla="*/ 16 h 53"/>
                  <a:gd name="T82" fmla="*/ 73 w 110"/>
                  <a:gd name="T83" fmla="*/ 16 h 53"/>
                  <a:gd name="T84" fmla="*/ 70 w 110"/>
                  <a:gd name="T85" fmla="*/ 16 h 53"/>
                  <a:gd name="T86" fmla="*/ 69 w 110"/>
                  <a:gd name="T87" fmla="*/ 16 h 53"/>
                  <a:gd name="T88" fmla="*/ 70 w 110"/>
                  <a:gd name="T89" fmla="*/ 17 h 53"/>
                  <a:gd name="T90" fmla="*/ 72 w 110"/>
                  <a:gd name="T91" fmla="*/ 19 h 53"/>
                  <a:gd name="T92" fmla="*/ 73 w 110"/>
                  <a:gd name="T93" fmla="*/ 19 h 53"/>
                  <a:gd name="T94" fmla="*/ 75 w 110"/>
                  <a:gd name="T95" fmla="*/ 17 h 53"/>
                  <a:gd name="T96" fmla="*/ 75 w 110"/>
                  <a:gd name="T97" fmla="*/ 16 h 53"/>
                  <a:gd name="T98" fmla="*/ 73 w 110"/>
                  <a:gd name="T99" fmla="*/ 1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0" h="53">
                    <a:moveTo>
                      <a:pt x="3" y="1"/>
                    </a:moveTo>
                    <a:lnTo>
                      <a:pt x="3" y="3"/>
                    </a:lnTo>
                    <a:lnTo>
                      <a:pt x="0" y="3"/>
                    </a:lnTo>
                    <a:lnTo>
                      <a:pt x="1" y="0"/>
                    </a:lnTo>
                    <a:lnTo>
                      <a:pt x="3" y="1"/>
                    </a:lnTo>
                    <a:close/>
                    <a:moveTo>
                      <a:pt x="43" y="19"/>
                    </a:moveTo>
                    <a:lnTo>
                      <a:pt x="46" y="21"/>
                    </a:lnTo>
                    <a:lnTo>
                      <a:pt x="47" y="20"/>
                    </a:lnTo>
                    <a:lnTo>
                      <a:pt x="46" y="19"/>
                    </a:lnTo>
                    <a:lnTo>
                      <a:pt x="43" y="19"/>
                    </a:lnTo>
                    <a:close/>
                    <a:moveTo>
                      <a:pt x="109" y="53"/>
                    </a:moveTo>
                    <a:lnTo>
                      <a:pt x="109" y="53"/>
                    </a:lnTo>
                    <a:lnTo>
                      <a:pt x="110" y="53"/>
                    </a:lnTo>
                    <a:lnTo>
                      <a:pt x="110" y="52"/>
                    </a:lnTo>
                    <a:lnTo>
                      <a:pt x="109" y="52"/>
                    </a:lnTo>
                    <a:lnTo>
                      <a:pt x="109" y="52"/>
                    </a:lnTo>
                    <a:lnTo>
                      <a:pt x="108" y="52"/>
                    </a:lnTo>
                    <a:lnTo>
                      <a:pt x="108" y="53"/>
                    </a:lnTo>
                    <a:lnTo>
                      <a:pt x="109" y="53"/>
                    </a:lnTo>
                    <a:close/>
                    <a:moveTo>
                      <a:pt x="108" y="34"/>
                    </a:moveTo>
                    <a:lnTo>
                      <a:pt x="106" y="34"/>
                    </a:lnTo>
                    <a:lnTo>
                      <a:pt x="96" y="34"/>
                    </a:lnTo>
                    <a:lnTo>
                      <a:pt x="99" y="36"/>
                    </a:lnTo>
                    <a:lnTo>
                      <a:pt x="103" y="37"/>
                    </a:lnTo>
                    <a:lnTo>
                      <a:pt x="106" y="36"/>
                    </a:lnTo>
                    <a:lnTo>
                      <a:pt x="108" y="34"/>
                    </a:lnTo>
                    <a:close/>
                    <a:moveTo>
                      <a:pt x="50" y="20"/>
                    </a:moveTo>
                    <a:lnTo>
                      <a:pt x="49" y="21"/>
                    </a:lnTo>
                    <a:lnTo>
                      <a:pt x="50" y="23"/>
                    </a:lnTo>
                    <a:lnTo>
                      <a:pt x="52" y="23"/>
                    </a:lnTo>
                    <a:lnTo>
                      <a:pt x="54" y="23"/>
                    </a:lnTo>
                    <a:lnTo>
                      <a:pt x="57" y="23"/>
                    </a:lnTo>
                    <a:lnTo>
                      <a:pt x="53" y="20"/>
                    </a:lnTo>
                    <a:lnTo>
                      <a:pt x="50" y="20"/>
                    </a:lnTo>
                    <a:close/>
                    <a:moveTo>
                      <a:pt x="53" y="16"/>
                    </a:moveTo>
                    <a:lnTo>
                      <a:pt x="54" y="17"/>
                    </a:lnTo>
                    <a:lnTo>
                      <a:pt x="57" y="19"/>
                    </a:lnTo>
                    <a:lnTo>
                      <a:pt x="62" y="20"/>
                    </a:lnTo>
                    <a:lnTo>
                      <a:pt x="62" y="20"/>
                    </a:lnTo>
                    <a:lnTo>
                      <a:pt x="62" y="19"/>
                    </a:lnTo>
                    <a:lnTo>
                      <a:pt x="53" y="16"/>
                    </a:lnTo>
                    <a:close/>
                    <a:moveTo>
                      <a:pt x="73" y="16"/>
                    </a:moveTo>
                    <a:lnTo>
                      <a:pt x="70" y="16"/>
                    </a:lnTo>
                    <a:lnTo>
                      <a:pt x="69" y="16"/>
                    </a:lnTo>
                    <a:lnTo>
                      <a:pt x="70" y="17"/>
                    </a:lnTo>
                    <a:lnTo>
                      <a:pt x="72" y="19"/>
                    </a:lnTo>
                    <a:lnTo>
                      <a:pt x="73" y="19"/>
                    </a:lnTo>
                    <a:lnTo>
                      <a:pt x="75" y="17"/>
                    </a:lnTo>
                    <a:lnTo>
                      <a:pt x="75" y="16"/>
                    </a:lnTo>
                    <a:lnTo>
                      <a:pt x="73" y="1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98" name="Freeform 104">
                <a:extLst>
                  <a:ext uri="{FF2B5EF4-FFF2-40B4-BE49-F238E27FC236}">
                    <a16:creationId xmlns:a16="http://schemas.microsoft.com/office/drawing/2014/main" id="{39026B1B-943E-5A06-AB4F-857DAEF4287E}"/>
                  </a:ext>
                </a:extLst>
              </p:cNvPr>
              <p:cNvSpPr>
                <a:spLocks/>
              </p:cNvSpPr>
              <p:nvPr/>
            </p:nvSpPr>
            <p:spPr bwMode="auto">
              <a:xfrm>
                <a:off x="4015" y="1773"/>
                <a:ext cx="62" cy="71"/>
              </a:xfrm>
              <a:custGeom>
                <a:avLst/>
                <a:gdLst>
                  <a:gd name="T0" fmla="*/ 12 w 62"/>
                  <a:gd name="T1" fmla="*/ 19 h 71"/>
                  <a:gd name="T2" fmla="*/ 25 w 62"/>
                  <a:gd name="T3" fmla="*/ 33 h 71"/>
                  <a:gd name="T4" fmla="*/ 29 w 62"/>
                  <a:gd name="T5" fmla="*/ 42 h 71"/>
                  <a:gd name="T6" fmla="*/ 27 w 62"/>
                  <a:gd name="T7" fmla="*/ 56 h 71"/>
                  <a:gd name="T8" fmla="*/ 27 w 62"/>
                  <a:gd name="T9" fmla="*/ 62 h 71"/>
                  <a:gd name="T10" fmla="*/ 27 w 62"/>
                  <a:gd name="T11" fmla="*/ 66 h 71"/>
                  <a:gd name="T12" fmla="*/ 27 w 62"/>
                  <a:gd name="T13" fmla="*/ 69 h 71"/>
                  <a:gd name="T14" fmla="*/ 30 w 62"/>
                  <a:gd name="T15" fmla="*/ 71 h 71"/>
                  <a:gd name="T16" fmla="*/ 33 w 62"/>
                  <a:gd name="T17" fmla="*/ 69 h 71"/>
                  <a:gd name="T18" fmla="*/ 33 w 62"/>
                  <a:gd name="T19" fmla="*/ 68 h 71"/>
                  <a:gd name="T20" fmla="*/ 35 w 62"/>
                  <a:gd name="T21" fmla="*/ 68 h 71"/>
                  <a:gd name="T22" fmla="*/ 35 w 62"/>
                  <a:gd name="T23" fmla="*/ 65 h 71"/>
                  <a:gd name="T24" fmla="*/ 36 w 62"/>
                  <a:gd name="T25" fmla="*/ 64 h 71"/>
                  <a:gd name="T26" fmla="*/ 39 w 62"/>
                  <a:gd name="T27" fmla="*/ 59 h 71"/>
                  <a:gd name="T28" fmla="*/ 42 w 62"/>
                  <a:gd name="T29" fmla="*/ 58 h 71"/>
                  <a:gd name="T30" fmla="*/ 42 w 62"/>
                  <a:gd name="T31" fmla="*/ 55 h 71"/>
                  <a:gd name="T32" fmla="*/ 42 w 62"/>
                  <a:gd name="T33" fmla="*/ 51 h 71"/>
                  <a:gd name="T34" fmla="*/ 42 w 62"/>
                  <a:gd name="T35" fmla="*/ 48 h 71"/>
                  <a:gd name="T36" fmla="*/ 46 w 62"/>
                  <a:gd name="T37" fmla="*/ 46 h 71"/>
                  <a:gd name="T38" fmla="*/ 48 w 62"/>
                  <a:gd name="T39" fmla="*/ 49 h 71"/>
                  <a:gd name="T40" fmla="*/ 48 w 62"/>
                  <a:gd name="T41" fmla="*/ 48 h 71"/>
                  <a:gd name="T42" fmla="*/ 55 w 62"/>
                  <a:gd name="T43" fmla="*/ 48 h 71"/>
                  <a:gd name="T44" fmla="*/ 58 w 62"/>
                  <a:gd name="T45" fmla="*/ 51 h 71"/>
                  <a:gd name="T46" fmla="*/ 62 w 62"/>
                  <a:gd name="T47" fmla="*/ 49 h 71"/>
                  <a:gd name="T48" fmla="*/ 59 w 62"/>
                  <a:gd name="T49" fmla="*/ 45 h 71"/>
                  <a:gd name="T50" fmla="*/ 59 w 62"/>
                  <a:gd name="T51" fmla="*/ 41 h 71"/>
                  <a:gd name="T52" fmla="*/ 55 w 62"/>
                  <a:gd name="T53" fmla="*/ 38 h 71"/>
                  <a:gd name="T54" fmla="*/ 52 w 62"/>
                  <a:gd name="T55" fmla="*/ 35 h 71"/>
                  <a:gd name="T56" fmla="*/ 52 w 62"/>
                  <a:gd name="T57" fmla="*/ 32 h 71"/>
                  <a:gd name="T58" fmla="*/ 52 w 62"/>
                  <a:gd name="T59" fmla="*/ 29 h 71"/>
                  <a:gd name="T60" fmla="*/ 49 w 62"/>
                  <a:gd name="T61" fmla="*/ 28 h 71"/>
                  <a:gd name="T62" fmla="*/ 46 w 62"/>
                  <a:gd name="T63" fmla="*/ 25 h 71"/>
                  <a:gd name="T64" fmla="*/ 45 w 62"/>
                  <a:gd name="T65" fmla="*/ 22 h 71"/>
                  <a:gd name="T66" fmla="*/ 46 w 62"/>
                  <a:gd name="T67" fmla="*/ 18 h 71"/>
                  <a:gd name="T68" fmla="*/ 45 w 62"/>
                  <a:gd name="T69" fmla="*/ 13 h 71"/>
                  <a:gd name="T70" fmla="*/ 42 w 62"/>
                  <a:gd name="T71" fmla="*/ 12 h 71"/>
                  <a:gd name="T72" fmla="*/ 37 w 62"/>
                  <a:gd name="T73" fmla="*/ 9 h 71"/>
                  <a:gd name="T74" fmla="*/ 33 w 62"/>
                  <a:gd name="T75" fmla="*/ 9 h 71"/>
                  <a:gd name="T76" fmla="*/ 32 w 62"/>
                  <a:gd name="T77" fmla="*/ 9 h 71"/>
                  <a:gd name="T78" fmla="*/ 29 w 62"/>
                  <a:gd name="T79" fmla="*/ 6 h 71"/>
                  <a:gd name="T80" fmla="*/ 20 w 62"/>
                  <a:gd name="T81" fmla="*/ 2 h 71"/>
                  <a:gd name="T82" fmla="*/ 16 w 62"/>
                  <a:gd name="T83" fmla="*/ 0 h 71"/>
                  <a:gd name="T84" fmla="*/ 10 w 62"/>
                  <a:gd name="T85" fmla="*/ 2 h 71"/>
                  <a:gd name="T86" fmla="*/ 3 w 62"/>
                  <a:gd name="T87" fmla="*/ 3 h 71"/>
                  <a:gd name="T88" fmla="*/ 4 w 62"/>
                  <a:gd name="T89" fmla="*/ 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 h="71">
                    <a:moveTo>
                      <a:pt x="9" y="9"/>
                    </a:moveTo>
                    <a:lnTo>
                      <a:pt x="12" y="19"/>
                    </a:lnTo>
                    <a:lnTo>
                      <a:pt x="14" y="22"/>
                    </a:lnTo>
                    <a:lnTo>
                      <a:pt x="25" y="33"/>
                    </a:lnTo>
                    <a:lnTo>
                      <a:pt x="26" y="38"/>
                    </a:lnTo>
                    <a:lnTo>
                      <a:pt x="29" y="42"/>
                    </a:lnTo>
                    <a:lnTo>
                      <a:pt x="29" y="46"/>
                    </a:lnTo>
                    <a:lnTo>
                      <a:pt x="27" y="56"/>
                    </a:lnTo>
                    <a:lnTo>
                      <a:pt x="27" y="59"/>
                    </a:lnTo>
                    <a:lnTo>
                      <a:pt x="27" y="62"/>
                    </a:lnTo>
                    <a:lnTo>
                      <a:pt x="27" y="65"/>
                    </a:lnTo>
                    <a:lnTo>
                      <a:pt x="27" y="66"/>
                    </a:lnTo>
                    <a:lnTo>
                      <a:pt x="26" y="68"/>
                    </a:lnTo>
                    <a:lnTo>
                      <a:pt x="27" y="69"/>
                    </a:lnTo>
                    <a:lnTo>
                      <a:pt x="29" y="71"/>
                    </a:lnTo>
                    <a:lnTo>
                      <a:pt x="30" y="71"/>
                    </a:lnTo>
                    <a:lnTo>
                      <a:pt x="32" y="71"/>
                    </a:lnTo>
                    <a:lnTo>
                      <a:pt x="33" y="69"/>
                    </a:lnTo>
                    <a:lnTo>
                      <a:pt x="33" y="69"/>
                    </a:lnTo>
                    <a:lnTo>
                      <a:pt x="33" y="68"/>
                    </a:lnTo>
                    <a:lnTo>
                      <a:pt x="33" y="68"/>
                    </a:lnTo>
                    <a:lnTo>
                      <a:pt x="35" y="68"/>
                    </a:lnTo>
                    <a:lnTo>
                      <a:pt x="35" y="66"/>
                    </a:lnTo>
                    <a:lnTo>
                      <a:pt x="35" y="65"/>
                    </a:lnTo>
                    <a:lnTo>
                      <a:pt x="35" y="65"/>
                    </a:lnTo>
                    <a:lnTo>
                      <a:pt x="36" y="64"/>
                    </a:lnTo>
                    <a:lnTo>
                      <a:pt x="36" y="64"/>
                    </a:lnTo>
                    <a:lnTo>
                      <a:pt x="39" y="59"/>
                    </a:lnTo>
                    <a:lnTo>
                      <a:pt x="40" y="58"/>
                    </a:lnTo>
                    <a:lnTo>
                      <a:pt x="42" y="58"/>
                    </a:lnTo>
                    <a:lnTo>
                      <a:pt x="42" y="56"/>
                    </a:lnTo>
                    <a:lnTo>
                      <a:pt x="42" y="55"/>
                    </a:lnTo>
                    <a:lnTo>
                      <a:pt x="42" y="53"/>
                    </a:lnTo>
                    <a:lnTo>
                      <a:pt x="42" y="51"/>
                    </a:lnTo>
                    <a:lnTo>
                      <a:pt x="42" y="49"/>
                    </a:lnTo>
                    <a:lnTo>
                      <a:pt x="42" y="48"/>
                    </a:lnTo>
                    <a:lnTo>
                      <a:pt x="45" y="46"/>
                    </a:lnTo>
                    <a:lnTo>
                      <a:pt x="46" y="46"/>
                    </a:lnTo>
                    <a:lnTo>
                      <a:pt x="46" y="49"/>
                    </a:lnTo>
                    <a:lnTo>
                      <a:pt x="48" y="49"/>
                    </a:lnTo>
                    <a:lnTo>
                      <a:pt x="48" y="48"/>
                    </a:lnTo>
                    <a:lnTo>
                      <a:pt x="48" y="48"/>
                    </a:lnTo>
                    <a:lnTo>
                      <a:pt x="50" y="48"/>
                    </a:lnTo>
                    <a:lnTo>
                      <a:pt x="55" y="48"/>
                    </a:lnTo>
                    <a:lnTo>
                      <a:pt x="55" y="48"/>
                    </a:lnTo>
                    <a:lnTo>
                      <a:pt x="58" y="51"/>
                    </a:lnTo>
                    <a:lnTo>
                      <a:pt x="60" y="51"/>
                    </a:lnTo>
                    <a:lnTo>
                      <a:pt x="62" y="49"/>
                    </a:lnTo>
                    <a:lnTo>
                      <a:pt x="60" y="46"/>
                    </a:lnTo>
                    <a:lnTo>
                      <a:pt x="59" y="45"/>
                    </a:lnTo>
                    <a:lnTo>
                      <a:pt x="59" y="43"/>
                    </a:lnTo>
                    <a:lnTo>
                      <a:pt x="59" y="41"/>
                    </a:lnTo>
                    <a:lnTo>
                      <a:pt x="58" y="39"/>
                    </a:lnTo>
                    <a:lnTo>
                      <a:pt x="55" y="38"/>
                    </a:lnTo>
                    <a:lnTo>
                      <a:pt x="52" y="36"/>
                    </a:lnTo>
                    <a:lnTo>
                      <a:pt x="52" y="35"/>
                    </a:lnTo>
                    <a:lnTo>
                      <a:pt x="52" y="33"/>
                    </a:lnTo>
                    <a:lnTo>
                      <a:pt x="52" y="32"/>
                    </a:lnTo>
                    <a:lnTo>
                      <a:pt x="52" y="30"/>
                    </a:lnTo>
                    <a:lnTo>
                      <a:pt x="52" y="29"/>
                    </a:lnTo>
                    <a:lnTo>
                      <a:pt x="50" y="28"/>
                    </a:lnTo>
                    <a:lnTo>
                      <a:pt x="49" y="28"/>
                    </a:lnTo>
                    <a:lnTo>
                      <a:pt x="46" y="25"/>
                    </a:lnTo>
                    <a:lnTo>
                      <a:pt x="46" y="25"/>
                    </a:lnTo>
                    <a:lnTo>
                      <a:pt x="45" y="23"/>
                    </a:lnTo>
                    <a:lnTo>
                      <a:pt x="45" y="22"/>
                    </a:lnTo>
                    <a:lnTo>
                      <a:pt x="46" y="19"/>
                    </a:lnTo>
                    <a:lnTo>
                      <a:pt x="46" y="18"/>
                    </a:lnTo>
                    <a:lnTo>
                      <a:pt x="46" y="15"/>
                    </a:lnTo>
                    <a:lnTo>
                      <a:pt x="45" y="13"/>
                    </a:lnTo>
                    <a:lnTo>
                      <a:pt x="43" y="12"/>
                    </a:lnTo>
                    <a:lnTo>
                      <a:pt x="42" y="12"/>
                    </a:lnTo>
                    <a:lnTo>
                      <a:pt x="40" y="12"/>
                    </a:lnTo>
                    <a:lnTo>
                      <a:pt x="37" y="9"/>
                    </a:lnTo>
                    <a:lnTo>
                      <a:pt x="35" y="7"/>
                    </a:lnTo>
                    <a:lnTo>
                      <a:pt x="33" y="9"/>
                    </a:lnTo>
                    <a:lnTo>
                      <a:pt x="32" y="9"/>
                    </a:lnTo>
                    <a:lnTo>
                      <a:pt x="32" y="9"/>
                    </a:lnTo>
                    <a:lnTo>
                      <a:pt x="30" y="7"/>
                    </a:lnTo>
                    <a:lnTo>
                      <a:pt x="29" y="6"/>
                    </a:lnTo>
                    <a:lnTo>
                      <a:pt x="26" y="3"/>
                    </a:lnTo>
                    <a:lnTo>
                      <a:pt x="20" y="2"/>
                    </a:lnTo>
                    <a:lnTo>
                      <a:pt x="17" y="0"/>
                    </a:lnTo>
                    <a:lnTo>
                      <a:pt x="16" y="0"/>
                    </a:lnTo>
                    <a:lnTo>
                      <a:pt x="13" y="2"/>
                    </a:lnTo>
                    <a:lnTo>
                      <a:pt x="10" y="2"/>
                    </a:lnTo>
                    <a:lnTo>
                      <a:pt x="4" y="3"/>
                    </a:lnTo>
                    <a:lnTo>
                      <a:pt x="3" y="3"/>
                    </a:lnTo>
                    <a:lnTo>
                      <a:pt x="0" y="5"/>
                    </a:lnTo>
                    <a:lnTo>
                      <a:pt x="4" y="6"/>
                    </a:lnTo>
                    <a:lnTo>
                      <a:pt x="9" y="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99" name="Freeform 105">
                <a:extLst>
                  <a:ext uri="{FF2B5EF4-FFF2-40B4-BE49-F238E27FC236}">
                    <a16:creationId xmlns:a16="http://schemas.microsoft.com/office/drawing/2014/main" id="{714E09A8-1728-38A4-68F1-C250DBF02FB8}"/>
                  </a:ext>
                </a:extLst>
              </p:cNvPr>
              <p:cNvSpPr>
                <a:spLocks noEditPoints="1"/>
              </p:cNvSpPr>
              <p:nvPr/>
            </p:nvSpPr>
            <p:spPr bwMode="auto">
              <a:xfrm>
                <a:off x="3999" y="1921"/>
                <a:ext cx="59" cy="43"/>
              </a:xfrm>
              <a:custGeom>
                <a:avLst/>
                <a:gdLst>
                  <a:gd name="T0" fmla="*/ 41 w 59"/>
                  <a:gd name="T1" fmla="*/ 2 h 43"/>
                  <a:gd name="T2" fmla="*/ 46 w 59"/>
                  <a:gd name="T3" fmla="*/ 13 h 43"/>
                  <a:gd name="T4" fmla="*/ 59 w 59"/>
                  <a:gd name="T5" fmla="*/ 18 h 43"/>
                  <a:gd name="T6" fmla="*/ 55 w 59"/>
                  <a:gd name="T7" fmla="*/ 23 h 43"/>
                  <a:gd name="T8" fmla="*/ 45 w 59"/>
                  <a:gd name="T9" fmla="*/ 22 h 43"/>
                  <a:gd name="T10" fmla="*/ 41 w 59"/>
                  <a:gd name="T11" fmla="*/ 23 h 43"/>
                  <a:gd name="T12" fmla="*/ 38 w 59"/>
                  <a:gd name="T13" fmla="*/ 23 h 43"/>
                  <a:gd name="T14" fmla="*/ 33 w 59"/>
                  <a:gd name="T15" fmla="*/ 23 h 43"/>
                  <a:gd name="T16" fmla="*/ 30 w 59"/>
                  <a:gd name="T17" fmla="*/ 25 h 43"/>
                  <a:gd name="T18" fmla="*/ 28 w 59"/>
                  <a:gd name="T19" fmla="*/ 30 h 43"/>
                  <a:gd name="T20" fmla="*/ 22 w 59"/>
                  <a:gd name="T21" fmla="*/ 33 h 43"/>
                  <a:gd name="T22" fmla="*/ 18 w 59"/>
                  <a:gd name="T23" fmla="*/ 36 h 43"/>
                  <a:gd name="T24" fmla="*/ 9 w 59"/>
                  <a:gd name="T25" fmla="*/ 43 h 43"/>
                  <a:gd name="T26" fmla="*/ 10 w 59"/>
                  <a:gd name="T27" fmla="*/ 38 h 43"/>
                  <a:gd name="T28" fmla="*/ 13 w 59"/>
                  <a:gd name="T29" fmla="*/ 35 h 43"/>
                  <a:gd name="T30" fmla="*/ 19 w 59"/>
                  <a:gd name="T31" fmla="*/ 30 h 43"/>
                  <a:gd name="T32" fmla="*/ 9 w 59"/>
                  <a:gd name="T33" fmla="*/ 32 h 43"/>
                  <a:gd name="T34" fmla="*/ 8 w 59"/>
                  <a:gd name="T35" fmla="*/ 28 h 43"/>
                  <a:gd name="T36" fmla="*/ 10 w 59"/>
                  <a:gd name="T37" fmla="*/ 25 h 43"/>
                  <a:gd name="T38" fmla="*/ 12 w 59"/>
                  <a:gd name="T39" fmla="*/ 22 h 43"/>
                  <a:gd name="T40" fmla="*/ 12 w 59"/>
                  <a:gd name="T41" fmla="*/ 18 h 43"/>
                  <a:gd name="T42" fmla="*/ 16 w 59"/>
                  <a:gd name="T43" fmla="*/ 15 h 43"/>
                  <a:gd name="T44" fmla="*/ 16 w 59"/>
                  <a:gd name="T45" fmla="*/ 12 h 43"/>
                  <a:gd name="T46" fmla="*/ 15 w 59"/>
                  <a:gd name="T47" fmla="*/ 9 h 43"/>
                  <a:gd name="T48" fmla="*/ 12 w 59"/>
                  <a:gd name="T49" fmla="*/ 7 h 43"/>
                  <a:gd name="T50" fmla="*/ 12 w 59"/>
                  <a:gd name="T51" fmla="*/ 6 h 43"/>
                  <a:gd name="T52" fmla="*/ 13 w 59"/>
                  <a:gd name="T53" fmla="*/ 6 h 43"/>
                  <a:gd name="T54" fmla="*/ 15 w 59"/>
                  <a:gd name="T55" fmla="*/ 5 h 43"/>
                  <a:gd name="T56" fmla="*/ 16 w 59"/>
                  <a:gd name="T57" fmla="*/ 3 h 43"/>
                  <a:gd name="T58" fmla="*/ 18 w 59"/>
                  <a:gd name="T59" fmla="*/ 2 h 43"/>
                  <a:gd name="T60" fmla="*/ 28 w 59"/>
                  <a:gd name="T61" fmla="*/ 0 h 43"/>
                  <a:gd name="T62" fmla="*/ 30 w 59"/>
                  <a:gd name="T63" fmla="*/ 2 h 43"/>
                  <a:gd name="T64" fmla="*/ 35 w 59"/>
                  <a:gd name="T65" fmla="*/ 3 h 43"/>
                  <a:gd name="T66" fmla="*/ 39 w 59"/>
                  <a:gd name="T67" fmla="*/ 2 h 43"/>
                  <a:gd name="T68" fmla="*/ 2 w 59"/>
                  <a:gd name="T69" fmla="*/ 41 h 43"/>
                  <a:gd name="T70" fmla="*/ 2 w 59"/>
                  <a:gd name="T71" fmla="*/ 42 h 43"/>
                  <a:gd name="T72" fmla="*/ 5 w 59"/>
                  <a:gd name="T73" fmla="*/ 42 h 43"/>
                  <a:gd name="T74" fmla="*/ 3 w 59"/>
                  <a:gd name="T75" fmla="*/ 3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9" h="43">
                    <a:moveTo>
                      <a:pt x="39" y="2"/>
                    </a:moveTo>
                    <a:lnTo>
                      <a:pt x="41" y="2"/>
                    </a:lnTo>
                    <a:lnTo>
                      <a:pt x="42" y="7"/>
                    </a:lnTo>
                    <a:lnTo>
                      <a:pt x="46" y="13"/>
                    </a:lnTo>
                    <a:lnTo>
                      <a:pt x="53" y="16"/>
                    </a:lnTo>
                    <a:lnTo>
                      <a:pt x="59" y="18"/>
                    </a:lnTo>
                    <a:lnTo>
                      <a:pt x="58" y="22"/>
                    </a:lnTo>
                    <a:lnTo>
                      <a:pt x="55" y="23"/>
                    </a:lnTo>
                    <a:lnTo>
                      <a:pt x="46" y="22"/>
                    </a:lnTo>
                    <a:lnTo>
                      <a:pt x="45" y="22"/>
                    </a:lnTo>
                    <a:lnTo>
                      <a:pt x="42" y="22"/>
                    </a:lnTo>
                    <a:lnTo>
                      <a:pt x="41" y="23"/>
                    </a:lnTo>
                    <a:lnTo>
                      <a:pt x="39" y="23"/>
                    </a:lnTo>
                    <a:lnTo>
                      <a:pt x="38" y="23"/>
                    </a:lnTo>
                    <a:lnTo>
                      <a:pt x="35" y="23"/>
                    </a:lnTo>
                    <a:lnTo>
                      <a:pt x="33" y="23"/>
                    </a:lnTo>
                    <a:lnTo>
                      <a:pt x="32" y="25"/>
                    </a:lnTo>
                    <a:lnTo>
                      <a:pt x="30" y="25"/>
                    </a:lnTo>
                    <a:lnTo>
                      <a:pt x="29" y="29"/>
                    </a:lnTo>
                    <a:lnTo>
                      <a:pt x="28" y="30"/>
                    </a:lnTo>
                    <a:lnTo>
                      <a:pt x="26" y="30"/>
                    </a:lnTo>
                    <a:lnTo>
                      <a:pt x="22" y="33"/>
                    </a:lnTo>
                    <a:lnTo>
                      <a:pt x="20" y="33"/>
                    </a:lnTo>
                    <a:lnTo>
                      <a:pt x="18" y="36"/>
                    </a:lnTo>
                    <a:lnTo>
                      <a:pt x="12" y="42"/>
                    </a:lnTo>
                    <a:lnTo>
                      <a:pt x="9" y="43"/>
                    </a:lnTo>
                    <a:lnTo>
                      <a:pt x="10" y="41"/>
                    </a:lnTo>
                    <a:lnTo>
                      <a:pt x="10" y="38"/>
                    </a:lnTo>
                    <a:lnTo>
                      <a:pt x="12" y="36"/>
                    </a:lnTo>
                    <a:lnTo>
                      <a:pt x="13" y="35"/>
                    </a:lnTo>
                    <a:lnTo>
                      <a:pt x="18" y="33"/>
                    </a:lnTo>
                    <a:lnTo>
                      <a:pt x="19" y="30"/>
                    </a:lnTo>
                    <a:lnTo>
                      <a:pt x="12" y="32"/>
                    </a:lnTo>
                    <a:lnTo>
                      <a:pt x="9" y="32"/>
                    </a:lnTo>
                    <a:lnTo>
                      <a:pt x="6" y="29"/>
                    </a:lnTo>
                    <a:lnTo>
                      <a:pt x="8" y="28"/>
                    </a:lnTo>
                    <a:lnTo>
                      <a:pt x="9" y="26"/>
                    </a:lnTo>
                    <a:lnTo>
                      <a:pt x="10" y="25"/>
                    </a:lnTo>
                    <a:lnTo>
                      <a:pt x="12" y="23"/>
                    </a:lnTo>
                    <a:lnTo>
                      <a:pt x="12" y="22"/>
                    </a:lnTo>
                    <a:lnTo>
                      <a:pt x="12" y="19"/>
                    </a:lnTo>
                    <a:lnTo>
                      <a:pt x="12" y="18"/>
                    </a:lnTo>
                    <a:lnTo>
                      <a:pt x="13" y="16"/>
                    </a:lnTo>
                    <a:lnTo>
                      <a:pt x="16" y="15"/>
                    </a:lnTo>
                    <a:lnTo>
                      <a:pt x="16" y="15"/>
                    </a:lnTo>
                    <a:lnTo>
                      <a:pt x="16" y="12"/>
                    </a:lnTo>
                    <a:lnTo>
                      <a:pt x="16" y="10"/>
                    </a:lnTo>
                    <a:lnTo>
                      <a:pt x="15" y="9"/>
                    </a:lnTo>
                    <a:lnTo>
                      <a:pt x="13" y="7"/>
                    </a:lnTo>
                    <a:lnTo>
                      <a:pt x="12" y="7"/>
                    </a:lnTo>
                    <a:lnTo>
                      <a:pt x="12" y="6"/>
                    </a:lnTo>
                    <a:lnTo>
                      <a:pt x="12" y="6"/>
                    </a:lnTo>
                    <a:lnTo>
                      <a:pt x="12" y="6"/>
                    </a:lnTo>
                    <a:lnTo>
                      <a:pt x="13" y="6"/>
                    </a:lnTo>
                    <a:lnTo>
                      <a:pt x="13" y="6"/>
                    </a:lnTo>
                    <a:lnTo>
                      <a:pt x="15" y="5"/>
                    </a:lnTo>
                    <a:lnTo>
                      <a:pt x="15" y="3"/>
                    </a:lnTo>
                    <a:lnTo>
                      <a:pt x="16" y="3"/>
                    </a:lnTo>
                    <a:lnTo>
                      <a:pt x="16" y="2"/>
                    </a:lnTo>
                    <a:lnTo>
                      <a:pt x="18" y="2"/>
                    </a:lnTo>
                    <a:lnTo>
                      <a:pt x="25" y="0"/>
                    </a:lnTo>
                    <a:lnTo>
                      <a:pt x="28" y="0"/>
                    </a:lnTo>
                    <a:lnTo>
                      <a:pt x="29" y="0"/>
                    </a:lnTo>
                    <a:lnTo>
                      <a:pt x="30" y="2"/>
                    </a:lnTo>
                    <a:lnTo>
                      <a:pt x="33" y="3"/>
                    </a:lnTo>
                    <a:lnTo>
                      <a:pt x="35" y="3"/>
                    </a:lnTo>
                    <a:lnTo>
                      <a:pt x="38" y="2"/>
                    </a:lnTo>
                    <a:lnTo>
                      <a:pt x="39" y="2"/>
                    </a:lnTo>
                    <a:close/>
                    <a:moveTo>
                      <a:pt x="3" y="39"/>
                    </a:moveTo>
                    <a:lnTo>
                      <a:pt x="2" y="41"/>
                    </a:lnTo>
                    <a:lnTo>
                      <a:pt x="0" y="42"/>
                    </a:lnTo>
                    <a:lnTo>
                      <a:pt x="2" y="42"/>
                    </a:lnTo>
                    <a:lnTo>
                      <a:pt x="2" y="42"/>
                    </a:lnTo>
                    <a:lnTo>
                      <a:pt x="5" y="42"/>
                    </a:lnTo>
                    <a:lnTo>
                      <a:pt x="5" y="41"/>
                    </a:lnTo>
                    <a:lnTo>
                      <a:pt x="3" y="3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00" name="Freeform 106">
                <a:extLst>
                  <a:ext uri="{FF2B5EF4-FFF2-40B4-BE49-F238E27FC236}">
                    <a16:creationId xmlns:a16="http://schemas.microsoft.com/office/drawing/2014/main" id="{02F3EA0C-AD93-9854-AC97-57B2172F58E6}"/>
                  </a:ext>
                </a:extLst>
              </p:cNvPr>
              <p:cNvSpPr>
                <a:spLocks/>
              </p:cNvSpPr>
              <p:nvPr/>
            </p:nvSpPr>
            <p:spPr bwMode="auto">
              <a:xfrm>
                <a:off x="4367" y="1688"/>
                <a:ext cx="164" cy="136"/>
              </a:xfrm>
              <a:custGeom>
                <a:avLst/>
                <a:gdLst>
                  <a:gd name="T0" fmla="*/ 164 w 164"/>
                  <a:gd name="T1" fmla="*/ 38 h 136"/>
                  <a:gd name="T2" fmla="*/ 159 w 164"/>
                  <a:gd name="T3" fmla="*/ 31 h 136"/>
                  <a:gd name="T4" fmla="*/ 155 w 164"/>
                  <a:gd name="T5" fmla="*/ 29 h 136"/>
                  <a:gd name="T6" fmla="*/ 145 w 164"/>
                  <a:gd name="T7" fmla="*/ 22 h 136"/>
                  <a:gd name="T8" fmla="*/ 139 w 164"/>
                  <a:gd name="T9" fmla="*/ 22 h 136"/>
                  <a:gd name="T10" fmla="*/ 141 w 164"/>
                  <a:gd name="T11" fmla="*/ 31 h 136"/>
                  <a:gd name="T12" fmla="*/ 139 w 164"/>
                  <a:gd name="T13" fmla="*/ 32 h 136"/>
                  <a:gd name="T14" fmla="*/ 138 w 164"/>
                  <a:gd name="T15" fmla="*/ 25 h 136"/>
                  <a:gd name="T16" fmla="*/ 129 w 164"/>
                  <a:gd name="T17" fmla="*/ 15 h 136"/>
                  <a:gd name="T18" fmla="*/ 118 w 164"/>
                  <a:gd name="T19" fmla="*/ 8 h 136"/>
                  <a:gd name="T20" fmla="*/ 111 w 164"/>
                  <a:gd name="T21" fmla="*/ 8 h 136"/>
                  <a:gd name="T22" fmla="*/ 106 w 164"/>
                  <a:gd name="T23" fmla="*/ 8 h 136"/>
                  <a:gd name="T24" fmla="*/ 102 w 164"/>
                  <a:gd name="T25" fmla="*/ 5 h 136"/>
                  <a:gd name="T26" fmla="*/ 95 w 164"/>
                  <a:gd name="T27" fmla="*/ 2 h 136"/>
                  <a:gd name="T28" fmla="*/ 85 w 164"/>
                  <a:gd name="T29" fmla="*/ 8 h 136"/>
                  <a:gd name="T30" fmla="*/ 80 w 164"/>
                  <a:gd name="T31" fmla="*/ 3 h 136"/>
                  <a:gd name="T32" fmla="*/ 76 w 164"/>
                  <a:gd name="T33" fmla="*/ 0 h 136"/>
                  <a:gd name="T34" fmla="*/ 70 w 164"/>
                  <a:gd name="T35" fmla="*/ 5 h 136"/>
                  <a:gd name="T36" fmla="*/ 65 w 164"/>
                  <a:gd name="T37" fmla="*/ 11 h 136"/>
                  <a:gd name="T38" fmla="*/ 59 w 164"/>
                  <a:gd name="T39" fmla="*/ 15 h 136"/>
                  <a:gd name="T40" fmla="*/ 50 w 164"/>
                  <a:gd name="T41" fmla="*/ 19 h 136"/>
                  <a:gd name="T42" fmla="*/ 39 w 164"/>
                  <a:gd name="T43" fmla="*/ 31 h 136"/>
                  <a:gd name="T44" fmla="*/ 36 w 164"/>
                  <a:gd name="T45" fmla="*/ 31 h 136"/>
                  <a:gd name="T46" fmla="*/ 39 w 164"/>
                  <a:gd name="T47" fmla="*/ 45 h 136"/>
                  <a:gd name="T48" fmla="*/ 37 w 164"/>
                  <a:gd name="T49" fmla="*/ 48 h 136"/>
                  <a:gd name="T50" fmla="*/ 30 w 164"/>
                  <a:gd name="T51" fmla="*/ 49 h 136"/>
                  <a:gd name="T52" fmla="*/ 20 w 164"/>
                  <a:gd name="T53" fmla="*/ 38 h 136"/>
                  <a:gd name="T54" fmla="*/ 17 w 164"/>
                  <a:gd name="T55" fmla="*/ 35 h 136"/>
                  <a:gd name="T56" fmla="*/ 14 w 164"/>
                  <a:gd name="T57" fmla="*/ 36 h 136"/>
                  <a:gd name="T58" fmla="*/ 11 w 164"/>
                  <a:gd name="T59" fmla="*/ 42 h 136"/>
                  <a:gd name="T60" fmla="*/ 10 w 164"/>
                  <a:gd name="T61" fmla="*/ 46 h 136"/>
                  <a:gd name="T62" fmla="*/ 6 w 164"/>
                  <a:gd name="T63" fmla="*/ 52 h 136"/>
                  <a:gd name="T64" fmla="*/ 3 w 164"/>
                  <a:gd name="T65" fmla="*/ 61 h 136"/>
                  <a:gd name="T66" fmla="*/ 6 w 164"/>
                  <a:gd name="T67" fmla="*/ 65 h 136"/>
                  <a:gd name="T68" fmla="*/ 7 w 164"/>
                  <a:gd name="T69" fmla="*/ 68 h 136"/>
                  <a:gd name="T70" fmla="*/ 6 w 164"/>
                  <a:gd name="T71" fmla="*/ 71 h 136"/>
                  <a:gd name="T72" fmla="*/ 0 w 164"/>
                  <a:gd name="T73" fmla="*/ 82 h 136"/>
                  <a:gd name="T74" fmla="*/ 7 w 164"/>
                  <a:gd name="T75" fmla="*/ 90 h 136"/>
                  <a:gd name="T76" fmla="*/ 9 w 164"/>
                  <a:gd name="T77" fmla="*/ 100 h 136"/>
                  <a:gd name="T78" fmla="*/ 14 w 164"/>
                  <a:gd name="T79" fmla="*/ 103 h 136"/>
                  <a:gd name="T80" fmla="*/ 24 w 164"/>
                  <a:gd name="T81" fmla="*/ 103 h 136"/>
                  <a:gd name="T82" fmla="*/ 29 w 164"/>
                  <a:gd name="T83" fmla="*/ 107 h 136"/>
                  <a:gd name="T84" fmla="*/ 40 w 164"/>
                  <a:gd name="T85" fmla="*/ 124 h 136"/>
                  <a:gd name="T86" fmla="*/ 42 w 164"/>
                  <a:gd name="T87" fmla="*/ 127 h 136"/>
                  <a:gd name="T88" fmla="*/ 37 w 164"/>
                  <a:gd name="T89" fmla="*/ 127 h 136"/>
                  <a:gd name="T90" fmla="*/ 33 w 164"/>
                  <a:gd name="T91" fmla="*/ 127 h 136"/>
                  <a:gd name="T92" fmla="*/ 34 w 164"/>
                  <a:gd name="T93" fmla="*/ 130 h 136"/>
                  <a:gd name="T94" fmla="*/ 46 w 164"/>
                  <a:gd name="T95" fmla="*/ 134 h 136"/>
                  <a:gd name="T96" fmla="*/ 56 w 164"/>
                  <a:gd name="T97" fmla="*/ 130 h 136"/>
                  <a:gd name="T98" fmla="*/ 82 w 164"/>
                  <a:gd name="T99" fmla="*/ 118 h 136"/>
                  <a:gd name="T100" fmla="*/ 98 w 164"/>
                  <a:gd name="T101" fmla="*/ 124 h 136"/>
                  <a:gd name="T102" fmla="*/ 111 w 164"/>
                  <a:gd name="T103" fmla="*/ 121 h 136"/>
                  <a:gd name="T104" fmla="*/ 142 w 164"/>
                  <a:gd name="T105" fmla="*/ 11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4" h="136">
                    <a:moveTo>
                      <a:pt x="142" y="111"/>
                    </a:moveTo>
                    <a:lnTo>
                      <a:pt x="141" y="95"/>
                    </a:lnTo>
                    <a:lnTo>
                      <a:pt x="146" y="77"/>
                    </a:lnTo>
                    <a:lnTo>
                      <a:pt x="164" y="62"/>
                    </a:lnTo>
                    <a:lnTo>
                      <a:pt x="164" y="38"/>
                    </a:lnTo>
                    <a:lnTo>
                      <a:pt x="162" y="31"/>
                    </a:lnTo>
                    <a:lnTo>
                      <a:pt x="161" y="31"/>
                    </a:lnTo>
                    <a:lnTo>
                      <a:pt x="161" y="31"/>
                    </a:lnTo>
                    <a:lnTo>
                      <a:pt x="159" y="31"/>
                    </a:lnTo>
                    <a:lnTo>
                      <a:pt x="159" y="31"/>
                    </a:lnTo>
                    <a:lnTo>
                      <a:pt x="158" y="31"/>
                    </a:lnTo>
                    <a:lnTo>
                      <a:pt x="158" y="31"/>
                    </a:lnTo>
                    <a:lnTo>
                      <a:pt x="157" y="31"/>
                    </a:lnTo>
                    <a:lnTo>
                      <a:pt x="157" y="29"/>
                    </a:lnTo>
                    <a:lnTo>
                      <a:pt x="155" y="29"/>
                    </a:lnTo>
                    <a:lnTo>
                      <a:pt x="154" y="29"/>
                    </a:lnTo>
                    <a:lnTo>
                      <a:pt x="152" y="28"/>
                    </a:lnTo>
                    <a:lnTo>
                      <a:pt x="151" y="26"/>
                    </a:lnTo>
                    <a:lnTo>
                      <a:pt x="148" y="23"/>
                    </a:lnTo>
                    <a:lnTo>
                      <a:pt x="145" y="22"/>
                    </a:lnTo>
                    <a:lnTo>
                      <a:pt x="142" y="19"/>
                    </a:lnTo>
                    <a:lnTo>
                      <a:pt x="142" y="19"/>
                    </a:lnTo>
                    <a:lnTo>
                      <a:pt x="141" y="19"/>
                    </a:lnTo>
                    <a:lnTo>
                      <a:pt x="139" y="21"/>
                    </a:lnTo>
                    <a:lnTo>
                      <a:pt x="139" y="22"/>
                    </a:lnTo>
                    <a:lnTo>
                      <a:pt x="141" y="23"/>
                    </a:lnTo>
                    <a:lnTo>
                      <a:pt x="141" y="26"/>
                    </a:lnTo>
                    <a:lnTo>
                      <a:pt x="142" y="28"/>
                    </a:lnTo>
                    <a:lnTo>
                      <a:pt x="141" y="29"/>
                    </a:lnTo>
                    <a:lnTo>
                      <a:pt x="141" y="31"/>
                    </a:lnTo>
                    <a:lnTo>
                      <a:pt x="141" y="31"/>
                    </a:lnTo>
                    <a:lnTo>
                      <a:pt x="141" y="31"/>
                    </a:lnTo>
                    <a:lnTo>
                      <a:pt x="141" y="32"/>
                    </a:lnTo>
                    <a:lnTo>
                      <a:pt x="139" y="32"/>
                    </a:lnTo>
                    <a:lnTo>
                      <a:pt x="139" y="32"/>
                    </a:lnTo>
                    <a:lnTo>
                      <a:pt x="139" y="32"/>
                    </a:lnTo>
                    <a:lnTo>
                      <a:pt x="138" y="31"/>
                    </a:lnTo>
                    <a:lnTo>
                      <a:pt x="138" y="26"/>
                    </a:lnTo>
                    <a:lnTo>
                      <a:pt x="138" y="26"/>
                    </a:lnTo>
                    <a:lnTo>
                      <a:pt x="138" y="25"/>
                    </a:lnTo>
                    <a:lnTo>
                      <a:pt x="136" y="25"/>
                    </a:lnTo>
                    <a:lnTo>
                      <a:pt x="136" y="23"/>
                    </a:lnTo>
                    <a:lnTo>
                      <a:pt x="135" y="22"/>
                    </a:lnTo>
                    <a:lnTo>
                      <a:pt x="131" y="18"/>
                    </a:lnTo>
                    <a:lnTo>
                      <a:pt x="129" y="15"/>
                    </a:lnTo>
                    <a:lnTo>
                      <a:pt x="126" y="13"/>
                    </a:lnTo>
                    <a:lnTo>
                      <a:pt x="125" y="13"/>
                    </a:lnTo>
                    <a:lnTo>
                      <a:pt x="122" y="9"/>
                    </a:lnTo>
                    <a:lnTo>
                      <a:pt x="121" y="8"/>
                    </a:lnTo>
                    <a:lnTo>
                      <a:pt x="118" y="8"/>
                    </a:lnTo>
                    <a:lnTo>
                      <a:pt x="116" y="8"/>
                    </a:lnTo>
                    <a:lnTo>
                      <a:pt x="113" y="8"/>
                    </a:lnTo>
                    <a:lnTo>
                      <a:pt x="112" y="8"/>
                    </a:lnTo>
                    <a:lnTo>
                      <a:pt x="111" y="8"/>
                    </a:lnTo>
                    <a:lnTo>
                      <a:pt x="111" y="8"/>
                    </a:lnTo>
                    <a:lnTo>
                      <a:pt x="111" y="8"/>
                    </a:lnTo>
                    <a:lnTo>
                      <a:pt x="109" y="6"/>
                    </a:lnTo>
                    <a:lnTo>
                      <a:pt x="108" y="6"/>
                    </a:lnTo>
                    <a:lnTo>
                      <a:pt x="106" y="6"/>
                    </a:lnTo>
                    <a:lnTo>
                      <a:pt x="106" y="8"/>
                    </a:lnTo>
                    <a:lnTo>
                      <a:pt x="105" y="8"/>
                    </a:lnTo>
                    <a:lnTo>
                      <a:pt x="105" y="6"/>
                    </a:lnTo>
                    <a:lnTo>
                      <a:pt x="105" y="6"/>
                    </a:lnTo>
                    <a:lnTo>
                      <a:pt x="103" y="6"/>
                    </a:lnTo>
                    <a:lnTo>
                      <a:pt x="102" y="5"/>
                    </a:lnTo>
                    <a:lnTo>
                      <a:pt x="101" y="2"/>
                    </a:lnTo>
                    <a:lnTo>
                      <a:pt x="99" y="2"/>
                    </a:lnTo>
                    <a:lnTo>
                      <a:pt x="98" y="2"/>
                    </a:lnTo>
                    <a:lnTo>
                      <a:pt x="96" y="2"/>
                    </a:lnTo>
                    <a:lnTo>
                      <a:pt x="95" y="2"/>
                    </a:lnTo>
                    <a:lnTo>
                      <a:pt x="93" y="3"/>
                    </a:lnTo>
                    <a:lnTo>
                      <a:pt x="92" y="3"/>
                    </a:lnTo>
                    <a:lnTo>
                      <a:pt x="88" y="8"/>
                    </a:lnTo>
                    <a:lnTo>
                      <a:pt x="86" y="8"/>
                    </a:lnTo>
                    <a:lnTo>
                      <a:pt x="85" y="8"/>
                    </a:lnTo>
                    <a:lnTo>
                      <a:pt x="83" y="8"/>
                    </a:lnTo>
                    <a:lnTo>
                      <a:pt x="82" y="6"/>
                    </a:lnTo>
                    <a:lnTo>
                      <a:pt x="82" y="5"/>
                    </a:lnTo>
                    <a:lnTo>
                      <a:pt x="82" y="5"/>
                    </a:lnTo>
                    <a:lnTo>
                      <a:pt x="80" y="3"/>
                    </a:lnTo>
                    <a:lnTo>
                      <a:pt x="80" y="3"/>
                    </a:lnTo>
                    <a:lnTo>
                      <a:pt x="79" y="2"/>
                    </a:lnTo>
                    <a:lnTo>
                      <a:pt x="78" y="2"/>
                    </a:lnTo>
                    <a:lnTo>
                      <a:pt x="76" y="2"/>
                    </a:lnTo>
                    <a:lnTo>
                      <a:pt x="76" y="0"/>
                    </a:lnTo>
                    <a:lnTo>
                      <a:pt x="75" y="0"/>
                    </a:lnTo>
                    <a:lnTo>
                      <a:pt x="73" y="0"/>
                    </a:lnTo>
                    <a:lnTo>
                      <a:pt x="73" y="2"/>
                    </a:lnTo>
                    <a:lnTo>
                      <a:pt x="72" y="3"/>
                    </a:lnTo>
                    <a:lnTo>
                      <a:pt x="70" y="5"/>
                    </a:lnTo>
                    <a:lnTo>
                      <a:pt x="69" y="6"/>
                    </a:lnTo>
                    <a:lnTo>
                      <a:pt x="67" y="8"/>
                    </a:lnTo>
                    <a:lnTo>
                      <a:pt x="66" y="11"/>
                    </a:lnTo>
                    <a:lnTo>
                      <a:pt x="66" y="11"/>
                    </a:lnTo>
                    <a:lnTo>
                      <a:pt x="65" y="11"/>
                    </a:lnTo>
                    <a:lnTo>
                      <a:pt x="65" y="12"/>
                    </a:lnTo>
                    <a:lnTo>
                      <a:pt x="65" y="12"/>
                    </a:lnTo>
                    <a:lnTo>
                      <a:pt x="63" y="12"/>
                    </a:lnTo>
                    <a:lnTo>
                      <a:pt x="60" y="13"/>
                    </a:lnTo>
                    <a:lnTo>
                      <a:pt x="59" y="15"/>
                    </a:lnTo>
                    <a:lnTo>
                      <a:pt x="57" y="15"/>
                    </a:lnTo>
                    <a:lnTo>
                      <a:pt x="56" y="16"/>
                    </a:lnTo>
                    <a:lnTo>
                      <a:pt x="53" y="16"/>
                    </a:lnTo>
                    <a:lnTo>
                      <a:pt x="50" y="18"/>
                    </a:lnTo>
                    <a:lnTo>
                      <a:pt x="50" y="19"/>
                    </a:lnTo>
                    <a:lnTo>
                      <a:pt x="47" y="23"/>
                    </a:lnTo>
                    <a:lnTo>
                      <a:pt x="44" y="26"/>
                    </a:lnTo>
                    <a:lnTo>
                      <a:pt x="40" y="29"/>
                    </a:lnTo>
                    <a:lnTo>
                      <a:pt x="40" y="29"/>
                    </a:lnTo>
                    <a:lnTo>
                      <a:pt x="39" y="31"/>
                    </a:lnTo>
                    <a:lnTo>
                      <a:pt x="37" y="31"/>
                    </a:lnTo>
                    <a:lnTo>
                      <a:pt x="37" y="31"/>
                    </a:lnTo>
                    <a:lnTo>
                      <a:pt x="36" y="31"/>
                    </a:lnTo>
                    <a:lnTo>
                      <a:pt x="36" y="31"/>
                    </a:lnTo>
                    <a:lnTo>
                      <a:pt x="36" y="31"/>
                    </a:lnTo>
                    <a:lnTo>
                      <a:pt x="36" y="34"/>
                    </a:lnTo>
                    <a:lnTo>
                      <a:pt x="37" y="38"/>
                    </a:lnTo>
                    <a:lnTo>
                      <a:pt x="37" y="41"/>
                    </a:lnTo>
                    <a:lnTo>
                      <a:pt x="39" y="44"/>
                    </a:lnTo>
                    <a:lnTo>
                      <a:pt x="39" y="45"/>
                    </a:lnTo>
                    <a:lnTo>
                      <a:pt x="39" y="45"/>
                    </a:lnTo>
                    <a:lnTo>
                      <a:pt x="39" y="45"/>
                    </a:lnTo>
                    <a:lnTo>
                      <a:pt x="39" y="48"/>
                    </a:lnTo>
                    <a:lnTo>
                      <a:pt x="39" y="48"/>
                    </a:lnTo>
                    <a:lnTo>
                      <a:pt x="37" y="48"/>
                    </a:lnTo>
                    <a:lnTo>
                      <a:pt x="36" y="49"/>
                    </a:lnTo>
                    <a:lnTo>
                      <a:pt x="36" y="49"/>
                    </a:lnTo>
                    <a:lnTo>
                      <a:pt x="33" y="51"/>
                    </a:lnTo>
                    <a:lnTo>
                      <a:pt x="32" y="51"/>
                    </a:lnTo>
                    <a:lnTo>
                      <a:pt x="30" y="49"/>
                    </a:lnTo>
                    <a:lnTo>
                      <a:pt x="30" y="49"/>
                    </a:lnTo>
                    <a:lnTo>
                      <a:pt x="29" y="48"/>
                    </a:lnTo>
                    <a:lnTo>
                      <a:pt x="27" y="45"/>
                    </a:lnTo>
                    <a:lnTo>
                      <a:pt x="22" y="39"/>
                    </a:lnTo>
                    <a:lnTo>
                      <a:pt x="20" y="38"/>
                    </a:lnTo>
                    <a:lnTo>
                      <a:pt x="20" y="36"/>
                    </a:lnTo>
                    <a:lnTo>
                      <a:pt x="20" y="36"/>
                    </a:lnTo>
                    <a:lnTo>
                      <a:pt x="19" y="36"/>
                    </a:lnTo>
                    <a:lnTo>
                      <a:pt x="19" y="36"/>
                    </a:lnTo>
                    <a:lnTo>
                      <a:pt x="17" y="35"/>
                    </a:lnTo>
                    <a:lnTo>
                      <a:pt x="17" y="35"/>
                    </a:lnTo>
                    <a:lnTo>
                      <a:pt x="17" y="35"/>
                    </a:lnTo>
                    <a:lnTo>
                      <a:pt x="16" y="36"/>
                    </a:lnTo>
                    <a:lnTo>
                      <a:pt x="16" y="36"/>
                    </a:lnTo>
                    <a:lnTo>
                      <a:pt x="14" y="36"/>
                    </a:lnTo>
                    <a:lnTo>
                      <a:pt x="13" y="38"/>
                    </a:lnTo>
                    <a:lnTo>
                      <a:pt x="13" y="39"/>
                    </a:lnTo>
                    <a:lnTo>
                      <a:pt x="13" y="41"/>
                    </a:lnTo>
                    <a:lnTo>
                      <a:pt x="11" y="41"/>
                    </a:lnTo>
                    <a:lnTo>
                      <a:pt x="11" y="42"/>
                    </a:lnTo>
                    <a:lnTo>
                      <a:pt x="13" y="42"/>
                    </a:lnTo>
                    <a:lnTo>
                      <a:pt x="11" y="44"/>
                    </a:lnTo>
                    <a:lnTo>
                      <a:pt x="11" y="45"/>
                    </a:lnTo>
                    <a:lnTo>
                      <a:pt x="11" y="46"/>
                    </a:lnTo>
                    <a:lnTo>
                      <a:pt x="10" y="46"/>
                    </a:lnTo>
                    <a:lnTo>
                      <a:pt x="9" y="48"/>
                    </a:lnTo>
                    <a:lnTo>
                      <a:pt x="9" y="49"/>
                    </a:lnTo>
                    <a:lnTo>
                      <a:pt x="7" y="49"/>
                    </a:lnTo>
                    <a:lnTo>
                      <a:pt x="7" y="51"/>
                    </a:lnTo>
                    <a:lnTo>
                      <a:pt x="6" y="52"/>
                    </a:lnTo>
                    <a:lnTo>
                      <a:pt x="6" y="54"/>
                    </a:lnTo>
                    <a:lnTo>
                      <a:pt x="4" y="57"/>
                    </a:lnTo>
                    <a:lnTo>
                      <a:pt x="4" y="58"/>
                    </a:lnTo>
                    <a:lnTo>
                      <a:pt x="4" y="61"/>
                    </a:lnTo>
                    <a:lnTo>
                      <a:pt x="3" y="61"/>
                    </a:lnTo>
                    <a:lnTo>
                      <a:pt x="3" y="62"/>
                    </a:lnTo>
                    <a:lnTo>
                      <a:pt x="4" y="62"/>
                    </a:lnTo>
                    <a:lnTo>
                      <a:pt x="4" y="64"/>
                    </a:lnTo>
                    <a:lnTo>
                      <a:pt x="4" y="64"/>
                    </a:lnTo>
                    <a:lnTo>
                      <a:pt x="6" y="65"/>
                    </a:lnTo>
                    <a:lnTo>
                      <a:pt x="7" y="67"/>
                    </a:lnTo>
                    <a:lnTo>
                      <a:pt x="7" y="67"/>
                    </a:lnTo>
                    <a:lnTo>
                      <a:pt x="7" y="67"/>
                    </a:lnTo>
                    <a:lnTo>
                      <a:pt x="7" y="68"/>
                    </a:lnTo>
                    <a:lnTo>
                      <a:pt x="7" y="68"/>
                    </a:lnTo>
                    <a:lnTo>
                      <a:pt x="7" y="69"/>
                    </a:lnTo>
                    <a:lnTo>
                      <a:pt x="7" y="69"/>
                    </a:lnTo>
                    <a:lnTo>
                      <a:pt x="7" y="71"/>
                    </a:lnTo>
                    <a:lnTo>
                      <a:pt x="6" y="71"/>
                    </a:lnTo>
                    <a:lnTo>
                      <a:pt x="6" y="71"/>
                    </a:lnTo>
                    <a:lnTo>
                      <a:pt x="4" y="72"/>
                    </a:lnTo>
                    <a:lnTo>
                      <a:pt x="3" y="75"/>
                    </a:lnTo>
                    <a:lnTo>
                      <a:pt x="1" y="78"/>
                    </a:lnTo>
                    <a:lnTo>
                      <a:pt x="1" y="80"/>
                    </a:lnTo>
                    <a:lnTo>
                      <a:pt x="0" y="82"/>
                    </a:lnTo>
                    <a:lnTo>
                      <a:pt x="0" y="85"/>
                    </a:lnTo>
                    <a:lnTo>
                      <a:pt x="1" y="87"/>
                    </a:lnTo>
                    <a:lnTo>
                      <a:pt x="3" y="87"/>
                    </a:lnTo>
                    <a:lnTo>
                      <a:pt x="4" y="88"/>
                    </a:lnTo>
                    <a:lnTo>
                      <a:pt x="7" y="90"/>
                    </a:lnTo>
                    <a:lnTo>
                      <a:pt x="9" y="91"/>
                    </a:lnTo>
                    <a:lnTo>
                      <a:pt x="9" y="94"/>
                    </a:lnTo>
                    <a:lnTo>
                      <a:pt x="9" y="95"/>
                    </a:lnTo>
                    <a:lnTo>
                      <a:pt x="9" y="98"/>
                    </a:lnTo>
                    <a:lnTo>
                      <a:pt x="9" y="100"/>
                    </a:lnTo>
                    <a:lnTo>
                      <a:pt x="10" y="101"/>
                    </a:lnTo>
                    <a:lnTo>
                      <a:pt x="10" y="101"/>
                    </a:lnTo>
                    <a:lnTo>
                      <a:pt x="11" y="103"/>
                    </a:lnTo>
                    <a:lnTo>
                      <a:pt x="11" y="103"/>
                    </a:lnTo>
                    <a:lnTo>
                      <a:pt x="14" y="103"/>
                    </a:lnTo>
                    <a:lnTo>
                      <a:pt x="14" y="101"/>
                    </a:lnTo>
                    <a:lnTo>
                      <a:pt x="17" y="101"/>
                    </a:lnTo>
                    <a:lnTo>
                      <a:pt x="19" y="101"/>
                    </a:lnTo>
                    <a:lnTo>
                      <a:pt x="23" y="103"/>
                    </a:lnTo>
                    <a:lnTo>
                      <a:pt x="24" y="103"/>
                    </a:lnTo>
                    <a:lnTo>
                      <a:pt x="26" y="103"/>
                    </a:lnTo>
                    <a:lnTo>
                      <a:pt x="27" y="103"/>
                    </a:lnTo>
                    <a:lnTo>
                      <a:pt x="27" y="104"/>
                    </a:lnTo>
                    <a:lnTo>
                      <a:pt x="29" y="105"/>
                    </a:lnTo>
                    <a:lnTo>
                      <a:pt x="29" y="107"/>
                    </a:lnTo>
                    <a:lnTo>
                      <a:pt x="32" y="110"/>
                    </a:lnTo>
                    <a:lnTo>
                      <a:pt x="36" y="114"/>
                    </a:lnTo>
                    <a:lnTo>
                      <a:pt x="36" y="115"/>
                    </a:lnTo>
                    <a:lnTo>
                      <a:pt x="37" y="118"/>
                    </a:lnTo>
                    <a:lnTo>
                      <a:pt x="40" y="124"/>
                    </a:lnTo>
                    <a:lnTo>
                      <a:pt x="40" y="124"/>
                    </a:lnTo>
                    <a:lnTo>
                      <a:pt x="42" y="126"/>
                    </a:lnTo>
                    <a:lnTo>
                      <a:pt x="42" y="126"/>
                    </a:lnTo>
                    <a:lnTo>
                      <a:pt x="42" y="127"/>
                    </a:lnTo>
                    <a:lnTo>
                      <a:pt x="42" y="127"/>
                    </a:lnTo>
                    <a:lnTo>
                      <a:pt x="40" y="127"/>
                    </a:lnTo>
                    <a:lnTo>
                      <a:pt x="40" y="127"/>
                    </a:lnTo>
                    <a:lnTo>
                      <a:pt x="40" y="127"/>
                    </a:lnTo>
                    <a:lnTo>
                      <a:pt x="39" y="127"/>
                    </a:lnTo>
                    <a:lnTo>
                      <a:pt x="37" y="127"/>
                    </a:lnTo>
                    <a:lnTo>
                      <a:pt x="37" y="127"/>
                    </a:lnTo>
                    <a:lnTo>
                      <a:pt x="36" y="126"/>
                    </a:lnTo>
                    <a:lnTo>
                      <a:pt x="34" y="126"/>
                    </a:lnTo>
                    <a:lnTo>
                      <a:pt x="34" y="127"/>
                    </a:lnTo>
                    <a:lnTo>
                      <a:pt x="33" y="127"/>
                    </a:lnTo>
                    <a:lnTo>
                      <a:pt x="33" y="127"/>
                    </a:lnTo>
                    <a:lnTo>
                      <a:pt x="33" y="128"/>
                    </a:lnTo>
                    <a:lnTo>
                      <a:pt x="34" y="128"/>
                    </a:lnTo>
                    <a:lnTo>
                      <a:pt x="34" y="130"/>
                    </a:lnTo>
                    <a:lnTo>
                      <a:pt x="34" y="130"/>
                    </a:lnTo>
                    <a:lnTo>
                      <a:pt x="34" y="130"/>
                    </a:lnTo>
                    <a:lnTo>
                      <a:pt x="39" y="131"/>
                    </a:lnTo>
                    <a:lnTo>
                      <a:pt x="46" y="136"/>
                    </a:lnTo>
                    <a:lnTo>
                      <a:pt x="46" y="134"/>
                    </a:lnTo>
                    <a:lnTo>
                      <a:pt x="46" y="134"/>
                    </a:lnTo>
                    <a:lnTo>
                      <a:pt x="47" y="134"/>
                    </a:lnTo>
                    <a:lnTo>
                      <a:pt x="49" y="134"/>
                    </a:lnTo>
                    <a:lnTo>
                      <a:pt x="49" y="131"/>
                    </a:lnTo>
                    <a:lnTo>
                      <a:pt x="50" y="131"/>
                    </a:lnTo>
                    <a:lnTo>
                      <a:pt x="56" y="130"/>
                    </a:lnTo>
                    <a:lnTo>
                      <a:pt x="60" y="128"/>
                    </a:lnTo>
                    <a:lnTo>
                      <a:pt x="67" y="123"/>
                    </a:lnTo>
                    <a:lnTo>
                      <a:pt x="76" y="120"/>
                    </a:lnTo>
                    <a:lnTo>
                      <a:pt x="79" y="118"/>
                    </a:lnTo>
                    <a:lnTo>
                      <a:pt x="82" y="118"/>
                    </a:lnTo>
                    <a:lnTo>
                      <a:pt x="86" y="118"/>
                    </a:lnTo>
                    <a:lnTo>
                      <a:pt x="89" y="120"/>
                    </a:lnTo>
                    <a:lnTo>
                      <a:pt x="92" y="123"/>
                    </a:lnTo>
                    <a:lnTo>
                      <a:pt x="96" y="124"/>
                    </a:lnTo>
                    <a:lnTo>
                      <a:pt x="98" y="124"/>
                    </a:lnTo>
                    <a:lnTo>
                      <a:pt x="99" y="124"/>
                    </a:lnTo>
                    <a:lnTo>
                      <a:pt x="103" y="121"/>
                    </a:lnTo>
                    <a:lnTo>
                      <a:pt x="105" y="121"/>
                    </a:lnTo>
                    <a:lnTo>
                      <a:pt x="108" y="121"/>
                    </a:lnTo>
                    <a:lnTo>
                      <a:pt x="111" y="121"/>
                    </a:lnTo>
                    <a:lnTo>
                      <a:pt x="113" y="123"/>
                    </a:lnTo>
                    <a:lnTo>
                      <a:pt x="115" y="126"/>
                    </a:lnTo>
                    <a:lnTo>
                      <a:pt x="115" y="127"/>
                    </a:lnTo>
                    <a:lnTo>
                      <a:pt x="131" y="124"/>
                    </a:lnTo>
                    <a:lnTo>
                      <a:pt x="142" y="11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01" name="Freeform 107">
                <a:extLst>
                  <a:ext uri="{FF2B5EF4-FFF2-40B4-BE49-F238E27FC236}">
                    <a16:creationId xmlns:a16="http://schemas.microsoft.com/office/drawing/2014/main" id="{A620DDE6-4540-6BB3-1E2E-3AC9218AB3B1}"/>
                  </a:ext>
                </a:extLst>
              </p:cNvPr>
              <p:cNvSpPr>
                <a:spLocks noEditPoints="1"/>
              </p:cNvSpPr>
              <p:nvPr/>
            </p:nvSpPr>
            <p:spPr bwMode="auto">
              <a:xfrm>
                <a:off x="3893" y="718"/>
                <a:ext cx="867" cy="1142"/>
              </a:xfrm>
              <a:custGeom>
                <a:avLst/>
                <a:gdLst>
                  <a:gd name="T0" fmla="*/ 669 w 867"/>
                  <a:gd name="T1" fmla="*/ 279 h 1142"/>
                  <a:gd name="T2" fmla="*/ 615 w 867"/>
                  <a:gd name="T3" fmla="*/ 337 h 1142"/>
                  <a:gd name="T4" fmla="*/ 672 w 867"/>
                  <a:gd name="T5" fmla="*/ 340 h 1142"/>
                  <a:gd name="T6" fmla="*/ 751 w 867"/>
                  <a:gd name="T7" fmla="*/ 275 h 1142"/>
                  <a:gd name="T8" fmla="*/ 712 w 867"/>
                  <a:gd name="T9" fmla="*/ 477 h 1142"/>
                  <a:gd name="T10" fmla="*/ 626 w 867"/>
                  <a:gd name="T11" fmla="*/ 85 h 1142"/>
                  <a:gd name="T12" fmla="*/ 610 w 867"/>
                  <a:gd name="T13" fmla="*/ 55 h 1142"/>
                  <a:gd name="T14" fmla="*/ 847 w 867"/>
                  <a:gd name="T15" fmla="*/ 545 h 1142"/>
                  <a:gd name="T16" fmla="*/ 694 w 867"/>
                  <a:gd name="T17" fmla="*/ 506 h 1142"/>
                  <a:gd name="T18" fmla="*/ 600 w 867"/>
                  <a:gd name="T19" fmla="*/ 500 h 1142"/>
                  <a:gd name="T20" fmla="*/ 511 w 867"/>
                  <a:gd name="T21" fmla="*/ 528 h 1142"/>
                  <a:gd name="T22" fmla="*/ 425 w 867"/>
                  <a:gd name="T23" fmla="*/ 508 h 1142"/>
                  <a:gd name="T24" fmla="*/ 378 w 867"/>
                  <a:gd name="T25" fmla="*/ 584 h 1142"/>
                  <a:gd name="T26" fmla="*/ 302 w 867"/>
                  <a:gd name="T27" fmla="*/ 618 h 1142"/>
                  <a:gd name="T28" fmla="*/ 260 w 867"/>
                  <a:gd name="T29" fmla="*/ 610 h 1142"/>
                  <a:gd name="T30" fmla="*/ 226 w 867"/>
                  <a:gd name="T31" fmla="*/ 549 h 1142"/>
                  <a:gd name="T32" fmla="*/ 375 w 867"/>
                  <a:gd name="T33" fmla="*/ 559 h 1142"/>
                  <a:gd name="T34" fmla="*/ 246 w 867"/>
                  <a:gd name="T35" fmla="*/ 488 h 1142"/>
                  <a:gd name="T36" fmla="*/ 198 w 867"/>
                  <a:gd name="T37" fmla="*/ 479 h 1142"/>
                  <a:gd name="T38" fmla="*/ 167 w 867"/>
                  <a:gd name="T39" fmla="*/ 492 h 1142"/>
                  <a:gd name="T40" fmla="*/ 172 w 867"/>
                  <a:gd name="T41" fmla="*/ 541 h 1142"/>
                  <a:gd name="T42" fmla="*/ 177 w 867"/>
                  <a:gd name="T43" fmla="*/ 610 h 1142"/>
                  <a:gd name="T44" fmla="*/ 182 w 867"/>
                  <a:gd name="T45" fmla="*/ 640 h 1142"/>
                  <a:gd name="T46" fmla="*/ 208 w 867"/>
                  <a:gd name="T47" fmla="*/ 689 h 1142"/>
                  <a:gd name="T48" fmla="*/ 157 w 867"/>
                  <a:gd name="T49" fmla="*/ 753 h 1142"/>
                  <a:gd name="T50" fmla="*/ 147 w 867"/>
                  <a:gd name="T51" fmla="*/ 776 h 1142"/>
                  <a:gd name="T52" fmla="*/ 139 w 867"/>
                  <a:gd name="T53" fmla="*/ 818 h 1142"/>
                  <a:gd name="T54" fmla="*/ 144 w 867"/>
                  <a:gd name="T55" fmla="*/ 850 h 1142"/>
                  <a:gd name="T56" fmla="*/ 171 w 867"/>
                  <a:gd name="T57" fmla="*/ 871 h 1142"/>
                  <a:gd name="T58" fmla="*/ 197 w 867"/>
                  <a:gd name="T59" fmla="*/ 884 h 1142"/>
                  <a:gd name="T60" fmla="*/ 218 w 867"/>
                  <a:gd name="T61" fmla="*/ 920 h 1142"/>
                  <a:gd name="T62" fmla="*/ 210 w 867"/>
                  <a:gd name="T63" fmla="*/ 945 h 1142"/>
                  <a:gd name="T64" fmla="*/ 233 w 867"/>
                  <a:gd name="T65" fmla="*/ 958 h 1142"/>
                  <a:gd name="T66" fmla="*/ 256 w 867"/>
                  <a:gd name="T67" fmla="*/ 979 h 1142"/>
                  <a:gd name="T68" fmla="*/ 277 w 867"/>
                  <a:gd name="T69" fmla="*/ 999 h 1142"/>
                  <a:gd name="T70" fmla="*/ 316 w 867"/>
                  <a:gd name="T71" fmla="*/ 1009 h 1142"/>
                  <a:gd name="T72" fmla="*/ 359 w 867"/>
                  <a:gd name="T73" fmla="*/ 1029 h 1142"/>
                  <a:gd name="T74" fmla="*/ 356 w 867"/>
                  <a:gd name="T75" fmla="*/ 1058 h 1142"/>
                  <a:gd name="T76" fmla="*/ 327 w 867"/>
                  <a:gd name="T77" fmla="*/ 1081 h 1142"/>
                  <a:gd name="T78" fmla="*/ 491 w 867"/>
                  <a:gd name="T79" fmla="*/ 1123 h 1142"/>
                  <a:gd name="T80" fmla="*/ 516 w 867"/>
                  <a:gd name="T81" fmla="*/ 1097 h 1142"/>
                  <a:gd name="T82" fmla="*/ 481 w 867"/>
                  <a:gd name="T83" fmla="*/ 1041 h 1142"/>
                  <a:gd name="T84" fmla="*/ 494 w 867"/>
                  <a:gd name="T85" fmla="*/ 1006 h 1142"/>
                  <a:gd name="T86" fmla="*/ 539 w 867"/>
                  <a:gd name="T87" fmla="*/ 982 h 1142"/>
                  <a:gd name="T88" fmla="*/ 585 w 867"/>
                  <a:gd name="T89" fmla="*/ 978 h 1142"/>
                  <a:gd name="T90" fmla="*/ 631 w 867"/>
                  <a:gd name="T91" fmla="*/ 999 h 1142"/>
                  <a:gd name="T92" fmla="*/ 674 w 867"/>
                  <a:gd name="T93" fmla="*/ 988 h 1142"/>
                  <a:gd name="T94" fmla="*/ 735 w 867"/>
                  <a:gd name="T95" fmla="*/ 988 h 1142"/>
                  <a:gd name="T96" fmla="*/ 708 w 867"/>
                  <a:gd name="T97" fmla="*/ 75 h 1142"/>
                  <a:gd name="T98" fmla="*/ 597 w 867"/>
                  <a:gd name="T99" fmla="*/ 426 h 1142"/>
                  <a:gd name="T100" fmla="*/ 649 w 867"/>
                  <a:gd name="T101" fmla="*/ 446 h 1142"/>
                  <a:gd name="T102" fmla="*/ 625 w 867"/>
                  <a:gd name="T103" fmla="*/ 357 h 1142"/>
                  <a:gd name="T104" fmla="*/ 643 w 867"/>
                  <a:gd name="T105" fmla="*/ 38 h 1142"/>
                  <a:gd name="T106" fmla="*/ 635 w 867"/>
                  <a:gd name="T107" fmla="*/ 30 h 1142"/>
                  <a:gd name="T108" fmla="*/ 674 w 867"/>
                  <a:gd name="T109" fmla="*/ 8 h 1142"/>
                  <a:gd name="T110" fmla="*/ 804 w 867"/>
                  <a:gd name="T111" fmla="*/ 51 h 1142"/>
                  <a:gd name="T112" fmla="*/ 665 w 867"/>
                  <a:gd name="T113" fmla="*/ 49 h 1142"/>
                  <a:gd name="T114" fmla="*/ 27 w 867"/>
                  <a:gd name="T115" fmla="*/ 893 h 1142"/>
                  <a:gd name="T116" fmla="*/ 457 w 867"/>
                  <a:gd name="T117" fmla="*/ 71 h 1142"/>
                  <a:gd name="T118" fmla="*/ 480 w 867"/>
                  <a:gd name="T119" fmla="*/ 61 h 1142"/>
                  <a:gd name="T120" fmla="*/ 496 w 867"/>
                  <a:gd name="T121" fmla="*/ 88 h 1142"/>
                  <a:gd name="T122" fmla="*/ 549 w 867"/>
                  <a:gd name="T123" fmla="*/ 56 h 1142"/>
                  <a:gd name="T124" fmla="*/ 537 w 867"/>
                  <a:gd name="T125" fmla="*/ 492 h 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42">
                    <a:moveTo>
                      <a:pt x="787" y="233"/>
                    </a:moveTo>
                    <a:lnTo>
                      <a:pt x="783" y="233"/>
                    </a:lnTo>
                    <a:lnTo>
                      <a:pt x="776" y="235"/>
                    </a:lnTo>
                    <a:lnTo>
                      <a:pt x="760" y="237"/>
                    </a:lnTo>
                    <a:lnTo>
                      <a:pt x="757" y="239"/>
                    </a:lnTo>
                    <a:lnTo>
                      <a:pt x="753" y="237"/>
                    </a:lnTo>
                    <a:lnTo>
                      <a:pt x="738" y="236"/>
                    </a:lnTo>
                    <a:lnTo>
                      <a:pt x="734" y="236"/>
                    </a:lnTo>
                    <a:lnTo>
                      <a:pt x="730" y="236"/>
                    </a:lnTo>
                    <a:lnTo>
                      <a:pt x="728" y="239"/>
                    </a:lnTo>
                    <a:lnTo>
                      <a:pt x="727" y="240"/>
                    </a:lnTo>
                    <a:lnTo>
                      <a:pt x="728" y="242"/>
                    </a:lnTo>
                    <a:lnTo>
                      <a:pt x="728" y="243"/>
                    </a:lnTo>
                    <a:lnTo>
                      <a:pt x="727" y="245"/>
                    </a:lnTo>
                    <a:lnTo>
                      <a:pt x="725" y="246"/>
                    </a:lnTo>
                    <a:lnTo>
                      <a:pt x="724" y="245"/>
                    </a:lnTo>
                    <a:lnTo>
                      <a:pt x="722" y="245"/>
                    </a:lnTo>
                    <a:lnTo>
                      <a:pt x="722" y="243"/>
                    </a:lnTo>
                    <a:lnTo>
                      <a:pt x="720" y="243"/>
                    </a:lnTo>
                    <a:lnTo>
                      <a:pt x="718" y="243"/>
                    </a:lnTo>
                    <a:lnTo>
                      <a:pt x="717" y="243"/>
                    </a:lnTo>
                    <a:lnTo>
                      <a:pt x="714" y="245"/>
                    </a:lnTo>
                    <a:lnTo>
                      <a:pt x="712" y="245"/>
                    </a:lnTo>
                    <a:lnTo>
                      <a:pt x="712" y="246"/>
                    </a:lnTo>
                    <a:lnTo>
                      <a:pt x="711" y="248"/>
                    </a:lnTo>
                    <a:lnTo>
                      <a:pt x="710" y="249"/>
                    </a:lnTo>
                    <a:lnTo>
                      <a:pt x="707" y="250"/>
                    </a:lnTo>
                    <a:lnTo>
                      <a:pt x="702" y="252"/>
                    </a:lnTo>
                    <a:lnTo>
                      <a:pt x="695" y="253"/>
                    </a:lnTo>
                    <a:lnTo>
                      <a:pt x="691" y="255"/>
                    </a:lnTo>
                    <a:lnTo>
                      <a:pt x="682" y="260"/>
                    </a:lnTo>
                    <a:lnTo>
                      <a:pt x="676" y="263"/>
                    </a:lnTo>
                    <a:lnTo>
                      <a:pt x="675" y="265"/>
                    </a:lnTo>
                    <a:lnTo>
                      <a:pt x="675" y="266"/>
                    </a:lnTo>
                    <a:lnTo>
                      <a:pt x="675" y="268"/>
                    </a:lnTo>
                    <a:lnTo>
                      <a:pt x="675" y="269"/>
                    </a:lnTo>
                    <a:lnTo>
                      <a:pt x="674" y="271"/>
                    </a:lnTo>
                    <a:lnTo>
                      <a:pt x="671" y="273"/>
                    </a:lnTo>
                    <a:lnTo>
                      <a:pt x="669" y="275"/>
                    </a:lnTo>
                    <a:lnTo>
                      <a:pt x="669" y="276"/>
                    </a:lnTo>
                    <a:lnTo>
                      <a:pt x="669" y="279"/>
                    </a:lnTo>
                    <a:lnTo>
                      <a:pt x="668" y="281"/>
                    </a:lnTo>
                    <a:lnTo>
                      <a:pt x="668" y="281"/>
                    </a:lnTo>
                    <a:lnTo>
                      <a:pt x="664" y="281"/>
                    </a:lnTo>
                    <a:lnTo>
                      <a:pt x="661" y="279"/>
                    </a:lnTo>
                    <a:lnTo>
                      <a:pt x="656" y="279"/>
                    </a:lnTo>
                    <a:lnTo>
                      <a:pt x="653" y="282"/>
                    </a:lnTo>
                    <a:lnTo>
                      <a:pt x="653" y="283"/>
                    </a:lnTo>
                    <a:lnTo>
                      <a:pt x="655" y="285"/>
                    </a:lnTo>
                    <a:lnTo>
                      <a:pt x="655" y="286"/>
                    </a:lnTo>
                    <a:lnTo>
                      <a:pt x="653" y="286"/>
                    </a:lnTo>
                    <a:lnTo>
                      <a:pt x="651" y="291"/>
                    </a:lnTo>
                    <a:lnTo>
                      <a:pt x="649" y="292"/>
                    </a:lnTo>
                    <a:lnTo>
                      <a:pt x="648" y="292"/>
                    </a:lnTo>
                    <a:lnTo>
                      <a:pt x="643" y="291"/>
                    </a:lnTo>
                    <a:lnTo>
                      <a:pt x="641" y="289"/>
                    </a:lnTo>
                    <a:lnTo>
                      <a:pt x="636" y="289"/>
                    </a:lnTo>
                    <a:lnTo>
                      <a:pt x="636" y="294"/>
                    </a:lnTo>
                    <a:lnTo>
                      <a:pt x="636" y="295"/>
                    </a:lnTo>
                    <a:lnTo>
                      <a:pt x="638" y="296"/>
                    </a:lnTo>
                    <a:lnTo>
                      <a:pt x="639" y="296"/>
                    </a:lnTo>
                    <a:lnTo>
                      <a:pt x="641" y="298"/>
                    </a:lnTo>
                    <a:lnTo>
                      <a:pt x="645" y="298"/>
                    </a:lnTo>
                    <a:lnTo>
                      <a:pt x="646" y="298"/>
                    </a:lnTo>
                    <a:lnTo>
                      <a:pt x="648" y="299"/>
                    </a:lnTo>
                    <a:lnTo>
                      <a:pt x="643" y="302"/>
                    </a:lnTo>
                    <a:lnTo>
                      <a:pt x="641" y="304"/>
                    </a:lnTo>
                    <a:lnTo>
                      <a:pt x="638" y="308"/>
                    </a:lnTo>
                    <a:lnTo>
                      <a:pt x="633" y="312"/>
                    </a:lnTo>
                    <a:lnTo>
                      <a:pt x="632" y="314"/>
                    </a:lnTo>
                    <a:lnTo>
                      <a:pt x="632" y="315"/>
                    </a:lnTo>
                    <a:lnTo>
                      <a:pt x="633" y="317"/>
                    </a:lnTo>
                    <a:lnTo>
                      <a:pt x="635" y="317"/>
                    </a:lnTo>
                    <a:lnTo>
                      <a:pt x="639" y="318"/>
                    </a:lnTo>
                    <a:lnTo>
                      <a:pt x="642" y="318"/>
                    </a:lnTo>
                    <a:lnTo>
                      <a:pt x="638" y="319"/>
                    </a:lnTo>
                    <a:lnTo>
                      <a:pt x="631" y="319"/>
                    </a:lnTo>
                    <a:lnTo>
                      <a:pt x="628" y="321"/>
                    </a:lnTo>
                    <a:lnTo>
                      <a:pt x="625" y="324"/>
                    </a:lnTo>
                    <a:lnTo>
                      <a:pt x="619" y="331"/>
                    </a:lnTo>
                    <a:lnTo>
                      <a:pt x="618" y="335"/>
                    </a:lnTo>
                    <a:lnTo>
                      <a:pt x="615" y="337"/>
                    </a:lnTo>
                    <a:lnTo>
                      <a:pt x="602" y="342"/>
                    </a:lnTo>
                    <a:lnTo>
                      <a:pt x="600" y="344"/>
                    </a:lnTo>
                    <a:lnTo>
                      <a:pt x="600" y="345"/>
                    </a:lnTo>
                    <a:lnTo>
                      <a:pt x="602" y="347"/>
                    </a:lnTo>
                    <a:lnTo>
                      <a:pt x="605" y="348"/>
                    </a:lnTo>
                    <a:lnTo>
                      <a:pt x="608" y="350"/>
                    </a:lnTo>
                    <a:lnTo>
                      <a:pt x="608" y="351"/>
                    </a:lnTo>
                    <a:lnTo>
                      <a:pt x="606" y="352"/>
                    </a:lnTo>
                    <a:lnTo>
                      <a:pt x="608" y="354"/>
                    </a:lnTo>
                    <a:lnTo>
                      <a:pt x="609" y="354"/>
                    </a:lnTo>
                    <a:lnTo>
                      <a:pt x="609" y="355"/>
                    </a:lnTo>
                    <a:lnTo>
                      <a:pt x="610" y="355"/>
                    </a:lnTo>
                    <a:lnTo>
                      <a:pt x="610" y="355"/>
                    </a:lnTo>
                    <a:lnTo>
                      <a:pt x="615" y="354"/>
                    </a:lnTo>
                    <a:lnTo>
                      <a:pt x="616" y="354"/>
                    </a:lnTo>
                    <a:lnTo>
                      <a:pt x="619" y="352"/>
                    </a:lnTo>
                    <a:lnTo>
                      <a:pt x="620" y="352"/>
                    </a:lnTo>
                    <a:lnTo>
                      <a:pt x="623" y="352"/>
                    </a:lnTo>
                    <a:lnTo>
                      <a:pt x="631" y="355"/>
                    </a:lnTo>
                    <a:lnTo>
                      <a:pt x="632" y="355"/>
                    </a:lnTo>
                    <a:lnTo>
                      <a:pt x="638" y="355"/>
                    </a:lnTo>
                    <a:lnTo>
                      <a:pt x="639" y="357"/>
                    </a:lnTo>
                    <a:lnTo>
                      <a:pt x="645" y="357"/>
                    </a:lnTo>
                    <a:lnTo>
                      <a:pt x="648" y="358"/>
                    </a:lnTo>
                    <a:lnTo>
                      <a:pt x="652" y="357"/>
                    </a:lnTo>
                    <a:lnTo>
                      <a:pt x="656" y="355"/>
                    </a:lnTo>
                    <a:lnTo>
                      <a:pt x="658" y="354"/>
                    </a:lnTo>
                    <a:lnTo>
                      <a:pt x="659" y="352"/>
                    </a:lnTo>
                    <a:lnTo>
                      <a:pt x="659" y="351"/>
                    </a:lnTo>
                    <a:lnTo>
                      <a:pt x="661" y="350"/>
                    </a:lnTo>
                    <a:lnTo>
                      <a:pt x="664" y="350"/>
                    </a:lnTo>
                    <a:lnTo>
                      <a:pt x="665" y="348"/>
                    </a:lnTo>
                    <a:lnTo>
                      <a:pt x="665" y="347"/>
                    </a:lnTo>
                    <a:lnTo>
                      <a:pt x="665" y="345"/>
                    </a:lnTo>
                    <a:lnTo>
                      <a:pt x="664" y="344"/>
                    </a:lnTo>
                    <a:lnTo>
                      <a:pt x="662" y="342"/>
                    </a:lnTo>
                    <a:lnTo>
                      <a:pt x="664" y="341"/>
                    </a:lnTo>
                    <a:lnTo>
                      <a:pt x="666" y="342"/>
                    </a:lnTo>
                    <a:lnTo>
                      <a:pt x="669" y="344"/>
                    </a:lnTo>
                    <a:lnTo>
                      <a:pt x="672" y="342"/>
                    </a:lnTo>
                    <a:lnTo>
                      <a:pt x="672" y="340"/>
                    </a:lnTo>
                    <a:lnTo>
                      <a:pt x="671" y="337"/>
                    </a:lnTo>
                    <a:lnTo>
                      <a:pt x="671" y="335"/>
                    </a:lnTo>
                    <a:lnTo>
                      <a:pt x="675" y="334"/>
                    </a:lnTo>
                    <a:lnTo>
                      <a:pt x="681" y="332"/>
                    </a:lnTo>
                    <a:lnTo>
                      <a:pt x="684" y="329"/>
                    </a:lnTo>
                    <a:lnTo>
                      <a:pt x="687" y="327"/>
                    </a:lnTo>
                    <a:lnTo>
                      <a:pt x="685" y="324"/>
                    </a:lnTo>
                    <a:lnTo>
                      <a:pt x="684" y="321"/>
                    </a:lnTo>
                    <a:lnTo>
                      <a:pt x="684" y="319"/>
                    </a:lnTo>
                    <a:lnTo>
                      <a:pt x="687" y="319"/>
                    </a:lnTo>
                    <a:lnTo>
                      <a:pt x="691" y="319"/>
                    </a:lnTo>
                    <a:lnTo>
                      <a:pt x="692" y="319"/>
                    </a:lnTo>
                    <a:lnTo>
                      <a:pt x="694" y="318"/>
                    </a:lnTo>
                    <a:lnTo>
                      <a:pt x="694" y="317"/>
                    </a:lnTo>
                    <a:lnTo>
                      <a:pt x="694" y="315"/>
                    </a:lnTo>
                    <a:lnTo>
                      <a:pt x="695" y="314"/>
                    </a:lnTo>
                    <a:lnTo>
                      <a:pt x="695" y="312"/>
                    </a:lnTo>
                    <a:lnTo>
                      <a:pt x="697" y="311"/>
                    </a:lnTo>
                    <a:lnTo>
                      <a:pt x="702" y="314"/>
                    </a:lnTo>
                    <a:lnTo>
                      <a:pt x="705" y="314"/>
                    </a:lnTo>
                    <a:lnTo>
                      <a:pt x="705" y="312"/>
                    </a:lnTo>
                    <a:lnTo>
                      <a:pt x="705" y="309"/>
                    </a:lnTo>
                    <a:lnTo>
                      <a:pt x="705" y="308"/>
                    </a:lnTo>
                    <a:lnTo>
                      <a:pt x="707" y="308"/>
                    </a:lnTo>
                    <a:lnTo>
                      <a:pt x="711" y="308"/>
                    </a:lnTo>
                    <a:lnTo>
                      <a:pt x="712" y="306"/>
                    </a:lnTo>
                    <a:lnTo>
                      <a:pt x="715" y="305"/>
                    </a:lnTo>
                    <a:lnTo>
                      <a:pt x="717" y="302"/>
                    </a:lnTo>
                    <a:lnTo>
                      <a:pt x="718" y="299"/>
                    </a:lnTo>
                    <a:lnTo>
                      <a:pt x="714" y="299"/>
                    </a:lnTo>
                    <a:lnTo>
                      <a:pt x="715" y="296"/>
                    </a:lnTo>
                    <a:lnTo>
                      <a:pt x="717" y="296"/>
                    </a:lnTo>
                    <a:lnTo>
                      <a:pt x="720" y="295"/>
                    </a:lnTo>
                    <a:lnTo>
                      <a:pt x="721" y="294"/>
                    </a:lnTo>
                    <a:lnTo>
                      <a:pt x="722" y="294"/>
                    </a:lnTo>
                    <a:lnTo>
                      <a:pt x="731" y="285"/>
                    </a:lnTo>
                    <a:lnTo>
                      <a:pt x="732" y="283"/>
                    </a:lnTo>
                    <a:lnTo>
                      <a:pt x="734" y="283"/>
                    </a:lnTo>
                    <a:lnTo>
                      <a:pt x="737" y="282"/>
                    </a:lnTo>
                    <a:lnTo>
                      <a:pt x="741" y="281"/>
                    </a:lnTo>
                    <a:lnTo>
                      <a:pt x="751" y="275"/>
                    </a:lnTo>
                    <a:lnTo>
                      <a:pt x="850" y="237"/>
                    </a:lnTo>
                    <a:lnTo>
                      <a:pt x="855" y="235"/>
                    </a:lnTo>
                    <a:lnTo>
                      <a:pt x="865" y="226"/>
                    </a:lnTo>
                    <a:lnTo>
                      <a:pt x="866" y="225"/>
                    </a:lnTo>
                    <a:lnTo>
                      <a:pt x="866" y="225"/>
                    </a:lnTo>
                    <a:lnTo>
                      <a:pt x="866" y="223"/>
                    </a:lnTo>
                    <a:lnTo>
                      <a:pt x="866" y="222"/>
                    </a:lnTo>
                    <a:lnTo>
                      <a:pt x="867" y="220"/>
                    </a:lnTo>
                    <a:lnTo>
                      <a:pt x="863" y="216"/>
                    </a:lnTo>
                    <a:lnTo>
                      <a:pt x="856" y="212"/>
                    </a:lnTo>
                    <a:lnTo>
                      <a:pt x="847" y="212"/>
                    </a:lnTo>
                    <a:lnTo>
                      <a:pt x="840" y="212"/>
                    </a:lnTo>
                    <a:lnTo>
                      <a:pt x="833" y="213"/>
                    </a:lnTo>
                    <a:lnTo>
                      <a:pt x="824" y="216"/>
                    </a:lnTo>
                    <a:lnTo>
                      <a:pt x="819" y="219"/>
                    </a:lnTo>
                    <a:lnTo>
                      <a:pt x="817" y="219"/>
                    </a:lnTo>
                    <a:lnTo>
                      <a:pt x="813" y="223"/>
                    </a:lnTo>
                    <a:lnTo>
                      <a:pt x="810" y="225"/>
                    </a:lnTo>
                    <a:lnTo>
                      <a:pt x="807" y="226"/>
                    </a:lnTo>
                    <a:lnTo>
                      <a:pt x="800" y="229"/>
                    </a:lnTo>
                    <a:lnTo>
                      <a:pt x="787" y="233"/>
                    </a:lnTo>
                    <a:close/>
                    <a:moveTo>
                      <a:pt x="701" y="459"/>
                    </a:moveTo>
                    <a:lnTo>
                      <a:pt x="697" y="456"/>
                    </a:lnTo>
                    <a:lnTo>
                      <a:pt x="695" y="453"/>
                    </a:lnTo>
                    <a:lnTo>
                      <a:pt x="692" y="453"/>
                    </a:lnTo>
                    <a:lnTo>
                      <a:pt x="689" y="453"/>
                    </a:lnTo>
                    <a:lnTo>
                      <a:pt x="687" y="454"/>
                    </a:lnTo>
                    <a:lnTo>
                      <a:pt x="684" y="457"/>
                    </a:lnTo>
                    <a:lnTo>
                      <a:pt x="682" y="459"/>
                    </a:lnTo>
                    <a:lnTo>
                      <a:pt x="685" y="465"/>
                    </a:lnTo>
                    <a:lnTo>
                      <a:pt x="687" y="467"/>
                    </a:lnTo>
                    <a:lnTo>
                      <a:pt x="689" y="469"/>
                    </a:lnTo>
                    <a:lnTo>
                      <a:pt x="691" y="470"/>
                    </a:lnTo>
                    <a:lnTo>
                      <a:pt x="694" y="472"/>
                    </a:lnTo>
                    <a:lnTo>
                      <a:pt x="695" y="472"/>
                    </a:lnTo>
                    <a:lnTo>
                      <a:pt x="698" y="472"/>
                    </a:lnTo>
                    <a:lnTo>
                      <a:pt x="699" y="473"/>
                    </a:lnTo>
                    <a:lnTo>
                      <a:pt x="702" y="476"/>
                    </a:lnTo>
                    <a:lnTo>
                      <a:pt x="705" y="477"/>
                    </a:lnTo>
                    <a:lnTo>
                      <a:pt x="708" y="477"/>
                    </a:lnTo>
                    <a:lnTo>
                      <a:pt x="712" y="477"/>
                    </a:lnTo>
                    <a:lnTo>
                      <a:pt x="715" y="477"/>
                    </a:lnTo>
                    <a:lnTo>
                      <a:pt x="718" y="476"/>
                    </a:lnTo>
                    <a:lnTo>
                      <a:pt x="718" y="472"/>
                    </a:lnTo>
                    <a:lnTo>
                      <a:pt x="712" y="466"/>
                    </a:lnTo>
                    <a:lnTo>
                      <a:pt x="701" y="459"/>
                    </a:lnTo>
                    <a:close/>
                    <a:moveTo>
                      <a:pt x="639" y="88"/>
                    </a:moveTo>
                    <a:lnTo>
                      <a:pt x="638" y="89"/>
                    </a:lnTo>
                    <a:lnTo>
                      <a:pt x="636" y="91"/>
                    </a:lnTo>
                    <a:lnTo>
                      <a:pt x="635" y="92"/>
                    </a:lnTo>
                    <a:lnTo>
                      <a:pt x="639" y="94"/>
                    </a:lnTo>
                    <a:lnTo>
                      <a:pt x="643" y="94"/>
                    </a:lnTo>
                    <a:lnTo>
                      <a:pt x="653" y="94"/>
                    </a:lnTo>
                    <a:lnTo>
                      <a:pt x="656" y="94"/>
                    </a:lnTo>
                    <a:lnTo>
                      <a:pt x="658" y="94"/>
                    </a:lnTo>
                    <a:lnTo>
                      <a:pt x="658" y="92"/>
                    </a:lnTo>
                    <a:lnTo>
                      <a:pt x="659" y="85"/>
                    </a:lnTo>
                    <a:lnTo>
                      <a:pt x="659" y="82"/>
                    </a:lnTo>
                    <a:lnTo>
                      <a:pt x="659" y="81"/>
                    </a:lnTo>
                    <a:lnTo>
                      <a:pt x="658" y="79"/>
                    </a:lnTo>
                    <a:lnTo>
                      <a:pt x="656" y="78"/>
                    </a:lnTo>
                    <a:lnTo>
                      <a:pt x="653" y="78"/>
                    </a:lnTo>
                    <a:lnTo>
                      <a:pt x="652" y="78"/>
                    </a:lnTo>
                    <a:lnTo>
                      <a:pt x="651" y="79"/>
                    </a:lnTo>
                    <a:lnTo>
                      <a:pt x="649" y="79"/>
                    </a:lnTo>
                    <a:lnTo>
                      <a:pt x="649" y="79"/>
                    </a:lnTo>
                    <a:lnTo>
                      <a:pt x="648" y="79"/>
                    </a:lnTo>
                    <a:lnTo>
                      <a:pt x="643" y="79"/>
                    </a:lnTo>
                    <a:lnTo>
                      <a:pt x="642" y="79"/>
                    </a:lnTo>
                    <a:lnTo>
                      <a:pt x="639" y="79"/>
                    </a:lnTo>
                    <a:lnTo>
                      <a:pt x="639" y="81"/>
                    </a:lnTo>
                    <a:lnTo>
                      <a:pt x="639" y="82"/>
                    </a:lnTo>
                    <a:lnTo>
                      <a:pt x="639" y="85"/>
                    </a:lnTo>
                    <a:lnTo>
                      <a:pt x="639" y="88"/>
                    </a:lnTo>
                    <a:close/>
                    <a:moveTo>
                      <a:pt x="629" y="84"/>
                    </a:moveTo>
                    <a:lnTo>
                      <a:pt x="631" y="82"/>
                    </a:lnTo>
                    <a:lnTo>
                      <a:pt x="629" y="79"/>
                    </a:lnTo>
                    <a:lnTo>
                      <a:pt x="626" y="81"/>
                    </a:lnTo>
                    <a:lnTo>
                      <a:pt x="623" y="82"/>
                    </a:lnTo>
                    <a:lnTo>
                      <a:pt x="622" y="84"/>
                    </a:lnTo>
                    <a:lnTo>
                      <a:pt x="623" y="85"/>
                    </a:lnTo>
                    <a:lnTo>
                      <a:pt x="626" y="85"/>
                    </a:lnTo>
                    <a:lnTo>
                      <a:pt x="629" y="84"/>
                    </a:lnTo>
                    <a:close/>
                    <a:moveTo>
                      <a:pt x="689" y="26"/>
                    </a:moveTo>
                    <a:lnTo>
                      <a:pt x="687" y="28"/>
                    </a:lnTo>
                    <a:lnTo>
                      <a:pt x="687" y="30"/>
                    </a:lnTo>
                    <a:lnTo>
                      <a:pt x="689" y="32"/>
                    </a:lnTo>
                    <a:lnTo>
                      <a:pt x="694" y="32"/>
                    </a:lnTo>
                    <a:lnTo>
                      <a:pt x="698" y="32"/>
                    </a:lnTo>
                    <a:lnTo>
                      <a:pt x="698" y="29"/>
                    </a:lnTo>
                    <a:lnTo>
                      <a:pt x="695" y="26"/>
                    </a:lnTo>
                    <a:lnTo>
                      <a:pt x="689" y="26"/>
                    </a:lnTo>
                    <a:close/>
                    <a:moveTo>
                      <a:pt x="609" y="61"/>
                    </a:moveTo>
                    <a:lnTo>
                      <a:pt x="615" y="62"/>
                    </a:lnTo>
                    <a:lnTo>
                      <a:pt x="615" y="62"/>
                    </a:lnTo>
                    <a:lnTo>
                      <a:pt x="616" y="64"/>
                    </a:lnTo>
                    <a:lnTo>
                      <a:pt x="618" y="64"/>
                    </a:lnTo>
                    <a:lnTo>
                      <a:pt x="619" y="64"/>
                    </a:lnTo>
                    <a:lnTo>
                      <a:pt x="622" y="64"/>
                    </a:lnTo>
                    <a:lnTo>
                      <a:pt x="623" y="62"/>
                    </a:lnTo>
                    <a:lnTo>
                      <a:pt x="626" y="64"/>
                    </a:lnTo>
                    <a:lnTo>
                      <a:pt x="629" y="65"/>
                    </a:lnTo>
                    <a:lnTo>
                      <a:pt x="632" y="66"/>
                    </a:lnTo>
                    <a:lnTo>
                      <a:pt x="635" y="68"/>
                    </a:lnTo>
                    <a:lnTo>
                      <a:pt x="636" y="68"/>
                    </a:lnTo>
                    <a:lnTo>
                      <a:pt x="639" y="68"/>
                    </a:lnTo>
                    <a:lnTo>
                      <a:pt x="658" y="66"/>
                    </a:lnTo>
                    <a:lnTo>
                      <a:pt x="665" y="64"/>
                    </a:lnTo>
                    <a:lnTo>
                      <a:pt x="669" y="61"/>
                    </a:lnTo>
                    <a:lnTo>
                      <a:pt x="666" y="59"/>
                    </a:lnTo>
                    <a:lnTo>
                      <a:pt x="655" y="55"/>
                    </a:lnTo>
                    <a:lnTo>
                      <a:pt x="648" y="51"/>
                    </a:lnTo>
                    <a:lnTo>
                      <a:pt x="645" y="49"/>
                    </a:lnTo>
                    <a:lnTo>
                      <a:pt x="641" y="49"/>
                    </a:lnTo>
                    <a:lnTo>
                      <a:pt x="633" y="49"/>
                    </a:lnTo>
                    <a:lnTo>
                      <a:pt x="631" y="49"/>
                    </a:lnTo>
                    <a:lnTo>
                      <a:pt x="626" y="49"/>
                    </a:lnTo>
                    <a:lnTo>
                      <a:pt x="616" y="43"/>
                    </a:lnTo>
                    <a:lnTo>
                      <a:pt x="615" y="45"/>
                    </a:lnTo>
                    <a:lnTo>
                      <a:pt x="613" y="48"/>
                    </a:lnTo>
                    <a:lnTo>
                      <a:pt x="610" y="52"/>
                    </a:lnTo>
                    <a:lnTo>
                      <a:pt x="610" y="55"/>
                    </a:lnTo>
                    <a:lnTo>
                      <a:pt x="610" y="55"/>
                    </a:lnTo>
                    <a:lnTo>
                      <a:pt x="609" y="55"/>
                    </a:lnTo>
                    <a:lnTo>
                      <a:pt x="608" y="56"/>
                    </a:lnTo>
                    <a:lnTo>
                      <a:pt x="606" y="56"/>
                    </a:lnTo>
                    <a:lnTo>
                      <a:pt x="605" y="58"/>
                    </a:lnTo>
                    <a:lnTo>
                      <a:pt x="605" y="59"/>
                    </a:lnTo>
                    <a:lnTo>
                      <a:pt x="606" y="61"/>
                    </a:lnTo>
                    <a:lnTo>
                      <a:pt x="609" y="61"/>
                    </a:lnTo>
                    <a:close/>
                    <a:moveTo>
                      <a:pt x="282" y="615"/>
                    </a:moveTo>
                    <a:lnTo>
                      <a:pt x="280" y="615"/>
                    </a:lnTo>
                    <a:lnTo>
                      <a:pt x="280" y="618"/>
                    </a:lnTo>
                    <a:lnTo>
                      <a:pt x="280" y="620"/>
                    </a:lnTo>
                    <a:lnTo>
                      <a:pt x="283" y="621"/>
                    </a:lnTo>
                    <a:lnTo>
                      <a:pt x="283" y="623"/>
                    </a:lnTo>
                    <a:lnTo>
                      <a:pt x="284" y="623"/>
                    </a:lnTo>
                    <a:lnTo>
                      <a:pt x="284" y="621"/>
                    </a:lnTo>
                    <a:lnTo>
                      <a:pt x="284" y="620"/>
                    </a:lnTo>
                    <a:lnTo>
                      <a:pt x="284" y="620"/>
                    </a:lnTo>
                    <a:lnTo>
                      <a:pt x="284" y="617"/>
                    </a:lnTo>
                    <a:lnTo>
                      <a:pt x="283" y="615"/>
                    </a:lnTo>
                    <a:lnTo>
                      <a:pt x="282" y="615"/>
                    </a:lnTo>
                    <a:close/>
                    <a:moveTo>
                      <a:pt x="497" y="1124"/>
                    </a:moveTo>
                    <a:lnTo>
                      <a:pt x="497" y="1124"/>
                    </a:lnTo>
                    <a:lnTo>
                      <a:pt x="498" y="1126"/>
                    </a:lnTo>
                    <a:lnTo>
                      <a:pt x="498" y="1126"/>
                    </a:lnTo>
                    <a:lnTo>
                      <a:pt x="498" y="1124"/>
                    </a:lnTo>
                    <a:lnTo>
                      <a:pt x="498" y="1124"/>
                    </a:lnTo>
                    <a:lnTo>
                      <a:pt x="497" y="1121"/>
                    </a:lnTo>
                    <a:lnTo>
                      <a:pt x="497" y="1123"/>
                    </a:lnTo>
                    <a:lnTo>
                      <a:pt x="497" y="1124"/>
                    </a:lnTo>
                    <a:close/>
                    <a:moveTo>
                      <a:pt x="708" y="946"/>
                    </a:moveTo>
                    <a:lnTo>
                      <a:pt x="705" y="916"/>
                    </a:lnTo>
                    <a:lnTo>
                      <a:pt x="722" y="876"/>
                    </a:lnTo>
                    <a:lnTo>
                      <a:pt x="731" y="801"/>
                    </a:lnTo>
                    <a:lnTo>
                      <a:pt x="727" y="776"/>
                    </a:lnTo>
                    <a:lnTo>
                      <a:pt x="724" y="752"/>
                    </a:lnTo>
                    <a:lnTo>
                      <a:pt x="731" y="710"/>
                    </a:lnTo>
                    <a:lnTo>
                      <a:pt x="732" y="670"/>
                    </a:lnTo>
                    <a:lnTo>
                      <a:pt x="763" y="633"/>
                    </a:lnTo>
                    <a:lnTo>
                      <a:pt x="801" y="600"/>
                    </a:lnTo>
                    <a:lnTo>
                      <a:pt x="820" y="568"/>
                    </a:lnTo>
                    <a:lnTo>
                      <a:pt x="847" y="545"/>
                    </a:lnTo>
                    <a:lnTo>
                      <a:pt x="860" y="525"/>
                    </a:lnTo>
                    <a:lnTo>
                      <a:pt x="856" y="511"/>
                    </a:lnTo>
                    <a:lnTo>
                      <a:pt x="855" y="511"/>
                    </a:lnTo>
                    <a:lnTo>
                      <a:pt x="843" y="505"/>
                    </a:lnTo>
                    <a:lnTo>
                      <a:pt x="833" y="498"/>
                    </a:lnTo>
                    <a:lnTo>
                      <a:pt x="830" y="496"/>
                    </a:lnTo>
                    <a:lnTo>
                      <a:pt x="824" y="495"/>
                    </a:lnTo>
                    <a:lnTo>
                      <a:pt x="806" y="489"/>
                    </a:lnTo>
                    <a:lnTo>
                      <a:pt x="800" y="488"/>
                    </a:lnTo>
                    <a:lnTo>
                      <a:pt x="796" y="488"/>
                    </a:lnTo>
                    <a:lnTo>
                      <a:pt x="791" y="483"/>
                    </a:lnTo>
                    <a:lnTo>
                      <a:pt x="778" y="480"/>
                    </a:lnTo>
                    <a:lnTo>
                      <a:pt x="728" y="473"/>
                    </a:lnTo>
                    <a:lnTo>
                      <a:pt x="727" y="473"/>
                    </a:lnTo>
                    <a:lnTo>
                      <a:pt x="724" y="475"/>
                    </a:lnTo>
                    <a:lnTo>
                      <a:pt x="720" y="476"/>
                    </a:lnTo>
                    <a:lnTo>
                      <a:pt x="715" y="477"/>
                    </a:lnTo>
                    <a:lnTo>
                      <a:pt x="712" y="479"/>
                    </a:lnTo>
                    <a:lnTo>
                      <a:pt x="714" y="482"/>
                    </a:lnTo>
                    <a:lnTo>
                      <a:pt x="718" y="486"/>
                    </a:lnTo>
                    <a:lnTo>
                      <a:pt x="720" y="489"/>
                    </a:lnTo>
                    <a:lnTo>
                      <a:pt x="721" y="489"/>
                    </a:lnTo>
                    <a:lnTo>
                      <a:pt x="721" y="490"/>
                    </a:lnTo>
                    <a:lnTo>
                      <a:pt x="722" y="490"/>
                    </a:lnTo>
                    <a:lnTo>
                      <a:pt x="722" y="490"/>
                    </a:lnTo>
                    <a:lnTo>
                      <a:pt x="724" y="490"/>
                    </a:lnTo>
                    <a:lnTo>
                      <a:pt x="725" y="490"/>
                    </a:lnTo>
                    <a:lnTo>
                      <a:pt x="725" y="492"/>
                    </a:lnTo>
                    <a:lnTo>
                      <a:pt x="725" y="493"/>
                    </a:lnTo>
                    <a:lnTo>
                      <a:pt x="724" y="498"/>
                    </a:lnTo>
                    <a:lnTo>
                      <a:pt x="718" y="499"/>
                    </a:lnTo>
                    <a:lnTo>
                      <a:pt x="714" y="500"/>
                    </a:lnTo>
                    <a:lnTo>
                      <a:pt x="708" y="500"/>
                    </a:lnTo>
                    <a:lnTo>
                      <a:pt x="708" y="503"/>
                    </a:lnTo>
                    <a:lnTo>
                      <a:pt x="708" y="506"/>
                    </a:lnTo>
                    <a:lnTo>
                      <a:pt x="707" y="509"/>
                    </a:lnTo>
                    <a:lnTo>
                      <a:pt x="702" y="511"/>
                    </a:lnTo>
                    <a:lnTo>
                      <a:pt x="699" y="509"/>
                    </a:lnTo>
                    <a:lnTo>
                      <a:pt x="698" y="509"/>
                    </a:lnTo>
                    <a:lnTo>
                      <a:pt x="695" y="508"/>
                    </a:lnTo>
                    <a:lnTo>
                      <a:pt x="694" y="506"/>
                    </a:lnTo>
                    <a:lnTo>
                      <a:pt x="694" y="505"/>
                    </a:lnTo>
                    <a:lnTo>
                      <a:pt x="695" y="502"/>
                    </a:lnTo>
                    <a:lnTo>
                      <a:pt x="697" y="500"/>
                    </a:lnTo>
                    <a:lnTo>
                      <a:pt x="698" y="500"/>
                    </a:lnTo>
                    <a:lnTo>
                      <a:pt x="695" y="496"/>
                    </a:lnTo>
                    <a:lnTo>
                      <a:pt x="692" y="495"/>
                    </a:lnTo>
                    <a:lnTo>
                      <a:pt x="691" y="493"/>
                    </a:lnTo>
                    <a:lnTo>
                      <a:pt x="688" y="493"/>
                    </a:lnTo>
                    <a:lnTo>
                      <a:pt x="684" y="495"/>
                    </a:lnTo>
                    <a:lnTo>
                      <a:pt x="681" y="496"/>
                    </a:lnTo>
                    <a:lnTo>
                      <a:pt x="678" y="498"/>
                    </a:lnTo>
                    <a:lnTo>
                      <a:pt x="675" y="498"/>
                    </a:lnTo>
                    <a:lnTo>
                      <a:pt x="661" y="503"/>
                    </a:lnTo>
                    <a:lnTo>
                      <a:pt x="655" y="505"/>
                    </a:lnTo>
                    <a:lnTo>
                      <a:pt x="642" y="503"/>
                    </a:lnTo>
                    <a:lnTo>
                      <a:pt x="636" y="503"/>
                    </a:lnTo>
                    <a:lnTo>
                      <a:pt x="631" y="505"/>
                    </a:lnTo>
                    <a:lnTo>
                      <a:pt x="628" y="505"/>
                    </a:lnTo>
                    <a:lnTo>
                      <a:pt x="625" y="506"/>
                    </a:lnTo>
                    <a:lnTo>
                      <a:pt x="622" y="508"/>
                    </a:lnTo>
                    <a:lnTo>
                      <a:pt x="620" y="511"/>
                    </a:lnTo>
                    <a:lnTo>
                      <a:pt x="619" y="512"/>
                    </a:lnTo>
                    <a:lnTo>
                      <a:pt x="619" y="513"/>
                    </a:lnTo>
                    <a:lnTo>
                      <a:pt x="619" y="513"/>
                    </a:lnTo>
                    <a:lnTo>
                      <a:pt x="618" y="515"/>
                    </a:lnTo>
                    <a:lnTo>
                      <a:pt x="616" y="513"/>
                    </a:lnTo>
                    <a:lnTo>
                      <a:pt x="615" y="512"/>
                    </a:lnTo>
                    <a:lnTo>
                      <a:pt x="613" y="512"/>
                    </a:lnTo>
                    <a:lnTo>
                      <a:pt x="610" y="512"/>
                    </a:lnTo>
                    <a:lnTo>
                      <a:pt x="603" y="513"/>
                    </a:lnTo>
                    <a:lnTo>
                      <a:pt x="600" y="513"/>
                    </a:lnTo>
                    <a:lnTo>
                      <a:pt x="592" y="512"/>
                    </a:lnTo>
                    <a:lnTo>
                      <a:pt x="593" y="511"/>
                    </a:lnTo>
                    <a:lnTo>
                      <a:pt x="597" y="509"/>
                    </a:lnTo>
                    <a:lnTo>
                      <a:pt x="600" y="509"/>
                    </a:lnTo>
                    <a:lnTo>
                      <a:pt x="603" y="508"/>
                    </a:lnTo>
                    <a:lnTo>
                      <a:pt x="603" y="506"/>
                    </a:lnTo>
                    <a:lnTo>
                      <a:pt x="602" y="505"/>
                    </a:lnTo>
                    <a:lnTo>
                      <a:pt x="600" y="503"/>
                    </a:lnTo>
                    <a:lnTo>
                      <a:pt x="600" y="502"/>
                    </a:lnTo>
                    <a:lnTo>
                      <a:pt x="600" y="500"/>
                    </a:lnTo>
                    <a:lnTo>
                      <a:pt x="602" y="499"/>
                    </a:lnTo>
                    <a:lnTo>
                      <a:pt x="603" y="498"/>
                    </a:lnTo>
                    <a:lnTo>
                      <a:pt x="603" y="498"/>
                    </a:lnTo>
                    <a:lnTo>
                      <a:pt x="603" y="498"/>
                    </a:lnTo>
                    <a:lnTo>
                      <a:pt x="602" y="496"/>
                    </a:lnTo>
                    <a:lnTo>
                      <a:pt x="602" y="496"/>
                    </a:lnTo>
                    <a:lnTo>
                      <a:pt x="600" y="496"/>
                    </a:lnTo>
                    <a:lnTo>
                      <a:pt x="603" y="495"/>
                    </a:lnTo>
                    <a:lnTo>
                      <a:pt x="606" y="495"/>
                    </a:lnTo>
                    <a:lnTo>
                      <a:pt x="609" y="495"/>
                    </a:lnTo>
                    <a:lnTo>
                      <a:pt x="613" y="493"/>
                    </a:lnTo>
                    <a:lnTo>
                      <a:pt x="603" y="493"/>
                    </a:lnTo>
                    <a:lnTo>
                      <a:pt x="593" y="496"/>
                    </a:lnTo>
                    <a:lnTo>
                      <a:pt x="585" y="499"/>
                    </a:lnTo>
                    <a:lnTo>
                      <a:pt x="575" y="503"/>
                    </a:lnTo>
                    <a:lnTo>
                      <a:pt x="577" y="503"/>
                    </a:lnTo>
                    <a:lnTo>
                      <a:pt x="579" y="505"/>
                    </a:lnTo>
                    <a:lnTo>
                      <a:pt x="580" y="505"/>
                    </a:lnTo>
                    <a:lnTo>
                      <a:pt x="582" y="506"/>
                    </a:lnTo>
                    <a:lnTo>
                      <a:pt x="580" y="508"/>
                    </a:lnTo>
                    <a:lnTo>
                      <a:pt x="577" y="509"/>
                    </a:lnTo>
                    <a:lnTo>
                      <a:pt x="575" y="511"/>
                    </a:lnTo>
                    <a:lnTo>
                      <a:pt x="572" y="509"/>
                    </a:lnTo>
                    <a:lnTo>
                      <a:pt x="573" y="509"/>
                    </a:lnTo>
                    <a:lnTo>
                      <a:pt x="573" y="508"/>
                    </a:lnTo>
                    <a:lnTo>
                      <a:pt x="575" y="508"/>
                    </a:lnTo>
                    <a:lnTo>
                      <a:pt x="570" y="505"/>
                    </a:lnTo>
                    <a:lnTo>
                      <a:pt x="566" y="505"/>
                    </a:lnTo>
                    <a:lnTo>
                      <a:pt x="546" y="511"/>
                    </a:lnTo>
                    <a:lnTo>
                      <a:pt x="521" y="522"/>
                    </a:lnTo>
                    <a:lnTo>
                      <a:pt x="518" y="523"/>
                    </a:lnTo>
                    <a:lnTo>
                      <a:pt x="517" y="523"/>
                    </a:lnTo>
                    <a:lnTo>
                      <a:pt x="513" y="523"/>
                    </a:lnTo>
                    <a:lnTo>
                      <a:pt x="511" y="523"/>
                    </a:lnTo>
                    <a:lnTo>
                      <a:pt x="513" y="525"/>
                    </a:lnTo>
                    <a:lnTo>
                      <a:pt x="513" y="526"/>
                    </a:lnTo>
                    <a:lnTo>
                      <a:pt x="514" y="526"/>
                    </a:lnTo>
                    <a:lnTo>
                      <a:pt x="514" y="528"/>
                    </a:lnTo>
                    <a:lnTo>
                      <a:pt x="513" y="528"/>
                    </a:lnTo>
                    <a:lnTo>
                      <a:pt x="513" y="528"/>
                    </a:lnTo>
                    <a:lnTo>
                      <a:pt x="511" y="528"/>
                    </a:lnTo>
                    <a:lnTo>
                      <a:pt x="501" y="531"/>
                    </a:lnTo>
                    <a:lnTo>
                      <a:pt x="498" y="532"/>
                    </a:lnTo>
                    <a:lnTo>
                      <a:pt x="497" y="532"/>
                    </a:lnTo>
                    <a:lnTo>
                      <a:pt x="496" y="538"/>
                    </a:lnTo>
                    <a:lnTo>
                      <a:pt x="494" y="545"/>
                    </a:lnTo>
                    <a:lnTo>
                      <a:pt x="494" y="548"/>
                    </a:lnTo>
                    <a:lnTo>
                      <a:pt x="490" y="551"/>
                    </a:lnTo>
                    <a:lnTo>
                      <a:pt x="485" y="554"/>
                    </a:lnTo>
                    <a:lnTo>
                      <a:pt x="475" y="555"/>
                    </a:lnTo>
                    <a:lnTo>
                      <a:pt x="471" y="555"/>
                    </a:lnTo>
                    <a:lnTo>
                      <a:pt x="467" y="555"/>
                    </a:lnTo>
                    <a:lnTo>
                      <a:pt x="462" y="554"/>
                    </a:lnTo>
                    <a:lnTo>
                      <a:pt x="460" y="551"/>
                    </a:lnTo>
                    <a:lnTo>
                      <a:pt x="457" y="545"/>
                    </a:lnTo>
                    <a:lnTo>
                      <a:pt x="454" y="544"/>
                    </a:lnTo>
                    <a:lnTo>
                      <a:pt x="452" y="542"/>
                    </a:lnTo>
                    <a:lnTo>
                      <a:pt x="450" y="541"/>
                    </a:lnTo>
                    <a:lnTo>
                      <a:pt x="447" y="539"/>
                    </a:lnTo>
                    <a:lnTo>
                      <a:pt x="445" y="538"/>
                    </a:lnTo>
                    <a:lnTo>
                      <a:pt x="445" y="534"/>
                    </a:lnTo>
                    <a:lnTo>
                      <a:pt x="450" y="531"/>
                    </a:lnTo>
                    <a:lnTo>
                      <a:pt x="454" y="528"/>
                    </a:lnTo>
                    <a:lnTo>
                      <a:pt x="458" y="526"/>
                    </a:lnTo>
                    <a:lnTo>
                      <a:pt x="470" y="525"/>
                    </a:lnTo>
                    <a:lnTo>
                      <a:pt x="473" y="525"/>
                    </a:lnTo>
                    <a:lnTo>
                      <a:pt x="474" y="523"/>
                    </a:lnTo>
                    <a:lnTo>
                      <a:pt x="475" y="523"/>
                    </a:lnTo>
                    <a:lnTo>
                      <a:pt x="475" y="521"/>
                    </a:lnTo>
                    <a:lnTo>
                      <a:pt x="474" y="519"/>
                    </a:lnTo>
                    <a:lnTo>
                      <a:pt x="468" y="513"/>
                    </a:lnTo>
                    <a:lnTo>
                      <a:pt x="464" y="508"/>
                    </a:lnTo>
                    <a:lnTo>
                      <a:pt x="461" y="506"/>
                    </a:lnTo>
                    <a:lnTo>
                      <a:pt x="457" y="505"/>
                    </a:lnTo>
                    <a:lnTo>
                      <a:pt x="450" y="503"/>
                    </a:lnTo>
                    <a:lnTo>
                      <a:pt x="431" y="505"/>
                    </a:lnTo>
                    <a:lnTo>
                      <a:pt x="428" y="505"/>
                    </a:lnTo>
                    <a:lnTo>
                      <a:pt x="422" y="502"/>
                    </a:lnTo>
                    <a:lnTo>
                      <a:pt x="419" y="502"/>
                    </a:lnTo>
                    <a:lnTo>
                      <a:pt x="417" y="502"/>
                    </a:lnTo>
                    <a:lnTo>
                      <a:pt x="421" y="506"/>
                    </a:lnTo>
                    <a:lnTo>
                      <a:pt x="425" y="508"/>
                    </a:lnTo>
                    <a:lnTo>
                      <a:pt x="431" y="511"/>
                    </a:lnTo>
                    <a:lnTo>
                      <a:pt x="432" y="516"/>
                    </a:lnTo>
                    <a:lnTo>
                      <a:pt x="432" y="521"/>
                    </a:lnTo>
                    <a:lnTo>
                      <a:pt x="431" y="523"/>
                    </a:lnTo>
                    <a:lnTo>
                      <a:pt x="428" y="529"/>
                    </a:lnTo>
                    <a:lnTo>
                      <a:pt x="425" y="535"/>
                    </a:lnTo>
                    <a:lnTo>
                      <a:pt x="424" y="539"/>
                    </a:lnTo>
                    <a:lnTo>
                      <a:pt x="424" y="542"/>
                    </a:lnTo>
                    <a:lnTo>
                      <a:pt x="427" y="544"/>
                    </a:lnTo>
                    <a:lnTo>
                      <a:pt x="432" y="546"/>
                    </a:lnTo>
                    <a:lnTo>
                      <a:pt x="434" y="548"/>
                    </a:lnTo>
                    <a:lnTo>
                      <a:pt x="435" y="551"/>
                    </a:lnTo>
                    <a:lnTo>
                      <a:pt x="437" y="554"/>
                    </a:lnTo>
                    <a:lnTo>
                      <a:pt x="437" y="558"/>
                    </a:lnTo>
                    <a:lnTo>
                      <a:pt x="437" y="561"/>
                    </a:lnTo>
                    <a:lnTo>
                      <a:pt x="435" y="564"/>
                    </a:lnTo>
                    <a:lnTo>
                      <a:pt x="432" y="569"/>
                    </a:lnTo>
                    <a:lnTo>
                      <a:pt x="431" y="572"/>
                    </a:lnTo>
                    <a:lnTo>
                      <a:pt x="431" y="575"/>
                    </a:lnTo>
                    <a:lnTo>
                      <a:pt x="431" y="581"/>
                    </a:lnTo>
                    <a:lnTo>
                      <a:pt x="429" y="584"/>
                    </a:lnTo>
                    <a:lnTo>
                      <a:pt x="425" y="580"/>
                    </a:lnTo>
                    <a:lnTo>
                      <a:pt x="424" y="578"/>
                    </a:lnTo>
                    <a:lnTo>
                      <a:pt x="421" y="580"/>
                    </a:lnTo>
                    <a:lnTo>
                      <a:pt x="421" y="578"/>
                    </a:lnTo>
                    <a:lnTo>
                      <a:pt x="421" y="577"/>
                    </a:lnTo>
                    <a:lnTo>
                      <a:pt x="421" y="575"/>
                    </a:lnTo>
                    <a:lnTo>
                      <a:pt x="421" y="572"/>
                    </a:lnTo>
                    <a:lnTo>
                      <a:pt x="418" y="571"/>
                    </a:lnTo>
                    <a:lnTo>
                      <a:pt x="415" y="569"/>
                    </a:lnTo>
                    <a:lnTo>
                      <a:pt x="412" y="569"/>
                    </a:lnTo>
                    <a:lnTo>
                      <a:pt x="408" y="569"/>
                    </a:lnTo>
                    <a:lnTo>
                      <a:pt x="405" y="568"/>
                    </a:lnTo>
                    <a:lnTo>
                      <a:pt x="404" y="568"/>
                    </a:lnTo>
                    <a:lnTo>
                      <a:pt x="399" y="567"/>
                    </a:lnTo>
                    <a:lnTo>
                      <a:pt x="398" y="567"/>
                    </a:lnTo>
                    <a:lnTo>
                      <a:pt x="395" y="567"/>
                    </a:lnTo>
                    <a:lnTo>
                      <a:pt x="394" y="568"/>
                    </a:lnTo>
                    <a:lnTo>
                      <a:pt x="386" y="577"/>
                    </a:lnTo>
                    <a:lnTo>
                      <a:pt x="382" y="581"/>
                    </a:lnTo>
                    <a:lnTo>
                      <a:pt x="378" y="584"/>
                    </a:lnTo>
                    <a:lnTo>
                      <a:pt x="373" y="585"/>
                    </a:lnTo>
                    <a:lnTo>
                      <a:pt x="371" y="585"/>
                    </a:lnTo>
                    <a:lnTo>
                      <a:pt x="369" y="587"/>
                    </a:lnTo>
                    <a:lnTo>
                      <a:pt x="365" y="594"/>
                    </a:lnTo>
                    <a:lnTo>
                      <a:pt x="363" y="595"/>
                    </a:lnTo>
                    <a:lnTo>
                      <a:pt x="358" y="598"/>
                    </a:lnTo>
                    <a:lnTo>
                      <a:pt x="356" y="600"/>
                    </a:lnTo>
                    <a:lnTo>
                      <a:pt x="355" y="603"/>
                    </a:lnTo>
                    <a:lnTo>
                      <a:pt x="353" y="604"/>
                    </a:lnTo>
                    <a:lnTo>
                      <a:pt x="353" y="607"/>
                    </a:lnTo>
                    <a:lnTo>
                      <a:pt x="355" y="610"/>
                    </a:lnTo>
                    <a:lnTo>
                      <a:pt x="356" y="613"/>
                    </a:lnTo>
                    <a:lnTo>
                      <a:pt x="362" y="621"/>
                    </a:lnTo>
                    <a:lnTo>
                      <a:pt x="365" y="626"/>
                    </a:lnTo>
                    <a:lnTo>
                      <a:pt x="366" y="630"/>
                    </a:lnTo>
                    <a:lnTo>
                      <a:pt x="365" y="630"/>
                    </a:lnTo>
                    <a:lnTo>
                      <a:pt x="361" y="630"/>
                    </a:lnTo>
                    <a:lnTo>
                      <a:pt x="359" y="630"/>
                    </a:lnTo>
                    <a:lnTo>
                      <a:pt x="356" y="631"/>
                    </a:lnTo>
                    <a:lnTo>
                      <a:pt x="353" y="636"/>
                    </a:lnTo>
                    <a:lnTo>
                      <a:pt x="352" y="637"/>
                    </a:lnTo>
                    <a:lnTo>
                      <a:pt x="349" y="636"/>
                    </a:lnTo>
                    <a:lnTo>
                      <a:pt x="348" y="636"/>
                    </a:lnTo>
                    <a:lnTo>
                      <a:pt x="342" y="633"/>
                    </a:lnTo>
                    <a:lnTo>
                      <a:pt x="340" y="631"/>
                    </a:lnTo>
                    <a:lnTo>
                      <a:pt x="335" y="630"/>
                    </a:lnTo>
                    <a:lnTo>
                      <a:pt x="333" y="628"/>
                    </a:lnTo>
                    <a:lnTo>
                      <a:pt x="332" y="628"/>
                    </a:lnTo>
                    <a:lnTo>
                      <a:pt x="330" y="627"/>
                    </a:lnTo>
                    <a:lnTo>
                      <a:pt x="329" y="627"/>
                    </a:lnTo>
                    <a:lnTo>
                      <a:pt x="327" y="627"/>
                    </a:lnTo>
                    <a:lnTo>
                      <a:pt x="325" y="627"/>
                    </a:lnTo>
                    <a:lnTo>
                      <a:pt x="323" y="627"/>
                    </a:lnTo>
                    <a:lnTo>
                      <a:pt x="322" y="624"/>
                    </a:lnTo>
                    <a:lnTo>
                      <a:pt x="317" y="620"/>
                    </a:lnTo>
                    <a:lnTo>
                      <a:pt x="315" y="618"/>
                    </a:lnTo>
                    <a:lnTo>
                      <a:pt x="312" y="617"/>
                    </a:lnTo>
                    <a:lnTo>
                      <a:pt x="309" y="615"/>
                    </a:lnTo>
                    <a:lnTo>
                      <a:pt x="306" y="615"/>
                    </a:lnTo>
                    <a:lnTo>
                      <a:pt x="303" y="615"/>
                    </a:lnTo>
                    <a:lnTo>
                      <a:pt x="302" y="618"/>
                    </a:lnTo>
                    <a:lnTo>
                      <a:pt x="302" y="621"/>
                    </a:lnTo>
                    <a:lnTo>
                      <a:pt x="300" y="624"/>
                    </a:lnTo>
                    <a:lnTo>
                      <a:pt x="297" y="624"/>
                    </a:lnTo>
                    <a:lnTo>
                      <a:pt x="297" y="628"/>
                    </a:lnTo>
                    <a:lnTo>
                      <a:pt x="299" y="631"/>
                    </a:lnTo>
                    <a:lnTo>
                      <a:pt x="307" y="640"/>
                    </a:lnTo>
                    <a:lnTo>
                      <a:pt x="309" y="641"/>
                    </a:lnTo>
                    <a:lnTo>
                      <a:pt x="312" y="643"/>
                    </a:lnTo>
                    <a:lnTo>
                      <a:pt x="316" y="643"/>
                    </a:lnTo>
                    <a:lnTo>
                      <a:pt x="319" y="643"/>
                    </a:lnTo>
                    <a:lnTo>
                      <a:pt x="322" y="646"/>
                    </a:lnTo>
                    <a:lnTo>
                      <a:pt x="323" y="649"/>
                    </a:lnTo>
                    <a:lnTo>
                      <a:pt x="323" y="653"/>
                    </a:lnTo>
                    <a:lnTo>
                      <a:pt x="323" y="656"/>
                    </a:lnTo>
                    <a:lnTo>
                      <a:pt x="322" y="656"/>
                    </a:lnTo>
                    <a:lnTo>
                      <a:pt x="317" y="657"/>
                    </a:lnTo>
                    <a:lnTo>
                      <a:pt x="313" y="660"/>
                    </a:lnTo>
                    <a:lnTo>
                      <a:pt x="312" y="660"/>
                    </a:lnTo>
                    <a:lnTo>
                      <a:pt x="310" y="660"/>
                    </a:lnTo>
                    <a:lnTo>
                      <a:pt x="305" y="657"/>
                    </a:lnTo>
                    <a:lnTo>
                      <a:pt x="297" y="656"/>
                    </a:lnTo>
                    <a:lnTo>
                      <a:pt x="293" y="654"/>
                    </a:lnTo>
                    <a:lnTo>
                      <a:pt x="292" y="651"/>
                    </a:lnTo>
                    <a:lnTo>
                      <a:pt x="289" y="649"/>
                    </a:lnTo>
                    <a:lnTo>
                      <a:pt x="286" y="646"/>
                    </a:lnTo>
                    <a:lnTo>
                      <a:pt x="284" y="644"/>
                    </a:lnTo>
                    <a:lnTo>
                      <a:pt x="283" y="644"/>
                    </a:lnTo>
                    <a:lnTo>
                      <a:pt x="282" y="643"/>
                    </a:lnTo>
                    <a:lnTo>
                      <a:pt x="276" y="643"/>
                    </a:lnTo>
                    <a:lnTo>
                      <a:pt x="274" y="643"/>
                    </a:lnTo>
                    <a:lnTo>
                      <a:pt x="271" y="641"/>
                    </a:lnTo>
                    <a:lnTo>
                      <a:pt x="270" y="640"/>
                    </a:lnTo>
                    <a:lnTo>
                      <a:pt x="267" y="636"/>
                    </a:lnTo>
                    <a:lnTo>
                      <a:pt x="267" y="633"/>
                    </a:lnTo>
                    <a:lnTo>
                      <a:pt x="269" y="630"/>
                    </a:lnTo>
                    <a:lnTo>
                      <a:pt x="267" y="628"/>
                    </a:lnTo>
                    <a:lnTo>
                      <a:pt x="267" y="627"/>
                    </a:lnTo>
                    <a:lnTo>
                      <a:pt x="267" y="623"/>
                    </a:lnTo>
                    <a:lnTo>
                      <a:pt x="266" y="620"/>
                    </a:lnTo>
                    <a:lnTo>
                      <a:pt x="264" y="615"/>
                    </a:lnTo>
                    <a:lnTo>
                      <a:pt x="260" y="610"/>
                    </a:lnTo>
                    <a:lnTo>
                      <a:pt x="260" y="610"/>
                    </a:lnTo>
                    <a:lnTo>
                      <a:pt x="260" y="608"/>
                    </a:lnTo>
                    <a:lnTo>
                      <a:pt x="260" y="607"/>
                    </a:lnTo>
                    <a:lnTo>
                      <a:pt x="261" y="607"/>
                    </a:lnTo>
                    <a:lnTo>
                      <a:pt x="261" y="605"/>
                    </a:lnTo>
                    <a:lnTo>
                      <a:pt x="263" y="604"/>
                    </a:lnTo>
                    <a:lnTo>
                      <a:pt x="266" y="597"/>
                    </a:lnTo>
                    <a:lnTo>
                      <a:pt x="266" y="592"/>
                    </a:lnTo>
                    <a:lnTo>
                      <a:pt x="264" y="587"/>
                    </a:lnTo>
                    <a:lnTo>
                      <a:pt x="263" y="584"/>
                    </a:lnTo>
                    <a:lnTo>
                      <a:pt x="259" y="580"/>
                    </a:lnTo>
                    <a:lnTo>
                      <a:pt x="256" y="577"/>
                    </a:lnTo>
                    <a:lnTo>
                      <a:pt x="250" y="575"/>
                    </a:lnTo>
                    <a:lnTo>
                      <a:pt x="241" y="572"/>
                    </a:lnTo>
                    <a:lnTo>
                      <a:pt x="243" y="572"/>
                    </a:lnTo>
                    <a:lnTo>
                      <a:pt x="244" y="571"/>
                    </a:lnTo>
                    <a:lnTo>
                      <a:pt x="246" y="569"/>
                    </a:lnTo>
                    <a:lnTo>
                      <a:pt x="246" y="568"/>
                    </a:lnTo>
                    <a:lnTo>
                      <a:pt x="246" y="568"/>
                    </a:lnTo>
                    <a:lnTo>
                      <a:pt x="243" y="567"/>
                    </a:lnTo>
                    <a:lnTo>
                      <a:pt x="241" y="567"/>
                    </a:lnTo>
                    <a:lnTo>
                      <a:pt x="240" y="565"/>
                    </a:lnTo>
                    <a:lnTo>
                      <a:pt x="238" y="565"/>
                    </a:lnTo>
                    <a:lnTo>
                      <a:pt x="238" y="564"/>
                    </a:lnTo>
                    <a:lnTo>
                      <a:pt x="238" y="562"/>
                    </a:lnTo>
                    <a:lnTo>
                      <a:pt x="238" y="562"/>
                    </a:lnTo>
                    <a:lnTo>
                      <a:pt x="238" y="562"/>
                    </a:lnTo>
                    <a:lnTo>
                      <a:pt x="238" y="561"/>
                    </a:lnTo>
                    <a:lnTo>
                      <a:pt x="238" y="559"/>
                    </a:lnTo>
                    <a:lnTo>
                      <a:pt x="237" y="559"/>
                    </a:lnTo>
                    <a:lnTo>
                      <a:pt x="236" y="559"/>
                    </a:lnTo>
                    <a:lnTo>
                      <a:pt x="236" y="559"/>
                    </a:lnTo>
                    <a:lnTo>
                      <a:pt x="233" y="558"/>
                    </a:lnTo>
                    <a:lnTo>
                      <a:pt x="228" y="555"/>
                    </a:lnTo>
                    <a:lnTo>
                      <a:pt x="228" y="554"/>
                    </a:lnTo>
                    <a:lnTo>
                      <a:pt x="227" y="554"/>
                    </a:lnTo>
                    <a:lnTo>
                      <a:pt x="226" y="552"/>
                    </a:lnTo>
                    <a:lnTo>
                      <a:pt x="226" y="552"/>
                    </a:lnTo>
                    <a:lnTo>
                      <a:pt x="226" y="552"/>
                    </a:lnTo>
                    <a:lnTo>
                      <a:pt x="226" y="551"/>
                    </a:lnTo>
                    <a:lnTo>
                      <a:pt x="226" y="549"/>
                    </a:lnTo>
                    <a:lnTo>
                      <a:pt x="224" y="548"/>
                    </a:lnTo>
                    <a:lnTo>
                      <a:pt x="221" y="546"/>
                    </a:lnTo>
                    <a:lnTo>
                      <a:pt x="218" y="545"/>
                    </a:lnTo>
                    <a:lnTo>
                      <a:pt x="215" y="545"/>
                    </a:lnTo>
                    <a:lnTo>
                      <a:pt x="224" y="545"/>
                    </a:lnTo>
                    <a:lnTo>
                      <a:pt x="234" y="546"/>
                    </a:lnTo>
                    <a:lnTo>
                      <a:pt x="233" y="549"/>
                    </a:lnTo>
                    <a:lnTo>
                      <a:pt x="236" y="554"/>
                    </a:lnTo>
                    <a:lnTo>
                      <a:pt x="240" y="557"/>
                    </a:lnTo>
                    <a:lnTo>
                      <a:pt x="243" y="558"/>
                    </a:lnTo>
                    <a:lnTo>
                      <a:pt x="244" y="558"/>
                    </a:lnTo>
                    <a:lnTo>
                      <a:pt x="246" y="557"/>
                    </a:lnTo>
                    <a:lnTo>
                      <a:pt x="246" y="557"/>
                    </a:lnTo>
                    <a:lnTo>
                      <a:pt x="247" y="558"/>
                    </a:lnTo>
                    <a:lnTo>
                      <a:pt x="250" y="559"/>
                    </a:lnTo>
                    <a:lnTo>
                      <a:pt x="250" y="559"/>
                    </a:lnTo>
                    <a:lnTo>
                      <a:pt x="257" y="561"/>
                    </a:lnTo>
                    <a:lnTo>
                      <a:pt x="260" y="561"/>
                    </a:lnTo>
                    <a:lnTo>
                      <a:pt x="260" y="562"/>
                    </a:lnTo>
                    <a:lnTo>
                      <a:pt x="260" y="564"/>
                    </a:lnTo>
                    <a:lnTo>
                      <a:pt x="261" y="564"/>
                    </a:lnTo>
                    <a:lnTo>
                      <a:pt x="263" y="564"/>
                    </a:lnTo>
                    <a:lnTo>
                      <a:pt x="266" y="564"/>
                    </a:lnTo>
                    <a:lnTo>
                      <a:pt x="267" y="564"/>
                    </a:lnTo>
                    <a:lnTo>
                      <a:pt x="269" y="564"/>
                    </a:lnTo>
                    <a:lnTo>
                      <a:pt x="276" y="568"/>
                    </a:lnTo>
                    <a:lnTo>
                      <a:pt x="280" y="569"/>
                    </a:lnTo>
                    <a:lnTo>
                      <a:pt x="286" y="571"/>
                    </a:lnTo>
                    <a:lnTo>
                      <a:pt x="292" y="572"/>
                    </a:lnTo>
                    <a:lnTo>
                      <a:pt x="305" y="574"/>
                    </a:lnTo>
                    <a:lnTo>
                      <a:pt x="309" y="575"/>
                    </a:lnTo>
                    <a:lnTo>
                      <a:pt x="317" y="580"/>
                    </a:lnTo>
                    <a:lnTo>
                      <a:pt x="322" y="581"/>
                    </a:lnTo>
                    <a:lnTo>
                      <a:pt x="327" y="582"/>
                    </a:lnTo>
                    <a:lnTo>
                      <a:pt x="336" y="581"/>
                    </a:lnTo>
                    <a:lnTo>
                      <a:pt x="346" y="580"/>
                    </a:lnTo>
                    <a:lnTo>
                      <a:pt x="355" y="575"/>
                    </a:lnTo>
                    <a:lnTo>
                      <a:pt x="363" y="571"/>
                    </a:lnTo>
                    <a:lnTo>
                      <a:pt x="368" y="568"/>
                    </a:lnTo>
                    <a:lnTo>
                      <a:pt x="371" y="564"/>
                    </a:lnTo>
                    <a:lnTo>
                      <a:pt x="375" y="559"/>
                    </a:lnTo>
                    <a:lnTo>
                      <a:pt x="378" y="555"/>
                    </a:lnTo>
                    <a:lnTo>
                      <a:pt x="379" y="554"/>
                    </a:lnTo>
                    <a:lnTo>
                      <a:pt x="381" y="552"/>
                    </a:lnTo>
                    <a:lnTo>
                      <a:pt x="381" y="551"/>
                    </a:lnTo>
                    <a:lnTo>
                      <a:pt x="382" y="546"/>
                    </a:lnTo>
                    <a:lnTo>
                      <a:pt x="382" y="545"/>
                    </a:lnTo>
                    <a:lnTo>
                      <a:pt x="382" y="544"/>
                    </a:lnTo>
                    <a:lnTo>
                      <a:pt x="381" y="544"/>
                    </a:lnTo>
                    <a:lnTo>
                      <a:pt x="379" y="542"/>
                    </a:lnTo>
                    <a:lnTo>
                      <a:pt x="378" y="542"/>
                    </a:lnTo>
                    <a:lnTo>
                      <a:pt x="378" y="539"/>
                    </a:lnTo>
                    <a:lnTo>
                      <a:pt x="375" y="529"/>
                    </a:lnTo>
                    <a:lnTo>
                      <a:pt x="373" y="528"/>
                    </a:lnTo>
                    <a:lnTo>
                      <a:pt x="372" y="526"/>
                    </a:lnTo>
                    <a:lnTo>
                      <a:pt x="366" y="525"/>
                    </a:lnTo>
                    <a:lnTo>
                      <a:pt x="365" y="523"/>
                    </a:lnTo>
                    <a:lnTo>
                      <a:pt x="363" y="522"/>
                    </a:lnTo>
                    <a:lnTo>
                      <a:pt x="358" y="518"/>
                    </a:lnTo>
                    <a:lnTo>
                      <a:pt x="355" y="516"/>
                    </a:lnTo>
                    <a:lnTo>
                      <a:pt x="353" y="515"/>
                    </a:lnTo>
                    <a:lnTo>
                      <a:pt x="353" y="516"/>
                    </a:lnTo>
                    <a:lnTo>
                      <a:pt x="355" y="518"/>
                    </a:lnTo>
                    <a:lnTo>
                      <a:pt x="355" y="518"/>
                    </a:lnTo>
                    <a:lnTo>
                      <a:pt x="350" y="518"/>
                    </a:lnTo>
                    <a:lnTo>
                      <a:pt x="346" y="515"/>
                    </a:lnTo>
                    <a:lnTo>
                      <a:pt x="339" y="512"/>
                    </a:lnTo>
                    <a:lnTo>
                      <a:pt x="338" y="511"/>
                    </a:lnTo>
                    <a:lnTo>
                      <a:pt x="336" y="511"/>
                    </a:lnTo>
                    <a:lnTo>
                      <a:pt x="335" y="511"/>
                    </a:lnTo>
                    <a:lnTo>
                      <a:pt x="332" y="511"/>
                    </a:lnTo>
                    <a:lnTo>
                      <a:pt x="330" y="509"/>
                    </a:lnTo>
                    <a:lnTo>
                      <a:pt x="327" y="508"/>
                    </a:lnTo>
                    <a:lnTo>
                      <a:pt x="313" y="499"/>
                    </a:lnTo>
                    <a:lnTo>
                      <a:pt x="289" y="490"/>
                    </a:lnTo>
                    <a:lnTo>
                      <a:pt x="280" y="488"/>
                    </a:lnTo>
                    <a:lnTo>
                      <a:pt x="277" y="488"/>
                    </a:lnTo>
                    <a:lnTo>
                      <a:pt x="270" y="488"/>
                    </a:lnTo>
                    <a:lnTo>
                      <a:pt x="267" y="488"/>
                    </a:lnTo>
                    <a:lnTo>
                      <a:pt x="254" y="486"/>
                    </a:lnTo>
                    <a:lnTo>
                      <a:pt x="250" y="486"/>
                    </a:lnTo>
                    <a:lnTo>
                      <a:pt x="246" y="488"/>
                    </a:lnTo>
                    <a:lnTo>
                      <a:pt x="241" y="490"/>
                    </a:lnTo>
                    <a:lnTo>
                      <a:pt x="237" y="492"/>
                    </a:lnTo>
                    <a:lnTo>
                      <a:pt x="241" y="489"/>
                    </a:lnTo>
                    <a:lnTo>
                      <a:pt x="243" y="486"/>
                    </a:lnTo>
                    <a:lnTo>
                      <a:pt x="243" y="483"/>
                    </a:lnTo>
                    <a:lnTo>
                      <a:pt x="241" y="483"/>
                    </a:lnTo>
                    <a:lnTo>
                      <a:pt x="238" y="483"/>
                    </a:lnTo>
                    <a:lnTo>
                      <a:pt x="236" y="485"/>
                    </a:lnTo>
                    <a:lnTo>
                      <a:pt x="234" y="485"/>
                    </a:lnTo>
                    <a:lnTo>
                      <a:pt x="236" y="483"/>
                    </a:lnTo>
                    <a:lnTo>
                      <a:pt x="233" y="482"/>
                    </a:lnTo>
                    <a:lnTo>
                      <a:pt x="227" y="482"/>
                    </a:lnTo>
                    <a:lnTo>
                      <a:pt x="224" y="482"/>
                    </a:lnTo>
                    <a:lnTo>
                      <a:pt x="223" y="480"/>
                    </a:lnTo>
                    <a:lnTo>
                      <a:pt x="221" y="480"/>
                    </a:lnTo>
                    <a:lnTo>
                      <a:pt x="218" y="479"/>
                    </a:lnTo>
                    <a:lnTo>
                      <a:pt x="223" y="479"/>
                    </a:lnTo>
                    <a:lnTo>
                      <a:pt x="228" y="479"/>
                    </a:lnTo>
                    <a:lnTo>
                      <a:pt x="233" y="479"/>
                    </a:lnTo>
                    <a:lnTo>
                      <a:pt x="236" y="477"/>
                    </a:lnTo>
                    <a:lnTo>
                      <a:pt x="234" y="476"/>
                    </a:lnTo>
                    <a:lnTo>
                      <a:pt x="231" y="475"/>
                    </a:lnTo>
                    <a:lnTo>
                      <a:pt x="228" y="475"/>
                    </a:lnTo>
                    <a:lnTo>
                      <a:pt x="227" y="475"/>
                    </a:lnTo>
                    <a:lnTo>
                      <a:pt x="217" y="469"/>
                    </a:lnTo>
                    <a:lnTo>
                      <a:pt x="217" y="470"/>
                    </a:lnTo>
                    <a:lnTo>
                      <a:pt x="217" y="472"/>
                    </a:lnTo>
                    <a:lnTo>
                      <a:pt x="217" y="473"/>
                    </a:lnTo>
                    <a:lnTo>
                      <a:pt x="217" y="475"/>
                    </a:lnTo>
                    <a:lnTo>
                      <a:pt x="217" y="475"/>
                    </a:lnTo>
                    <a:lnTo>
                      <a:pt x="214" y="475"/>
                    </a:lnTo>
                    <a:lnTo>
                      <a:pt x="211" y="476"/>
                    </a:lnTo>
                    <a:lnTo>
                      <a:pt x="208" y="477"/>
                    </a:lnTo>
                    <a:lnTo>
                      <a:pt x="204" y="476"/>
                    </a:lnTo>
                    <a:lnTo>
                      <a:pt x="201" y="476"/>
                    </a:lnTo>
                    <a:lnTo>
                      <a:pt x="197" y="475"/>
                    </a:lnTo>
                    <a:lnTo>
                      <a:pt x="198" y="476"/>
                    </a:lnTo>
                    <a:lnTo>
                      <a:pt x="198" y="477"/>
                    </a:lnTo>
                    <a:lnTo>
                      <a:pt x="198" y="477"/>
                    </a:lnTo>
                    <a:lnTo>
                      <a:pt x="198" y="479"/>
                    </a:lnTo>
                    <a:lnTo>
                      <a:pt x="198" y="479"/>
                    </a:lnTo>
                    <a:lnTo>
                      <a:pt x="198" y="479"/>
                    </a:lnTo>
                    <a:lnTo>
                      <a:pt x="198" y="480"/>
                    </a:lnTo>
                    <a:lnTo>
                      <a:pt x="198" y="480"/>
                    </a:lnTo>
                    <a:lnTo>
                      <a:pt x="197" y="480"/>
                    </a:lnTo>
                    <a:lnTo>
                      <a:pt x="197" y="480"/>
                    </a:lnTo>
                    <a:lnTo>
                      <a:pt x="197" y="480"/>
                    </a:lnTo>
                    <a:lnTo>
                      <a:pt x="197" y="480"/>
                    </a:lnTo>
                    <a:lnTo>
                      <a:pt x="195" y="480"/>
                    </a:lnTo>
                    <a:lnTo>
                      <a:pt x="194" y="480"/>
                    </a:lnTo>
                    <a:lnTo>
                      <a:pt x="194" y="480"/>
                    </a:lnTo>
                    <a:lnTo>
                      <a:pt x="192" y="480"/>
                    </a:lnTo>
                    <a:lnTo>
                      <a:pt x="191" y="480"/>
                    </a:lnTo>
                    <a:lnTo>
                      <a:pt x="188" y="480"/>
                    </a:lnTo>
                    <a:lnTo>
                      <a:pt x="188" y="479"/>
                    </a:lnTo>
                    <a:lnTo>
                      <a:pt x="187" y="479"/>
                    </a:lnTo>
                    <a:lnTo>
                      <a:pt x="187" y="479"/>
                    </a:lnTo>
                    <a:lnTo>
                      <a:pt x="185" y="479"/>
                    </a:lnTo>
                    <a:lnTo>
                      <a:pt x="185" y="479"/>
                    </a:lnTo>
                    <a:lnTo>
                      <a:pt x="185" y="479"/>
                    </a:lnTo>
                    <a:lnTo>
                      <a:pt x="185" y="479"/>
                    </a:lnTo>
                    <a:lnTo>
                      <a:pt x="185" y="480"/>
                    </a:lnTo>
                    <a:lnTo>
                      <a:pt x="185" y="480"/>
                    </a:lnTo>
                    <a:lnTo>
                      <a:pt x="185" y="480"/>
                    </a:lnTo>
                    <a:lnTo>
                      <a:pt x="185" y="482"/>
                    </a:lnTo>
                    <a:lnTo>
                      <a:pt x="185" y="482"/>
                    </a:lnTo>
                    <a:lnTo>
                      <a:pt x="185" y="482"/>
                    </a:lnTo>
                    <a:lnTo>
                      <a:pt x="184" y="482"/>
                    </a:lnTo>
                    <a:lnTo>
                      <a:pt x="184" y="482"/>
                    </a:lnTo>
                    <a:lnTo>
                      <a:pt x="184" y="483"/>
                    </a:lnTo>
                    <a:lnTo>
                      <a:pt x="184" y="483"/>
                    </a:lnTo>
                    <a:lnTo>
                      <a:pt x="184" y="483"/>
                    </a:lnTo>
                    <a:lnTo>
                      <a:pt x="182" y="483"/>
                    </a:lnTo>
                    <a:lnTo>
                      <a:pt x="182" y="483"/>
                    </a:lnTo>
                    <a:lnTo>
                      <a:pt x="182" y="485"/>
                    </a:lnTo>
                    <a:lnTo>
                      <a:pt x="180" y="485"/>
                    </a:lnTo>
                    <a:lnTo>
                      <a:pt x="174" y="486"/>
                    </a:lnTo>
                    <a:lnTo>
                      <a:pt x="171" y="486"/>
                    </a:lnTo>
                    <a:lnTo>
                      <a:pt x="171" y="488"/>
                    </a:lnTo>
                    <a:lnTo>
                      <a:pt x="168" y="490"/>
                    </a:lnTo>
                    <a:lnTo>
                      <a:pt x="168" y="492"/>
                    </a:lnTo>
                    <a:lnTo>
                      <a:pt x="167" y="492"/>
                    </a:lnTo>
                    <a:lnTo>
                      <a:pt x="165" y="492"/>
                    </a:lnTo>
                    <a:lnTo>
                      <a:pt x="165" y="493"/>
                    </a:lnTo>
                    <a:lnTo>
                      <a:pt x="164" y="493"/>
                    </a:lnTo>
                    <a:lnTo>
                      <a:pt x="162" y="493"/>
                    </a:lnTo>
                    <a:lnTo>
                      <a:pt x="161" y="493"/>
                    </a:lnTo>
                    <a:lnTo>
                      <a:pt x="158" y="495"/>
                    </a:lnTo>
                    <a:lnTo>
                      <a:pt x="157" y="495"/>
                    </a:lnTo>
                    <a:lnTo>
                      <a:pt x="154" y="496"/>
                    </a:lnTo>
                    <a:lnTo>
                      <a:pt x="155" y="496"/>
                    </a:lnTo>
                    <a:lnTo>
                      <a:pt x="157" y="496"/>
                    </a:lnTo>
                    <a:lnTo>
                      <a:pt x="158" y="496"/>
                    </a:lnTo>
                    <a:lnTo>
                      <a:pt x="159" y="498"/>
                    </a:lnTo>
                    <a:lnTo>
                      <a:pt x="161" y="498"/>
                    </a:lnTo>
                    <a:lnTo>
                      <a:pt x="161" y="498"/>
                    </a:lnTo>
                    <a:lnTo>
                      <a:pt x="161" y="498"/>
                    </a:lnTo>
                    <a:lnTo>
                      <a:pt x="161" y="498"/>
                    </a:lnTo>
                    <a:lnTo>
                      <a:pt x="159" y="499"/>
                    </a:lnTo>
                    <a:lnTo>
                      <a:pt x="155" y="505"/>
                    </a:lnTo>
                    <a:lnTo>
                      <a:pt x="155" y="508"/>
                    </a:lnTo>
                    <a:lnTo>
                      <a:pt x="157" y="512"/>
                    </a:lnTo>
                    <a:lnTo>
                      <a:pt x="159" y="515"/>
                    </a:lnTo>
                    <a:lnTo>
                      <a:pt x="162" y="515"/>
                    </a:lnTo>
                    <a:lnTo>
                      <a:pt x="164" y="516"/>
                    </a:lnTo>
                    <a:lnTo>
                      <a:pt x="168" y="516"/>
                    </a:lnTo>
                    <a:lnTo>
                      <a:pt x="171" y="518"/>
                    </a:lnTo>
                    <a:lnTo>
                      <a:pt x="172" y="519"/>
                    </a:lnTo>
                    <a:lnTo>
                      <a:pt x="174" y="522"/>
                    </a:lnTo>
                    <a:lnTo>
                      <a:pt x="177" y="523"/>
                    </a:lnTo>
                    <a:lnTo>
                      <a:pt x="178" y="526"/>
                    </a:lnTo>
                    <a:lnTo>
                      <a:pt x="180" y="528"/>
                    </a:lnTo>
                    <a:lnTo>
                      <a:pt x="181" y="528"/>
                    </a:lnTo>
                    <a:lnTo>
                      <a:pt x="182" y="529"/>
                    </a:lnTo>
                    <a:lnTo>
                      <a:pt x="181" y="529"/>
                    </a:lnTo>
                    <a:lnTo>
                      <a:pt x="181" y="531"/>
                    </a:lnTo>
                    <a:lnTo>
                      <a:pt x="181" y="531"/>
                    </a:lnTo>
                    <a:lnTo>
                      <a:pt x="181" y="532"/>
                    </a:lnTo>
                    <a:lnTo>
                      <a:pt x="181" y="534"/>
                    </a:lnTo>
                    <a:lnTo>
                      <a:pt x="180" y="534"/>
                    </a:lnTo>
                    <a:lnTo>
                      <a:pt x="180" y="535"/>
                    </a:lnTo>
                    <a:lnTo>
                      <a:pt x="174" y="539"/>
                    </a:lnTo>
                    <a:lnTo>
                      <a:pt x="172" y="541"/>
                    </a:lnTo>
                    <a:lnTo>
                      <a:pt x="170" y="545"/>
                    </a:lnTo>
                    <a:lnTo>
                      <a:pt x="168" y="548"/>
                    </a:lnTo>
                    <a:lnTo>
                      <a:pt x="167" y="549"/>
                    </a:lnTo>
                    <a:lnTo>
                      <a:pt x="167" y="551"/>
                    </a:lnTo>
                    <a:lnTo>
                      <a:pt x="165" y="552"/>
                    </a:lnTo>
                    <a:lnTo>
                      <a:pt x="165" y="554"/>
                    </a:lnTo>
                    <a:lnTo>
                      <a:pt x="167" y="554"/>
                    </a:lnTo>
                    <a:lnTo>
                      <a:pt x="167" y="555"/>
                    </a:lnTo>
                    <a:lnTo>
                      <a:pt x="167" y="557"/>
                    </a:lnTo>
                    <a:lnTo>
                      <a:pt x="168" y="557"/>
                    </a:lnTo>
                    <a:lnTo>
                      <a:pt x="170" y="559"/>
                    </a:lnTo>
                    <a:lnTo>
                      <a:pt x="171" y="562"/>
                    </a:lnTo>
                    <a:lnTo>
                      <a:pt x="172" y="565"/>
                    </a:lnTo>
                    <a:lnTo>
                      <a:pt x="174" y="567"/>
                    </a:lnTo>
                    <a:lnTo>
                      <a:pt x="174" y="569"/>
                    </a:lnTo>
                    <a:lnTo>
                      <a:pt x="175" y="571"/>
                    </a:lnTo>
                    <a:lnTo>
                      <a:pt x="177" y="574"/>
                    </a:lnTo>
                    <a:lnTo>
                      <a:pt x="178" y="578"/>
                    </a:lnTo>
                    <a:lnTo>
                      <a:pt x="180" y="580"/>
                    </a:lnTo>
                    <a:lnTo>
                      <a:pt x="182" y="588"/>
                    </a:lnTo>
                    <a:lnTo>
                      <a:pt x="184" y="592"/>
                    </a:lnTo>
                    <a:lnTo>
                      <a:pt x="184" y="594"/>
                    </a:lnTo>
                    <a:lnTo>
                      <a:pt x="184" y="595"/>
                    </a:lnTo>
                    <a:lnTo>
                      <a:pt x="184" y="597"/>
                    </a:lnTo>
                    <a:lnTo>
                      <a:pt x="184" y="597"/>
                    </a:lnTo>
                    <a:lnTo>
                      <a:pt x="184" y="597"/>
                    </a:lnTo>
                    <a:lnTo>
                      <a:pt x="182" y="597"/>
                    </a:lnTo>
                    <a:lnTo>
                      <a:pt x="181" y="598"/>
                    </a:lnTo>
                    <a:lnTo>
                      <a:pt x="180" y="598"/>
                    </a:lnTo>
                    <a:lnTo>
                      <a:pt x="177" y="598"/>
                    </a:lnTo>
                    <a:lnTo>
                      <a:pt x="177" y="600"/>
                    </a:lnTo>
                    <a:lnTo>
                      <a:pt x="178" y="600"/>
                    </a:lnTo>
                    <a:lnTo>
                      <a:pt x="178" y="601"/>
                    </a:lnTo>
                    <a:lnTo>
                      <a:pt x="178" y="603"/>
                    </a:lnTo>
                    <a:lnTo>
                      <a:pt x="178" y="603"/>
                    </a:lnTo>
                    <a:lnTo>
                      <a:pt x="177" y="604"/>
                    </a:lnTo>
                    <a:lnTo>
                      <a:pt x="177" y="605"/>
                    </a:lnTo>
                    <a:lnTo>
                      <a:pt x="177" y="607"/>
                    </a:lnTo>
                    <a:lnTo>
                      <a:pt x="177" y="608"/>
                    </a:lnTo>
                    <a:lnTo>
                      <a:pt x="177" y="610"/>
                    </a:lnTo>
                    <a:lnTo>
                      <a:pt x="177" y="610"/>
                    </a:lnTo>
                    <a:lnTo>
                      <a:pt x="177" y="611"/>
                    </a:lnTo>
                    <a:lnTo>
                      <a:pt x="175" y="611"/>
                    </a:lnTo>
                    <a:lnTo>
                      <a:pt x="175" y="613"/>
                    </a:lnTo>
                    <a:lnTo>
                      <a:pt x="175" y="613"/>
                    </a:lnTo>
                    <a:lnTo>
                      <a:pt x="175" y="613"/>
                    </a:lnTo>
                    <a:lnTo>
                      <a:pt x="175" y="613"/>
                    </a:lnTo>
                    <a:lnTo>
                      <a:pt x="175" y="613"/>
                    </a:lnTo>
                    <a:lnTo>
                      <a:pt x="175" y="613"/>
                    </a:lnTo>
                    <a:lnTo>
                      <a:pt x="175" y="613"/>
                    </a:lnTo>
                    <a:lnTo>
                      <a:pt x="175" y="614"/>
                    </a:lnTo>
                    <a:lnTo>
                      <a:pt x="175" y="614"/>
                    </a:lnTo>
                    <a:lnTo>
                      <a:pt x="177" y="614"/>
                    </a:lnTo>
                    <a:lnTo>
                      <a:pt x="178" y="614"/>
                    </a:lnTo>
                    <a:lnTo>
                      <a:pt x="178" y="614"/>
                    </a:lnTo>
                    <a:lnTo>
                      <a:pt x="180" y="615"/>
                    </a:lnTo>
                    <a:lnTo>
                      <a:pt x="180" y="615"/>
                    </a:lnTo>
                    <a:lnTo>
                      <a:pt x="180" y="617"/>
                    </a:lnTo>
                    <a:lnTo>
                      <a:pt x="180" y="617"/>
                    </a:lnTo>
                    <a:lnTo>
                      <a:pt x="180" y="617"/>
                    </a:lnTo>
                    <a:lnTo>
                      <a:pt x="178" y="618"/>
                    </a:lnTo>
                    <a:lnTo>
                      <a:pt x="177" y="618"/>
                    </a:lnTo>
                    <a:lnTo>
                      <a:pt x="175" y="620"/>
                    </a:lnTo>
                    <a:lnTo>
                      <a:pt x="175" y="621"/>
                    </a:lnTo>
                    <a:lnTo>
                      <a:pt x="175" y="621"/>
                    </a:lnTo>
                    <a:lnTo>
                      <a:pt x="175" y="623"/>
                    </a:lnTo>
                    <a:lnTo>
                      <a:pt x="175" y="623"/>
                    </a:lnTo>
                    <a:lnTo>
                      <a:pt x="175" y="626"/>
                    </a:lnTo>
                    <a:lnTo>
                      <a:pt x="177" y="627"/>
                    </a:lnTo>
                    <a:lnTo>
                      <a:pt x="178" y="628"/>
                    </a:lnTo>
                    <a:lnTo>
                      <a:pt x="182" y="630"/>
                    </a:lnTo>
                    <a:lnTo>
                      <a:pt x="184" y="631"/>
                    </a:lnTo>
                    <a:lnTo>
                      <a:pt x="184" y="633"/>
                    </a:lnTo>
                    <a:lnTo>
                      <a:pt x="184" y="633"/>
                    </a:lnTo>
                    <a:lnTo>
                      <a:pt x="184" y="634"/>
                    </a:lnTo>
                    <a:lnTo>
                      <a:pt x="184" y="634"/>
                    </a:lnTo>
                    <a:lnTo>
                      <a:pt x="182" y="636"/>
                    </a:lnTo>
                    <a:lnTo>
                      <a:pt x="182" y="637"/>
                    </a:lnTo>
                    <a:lnTo>
                      <a:pt x="182" y="638"/>
                    </a:lnTo>
                    <a:lnTo>
                      <a:pt x="182" y="638"/>
                    </a:lnTo>
                    <a:lnTo>
                      <a:pt x="182" y="640"/>
                    </a:lnTo>
                    <a:lnTo>
                      <a:pt x="182" y="640"/>
                    </a:lnTo>
                    <a:lnTo>
                      <a:pt x="184" y="643"/>
                    </a:lnTo>
                    <a:lnTo>
                      <a:pt x="185" y="644"/>
                    </a:lnTo>
                    <a:lnTo>
                      <a:pt x="188" y="646"/>
                    </a:lnTo>
                    <a:lnTo>
                      <a:pt x="190" y="647"/>
                    </a:lnTo>
                    <a:lnTo>
                      <a:pt x="191" y="647"/>
                    </a:lnTo>
                    <a:lnTo>
                      <a:pt x="191" y="649"/>
                    </a:lnTo>
                    <a:lnTo>
                      <a:pt x="191" y="650"/>
                    </a:lnTo>
                    <a:lnTo>
                      <a:pt x="191" y="650"/>
                    </a:lnTo>
                    <a:lnTo>
                      <a:pt x="191" y="651"/>
                    </a:lnTo>
                    <a:lnTo>
                      <a:pt x="191" y="651"/>
                    </a:lnTo>
                    <a:lnTo>
                      <a:pt x="191" y="653"/>
                    </a:lnTo>
                    <a:lnTo>
                      <a:pt x="191" y="653"/>
                    </a:lnTo>
                    <a:lnTo>
                      <a:pt x="191" y="653"/>
                    </a:lnTo>
                    <a:lnTo>
                      <a:pt x="191" y="653"/>
                    </a:lnTo>
                    <a:lnTo>
                      <a:pt x="191" y="654"/>
                    </a:lnTo>
                    <a:lnTo>
                      <a:pt x="191" y="654"/>
                    </a:lnTo>
                    <a:lnTo>
                      <a:pt x="191" y="654"/>
                    </a:lnTo>
                    <a:lnTo>
                      <a:pt x="190" y="656"/>
                    </a:lnTo>
                    <a:lnTo>
                      <a:pt x="188" y="659"/>
                    </a:lnTo>
                    <a:lnTo>
                      <a:pt x="187" y="660"/>
                    </a:lnTo>
                    <a:lnTo>
                      <a:pt x="185" y="660"/>
                    </a:lnTo>
                    <a:lnTo>
                      <a:pt x="185" y="661"/>
                    </a:lnTo>
                    <a:lnTo>
                      <a:pt x="184" y="661"/>
                    </a:lnTo>
                    <a:lnTo>
                      <a:pt x="182" y="661"/>
                    </a:lnTo>
                    <a:lnTo>
                      <a:pt x="182" y="663"/>
                    </a:lnTo>
                    <a:lnTo>
                      <a:pt x="182" y="663"/>
                    </a:lnTo>
                    <a:lnTo>
                      <a:pt x="182" y="664"/>
                    </a:lnTo>
                    <a:lnTo>
                      <a:pt x="188" y="669"/>
                    </a:lnTo>
                    <a:lnTo>
                      <a:pt x="190" y="669"/>
                    </a:lnTo>
                    <a:lnTo>
                      <a:pt x="194" y="672"/>
                    </a:lnTo>
                    <a:lnTo>
                      <a:pt x="201" y="677"/>
                    </a:lnTo>
                    <a:lnTo>
                      <a:pt x="203" y="677"/>
                    </a:lnTo>
                    <a:lnTo>
                      <a:pt x="203" y="679"/>
                    </a:lnTo>
                    <a:lnTo>
                      <a:pt x="204" y="679"/>
                    </a:lnTo>
                    <a:lnTo>
                      <a:pt x="204" y="680"/>
                    </a:lnTo>
                    <a:lnTo>
                      <a:pt x="205" y="682"/>
                    </a:lnTo>
                    <a:lnTo>
                      <a:pt x="208" y="684"/>
                    </a:lnTo>
                    <a:lnTo>
                      <a:pt x="210" y="686"/>
                    </a:lnTo>
                    <a:lnTo>
                      <a:pt x="208" y="687"/>
                    </a:lnTo>
                    <a:lnTo>
                      <a:pt x="208" y="689"/>
                    </a:lnTo>
                    <a:lnTo>
                      <a:pt x="208" y="689"/>
                    </a:lnTo>
                    <a:lnTo>
                      <a:pt x="208" y="690"/>
                    </a:lnTo>
                    <a:lnTo>
                      <a:pt x="207" y="690"/>
                    </a:lnTo>
                    <a:lnTo>
                      <a:pt x="207" y="690"/>
                    </a:lnTo>
                    <a:lnTo>
                      <a:pt x="205" y="695"/>
                    </a:lnTo>
                    <a:lnTo>
                      <a:pt x="204" y="696"/>
                    </a:lnTo>
                    <a:lnTo>
                      <a:pt x="204" y="697"/>
                    </a:lnTo>
                    <a:lnTo>
                      <a:pt x="203" y="697"/>
                    </a:lnTo>
                    <a:lnTo>
                      <a:pt x="203" y="699"/>
                    </a:lnTo>
                    <a:lnTo>
                      <a:pt x="201" y="700"/>
                    </a:lnTo>
                    <a:lnTo>
                      <a:pt x="198" y="703"/>
                    </a:lnTo>
                    <a:lnTo>
                      <a:pt x="194" y="706"/>
                    </a:lnTo>
                    <a:lnTo>
                      <a:pt x="192" y="707"/>
                    </a:lnTo>
                    <a:lnTo>
                      <a:pt x="191" y="709"/>
                    </a:lnTo>
                    <a:lnTo>
                      <a:pt x="188" y="712"/>
                    </a:lnTo>
                    <a:lnTo>
                      <a:pt x="181" y="719"/>
                    </a:lnTo>
                    <a:lnTo>
                      <a:pt x="178" y="722"/>
                    </a:lnTo>
                    <a:lnTo>
                      <a:pt x="177" y="723"/>
                    </a:lnTo>
                    <a:lnTo>
                      <a:pt x="171" y="729"/>
                    </a:lnTo>
                    <a:lnTo>
                      <a:pt x="170" y="730"/>
                    </a:lnTo>
                    <a:lnTo>
                      <a:pt x="168" y="732"/>
                    </a:lnTo>
                    <a:lnTo>
                      <a:pt x="167" y="733"/>
                    </a:lnTo>
                    <a:lnTo>
                      <a:pt x="162" y="736"/>
                    </a:lnTo>
                    <a:lnTo>
                      <a:pt x="159" y="738"/>
                    </a:lnTo>
                    <a:lnTo>
                      <a:pt x="159" y="739"/>
                    </a:lnTo>
                    <a:lnTo>
                      <a:pt x="159" y="739"/>
                    </a:lnTo>
                    <a:lnTo>
                      <a:pt x="158" y="739"/>
                    </a:lnTo>
                    <a:lnTo>
                      <a:pt x="158" y="741"/>
                    </a:lnTo>
                    <a:lnTo>
                      <a:pt x="157" y="741"/>
                    </a:lnTo>
                    <a:lnTo>
                      <a:pt x="155" y="742"/>
                    </a:lnTo>
                    <a:lnTo>
                      <a:pt x="155" y="742"/>
                    </a:lnTo>
                    <a:lnTo>
                      <a:pt x="154" y="742"/>
                    </a:lnTo>
                    <a:lnTo>
                      <a:pt x="149" y="746"/>
                    </a:lnTo>
                    <a:lnTo>
                      <a:pt x="145" y="752"/>
                    </a:lnTo>
                    <a:lnTo>
                      <a:pt x="144" y="753"/>
                    </a:lnTo>
                    <a:lnTo>
                      <a:pt x="147" y="752"/>
                    </a:lnTo>
                    <a:lnTo>
                      <a:pt x="154" y="751"/>
                    </a:lnTo>
                    <a:lnTo>
                      <a:pt x="155" y="749"/>
                    </a:lnTo>
                    <a:lnTo>
                      <a:pt x="158" y="751"/>
                    </a:lnTo>
                    <a:lnTo>
                      <a:pt x="158" y="752"/>
                    </a:lnTo>
                    <a:lnTo>
                      <a:pt x="158" y="755"/>
                    </a:lnTo>
                    <a:lnTo>
                      <a:pt x="157" y="753"/>
                    </a:lnTo>
                    <a:lnTo>
                      <a:pt x="157" y="753"/>
                    </a:lnTo>
                    <a:lnTo>
                      <a:pt x="155" y="753"/>
                    </a:lnTo>
                    <a:lnTo>
                      <a:pt x="157" y="755"/>
                    </a:lnTo>
                    <a:lnTo>
                      <a:pt x="159" y="758"/>
                    </a:lnTo>
                    <a:lnTo>
                      <a:pt x="162" y="761"/>
                    </a:lnTo>
                    <a:lnTo>
                      <a:pt x="164" y="762"/>
                    </a:lnTo>
                    <a:lnTo>
                      <a:pt x="167" y="762"/>
                    </a:lnTo>
                    <a:lnTo>
                      <a:pt x="170" y="762"/>
                    </a:lnTo>
                    <a:lnTo>
                      <a:pt x="172" y="762"/>
                    </a:lnTo>
                    <a:lnTo>
                      <a:pt x="175" y="762"/>
                    </a:lnTo>
                    <a:lnTo>
                      <a:pt x="177" y="762"/>
                    </a:lnTo>
                    <a:lnTo>
                      <a:pt x="178" y="764"/>
                    </a:lnTo>
                    <a:lnTo>
                      <a:pt x="184" y="769"/>
                    </a:lnTo>
                    <a:lnTo>
                      <a:pt x="184" y="771"/>
                    </a:lnTo>
                    <a:lnTo>
                      <a:pt x="182" y="771"/>
                    </a:lnTo>
                    <a:lnTo>
                      <a:pt x="177" y="769"/>
                    </a:lnTo>
                    <a:lnTo>
                      <a:pt x="171" y="768"/>
                    </a:lnTo>
                    <a:lnTo>
                      <a:pt x="168" y="768"/>
                    </a:lnTo>
                    <a:lnTo>
                      <a:pt x="165" y="769"/>
                    </a:lnTo>
                    <a:lnTo>
                      <a:pt x="165" y="771"/>
                    </a:lnTo>
                    <a:lnTo>
                      <a:pt x="164" y="772"/>
                    </a:lnTo>
                    <a:lnTo>
                      <a:pt x="162" y="772"/>
                    </a:lnTo>
                    <a:lnTo>
                      <a:pt x="161" y="774"/>
                    </a:lnTo>
                    <a:lnTo>
                      <a:pt x="159" y="774"/>
                    </a:lnTo>
                    <a:lnTo>
                      <a:pt x="159" y="772"/>
                    </a:lnTo>
                    <a:lnTo>
                      <a:pt x="158" y="772"/>
                    </a:lnTo>
                    <a:lnTo>
                      <a:pt x="157" y="772"/>
                    </a:lnTo>
                    <a:lnTo>
                      <a:pt x="157" y="772"/>
                    </a:lnTo>
                    <a:lnTo>
                      <a:pt x="157" y="772"/>
                    </a:lnTo>
                    <a:lnTo>
                      <a:pt x="155" y="772"/>
                    </a:lnTo>
                    <a:lnTo>
                      <a:pt x="155" y="774"/>
                    </a:lnTo>
                    <a:lnTo>
                      <a:pt x="155" y="774"/>
                    </a:lnTo>
                    <a:lnTo>
                      <a:pt x="155" y="774"/>
                    </a:lnTo>
                    <a:lnTo>
                      <a:pt x="155" y="775"/>
                    </a:lnTo>
                    <a:lnTo>
                      <a:pt x="154" y="775"/>
                    </a:lnTo>
                    <a:lnTo>
                      <a:pt x="152" y="775"/>
                    </a:lnTo>
                    <a:lnTo>
                      <a:pt x="151" y="775"/>
                    </a:lnTo>
                    <a:lnTo>
                      <a:pt x="149" y="775"/>
                    </a:lnTo>
                    <a:lnTo>
                      <a:pt x="148" y="774"/>
                    </a:lnTo>
                    <a:lnTo>
                      <a:pt x="148" y="774"/>
                    </a:lnTo>
                    <a:lnTo>
                      <a:pt x="147" y="776"/>
                    </a:lnTo>
                    <a:lnTo>
                      <a:pt x="147" y="778"/>
                    </a:lnTo>
                    <a:lnTo>
                      <a:pt x="148" y="779"/>
                    </a:lnTo>
                    <a:lnTo>
                      <a:pt x="148" y="781"/>
                    </a:lnTo>
                    <a:lnTo>
                      <a:pt x="147" y="782"/>
                    </a:lnTo>
                    <a:lnTo>
                      <a:pt x="148" y="782"/>
                    </a:lnTo>
                    <a:lnTo>
                      <a:pt x="149" y="784"/>
                    </a:lnTo>
                    <a:lnTo>
                      <a:pt x="149" y="784"/>
                    </a:lnTo>
                    <a:lnTo>
                      <a:pt x="149" y="785"/>
                    </a:lnTo>
                    <a:lnTo>
                      <a:pt x="148" y="785"/>
                    </a:lnTo>
                    <a:lnTo>
                      <a:pt x="148" y="787"/>
                    </a:lnTo>
                    <a:lnTo>
                      <a:pt x="148" y="787"/>
                    </a:lnTo>
                    <a:lnTo>
                      <a:pt x="148" y="787"/>
                    </a:lnTo>
                    <a:lnTo>
                      <a:pt x="147" y="787"/>
                    </a:lnTo>
                    <a:lnTo>
                      <a:pt x="147" y="787"/>
                    </a:lnTo>
                    <a:lnTo>
                      <a:pt x="147" y="787"/>
                    </a:lnTo>
                    <a:lnTo>
                      <a:pt x="145" y="787"/>
                    </a:lnTo>
                    <a:lnTo>
                      <a:pt x="145" y="788"/>
                    </a:lnTo>
                    <a:lnTo>
                      <a:pt x="144" y="792"/>
                    </a:lnTo>
                    <a:lnTo>
                      <a:pt x="142" y="792"/>
                    </a:lnTo>
                    <a:lnTo>
                      <a:pt x="142" y="794"/>
                    </a:lnTo>
                    <a:lnTo>
                      <a:pt x="142" y="794"/>
                    </a:lnTo>
                    <a:lnTo>
                      <a:pt x="141" y="795"/>
                    </a:lnTo>
                    <a:lnTo>
                      <a:pt x="141" y="797"/>
                    </a:lnTo>
                    <a:lnTo>
                      <a:pt x="139" y="798"/>
                    </a:lnTo>
                    <a:lnTo>
                      <a:pt x="138" y="798"/>
                    </a:lnTo>
                    <a:lnTo>
                      <a:pt x="138" y="798"/>
                    </a:lnTo>
                    <a:lnTo>
                      <a:pt x="138" y="798"/>
                    </a:lnTo>
                    <a:lnTo>
                      <a:pt x="138" y="798"/>
                    </a:lnTo>
                    <a:lnTo>
                      <a:pt x="138" y="799"/>
                    </a:lnTo>
                    <a:lnTo>
                      <a:pt x="138" y="799"/>
                    </a:lnTo>
                    <a:lnTo>
                      <a:pt x="136" y="799"/>
                    </a:lnTo>
                    <a:lnTo>
                      <a:pt x="136" y="801"/>
                    </a:lnTo>
                    <a:lnTo>
                      <a:pt x="136" y="802"/>
                    </a:lnTo>
                    <a:lnTo>
                      <a:pt x="138" y="809"/>
                    </a:lnTo>
                    <a:lnTo>
                      <a:pt x="138" y="811"/>
                    </a:lnTo>
                    <a:lnTo>
                      <a:pt x="138" y="812"/>
                    </a:lnTo>
                    <a:lnTo>
                      <a:pt x="138" y="814"/>
                    </a:lnTo>
                    <a:lnTo>
                      <a:pt x="138" y="815"/>
                    </a:lnTo>
                    <a:lnTo>
                      <a:pt x="138" y="815"/>
                    </a:lnTo>
                    <a:lnTo>
                      <a:pt x="139" y="817"/>
                    </a:lnTo>
                    <a:lnTo>
                      <a:pt x="139" y="818"/>
                    </a:lnTo>
                    <a:lnTo>
                      <a:pt x="141" y="820"/>
                    </a:lnTo>
                    <a:lnTo>
                      <a:pt x="141" y="821"/>
                    </a:lnTo>
                    <a:lnTo>
                      <a:pt x="141" y="822"/>
                    </a:lnTo>
                    <a:lnTo>
                      <a:pt x="142" y="824"/>
                    </a:lnTo>
                    <a:lnTo>
                      <a:pt x="144" y="825"/>
                    </a:lnTo>
                    <a:lnTo>
                      <a:pt x="142" y="825"/>
                    </a:lnTo>
                    <a:lnTo>
                      <a:pt x="142" y="825"/>
                    </a:lnTo>
                    <a:lnTo>
                      <a:pt x="141" y="825"/>
                    </a:lnTo>
                    <a:lnTo>
                      <a:pt x="139" y="827"/>
                    </a:lnTo>
                    <a:lnTo>
                      <a:pt x="138" y="828"/>
                    </a:lnTo>
                    <a:lnTo>
                      <a:pt x="138" y="828"/>
                    </a:lnTo>
                    <a:lnTo>
                      <a:pt x="136" y="830"/>
                    </a:lnTo>
                    <a:lnTo>
                      <a:pt x="136" y="830"/>
                    </a:lnTo>
                    <a:lnTo>
                      <a:pt x="136" y="831"/>
                    </a:lnTo>
                    <a:lnTo>
                      <a:pt x="135" y="832"/>
                    </a:lnTo>
                    <a:lnTo>
                      <a:pt x="135" y="834"/>
                    </a:lnTo>
                    <a:lnTo>
                      <a:pt x="135" y="834"/>
                    </a:lnTo>
                    <a:lnTo>
                      <a:pt x="135" y="834"/>
                    </a:lnTo>
                    <a:lnTo>
                      <a:pt x="138" y="834"/>
                    </a:lnTo>
                    <a:lnTo>
                      <a:pt x="139" y="835"/>
                    </a:lnTo>
                    <a:lnTo>
                      <a:pt x="141" y="837"/>
                    </a:lnTo>
                    <a:lnTo>
                      <a:pt x="144" y="840"/>
                    </a:lnTo>
                    <a:lnTo>
                      <a:pt x="144" y="841"/>
                    </a:lnTo>
                    <a:lnTo>
                      <a:pt x="144" y="841"/>
                    </a:lnTo>
                    <a:lnTo>
                      <a:pt x="144" y="843"/>
                    </a:lnTo>
                    <a:lnTo>
                      <a:pt x="144" y="843"/>
                    </a:lnTo>
                    <a:lnTo>
                      <a:pt x="144" y="844"/>
                    </a:lnTo>
                    <a:lnTo>
                      <a:pt x="142" y="844"/>
                    </a:lnTo>
                    <a:lnTo>
                      <a:pt x="142" y="845"/>
                    </a:lnTo>
                    <a:lnTo>
                      <a:pt x="142" y="845"/>
                    </a:lnTo>
                    <a:lnTo>
                      <a:pt x="142" y="847"/>
                    </a:lnTo>
                    <a:lnTo>
                      <a:pt x="142" y="847"/>
                    </a:lnTo>
                    <a:lnTo>
                      <a:pt x="142" y="848"/>
                    </a:lnTo>
                    <a:lnTo>
                      <a:pt x="141" y="848"/>
                    </a:lnTo>
                    <a:lnTo>
                      <a:pt x="141" y="848"/>
                    </a:lnTo>
                    <a:lnTo>
                      <a:pt x="141" y="850"/>
                    </a:lnTo>
                    <a:lnTo>
                      <a:pt x="141" y="850"/>
                    </a:lnTo>
                    <a:lnTo>
                      <a:pt x="141" y="850"/>
                    </a:lnTo>
                    <a:lnTo>
                      <a:pt x="141" y="851"/>
                    </a:lnTo>
                    <a:lnTo>
                      <a:pt x="144" y="850"/>
                    </a:lnTo>
                    <a:lnTo>
                      <a:pt x="144" y="850"/>
                    </a:lnTo>
                    <a:lnTo>
                      <a:pt x="145" y="851"/>
                    </a:lnTo>
                    <a:lnTo>
                      <a:pt x="145" y="851"/>
                    </a:lnTo>
                    <a:lnTo>
                      <a:pt x="145" y="851"/>
                    </a:lnTo>
                    <a:lnTo>
                      <a:pt x="147" y="854"/>
                    </a:lnTo>
                    <a:lnTo>
                      <a:pt x="148" y="857"/>
                    </a:lnTo>
                    <a:lnTo>
                      <a:pt x="149" y="860"/>
                    </a:lnTo>
                    <a:lnTo>
                      <a:pt x="149" y="860"/>
                    </a:lnTo>
                    <a:lnTo>
                      <a:pt x="149" y="861"/>
                    </a:lnTo>
                    <a:lnTo>
                      <a:pt x="151" y="863"/>
                    </a:lnTo>
                    <a:lnTo>
                      <a:pt x="151" y="863"/>
                    </a:lnTo>
                    <a:lnTo>
                      <a:pt x="151" y="864"/>
                    </a:lnTo>
                    <a:lnTo>
                      <a:pt x="149" y="866"/>
                    </a:lnTo>
                    <a:lnTo>
                      <a:pt x="149" y="866"/>
                    </a:lnTo>
                    <a:lnTo>
                      <a:pt x="149" y="866"/>
                    </a:lnTo>
                    <a:lnTo>
                      <a:pt x="149" y="866"/>
                    </a:lnTo>
                    <a:lnTo>
                      <a:pt x="149" y="866"/>
                    </a:lnTo>
                    <a:lnTo>
                      <a:pt x="149" y="867"/>
                    </a:lnTo>
                    <a:lnTo>
                      <a:pt x="151" y="867"/>
                    </a:lnTo>
                    <a:lnTo>
                      <a:pt x="151" y="867"/>
                    </a:lnTo>
                    <a:lnTo>
                      <a:pt x="152" y="868"/>
                    </a:lnTo>
                    <a:lnTo>
                      <a:pt x="152" y="868"/>
                    </a:lnTo>
                    <a:lnTo>
                      <a:pt x="154" y="867"/>
                    </a:lnTo>
                    <a:lnTo>
                      <a:pt x="154" y="867"/>
                    </a:lnTo>
                    <a:lnTo>
                      <a:pt x="157" y="867"/>
                    </a:lnTo>
                    <a:lnTo>
                      <a:pt x="158" y="867"/>
                    </a:lnTo>
                    <a:lnTo>
                      <a:pt x="159" y="868"/>
                    </a:lnTo>
                    <a:lnTo>
                      <a:pt x="159" y="870"/>
                    </a:lnTo>
                    <a:lnTo>
                      <a:pt x="161" y="870"/>
                    </a:lnTo>
                    <a:lnTo>
                      <a:pt x="161" y="870"/>
                    </a:lnTo>
                    <a:lnTo>
                      <a:pt x="161" y="870"/>
                    </a:lnTo>
                    <a:lnTo>
                      <a:pt x="161" y="870"/>
                    </a:lnTo>
                    <a:lnTo>
                      <a:pt x="162" y="870"/>
                    </a:lnTo>
                    <a:lnTo>
                      <a:pt x="164" y="868"/>
                    </a:lnTo>
                    <a:lnTo>
                      <a:pt x="165" y="868"/>
                    </a:lnTo>
                    <a:lnTo>
                      <a:pt x="167" y="868"/>
                    </a:lnTo>
                    <a:lnTo>
                      <a:pt x="170" y="870"/>
                    </a:lnTo>
                    <a:lnTo>
                      <a:pt x="171" y="870"/>
                    </a:lnTo>
                    <a:lnTo>
                      <a:pt x="171" y="871"/>
                    </a:lnTo>
                    <a:lnTo>
                      <a:pt x="171" y="871"/>
                    </a:lnTo>
                    <a:lnTo>
                      <a:pt x="171" y="871"/>
                    </a:lnTo>
                    <a:lnTo>
                      <a:pt x="171" y="871"/>
                    </a:lnTo>
                    <a:lnTo>
                      <a:pt x="171" y="873"/>
                    </a:lnTo>
                    <a:lnTo>
                      <a:pt x="171" y="874"/>
                    </a:lnTo>
                    <a:lnTo>
                      <a:pt x="171" y="874"/>
                    </a:lnTo>
                    <a:lnTo>
                      <a:pt x="171" y="876"/>
                    </a:lnTo>
                    <a:lnTo>
                      <a:pt x="172" y="876"/>
                    </a:lnTo>
                    <a:lnTo>
                      <a:pt x="172" y="876"/>
                    </a:lnTo>
                    <a:lnTo>
                      <a:pt x="175" y="876"/>
                    </a:lnTo>
                    <a:lnTo>
                      <a:pt x="175" y="874"/>
                    </a:lnTo>
                    <a:lnTo>
                      <a:pt x="177" y="874"/>
                    </a:lnTo>
                    <a:lnTo>
                      <a:pt x="177" y="874"/>
                    </a:lnTo>
                    <a:lnTo>
                      <a:pt x="178" y="874"/>
                    </a:lnTo>
                    <a:lnTo>
                      <a:pt x="178" y="874"/>
                    </a:lnTo>
                    <a:lnTo>
                      <a:pt x="180" y="874"/>
                    </a:lnTo>
                    <a:lnTo>
                      <a:pt x="180" y="874"/>
                    </a:lnTo>
                    <a:lnTo>
                      <a:pt x="180" y="873"/>
                    </a:lnTo>
                    <a:lnTo>
                      <a:pt x="180" y="873"/>
                    </a:lnTo>
                    <a:lnTo>
                      <a:pt x="180" y="873"/>
                    </a:lnTo>
                    <a:lnTo>
                      <a:pt x="181" y="873"/>
                    </a:lnTo>
                    <a:lnTo>
                      <a:pt x="181" y="873"/>
                    </a:lnTo>
                    <a:lnTo>
                      <a:pt x="181" y="873"/>
                    </a:lnTo>
                    <a:lnTo>
                      <a:pt x="182" y="873"/>
                    </a:lnTo>
                    <a:lnTo>
                      <a:pt x="182" y="873"/>
                    </a:lnTo>
                    <a:lnTo>
                      <a:pt x="184" y="873"/>
                    </a:lnTo>
                    <a:lnTo>
                      <a:pt x="187" y="873"/>
                    </a:lnTo>
                    <a:lnTo>
                      <a:pt x="190" y="874"/>
                    </a:lnTo>
                    <a:lnTo>
                      <a:pt x="191" y="874"/>
                    </a:lnTo>
                    <a:lnTo>
                      <a:pt x="191" y="876"/>
                    </a:lnTo>
                    <a:lnTo>
                      <a:pt x="192" y="876"/>
                    </a:lnTo>
                    <a:lnTo>
                      <a:pt x="192" y="876"/>
                    </a:lnTo>
                    <a:lnTo>
                      <a:pt x="192" y="876"/>
                    </a:lnTo>
                    <a:lnTo>
                      <a:pt x="192" y="877"/>
                    </a:lnTo>
                    <a:lnTo>
                      <a:pt x="194" y="877"/>
                    </a:lnTo>
                    <a:lnTo>
                      <a:pt x="197" y="878"/>
                    </a:lnTo>
                    <a:lnTo>
                      <a:pt x="197" y="878"/>
                    </a:lnTo>
                    <a:lnTo>
                      <a:pt x="198" y="878"/>
                    </a:lnTo>
                    <a:lnTo>
                      <a:pt x="198" y="878"/>
                    </a:lnTo>
                    <a:lnTo>
                      <a:pt x="198" y="880"/>
                    </a:lnTo>
                    <a:lnTo>
                      <a:pt x="198" y="881"/>
                    </a:lnTo>
                    <a:lnTo>
                      <a:pt x="198" y="883"/>
                    </a:lnTo>
                    <a:lnTo>
                      <a:pt x="197" y="884"/>
                    </a:lnTo>
                    <a:lnTo>
                      <a:pt x="197" y="884"/>
                    </a:lnTo>
                    <a:lnTo>
                      <a:pt x="197" y="884"/>
                    </a:lnTo>
                    <a:lnTo>
                      <a:pt x="197" y="886"/>
                    </a:lnTo>
                    <a:lnTo>
                      <a:pt x="197" y="886"/>
                    </a:lnTo>
                    <a:lnTo>
                      <a:pt x="197" y="886"/>
                    </a:lnTo>
                    <a:lnTo>
                      <a:pt x="197" y="887"/>
                    </a:lnTo>
                    <a:lnTo>
                      <a:pt x="198" y="887"/>
                    </a:lnTo>
                    <a:lnTo>
                      <a:pt x="200" y="889"/>
                    </a:lnTo>
                    <a:lnTo>
                      <a:pt x="200" y="890"/>
                    </a:lnTo>
                    <a:lnTo>
                      <a:pt x="198" y="891"/>
                    </a:lnTo>
                    <a:lnTo>
                      <a:pt x="197" y="893"/>
                    </a:lnTo>
                    <a:lnTo>
                      <a:pt x="197" y="894"/>
                    </a:lnTo>
                    <a:lnTo>
                      <a:pt x="195" y="896"/>
                    </a:lnTo>
                    <a:lnTo>
                      <a:pt x="195" y="896"/>
                    </a:lnTo>
                    <a:lnTo>
                      <a:pt x="197" y="897"/>
                    </a:lnTo>
                    <a:lnTo>
                      <a:pt x="198" y="899"/>
                    </a:lnTo>
                    <a:lnTo>
                      <a:pt x="200" y="899"/>
                    </a:lnTo>
                    <a:lnTo>
                      <a:pt x="201" y="900"/>
                    </a:lnTo>
                    <a:lnTo>
                      <a:pt x="203" y="900"/>
                    </a:lnTo>
                    <a:lnTo>
                      <a:pt x="203" y="900"/>
                    </a:lnTo>
                    <a:lnTo>
                      <a:pt x="201" y="901"/>
                    </a:lnTo>
                    <a:lnTo>
                      <a:pt x="201" y="903"/>
                    </a:lnTo>
                    <a:lnTo>
                      <a:pt x="201" y="903"/>
                    </a:lnTo>
                    <a:lnTo>
                      <a:pt x="201" y="903"/>
                    </a:lnTo>
                    <a:lnTo>
                      <a:pt x="201" y="903"/>
                    </a:lnTo>
                    <a:lnTo>
                      <a:pt x="203" y="904"/>
                    </a:lnTo>
                    <a:lnTo>
                      <a:pt x="204" y="906"/>
                    </a:lnTo>
                    <a:lnTo>
                      <a:pt x="205" y="909"/>
                    </a:lnTo>
                    <a:lnTo>
                      <a:pt x="207" y="910"/>
                    </a:lnTo>
                    <a:lnTo>
                      <a:pt x="213" y="913"/>
                    </a:lnTo>
                    <a:lnTo>
                      <a:pt x="214" y="914"/>
                    </a:lnTo>
                    <a:lnTo>
                      <a:pt x="214" y="916"/>
                    </a:lnTo>
                    <a:lnTo>
                      <a:pt x="214" y="916"/>
                    </a:lnTo>
                    <a:lnTo>
                      <a:pt x="214" y="917"/>
                    </a:lnTo>
                    <a:lnTo>
                      <a:pt x="214" y="919"/>
                    </a:lnTo>
                    <a:lnTo>
                      <a:pt x="213" y="920"/>
                    </a:lnTo>
                    <a:lnTo>
                      <a:pt x="214" y="920"/>
                    </a:lnTo>
                    <a:lnTo>
                      <a:pt x="214" y="920"/>
                    </a:lnTo>
                    <a:lnTo>
                      <a:pt x="215" y="920"/>
                    </a:lnTo>
                    <a:lnTo>
                      <a:pt x="215" y="920"/>
                    </a:lnTo>
                    <a:lnTo>
                      <a:pt x="217" y="920"/>
                    </a:lnTo>
                    <a:lnTo>
                      <a:pt x="218" y="920"/>
                    </a:lnTo>
                    <a:lnTo>
                      <a:pt x="221" y="920"/>
                    </a:lnTo>
                    <a:lnTo>
                      <a:pt x="226" y="922"/>
                    </a:lnTo>
                    <a:lnTo>
                      <a:pt x="226" y="923"/>
                    </a:lnTo>
                    <a:lnTo>
                      <a:pt x="226" y="923"/>
                    </a:lnTo>
                    <a:lnTo>
                      <a:pt x="226" y="924"/>
                    </a:lnTo>
                    <a:lnTo>
                      <a:pt x="226" y="924"/>
                    </a:lnTo>
                    <a:lnTo>
                      <a:pt x="226" y="926"/>
                    </a:lnTo>
                    <a:lnTo>
                      <a:pt x="226" y="926"/>
                    </a:lnTo>
                    <a:lnTo>
                      <a:pt x="227" y="926"/>
                    </a:lnTo>
                    <a:lnTo>
                      <a:pt x="227" y="927"/>
                    </a:lnTo>
                    <a:lnTo>
                      <a:pt x="230" y="929"/>
                    </a:lnTo>
                    <a:lnTo>
                      <a:pt x="230" y="929"/>
                    </a:lnTo>
                    <a:lnTo>
                      <a:pt x="230" y="929"/>
                    </a:lnTo>
                    <a:lnTo>
                      <a:pt x="230" y="930"/>
                    </a:lnTo>
                    <a:lnTo>
                      <a:pt x="230" y="930"/>
                    </a:lnTo>
                    <a:lnTo>
                      <a:pt x="228" y="932"/>
                    </a:lnTo>
                    <a:lnTo>
                      <a:pt x="227" y="932"/>
                    </a:lnTo>
                    <a:lnTo>
                      <a:pt x="227" y="932"/>
                    </a:lnTo>
                    <a:lnTo>
                      <a:pt x="226" y="933"/>
                    </a:lnTo>
                    <a:lnTo>
                      <a:pt x="224" y="933"/>
                    </a:lnTo>
                    <a:lnTo>
                      <a:pt x="224" y="935"/>
                    </a:lnTo>
                    <a:lnTo>
                      <a:pt x="223" y="936"/>
                    </a:lnTo>
                    <a:lnTo>
                      <a:pt x="221" y="936"/>
                    </a:lnTo>
                    <a:lnTo>
                      <a:pt x="220" y="937"/>
                    </a:lnTo>
                    <a:lnTo>
                      <a:pt x="218" y="937"/>
                    </a:lnTo>
                    <a:lnTo>
                      <a:pt x="217" y="936"/>
                    </a:lnTo>
                    <a:lnTo>
                      <a:pt x="214" y="936"/>
                    </a:lnTo>
                    <a:lnTo>
                      <a:pt x="214" y="936"/>
                    </a:lnTo>
                    <a:lnTo>
                      <a:pt x="213" y="935"/>
                    </a:lnTo>
                    <a:lnTo>
                      <a:pt x="211" y="935"/>
                    </a:lnTo>
                    <a:lnTo>
                      <a:pt x="210" y="935"/>
                    </a:lnTo>
                    <a:lnTo>
                      <a:pt x="210" y="935"/>
                    </a:lnTo>
                    <a:lnTo>
                      <a:pt x="208" y="935"/>
                    </a:lnTo>
                    <a:lnTo>
                      <a:pt x="207" y="935"/>
                    </a:lnTo>
                    <a:lnTo>
                      <a:pt x="207" y="935"/>
                    </a:lnTo>
                    <a:lnTo>
                      <a:pt x="205" y="937"/>
                    </a:lnTo>
                    <a:lnTo>
                      <a:pt x="204" y="939"/>
                    </a:lnTo>
                    <a:lnTo>
                      <a:pt x="210" y="945"/>
                    </a:lnTo>
                    <a:lnTo>
                      <a:pt x="210" y="945"/>
                    </a:lnTo>
                    <a:lnTo>
                      <a:pt x="210" y="945"/>
                    </a:lnTo>
                    <a:lnTo>
                      <a:pt x="210" y="945"/>
                    </a:lnTo>
                    <a:lnTo>
                      <a:pt x="210" y="946"/>
                    </a:lnTo>
                    <a:lnTo>
                      <a:pt x="210" y="946"/>
                    </a:lnTo>
                    <a:lnTo>
                      <a:pt x="208" y="946"/>
                    </a:lnTo>
                    <a:lnTo>
                      <a:pt x="208" y="947"/>
                    </a:lnTo>
                    <a:lnTo>
                      <a:pt x="208" y="947"/>
                    </a:lnTo>
                    <a:lnTo>
                      <a:pt x="210" y="949"/>
                    </a:lnTo>
                    <a:lnTo>
                      <a:pt x="210" y="950"/>
                    </a:lnTo>
                    <a:lnTo>
                      <a:pt x="210" y="952"/>
                    </a:lnTo>
                    <a:lnTo>
                      <a:pt x="210" y="953"/>
                    </a:lnTo>
                    <a:lnTo>
                      <a:pt x="210" y="955"/>
                    </a:lnTo>
                    <a:lnTo>
                      <a:pt x="210" y="955"/>
                    </a:lnTo>
                    <a:lnTo>
                      <a:pt x="210" y="956"/>
                    </a:lnTo>
                    <a:lnTo>
                      <a:pt x="210" y="956"/>
                    </a:lnTo>
                    <a:lnTo>
                      <a:pt x="210" y="956"/>
                    </a:lnTo>
                    <a:lnTo>
                      <a:pt x="211" y="958"/>
                    </a:lnTo>
                    <a:lnTo>
                      <a:pt x="211" y="958"/>
                    </a:lnTo>
                    <a:lnTo>
                      <a:pt x="211" y="958"/>
                    </a:lnTo>
                    <a:lnTo>
                      <a:pt x="211" y="958"/>
                    </a:lnTo>
                    <a:lnTo>
                      <a:pt x="213" y="960"/>
                    </a:lnTo>
                    <a:lnTo>
                      <a:pt x="213" y="962"/>
                    </a:lnTo>
                    <a:lnTo>
                      <a:pt x="214" y="962"/>
                    </a:lnTo>
                    <a:lnTo>
                      <a:pt x="214" y="962"/>
                    </a:lnTo>
                    <a:lnTo>
                      <a:pt x="215" y="962"/>
                    </a:lnTo>
                    <a:lnTo>
                      <a:pt x="217" y="963"/>
                    </a:lnTo>
                    <a:lnTo>
                      <a:pt x="217" y="963"/>
                    </a:lnTo>
                    <a:lnTo>
                      <a:pt x="218" y="963"/>
                    </a:lnTo>
                    <a:lnTo>
                      <a:pt x="220" y="962"/>
                    </a:lnTo>
                    <a:lnTo>
                      <a:pt x="220" y="962"/>
                    </a:lnTo>
                    <a:lnTo>
                      <a:pt x="221" y="962"/>
                    </a:lnTo>
                    <a:lnTo>
                      <a:pt x="221" y="962"/>
                    </a:lnTo>
                    <a:lnTo>
                      <a:pt x="223" y="960"/>
                    </a:lnTo>
                    <a:lnTo>
                      <a:pt x="223" y="959"/>
                    </a:lnTo>
                    <a:lnTo>
                      <a:pt x="224" y="958"/>
                    </a:lnTo>
                    <a:lnTo>
                      <a:pt x="224" y="956"/>
                    </a:lnTo>
                    <a:lnTo>
                      <a:pt x="224" y="956"/>
                    </a:lnTo>
                    <a:lnTo>
                      <a:pt x="224" y="956"/>
                    </a:lnTo>
                    <a:lnTo>
                      <a:pt x="226" y="956"/>
                    </a:lnTo>
                    <a:lnTo>
                      <a:pt x="226" y="956"/>
                    </a:lnTo>
                    <a:lnTo>
                      <a:pt x="228" y="956"/>
                    </a:lnTo>
                    <a:lnTo>
                      <a:pt x="231" y="958"/>
                    </a:lnTo>
                    <a:lnTo>
                      <a:pt x="233" y="958"/>
                    </a:lnTo>
                    <a:lnTo>
                      <a:pt x="236" y="956"/>
                    </a:lnTo>
                    <a:lnTo>
                      <a:pt x="236" y="956"/>
                    </a:lnTo>
                    <a:lnTo>
                      <a:pt x="237" y="956"/>
                    </a:lnTo>
                    <a:lnTo>
                      <a:pt x="237" y="955"/>
                    </a:lnTo>
                    <a:lnTo>
                      <a:pt x="238" y="955"/>
                    </a:lnTo>
                    <a:lnTo>
                      <a:pt x="240" y="955"/>
                    </a:lnTo>
                    <a:lnTo>
                      <a:pt x="240" y="955"/>
                    </a:lnTo>
                    <a:lnTo>
                      <a:pt x="241" y="955"/>
                    </a:lnTo>
                    <a:lnTo>
                      <a:pt x="241" y="955"/>
                    </a:lnTo>
                    <a:lnTo>
                      <a:pt x="243" y="955"/>
                    </a:lnTo>
                    <a:lnTo>
                      <a:pt x="244" y="956"/>
                    </a:lnTo>
                    <a:lnTo>
                      <a:pt x="246" y="956"/>
                    </a:lnTo>
                    <a:lnTo>
                      <a:pt x="247" y="955"/>
                    </a:lnTo>
                    <a:lnTo>
                      <a:pt x="247" y="955"/>
                    </a:lnTo>
                    <a:lnTo>
                      <a:pt x="249" y="956"/>
                    </a:lnTo>
                    <a:lnTo>
                      <a:pt x="251" y="958"/>
                    </a:lnTo>
                    <a:lnTo>
                      <a:pt x="251" y="959"/>
                    </a:lnTo>
                    <a:lnTo>
                      <a:pt x="253" y="959"/>
                    </a:lnTo>
                    <a:lnTo>
                      <a:pt x="253" y="960"/>
                    </a:lnTo>
                    <a:lnTo>
                      <a:pt x="253" y="962"/>
                    </a:lnTo>
                    <a:lnTo>
                      <a:pt x="253" y="962"/>
                    </a:lnTo>
                    <a:lnTo>
                      <a:pt x="254" y="965"/>
                    </a:lnTo>
                    <a:lnTo>
                      <a:pt x="256" y="966"/>
                    </a:lnTo>
                    <a:lnTo>
                      <a:pt x="260" y="969"/>
                    </a:lnTo>
                    <a:lnTo>
                      <a:pt x="260" y="970"/>
                    </a:lnTo>
                    <a:lnTo>
                      <a:pt x="260" y="970"/>
                    </a:lnTo>
                    <a:lnTo>
                      <a:pt x="260" y="970"/>
                    </a:lnTo>
                    <a:lnTo>
                      <a:pt x="259" y="970"/>
                    </a:lnTo>
                    <a:lnTo>
                      <a:pt x="257" y="972"/>
                    </a:lnTo>
                    <a:lnTo>
                      <a:pt x="256" y="972"/>
                    </a:lnTo>
                    <a:lnTo>
                      <a:pt x="256" y="972"/>
                    </a:lnTo>
                    <a:lnTo>
                      <a:pt x="254" y="972"/>
                    </a:lnTo>
                    <a:lnTo>
                      <a:pt x="254" y="973"/>
                    </a:lnTo>
                    <a:lnTo>
                      <a:pt x="254" y="973"/>
                    </a:lnTo>
                    <a:lnTo>
                      <a:pt x="254" y="973"/>
                    </a:lnTo>
                    <a:lnTo>
                      <a:pt x="256" y="975"/>
                    </a:lnTo>
                    <a:lnTo>
                      <a:pt x="256" y="975"/>
                    </a:lnTo>
                    <a:lnTo>
                      <a:pt x="256" y="976"/>
                    </a:lnTo>
                    <a:lnTo>
                      <a:pt x="256" y="978"/>
                    </a:lnTo>
                    <a:lnTo>
                      <a:pt x="256" y="978"/>
                    </a:lnTo>
                    <a:lnTo>
                      <a:pt x="256" y="979"/>
                    </a:lnTo>
                    <a:lnTo>
                      <a:pt x="257" y="979"/>
                    </a:lnTo>
                    <a:lnTo>
                      <a:pt x="257" y="981"/>
                    </a:lnTo>
                    <a:lnTo>
                      <a:pt x="257" y="982"/>
                    </a:lnTo>
                    <a:lnTo>
                      <a:pt x="256" y="982"/>
                    </a:lnTo>
                    <a:lnTo>
                      <a:pt x="256" y="983"/>
                    </a:lnTo>
                    <a:lnTo>
                      <a:pt x="256" y="983"/>
                    </a:lnTo>
                    <a:lnTo>
                      <a:pt x="256" y="983"/>
                    </a:lnTo>
                    <a:lnTo>
                      <a:pt x="256" y="983"/>
                    </a:lnTo>
                    <a:lnTo>
                      <a:pt x="257" y="983"/>
                    </a:lnTo>
                    <a:lnTo>
                      <a:pt x="259" y="983"/>
                    </a:lnTo>
                    <a:lnTo>
                      <a:pt x="260" y="983"/>
                    </a:lnTo>
                    <a:lnTo>
                      <a:pt x="261" y="983"/>
                    </a:lnTo>
                    <a:lnTo>
                      <a:pt x="264" y="985"/>
                    </a:lnTo>
                    <a:lnTo>
                      <a:pt x="266" y="985"/>
                    </a:lnTo>
                    <a:lnTo>
                      <a:pt x="267" y="985"/>
                    </a:lnTo>
                    <a:lnTo>
                      <a:pt x="269" y="985"/>
                    </a:lnTo>
                    <a:lnTo>
                      <a:pt x="270" y="985"/>
                    </a:lnTo>
                    <a:lnTo>
                      <a:pt x="271" y="985"/>
                    </a:lnTo>
                    <a:lnTo>
                      <a:pt x="271" y="985"/>
                    </a:lnTo>
                    <a:lnTo>
                      <a:pt x="271" y="985"/>
                    </a:lnTo>
                    <a:lnTo>
                      <a:pt x="271" y="986"/>
                    </a:lnTo>
                    <a:lnTo>
                      <a:pt x="271" y="986"/>
                    </a:lnTo>
                    <a:lnTo>
                      <a:pt x="273" y="988"/>
                    </a:lnTo>
                    <a:lnTo>
                      <a:pt x="273" y="988"/>
                    </a:lnTo>
                    <a:lnTo>
                      <a:pt x="273" y="989"/>
                    </a:lnTo>
                    <a:lnTo>
                      <a:pt x="273" y="989"/>
                    </a:lnTo>
                    <a:lnTo>
                      <a:pt x="274" y="988"/>
                    </a:lnTo>
                    <a:lnTo>
                      <a:pt x="276" y="989"/>
                    </a:lnTo>
                    <a:lnTo>
                      <a:pt x="276" y="989"/>
                    </a:lnTo>
                    <a:lnTo>
                      <a:pt x="276" y="989"/>
                    </a:lnTo>
                    <a:lnTo>
                      <a:pt x="276" y="989"/>
                    </a:lnTo>
                    <a:lnTo>
                      <a:pt x="276" y="991"/>
                    </a:lnTo>
                    <a:lnTo>
                      <a:pt x="276" y="993"/>
                    </a:lnTo>
                    <a:lnTo>
                      <a:pt x="276" y="995"/>
                    </a:lnTo>
                    <a:lnTo>
                      <a:pt x="277" y="995"/>
                    </a:lnTo>
                    <a:lnTo>
                      <a:pt x="277" y="995"/>
                    </a:lnTo>
                    <a:lnTo>
                      <a:pt x="277" y="996"/>
                    </a:lnTo>
                    <a:lnTo>
                      <a:pt x="277" y="996"/>
                    </a:lnTo>
                    <a:lnTo>
                      <a:pt x="277" y="998"/>
                    </a:lnTo>
                    <a:lnTo>
                      <a:pt x="277" y="998"/>
                    </a:lnTo>
                    <a:lnTo>
                      <a:pt x="277" y="999"/>
                    </a:lnTo>
                    <a:lnTo>
                      <a:pt x="277" y="1001"/>
                    </a:lnTo>
                    <a:lnTo>
                      <a:pt x="277" y="1002"/>
                    </a:lnTo>
                    <a:lnTo>
                      <a:pt x="279" y="1004"/>
                    </a:lnTo>
                    <a:lnTo>
                      <a:pt x="280" y="1005"/>
                    </a:lnTo>
                    <a:lnTo>
                      <a:pt x="282" y="1006"/>
                    </a:lnTo>
                    <a:lnTo>
                      <a:pt x="282" y="1006"/>
                    </a:lnTo>
                    <a:lnTo>
                      <a:pt x="282" y="1006"/>
                    </a:lnTo>
                    <a:lnTo>
                      <a:pt x="283" y="1006"/>
                    </a:lnTo>
                    <a:lnTo>
                      <a:pt x="283" y="1006"/>
                    </a:lnTo>
                    <a:lnTo>
                      <a:pt x="284" y="1005"/>
                    </a:lnTo>
                    <a:lnTo>
                      <a:pt x="286" y="1005"/>
                    </a:lnTo>
                    <a:lnTo>
                      <a:pt x="286" y="1005"/>
                    </a:lnTo>
                    <a:lnTo>
                      <a:pt x="286" y="1005"/>
                    </a:lnTo>
                    <a:lnTo>
                      <a:pt x="287" y="1005"/>
                    </a:lnTo>
                    <a:lnTo>
                      <a:pt x="287" y="1005"/>
                    </a:lnTo>
                    <a:lnTo>
                      <a:pt x="289" y="1005"/>
                    </a:lnTo>
                    <a:lnTo>
                      <a:pt x="290" y="1006"/>
                    </a:lnTo>
                    <a:lnTo>
                      <a:pt x="290" y="1006"/>
                    </a:lnTo>
                    <a:lnTo>
                      <a:pt x="292" y="1008"/>
                    </a:lnTo>
                    <a:lnTo>
                      <a:pt x="293" y="1009"/>
                    </a:lnTo>
                    <a:lnTo>
                      <a:pt x="294" y="1008"/>
                    </a:lnTo>
                    <a:lnTo>
                      <a:pt x="296" y="1009"/>
                    </a:lnTo>
                    <a:lnTo>
                      <a:pt x="297" y="1009"/>
                    </a:lnTo>
                    <a:lnTo>
                      <a:pt x="297" y="1011"/>
                    </a:lnTo>
                    <a:lnTo>
                      <a:pt x="299" y="1011"/>
                    </a:lnTo>
                    <a:lnTo>
                      <a:pt x="300" y="1009"/>
                    </a:lnTo>
                    <a:lnTo>
                      <a:pt x="302" y="1009"/>
                    </a:lnTo>
                    <a:lnTo>
                      <a:pt x="303" y="1008"/>
                    </a:lnTo>
                    <a:lnTo>
                      <a:pt x="305" y="1008"/>
                    </a:lnTo>
                    <a:lnTo>
                      <a:pt x="306" y="1008"/>
                    </a:lnTo>
                    <a:lnTo>
                      <a:pt x="306" y="1008"/>
                    </a:lnTo>
                    <a:lnTo>
                      <a:pt x="307" y="1006"/>
                    </a:lnTo>
                    <a:lnTo>
                      <a:pt x="307" y="1006"/>
                    </a:lnTo>
                    <a:lnTo>
                      <a:pt x="309" y="1006"/>
                    </a:lnTo>
                    <a:lnTo>
                      <a:pt x="309" y="1006"/>
                    </a:lnTo>
                    <a:lnTo>
                      <a:pt x="310" y="1006"/>
                    </a:lnTo>
                    <a:lnTo>
                      <a:pt x="310" y="1005"/>
                    </a:lnTo>
                    <a:lnTo>
                      <a:pt x="312" y="1005"/>
                    </a:lnTo>
                    <a:lnTo>
                      <a:pt x="313" y="1006"/>
                    </a:lnTo>
                    <a:lnTo>
                      <a:pt x="313" y="1006"/>
                    </a:lnTo>
                    <a:lnTo>
                      <a:pt x="316" y="1009"/>
                    </a:lnTo>
                    <a:lnTo>
                      <a:pt x="316" y="1011"/>
                    </a:lnTo>
                    <a:lnTo>
                      <a:pt x="316" y="1012"/>
                    </a:lnTo>
                    <a:lnTo>
                      <a:pt x="317" y="1014"/>
                    </a:lnTo>
                    <a:lnTo>
                      <a:pt x="317" y="1014"/>
                    </a:lnTo>
                    <a:lnTo>
                      <a:pt x="319" y="1015"/>
                    </a:lnTo>
                    <a:lnTo>
                      <a:pt x="320" y="1015"/>
                    </a:lnTo>
                    <a:lnTo>
                      <a:pt x="322" y="1016"/>
                    </a:lnTo>
                    <a:lnTo>
                      <a:pt x="323" y="1018"/>
                    </a:lnTo>
                    <a:lnTo>
                      <a:pt x="323" y="1018"/>
                    </a:lnTo>
                    <a:lnTo>
                      <a:pt x="325" y="1018"/>
                    </a:lnTo>
                    <a:lnTo>
                      <a:pt x="325" y="1018"/>
                    </a:lnTo>
                    <a:lnTo>
                      <a:pt x="325" y="1018"/>
                    </a:lnTo>
                    <a:lnTo>
                      <a:pt x="326" y="1018"/>
                    </a:lnTo>
                    <a:lnTo>
                      <a:pt x="326" y="1015"/>
                    </a:lnTo>
                    <a:lnTo>
                      <a:pt x="327" y="1015"/>
                    </a:lnTo>
                    <a:lnTo>
                      <a:pt x="332" y="1016"/>
                    </a:lnTo>
                    <a:lnTo>
                      <a:pt x="338" y="1019"/>
                    </a:lnTo>
                    <a:lnTo>
                      <a:pt x="339" y="1021"/>
                    </a:lnTo>
                    <a:lnTo>
                      <a:pt x="339" y="1021"/>
                    </a:lnTo>
                    <a:lnTo>
                      <a:pt x="340" y="1021"/>
                    </a:lnTo>
                    <a:lnTo>
                      <a:pt x="340" y="1021"/>
                    </a:lnTo>
                    <a:lnTo>
                      <a:pt x="342" y="1021"/>
                    </a:lnTo>
                    <a:lnTo>
                      <a:pt x="343" y="1019"/>
                    </a:lnTo>
                    <a:lnTo>
                      <a:pt x="343" y="1021"/>
                    </a:lnTo>
                    <a:lnTo>
                      <a:pt x="345" y="1022"/>
                    </a:lnTo>
                    <a:lnTo>
                      <a:pt x="345" y="1022"/>
                    </a:lnTo>
                    <a:lnTo>
                      <a:pt x="346" y="1024"/>
                    </a:lnTo>
                    <a:lnTo>
                      <a:pt x="348" y="1024"/>
                    </a:lnTo>
                    <a:lnTo>
                      <a:pt x="349" y="1024"/>
                    </a:lnTo>
                    <a:lnTo>
                      <a:pt x="349" y="1024"/>
                    </a:lnTo>
                    <a:lnTo>
                      <a:pt x="350" y="1025"/>
                    </a:lnTo>
                    <a:lnTo>
                      <a:pt x="352" y="1025"/>
                    </a:lnTo>
                    <a:lnTo>
                      <a:pt x="353" y="1028"/>
                    </a:lnTo>
                    <a:lnTo>
                      <a:pt x="355" y="1028"/>
                    </a:lnTo>
                    <a:lnTo>
                      <a:pt x="356" y="1027"/>
                    </a:lnTo>
                    <a:lnTo>
                      <a:pt x="358" y="1027"/>
                    </a:lnTo>
                    <a:lnTo>
                      <a:pt x="358" y="1027"/>
                    </a:lnTo>
                    <a:lnTo>
                      <a:pt x="359" y="1027"/>
                    </a:lnTo>
                    <a:lnTo>
                      <a:pt x="359" y="1028"/>
                    </a:lnTo>
                    <a:lnTo>
                      <a:pt x="359" y="1028"/>
                    </a:lnTo>
                    <a:lnTo>
                      <a:pt x="359" y="1029"/>
                    </a:lnTo>
                    <a:lnTo>
                      <a:pt x="359" y="1031"/>
                    </a:lnTo>
                    <a:lnTo>
                      <a:pt x="359" y="1032"/>
                    </a:lnTo>
                    <a:lnTo>
                      <a:pt x="361" y="1032"/>
                    </a:lnTo>
                    <a:lnTo>
                      <a:pt x="361" y="1032"/>
                    </a:lnTo>
                    <a:lnTo>
                      <a:pt x="361" y="1034"/>
                    </a:lnTo>
                    <a:lnTo>
                      <a:pt x="361" y="1034"/>
                    </a:lnTo>
                    <a:lnTo>
                      <a:pt x="361" y="1034"/>
                    </a:lnTo>
                    <a:lnTo>
                      <a:pt x="361" y="1035"/>
                    </a:lnTo>
                    <a:lnTo>
                      <a:pt x="359" y="1035"/>
                    </a:lnTo>
                    <a:lnTo>
                      <a:pt x="359" y="1037"/>
                    </a:lnTo>
                    <a:lnTo>
                      <a:pt x="359" y="1037"/>
                    </a:lnTo>
                    <a:lnTo>
                      <a:pt x="356" y="1039"/>
                    </a:lnTo>
                    <a:lnTo>
                      <a:pt x="356" y="1039"/>
                    </a:lnTo>
                    <a:lnTo>
                      <a:pt x="356" y="1041"/>
                    </a:lnTo>
                    <a:lnTo>
                      <a:pt x="355" y="1041"/>
                    </a:lnTo>
                    <a:lnTo>
                      <a:pt x="355" y="1041"/>
                    </a:lnTo>
                    <a:lnTo>
                      <a:pt x="355" y="1041"/>
                    </a:lnTo>
                    <a:lnTo>
                      <a:pt x="353" y="1041"/>
                    </a:lnTo>
                    <a:lnTo>
                      <a:pt x="353" y="1041"/>
                    </a:lnTo>
                    <a:lnTo>
                      <a:pt x="352" y="1042"/>
                    </a:lnTo>
                    <a:lnTo>
                      <a:pt x="353" y="1044"/>
                    </a:lnTo>
                    <a:lnTo>
                      <a:pt x="355" y="1044"/>
                    </a:lnTo>
                    <a:lnTo>
                      <a:pt x="356" y="1045"/>
                    </a:lnTo>
                    <a:lnTo>
                      <a:pt x="358" y="1047"/>
                    </a:lnTo>
                    <a:lnTo>
                      <a:pt x="358" y="1047"/>
                    </a:lnTo>
                    <a:lnTo>
                      <a:pt x="358" y="1047"/>
                    </a:lnTo>
                    <a:lnTo>
                      <a:pt x="356" y="1047"/>
                    </a:lnTo>
                    <a:lnTo>
                      <a:pt x="356" y="1047"/>
                    </a:lnTo>
                    <a:lnTo>
                      <a:pt x="355" y="1047"/>
                    </a:lnTo>
                    <a:lnTo>
                      <a:pt x="355" y="1047"/>
                    </a:lnTo>
                    <a:lnTo>
                      <a:pt x="355" y="1047"/>
                    </a:lnTo>
                    <a:lnTo>
                      <a:pt x="353" y="1047"/>
                    </a:lnTo>
                    <a:lnTo>
                      <a:pt x="353" y="1048"/>
                    </a:lnTo>
                    <a:lnTo>
                      <a:pt x="352" y="1050"/>
                    </a:lnTo>
                    <a:lnTo>
                      <a:pt x="352" y="1051"/>
                    </a:lnTo>
                    <a:lnTo>
                      <a:pt x="352" y="1052"/>
                    </a:lnTo>
                    <a:lnTo>
                      <a:pt x="353" y="1052"/>
                    </a:lnTo>
                    <a:lnTo>
                      <a:pt x="355" y="1052"/>
                    </a:lnTo>
                    <a:lnTo>
                      <a:pt x="355" y="1054"/>
                    </a:lnTo>
                    <a:lnTo>
                      <a:pt x="356" y="1055"/>
                    </a:lnTo>
                    <a:lnTo>
                      <a:pt x="356" y="1058"/>
                    </a:lnTo>
                    <a:lnTo>
                      <a:pt x="356" y="1058"/>
                    </a:lnTo>
                    <a:lnTo>
                      <a:pt x="355" y="1058"/>
                    </a:lnTo>
                    <a:lnTo>
                      <a:pt x="355" y="1060"/>
                    </a:lnTo>
                    <a:lnTo>
                      <a:pt x="355" y="1060"/>
                    </a:lnTo>
                    <a:lnTo>
                      <a:pt x="356" y="1060"/>
                    </a:lnTo>
                    <a:lnTo>
                      <a:pt x="356" y="1060"/>
                    </a:lnTo>
                    <a:lnTo>
                      <a:pt x="356" y="1060"/>
                    </a:lnTo>
                    <a:lnTo>
                      <a:pt x="358" y="1060"/>
                    </a:lnTo>
                    <a:lnTo>
                      <a:pt x="358" y="1061"/>
                    </a:lnTo>
                    <a:lnTo>
                      <a:pt x="358" y="1061"/>
                    </a:lnTo>
                    <a:lnTo>
                      <a:pt x="356" y="1062"/>
                    </a:lnTo>
                    <a:lnTo>
                      <a:pt x="355" y="1064"/>
                    </a:lnTo>
                    <a:lnTo>
                      <a:pt x="353" y="1067"/>
                    </a:lnTo>
                    <a:lnTo>
                      <a:pt x="353" y="1067"/>
                    </a:lnTo>
                    <a:lnTo>
                      <a:pt x="353" y="1067"/>
                    </a:lnTo>
                    <a:lnTo>
                      <a:pt x="353" y="1067"/>
                    </a:lnTo>
                    <a:lnTo>
                      <a:pt x="353" y="1067"/>
                    </a:lnTo>
                    <a:lnTo>
                      <a:pt x="353" y="1068"/>
                    </a:lnTo>
                    <a:lnTo>
                      <a:pt x="353" y="1070"/>
                    </a:lnTo>
                    <a:lnTo>
                      <a:pt x="353" y="1070"/>
                    </a:lnTo>
                    <a:lnTo>
                      <a:pt x="348" y="1071"/>
                    </a:lnTo>
                    <a:lnTo>
                      <a:pt x="342" y="1070"/>
                    </a:lnTo>
                    <a:lnTo>
                      <a:pt x="339" y="1070"/>
                    </a:lnTo>
                    <a:lnTo>
                      <a:pt x="338" y="1070"/>
                    </a:lnTo>
                    <a:lnTo>
                      <a:pt x="338" y="1071"/>
                    </a:lnTo>
                    <a:lnTo>
                      <a:pt x="336" y="1071"/>
                    </a:lnTo>
                    <a:lnTo>
                      <a:pt x="336" y="1073"/>
                    </a:lnTo>
                    <a:lnTo>
                      <a:pt x="336" y="1073"/>
                    </a:lnTo>
                    <a:lnTo>
                      <a:pt x="335" y="1074"/>
                    </a:lnTo>
                    <a:lnTo>
                      <a:pt x="335" y="1074"/>
                    </a:lnTo>
                    <a:lnTo>
                      <a:pt x="335" y="1074"/>
                    </a:lnTo>
                    <a:lnTo>
                      <a:pt x="332" y="1075"/>
                    </a:lnTo>
                    <a:lnTo>
                      <a:pt x="329" y="1075"/>
                    </a:lnTo>
                    <a:lnTo>
                      <a:pt x="329" y="1077"/>
                    </a:lnTo>
                    <a:lnTo>
                      <a:pt x="327" y="1077"/>
                    </a:lnTo>
                    <a:lnTo>
                      <a:pt x="327" y="1078"/>
                    </a:lnTo>
                    <a:lnTo>
                      <a:pt x="327" y="1078"/>
                    </a:lnTo>
                    <a:lnTo>
                      <a:pt x="327" y="1080"/>
                    </a:lnTo>
                    <a:lnTo>
                      <a:pt x="327" y="1080"/>
                    </a:lnTo>
                    <a:lnTo>
                      <a:pt x="327" y="1081"/>
                    </a:lnTo>
                    <a:lnTo>
                      <a:pt x="327" y="1081"/>
                    </a:lnTo>
                    <a:lnTo>
                      <a:pt x="326" y="1081"/>
                    </a:lnTo>
                    <a:lnTo>
                      <a:pt x="326" y="1083"/>
                    </a:lnTo>
                    <a:lnTo>
                      <a:pt x="326" y="1083"/>
                    </a:lnTo>
                    <a:lnTo>
                      <a:pt x="326" y="1083"/>
                    </a:lnTo>
                    <a:lnTo>
                      <a:pt x="327" y="1084"/>
                    </a:lnTo>
                    <a:lnTo>
                      <a:pt x="327" y="1084"/>
                    </a:lnTo>
                    <a:lnTo>
                      <a:pt x="327" y="1084"/>
                    </a:lnTo>
                    <a:lnTo>
                      <a:pt x="327" y="1085"/>
                    </a:lnTo>
                    <a:lnTo>
                      <a:pt x="327" y="1085"/>
                    </a:lnTo>
                    <a:lnTo>
                      <a:pt x="326" y="1085"/>
                    </a:lnTo>
                    <a:lnTo>
                      <a:pt x="326" y="1085"/>
                    </a:lnTo>
                    <a:lnTo>
                      <a:pt x="326" y="1085"/>
                    </a:lnTo>
                    <a:lnTo>
                      <a:pt x="326" y="1085"/>
                    </a:lnTo>
                    <a:lnTo>
                      <a:pt x="326" y="1087"/>
                    </a:lnTo>
                    <a:lnTo>
                      <a:pt x="326" y="1087"/>
                    </a:lnTo>
                    <a:lnTo>
                      <a:pt x="326" y="1088"/>
                    </a:lnTo>
                    <a:lnTo>
                      <a:pt x="333" y="1084"/>
                    </a:lnTo>
                    <a:lnTo>
                      <a:pt x="336" y="1084"/>
                    </a:lnTo>
                    <a:lnTo>
                      <a:pt x="333" y="1085"/>
                    </a:lnTo>
                    <a:lnTo>
                      <a:pt x="332" y="1087"/>
                    </a:lnTo>
                    <a:lnTo>
                      <a:pt x="340" y="1085"/>
                    </a:lnTo>
                    <a:lnTo>
                      <a:pt x="345" y="1085"/>
                    </a:lnTo>
                    <a:lnTo>
                      <a:pt x="345" y="1088"/>
                    </a:lnTo>
                    <a:lnTo>
                      <a:pt x="381" y="1088"/>
                    </a:lnTo>
                    <a:lnTo>
                      <a:pt x="392" y="1091"/>
                    </a:lnTo>
                    <a:lnTo>
                      <a:pt x="409" y="1106"/>
                    </a:lnTo>
                    <a:lnTo>
                      <a:pt x="435" y="1117"/>
                    </a:lnTo>
                    <a:lnTo>
                      <a:pt x="460" y="1137"/>
                    </a:lnTo>
                    <a:lnTo>
                      <a:pt x="475" y="1140"/>
                    </a:lnTo>
                    <a:lnTo>
                      <a:pt x="480" y="1142"/>
                    </a:lnTo>
                    <a:lnTo>
                      <a:pt x="481" y="1140"/>
                    </a:lnTo>
                    <a:lnTo>
                      <a:pt x="481" y="1140"/>
                    </a:lnTo>
                    <a:lnTo>
                      <a:pt x="483" y="1140"/>
                    </a:lnTo>
                    <a:lnTo>
                      <a:pt x="483" y="1142"/>
                    </a:lnTo>
                    <a:lnTo>
                      <a:pt x="483" y="1139"/>
                    </a:lnTo>
                    <a:lnTo>
                      <a:pt x="490" y="1126"/>
                    </a:lnTo>
                    <a:lnTo>
                      <a:pt x="490" y="1123"/>
                    </a:lnTo>
                    <a:lnTo>
                      <a:pt x="490" y="1121"/>
                    </a:lnTo>
                    <a:lnTo>
                      <a:pt x="490" y="1121"/>
                    </a:lnTo>
                    <a:lnTo>
                      <a:pt x="491" y="1121"/>
                    </a:lnTo>
                    <a:lnTo>
                      <a:pt x="491" y="1123"/>
                    </a:lnTo>
                    <a:lnTo>
                      <a:pt x="493" y="1123"/>
                    </a:lnTo>
                    <a:lnTo>
                      <a:pt x="493" y="1121"/>
                    </a:lnTo>
                    <a:lnTo>
                      <a:pt x="496" y="1120"/>
                    </a:lnTo>
                    <a:lnTo>
                      <a:pt x="498" y="1120"/>
                    </a:lnTo>
                    <a:lnTo>
                      <a:pt x="501" y="1120"/>
                    </a:lnTo>
                    <a:lnTo>
                      <a:pt x="503" y="1119"/>
                    </a:lnTo>
                    <a:lnTo>
                      <a:pt x="506" y="1116"/>
                    </a:lnTo>
                    <a:lnTo>
                      <a:pt x="507" y="1116"/>
                    </a:lnTo>
                    <a:lnTo>
                      <a:pt x="507" y="1116"/>
                    </a:lnTo>
                    <a:lnTo>
                      <a:pt x="508" y="1116"/>
                    </a:lnTo>
                    <a:lnTo>
                      <a:pt x="510" y="1116"/>
                    </a:lnTo>
                    <a:lnTo>
                      <a:pt x="510" y="1116"/>
                    </a:lnTo>
                    <a:lnTo>
                      <a:pt x="510" y="1116"/>
                    </a:lnTo>
                    <a:lnTo>
                      <a:pt x="511" y="1116"/>
                    </a:lnTo>
                    <a:lnTo>
                      <a:pt x="511" y="1116"/>
                    </a:lnTo>
                    <a:lnTo>
                      <a:pt x="511" y="1114"/>
                    </a:lnTo>
                    <a:lnTo>
                      <a:pt x="511" y="1114"/>
                    </a:lnTo>
                    <a:lnTo>
                      <a:pt x="511" y="1113"/>
                    </a:lnTo>
                    <a:lnTo>
                      <a:pt x="511" y="1111"/>
                    </a:lnTo>
                    <a:lnTo>
                      <a:pt x="511" y="1111"/>
                    </a:lnTo>
                    <a:lnTo>
                      <a:pt x="520" y="1107"/>
                    </a:lnTo>
                    <a:lnTo>
                      <a:pt x="520" y="1106"/>
                    </a:lnTo>
                    <a:lnTo>
                      <a:pt x="513" y="1101"/>
                    </a:lnTo>
                    <a:lnTo>
                      <a:pt x="508" y="1100"/>
                    </a:lnTo>
                    <a:lnTo>
                      <a:pt x="508" y="1100"/>
                    </a:lnTo>
                    <a:lnTo>
                      <a:pt x="508" y="1100"/>
                    </a:lnTo>
                    <a:lnTo>
                      <a:pt x="508" y="1098"/>
                    </a:lnTo>
                    <a:lnTo>
                      <a:pt x="507" y="1098"/>
                    </a:lnTo>
                    <a:lnTo>
                      <a:pt x="507" y="1097"/>
                    </a:lnTo>
                    <a:lnTo>
                      <a:pt x="507" y="1097"/>
                    </a:lnTo>
                    <a:lnTo>
                      <a:pt x="508" y="1097"/>
                    </a:lnTo>
                    <a:lnTo>
                      <a:pt x="508" y="1096"/>
                    </a:lnTo>
                    <a:lnTo>
                      <a:pt x="510" y="1096"/>
                    </a:lnTo>
                    <a:lnTo>
                      <a:pt x="511" y="1097"/>
                    </a:lnTo>
                    <a:lnTo>
                      <a:pt x="511" y="1097"/>
                    </a:lnTo>
                    <a:lnTo>
                      <a:pt x="513" y="1097"/>
                    </a:lnTo>
                    <a:lnTo>
                      <a:pt x="514" y="1097"/>
                    </a:lnTo>
                    <a:lnTo>
                      <a:pt x="514" y="1097"/>
                    </a:lnTo>
                    <a:lnTo>
                      <a:pt x="514" y="1097"/>
                    </a:lnTo>
                    <a:lnTo>
                      <a:pt x="516" y="1097"/>
                    </a:lnTo>
                    <a:lnTo>
                      <a:pt x="516" y="1097"/>
                    </a:lnTo>
                    <a:lnTo>
                      <a:pt x="516" y="1096"/>
                    </a:lnTo>
                    <a:lnTo>
                      <a:pt x="516" y="1096"/>
                    </a:lnTo>
                    <a:lnTo>
                      <a:pt x="514" y="1094"/>
                    </a:lnTo>
                    <a:lnTo>
                      <a:pt x="514" y="1094"/>
                    </a:lnTo>
                    <a:lnTo>
                      <a:pt x="511" y="1088"/>
                    </a:lnTo>
                    <a:lnTo>
                      <a:pt x="510" y="1085"/>
                    </a:lnTo>
                    <a:lnTo>
                      <a:pt x="510" y="1084"/>
                    </a:lnTo>
                    <a:lnTo>
                      <a:pt x="506" y="1080"/>
                    </a:lnTo>
                    <a:lnTo>
                      <a:pt x="503" y="1077"/>
                    </a:lnTo>
                    <a:lnTo>
                      <a:pt x="503" y="1075"/>
                    </a:lnTo>
                    <a:lnTo>
                      <a:pt x="501" y="1074"/>
                    </a:lnTo>
                    <a:lnTo>
                      <a:pt x="501" y="1073"/>
                    </a:lnTo>
                    <a:lnTo>
                      <a:pt x="500" y="1073"/>
                    </a:lnTo>
                    <a:lnTo>
                      <a:pt x="498" y="1073"/>
                    </a:lnTo>
                    <a:lnTo>
                      <a:pt x="497" y="1073"/>
                    </a:lnTo>
                    <a:lnTo>
                      <a:pt x="493" y="1071"/>
                    </a:lnTo>
                    <a:lnTo>
                      <a:pt x="491" y="1071"/>
                    </a:lnTo>
                    <a:lnTo>
                      <a:pt x="488" y="1071"/>
                    </a:lnTo>
                    <a:lnTo>
                      <a:pt x="488" y="1073"/>
                    </a:lnTo>
                    <a:lnTo>
                      <a:pt x="485" y="1073"/>
                    </a:lnTo>
                    <a:lnTo>
                      <a:pt x="485" y="1073"/>
                    </a:lnTo>
                    <a:lnTo>
                      <a:pt x="484" y="1071"/>
                    </a:lnTo>
                    <a:lnTo>
                      <a:pt x="484" y="1071"/>
                    </a:lnTo>
                    <a:lnTo>
                      <a:pt x="483" y="1070"/>
                    </a:lnTo>
                    <a:lnTo>
                      <a:pt x="483" y="1068"/>
                    </a:lnTo>
                    <a:lnTo>
                      <a:pt x="483" y="1065"/>
                    </a:lnTo>
                    <a:lnTo>
                      <a:pt x="483" y="1064"/>
                    </a:lnTo>
                    <a:lnTo>
                      <a:pt x="483" y="1061"/>
                    </a:lnTo>
                    <a:lnTo>
                      <a:pt x="481" y="1060"/>
                    </a:lnTo>
                    <a:lnTo>
                      <a:pt x="478" y="1058"/>
                    </a:lnTo>
                    <a:lnTo>
                      <a:pt x="477" y="1057"/>
                    </a:lnTo>
                    <a:lnTo>
                      <a:pt x="475" y="1057"/>
                    </a:lnTo>
                    <a:lnTo>
                      <a:pt x="474" y="1055"/>
                    </a:lnTo>
                    <a:lnTo>
                      <a:pt x="474" y="1052"/>
                    </a:lnTo>
                    <a:lnTo>
                      <a:pt x="475" y="1050"/>
                    </a:lnTo>
                    <a:lnTo>
                      <a:pt x="475" y="1048"/>
                    </a:lnTo>
                    <a:lnTo>
                      <a:pt x="477" y="1045"/>
                    </a:lnTo>
                    <a:lnTo>
                      <a:pt x="478" y="1042"/>
                    </a:lnTo>
                    <a:lnTo>
                      <a:pt x="480" y="1041"/>
                    </a:lnTo>
                    <a:lnTo>
                      <a:pt x="480" y="1041"/>
                    </a:lnTo>
                    <a:lnTo>
                      <a:pt x="481" y="1041"/>
                    </a:lnTo>
                    <a:lnTo>
                      <a:pt x="481" y="1039"/>
                    </a:lnTo>
                    <a:lnTo>
                      <a:pt x="481" y="1039"/>
                    </a:lnTo>
                    <a:lnTo>
                      <a:pt x="481" y="1038"/>
                    </a:lnTo>
                    <a:lnTo>
                      <a:pt x="481" y="1038"/>
                    </a:lnTo>
                    <a:lnTo>
                      <a:pt x="481" y="1037"/>
                    </a:lnTo>
                    <a:lnTo>
                      <a:pt x="481" y="1037"/>
                    </a:lnTo>
                    <a:lnTo>
                      <a:pt x="481" y="1037"/>
                    </a:lnTo>
                    <a:lnTo>
                      <a:pt x="480" y="1035"/>
                    </a:lnTo>
                    <a:lnTo>
                      <a:pt x="478" y="1034"/>
                    </a:lnTo>
                    <a:lnTo>
                      <a:pt x="478" y="1034"/>
                    </a:lnTo>
                    <a:lnTo>
                      <a:pt x="478" y="1032"/>
                    </a:lnTo>
                    <a:lnTo>
                      <a:pt x="477" y="1032"/>
                    </a:lnTo>
                    <a:lnTo>
                      <a:pt x="477" y="1031"/>
                    </a:lnTo>
                    <a:lnTo>
                      <a:pt x="478" y="1031"/>
                    </a:lnTo>
                    <a:lnTo>
                      <a:pt x="478" y="1028"/>
                    </a:lnTo>
                    <a:lnTo>
                      <a:pt x="478" y="1027"/>
                    </a:lnTo>
                    <a:lnTo>
                      <a:pt x="480" y="1024"/>
                    </a:lnTo>
                    <a:lnTo>
                      <a:pt x="480" y="1022"/>
                    </a:lnTo>
                    <a:lnTo>
                      <a:pt x="481" y="1021"/>
                    </a:lnTo>
                    <a:lnTo>
                      <a:pt x="481" y="1019"/>
                    </a:lnTo>
                    <a:lnTo>
                      <a:pt x="483" y="1019"/>
                    </a:lnTo>
                    <a:lnTo>
                      <a:pt x="483" y="1018"/>
                    </a:lnTo>
                    <a:lnTo>
                      <a:pt x="484" y="1016"/>
                    </a:lnTo>
                    <a:lnTo>
                      <a:pt x="485" y="1016"/>
                    </a:lnTo>
                    <a:lnTo>
                      <a:pt x="485" y="1015"/>
                    </a:lnTo>
                    <a:lnTo>
                      <a:pt x="485" y="1014"/>
                    </a:lnTo>
                    <a:lnTo>
                      <a:pt x="487" y="1012"/>
                    </a:lnTo>
                    <a:lnTo>
                      <a:pt x="485" y="1012"/>
                    </a:lnTo>
                    <a:lnTo>
                      <a:pt x="485" y="1011"/>
                    </a:lnTo>
                    <a:lnTo>
                      <a:pt x="487" y="1011"/>
                    </a:lnTo>
                    <a:lnTo>
                      <a:pt x="487" y="1009"/>
                    </a:lnTo>
                    <a:lnTo>
                      <a:pt x="487" y="1008"/>
                    </a:lnTo>
                    <a:lnTo>
                      <a:pt x="488" y="1006"/>
                    </a:lnTo>
                    <a:lnTo>
                      <a:pt x="490" y="1006"/>
                    </a:lnTo>
                    <a:lnTo>
                      <a:pt x="490" y="1006"/>
                    </a:lnTo>
                    <a:lnTo>
                      <a:pt x="491" y="1005"/>
                    </a:lnTo>
                    <a:lnTo>
                      <a:pt x="491" y="1005"/>
                    </a:lnTo>
                    <a:lnTo>
                      <a:pt x="491" y="1005"/>
                    </a:lnTo>
                    <a:lnTo>
                      <a:pt x="493" y="1006"/>
                    </a:lnTo>
                    <a:lnTo>
                      <a:pt x="493" y="1006"/>
                    </a:lnTo>
                    <a:lnTo>
                      <a:pt x="494" y="1006"/>
                    </a:lnTo>
                    <a:lnTo>
                      <a:pt x="494" y="1006"/>
                    </a:lnTo>
                    <a:lnTo>
                      <a:pt x="494" y="1008"/>
                    </a:lnTo>
                    <a:lnTo>
                      <a:pt x="496" y="1009"/>
                    </a:lnTo>
                    <a:lnTo>
                      <a:pt x="501" y="1015"/>
                    </a:lnTo>
                    <a:lnTo>
                      <a:pt x="503" y="1018"/>
                    </a:lnTo>
                    <a:lnTo>
                      <a:pt x="504" y="1019"/>
                    </a:lnTo>
                    <a:lnTo>
                      <a:pt x="504" y="1019"/>
                    </a:lnTo>
                    <a:lnTo>
                      <a:pt x="506" y="1021"/>
                    </a:lnTo>
                    <a:lnTo>
                      <a:pt x="507" y="1021"/>
                    </a:lnTo>
                    <a:lnTo>
                      <a:pt x="510" y="1019"/>
                    </a:lnTo>
                    <a:lnTo>
                      <a:pt x="510" y="1019"/>
                    </a:lnTo>
                    <a:lnTo>
                      <a:pt x="511" y="1018"/>
                    </a:lnTo>
                    <a:lnTo>
                      <a:pt x="513" y="1018"/>
                    </a:lnTo>
                    <a:lnTo>
                      <a:pt x="513" y="1018"/>
                    </a:lnTo>
                    <a:lnTo>
                      <a:pt x="513" y="1015"/>
                    </a:lnTo>
                    <a:lnTo>
                      <a:pt x="513" y="1015"/>
                    </a:lnTo>
                    <a:lnTo>
                      <a:pt x="513" y="1015"/>
                    </a:lnTo>
                    <a:lnTo>
                      <a:pt x="513" y="1014"/>
                    </a:lnTo>
                    <a:lnTo>
                      <a:pt x="511" y="1011"/>
                    </a:lnTo>
                    <a:lnTo>
                      <a:pt x="511" y="1008"/>
                    </a:lnTo>
                    <a:lnTo>
                      <a:pt x="510" y="1004"/>
                    </a:lnTo>
                    <a:lnTo>
                      <a:pt x="510" y="1001"/>
                    </a:lnTo>
                    <a:lnTo>
                      <a:pt x="510" y="1001"/>
                    </a:lnTo>
                    <a:lnTo>
                      <a:pt x="510" y="1001"/>
                    </a:lnTo>
                    <a:lnTo>
                      <a:pt x="511" y="1001"/>
                    </a:lnTo>
                    <a:lnTo>
                      <a:pt x="511" y="1001"/>
                    </a:lnTo>
                    <a:lnTo>
                      <a:pt x="513" y="1001"/>
                    </a:lnTo>
                    <a:lnTo>
                      <a:pt x="514" y="999"/>
                    </a:lnTo>
                    <a:lnTo>
                      <a:pt x="514" y="999"/>
                    </a:lnTo>
                    <a:lnTo>
                      <a:pt x="518" y="996"/>
                    </a:lnTo>
                    <a:lnTo>
                      <a:pt x="521" y="993"/>
                    </a:lnTo>
                    <a:lnTo>
                      <a:pt x="524" y="989"/>
                    </a:lnTo>
                    <a:lnTo>
                      <a:pt x="524" y="988"/>
                    </a:lnTo>
                    <a:lnTo>
                      <a:pt x="527" y="986"/>
                    </a:lnTo>
                    <a:lnTo>
                      <a:pt x="530" y="986"/>
                    </a:lnTo>
                    <a:lnTo>
                      <a:pt x="531" y="985"/>
                    </a:lnTo>
                    <a:lnTo>
                      <a:pt x="533" y="985"/>
                    </a:lnTo>
                    <a:lnTo>
                      <a:pt x="534" y="983"/>
                    </a:lnTo>
                    <a:lnTo>
                      <a:pt x="537" y="982"/>
                    </a:lnTo>
                    <a:lnTo>
                      <a:pt x="539" y="982"/>
                    </a:lnTo>
                    <a:lnTo>
                      <a:pt x="539" y="982"/>
                    </a:lnTo>
                    <a:lnTo>
                      <a:pt x="539" y="981"/>
                    </a:lnTo>
                    <a:lnTo>
                      <a:pt x="540" y="981"/>
                    </a:lnTo>
                    <a:lnTo>
                      <a:pt x="540" y="981"/>
                    </a:lnTo>
                    <a:lnTo>
                      <a:pt x="541" y="978"/>
                    </a:lnTo>
                    <a:lnTo>
                      <a:pt x="543" y="976"/>
                    </a:lnTo>
                    <a:lnTo>
                      <a:pt x="544" y="975"/>
                    </a:lnTo>
                    <a:lnTo>
                      <a:pt x="546" y="973"/>
                    </a:lnTo>
                    <a:lnTo>
                      <a:pt x="547" y="972"/>
                    </a:lnTo>
                    <a:lnTo>
                      <a:pt x="547" y="970"/>
                    </a:lnTo>
                    <a:lnTo>
                      <a:pt x="549" y="970"/>
                    </a:lnTo>
                    <a:lnTo>
                      <a:pt x="550" y="970"/>
                    </a:lnTo>
                    <a:lnTo>
                      <a:pt x="550" y="972"/>
                    </a:lnTo>
                    <a:lnTo>
                      <a:pt x="552" y="972"/>
                    </a:lnTo>
                    <a:lnTo>
                      <a:pt x="553" y="972"/>
                    </a:lnTo>
                    <a:lnTo>
                      <a:pt x="554" y="973"/>
                    </a:lnTo>
                    <a:lnTo>
                      <a:pt x="554" y="973"/>
                    </a:lnTo>
                    <a:lnTo>
                      <a:pt x="556" y="975"/>
                    </a:lnTo>
                    <a:lnTo>
                      <a:pt x="556" y="975"/>
                    </a:lnTo>
                    <a:lnTo>
                      <a:pt x="556" y="976"/>
                    </a:lnTo>
                    <a:lnTo>
                      <a:pt x="557" y="978"/>
                    </a:lnTo>
                    <a:lnTo>
                      <a:pt x="559" y="978"/>
                    </a:lnTo>
                    <a:lnTo>
                      <a:pt x="560" y="978"/>
                    </a:lnTo>
                    <a:lnTo>
                      <a:pt x="562" y="978"/>
                    </a:lnTo>
                    <a:lnTo>
                      <a:pt x="566" y="973"/>
                    </a:lnTo>
                    <a:lnTo>
                      <a:pt x="567" y="973"/>
                    </a:lnTo>
                    <a:lnTo>
                      <a:pt x="569" y="972"/>
                    </a:lnTo>
                    <a:lnTo>
                      <a:pt x="570" y="972"/>
                    </a:lnTo>
                    <a:lnTo>
                      <a:pt x="572" y="972"/>
                    </a:lnTo>
                    <a:lnTo>
                      <a:pt x="573" y="972"/>
                    </a:lnTo>
                    <a:lnTo>
                      <a:pt x="575" y="972"/>
                    </a:lnTo>
                    <a:lnTo>
                      <a:pt x="576" y="975"/>
                    </a:lnTo>
                    <a:lnTo>
                      <a:pt x="577" y="976"/>
                    </a:lnTo>
                    <a:lnTo>
                      <a:pt x="579" y="976"/>
                    </a:lnTo>
                    <a:lnTo>
                      <a:pt x="579" y="976"/>
                    </a:lnTo>
                    <a:lnTo>
                      <a:pt x="579" y="978"/>
                    </a:lnTo>
                    <a:lnTo>
                      <a:pt x="580" y="978"/>
                    </a:lnTo>
                    <a:lnTo>
                      <a:pt x="580" y="976"/>
                    </a:lnTo>
                    <a:lnTo>
                      <a:pt x="582" y="976"/>
                    </a:lnTo>
                    <a:lnTo>
                      <a:pt x="583" y="976"/>
                    </a:lnTo>
                    <a:lnTo>
                      <a:pt x="585" y="978"/>
                    </a:lnTo>
                    <a:lnTo>
                      <a:pt x="585" y="978"/>
                    </a:lnTo>
                    <a:lnTo>
                      <a:pt x="585" y="978"/>
                    </a:lnTo>
                    <a:lnTo>
                      <a:pt x="586" y="978"/>
                    </a:lnTo>
                    <a:lnTo>
                      <a:pt x="587" y="978"/>
                    </a:lnTo>
                    <a:lnTo>
                      <a:pt x="590" y="978"/>
                    </a:lnTo>
                    <a:lnTo>
                      <a:pt x="592" y="978"/>
                    </a:lnTo>
                    <a:lnTo>
                      <a:pt x="595" y="978"/>
                    </a:lnTo>
                    <a:lnTo>
                      <a:pt x="596" y="979"/>
                    </a:lnTo>
                    <a:lnTo>
                      <a:pt x="599" y="983"/>
                    </a:lnTo>
                    <a:lnTo>
                      <a:pt x="600" y="983"/>
                    </a:lnTo>
                    <a:lnTo>
                      <a:pt x="603" y="985"/>
                    </a:lnTo>
                    <a:lnTo>
                      <a:pt x="605" y="988"/>
                    </a:lnTo>
                    <a:lnTo>
                      <a:pt x="609" y="992"/>
                    </a:lnTo>
                    <a:lnTo>
                      <a:pt x="610" y="993"/>
                    </a:lnTo>
                    <a:lnTo>
                      <a:pt x="610" y="995"/>
                    </a:lnTo>
                    <a:lnTo>
                      <a:pt x="612" y="995"/>
                    </a:lnTo>
                    <a:lnTo>
                      <a:pt x="612" y="996"/>
                    </a:lnTo>
                    <a:lnTo>
                      <a:pt x="612" y="996"/>
                    </a:lnTo>
                    <a:lnTo>
                      <a:pt x="612" y="1001"/>
                    </a:lnTo>
                    <a:lnTo>
                      <a:pt x="613" y="1002"/>
                    </a:lnTo>
                    <a:lnTo>
                      <a:pt x="613" y="1002"/>
                    </a:lnTo>
                    <a:lnTo>
                      <a:pt x="613" y="1002"/>
                    </a:lnTo>
                    <a:lnTo>
                      <a:pt x="615" y="1002"/>
                    </a:lnTo>
                    <a:lnTo>
                      <a:pt x="615" y="1001"/>
                    </a:lnTo>
                    <a:lnTo>
                      <a:pt x="615" y="1001"/>
                    </a:lnTo>
                    <a:lnTo>
                      <a:pt x="615" y="1001"/>
                    </a:lnTo>
                    <a:lnTo>
                      <a:pt x="615" y="999"/>
                    </a:lnTo>
                    <a:lnTo>
                      <a:pt x="616" y="998"/>
                    </a:lnTo>
                    <a:lnTo>
                      <a:pt x="615" y="996"/>
                    </a:lnTo>
                    <a:lnTo>
                      <a:pt x="615" y="993"/>
                    </a:lnTo>
                    <a:lnTo>
                      <a:pt x="613" y="992"/>
                    </a:lnTo>
                    <a:lnTo>
                      <a:pt x="613" y="991"/>
                    </a:lnTo>
                    <a:lnTo>
                      <a:pt x="615" y="989"/>
                    </a:lnTo>
                    <a:lnTo>
                      <a:pt x="616" y="989"/>
                    </a:lnTo>
                    <a:lnTo>
                      <a:pt x="616" y="989"/>
                    </a:lnTo>
                    <a:lnTo>
                      <a:pt x="619" y="992"/>
                    </a:lnTo>
                    <a:lnTo>
                      <a:pt x="622" y="993"/>
                    </a:lnTo>
                    <a:lnTo>
                      <a:pt x="625" y="996"/>
                    </a:lnTo>
                    <a:lnTo>
                      <a:pt x="626" y="998"/>
                    </a:lnTo>
                    <a:lnTo>
                      <a:pt x="628" y="999"/>
                    </a:lnTo>
                    <a:lnTo>
                      <a:pt x="629" y="999"/>
                    </a:lnTo>
                    <a:lnTo>
                      <a:pt x="631" y="999"/>
                    </a:lnTo>
                    <a:lnTo>
                      <a:pt x="631" y="1001"/>
                    </a:lnTo>
                    <a:lnTo>
                      <a:pt x="632" y="1001"/>
                    </a:lnTo>
                    <a:lnTo>
                      <a:pt x="632" y="1001"/>
                    </a:lnTo>
                    <a:lnTo>
                      <a:pt x="633" y="1001"/>
                    </a:lnTo>
                    <a:lnTo>
                      <a:pt x="633" y="1001"/>
                    </a:lnTo>
                    <a:lnTo>
                      <a:pt x="635" y="1001"/>
                    </a:lnTo>
                    <a:lnTo>
                      <a:pt x="635" y="1001"/>
                    </a:lnTo>
                    <a:lnTo>
                      <a:pt x="636" y="1001"/>
                    </a:lnTo>
                    <a:lnTo>
                      <a:pt x="638" y="999"/>
                    </a:lnTo>
                    <a:lnTo>
                      <a:pt x="639" y="998"/>
                    </a:lnTo>
                    <a:lnTo>
                      <a:pt x="639" y="998"/>
                    </a:lnTo>
                    <a:lnTo>
                      <a:pt x="641" y="998"/>
                    </a:lnTo>
                    <a:lnTo>
                      <a:pt x="641" y="996"/>
                    </a:lnTo>
                    <a:lnTo>
                      <a:pt x="641" y="996"/>
                    </a:lnTo>
                    <a:lnTo>
                      <a:pt x="641" y="995"/>
                    </a:lnTo>
                    <a:lnTo>
                      <a:pt x="642" y="995"/>
                    </a:lnTo>
                    <a:lnTo>
                      <a:pt x="642" y="993"/>
                    </a:lnTo>
                    <a:lnTo>
                      <a:pt x="642" y="993"/>
                    </a:lnTo>
                    <a:lnTo>
                      <a:pt x="646" y="991"/>
                    </a:lnTo>
                    <a:lnTo>
                      <a:pt x="646" y="989"/>
                    </a:lnTo>
                    <a:lnTo>
                      <a:pt x="648" y="989"/>
                    </a:lnTo>
                    <a:lnTo>
                      <a:pt x="649" y="989"/>
                    </a:lnTo>
                    <a:lnTo>
                      <a:pt x="651" y="991"/>
                    </a:lnTo>
                    <a:lnTo>
                      <a:pt x="653" y="989"/>
                    </a:lnTo>
                    <a:lnTo>
                      <a:pt x="656" y="988"/>
                    </a:lnTo>
                    <a:lnTo>
                      <a:pt x="659" y="988"/>
                    </a:lnTo>
                    <a:lnTo>
                      <a:pt x="661" y="989"/>
                    </a:lnTo>
                    <a:lnTo>
                      <a:pt x="662" y="991"/>
                    </a:lnTo>
                    <a:lnTo>
                      <a:pt x="664" y="992"/>
                    </a:lnTo>
                    <a:lnTo>
                      <a:pt x="664" y="992"/>
                    </a:lnTo>
                    <a:lnTo>
                      <a:pt x="665" y="992"/>
                    </a:lnTo>
                    <a:lnTo>
                      <a:pt x="665" y="992"/>
                    </a:lnTo>
                    <a:lnTo>
                      <a:pt x="666" y="992"/>
                    </a:lnTo>
                    <a:lnTo>
                      <a:pt x="668" y="992"/>
                    </a:lnTo>
                    <a:lnTo>
                      <a:pt x="669" y="991"/>
                    </a:lnTo>
                    <a:lnTo>
                      <a:pt x="669" y="989"/>
                    </a:lnTo>
                    <a:lnTo>
                      <a:pt x="671" y="988"/>
                    </a:lnTo>
                    <a:lnTo>
                      <a:pt x="671" y="988"/>
                    </a:lnTo>
                    <a:lnTo>
                      <a:pt x="672" y="988"/>
                    </a:lnTo>
                    <a:lnTo>
                      <a:pt x="672" y="988"/>
                    </a:lnTo>
                    <a:lnTo>
                      <a:pt x="674" y="988"/>
                    </a:lnTo>
                    <a:lnTo>
                      <a:pt x="675" y="988"/>
                    </a:lnTo>
                    <a:lnTo>
                      <a:pt x="675" y="988"/>
                    </a:lnTo>
                    <a:lnTo>
                      <a:pt x="678" y="988"/>
                    </a:lnTo>
                    <a:lnTo>
                      <a:pt x="678" y="988"/>
                    </a:lnTo>
                    <a:lnTo>
                      <a:pt x="682" y="989"/>
                    </a:lnTo>
                    <a:lnTo>
                      <a:pt x="688" y="996"/>
                    </a:lnTo>
                    <a:lnTo>
                      <a:pt x="692" y="998"/>
                    </a:lnTo>
                    <a:lnTo>
                      <a:pt x="697" y="999"/>
                    </a:lnTo>
                    <a:lnTo>
                      <a:pt x="699" y="999"/>
                    </a:lnTo>
                    <a:lnTo>
                      <a:pt x="701" y="1001"/>
                    </a:lnTo>
                    <a:lnTo>
                      <a:pt x="701" y="1002"/>
                    </a:lnTo>
                    <a:lnTo>
                      <a:pt x="701" y="1002"/>
                    </a:lnTo>
                    <a:lnTo>
                      <a:pt x="701" y="1002"/>
                    </a:lnTo>
                    <a:lnTo>
                      <a:pt x="701" y="1004"/>
                    </a:lnTo>
                    <a:lnTo>
                      <a:pt x="704" y="1002"/>
                    </a:lnTo>
                    <a:lnTo>
                      <a:pt x="705" y="1002"/>
                    </a:lnTo>
                    <a:lnTo>
                      <a:pt x="707" y="1001"/>
                    </a:lnTo>
                    <a:lnTo>
                      <a:pt x="707" y="999"/>
                    </a:lnTo>
                    <a:lnTo>
                      <a:pt x="708" y="998"/>
                    </a:lnTo>
                    <a:lnTo>
                      <a:pt x="708" y="996"/>
                    </a:lnTo>
                    <a:lnTo>
                      <a:pt x="708" y="996"/>
                    </a:lnTo>
                    <a:lnTo>
                      <a:pt x="708" y="995"/>
                    </a:lnTo>
                    <a:lnTo>
                      <a:pt x="710" y="995"/>
                    </a:lnTo>
                    <a:lnTo>
                      <a:pt x="710" y="993"/>
                    </a:lnTo>
                    <a:lnTo>
                      <a:pt x="711" y="993"/>
                    </a:lnTo>
                    <a:lnTo>
                      <a:pt x="711" y="993"/>
                    </a:lnTo>
                    <a:lnTo>
                      <a:pt x="711" y="993"/>
                    </a:lnTo>
                    <a:lnTo>
                      <a:pt x="712" y="995"/>
                    </a:lnTo>
                    <a:lnTo>
                      <a:pt x="712" y="995"/>
                    </a:lnTo>
                    <a:lnTo>
                      <a:pt x="714" y="996"/>
                    </a:lnTo>
                    <a:lnTo>
                      <a:pt x="715" y="998"/>
                    </a:lnTo>
                    <a:lnTo>
                      <a:pt x="717" y="998"/>
                    </a:lnTo>
                    <a:lnTo>
                      <a:pt x="718" y="999"/>
                    </a:lnTo>
                    <a:lnTo>
                      <a:pt x="721" y="999"/>
                    </a:lnTo>
                    <a:lnTo>
                      <a:pt x="724" y="998"/>
                    </a:lnTo>
                    <a:lnTo>
                      <a:pt x="725" y="998"/>
                    </a:lnTo>
                    <a:lnTo>
                      <a:pt x="727" y="998"/>
                    </a:lnTo>
                    <a:lnTo>
                      <a:pt x="730" y="996"/>
                    </a:lnTo>
                    <a:lnTo>
                      <a:pt x="734" y="993"/>
                    </a:lnTo>
                    <a:lnTo>
                      <a:pt x="735" y="991"/>
                    </a:lnTo>
                    <a:lnTo>
                      <a:pt x="735" y="988"/>
                    </a:lnTo>
                    <a:lnTo>
                      <a:pt x="737" y="983"/>
                    </a:lnTo>
                    <a:lnTo>
                      <a:pt x="737" y="982"/>
                    </a:lnTo>
                    <a:lnTo>
                      <a:pt x="737" y="982"/>
                    </a:lnTo>
                    <a:lnTo>
                      <a:pt x="737" y="981"/>
                    </a:lnTo>
                    <a:lnTo>
                      <a:pt x="735" y="981"/>
                    </a:lnTo>
                    <a:lnTo>
                      <a:pt x="734" y="978"/>
                    </a:lnTo>
                    <a:lnTo>
                      <a:pt x="727" y="976"/>
                    </a:lnTo>
                    <a:lnTo>
                      <a:pt x="725" y="975"/>
                    </a:lnTo>
                    <a:lnTo>
                      <a:pt x="724" y="975"/>
                    </a:lnTo>
                    <a:lnTo>
                      <a:pt x="720" y="973"/>
                    </a:lnTo>
                    <a:lnTo>
                      <a:pt x="718" y="972"/>
                    </a:lnTo>
                    <a:lnTo>
                      <a:pt x="717" y="972"/>
                    </a:lnTo>
                    <a:lnTo>
                      <a:pt x="717" y="970"/>
                    </a:lnTo>
                    <a:lnTo>
                      <a:pt x="717" y="969"/>
                    </a:lnTo>
                    <a:lnTo>
                      <a:pt x="715" y="969"/>
                    </a:lnTo>
                    <a:lnTo>
                      <a:pt x="714" y="968"/>
                    </a:lnTo>
                    <a:lnTo>
                      <a:pt x="711" y="966"/>
                    </a:lnTo>
                    <a:lnTo>
                      <a:pt x="711" y="966"/>
                    </a:lnTo>
                    <a:lnTo>
                      <a:pt x="710" y="966"/>
                    </a:lnTo>
                    <a:lnTo>
                      <a:pt x="711" y="965"/>
                    </a:lnTo>
                    <a:lnTo>
                      <a:pt x="708" y="959"/>
                    </a:lnTo>
                    <a:lnTo>
                      <a:pt x="708" y="946"/>
                    </a:lnTo>
                    <a:close/>
                    <a:moveTo>
                      <a:pt x="559" y="101"/>
                    </a:moveTo>
                    <a:lnTo>
                      <a:pt x="559" y="99"/>
                    </a:lnTo>
                    <a:lnTo>
                      <a:pt x="557" y="99"/>
                    </a:lnTo>
                    <a:lnTo>
                      <a:pt x="556" y="98"/>
                    </a:lnTo>
                    <a:lnTo>
                      <a:pt x="556" y="98"/>
                    </a:lnTo>
                    <a:lnTo>
                      <a:pt x="556" y="97"/>
                    </a:lnTo>
                    <a:lnTo>
                      <a:pt x="556" y="95"/>
                    </a:lnTo>
                    <a:lnTo>
                      <a:pt x="556" y="95"/>
                    </a:lnTo>
                    <a:lnTo>
                      <a:pt x="554" y="94"/>
                    </a:lnTo>
                    <a:lnTo>
                      <a:pt x="553" y="94"/>
                    </a:lnTo>
                    <a:lnTo>
                      <a:pt x="552" y="94"/>
                    </a:lnTo>
                    <a:lnTo>
                      <a:pt x="550" y="92"/>
                    </a:lnTo>
                    <a:lnTo>
                      <a:pt x="549" y="94"/>
                    </a:lnTo>
                    <a:lnTo>
                      <a:pt x="536" y="98"/>
                    </a:lnTo>
                    <a:lnTo>
                      <a:pt x="541" y="101"/>
                    </a:lnTo>
                    <a:lnTo>
                      <a:pt x="559" y="101"/>
                    </a:lnTo>
                    <a:close/>
                    <a:moveTo>
                      <a:pt x="698" y="72"/>
                    </a:moveTo>
                    <a:lnTo>
                      <a:pt x="702" y="75"/>
                    </a:lnTo>
                    <a:lnTo>
                      <a:pt x="708" y="75"/>
                    </a:lnTo>
                    <a:lnTo>
                      <a:pt x="712" y="75"/>
                    </a:lnTo>
                    <a:lnTo>
                      <a:pt x="715" y="75"/>
                    </a:lnTo>
                    <a:lnTo>
                      <a:pt x="725" y="76"/>
                    </a:lnTo>
                    <a:lnTo>
                      <a:pt x="727" y="75"/>
                    </a:lnTo>
                    <a:lnTo>
                      <a:pt x="732" y="74"/>
                    </a:lnTo>
                    <a:lnTo>
                      <a:pt x="740" y="71"/>
                    </a:lnTo>
                    <a:lnTo>
                      <a:pt x="744" y="69"/>
                    </a:lnTo>
                    <a:lnTo>
                      <a:pt x="745" y="69"/>
                    </a:lnTo>
                    <a:lnTo>
                      <a:pt x="747" y="66"/>
                    </a:lnTo>
                    <a:lnTo>
                      <a:pt x="748" y="64"/>
                    </a:lnTo>
                    <a:lnTo>
                      <a:pt x="748" y="61"/>
                    </a:lnTo>
                    <a:lnTo>
                      <a:pt x="747" y="58"/>
                    </a:lnTo>
                    <a:lnTo>
                      <a:pt x="740" y="56"/>
                    </a:lnTo>
                    <a:lnTo>
                      <a:pt x="734" y="58"/>
                    </a:lnTo>
                    <a:lnTo>
                      <a:pt x="718" y="61"/>
                    </a:lnTo>
                    <a:lnTo>
                      <a:pt x="717" y="61"/>
                    </a:lnTo>
                    <a:lnTo>
                      <a:pt x="715" y="61"/>
                    </a:lnTo>
                    <a:lnTo>
                      <a:pt x="714" y="61"/>
                    </a:lnTo>
                    <a:lnTo>
                      <a:pt x="712" y="59"/>
                    </a:lnTo>
                    <a:lnTo>
                      <a:pt x="711" y="58"/>
                    </a:lnTo>
                    <a:lnTo>
                      <a:pt x="708" y="58"/>
                    </a:lnTo>
                    <a:lnTo>
                      <a:pt x="705" y="59"/>
                    </a:lnTo>
                    <a:lnTo>
                      <a:pt x="704" y="59"/>
                    </a:lnTo>
                    <a:lnTo>
                      <a:pt x="701" y="62"/>
                    </a:lnTo>
                    <a:lnTo>
                      <a:pt x="698" y="66"/>
                    </a:lnTo>
                    <a:lnTo>
                      <a:pt x="698" y="72"/>
                    </a:lnTo>
                    <a:close/>
                    <a:moveTo>
                      <a:pt x="560" y="407"/>
                    </a:moveTo>
                    <a:lnTo>
                      <a:pt x="560" y="414"/>
                    </a:lnTo>
                    <a:lnTo>
                      <a:pt x="563" y="420"/>
                    </a:lnTo>
                    <a:lnTo>
                      <a:pt x="567" y="421"/>
                    </a:lnTo>
                    <a:lnTo>
                      <a:pt x="572" y="421"/>
                    </a:lnTo>
                    <a:lnTo>
                      <a:pt x="575" y="420"/>
                    </a:lnTo>
                    <a:lnTo>
                      <a:pt x="579" y="420"/>
                    </a:lnTo>
                    <a:lnTo>
                      <a:pt x="583" y="420"/>
                    </a:lnTo>
                    <a:lnTo>
                      <a:pt x="586" y="420"/>
                    </a:lnTo>
                    <a:lnTo>
                      <a:pt x="592" y="420"/>
                    </a:lnTo>
                    <a:lnTo>
                      <a:pt x="593" y="420"/>
                    </a:lnTo>
                    <a:lnTo>
                      <a:pt x="592" y="421"/>
                    </a:lnTo>
                    <a:lnTo>
                      <a:pt x="593" y="424"/>
                    </a:lnTo>
                    <a:lnTo>
                      <a:pt x="595" y="426"/>
                    </a:lnTo>
                    <a:lnTo>
                      <a:pt x="597" y="426"/>
                    </a:lnTo>
                    <a:lnTo>
                      <a:pt x="597" y="427"/>
                    </a:lnTo>
                    <a:lnTo>
                      <a:pt x="600" y="429"/>
                    </a:lnTo>
                    <a:lnTo>
                      <a:pt x="606" y="431"/>
                    </a:lnTo>
                    <a:lnTo>
                      <a:pt x="606" y="433"/>
                    </a:lnTo>
                    <a:lnTo>
                      <a:pt x="603" y="431"/>
                    </a:lnTo>
                    <a:lnTo>
                      <a:pt x="602" y="431"/>
                    </a:lnTo>
                    <a:lnTo>
                      <a:pt x="602" y="433"/>
                    </a:lnTo>
                    <a:lnTo>
                      <a:pt x="600" y="433"/>
                    </a:lnTo>
                    <a:lnTo>
                      <a:pt x="599" y="433"/>
                    </a:lnTo>
                    <a:lnTo>
                      <a:pt x="599" y="433"/>
                    </a:lnTo>
                    <a:lnTo>
                      <a:pt x="597" y="433"/>
                    </a:lnTo>
                    <a:lnTo>
                      <a:pt x="597" y="434"/>
                    </a:lnTo>
                    <a:lnTo>
                      <a:pt x="597" y="436"/>
                    </a:lnTo>
                    <a:lnTo>
                      <a:pt x="597" y="436"/>
                    </a:lnTo>
                    <a:lnTo>
                      <a:pt x="597" y="436"/>
                    </a:lnTo>
                    <a:lnTo>
                      <a:pt x="597" y="437"/>
                    </a:lnTo>
                    <a:lnTo>
                      <a:pt x="596" y="439"/>
                    </a:lnTo>
                    <a:lnTo>
                      <a:pt x="596" y="439"/>
                    </a:lnTo>
                    <a:lnTo>
                      <a:pt x="593" y="440"/>
                    </a:lnTo>
                    <a:lnTo>
                      <a:pt x="615" y="446"/>
                    </a:lnTo>
                    <a:lnTo>
                      <a:pt x="616" y="444"/>
                    </a:lnTo>
                    <a:lnTo>
                      <a:pt x="618" y="444"/>
                    </a:lnTo>
                    <a:lnTo>
                      <a:pt x="620" y="446"/>
                    </a:lnTo>
                    <a:lnTo>
                      <a:pt x="623" y="446"/>
                    </a:lnTo>
                    <a:lnTo>
                      <a:pt x="632" y="446"/>
                    </a:lnTo>
                    <a:lnTo>
                      <a:pt x="633" y="446"/>
                    </a:lnTo>
                    <a:lnTo>
                      <a:pt x="633" y="446"/>
                    </a:lnTo>
                    <a:lnTo>
                      <a:pt x="635" y="447"/>
                    </a:lnTo>
                    <a:lnTo>
                      <a:pt x="635" y="447"/>
                    </a:lnTo>
                    <a:lnTo>
                      <a:pt x="635" y="447"/>
                    </a:lnTo>
                    <a:lnTo>
                      <a:pt x="636" y="447"/>
                    </a:lnTo>
                    <a:lnTo>
                      <a:pt x="638" y="447"/>
                    </a:lnTo>
                    <a:lnTo>
                      <a:pt x="641" y="447"/>
                    </a:lnTo>
                    <a:lnTo>
                      <a:pt x="643" y="447"/>
                    </a:lnTo>
                    <a:lnTo>
                      <a:pt x="645" y="449"/>
                    </a:lnTo>
                    <a:lnTo>
                      <a:pt x="648" y="449"/>
                    </a:lnTo>
                    <a:lnTo>
                      <a:pt x="649" y="449"/>
                    </a:lnTo>
                    <a:lnTo>
                      <a:pt x="648" y="447"/>
                    </a:lnTo>
                    <a:lnTo>
                      <a:pt x="643" y="444"/>
                    </a:lnTo>
                    <a:lnTo>
                      <a:pt x="646" y="444"/>
                    </a:lnTo>
                    <a:lnTo>
                      <a:pt x="649" y="446"/>
                    </a:lnTo>
                    <a:lnTo>
                      <a:pt x="652" y="447"/>
                    </a:lnTo>
                    <a:lnTo>
                      <a:pt x="656" y="447"/>
                    </a:lnTo>
                    <a:lnTo>
                      <a:pt x="659" y="447"/>
                    </a:lnTo>
                    <a:lnTo>
                      <a:pt x="662" y="447"/>
                    </a:lnTo>
                    <a:lnTo>
                      <a:pt x="665" y="446"/>
                    </a:lnTo>
                    <a:lnTo>
                      <a:pt x="668" y="444"/>
                    </a:lnTo>
                    <a:lnTo>
                      <a:pt x="665" y="442"/>
                    </a:lnTo>
                    <a:lnTo>
                      <a:pt x="656" y="439"/>
                    </a:lnTo>
                    <a:lnTo>
                      <a:pt x="652" y="436"/>
                    </a:lnTo>
                    <a:lnTo>
                      <a:pt x="648" y="433"/>
                    </a:lnTo>
                    <a:lnTo>
                      <a:pt x="643" y="430"/>
                    </a:lnTo>
                    <a:lnTo>
                      <a:pt x="641" y="426"/>
                    </a:lnTo>
                    <a:lnTo>
                      <a:pt x="636" y="420"/>
                    </a:lnTo>
                    <a:lnTo>
                      <a:pt x="628" y="408"/>
                    </a:lnTo>
                    <a:lnTo>
                      <a:pt x="628" y="407"/>
                    </a:lnTo>
                    <a:lnTo>
                      <a:pt x="628" y="404"/>
                    </a:lnTo>
                    <a:lnTo>
                      <a:pt x="631" y="401"/>
                    </a:lnTo>
                    <a:lnTo>
                      <a:pt x="631" y="398"/>
                    </a:lnTo>
                    <a:lnTo>
                      <a:pt x="631" y="397"/>
                    </a:lnTo>
                    <a:lnTo>
                      <a:pt x="628" y="393"/>
                    </a:lnTo>
                    <a:lnTo>
                      <a:pt x="628" y="391"/>
                    </a:lnTo>
                    <a:lnTo>
                      <a:pt x="629" y="387"/>
                    </a:lnTo>
                    <a:lnTo>
                      <a:pt x="629" y="387"/>
                    </a:lnTo>
                    <a:lnTo>
                      <a:pt x="632" y="386"/>
                    </a:lnTo>
                    <a:lnTo>
                      <a:pt x="632" y="386"/>
                    </a:lnTo>
                    <a:lnTo>
                      <a:pt x="633" y="384"/>
                    </a:lnTo>
                    <a:lnTo>
                      <a:pt x="633" y="381"/>
                    </a:lnTo>
                    <a:lnTo>
                      <a:pt x="635" y="380"/>
                    </a:lnTo>
                    <a:lnTo>
                      <a:pt x="636" y="378"/>
                    </a:lnTo>
                    <a:lnTo>
                      <a:pt x="639" y="378"/>
                    </a:lnTo>
                    <a:lnTo>
                      <a:pt x="641" y="378"/>
                    </a:lnTo>
                    <a:lnTo>
                      <a:pt x="642" y="378"/>
                    </a:lnTo>
                    <a:lnTo>
                      <a:pt x="642" y="375"/>
                    </a:lnTo>
                    <a:lnTo>
                      <a:pt x="643" y="371"/>
                    </a:lnTo>
                    <a:lnTo>
                      <a:pt x="643" y="368"/>
                    </a:lnTo>
                    <a:lnTo>
                      <a:pt x="645" y="365"/>
                    </a:lnTo>
                    <a:lnTo>
                      <a:pt x="646" y="363"/>
                    </a:lnTo>
                    <a:lnTo>
                      <a:pt x="643" y="361"/>
                    </a:lnTo>
                    <a:lnTo>
                      <a:pt x="635" y="360"/>
                    </a:lnTo>
                    <a:lnTo>
                      <a:pt x="629" y="358"/>
                    </a:lnTo>
                    <a:lnTo>
                      <a:pt x="625" y="357"/>
                    </a:lnTo>
                    <a:lnTo>
                      <a:pt x="620" y="355"/>
                    </a:lnTo>
                    <a:lnTo>
                      <a:pt x="616" y="355"/>
                    </a:lnTo>
                    <a:lnTo>
                      <a:pt x="615" y="355"/>
                    </a:lnTo>
                    <a:lnTo>
                      <a:pt x="610" y="358"/>
                    </a:lnTo>
                    <a:lnTo>
                      <a:pt x="608" y="360"/>
                    </a:lnTo>
                    <a:lnTo>
                      <a:pt x="600" y="360"/>
                    </a:lnTo>
                    <a:lnTo>
                      <a:pt x="596" y="361"/>
                    </a:lnTo>
                    <a:lnTo>
                      <a:pt x="593" y="361"/>
                    </a:lnTo>
                    <a:lnTo>
                      <a:pt x="592" y="363"/>
                    </a:lnTo>
                    <a:lnTo>
                      <a:pt x="590" y="365"/>
                    </a:lnTo>
                    <a:lnTo>
                      <a:pt x="590" y="367"/>
                    </a:lnTo>
                    <a:lnTo>
                      <a:pt x="590" y="370"/>
                    </a:lnTo>
                    <a:lnTo>
                      <a:pt x="592" y="373"/>
                    </a:lnTo>
                    <a:lnTo>
                      <a:pt x="593" y="374"/>
                    </a:lnTo>
                    <a:lnTo>
                      <a:pt x="589" y="374"/>
                    </a:lnTo>
                    <a:lnTo>
                      <a:pt x="586" y="374"/>
                    </a:lnTo>
                    <a:lnTo>
                      <a:pt x="583" y="375"/>
                    </a:lnTo>
                    <a:lnTo>
                      <a:pt x="580" y="378"/>
                    </a:lnTo>
                    <a:lnTo>
                      <a:pt x="579" y="380"/>
                    </a:lnTo>
                    <a:lnTo>
                      <a:pt x="580" y="381"/>
                    </a:lnTo>
                    <a:lnTo>
                      <a:pt x="582" y="383"/>
                    </a:lnTo>
                    <a:lnTo>
                      <a:pt x="585" y="383"/>
                    </a:lnTo>
                    <a:lnTo>
                      <a:pt x="585" y="384"/>
                    </a:lnTo>
                    <a:lnTo>
                      <a:pt x="583" y="386"/>
                    </a:lnTo>
                    <a:lnTo>
                      <a:pt x="583" y="387"/>
                    </a:lnTo>
                    <a:lnTo>
                      <a:pt x="583" y="388"/>
                    </a:lnTo>
                    <a:lnTo>
                      <a:pt x="582" y="391"/>
                    </a:lnTo>
                    <a:lnTo>
                      <a:pt x="580" y="394"/>
                    </a:lnTo>
                    <a:lnTo>
                      <a:pt x="579" y="397"/>
                    </a:lnTo>
                    <a:lnTo>
                      <a:pt x="576" y="400"/>
                    </a:lnTo>
                    <a:lnTo>
                      <a:pt x="573" y="401"/>
                    </a:lnTo>
                    <a:lnTo>
                      <a:pt x="570" y="401"/>
                    </a:lnTo>
                    <a:lnTo>
                      <a:pt x="563" y="401"/>
                    </a:lnTo>
                    <a:lnTo>
                      <a:pt x="560" y="407"/>
                    </a:lnTo>
                    <a:close/>
                    <a:moveTo>
                      <a:pt x="632" y="38"/>
                    </a:moveTo>
                    <a:lnTo>
                      <a:pt x="633" y="39"/>
                    </a:lnTo>
                    <a:lnTo>
                      <a:pt x="635" y="39"/>
                    </a:lnTo>
                    <a:lnTo>
                      <a:pt x="638" y="39"/>
                    </a:lnTo>
                    <a:lnTo>
                      <a:pt x="639" y="38"/>
                    </a:lnTo>
                    <a:lnTo>
                      <a:pt x="642" y="38"/>
                    </a:lnTo>
                    <a:lnTo>
                      <a:pt x="643" y="38"/>
                    </a:lnTo>
                    <a:lnTo>
                      <a:pt x="645" y="39"/>
                    </a:lnTo>
                    <a:lnTo>
                      <a:pt x="646" y="41"/>
                    </a:lnTo>
                    <a:lnTo>
                      <a:pt x="648" y="41"/>
                    </a:lnTo>
                    <a:lnTo>
                      <a:pt x="651" y="39"/>
                    </a:lnTo>
                    <a:lnTo>
                      <a:pt x="653" y="38"/>
                    </a:lnTo>
                    <a:lnTo>
                      <a:pt x="655" y="38"/>
                    </a:lnTo>
                    <a:lnTo>
                      <a:pt x="656" y="38"/>
                    </a:lnTo>
                    <a:lnTo>
                      <a:pt x="662" y="42"/>
                    </a:lnTo>
                    <a:lnTo>
                      <a:pt x="664" y="42"/>
                    </a:lnTo>
                    <a:lnTo>
                      <a:pt x="665" y="42"/>
                    </a:lnTo>
                    <a:lnTo>
                      <a:pt x="668" y="42"/>
                    </a:lnTo>
                    <a:lnTo>
                      <a:pt x="669" y="41"/>
                    </a:lnTo>
                    <a:lnTo>
                      <a:pt x="674" y="38"/>
                    </a:lnTo>
                    <a:lnTo>
                      <a:pt x="674" y="35"/>
                    </a:lnTo>
                    <a:lnTo>
                      <a:pt x="672" y="28"/>
                    </a:lnTo>
                    <a:lnTo>
                      <a:pt x="678" y="26"/>
                    </a:lnTo>
                    <a:lnTo>
                      <a:pt x="681" y="26"/>
                    </a:lnTo>
                    <a:lnTo>
                      <a:pt x="684" y="25"/>
                    </a:lnTo>
                    <a:lnTo>
                      <a:pt x="682" y="22"/>
                    </a:lnTo>
                    <a:lnTo>
                      <a:pt x="679" y="20"/>
                    </a:lnTo>
                    <a:lnTo>
                      <a:pt x="675" y="20"/>
                    </a:lnTo>
                    <a:lnTo>
                      <a:pt x="672" y="19"/>
                    </a:lnTo>
                    <a:lnTo>
                      <a:pt x="671" y="16"/>
                    </a:lnTo>
                    <a:lnTo>
                      <a:pt x="668" y="16"/>
                    </a:lnTo>
                    <a:lnTo>
                      <a:pt x="662" y="18"/>
                    </a:lnTo>
                    <a:lnTo>
                      <a:pt x="659" y="18"/>
                    </a:lnTo>
                    <a:lnTo>
                      <a:pt x="658" y="18"/>
                    </a:lnTo>
                    <a:lnTo>
                      <a:pt x="656" y="19"/>
                    </a:lnTo>
                    <a:lnTo>
                      <a:pt x="655" y="19"/>
                    </a:lnTo>
                    <a:lnTo>
                      <a:pt x="653" y="22"/>
                    </a:lnTo>
                    <a:lnTo>
                      <a:pt x="652" y="23"/>
                    </a:lnTo>
                    <a:lnTo>
                      <a:pt x="651" y="25"/>
                    </a:lnTo>
                    <a:lnTo>
                      <a:pt x="648" y="26"/>
                    </a:lnTo>
                    <a:lnTo>
                      <a:pt x="646" y="26"/>
                    </a:lnTo>
                    <a:lnTo>
                      <a:pt x="645" y="28"/>
                    </a:lnTo>
                    <a:lnTo>
                      <a:pt x="643" y="30"/>
                    </a:lnTo>
                    <a:lnTo>
                      <a:pt x="642" y="32"/>
                    </a:lnTo>
                    <a:lnTo>
                      <a:pt x="641" y="32"/>
                    </a:lnTo>
                    <a:lnTo>
                      <a:pt x="638" y="30"/>
                    </a:lnTo>
                    <a:lnTo>
                      <a:pt x="636" y="30"/>
                    </a:lnTo>
                    <a:lnTo>
                      <a:pt x="635" y="30"/>
                    </a:lnTo>
                    <a:lnTo>
                      <a:pt x="631" y="32"/>
                    </a:lnTo>
                    <a:lnTo>
                      <a:pt x="631" y="36"/>
                    </a:lnTo>
                    <a:lnTo>
                      <a:pt x="632" y="38"/>
                    </a:lnTo>
                    <a:close/>
                    <a:moveTo>
                      <a:pt x="610" y="76"/>
                    </a:moveTo>
                    <a:lnTo>
                      <a:pt x="612" y="74"/>
                    </a:lnTo>
                    <a:lnTo>
                      <a:pt x="610" y="72"/>
                    </a:lnTo>
                    <a:lnTo>
                      <a:pt x="608" y="71"/>
                    </a:lnTo>
                    <a:lnTo>
                      <a:pt x="602" y="69"/>
                    </a:lnTo>
                    <a:lnTo>
                      <a:pt x="602" y="72"/>
                    </a:lnTo>
                    <a:lnTo>
                      <a:pt x="602" y="74"/>
                    </a:lnTo>
                    <a:lnTo>
                      <a:pt x="600" y="74"/>
                    </a:lnTo>
                    <a:lnTo>
                      <a:pt x="608" y="76"/>
                    </a:lnTo>
                    <a:lnTo>
                      <a:pt x="610" y="76"/>
                    </a:lnTo>
                    <a:close/>
                    <a:moveTo>
                      <a:pt x="575" y="87"/>
                    </a:moveTo>
                    <a:lnTo>
                      <a:pt x="577" y="88"/>
                    </a:lnTo>
                    <a:lnTo>
                      <a:pt x="580" y="88"/>
                    </a:lnTo>
                    <a:lnTo>
                      <a:pt x="585" y="88"/>
                    </a:lnTo>
                    <a:lnTo>
                      <a:pt x="592" y="88"/>
                    </a:lnTo>
                    <a:lnTo>
                      <a:pt x="596" y="88"/>
                    </a:lnTo>
                    <a:lnTo>
                      <a:pt x="599" y="85"/>
                    </a:lnTo>
                    <a:lnTo>
                      <a:pt x="602" y="82"/>
                    </a:lnTo>
                    <a:lnTo>
                      <a:pt x="595" y="79"/>
                    </a:lnTo>
                    <a:lnTo>
                      <a:pt x="593" y="79"/>
                    </a:lnTo>
                    <a:lnTo>
                      <a:pt x="592" y="78"/>
                    </a:lnTo>
                    <a:lnTo>
                      <a:pt x="590" y="76"/>
                    </a:lnTo>
                    <a:lnTo>
                      <a:pt x="587" y="76"/>
                    </a:lnTo>
                    <a:lnTo>
                      <a:pt x="586" y="76"/>
                    </a:lnTo>
                    <a:lnTo>
                      <a:pt x="583" y="78"/>
                    </a:lnTo>
                    <a:lnTo>
                      <a:pt x="575" y="82"/>
                    </a:lnTo>
                    <a:lnTo>
                      <a:pt x="573" y="84"/>
                    </a:lnTo>
                    <a:lnTo>
                      <a:pt x="573" y="85"/>
                    </a:lnTo>
                    <a:lnTo>
                      <a:pt x="575" y="87"/>
                    </a:lnTo>
                    <a:close/>
                    <a:moveTo>
                      <a:pt x="679" y="8"/>
                    </a:moveTo>
                    <a:lnTo>
                      <a:pt x="685" y="6"/>
                    </a:lnTo>
                    <a:lnTo>
                      <a:pt x="694" y="6"/>
                    </a:lnTo>
                    <a:lnTo>
                      <a:pt x="698" y="5"/>
                    </a:lnTo>
                    <a:lnTo>
                      <a:pt x="699" y="2"/>
                    </a:lnTo>
                    <a:lnTo>
                      <a:pt x="694" y="0"/>
                    </a:lnTo>
                    <a:lnTo>
                      <a:pt x="684" y="0"/>
                    </a:lnTo>
                    <a:lnTo>
                      <a:pt x="675" y="3"/>
                    </a:lnTo>
                    <a:lnTo>
                      <a:pt x="674" y="8"/>
                    </a:lnTo>
                    <a:lnTo>
                      <a:pt x="675" y="8"/>
                    </a:lnTo>
                    <a:lnTo>
                      <a:pt x="679" y="8"/>
                    </a:lnTo>
                    <a:close/>
                    <a:moveTo>
                      <a:pt x="661" y="74"/>
                    </a:moveTo>
                    <a:lnTo>
                      <a:pt x="656" y="75"/>
                    </a:lnTo>
                    <a:lnTo>
                      <a:pt x="659" y="76"/>
                    </a:lnTo>
                    <a:lnTo>
                      <a:pt x="661" y="78"/>
                    </a:lnTo>
                    <a:lnTo>
                      <a:pt x="661" y="81"/>
                    </a:lnTo>
                    <a:lnTo>
                      <a:pt x="661" y="84"/>
                    </a:lnTo>
                    <a:lnTo>
                      <a:pt x="662" y="87"/>
                    </a:lnTo>
                    <a:lnTo>
                      <a:pt x="664" y="89"/>
                    </a:lnTo>
                    <a:lnTo>
                      <a:pt x="666" y="91"/>
                    </a:lnTo>
                    <a:lnTo>
                      <a:pt x="669" y="92"/>
                    </a:lnTo>
                    <a:lnTo>
                      <a:pt x="672" y="91"/>
                    </a:lnTo>
                    <a:lnTo>
                      <a:pt x="675" y="89"/>
                    </a:lnTo>
                    <a:lnTo>
                      <a:pt x="678" y="88"/>
                    </a:lnTo>
                    <a:lnTo>
                      <a:pt x="678" y="87"/>
                    </a:lnTo>
                    <a:lnTo>
                      <a:pt x="679" y="85"/>
                    </a:lnTo>
                    <a:lnTo>
                      <a:pt x="679" y="84"/>
                    </a:lnTo>
                    <a:lnTo>
                      <a:pt x="679" y="82"/>
                    </a:lnTo>
                    <a:lnTo>
                      <a:pt x="679" y="81"/>
                    </a:lnTo>
                    <a:lnTo>
                      <a:pt x="681" y="79"/>
                    </a:lnTo>
                    <a:lnTo>
                      <a:pt x="685" y="79"/>
                    </a:lnTo>
                    <a:lnTo>
                      <a:pt x="697" y="79"/>
                    </a:lnTo>
                    <a:lnTo>
                      <a:pt x="692" y="76"/>
                    </a:lnTo>
                    <a:lnTo>
                      <a:pt x="688" y="75"/>
                    </a:lnTo>
                    <a:lnTo>
                      <a:pt x="666" y="74"/>
                    </a:lnTo>
                    <a:lnTo>
                      <a:pt x="661" y="74"/>
                    </a:lnTo>
                    <a:close/>
                    <a:moveTo>
                      <a:pt x="771" y="52"/>
                    </a:moveTo>
                    <a:lnTo>
                      <a:pt x="767" y="52"/>
                    </a:lnTo>
                    <a:lnTo>
                      <a:pt x="761" y="53"/>
                    </a:lnTo>
                    <a:lnTo>
                      <a:pt x="757" y="56"/>
                    </a:lnTo>
                    <a:lnTo>
                      <a:pt x="754" y="59"/>
                    </a:lnTo>
                    <a:lnTo>
                      <a:pt x="760" y="64"/>
                    </a:lnTo>
                    <a:lnTo>
                      <a:pt x="767" y="65"/>
                    </a:lnTo>
                    <a:lnTo>
                      <a:pt x="773" y="65"/>
                    </a:lnTo>
                    <a:lnTo>
                      <a:pt x="787" y="62"/>
                    </a:lnTo>
                    <a:lnTo>
                      <a:pt x="793" y="61"/>
                    </a:lnTo>
                    <a:lnTo>
                      <a:pt x="799" y="58"/>
                    </a:lnTo>
                    <a:lnTo>
                      <a:pt x="806" y="53"/>
                    </a:lnTo>
                    <a:lnTo>
                      <a:pt x="804" y="52"/>
                    </a:lnTo>
                    <a:lnTo>
                      <a:pt x="804" y="51"/>
                    </a:lnTo>
                    <a:lnTo>
                      <a:pt x="804" y="49"/>
                    </a:lnTo>
                    <a:lnTo>
                      <a:pt x="804" y="46"/>
                    </a:lnTo>
                    <a:lnTo>
                      <a:pt x="803" y="45"/>
                    </a:lnTo>
                    <a:lnTo>
                      <a:pt x="801" y="43"/>
                    </a:lnTo>
                    <a:lnTo>
                      <a:pt x="800" y="42"/>
                    </a:lnTo>
                    <a:lnTo>
                      <a:pt x="799" y="41"/>
                    </a:lnTo>
                    <a:lnTo>
                      <a:pt x="794" y="39"/>
                    </a:lnTo>
                    <a:lnTo>
                      <a:pt x="790" y="39"/>
                    </a:lnTo>
                    <a:lnTo>
                      <a:pt x="786" y="41"/>
                    </a:lnTo>
                    <a:lnTo>
                      <a:pt x="784" y="45"/>
                    </a:lnTo>
                    <a:lnTo>
                      <a:pt x="783" y="48"/>
                    </a:lnTo>
                    <a:lnTo>
                      <a:pt x="781" y="49"/>
                    </a:lnTo>
                    <a:lnTo>
                      <a:pt x="780" y="51"/>
                    </a:lnTo>
                    <a:lnTo>
                      <a:pt x="778" y="52"/>
                    </a:lnTo>
                    <a:lnTo>
                      <a:pt x="776" y="52"/>
                    </a:lnTo>
                    <a:lnTo>
                      <a:pt x="771" y="52"/>
                    </a:lnTo>
                    <a:close/>
                    <a:moveTo>
                      <a:pt x="770" y="13"/>
                    </a:moveTo>
                    <a:lnTo>
                      <a:pt x="776" y="10"/>
                    </a:lnTo>
                    <a:lnTo>
                      <a:pt x="771" y="8"/>
                    </a:lnTo>
                    <a:lnTo>
                      <a:pt x="763" y="6"/>
                    </a:lnTo>
                    <a:lnTo>
                      <a:pt x="753" y="8"/>
                    </a:lnTo>
                    <a:lnTo>
                      <a:pt x="747" y="9"/>
                    </a:lnTo>
                    <a:lnTo>
                      <a:pt x="761" y="13"/>
                    </a:lnTo>
                    <a:lnTo>
                      <a:pt x="770" y="13"/>
                    </a:lnTo>
                    <a:close/>
                    <a:moveTo>
                      <a:pt x="725" y="53"/>
                    </a:moveTo>
                    <a:lnTo>
                      <a:pt x="732" y="52"/>
                    </a:lnTo>
                    <a:lnTo>
                      <a:pt x="737" y="48"/>
                    </a:lnTo>
                    <a:lnTo>
                      <a:pt x="732" y="45"/>
                    </a:lnTo>
                    <a:lnTo>
                      <a:pt x="724" y="45"/>
                    </a:lnTo>
                    <a:lnTo>
                      <a:pt x="715" y="48"/>
                    </a:lnTo>
                    <a:lnTo>
                      <a:pt x="711" y="52"/>
                    </a:lnTo>
                    <a:lnTo>
                      <a:pt x="717" y="53"/>
                    </a:lnTo>
                    <a:lnTo>
                      <a:pt x="725" y="53"/>
                    </a:lnTo>
                    <a:close/>
                    <a:moveTo>
                      <a:pt x="684" y="48"/>
                    </a:moveTo>
                    <a:lnTo>
                      <a:pt x="678" y="45"/>
                    </a:lnTo>
                    <a:lnTo>
                      <a:pt x="675" y="45"/>
                    </a:lnTo>
                    <a:lnTo>
                      <a:pt x="674" y="45"/>
                    </a:lnTo>
                    <a:lnTo>
                      <a:pt x="672" y="46"/>
                    </a:lnTo>
                    <a:lnTo>
                      <a:pt x="669" y="48"/>
                    </a:lnTo>
                    <a:lnTo>
                      <a:pt x="668" y="49"/>
                    </a:lnTo>
                    <a:lnTo>
                      <a:pt x="665" y="49"/>
                    </a:lnTo>
                    <a:lnTo>
                      <a:pt x="664" y="49"/>
                    </a:lnTo>
                    <a:lnTo>
                      <a:pt x="662" y="49"/>
                    </a:lnTo>
                    <a:lnTo>
                      <a:pt x="661" y="49"/>
                    </a:lnTo>
                    <a:lnTo>
                      <a:pt x="662" y="52"/>
                    </a:lnTo>
                    <a:lnTo>
                      <a:pt x="664" y="53"/>
                    </a:lnTo>
                    <a:lnTo>
                      <a:pt x="665" y="55"/>
                    </a:lnTo>
                    <a:lnTo>
                      <a:pt x="666" y="55"/>
                    </a:lnTo>
                    <a:lnTo>
                      <a:pt x="669" y="56"/>
                    </a:lnTo>
                    <a:lnTo>
                      <a:pt x="671" y="56"/>
                    </a:lnTo>
                    <a:lnTo>
                      <a:pt x="672" y="58"/>
                    </a:lnTo>
                    <a:lnTo>
                      <a:pt x="674" y="61"/>
                    </a:lnTo>
                    <a:lnTo>
                      <a:pt x="675" y="61"/>
                    </a:lnTo>
                    <a:lnTo>
                      <a:pt x="676" y="62"/>
                    </a:lnTo>
                    <a:lnTo>
                      <a:pt x="678" y="62"/>
                    </a:lnTo>
                    <a:lnTo>
                      <a:pt x="685" y="62"/>
                    </a:lnTo>
                    <a:lnTo>
                      <a:pt x="688" y="62"/>
                    </a:lnTo>
                    <a:lnTo>
                      <a:pt x="691" y="59"/>
                    </a:lnTo>
                    <a:lnTo>
                      <a:pt x="691" y="56"/>
                    </a:lnTo>
                    <a:lnTo>
                      <a:pt x="689" y="53"/>
                    </a:lnTo>
                    <a:lnTo>
                      <a:pt x="688" y="51"/>
                    </a:lnTo>
                    <a:lnTo>
                      <a:pt x="685" y="49"/>
                    </a:lnTo>
                    <a:lnTo>
                      <a:pt x="684" y="48"/>
                    </a:lnTo>
                    <a:close/>
                    <a:moveTo>
                      <a:pt x="53" y="893"/>
                    </a:moveTo>
                    <a:lnTo>
                      <a:pt x="52" y="891"/>
                    </a:lnTo>
                    <a:lnTo>
                      <a:pt x="52" y="890"/>
                    </a:lnTo>
                    <a:lnTo>
                      <a:pt x="47" y="890"/>
                    </a:lnTo>
                    <a:lnTo>
                      <a:pt x="46" y="890"/>
                    </a:lnTo>
                    <a:lnTo>
                      <a:pt x="43" y="890"/>
                    </a:lnTo>
                    <a:lnTo>
                      <a:pt x="42" y="890"/>
                    </a:lnTo>
                    <a:lnTo>
                      <a:pt x="39" y="890"/>
                    </a:lnTo>
                    <a:lnTo>
                      <a:pt x="36" y="889"/>
                    </a:lnTo>
                    <a:lnTo>
                      <a:pt x="33" y="887"/>
                    </a:lnTo>
                    <a:lnTo>
                      <a:pt x="32" y="887"/>
                    </a:lnTo>
                    <a:lnTo>
                      <a:pt x="32" y="886"/>
                    </a:lnTo>
                    <a:lnTo>
                      <a:pt x="30" y="886"/>
                    </a:lnTo>
                    <a:lnTo>
                      <a:pt x="30" y="886"/>
                    </a:lnTo>
                    <a:lnTo>
                      <a:pt x="30" y="886"/>
                    </a:lnTo>
                    <a:lnTo>
                      <a:pt x="29" y="886"/>
                    </a:lnTo>
                    <a:lnTo>
                      <a:pt x="27" y="886"/>
                    </a:lnTo>
                    <a:lnTo>
                      <a:pt x="27" y="890"/>
                    </a:lnTo>
                    <a:lnTo>
                      <a:pt x="27" y="893"/>
                    </a:lnTo>
                    <a:lnTo>
                      <a:pt x="26" y="894"/>
                    </a:lnTo>
                    <a:lnTo>
                      <a:pt x="23" y="894"/>
                    </a:lnTo>
                    <a:lnTo>
                      <a:pt x="22" y="894"/>
                    </a:lnTo>
                    <a:lnTo>
                      <a:pt x="17" y="893"/>
                    </a:lnTo>
                    <a:lnTo>
                      <a:pt x="22" y="887"/>
                    </a:lnTo>
                    <a:lnTo>
                      <a:pt x="23" y="886"/>
                    </a:lnTo>
                    <a:lnTo>
                      <a:pt x="22" y="886"/>
                    </a:lnTo>
                    <a:lnTo>
                      <a:pt x="19" y="889"/>
                    </a:lnTo>
                    <a:lnTo>
                      <a:pt x="17" y="890"/>
                    </a:lnTo>
                    <a:lnTo>
                      <a:pt x="16" y="891"/>
                    </a:lnTo>
                    <a:lnTo>
                      <a:pt x="14" y="893"/>
                    </a:lnTo>
                    <a:lnTo>
                      <a:pt x="10" y="893"/>
                    </a:lnTo>
                    <a:lnTo>
                      <a:pt x="7" y="893"/>
                    </a:lnTo>
                    <a:lnTo>
                      <a:pt x="6" y="894"/>
                    </a:lnTo>
                    <a:lnTo>
                      <a:pt x="6" y="896"/>
                    </a:lnTo>
                    <a:lnTo>
                      <a:pt x="4" y="897"/>
                    </a:lnTo>
                    <a:lnTo>
                      <a:pt x="4" y="900"/>
                    </a:lnTo>
                    <a:lnTo>
                      <a:pt x="3" y="901"/>
                    </a:lnTo>
                    <a:lnTo>
                      <a:pt x="0" y="904"/>
                    </a:lnTo>
                    <a:lnTo>
                      <a:pt x="0" y="904"/>
                    </a:lnTo>
                    <a:lnTo>
                      <a:pt x="3" y="904"/>
                    </a:lnTo>
                    <a:lnTo>
                      <a:pt x="22" y="906"/>
                    </a:lnTo>
                    <a:lnTo>
                      <a:pt x="26" y="906"/>
                    </a:lnTo>
                    <a:lnTo>
                      <a:pt x="33" y="906"/>
                    </a:lnTo>
                    <a:lnTo>
                      <a:pt x="40" y="906"/>
                    </a:lnTo>
                    <a:lnTo>
                      <a:pt x="47" y="907"/>
                    </a:lnTo>
                    <a:lnTo>
                      <a:pt x="49" y="907"/>
                    </a:lnTo>
                    <a:lnTo>
                      <a:pt x="55" y="907"/>
                    </a:lnTo>
                    <a:lnTo>
                      <a:pt x="55" y="907"/>
                    </a:lnTo>
                    <a:lnTo>
                      <a:pt x="55" y="906"/>
                    </a:lnTo>
                    <a:lnTo>
                      <a:pt x="55" y="906"/>
                    </a:lnTo>
                    <a:lnTo>
                      <a:pt x="53" y="904"/>
                    </a:lnTo>
                    <a:lnTo>
                      <a:pt x="53" y="903"/>
                    </a:lnTo>
                    <a:lnTo>
                      <a:pt x="53" y="901"/>
                    </a:lnTo>
                    <a:lnTo>
                      <a:pt x="55" y="900"/>
                    </a:lnTo>
                    <a:lnTo>
                      <a:pt x="55" y="897"/>
                    </a:lnTo>
                    <a:lnTo>
                      <a:pt x="56" y="896"/>
                    </a:lnTo>
                    <a:lnTo>
                      <a:pt x="55" y="894"/>
                    </a:lnTo>
                    <a:lnTo>
                      <a:pt x="53" y="893"/>
                    </a:lnTo>
                    <a:close/>
                    <a:moveTo>
                      <a:pt x="454" y="71"/>
                    </a:moveTo>
                    <a:lnTo>
                      <a:pt x="457" y="71"/>
                    </a:lnTo>
                    <a:lnTo>
                      <a:pt x="460" y="71"/>
                    </a:lnTo>
                    <a:lnTo>
                      <a:pt x="461" y="71"/>
                    </a:lnTo>
                    <a:lnTo>
                      <a:pt x="464" y="72"/>
                    </a:lnTo>
                    <a:lnTo>
                      <a:pt x="464" y="72"/>
                    </a:lnTo>
                    <a:lnTo>
                      <a:pt x="464" y="74"/>
                    </a:lnTo>
                    <a:lnTo>
                      <a:pt x="465" y="75"/>
                    </a:lnTo>
                    <a:lnTo>
                      <a:pt x="465" y="75"/>
                    </a:lnTo>
                    <a:lnTo>
                      <a:pt x="467" y="75"/>
                    </a:lnTo>
                    <a:lnTo>
                      <a:pt x="468" y="75"/>
                    </a:lnTo>
                    <a:lnTo>
                      <a:pt x="470" y="75"/>
                    </a:lnTo>
                    <a:lnTo>
                      <a:pt x="471" y="75"/>
                    </a:lnTo>
                    <a:lnTo>
                      <a:pt x="473" y="74"/>
                    </a:lnTo>
                    <a:lnTo>
                      <a:pt x="474" y="72"/>
                    </a:lnTo>
                    <a:lnTo>
                      <a:pt x="475" y="71"/>
                    </a:lnTo>
                    <a:lnTo>
                      <a:pt x="475" y="71"/>
                    </a:lnTo>
                    <a:lnTo>
                      <a:pt x="478" y="71"/>
                    </a:lnTo>
                    <a:lnTo>
                      <a:pt x="480" y="71"/>
                    </a:lnTo>
                    <a:lnTo>
                      <a:pt x="483" y="71"/>
                    </a:lnTo>
                    <a:lnTo>
                      <a:pt x="485" y="68"/>
                    </a:lnTo>
                    <a:lnTo>
                      <a:pt x="487" y="68"/>
                    </a:lnTo>
                    <a:lnTo>
                      <a:pt x="488" y="66"/>
                    </a:lnTo>
                    <a:lnTo>
                      <a:pt x="491" y="65"/>
                    </a:lnTo>
                    <a:lnTo>
                      <a:pt x="493" y="64"/>
                    </a:lnTo>
                    <a:lnTo>
                      <a:pt x="494" y="62"/>
                    </a:lnTo>
                    <a:lnTo>
                      <a:pt x="496" y="64"/>
                    </a:lnTo>
                    <a:lnTo>
                      <a:pt x="498" y="65"/>
                    </a:lnTo>
                    <a:lnTo>
                      <a:pt x="498" y="66"/>
                    </a:lnTo>
                    <a:lnTo>
                      <a:pt x="500" y="66"/>
                    </a:lnTo>
                    <a:lnTo>
                      <a:pt x="507" y="68"/>
                    </a:lnTo>
                    <a:lnTo>
                      <a:pt x="510" y="68"/>
                    </a:lnTo>
                    <a:lnTo>
                      <a:pt x="510" y="66"/>
                    </a:lnTo>
                    <a:lnTo>
                      <a:pt x="511" y="65"/>
                    </a:lnTo>
                    <a:lnTo>
                      <a:pt x="507" y="61"/>
                    </a:lnTo>
                    <a:lnTo>
                      <a:pt x="504" y="61"/>
                    </a:lnTo>
                    <a:lnTo>
                      <a:pt x="497" y="59"/>
                    </a:lnTo>
                    <a:lnTo>
                      <a:pt x="494" y="59"/>
                    </a:lnTo>
                    <a:lnTo>
                      <a:pt x="490" y="58"/>
                    </a:lnTo>
                    <a:lnTo>
                      <a:pt x="487" y="58"/>
                    </a:lnTo>
                    <a:lnTo>
                      <a:pt x="485" y="58"/>
                    </a:lnTo>
                    <a:lnTo>
                      <a:pt x="483" y="59"/>
                    </a:lnTo>
                    <a:lnTo>
                      <a:pt x="480" y="61"/>
                    </a:lnTo>
                    <a:lnTo>
                      <a:pt x="471" y="64"/>
                    </a:lnTo>
                    <a:lnTo>
                      <a:pt x="452" y="66"/>
                    </a:lnTo>
                    <a:lnTo>
                      <a:pt x="444" y="69"/>
                    </a:lnTo>
                    <a:lnTo>
                      <a:pt x="447" y="69"/>
                    </a:lnTo>
                    <a:lnTo>
                      <a:pt x="454" y="71"/>
                    </a:lnTo>
                    <a:close/>
                    <a:moveTo>
                      <a:pt x="402" y="559"/>
                    </a:moveTo>
                    <a:lnTo>
                      <a:pt x="404" y="559"/>
                    </a:lnTo>
                    <a:lnTo>
                      <a:pt x="405" y="559"/>
                    </a:lnTo>
                    <a:lnTo>
                      <a:pt x="405" y="558"/>
                    </a:lnTo>
                    <a:lnTo>
                      <a:pt x="404" y="557"/>
                    </a:lnTo>
                    <a:lnTo>
                      <a:pt x="402" y="557"/>
                    </a:lnTo>
                    <a:lnTo>
                      <a:pt x="401" y="557"/>
                    </a:lnTo>
                    <a:lnTo>
                      <a:pt x="401" y="558"/>
                    </a:lnTo>
                    <a:lnTo>
                      <a:pt x="402" y="559"/>
                    </a:lnTo>
                    <a:close/>
                    <a:moveTo>
                      <a:pt x="691" y="98"/>
                    </a:moveTo>
                    <a:lnTo>
                      <a:pt x="692" y="99"/>
                    </a:lnTo>
                    <a:lnTo>
                      <a:pt x="697" y="101"/>
                    </a:lnTo>
                    <a:lnTo>
                      <a:pt x="698" y="101"/>
                    </a:lnTo>
                    <a:lnTo>
                      <a:pt x="699" y="101"/>
                    </a:lnTo>
                    <a:lnTo>
                      <a:pt x="701" y="101"/>
                    </a:lnTo>
                    <a:lnTo>
                      <a:pt x="704" y="99"/>
                    </a:lnTo>
                    <a:lnTo>
                      <a:pt x="707" y="98"/>
                    </a:lnTo>
                    <a:lnTo>
                      <a:pt x="708" y="98"/>
                    </a:lnTo>
                    <a:lnTo>
                      <a:pt x="708" y="97"/>
                    </a:lnTo>
                    <a:lnTo>
                      <a:pt x="707" y="95"/>
                    </a:lnTo>
                    <a:lnTo>
                      <a:pt x="704" y="92"/>
                    </a:lnTo>
                    <a:lnTo>
                      <a:pt x="698" y="92"/>
                    </a:lnTo>
                    <a:lnTo>
                      <a:pt x="692" y="94"/>
                    </a:lnTo>
                    <a:lnTo>
                      <a:pt x="691" y="98"/>
                    </a:lnTo>
                    <a:close/>
                    <a:moveTo>
                      <a:pt x="506" y="72"/>
                    </a:moveTo>
                    <a:lnTo>
                      <a:pt x="503" y="72"/>
                    </a:lnTo>
                    <a:lnTo>
                      <a:pt x="496" y="74"/>
                    </a:lnTo>
                    <a:lnTo>
                      <a:pt x="475" y="81"/>
                    </a:lnTo>
                    <a:lnTo>
                      <a:pt x="477" y="84"/>
                    </a:lnTo>
                    <a:lnTo>
                      <a:pt x="478" y="87"/>
                    </a:lnTo>
                    <a:lnTo>
                      <a:pt x="483" y="88"/>
                    </a:lnTo>
                    <a:lnTo>
                      <a:pt x="485" y="88"/>
                    </a:lnTo>
                    <a:lnTo>
                      <a:pt x="491" y="85"/>
                    </a:lnTo>
                    <a:lnTo>
                      <a:pt x="496" y="84"/>
                    </a:lnTo>
                    <a:lnTo>
                      <a:pt x="498" y="87"/>
                    </a:lnTo>
                    <a:lnTo>
                      <a:pt x="496" y="88"/>
                    </a:lnTo>
                    <a:lnTo>
                      <a:pt x="493" y="91"/>
                    </a:lnTo>
                    <a:lnTo>
                      <a:pt x="493" y="92"/>
                    </a:lnTo>
                    <a:lnTo>
                      <a:pt x="497" y="94"/>
                    </a:lnTo>
                    <a:lnTo>
                      <a:pt x="498" y="92"/>
                    </a:lnTo>
                    <a:lnTo>
                      <a:pt x="500" y="91"/>
                    </a:lnTo>
                    <a:lnTo>
                      <a:pt x="501" y="91"/>
                    </a:lnTo>
                    <a:lnTo>
                      <a:pt x="503" y="91"/>
                    </a:lnTo>
                    <a:lnTo>
                      <a:pt x="504" y="92"/>
                    </a:lnTo>
                    <a:lnTo>
                      <a:pt x="506" y="92"/>
                    </a:lnTo>
                    <a:lnTo>
                      <a:pt x="507" y="91"/>
                    </a:lnTo>
                    <a:lnTo>
                      <a:pt x="508" y="89"/>
                    </a:lnTo>
                    <a:lnTo>
                      <a:pt x="508" y="89"/>
                    </a:lnTo>
                    <a:lnTo>
                      <a:pt x="508" y="88"/>
                    </a:lnTo>
                    <a:lnTo>
                      <a:pt x="510" y="88"/>
                    </a:lnTo>
                    <a:lnTo>
                      <a:pt x="511" y="88"/>
                    </a:lnTo>
                    <a:lnTo>
                      <a:pt x="513" y="89"/>
                    </a:lnTo>
                    <a:lnTo>
                      <a:pt x="514" y="89"/>
                    </a:lnTo>
                    <a:lnTo>
                      <a:pt x="516" y="89"/>
                    </a:lnTo>
                    <a:lnTo>
                      <a:pt x="517" y="87"/>
                    </a:lnTo>
                    <a:lnTo>
                      <a:pt x="516" y="84"/>
                    </a:lnTo>
                    <a:lnTo>
                      <a:pt x="510" y="81"/>
                    </a:lnTo>
                    <a:lnTo>
                      <a:pt x="513" y="79"/>
                    </a:lnTo>
                    <a:lnTo>
                      <a:pt x="517" y="78"/>
                    </a:lnTo>
                    <a:lnTo>
                      <a:pt x="524" y="78"/>
                    </a:lnTo>
                    <a:lnTo>
                      <a:pt x="527" y="76"/>
                    </a:lnTo>
                    <a:lnTo>
                      <a:pt x="531" y="74"/>
                    </a:lnTo>
                    <a:lnTo>
                      <a:pt x="534" y="74"/>
                    </a:lnTo>
                    <a:lnTo>
                      <a:pt x="539" y="72"/>
                    </a:lnTo>
                    <a:lnTo>
                      <a:pt x="547" y="72"/>
                    </a:lnTo>
                    <a:lnTo>
                      <a:pt x="550" y="72"/>
                    </a:lnTo>
                    <a:lnTo>
                      <a:pt x="552" y="71"/>
                    </a:lnTo>
                    <a:lnTo>
                      <a:pt x="554" y="69"/>
                    </a:lnTo>
                    <a:lnTo>
                      <a:pt x="554" y="69"/>
                    </a:lnTo>
                    <a:lnTo>
                      <a:pt x="557" y="68"/>
                    </a:lnTo>
                    <a:lnTo>
                      <a:pt x="563" y="65"/>
                    </a:lnTo>
                    <a:lnTo>
                      <a:pt x="563" y="64"/>
                    </a:lnTo>
                    <a:lnTo>
                      <a:pt x="562" y="64"/>
                    </a:lnTo>
                    <a:lnTo>
                      <a:pt x="560" y="64"/>
                    </a:lnTo>
                    <a:lnTo>
                      <a:pt x="559" y="64"/>
                    </a:lnTo>
                    <a:lnTo>
                      <a:pt x="552" y="58"/>
                    </a:lnTo>
                    <a:lnTo>
                      <a:pt x="549" y="56"/>
                    </a:lnTo>
                    <a:lnTo>
                      <a:pt x="546" y="55"/>
                    </a:lnTo>
                    <a:lnTo>
                      <a:pt x="540" y="55"/>
                    </a:lnTo>
                    <a:lnTo>
                      <a:pt x="534" y="55"/>
                    </a:lnTo>
                    <a:lnTo>
                      <a:pt x="527" y="56"/>
                    </a:lnTo>
                    <a:lnTo>
                      <a:pt x="521" y="59"/>
                    </a:lnTo>
                    <a:lnTo>
                      <a:pt x="518" y="65"/>
                    </a:lnTo>
                    <a:lnTo>
                      <a:pt x="518" y="69"/>
                    </a:lnTo>
                    <a:lnTo>
                      <a:pt x="518" y="71"/>
                    </a:lnTo>
                    <a:lnTo>
                      <a:pt x="517" y="72"/>
                    </a:lnTo>
                    <a:lnTo>
                      <a:pt x="514" y="74"/>
                    </a:lnTo>
                    <a:lnTo>
                      <a:pt x="510" y="72"/>
                    </a:lnTo>
                    <a:lnTo>
                      <a:pt x="506" y="72"/>
                    </a:lnTo>
                    <a:close/>
                    <a:moveTo>
                      <a:pt x="541" y="46"/>
                    </a:moveTo>
                    <a:lnTo>
                      <a:pt x="543" y="48"/>
                    </a:lnTo>
                    <a:lnTo>
                      <a:pt x="544" y="48"/>
                    </a:lnTo>
                    <a:lnTo>
                      <a:pt x="546" y="48"/>
                    </a:lnTo>
                    <a:lnTo>
                      <a:pt x="547" y="46"/>
                    </a:lnTo>
                    <a:lnTo>
                      <a:pt x="549" y="46"/>
                    </a:lnTo>
                    <a:lnTo>
                      <a:pt x="550" y="45"/>
                    </a:lnTo>
                    <a:lnTo>
                      <a:pt x="549" y="41"/>
                    </a:lnTo>
                    <a:lnTo>
                      <a:pt x="546" y="41"/>
                    </a:lnTo>
                    <a:lnTo>
                      <a:pt x="540" y="43"/>
                    </a:lnTo>
                    <a:lnTo>
                      <a:pt x="540" y="45"/>
                    </a:lnTo>
                    <a:lnTo>
                      <a:pt x="541" y="46"/>
                    </a:lnTo>
                    <a:close/>
                    <a:moveTo>
                      <a:pt x="520" y="482"/>
                    </a:moveTo>
                    <a:lnTo>
                      <a:pt x="514" y="482"/>
                    </a:lnTo>
                    <a:lnTo>
                      <a:pt x="508" y="483"/>
                    </a:lnTo>
                    <a:lnTo>
                      <a:pt x="506" y="488"/>
                    </a:lnTo>
                    <a:lnTo>
                      <a:pt x="504" y="492"/>
                    </a:lnTo>
                    <a:lnTo>
                      <a:pt x="506" y="498"/>
                    </a:lnTo>
                    <a:lnTo>
                      <a:pt x="510" y="499"/>
                    </a:lnTo>
                    <a:lnTo>
                      <a:pt x="516" y="499"/>
                    </a:lnTo>
                    <a:lnTo>
                      <a:pt x="521" y="498"/>
                    </a:lnTo>
                    <a:lnTo>
                      <a:pt x="524" y="498"/>
                    </a:lnTo>
                    <a:lnTo>
                      <a:pt x="527" y="496"/>
                    </a:lnTo>
                    <a:lnTo>
                      <a:pt x="529" y="495"/>
                    </a:lnTo>
                    <a:lnTo>
                      <a:pt x="533" y="492"/>
                    </a:lnTo>
                    <a:lnTo>
                      <a:pt x="534" y="490"/>
                    </a:lnTo>
                    <a:lnTo>
                      <a:pt x="536" y="490"/>
                    </a:lnTo>
                    <a:lnTo>
                      <a:pt x="536" y="490"/>
                    </a:lnTo>
                    <a:lnTo>
                      <a:pt x="537" y="492"/>
                    </a:lnTo>
                    <a:lnTo>
                      <a:pt x="537" y="492"/>
                    </a:lnTo>
                    <a:lnTo>
                      <a:pt x="537" y="492"/>
                    </a:lnTo>
                    <a:lnTo>
                      <a:pt x="537" y="489"/>
                    </a:lnTo>
                    <a:lnTo>
                      <a:pt x="531" y="485"/>
                    </a:lnTo>
                    <a:lnTo>
                      <a:pt x="524" y="482"/>
                    </a:lnTo>
                    <a:lnTo>
                      <a:pt x="520" y="482"/>
                    </a:lnTo>
                    <a:close/>
                    <a:moveTo>
                      <a:pt x="531" y="94"/>
                    </a:moveTo>
                    <a:lnTo>
                      <a:pt x="533" y="94"/>
                    </a:lnTo>
                    <a:lnTo>
                      <a:pt x="534" y="94"/>
                    </a:lnTo>
                    <a:lnTo>
                      <a:pt x="539" y="88"/>
                    </a:lnTo>
                    <a:lnTo>
                      <a:pt x="537" y="85"/>
                    </a:lnTo>
                    <a:lnTo>
                      <a:pt x="533" y="85"/>
                    </a:lnTo>
                    <a:lnTo>
                      <a:pt x="529" y="87"/>
                    </a:lnTo>
                    <a:lnTo>
                      <a:pt x="526" y="89"/>
                    </a:lnTo>
                    <a:lnTo>
                      <a:pt x="527" y="91"/>
                    </a:lnTo>
                    <a:lnTo>
                      <a:pt x="530" y="92"/>
                    </a:lnTo>
                    <a:lnTo>
                      <a:pt x="531" y="9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grpSp>
        <p:grpSp>
          <p:nvGrpSpPr>
            <p:cNvPr id="12" name="Group 170">
              <a:extLst>
                <a:ext uri="{FF2B5EF4-FFF2-40B4-BE49-F238E27FC236}">
                  <a16:creationId xmlns:a16="http://schemas.microsoft.com/office/drawing/2014/main" id="{7012FF16-E1B6-5FA3-CEF7-D3181849619B}"/>
                </a:ext>
              </a:extLst>
            </p:cNvPr>
            <p:cNvGrpSpPr>
              <a:grpSpLocks noChangeAspect="1"/>
            </p:cNvGrpSpPr>
            <p:nvPr/>
          </p:nvGrpSpPr>
          <p:grpSpPr bwMode="auto">
            <a:xfrm>
              <a:off x="6707205" y="3191606"/>
              <a:ext cx="1859022" cy="2042126"/>
              <a:chOff x="3102" y="2020"/>
              <a:chExt cx="1462" cy="1606"/>
            </a:xfrm>
            <a:grpFill/>
          </p:grpSpPr>
          <p:sp>
            <p:nvSpPr>
              <p:cNvPr id="284" name="Freeform 171">
                <a:extLst>
                  <a:ext uri="{FF2B5EF4-FFF2-40B4-BE49-F238E27FC236}">
                    <a16:creationId xmlns:a16="http://schemas.microsoft.com/office/drawing/2014/main" id="{77DF887D-3C27-A9D2-0603-6196EE0D5183}"/>
                  </a:ext>
                </a:extLst>
              </p:cNvPr>
              <p:cNvSpPr>
                <a:spLocks/>
              </p:cNvSpPr>
              <p:nvPr/>
            </p:nvSpPr>
            <p:spPr bwMode="auto">
              <a:xfrm>
                <a:off x="3332" y="2263"/>
                <a:ext cx="290" cy="275"/>
              </a:xfrm>
              <a:custGeom>
                <a:avLst/>
                <a:gdLst>
                  <a:gd name="T0" fmla="*/ 119 w 290"/>
                  <a:gd name="T1" fmla="*/ 259 h 275"/>
                  <a:gd name="T2" fmla="*/ 123 w 290"/>
                  <a:gd name="T3" fmla="*/ 252 h 275"/>
                  <a:gd name="T4" fmla="*/ 123 w 290"/>
                  <a:gd name="T5" fmla="*/ 246 h 275"/>
                  <a:gd name="T6" fmla="*/ 139 w 290"/>
                  <a:gd name="T7" fmla="*/ 229 h 275"/>
                  <a:gd name="T8" fmla="*/ 140 w 290"/>
                  <a:gd name="T9" fmla="*/ 223 h 275"/>
                  <a:gd name="T10" fmla="*/ 149 w 290"/>
                  <a:gd name="T11" fmla="*/ 219 h 275"/>
                  <a:gd name="T12" fmla="*/ 159 w 290"/>
                  <a:gd name="T13" fmla="*/ 212 h 275"/>
                  <a:gd name="T14" fmla="*/ 165 w 290"/>
                  <a:gd name="T15" fmla="*/ 207 h 275"/>
                  <a:gd name="T16" fmla="*/ 170 w 290"/>
                  <a:gd name="T17" fmla="*/ 202 h 275"/>
                  <a:gd name="T18" fmla="*/ 180 w 290"/>
                  <a:gd name="T19" fmla="*/ 199 h 275"/>
                  <a:gd name="T20" fmla="*/ 185 w 290"/>
                  <a:gd name="T21" fmla="*/ 197 h 275"/>
                  <a:gd name="T22" fmla="*/ 214 w 290"/>
                  <a:gd name="T23" fmla="*/ 187 h 275"/>
                  <a:gd name="T24" fmla="*/ 232 w 290"/>
                  <a:gd name="T25" fmla="*/ 187 h 275"/>
                  <a:gd name="T26" fmla="*/ 270 w 290"/>
                  <a:gd name="T27" fmla="*/ 180 h 275"/>
                  <a:gd name="T28" fmla="*/ 282 w 290"/>
                  <a:gd name="T29" fmla="*/ 174 h 275"/>
                  <a:gd name="T30" fmla="*/ 290 w 290"/>
                  <a:gd name="T31" fmla="*/ 151 h 275"/>
                  <a:gd name="T32" fmla="*/ 271 w 290"/>
                  <a:gd name="T33" fmla="*/ 111 h 275"/>
                  <a:gd name="T34" fmla="*/ 272 w 290"/>
                  <a:gd name="T35" fmla="*/ 102 h 275"/>
                  <a:gd name="T36" fmla="*/ 262 w 290"/>
                  <a:gd name="T37" fmla="*/ 95 h 275"/>
                  <a:gd name="T38" fmla="*/ 252 w 290"/>
                  <a:gd name="T39" fmla="*/ 89 h 275"/>
                  <a:gd name="T40" fmla="*/ 244 w 290"/>
                  <a:gd name="T41" fmla="*/ 85 h 275"/>
                  <a:gd name="T42" fmla="*/ 236 w 290"/>
                  <a:gd name="T43" fmla="*/ 79 h 275"/>
                  <a:gd name="T44" fmla="*/ 130 w 290"/>
                  <a:gd name="T45" fmla="*/ 0 h 275"/>
                  <a:gd name="T46" fmla="*/ 119 w 290"/>
                  <a:gd name="T47" fmla="*/ 160 h 275"/>
                  <a:gd name="T48" fmla="*/ 122 w 290"/>
                  <a:gd name="T49" fmla="*/ 167 h 275"/>
                  <a:gd name="T50" fmla="*/ 53 w 290"/>
                  <a:gd name="T51" fmla="*/ 179 h 275"/>
                  <a:gd name="T52" fmla="*/ 48 w 290"/>
                  <a:gd name="T53" fmla="*/ 180 h 275"/>
                  <a:gd name="T54" fmla="*/ 31 w 290"/>
                  <a:gd name="T55" fmla="*/ 180 h 275"/>
                  <a:gd name="T56" fmla="*/ 20 w 290"/>
                  <a:gd name="T57" fmla="*/ 183 h 275"/>
                  <a:gd name="T58" fmla="*/ 7 w 290"/>
                  <a:gd name="T59" fmla="*/ 189 h 275"/>
                  <a:gd name="T60" fmla="*/ 1 w 290"/>
                  <a:gd name="T61" fmla="*/ 197 h 275"/>
                  <a:gd name="T62" fmla="*/ 4 w 290"/>
                  <a:gd name="T63" fmla="*/ 206 h 275"/>
                  <a:gd name="T64" fmla="*/ 4 w 290"/>
                  <a:gd name="T65" fmla="*/ 210 h 275"/>
                  <a:gd name="T66" fmla="*/ 8 w 290"/>
                  <a:gd name="T67" fmla="*/ 217 h 275"/>
                  <a:gd name="T68" fmla="*/ 11 w 290"/>
                  <a:gd name="T69" fmla="*/ 217 h 275"/>
                  <a:gd name="T70" fmla="*/ 15 w 290"/>
                  <a:gd name="T71" fmla="*/ 233 h 275"/>
                  <a:gd name="T72" fmla="*/ 20 w 290"/>
                  <a:gd name="T73" fmla="*/ 240 h 275"/>
                  <a:gd name="T74" fmla="*/ 25 w 290"/>
                  <a:gd name="T75" fmla="*/ 240 h 275"/>
                  <a:gd name="T76" fmla="*/ 31 w 290"/>
                  <a:gd name="T77" fmla="*/ 240 h 275"/>
                  <a:gd name="T78" fmla="*/ 41 w 290"/>
                  <a:gd name="T79" fmla="*/ 240 h 275"/>
                  <a:gd name="T80" fmla="*/ 51 w 290"/>
                  <a:gd name="T81" fmla="*/ 236 h 275"/>
                  <a:gd name="T82" fmla="*/ 51 w 290"/>
                  <a:gd name="T83" fmla="*/ 233 h 275"/>
                  <a:gd name="T84" fmla="*/ 61 w 290"/>
                  <a:gd name="T85" fmla="*/ 249 h 275"/>
                  <a:gd name="T86" fmla="*/ 66 w 290"/>
                  <a:gd name="T87" fmla="*/ 256 h 275"/>
                  <a:gd name="T88" fmla="*/ 68 w 290"/>
                  <a:gd name="T89" fmla="*/ 259 h 275"/>
                  <a:gd name="T90" fmla="*/ 70 w 290"/>
                  <a:gd name="T91" fmla="*/ 265 h 275"/>
                  <a:gd name="T92" fmla="*/ 74 w 290"/>
                  <a:gd name="T93" fmla="*/ 272 h 275"/>
                  <a:gd name="T94" fmla="*/ 83 w 290"/>
                  <a:gd name="T95" fmla="*/ 271 h 275"/>
                  <a:gd name="T96" fmla="*/ 93 w 290"/>
                  <a:gd name="T97" fmla="*/ 275 h 275"/>
                  <a:gd name="T98" fmla="*/ 97 w 290"/>
                  <a:gd name="T99" fmla="*/ 271 h 275"/>
                  <a:gd name="T100" fmla="*/ 97 w 290"/>
                  <a:gd name="T101" fmla="*/ 268 h 275"/>
                  <a:gd name="T102" fmla="*/ 103 w 290"/>
                  <a:gd name="T103" fmla="*/ 268 h 275"/>
                  <a:gd name="T104" fmla="*/ 106 w 290"/>
                  <a:gd name="T105" fmla="*/ 266 h 275"/>
                  <a:gd name="T106" fmla="*/ 106 w 290"/>
                  <a:gd name="T107" fmla="*/ 273 h 275"/>
                  <a:gd name="T108" fmla="*/ 116 w 290"/>
                  <a:gd name="T109" fmla="*/ 271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0" h="275">
                    <a:moveTo>
                      <a:pt x="119" y="268"/>
                    </a:moveTo>
                    <a:lnTo>
                      <a:pt x="120" y="265"/>
                    </a:lnTo>
                    <a:lnTo>
                      <a:pt x="120" y="263"/>
                    </a:lnTo>
                    <a:lnTo>
                      <a:pt x="119" y="261"/>
                    </a:lnTo>
                    <a:lnTo>
                      <a:pt x="119" y="259"/>
                    </a:lnTo>
                    <a:lnTo>
                      <a:pt x="120" y="259"/>
                    </a:lnTo>
                    <a:lnTo>
                      <a:pt x="120" y="258"/>
                    </a:lnTo>
                    <a:lnTo>
                      <a:pt x="122" y="258"/>
                    </a:lnTo>
                    <a:lnTo>
                      <a:pt x="123" y="255"/>
                    </a:lnTo>
                    <a:lnTo>
                      <a:pt x="123" y="252"/>
                    </a:lnTo>
                    <a:lnTo>
                      <a:pt x="123" y="250"/>
                    </a:lnTo>
                    <a:lnTo>
                      <a:pt x="123" y="249"/>
                    </a:lnTo>
                    <a:lnTo>
                      <a:pt x="123" y="248"/>
                    </a:lnTo>
                    <a:lnTo>
                      <a:pt x="123" y="248"/>
                    </a:lnTo>
                    <a:lnTo>
                      <a:pt x="123" y="246"/>
                    </a:lnTo>
                    <a:lnTo>
                      <a:pt x="126" y="242"/>
                    </a:lnTo>
                    <a:lnTo>
                      <a:pt x="133" y="239"/>
                    </a:lnTo>
                    <a:lnTo>
                      <a:pt x="137" y="236"/>
                    </a:lnTo>
                    <a:lnTo>
                      <a:pt x="137" y="230"/>
                    </a:lnTo>
                    <a:lnTo>
                      <a:pt x="139" y="229"/>
                    </a:lnTo>
                    <a:lnTo>
                      <a:pt x="140" y="227"/>
                    </a:lnTo>
                    <a:lnTo>
                      <a:pt x="140" y="227"/>
                    </a:lnTo>
                    <a:lnTo>
                      <a:pt x="140" y="225"/>
                    </a:lnTo>
                    <a:lnTo>
                      <a:pt x="140" y="223"/>
                    </a:lnTo>
                    <a:lnTo>
                      <a:pt x="140" y="223"/>
                    </a:lnTo>
                    <a:lnTo>
                      <a:pt x="140" y="222"/>
                    </a:lnTo>
                    <a:lnTo>
                      <a:pt x="142" y="220"/>
                    </a:lnTo>
                    <a:lnTo>
                      <a:pt x="145" y="217"/>
                    </a:lnTo>
                    <a:lnTo>
                      <a:pt x="146" y="217"/>
                    </a:lnTo>
                    <a:lnTo>
                      <a:pt x="149" y="219"/>
                    </a:lnTo>
                    <a:lnTo>
                      <a:pt x="152" y="220"/>
                    </a:lnTo>
                    <a:lnTo>
                      <a:pt x="155" y="220"/>
                    </a:lnTo>
                    <a:lnTo>
                      <a:pt x="156" y="219"/>
                    </a:lnTo>
                    <a:lnTo>
                      <a:pt x="157" y="215"/>
                    </a:lnTo>
                    <a:lnTo>
                      <a:pt x="159" y="212"/>
                    </a:lnTo>
                    <a:lnTo>
                      <a:pt x="160" y="212"/>
                    </a:lnTo>
                    <a:lnTo>
                      <a:pt x="162" y="213"/>
                    </a:lnTo>
                    <a:lnTo>
                      <a:pt x="165" y="212"/>
                    </a:lnTo>
                    <a:lnTo>
                      <a:pt x="165" y="210"/>
                    </a:lnTo>
                    <a:lnTo>
                      <a:pt x="165" y="207"/>
                    </a:lnTo>
                    <a:lnTo>
                      <a:pt x="165" y="207"/>
                    </a:lnTo>
                    <a:lnTo>
                      <a:pt x="166" y="206"/>
                    </a:lnTo>
                    <a:lnTo>
                      <a:pt x="168" y="203"/>
                    </a:lnTo>
                    <a:lnTo>
                      <a:pt x="169" y="203"/>
                    </a:lnTo>
                    <a:lnTo>
                      <a:pt x="170" y="202"/>
                    </a:lnTo>
                    <a:lnTo>
                      <a:pt x="173" y="202"/>
                    </a:lnTo>
                    <a:lnTo>
                      <a:pt x="178" y="202"/>
                    </a:lnTo>
                    <a:lnTo>
                      <a:pt x="179" y="202"/>
                    </a:lnTo>
                    <a:lnTo>
                      <a:pt x="180" y="200"/>
                    </a:lnTo>
                    <a:lnTo>
                      <a:pt x="180" y="199"/>
                    </a:lnTo>
                    <a:lnTo>
                      <a:pt x="182" y="197"/>
                    </a:lnTo>
                    <a:lnTo>
                      <a:pt x="182" y="197"/>
                    </a:lnTo>
                    <a:lnTo>
                      <a:pt x="183" y="197"/>
                    </a:lnTo>
                    <a:lnTo>
                      <a:pt x="183" y="197"/>
                    </a:lnTo>
                    <a:lnTo>
                      <a:pt x="185" y="197"/>
                    </a:lnTo>
                    <a:lnTo>
                      <a:pt x="196" y="192"/>
                    </a:lnTo>
                    <a:lnTo>
                      <a:pt x="199" y="190"/>
                    </a:lnTo>
                    <a:lnTo>
                      <a:pt x="203" y="187"/>
                    </a:lnTo>
                    <a:lnTo>
                      <a:pt x="209" y="187"/>
                    </a:lnTo>
                    <a:lnTo>
                      <a:pt x="214" y="187"/>
                    </a:lnTo>
                    <a:lnTo>
                      <a:pt x="219" y="189"/>
                    </a:lnTo>
                    <a:lnTo>
                      <a:pt x="222" y="187"/>
                    </a:lnTo>
                    <a:lnTo>
                      <a:pt x="225" y="187"/>
                    </a:lnTo>
                    <a:lnTo>
                      <a:pt x="229" y="189"/>
                    </a:lnTo>
                    <a:lnTo>
                      <a:pt x="232" y="187"/>
                    </a:lnTo>
                    <a:lnTo>
                      <a:pt x="234" y="187"/>
                    </a:lnTo>
                    <a:lnTo>
                      <a:pt x="236" y="184"/>
                    </a:lnTo>
                    <a:lnTo>
                      <a:pt x="238" y="183"/>
                    </a:lnTo>
                    <a:lnTo>
                      <a:pt x="241" y="181"/>
                    </a:lnTo>
                    <a:lnTo>
                      <a:pt x="270" y="180"/>
                    </a:lnTo>
                    <a:lnTo>
                      <a:pt x="277" y="181"/>
                    </a:lnTo>
                    <a:lnTo>
                      <a:pt x="278" y="179"/>
                    </a:lnTo>
                    <a:lnTo>
                      <a:pt x="280" y="177"/>
                    </a:lnTo>
                    <a:lnTo>
                      <a:pt x="281" y="176"/>
                    </a:lnTo>
                    <a:lnTo>
                      <a:pt x="282" y="174"/>
                    </a:lnTo>
                    <a:lnTo>
                      <a:pt x="284" y="174"/>
                    </a:lnTo>
                    <a:lnTo>
                      <a:pt x="284" y="173"/>
                    </a:lnTo>
                    <a:lnTo>
                      <a:pt x="288" y="160"/>
                    </a:lnTo>
                    <a:lnTo>
                      <a:pt x="290" y="156"/>
                    </a:lnTo>
                    <a:lnTo>
                      <a:pt x="290" y="151"/>
                    </a:lnTo>
                    <a:lnTo>
                      <a:pt x="290" y="111"/>
                    </a:lnTo>
                    <a:lnTo>
                      <a:pt x="280" y="114"/>
                    </a:lnTo>
                    <a:lnTo>
                      <a:pt x="274" y="114"/>
                    </a:lnTo>
                    <a:lnTo>
                      <a:pt x="271" y="112"/>
                    </a:lnTo>
                    <a:lnTo>
                      <a:pt x="271" y="111"/>
                    </a:lnTo>
                    <a:lnTo>
                      <a:pt x="271" y="110"/>
                    </a:lnTo>
                    <a:lnTo>
                      <a:pt x="272" y="108"/>
                    </a:lnTo>
                    <a:lnTo>
                      <a:pt x="272" y="107"/>
                    </a:lnTo>
                    <a:lnTo>
                      <a:pt x="272" y="105"/>
                    </a:lnTo>
                    <a:lnTo>
                      <a:pt x="272" y="102"/>
                    </a:lnTo>
                    <a:lnTo>
                      <a:pt x="271" y="100"/>
                    </a:lnTo>
                    <a:lnTo>
                      <a:pt x="271" y="98"/>
                    </a:lnTo>
                    <a:lnTo>
                      <a:pt x="268" y="97"/>
                    </a:lnTo>
                    <a:lnTo>
                      <a:pt x="267" y="97"/>
                    </a:lnTo>
                    <a:lnTo>
                      <a:pt x="262" y="95"/>
                    </a:lnTo>
                    <a:lnTo>
                      <a:pt x="259" y="94"/>
                    </a:lnTo>
                    <a:lnTo>
                      <a:pt x="258" y="94"/>
                    </a:lnTo>
                    <a:lnTo>
                      <a:pt x="257" y="92"/>
                    </a:lnTo>
                    <a:lnTo>
                      <a:pt x="255" y="91"/>
                    </a:lnTo>
                    <a:lnTo>
                      <a:pt x="252" y="89"/>
                    </a:lnTo>
                    <a:lnTo>
                      <a:pt x="249" y="89"/>
                    </a:lnTo>
                    <a:lnTo>
                      <a:pt x="247" y="89"/>
                    </a:lnTo>
                    <a:lnTo>
                      <a:pt x="245" y="88"/>
                    </a:lnTo>
                    <a:lnTo>
                      <a:pt x="244" y="87"/>
                    </a:lnTo>
                    <a:lnTo>
                      <a:pt x="244" y="85"/>
                    </a:lnTo>
                    <a:lnTo>
                      <a:pt x="244" y="85"/>
                    </a:lnTo>
                    <a:lnTo>
                      <a:pt x="242" y="84"/>
                    </a:lnTo>
                    <a:lnTo>
                      <a:pt x="239" y="82"/>
                    </a:lnTo>
                    <a:lnTo>
                      <a:pt x="238" y="82"/>
                    </a:lnTo>
                    <a:lnTo>
                      <a:pt x="236" y="79"/>
                    </a:lnTo>
                    <a:lnTo>
                      <a:pt x="236" y="78"/>
                    </a:lnTo>
                    <a:lnTo>
                      <a:pt x="236" y="77"/>
                    </a:lnTo>
                    <a:lnTo>
                      <a:pt x="235" y="75"/>
                    </a:lnTo>
                    <a:lnTo>
                      <a:pt x="234" y="72"/>
                    </a:lnTo>
                    <a:lnTo>
                      <a:pt x="130" y="0"/>
                    </a:lnTo>
                    <a:lnTo>
                      <a:pt x="100" y="0"/>
                    </a:lnTo>
                    <a:lnTo>
                      <a:pt x="116" y="156"/>
                    </a:lnTo>
                    <a:lnTo>
                      <a:pt x="117" y="157"/>
                    </a:lnTo>
                    <a:lnTo>
                      <a:pt x="117" y="158"/>
                    </a:lnTo>
                    <a:lnTo>
                      <a:pt x="119" y="160"/>
                    </a:lnTo>
                    <a:lnTo>
                      <a:pt x="119" y="161"/>
                    </a:lnTo>
                    <a:lnTo>
                      <a:pt x="120" y="163"/>
                    </a:lnTo>
                    <a:lnTo>
                      <a:pt x="120" y="164"/>
                    </a:lnTo>
                    <a:lnTo>
                      <a:pt x="122" y="164"/>
                    </a:lnTo>
                    <a:lnTo>
                      <a:pt x="122" y="167"/>
                    </a:lnTo>
                    <a:lnTo>
                      <a:pt x="119" y="176"/>
                    </a:lnTo>
                    <a:lnTo>
                      <a:pt x="119" y="179"/>
                    </a:lnTo>
                    <a:lnTo>
                      <a:pt x="116" y="179"/>
                    </a:lnTo>
                    <a:lnTo>
                      <a:pt x="60" y="179"/>
                    </a:lnTo>
                    <a:lnTo>
                      <a:pt x="53" y="179"/>
                    </a:lnTo>
                    <a:lnTo>
                      <a:pt x="51" y="176"/>
                    </a:lnTo>
                    <a:lnTo>
                      <a:pt x="50" y="176"/>
                    </a:lnTo>
                    <a:lnTo>
                      <a:pt x="50" y="177"/>
                    </a:lnTo>
                    <a:lnTo>
                      <a:pt x="48" y="179"/>
                    </a:lnTo>
                    <a:lnTo>
                      <a:pt x="48" y="180"/>
                    </a:lnTo>
                    <a:lnTo>
                      <a:pt x="45" y="180"/>
                    </a:lnTo>
                    <a:lnTo>
                      <a:pt x="43" y="180"/>
                    </a:lnTo>
                    <a:lnTo>
                      <a:pt x="40" y="180"/>
                    </a:lnTo>
                    <a:lnTo>
                      <a:pt x="37" y="180"/>
                    </a:lnTo>
                    <a:lnTo>
                      <a:pt x="31" y="180"/>
                    </a:lnTo>
                    <a:lnTo>
                      <a:pt x="30" y="180"/>
                    </a:lnTo>
                    <a:lnTo>
                      <a:pt x="28" y="180"/>
                    </a:lnTo>
                    <a:lnTo>
                      <a:pt x="24" y="184"/>
                    </a:lnTo>
                    <a:lnTo>
                      <a:pt x="24" y="184"/>
                    </a:lnTo>
                    <a:lnTo>
                      <a:pt x="20" y="183"/>
                    </a:lnTo>
                    <a:lnTo>
                      <a:pt x="17" y="179"/>
                    </a:lnTo>
                    <a:lnTo>
                      <a:pt x="14" y="176"/>
                    </a:lnTo>
                    <a:lnTo>
                      <a:pt x="10" y="179"/>
                    </a:lnTo>
                    <a:lnTo>
                      <a:pt x="8" y="183"/>
                    </a:lnTo>
                    <a:lnTo>
                      <a:pt x="7" y="189"/>
                    </a:lnTo>
                    <a:lnTo>
                      <a:pt x="4" y="192"/>
                    </a:lnTo>
                    <a:lnTo>
                      <a:pt x="0" y="192"/>
                    </a:lnTo>
                    <a:lnTo>
                      <a:pt x="1" y="193"/>
                    </a:lnTo>
                    <a:lnTo>
                      <a:pt x="1" y="194"/>
                    </a:lnTo>
                    <a:lnTo>
                      <a:pt x="1" y="197"/>
                    </a:lnTo>
                    <a:lnTo>
                      <a:pt x="2" y="199"/>
                    </a:lnTo>
                    <a:lnTo>
                      <a:pt x="4" y="202"/>
                    </a:lnTo>
                    <a:lnTo>
                      <a:pt x="4" y="203"/>
                    </a:lnTo>
                    <a:lnTo>
                      <a:pt x="4" y="206"/>
                    </a:lnTo>
                    <a:lnTo>
                      <a:pt x="4" y="206"/>
                    </a:lnTo>
                    <a:lnTo>
                      <a:pt x="5" y="207"/>
                    </a:lnTo>
                    <a:lnTo>
                      <a:pt x="5" y="207"/>
                    </a:lnTo>
                    <a:lnTo>
                      <a:pt x="5" y="209"/>
                    </a:lnTo>
                    <a:lnTo>
                      <a:pt x="4" y="210"/>
                    </a:lnTo>
                    <a:lnTo>
                      <a:pt x="4" y="210"/>
                    </a:lnTo>
                    <a:lnTo>
                      <a:pt x="4" y="213"/>
                    </a:lnTo>
                    <a:lnTo>
                      <a:pt x="5" y="215"/>
                    </a:lnTo>
                    <a:lnTo>
                      <a:pt x="7" y="216"/>
                    </a:lnTo>
                    <a:lnTo>
                      <a:pt x="7" y="217"/>
                    </a:lnTo>
                    <a:lnTo>
                      <a:pt x="8" y="217"/>
                    </a:lnTo>
                    <a:lnTo>
                      <a:pt x="8" y="217"/>
                    </a:lnTo>
                    <a:lnTo>
                      <a:pt x="8" y="217"/>
                    </a:lnTo>
                    <a:lnTo>
                      <a:pt x="10" y="217"/>
                    </a:lnTo>
                    <a:lnTo>
                      <a:pt x="10" y="217"/>
                    </a:lnTo>
                    <a:lnTo>
                      <a:pt x="11" y="217"/>
                    </a:lnTo>
                    <a:lnTo>
                      <a:pt x="12" y="219"/>
                    </a:lnTo>
                    <a:lnTo>
                      <a:pt x="14" y="225"/>
                    </a:lnTo>
                    <a:lnTo>
                      <a:pt x="15" y="226"/>
                    </a:lnTo>
                    <a:lnTo>
                      <a:pt x="15" y="232"/>
                    </a:lnTo>
                    <a:lnTo>
                      <a:pt x="15" y="233"/>
                    </a:lnTo>
                    <a:lnTo>
                      <a:pt x="15" y="235"/>
                    </a:lnTo>
                    <a:lnTo>
                      <a:pt x="14" y="238"/>
                    </a:lnTo>
                    <a:lnTo>
                      <a:pt x="14" y="240"/>
                    </a:lnTo>
                    <a:lnTo>
                      <a:pt x="17" y="240"/>
                    </a:lnTo>
                    <a:lnTo>
                      <a:pt x="20" y="240"/>
                    </a:lnTo>
                    <a:lnTo>
                      <a:pt x="21" y="240"/>
                    </a:lnTo>
                    <a:lnTo>
                      <a:pt x="21" y="239"/>
                    </a:lnTo>
                    <a:lnTo>
                      <a:pt x="23" y="239"/>
                    </a:lnTo>
                    <a:lnTo>
                      <a:pt x="24" y="239"/>
                    </a:lnTo>
                    <a:lnTo>
                      <a:pt x="25" y="240"/>
                    </a:lnTo>
                    <a:lnTo>
                      <a:pt x="25" y="242"/>
                    </a:lnTo>
                    <a:lnTo>
                      <a:pt x="27" y="243"/>
                    </a:lnTo>
                    <a:lnTo>
                      <a:pt x="28" y="243"/>
                    </a:lnTo>
                    <a:lnTo>
                      <a:pt x="28" y="243"/>
                    </a:lnTo>
                    <a:lnTo>
                      <a:pt x="31" y="240"/>
                    </a:lnTo>
                    <a:lnTo>
                      <a:pt x="33" y="239"/>
                    </a:lnTo>
                    <a:lnTo>
                      <a:pt x="34" y="239"/>
                    </a:lnTo>
                    <a:lnTo>
                      <a:pt x="34" y="239"/>
                    </a:lnTo>
                    <a:lnTo>
                      <a:pt x="35" y="239"/>
                    </a:lnTo>
                    <a:lnTo>
                      <a:pt x="41" y="240"/>
                    </a:lnTo>
                    <a:lnTo>
                      <a:pt x="44" y="240"/>
                    </a:lnTo>
                    <a:lnTo>
                      <a:pt x="45" y="240"/>
                    </a:lnTo>
                    <a:lnTo>
                      <a:pt x="50" y="238"/>
                    </a:lnTo>
                    <a:lnTo>
                      <a:pt x="50" y="236"/>
                    </a:lnTo>
                    <a:lnTo>
                      <a:pt x="51" y="236"/>
                    </a:lnTo>
                    <a:lnTo>
                      <a:pt x="51" y="236"/>
                    </a:lnTo>
                    <a:lnTo>
                      <a:pt x="51" y="235"/>
                    </a:lnTo>
                    <a:lnTo>
                      <a:pt x="51" y="235"/>
                    </a:lnTo>
                    <a:lnTo>
                      <a:pt x="51" y="233"/>
                    </a:lnTo>
                    <a:lnTo>
                      <a:pt x="51" y="233"/>
                    </a:lnTo>
                    <a:lnTo>
                      <a:pt x="54" y="233"/>
                    </a:lnTo>
                    <a:lnTo>
                      <a:pt x="57" y="235"/>
                    </a:lnTo>
                    <a:lnTo>
                      <a:pt x="58" y="238"/>
                    </a:lnTo>
                    <a:lnTo>
                      <a:pt x="61" y="248"/>
                    </a:lnTo>
                    <a:lnTo>
                      <a:pt x="61" y="249"/>
                    </a:lnTo>
                    <a:lnTo>
                      <a:pt x="63" y="249"/>
                    </a:lnTo>
                    <a:lnTo>
                      <a:pt x="67" y="252"/>
                    </a:lnTo>
                    <a:lnTo>
                      <a:pt x="67" y="253"/>
                    </a:lnTo>
                    <a:lnTo>
                      <a:pt x="67" y="255"/>
                    </a:lnTo>
                    <a:lnTo>
                      <a:pt x="66" y="256"/>
                    </a:lnTo>
                    <a:lnTo>
                      <a:pt x="64" y="258"/>
                    </a:lnTo>
                    <a:lnTo>
                      <a:pt x="64" y="261"/>
                    </a:lnTo>
                    <a:lnTo>
                      <a:pt x="66" y="261"/>
                    </a:lnTo>
                    <a:lnTo>
                      <a:pt x="67" y="259"/>
                    </a:lnTo>
                    <a:lnTo>
                      <a:pt x="68" y="259"/>
                    </a:lnTo>
                    <a:lnTo>
                      <a:pt x="68" y="261"/>
                    </a:lnTo>
                    <a:lnTo>
                      <a:pt x="70" y="262"/>
                    </a:lnTo>
                    <a:lnTo>
                      <a:pt x="70" y="263"/>
                    </a:lnTo>
                    <a:lnTo>
                      <a:pt x="70" y="265"/>
                    </a:lnTo>
                    <a:lnTo>
                      <a:pt x="70" y="265"/>
                    </a:lnTo>
                    <a:lnTo>
                      <a:pt x="70" y="268"/>
                    </a:lnTo>
                    <a:lnTo>
                      <a:pt x="70" y="269"/>
                    </a:lnTo>
                    <a:lnTo>
                      <a:pt x="73" y="271"/>
                    </a:lnTo>
                    <a:lnTo>
                      <a:pt x="74" y="272"/>
                    </a:lnTo>
                    <a:lnTo>
                      <a:pt x="74" y="272"/>
                    </a:lnTo>
                    <a:lnTo>
                      <a:pt x="76" y="273"/>
                    </a:lnTo>
                    <a:lnTo>
                      <a:pt x="76" y="275"/>
                    </a:lnTo>
                    <a:lnTo>
                      <a:pt x="77" y="273"/>
                    </a:lnTo>
                    <a:lnTo>
                      <a:pt x="81" y="271"/>
                    </a:lnTo>
                    <a:lnTo>
                      <a:pt x="83" y="271"/>
                    </a:lnTo>
                    <a:lnTo>
                      <a:pt x="86" y="271"/>
                    </a:lnTo>
                    <a:lnTo>
                      <a:pt x="87" y="272"/>
                    </a:lnTo>
                    <a:lnTo>
                      <a:pt x="89" y="273"/>
                    </a:lnTo>
                    <a:lnTo>
                      <a:pt x="91" y="275"/>
                    </a:lnTo>
                    <a:lnTo>
                      <a:pt x="93" y="275"/>
                    </a:lnTo>
                    <a:lnTo>
                      <a:pt x="93" y="273"/>
                    </a:lnTo>
                    <a:lnTo>
                      <a:pt x="93" y="272"/>
                    </a:lnTo>
                    <a:lnTo>
                      <a:pt x="94" y="272"/>
                    </a:lnTo>
                    <a:lnTo>
                      <a:pt x="96" y="271"/>
                    </a:lnTo>
                    <a:lnTo>
                      <a:pt x="97" y="271"/>
                    </a:lnTo>
                    <a:lnTo>
                      <a:pt x="97" y="271"/>
                    </a:lnTo>
                    <a:lnTo>
                      <a:pt x="99" y="271"/>
                    </a:lnTo>
                    <a:lnTo>
                      <a:pt x="99" y="269"/>
                    </a:lnTo>
                    <a:lnTo>
                      <a:pt x="99" y="269"/>
                    </a:lnTo>
                    <a:lnTo>
                      <a:pt x="97" y="268"/>
                    </a:lnTo>
                    <a:lnTo>
                      <a:pt x="99" y="266"/>
                    </a:lnTo>
                    <a:lnTo>
                      <a:pt x="99" y="266"/>
                    </a:lnTo>
                    <a:lnTo>
                      <a:pt x="101" y="268"/>
                    </a:lnTo>
                    <a:lnTo>
                      <a:pt x="103" y="268"/>
                    </a:lnTo>
                    <a:lnTo>
                      <a:pt x="103" y="268"/>
                    </a:lnTo>
                    <a:lnTo>
                      <a:pt x="103" y="266"/>
                    </a:lnTo>
                    <a:lnTo>
                      <a:pt x="103" y="266"/>
                    </a:lnTo>
                    <a:lnTo>
                      <a:pt x="103" y="265"/>
                    </a:lnTo>
                    <a:lnTo>
                      <a:pt x="106" y="265"/>
                    </a:lnTo>
                    <a:lnTo>
                      <a:pt x="106" y="266"/>
                    </a:lnTo>
                    <a:lnTo>
                      <a:pt x="106" y="269"/>
                    </a:lnTo>
                    <a:lnTo>
                      <a:pt x="106" y="272"/>
                    </a:lnTo>
                    <a:lnTo>
                      <a:pt x="106" y="272"/>
                    </a:lnTo>
                    <a:lnTo>
                      <a:pt x="106" y="273"/>
                    </a:lnTo>
                    <a:lnTo>
                      <a:pt x="106" y="273"/>
                    </a:lnTo>
                    <a:lnTo>
                      <a:pt x="107" y="273"/>
                    </a:lnTo>
                    <a:lnTo>
                      <a:pt x="109" y="275"/>
                    </a:lnTo>
                    <a:lnTo>
                      <a:pt x="109" y="273"/>
                    </a:lnTo>
                    <a:lnTo>
                      <a:pt x="114" y="271"/>
                    </a:lnTo>
                    <a:lnTo>
                      <a:pt x="116" y="271"/>
                    </a:lnTo>
                    <a:lnTo>
                      <a:pt x="119" y="271"/>
                    </a:lnTo>
                    <a:lnTo>
                      <a:pt x="119" y="269"/>
                    </a:lnTo>
                    <a:lnTo>
                      <a:pt x="119" y="26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85" name="Freeform 172">
                <a:extLst>
                  <a:ext uri="{FF2B5EF4-FFF2-40B4-BE49-F238E27FC236}">
                    <a16:creationId xmlns:a16="http://schemas.microsoft.com/office/drawing/2014/main" id="{003C6FC3-8830-99B8-3FE9-81A0BF43D2D4}"/>
                  </a:ext>
                </a:extLst>
              </p:cNvPr>
              <p:cNvSpPr>
                <a:spLocks/>
              </p:cNvSpPr>
              <p:nvPr/>
            </p:nvSpPr>
            <p:spPr bwMode="auto">
              <a:xfrm>
                <a:off x="3451" y="2450"/>
                <a:ext cx="139" cy="101"/>
              </a:xfrm>
              <a:custGeom>
                <a:avLst/>
                <a:gdLst>
                  <a:gd name="T0" fmla="*/ 133 w 139"/>
                  <a:gd name="T1" fmla="*/ 48 h 101"/>
                  <a:gd name="T2" fmla="*/ 136 w 139"/>
                  <a:gd name="T3" fmla="*/ 46 h 101"/>
                  <a:gd name="T4" fmla="*/ 133 w 139"/>
                  <a:gd name="T5" fmla="*/ 42 h 101"/>
                  <a:gd name="T6" fmla="*/ 130 w 139"/>
                  <a:gd name="T7" fmla="*/ 42 h 101"/>
                  <a:gd name="T8" fmla="*/ 125 w 139"/>
                  <a:gd name="T9" fmla="*/ 43 h 101"/>
                  <a:gd name="T10" fmla="*/ 113 w 139"/>
                  <a:gd name="T11" fmla="*/ 33 h 101"/>
                  <a:gd name="T12" fmla="*/ 116 w 139"/>
                  <a:gd name="T13" fmla="*/ 30 h 101"/>
                  <a:gd name="T14" fmla="*/ 116 w 139"/>
                  <a:gd name="T15" fmla="*/ 29 h 101"/>
                  <a:gd name="T16" fmla="*/ 106 w 139"/>
                  <a:gd name="T17" fmla="*/ 22 h 101"/>
                  <a:gd name="T18" fmla="*/ 103 w 139"/>
                  <a:gd name="T19" fmla="*/ 15 h 101"/>
                  <a:gd name="T20" fmla="*/ 100 w 139"/>
                  <a:gd name="T21" fmla="*/ 12 h 101"/>
                  <a:gd name="T22" fmla="*/ 100 w 139"/>
                  <a:gd name="T23" fmla="*/ 5 h 101"/>
                  <a:gd name="T24" fmla="*/ 90 w 139"/>
                  <a:gd name="T25" fmla="*/ 0 h 101"/>
                  <a:gd name="T26" fmla="*/ 77 w 139"/>
                  <a:gd name="T27" fmla="*/ 5 h 101"/>
                  <a:gd name="T28" fmla="*/ 64 w 139"/>
                  <a:gd name="T29" fmla="*/ 10 h 101"/>
                  <a:gd name="T30" fmla="*/ 61 w 139"/>
                  <a:gd name="T31" fmla="*/ 12 h 101"/>
                  <a:gd name="T32" fmla="*/ 59 w 139"/>
                  <a:gd name="T33" fmla="*/ 15 h 101"/>
                  <a:gd name="T34" fmla="*/ 50 w 139"/>
                  <a:gd name="T35" fmla="*/ 16 h 101"/>
                  <a:gd name="T36" fmla="*/ 46 w 139"/>
                  <a:gd name="T37" fmla="*/ 20 h 101"/>
                  <a:gd name="T38" fmla="*/ 46 w 139"/>
                  <a:gd name="T39" fmla="*/ 25 h 101"/>
                  <a:gd name="T40" fmla="*/ 40 w 139"/>
                  <a:gd name="T41" fmla="*/ 25 h 101"/>
                  <a:gd name="T42" fmla="*/ 36 w 139"/>
                  <a:gd name="T43" fmla="*/ 33 h 101"/>
                  <a:gd name="T44" fmla="*/ 27 w 139"/>
                  <a:gd name="T45" fmla="*/ 30 h 101"/>
                  <a:gd name="T46" fmla="*/ 21 w 139"/>
                  <a:gd name="T47" fmla="*/ 35 h 101"/>
                  <a:gd name="T48" fmla="*/ 21 w 139"/>
                  <a:gd name="T49" fmla="*/ 38 h 101"/>
                  <a:gd name="T50" fmla="*/ 20 w 139"/>
                  <a:gd name="T51" fmla="*/ 42 h 101"/>
                  <a:gd name="T52" fmla="*/ 14 w 139"/>
                  <a:gd name="T53" fmla="*/ 52 h 101"/>
                  <a:gd name="T54" fmla="*/ 4 w 139"/>
                  <a:gd name="T55" fmla="*/ 61 h 101"/>
                  <a:gd name="T56" fmla="*/ 4 w 139"/>
                  <a:gd name="T57" fmla="*/ 63 h 101"/>
                  <a:gd name="T58" fmla="*/ 3 w 139"/>
                  <a:gd name="T59" fmla="*/ 71 h 101"/>
                  <a:gd name="T60" fmla="*/ 0 w 139"/>
                  <a:gd name="T61" fmla="*/ 72 h 101"/>
                  <a:gd name="T62" fmla="*/ 1 w 139"/>
                  <a:gd name="T63" fmla="*/ 78 h 101"/>
                  <a:gd name="T64" fmla="*/ 0 w 139"/>
                  <a:gd name="T65" fmla="*/ 84 h 101"/>
                  <a:gd name="T66" fmla="*/ 5 w 139"/>
                  <a:gd name="T67" fmla="*/ 85 h 101"/>
                  <a:gd name="T68" fmla="*/ 8 w 139"/>
                  <a:gd name="T69" fmla="*/ 89 h 101"/>
                  <a:gd name="T70" fmla="*/ 10 w 139"/>
                  <a:gd name="T71" fmla="*/ 92 h 101"/>
                  <a:gd name="T72" fmla="*/ 17 w 139"/>
                  <a:gd name="T73" fmla="*/ 97 h 101"/>
                  <a:gd name="T74" fmla="*/ 21 w 139"/>
                  <a:gd name="T75" fmla="*/ 95 h 101"/>
                  <a:gd name="T76" fmla="*/ 30 w 139"/>
                  <a:gd name="T77" fmla="*/ 92 h 101"/>
                  <a:gd name="T78" fmla="*/ 41 w 139"/>
                  <a:gd name="T79" fmla="*/ 94 h 101"/>
                  <a:gd name="T80" fmla="*/ 47 w 139"/>
                  <a:gd name="T81" fmla="*/ 101 h 101"/>
                  <a:gd name="T82" fmla="*/ 47 w 139"/>
                  <a:gd name="T83" fmla="*/ 86 h 101"/>
                  <a:gd name="T84" fmla="*/ 46 w 139"/>
                  <a:gd name="T85" fmla="*/ 75 h 101"/>
                  <a:gd name="T86" fmla="*/ 59 w 139"/>
                  <a:gd name="T87" fmla="*/ 74 h 101"/>
                  <a:gd name="T88" fmla="*/ 84 w 139"/>
                  <a:gd name="T89" fmla="*/ 74 h 101"/>
                  <a:gd name="T90" fmla="*/ 90 w 139"/>
                  <a:gd name="T91" fmla="*/ 71 h 101"/>
                  <a:gd name="T92" fmla="*/ 96 w 139"/>
                  <a:gd name="T93" fmla="*/ 71 h 101"/>
                  <a:gd name="T94" fmla="*/ 112 w 139"/>
                  <a:gd name="T95" fmla="*/ 74 h 101"/>
                  <a:gd name="T96" fmla="*/ 115 w 139"/>
                  <a:gd name="T97" fmla="*/ 72 h 101"/>
                  <a:gd name="T98" fmla="*/ 116 w 139"/>
                  <a:gd name="T99" fmla="*/ 71 h 101"/>
                  <a:gd name="T100" fmla="*/ 123 w 139"/>
                  <a:gd name="T101" fmla="*/ 65 h 101"/>
                  <a:gd name="T102" fmla="*/ 132 w 139"/>
                  <a:gd name="T103" fmla="*/ 63 h 101"/>
                  <a:gd name="T104" fmla="*/ 139 w 139"/>
                  <a:gd name="T105" fmla="*/ 5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9" h="101">
                    <a:moveTo>
                      <a:pt x="135" y="52"/>
                    </a:moveTo>
                    <a:lnTo>
                      <a:pt x="133" y="51"/>
                    </a:lnTo>
                    <a:lnTo>
                      <a:pt x="133" y="48"/>
                    </a:lnTo>
                    <a:lnTo>
                      <a:pt x="135" y="48"/>
                    </a:lnTo>
                    <a:lnTo>
                      <a:pt x="135" y="46"/>
                    </a:lnTo>
                    <a:lnTo>
                      <a:pt x="136" y="46"/>
                    </a:lnTo>
                    <a:lnTo>
                      <a:pt x="135" y="45"/>
                    </a:lnTo>
                    <a:lnTo>
                      <a:pt x="135" y="43"/>
                    </a:lnTo>
                    <a:lnTo>
                      <a:pt x="133" y="42"/>
                    </a:lnTo>
                    <a:lnTo>
                      <a:pt x="133" y="42"/>
                    </a:lnTo>
                    <a:lnTo>
                      <a:pt x="132" y="42"/>
                    </a:lnTo>
                    <a:lnTo>
                      <a:pt x="130" y="42"/>
                    </a:lnTo>
                    <a:lnTo>
                      <a:pt x="128" y="43"/>
                    </a:lnTo>
                    <a:lnTo>
                      <a:pt x="126" y="43"/>
                    </a:lnTo>
                    <a:lnTo>
                      <a:pt x="125" y="43"/>
                    </a:lnTo>
                    <a:lnTo>
                      <a:pt x="122" y="42"/>
                    </a:lnTo>
                    <a:lnTo>
                      <a:pt x="115" y="36"/>
                    </a:lnTo>
                    <a:lnTo>
                      <a:pt x="113" y="33"/>
                    </a:lnTo>
                    <a:lnTo>
                      <a:pt x="113" y="30"/>
                    </a:lnTo>
                    <a:lnTo>
                      <a:pt x="115" y="30"/>
                    </a:lnTo>
                    <a:lnTo>
                      <a:pt x="116" y="30"/>
                    </a:lnTo>
                    <a:lnTo>
                      <a:pt x="116" y="30"/>
                    </a:lnTo>
                    <a:lnTo>
                      <a:pt x="117" y="30"/>
                    </a:lnTo>
                    <a:lnTo>
                      <a:pt x="116" y="29"/>
                    </a:lnTo>
                    <a:lnTo>
                      <a:pt x="113" y="26"/>
                    </a:lnTo>
                    <a:lnTo>
                      <a:pt x="107" y="23"/>
                    </a:lnTo>
                    <a:lnTo>
                      <a:pt x="106" y="22"/>
                    </a:lnTo>
                    <a:lnTo>
                      <a:pt x="105" y="20"/>
                    </a:lnTo>
                    <a:lnTo>
                      <a:pt x="105" y="19"/>
                    </a:lnTo>
                    <a:lnTo>
                      <a:pt x="103" y="15"/>
                    </a:lnTo>
                    <a:lnTo>
                      <a:pt x="103" y="15"/>
                    </a:lnTo>
                    <a:lnTo>
                      <a:pt x="102" y="12"/>
                    </a:lnTo>
                    <a:lnTo>
                      <a:pt x="100" y="12"/>
                    </a:lnTo>
                    <a:lnTo>
                      <a:pt x="100" y="9"/>
                    </a:lnTo>
                    <a:lnTo>
                      <a:pt x="100" y="7"/>
                    </a:lnTo>
                    <a:lnTo>
                      <a:pt x="100" y="5"/>
                    </a:lnTo>
                    <a:lnTo>
                      <a:pt x="100" y="2"/>
                    </a:lnTo>
                    <a:lnTo>
                      <a:pt x="95" y="0"/>
                    </a:lnTo>
                    <a:lnTo>
                      <a:pt x="90" y="0"/>
                    </a:lnTo>
                    <a:lnTo>
                      <a:pt x="84" y="0"/>
                    </a:lnTo>
                    <a:lnTo>
                      <a:pt x="80" y="3"/>
                    </a:lnTo>
                    <a:lnTo>
                      <a:pt x="77" y="5"/>
                    </a:lnTo>
                    <a:lnTo>
                      <a:pt x="66" y="10"/>
                    </a:lnTo>
                    <a:lnTo>
                      <a:pt x="64" y="10"/>
                    </a:lnTo>
                    <a:lnTo>
                      <a:pt x="64" y="10"/>
                    </a:lnTo>
                    <a:lnTo>
                      <a:pt x="63" y="10"/>
                    </a:lnTo>
                    <a:lnTo>
                      <a:pt x="63" y="10"/>
                    </a:lnTo>
                    <a:lnTo>
                      <a:pt x="61" y="12"/>
                    </a:lnTo>
                    <a:lnTo>
                      <a:pt x="61" y="13"/>
                    </a:lnTo>
                    <a:lnTo>
                      <a:pt x="60" y="15"/>
                    </a:lnTo>
                    <a:lnTo>
                      <a:pt x="59" y="15"/>
                    </a:lnTo>
                    <a:lnTo>
                      <a:pt x="54" y="15"/>
                    </a:lnTo>
                    <a:lnTo>
                      <a:pt x="51" y="15"/>
                    </a:lnTo>
                    <a:lnTo>
                      <a:pt x="50" y="16"/>
                    </a:lnTo>
                    <a:lnTo>
                      <a:pt x="49" y="16"/>
                    </a:lnTo>
                    <a:lnTo>
                      <a:pt x="47" y="19"/>
                    </a:lnTo>
                    <a:lnTo>
                      <a:pt x="46" y="20"/>
                    </a:lnTo>
                    <a:lnTo>
                      <a:pt x="46" y="20"/>
                    </a:lnTo>
                    <a:lnTo>
                      <a:pt x="46" y="23"/>
                    </a:lnTo>
                    <a:lnTo>
                      <a:pt x="46" y="25"/>
                    </a:lnTo>
                    <a:lnTo>
                      <a:pt x="43" y="26"/>
                    </a:lnTo>
                    <a:lnTo>
                      <a:pt x="41" y="25"/>
                    </a:lnTo>
                    <a:lnTo>
                      <a:pt x="40" y="25"/>
                    </a:lnTo>
                    <a:lnTo>
                      <a:pt x="38" y="28"/>
                    </a:lnTo>
                    <a:lnTo>
                      <a:pt x="37" y="32"/>
                    </a:lnTo>
                    <a:lnTo>
                      <a:pt x="36" y="33"/>
                    </a:lnTo>
                    <a:lnTo>
                      <a:pt x="33" y="33"/>
                    </a:lnTo>
                    <a:lnTo>
                      <a:pt x="30" y="32"/>
                    </a:lnTo>
                    <a:lnTo>
                      <a:pt x="27" y="30"/>
                    </a:lnTo>
                    <a:lnTo>
                      <a:pt x="26" y="30"/>
                    </a:lnTo>
                    <a:lnTo>
                      <a:pt x="23" y="33"/>
                    </a:lnTo>
                    <a:lnTo>
                      <a:pt x="21" y="35"/>
                    </a:lnTo>
                    <a:lnTo>
                      <a:pt x="21" y="36"/>
                    </a:lnTo>
                    <a:lnTo>
                      <a:pt x="21" y="36"/>
                    </a:lnTo>
                    <a:lnTo>
                      <a:pt x="21" y="38"/>
                    </a:lnTo>
                    <a:lnTo>
                      <a:pt x="21" y="40"/>
                    </a:lnTo>
                    <a:lnTo>
                      <a:pt x="21" y="40"/>
                    </a:lnTo>
                    <a:lnTo>
                      <a:pt x="20" y="42"/>
                    </a:lnTo>
                    <a:lnTo>
                      <a:pt x="18" y="43"/>
                    </a:lnTo>
                    <a:lnTo>
                      <a:pt x="18" y="49"/>
                    </a:lnTo>
                    <a:lnTo>
                      <a:pt x="14" y="52"/>
                    </a:lnTo>
                    <a:lnTo>
                      <a:pt x="7" y="55"/>
                    </a:lnTo>
                    <a:lnTo>
                      <a:pt x="4" y="59"/>
                    </a:lnTo>
                    <a:lnTo>
                      <a:pt x="4" y="61"/>
                    </a:lnTo>
                    <a:lnTo>
                      <a:pt x="4" y="61"/>
                    </a:lnTo>
                    <a:lnTo>
                      <a:pt x="4" y="62"/>
                    </a:lnTo>
                    <a:lnTo>
                      <a:pt x="4" y="63"/>
                    </a:lnTo>
                    <a:lnTo>
                      <a:pt x="4" y="65"/>
                    </a:lnTo>
                    <a:lnTo>
                      <a:pt x="4" y="68"/>
                    </a:lnTo>
                    <a:lnTo>
                      <a:pt x="3" y="71"/>
                    </a:lnTo>
                    <a:lnTo>
                      <a:pt x="1" y="71"/>
                    </a:lnTo>
                    <a:lnTo>
                      <a:pt x="1" y="72"/>
                    </a:lnTo>
                    <a:lnTo>
                      <a:pt x="0" y="72"/>
                    </a:lnTo>
                    <a:lnTo>
                      <a:pt x="0" y="74"/>
                    </a:lnTo>
                    <a:lnTo>
                      <a:pt x="1" y="76"/>
                    </a:lnTo>
                    <a:lnTo>
                      <a:pt x="1" y="78"/>
                    </a:lnTo>
                    <a:lnTo>
                      <a:pt x="0" y="81"/>
                    </a:lnTo>
                    <a:lnTo>
                      <a:pt x="0" y="82"/>
                    </a:lnTo>
                    <a:lnTo>
                      <a:pt x="0" y="84"/>
                    </a:lnTo>
                    <a:lnTo>
                      <a:pt x="1" y="85"/>
                    </a:lnTo>
                    <a:lnTo>
                      <a:pt x="3" y="85"/>
                    </a:lnTo>
                    <a:lnTo>
                      <a:pt x="5" y="85"/>
                    </a:lnTo>
                    <a:lnTo>
                      <a:pt x="7" y="86"/>
                    </a:lnTo>
                    <a:lnTo>
                      <a:pt x="7" y="88"/>
                    </a:lnTo>
                    <a:lnTo>
                      <a:pt x="8" y="89"/>
                    </a:lnTo>
                    <a:lnTo>
                      <a:pt x="8" y="91"/>
                    </a:lnTo>
                    <a:lnTo>
                      <a:pt x="10" y="92"/>
                    </a:lnTo>
                    <a:lnTo>
                      <a:pt x="10" y="92"/>
                    </a:lnTo>
                    <a:lnTo>
                      <a:pt x="13" y="95"/>
                    </a:lnTo>
                    <a:lnTo>
                      <a:pt x="16" y="95"/>
                    </a:lnTo>
                    <a:lnTo>
                      <a:pt x="17" y="97"/>
                    </a:lnTo>
                    <a:lnTo>
                      <a:pt x="18" y="97"/>
                    </a:lnTo>
                    <a:lnTo>
                      <a:pt x="20" y="97"/>
                    </a:lnTo>
                    <a:lnTo>
                      <a:pt x="21" y="95"/>
                    </a:lnTo>
                    <a:lnTo>
                      <a:pt x="23" y="95"/>
                    </a:lnTo>
                    <a:lnTo>
                      <a:pt x="26" y="94"/>
                    </a:lnTo>
                    <a:lnTo>
                      <a:pt x="30" y="92"/>
                    </a:lnTo>
                    <a:lnTo>
                      <a:pt x="33" y="92"/>
                    </a:lnTo>
                    <a:lnTo>
                      <a:pt x="37" y="92"/>
                    </a:lnTo>
                    <a:lnTo>
                      <a:pt x="41" y="94"/>
                    </a:lnTo>
                    <a:lnTo>
                      <a:pt x="43" y="95"/>
                    </a:lnTo>
                    <a:lnTo>
                      <a:pt x="44" y="98"/>
                    </a:lnTo>
                    <a:lnTo>
                      <a:pt x="47" y="101"/>
                    </a:lnTo>
                    <a:lnTo>
                      <a:pt x="49" y="99"/>
                    </a:lnTo>
                    <a:lnTo>
                      <a:pt x="49" y="95"/>
                    </a:lnTo>
                    <a:lnTo>
                      <a:pt x="47" y="86"/>
                    </a:lnTo>
                    <a:lnTo>
                      <a:pt x="47" y="82"/>
                    </a:lnTo>
                    <a:lnTo>
                      <a:pt x="46" y="78"/>
                    </a:lnTo>
                    <a:lnTo>
                      <a:pt x="46" y="75"/>
                    </a:lnTo>
                    <a:lnTo>
                      <a:pt x="47" y="74"/>
                    </a:lnTo>
                    <a:lnTo>
                      <a:pt x="49" y="72"/>
                    </a:lnTo>
                    <a:lnTo>
                      <a:pt x="59" y="74"/>
                    </a:lnTo>
                    <a:lnTo>
                      <a:pt x="76" y="72"/>
                    </a:lnTo>
                    <a:lnTo>
                      <a:pt x="83" y="74"/>
                    </a:lnTo>
                    <a:lnTo>
                      <a:pt x="84" y="74"/>
                    </a:lnTo>
                    <a:lnTo>
                      <a:pt x="86" y="74"/>
                    </a:lnTo>
                    <a:lnTo>
                      <a:pt x="87" y="74"/>
                    </a:lnTo>
                    <a:lnTo>
                      <a:pt x="90" y="71"/>
                    </a:lnTo>
                    <a:lnTo>
                      <a:pt x="92" y="71"/>
                    </a:lnTo>
                    <a:lnTo>
                      <a:pt x="93" y="71"/>
                    </a:lnTo>
                    <a:lnTo>
                      <a:pt x="96" y="71"/>
                    </a:lnTo>
                    <a:lnTo>
                      <a:pt x="105" y="74"/>
                    </a:lnTo>
                    <a:lnTo>
                      <a:pt x="106" y="74"/>
                    </a:lnTo>
                    <a:lnTo>
                      <a:pt x="112" y="74"/>
                    </a:lnTo>
                    <a:lnTo>
                      <a:pt x="113" y="72"/>
                    </a:lnTo>
                    <a:lnTo>
                      <a:pt x="115" y="72"/>
                    </a:lnTo>
                    <a:lnTo>
                      <a:pt x="115" y="72"/>
                    </a:lnTo>
                    <a:lnTo>
                      <a:pt x="116" y="71"/>
                    </a:lnTo>
                    <a:lnTo>
                      <a:pt x="116" y="71"/>
                    </a:lnTo>
                    <a:lnTo>
                      <a:pt x="116" y="71"/>
                    </a:lnTo>
                    <a:lnTo>
                      <a:pt x="119" y="66"/>
                    </a:lnTo>
                    <a:lnTo>
                      <a:pt x="120" y="66"/>
                    </a:lnTo>
                    <a:lnTo>
                      <a:pt x="123" y="65"/>
                    </a:lnTo>
                    <a:lnTo>
                      <a:pt x="126" y="65"/>
                    </a:lnTo>
                    <a:lnTo>
                      <a:pt x="129" y="65"/>
                    </a:lnTo>
                    <a:lnTo>
                      <a:pt x="132" y="63"/>
                    </a:lnTo>
                    <a:lnTo>
                      <a:pt x="135" y="62"/>
                    </a:lnTo>
                    <a:lnTo>
                      <a:pt x="136" y="61"/>
                    </a:lnTo>
                    <a:lnTo>
                      <a:pt x="139" y="56"/>
                    </a:lnTo>
                    <a:lnTo>
                      <a:pt x="136" y="55"/>
                    </a:lnTo>
                    <a:lnTo>
                      <a:pt x="135" y="5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86" name="Freeform 173">
                <a:extLst>
                  <a:ext uri="{FF2B5EF4-FFF2-40B4-BE49-F238E27FC236}">
                    <a16:creationId xmlns:a16="http://schemas.microsoft.com/office/drawing/2014/main" id="{5102BA30-C135-9ECF-DCB5-826FBF665950}"/>
                  </a:ext>
                </a:extLst>
              </p:cNvPr>
              <p:cNvSpPr>
                <a:spLocks/>
              </p:cNvSpPr>
              <p:nvPr/>
            </p:nvSpPr>
            <p:spPr bwMode="auto">
              <a:xfrm>
                <a:off x="4058" y="2759"/>
                <a:ext cx="32" cy="38"/>
              </a:xfrm>
              <a:custGeom>
                <a:avLst/>
                <a:gdLst>
                  <a:gd name="T0" fmla="*/ 23 w 32"/>
                  <a:gd name="T1" fmla="*/ 0 h 38"/>
                  <a:gd name="T2" fmla="*/ 22 w 32"/>
                  <a:gd name="T3" fmla="*/ 0 h 38"/>
                  <a:gd name="T4" fmla="*/ 19 w 32"/>
                  <a:gd name="T5" fmla="*/ 2 h 38"/>
                  <a:gd name="T6" fmla="*/ 19 w 32"/>
                  <a:gd name="T7" fmla="*/ 0 h 38"/>
                  <a:gd name="T8" fmla="*/ 16 w 32"/>
                  <a:gd name="T9" fmla="*/ 0 h 38"/>
                  <a:gd name="T10" fmla="*/ 16 w 32"/>
                  <a:gd name="T11" fmla="*/ 0 h 38"/>
                  <a:gd name="T12" fmla="*/ 16 w 32"/>
                  <a:gd name="T13" fmla="*/ 0 h 38"/>
                  <a:gd name="T14" fmla="*/ 16 w 32"/>
                  <a:gd name="T15" fmla="*/ 5 h 38"/>
                  <a:gd name="T16" fmla="*/ 15 w 32"/>
                  <a:gd name="T17" fmla="*/ 6 h 38"/>
                  <a:gd name="T18" fmla="*/ 13 w 32"/>
                  <a:gd name="T19" fmla="*/ 7 h 38"/>
                  <a:gd name="T20" fmla="*/ 10 w 32"/>
                  <a:gd name="T21" fmla="*/ 7 h 38"/>
                  <a:gd name="T22" fmla="*/ 9 w 32"/>
                  <a:gd name="T23" fmla="*/ 9 h 38"/>
                  <a:gd name="T24" fmla="*/ 6 w 32"/>
                  <a:gd name="T25" fmla="*/ 7 h 38"/>
                  <a:gd name="T26" fmla="*/ 3 w 32"/>
                  <a:gd name="T27" fmla="*/ 5 h 38"/>
                  <a:gd name="T28" fmla="*/ 0 w 32"/>
                  <a:gd name="T29" fmla="*/ 5 h 38"/>
                  <a:gd name="T30" fmla="*/ 0 w 32"/>
                  <a:gd name="T31" fmla="*/ 6 h 38"/>
                  <a:gd name="T32" fmla="*/ 0 w 32"/>
                  <a:gd name="T33" fmla="*/ 7 h 38"/>
                  <a:gd name="T34" fmla="*/ 2 w 32"/>
                  <a:gd name="T35" fmla="*/ 9 h 38"/>
                  <a:gd name="T36" fmla="*/ 2 w 32"/>
                  <a:gd name="T37" fmla="*/ 10 h 38"/>
                  <a:gd name="T38" fmla="*/ 3 w 32"/>
                  <a:gd name="T39" fmla="*/ 12 h 38"/>
                  <a:gd name="T40" fmla="*/ 3 w 32"/>
                  <a:gd name="T41" fmla="*/ 13 h 38"/>
                  <a:gd name="T42" fmla="*/ 3 w 32"/>
                  <a:gd name="T43" fmla="*/ 20 h 38"/>
                  <a:gd name="T44" fmla="*/ 3 w 32"/>
                  <a:gd name="T45" fmla="*/ 25 h 38"/>
                  <a:gd name="T46" fmla="*/ 6 w 32"/>
                  <a:gd name="T47" fmla="*/ 38 h 38"/>
                  <a:gd name="T48" fmla="*/ 12 w 32"/>
                  <a:gd name="T49" fmla="*/ 36 h 38"/>
                  <a:gd name="T50" fmla="*/ 15 w 32"/>
                  <a:gd name="T51" fmla="*/ 35 h 38"/>
                  <a:gd name="T52" fmla="*/ 17 w 32"/>
                  <a:gd name="T53" fmla="*/ 32 h 38"/>
                  <a:gd name="T54" fmla="*/ 29 w 32"/>
                  <a:gd name="T55" fmla="*/ 17 h 38"/>
                  <a:gd name="T56" fmla="*/ 30 w 32"/>
                  <a:gd name="T57" fmla="*/ 15 h 38"/>
                  <a:gd name="T58" fmla="*/ 32 w 32"/>
                  <a:gd name="T59" fmla="*/ 13 h 38"/>
                  <a:gd name="T60" fmla="*/ 30 w 32"/>
                  <a:gd name="T61" fmla="*/ 12 h 38"/>
                  <a:gd name="T62" fmla="*/ 30 w 32"/>
                  <a:gd name="T63" fmla="*/ 12 h 38"/>
                  <a:gd name="T64" fmla="*/ 27 w 32"/>
                  <a:gd name="T65" fmla="*/ 10 h 38"/>
                  <a:gd name="T66" fmla="*/ 26 w 32"/>
                  <a:gd name="T67" fmla="*/ 10 h 38"/>
                  <a:gd name="T68" fmla="*/ 25 w 32"/>
                  <a:gd name="T69" fmla="*/ 7 h 38"/>
                  <a:gd name="T70" fmla="*/ 25 w 32"/>
                  <a:gd name="T71" fmla="*/ 6 h 38"/>
                  <a:gd name="T72" fmla="*/ 26 w 32"/>
                  <a:gd name="T73" fmla="*/ 3 h 38"/>
                  <a:gd name="T74" fmla="*/ 26 w 32"/>
                  <a:gd name="T75" fmla="*/ 0 h 38"/>
                  <a:gd name="T76" fmla="*/ 25 w 32"/>
                  <a:gd name="T77" fmla="*/ 0 h 38"/>
                  <a:gd name="T78" fmla="*/ 23 w 32"/>
                  <a:gd name="T7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38">
                    <a:moveTo>
                      <a:pt x="23" y="0"/>
                    </a:moveTo>
                    <a:lnTo>
                      <a:pt x="22" y="0"/>
                    </a:lnTo>
                    <a:lnTo>
                      <a:pt x="19" y="2"/>
                    </a:lnTo>
                    <a:lnTo>
                      <a:pt x="19" y="0"/>
                    </a:lnTo>
                    <a:lnTo>
                      <a:pt x="16" y="0"/>
                    </a:lnTo>
                    <a:lnTo>
                      <a:pt x="16" y="0"/>
                    </a:lnTo>
                    <a:lnTo>
                      <a:pt x="16" y="0"/>
                    </a:lnTo>
                    <a:lnTo>
                      <a:pt x="16" y="5"/>
                    </a:lnTo>
                    <a:lnTo>
                      <a:pt x="15" y="6"/>
                    </a:lnTo>
                    <a:lnTo>
                      <a:pt x="13" y="7"/>
                    </a:lnTo>
                    <a:lnTo>
                      <a:pt x="10" y="7"/>
                    </a:lnTo>
                    <a:lnTo>
                      <a:pt x="9" y="9"/>
                    </a:lnTo>
                    <a:lnTo>
                      <a:pt x="6" y="7"/>
                    </a:lnTo>
                    <a:lnTo>
                      <a:pt x="3" y="5"/>
                    </a:lnTo>
                    <a:lnTo>
                      <a:pt x="0" y="5"/>
                    </a:lnTo>
                    <a:lnTo>
                      <a:pt x="0" y="6"/>
                    </a:lnTo>
                    <a:lnTo>
                      <a:pt x="0" y="7"/>
                    </a:lnTo>
                    <a:lnTo>
                      <a:pt x="2" y="9"/>
                    </a:lnTo>
                    <a:lnTo>
                      <a:pt x="2" y="10"/>
                    </a:lnTo>
                    <a:lnTo>
                      <a:pt x="3" y="12"/>
                    </a:lnTo>
                    <a:lnTo>
                      <a:pt x="3" y="13"/>
                    </a:lnTo>
                    <a:lnTo>
                      <a:pt x="3" y="20"/>
                    </a:lnTo>
                    <a:lnTo>
                      <a:pt x="3" y="25"/>
                    </a:lnTo>
                    <a:lnTo>
                      <a:pt x="6" y="38"/>
                    </a:lnTo>
                    <a:lnTo>
                      <a:pt x="12" y="36"/>
                    </a:lnTo>
                    <a:lnTo>
                      <a:pt x="15" y="35"/>
                    </a:lnTo>
                    <a:lnTo>
                      <a:pt x="17" y="32"/>
                    </a:lnTo>
                    <a:lnTo>
                      <a:pt x="29" y="17"/>
                    </a:lnTo>
                    <a:lnTo>
                      <a:pt x="30" y="15"/>
                    </a:lnTo>
                    <a:lnTo>
                      <a:pt x="32" y="13"/>
                    </a:lnTo>
                    <a:lnTo>
                      <a:pt x="30" y="12"/>
                    </a:lnTo>
                    <a:lnTo>
                      <a:pt x="30" y="12"/>
                    </a:lnTo>
                    <a:lnTo>
                      <a:pt x="27" y="10"/>
                    </a:lnTo>
                    <a:lnTo>
                      <a:pt x="26" y="10"/>
                    </a:lnTo>
                    <a:lnTo>
                      <a:pt x="25" y="7"/>
                    </a:lnTo>
                    <a:lnTo>
                      <a:pt x="25" y="6"/>
                    </a:lnTo>
                    <a:lnTo>
                      <a:pt x="26" y="3"/>
                    </a:lnTo>
                    <a:lnTo>
                      <a:pt x="26" y="0"/>
                    </a:lnTo>
                    <a:lnTo>
                      <a:pt x="25" y="0"/>
                    </a:lnTo>
                    <a:lnTo>
                      <a:pt x="23"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87" name="Freeform 174">
                <a:extLst>
                  <a:ext uri="{FF2B5EF4-FFF2-40B4-BE49-F238E27FC236}">
                    <a16:creationId xmlns:a16="http://schemas.microsoft.com/office/drawing/2014/main" id="{51C6724D-4900-B6F6-D02C-82F780E0DE64}"/>
                  </a:ext>
                </a:extLst>
              </p:cNvPr>
              <p:cNvSpPr>
                <a:spLocks/>
              </p:cNvSpPr>
              <p:nvPr/>
            </p:nvSpPr>
            <p:spPr bwMode="auto">
              <a:xfrm>
                <a:off x="4088" y="3188"/>
                <a:ext cx="25" cy="30"/>
              </a:xfrm>
              <a:custGeom>
                <a:avLst/>
                <a:gdLst>
                  <a:gd name="T0" fmla="*/ 13 w 25"/>
                  <a:gd name="T1" fmla="*/ 0 h 30"/>
                  <a:gd name="T2" fmla="*/ 10 w 25"/>
                  <a:gd name="T3" fmla="*/ 0 h 30"/>
                  <a:gd name="T4" fmla="*/ 8 w 25"/>
                  <a:gd name="T5" fmla="*/ 1 h 30"/>
                  <a:gd name="T6" fmla="*/ 5 w 25"/>
                  <a:gd name="T7" fmla="*/ 5 h 30"/>
                  <a:gd name="T8" fmla="*/ 2 w 25"/>
                  <a:gd name="T9" fmla="*/ 10 h 30"/>
                  <a:gd name="T10" fmla="*/ 0 w 25"/>
                  <a:gd name="T11" fmla="*/ 12 h 30"/>
                  <a:gd name="T12" fmla="*/ 0 w 25"/>
                  <a:gd name="T13" fmla="*/ 15 h 30"/>
                  <a:gd name="T14" fmla="*/ 2 w 25"/>
                  <a:gd name="T15" fmla="*/ 20 h 30"/>
                  <a:gd name="T16" fmla="*/ 3 w 25"/>
                  <a:gd name="T17" fmla="*/ 23 h 30"/>
                  <a:gd name="T18" fmla="*/ 6 w 25"/>
                  <a:gd name="T19" fmla="*/ 25 h 30"/>
                  <a:gd name="T20" fmla="*/ 9 w 25"/>
                  <a:gd name="T21" fmla="*/ 28 h 30"/>
                  <a:gd name="T22" fmla="*/ 13 w 25"/>
                  <a:gd name="T23" fmla="*/ 30 h 30"/>
                  <a:gd name="T24" fmla="*/ 18 w 25"/>
                  <a:gd name="T25" fmla="*/ 30 h 30"/>
                  <a:gd name="T26" fmla="*/ 22 w 25"/>
                  <a:gd name="T27" fmla="*/ 30 h 30"/>
                  <a:gd name="T28" fmla="*/ 22 w 25"/>
                  <a:gd name="T29" fmla="*/ 27 h 30"/>
                  <a:gd name="T30" fmla="*/ 22 w 25"/>
                  <a:gd name="T31" fmla="*/ 23 h 30"/>
                  <a:gd name="T32" fmla="*/ 22 w 25"/>
                  <a:gd name="T33" fmla="*/ 21 h 30"/>
                  <a:gd name="T34" fmla="*/ 25 w 25"/>
                  <a:gd name="T35" fmla="*/ 20 h 30"/>
                  <a:gd name="T36" fmla="*/ 23 w 25"/>
                  <a:gd name="T37" fmla="*/ 11 h 30"/>
                  <a:gd name="T38" fmla="*/ 23 w 25"/>
                  <a:gd name="T39" fmla="*/ 5 h 30"/>
                  <a:gd name="T40" fmla="*/ 22 w 25"/>
                  <a:gd name="T41" fmla="*/ 2 h 30"/>
                  <a:gd name="T42" fmla="*/ 19 w 25"/>
                  <a:gd name="T43" fmla="*/ 2 h 30"/>
                  <a:gd name="T44" fmla="*/ 13 w 25"/>
                  <a:gd name="T4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30">
                    <a:moveTo>
                      <a:pt x="13" y="0"/>
                    </a:moveTo>
                    <a:lnTo>
                      <a:pt x="10" y="0"/>
                    </a:lnTo>
                    <a:lnTo>
                      <a:pt x="8" y="1"/>
                    </a:lnTo>
                    <a:lnTo>
                      <a:pt x="5" y="5"/>
                    </a:lnTo>
                    <a:lnTo>
                      <a:pt x="2" y="10"/>
                    </a:lnTo>
                    <a:lnTo>
                      <a:pt x="0" y="12"/>
                    </a:lnTo>
                    <a:lnTo>
                      <a:pt x="0" y="15"/>
                    </a:lnTo>
                    <a:lnTo>
                      <a:pt x="2" y="20"/>
                    </a:lnTo>
                    <a:lnTo>
                      <a:pt x="3" y="23"/>
                    </a:lnTo>
                    <a:lnTo>
                      <a:pt x="6" y="25"/>
                    </a:lnTo>
                    <a:lnTo>
                      <a:pt x="9" y="28"/>
                    </a:lnTo>
                    <a:lnTo>
                      <a:pt x="13" y="30"/>
                    </a:lnTo>
                    <a:lnTo>
                      <a:pt x="18" y="30"/>
                    </a:lnTo>
                    <a:lnTo>
                      <a:pt x="22" y="30"/>
                    </a:lnTo>
                    <a:lnTo>
                      <a:pt x="22" y="27"/>
                    </a:lnTo>
                    <a:lnTo>
                      <a:pt x="22" y="23"/>
                    </a:lnTo>
                    <a:lnTo>
                      <a:pt x="22" y="21"/>
                    </a:lnTo>
                    <a:lnTo>
                      <a:pt x="25" y="20"/>
                    </a:lnTo>
                    <a:lnTo>
                      <a:pt x="23" y="11"/>
                    </a:lnTo>
                    <a:lnTo>
                      <a:pt x="23" y="5"/>
                    </a:lnTo>
                    <a:lnTo>
                      <a:pt x="22" y="2"/>
                    </a:lnTo>
                    <a:lnTo>
                      <a:pt x="19" y="2"/>
                    </a:lnTo>
                    <a:lnTo>
                      <a:pt x="13"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88" name="Freeform 175">
                <a:extLst>
                  <a:ext uri="{FF2B5EF4-FFF2-40B4-BE49-F238E27FC236}">
                    <a16:creationId xmlns:a16="http://schemas.microsoft.com/office/drawing/2014/main" id="{A833E01C-2D09-96A3-692B-AED2E426A700}"/>
                  </a:ext>
                </a:extLst>
              </p:cNvPr>
              <p:cNvSpPr>
                <a:spLocks/>
              </p:cNvSpPr>
              <p:nvPr/>
            </p:nvSpPr>
            <p:spPr bwMode="auto">
              <a:xfrm>
                <a:off x="3899" y="3035"/>
                <a:ext cx="165" cy="174"/>
              </a:xfrm>
              <a:custGeom>
                <a:avLst/>
                <a:gdLst>
                  <a:gd name="T0" fmla="*/ 159 w 165"/>
                  <a:gd name="T1" fmla="*/ 79 h 174"/>
                  <a:gd name="T2" fmla="*/ 159 w 165"/>
                  <a:gd name="T3" fmla="*/ 76 h 174"/>
                  <a:gd name="T4" fmla="*/ 146 w 165"/>
                  <a:gd name="T5" fmla="*/ 72 h 174"/>
                  <a:gd name="T6" fmla="*/ 136 w 165"/>
                  <a:gd name="T7" fmla="*/ 62 h 174"/>
                  <a:gd name="T8" fmla="*/ 135 w 165"/>
                  <a:gd name="T9" fmla="*/ 58 h 174"/>
                  <a:gd name="T10" fmla="*/ 135 w 165"/>
                  <a:gd name="T11" fmla="*/ 52 h 174"/>
                  <a:gd name="T12" fmla="*/ 133 w 165"/>
                  <a:gd name="T13" fmla="*/ 50 h 174"/>
                  <a:gd name="T14" fmla="*/ 129 w 165"/>
                  <a:gd name="T15" fmla="*/ 50 h 174"/>
                  <a:gd name="T16" fmla="*/ 128 w 165"/>
                  <a:gd name="T17" fmla="*/ 49 h 174"/>
                  <a:gd name="T18" fmla="*/ 126 w 165"/>
                  <a:gd name="T19" fmla="*/ 45 h 174"/>
                  <a:gd name="T20" fmla="*/ 119 w 165"/>
                  <a:gd name="T21" fmla="*/ 40 h 174"/>
                  <a:gd name="T22" fmla="*/ 109 w 165"/>
                  <a:gd name="T23" fmla="*/ 33 h 174"/>
                  <a:gd name="T24" fmla="*/ 96 w 165"/>
                  <a:gd name="T25" fmla="*/ 12 h 174"/>
                  <a:gd name="T26" fmla="*/ 90 w 165"/>
                  <a:gd name="T27" fmla="*/ 0 h 174"/>
                  <a:gd name="T28" fmla="*/ 85 w 165"/>
                  <a:gd name="T29" fmla="*/ 2 h 174"/>
                  <a:gd name="T30" fmla="*/ 82 w 165"/>
                  <a:gd name="T31" fmla="*/ 5 h 174"/>
                  <a:gd name="T32" fmla="*/ 79 w 165"/>
                  <a:gd name="T33" fmla="*/ 5 h 174"/>
                  <a:gd name="T34" fmla="*/ 73 w 165"/>
                  <a:gd name="T35" fmla="*/ 7 h 174"/>
                  <a:gd name="T36" fmla="*/ 64 w 165"/>
                  <a:gd name="T37" fmla="*/ 13 h 174"/>
                  <a:gd name="T38" fmla="*/ 59 w 165"/>
                  <a:gd name="T39" fmla="*/ 6 h 174"/>
                  <a:gd name="T40" fmla="*/ 27 w 165"/>
                  <a:gd name="T41" fmla="*/ 10 h 174"/>
                  <a:gd name="T42" fmla="*/ 17 w 165"/>
                  <a:gd name="T43" fmla="*/ 79 h 174"/>
                  <a:gd name="T44" fmla="*/ 0 w 165"/>
                  <a:gd name="T45" fmla="*/ 132 h 174"/>
                  <a:gd name="T46" fmla="*/ 11 w 165"/>
                  <a:gd name="T47" fmla="*/ 148 h 174"/>
                  <a:gd name="T48" fmla="*/ 14 w 165"/>
                  <a:gd name="T49" fmla="*/ 161 h 174"/>
                  <a:gd name="T50" fmla="*/ 11 w 165"/>
                  <a:gd name="T51" fmla="*/ 167 h 174"/>
                  <a:gd name="T52" fmla="*/ 11 w 165"/>
                  <a:gd name="T53" fmla="*/ 173 h 174"/>
                  <a:gd name="T54" fmla="*/ 17 w 165"/>
                  <a:gd name="T55" fmla="*/ 173 h 174"/>
                  <a:gd name="T56" fmla="*/ 30 w 165"/>
                  <a:gd name="T57" fmla="*/ 173 h 174"/>
                  <a:gd name="T58" fmla="*/ 31 w 165"/>
                  <a:gd name="T59" fmla="*/ 170 h 174"/>
                  <a:gd name="T60" fmla="*/ 37 w 165"/>
                  <a:gd name="T61" fmla="*/ 168 h 174"/>
                  <a:gd name="T62" fmla="*/ 46 w 165"/>
                  <a:gd name="T63" fmla="*/ 160 h 174"/>
                  <a:gd name="T64" fmla="*/ 50 w 165"/>
                  <a:gd name="T65" fmla="*/ 150 h 174"/>
                  <a:gd name="T66" fmla="*/ 56 w 165"/>
                  <a:gd name="T67" fmla="*/ 142 h 174"/>
                  <a:gd name="T68" fmla="*/ 63 w 165"/>
                  <a:gd name="T69" fmla="*/ 144 h 174"/>
                  <a:gd name="T70" fmla="*/ 73 w 165"/>
                  <a:gd name="T71" fmla="*/ 150 h 174"/>
                  <a:gd name="T72" fmla="*/ 85 w 165"/>
                  <a:gd name="T73" fmla="*/ 153 h 174"/>
                  <a:gd name="T74" fmla="*/ 96 w 165"/>
                  <a:gd name="T75" fmla="*/ 151 h 174"/>
                  <a:gd name="T76" fmla="*/ 103 w 165"/>
                  <a:gd name="T77" fmla="*/ 135 h 174"/>
                  <a:gd name="T78" fmla="*/ 112 w 165"/>
                  <a:gd name="T79" fmla="*/ 130 h 174"/>
                  <a:gd name="T80" fmla="*/ 120 w 165"/>
                  <a:gd name="T81" fmla="*/ 122 h 174"/>
                  <a:gd name="T82" fmla="*/ 125 w 165"/>
                  <a:gd name="T83" fmla="*/ 109 h 174"/>
                  <a:gd name="T84" fmla="*/ 139 w 165"/>
                  <a:gd name="T85" fmla="*/ 99 h 174"/>
                  <a:gd name="T86" fmla="*/ 149 w 165"/>
                  <a:gd name="T87" fmla="*/ 91 h 174"/>
                  <a:gd name="T88" fmla="*/ 158 w 165"/>
                  <a:gd name="T89" fmla="*/ 86 h 174"/>
                  <a:gd name="T90" fmla="*/ 164 w 165"/>
                  <a:gd name="T91" fmla="*/ 8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5" h="174">
                    <a:moveTo>
                      <a:pt x="161" y="81"/>
                    </a:moveTo>
                    <a:lnTo>
                      <a:pt x="159" y="81"/>
                    </a:lnTo>
                    <a:lnTo>
                      <a:pt x="159" y="79"/>
                    </a:lnTo>
                    <a:lnTo>
                      <a:pt x="159" y="78"/>
                    </a:lnTo>
                    <a:lnTo>
                      <a:pt x="159" y="78"/>
                    </a:lnTo>
                    <a:lnTo>
                      <a:pt x="159" y="76"/>
                    </a:lnTo>
                    <a:lnTo>
                      <a:pt x="156" y="75"/>
                    </a:lnTo>
                    <a:lnTo>
                      <a:pt x="153" y="73"/>
                    </a:lnTo>
                    <a:lnTo>
                      <a:pt x="146" y="72"/>
                    </a:lnTo>
                    <a:lnTo>
                      <a:pt x="142" y="71"/>
                    </a:lnTo>
                    <a:lnTo>
                      <a:pt x="141" y="71"/>
                    </a:lnTo>
                    <a:lnTo>
                      <a:pt x="136" y="62"/>
                    </a:lnTo>
                    <a:lnTo>
                      <a:pt x="135" y="62"/>
                    </a:lnTo>
                    <a:lnTo>
                      <a:pt x="135" y="59"/>
                    </a:lnTo>
                    <a:lnTo>
                      <a:pt x="135" y="58"/>
                    </a:lnTo>
                    <a:lnTo>
                      <a:pt x="136" y="55"/>
                    </a:lnTo>
                    <a:lnTo>
                      <a:pt x="135" y="53"/>
                    </a:lnTo>
                    <a:lnTo>
                      <a:pt x="135" y="52"/>
                    </a:lnTo>
                    <a:lnTo>
                      <a:pt x="135" y="52"/>
                    </a:lnTo>
                    <a:lnTo>
                      <a:pt x="133" y="50"/>
                    </a:lnTo>
                    <a:lnTo>
                      <a:pt x="133" y="50"/>
                    </a:lnTo>
                    <a:lnTo>
                      <a:pt x="130" y="50"/>
                    </a:lnTo>
                    <a:lnTo>
                      <a:pt x="130" y="50"/>
                    </a:lnTo>
                    <a:lnTo>
                      <a:pt x="129" y="50"/>
                    </a:lnTo>
                    <a:lnTo>
                      <a:pt x="129" y="50"/>
                    </a:lnTo>
                    <a:lnTo>
                      <a:pt x="129" y="50"/>
                    </a:lnTo>
                    <a:lnTo>
                      <a:pt x="128" y="49"/>
                    </a:lnTo>
                    <a:lnTo>
                      <a:pt x="128" y="48"/>
                    </a:lnTo>
                    <a:lnTo>
                      <a:pt x="128" y="46"/>
                    </a:lnTo>
                    <a:lnTo>
                      <a:pt x="126" y="45"/>
                    </a:lnTo>
                    <a:lnTo>
                      <a:pt x="126" y="43"/>
                    </a:lnTo>
                    <a:lnTo>
                      <a:pt x="125" y="42"/>
                    </a:lnTo>
                    <a:lnTo>
                      <a:pt x="119" y="40"/>
                    </a:lnTo>
                    <a:lnTo>
                      <a:pt x="113" y="38"/>
                    </a:lnTo>
                    <a:lnTo>
                      <a:pt x="110" y="35"/>
                    </a:lnTo>
                    <a:lnTo>
                      <a:pt x="109" y="33"/>
                    </a:lnTo>
                    <a:lnTo>
                      <a:pt x="106" y="30"/>
                    </a:lnTo>
                    <a:lnTo>
                      <a:pt x="103" y="20"/>
                    </a:lnTo>
                    <a:lnTo>
                      <a:pt x="96" y="12"/>
                    </a:lnTo>
                    <a:lnTo>
                      <a:pt x="93" y="6"/>
                    </a:lnTo>
                    <a:lnTo>
                      <a:pt x="93" y="0"/>
                    </a:lnTo>
                    <a:lnTo>
                      <a:pt x="90" y="0"/>
                    </a:lnTo>
                    <a:lnTo>
                      <a:pt x="89" y="2"/>
                    </a:lnTo>
                    <a:lnTo>
                      <a:pt x="86" y="2"/>
                    </a:lnTo>
                    <a:lnTo>
                      <a:pt x="85" y="2"/>
                    </a:lnTo>
                    <a:lnTo>
                      <a:pt x="83" y="3"/>
                    </a:lnTo>
                    <a:lnTo>
                      <a:pt x="82" y="5"/>
                    </a:lnTo>
                    <a:lnTo>
                      <a:pt x="82" y="5"/>
                    </a:lnTo>
                    <a:lnTo>
                      <a:pt x="80" y="5"/>
                    </a:lnTo>
                    <a:lnTo>
                      <a:pt x="80" y="5"/>
                    </a:lnTo>
                    <a:lnTo>
                      <a:pt x="79" y="5"/>
                    </a:lnTo>
                    <a:lnTo>
                      <a:pt x="79" y="5"/>
                    </a:lnTo>
                    <a:lnTo>
                      <a:pt x="74" y="6"/>
                    </a:lnTo>
                    <a:lnTo>
                      <a:pt x="73" y="7"/>
                    </a:lnTo>
                    <a:lnTo>
                      <a:pt x="70" y="9"/>
                    </a:lnTo>
                    <a:lnTo>
                      <a:pt x="67" y="10"/>
                    </a:lnTo>
                    <a:lnTo>
                      <a:pt x="64" y="13"/>
                    </a:lnTo>
                    <a:lnTo>
                      <a:pt x="63" y="12"/>
                    </a:lnTo>
                    <a:lnTo>
                      <a:pt x="62" y="9"/>
                    </a:lnTo>
                    <a:lnTo>
                      <a:pt x="59" y="6"/>
                    </a:lnTo>
                    <a:lnTo>
                      <a:pt x="56" y="5"/>
                    </a:lnTo>
                    <a:lnTo>
                      <a:pt x="51" y="5"/>
                    </a:lnTo>
                    <a:lnTo>
                      <a:pt x="27" y="10"/>
                    </a:lnTo>
                    <a:lnTo>
                      <a:pt x="18" y="10"/>
                    </a:lnTo>
                    <a:lnTo>
                      <a:pt x="17" y="10"/>
                    </a:lnTo>
                    <a:lnTo>
                      <a:pt x="17" y="79"/>
                    </a:lnTo>
                    <a:lnTo>
                      <a:pt x="17" y="79"/>
                    </a:lnTo>
                    <a:lnTo>
                      <a:pt x="0" y="79"/>
                    </a:lnTo>
                    <a:lnTo>
                      <a:pt x="0" y="132"/>
                    </a:lnTo>
                    <a:lnTo>
                      <a:pt x="6" y="137"/>
                    </a:lnTo>
                    <a:lnTo>
                      <a:pt x="8" y="142"/>
                    </a:lnTo>
                    <a:lnTo>
                      <a:pt x="11" y="148"/>
                    </a:lnTo>
                    <a:lnTo>
                      <a:pt x="14" y="155"/>
                    </a:lnTo>
                    <a:lnTo>
                      <a:pt x="14" y="158"/>
                    </a:lnTo>
                    <a:lnTo>
                      <a:pt x="14" y="161"/>
                    </a:lnTo>
                    <a:lnTo>
                      <a:pt x="13" y="163"/>
                    </a:lnTo>
                    <a:lnTo>
                      <a:pt x="11" y="165"/>
                    </a:lnTo>
                    <a:lnTo>
                      <a:pt x="11" y="167"/>
                    </a:lnTo>
                    <a:lnTo>
                      <a:pt x="11" y="168"/>
                    </a:lnTo>
                    <a:lnTo>
                      <a:pt x="11" y="171"/>
                    </a:lnTo>
                    <a:lnTo>
                      <a:pt x="11" y="173"/>
                    </a:lnTo>
                    <a:lnTo>
                      <a:pt x="13" y="173"/>
                    </a:lnTo>
                    <a:lnTo>
                      <a:pt x="14" y="173"/>
                    </a:lnTo>
                    <a:lnTo>
                      <a:pt x="17" y="173"/>
                    </a:lnTo>
                    <a:lnTo>
                      <a:pt x="26" y="174"/>
                    </a:lnTo>
                    <a:lnTo>
                      <a:pt x="29" y="174"/>
                    </a:lnTo>
                    <a:lnTo>
                      <a:pt x="30" y="173"/>
                    </a:lnTo>
                    <a:lnTo>
                      <a:pt x="31" y="173"/>
                    </a:lnTo>
                    <a:lnTo>
                      <a:pt x="31" y="171"/>
                    </a:lnTo>
                    <a:lnTo>
                      <a:pt x="31" y="170"/>
                    </a:lnTo>
                    <a:lnTo>
                      <a:pt x="33" y="170"/>
                    </a:lnTo>
                    <a:lnTo>
                      <a:pt x="36" y="168"/>
                    </a:lnTo>
                    <a:lnTo>
                      <a:pt x="37" y="168"/>
                    </a:lnTo>
                    <a:lnTo>
                      <a:pt x="40" y="164"/>
                    </a:lnTo>
                    <a:lnTo>
                      <a:pt x="41" y="163"/>
                    </a:lnTo>
                    <a:lnTo>
                      <a:pt x="46" y="160"/>
                    </a:lnTo>
                    <a:lnTo>
                      <a:pt x="46" y="158"/>
                    </a:lnTo>
                    <a:lnTo>
                      <a:pt x="47" y="155"/>
                    </a:lnTo>
                    <a:lnTo>
                      <a:pt x="50" y="150"/>
                    </a:lnTo>
                    <a:lnTo>
                      <a:pt x="50" y="147"/>
                    </a:lnTo>
                    <a:lnTo>
                      <a:pt x="53" y="144"/>
                    </a:lnTo>
                    <a:lnTo>
                      <a:pt x="56" y="142"/>
                    </a:lnTo>
                    <a:lnTo>
                      <a:pt x="59" y="142"/>
                    </a:lnTo>
                    <a:lnTo>
                      <a:pt x="62" y="144"/>
                    </a:lnTo>
                    <a:lnTo>
                      <a:pt x="63" y="144"/>
                    </a:lnTo>
                    <a:lnTo>
                      <a:pt x="67" y="147"/>
                    </a:lnTo>
                    <a:lnTo>
                      <a:pt x="69" y="148"/>
                    </a:lnTo>
                    <a:lnTo>
                      <a:pt x="73" y="150"/>
                    </a:lnTo>
                    <a:lnTo>
                      <a:pt x="77" y="153"/>
                    </a:lnTo>
                    <a:lnTo>
                      <a:pt x="82" y="153"/>
                    </a:lnTo>
                    <a:lnTo>
                      <a:pt x="85" y="153"/>
                    </a:lnTo>
                    <a:lnTo>
                      <a:pt x="90" y="153"/>
                    </a:lnTo>
                    <a:lnTo>
                      <a:pt x="95" y="151"/>
                    </a:lnTo>
                    <a:lnTo>
                      <a:pt x="96" y="151"/>
                    </a:lnTo>
                    <a:lnTo>
                      <a:pt x="99" y="148"/>
                    </a:lnTo>
                    <a:lnTo>
                      <a:pt x="100" y="145"/>
                    </a:lnTo>
                    <a:lnTo>
                      <a:pt x="103" y="135"/>
                    </a:lnTo>
                    <a:lnTo>
                      <a:pt x="105" y="134"/>
                    </a:lnTo>
                    <a:lnTo>
                      <a:pt x="106" y="132"/>
                    </a:lnTo>
                    <a:lnTo>
                      <a:pt x="112" y="130"/>
                    </a:lnTo>
                    <a:lnTo>
                      <a:pt x="115" y="128"/>
                    </a:lnTo>
                    <a:lnTo>
                      <a:pt x="118" y="125"/>
                    </a:lnTo>
                    <a:lnTo>
                      <a:pt x="120" y="122"/>
                    </a:lnTo>
                    <a:lnTo>
                      <a:pt x="122" y="119"/>
                    </a:lnTo>
                    <a:lnTo>
                      <a:pt x="123" y="112"/>
                    </a:lnTo>
                    <a:lnTo>
                      <a:pt x="125" y="109"/>
                    </a:lnTo>
                    <a:lnTo>
                      <a:pt x="126" y="108"/>
                    </a:lnTo>
                    <a:lnTo>
                      <a:pt x="136" y="102"/>
                    </a:lnTo>
                    <a:lnTo>
                      <a:pt x="139" y="99"/>
                    </a:lnTo>
                    <a:lnTo>
                      <a:pt x="143" y="95"/>
                    </a:lnTo>
                    <a:lnTo>
                      <a:pt x="146" y="92"/>
                    </a:lnTo>
                    <a:lnTo>
                      <a:pt x="149" y="91"/>
                    </a:lnTo>
                    <a:lnTo>
                      <a:pt x="152" y="89"/>
                    </a:lnTo>
                    <a:lnTo>
                      <a:pt x="156" y="88"/>
                    </a:lnTo>
                    <a:lnTo>
                      <a:pt x="158" y="86"/>
                    </a:lnTo>
                    <a:lnTo>
                      <a:pt x="161" y="85"/>
                    </a:lnTo>
                    <a:lnTo>
                      <a:pt x="165" y="84"/>
                    </a:lnTo>
                    <a:lnTo>
                      <a:pt x="164" y="82"/>
                    </a:lnTo>
                    <a:lnTo>
                      <a:pt x="161" y="8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89" name="Freeform 176">
                <a:extLst>
                  <a:ext uri="{FF2B5EF4-FFF2-40B4-BE49-F238E27FC236}">
                    <a16:creationId xmlns:a16="http://schemas.microsoft.com/office/drawing/2014/main" id="{8FE8E225-285B-323A-F984-2B56D202D830}"/>
                  </a:ext>
                </a:extLst>
              </p:cNvPr>
              <p:cNvSpPr>
                <a:spLocks/>
              </p:cNvSpPr>
              <p:nvPr/>
            </p:nvSpPr>
            <p:spPr bwMode="auto">
              <a:xfrm>
                <a:off x="3992" y="2996"/>
                <a:ext cx="135" cy="127"/>
              </a:xfrm>
              <a:custGeom>
                <a:avLst/>
                <a:gdLst>
                  <a:gd name="T0" fmla="*/ 63 w 135"/>
                  <a:gd name="T1" fmla="*/ 8 h 127"/>
                  <a:gd name="T2" fmla="*/ 62 w 135"/>
                  <a:gd name="T3" fmla="*/ 15 h 127"/>
                  <a:gd name="T4" fmla="*/ 46 w 135"/>
                  <a:gd name="T5" fmla="*/ 23 h 127"/>
                  <a:gd name="T6" fmla="*/ 32 w 135"/>
                  <a:gd name="T7" fmla="*/ 42 h 127"/>
                  <a:gd name="T8" fmla="*/ 22 w 135"/>
                  <a:gd name="T9" fmla="*/ 44 h 127"/>
                  <a:gd name="T10" fmla="*/ 17 w 135"/>
                  <a:gd name="T11" fmla="*/ 42 h 127"/>
                  <a:gd name="T12" fmla="*/ 10 w 135"/>
                  <a:gd name="T13" fmla="*/ 42 h 127"/>
                  <a:gd name="T14" fmla="*/ 4 w 135"/>
                  <a:gd name="T15" fmla="*/ 41 h 127"/>
                  <a:gd name="T16" fmla="*/ 0 w 135"/>
                  <a:gd name="T17" fmla="*/ 45 h 127"/>
                  <a:gd name="T18" fmla="*/ 13 w 135"/>
                  <a:gd name="T19" fmla="*/ 69 h 127"/>
                  <a:gd name="T20" fmla="*/ 20 w 135"/>
                  <a:gd name="T21" fmla="*/ 77 h 127"/>
                  <a:gd name="T22" fmla="*/ 33 w 135"/>
                  <a:gd name="T23" fmla="*/ 82 h 127"/>
                  <a:gd name="T24" fmla="*/ 35 w 135"/>
                  <a:gd name="T25" fmla="*/ 87 h 127"/>
                  <a:gd name="T26" fmla="*/ 36 w 135"/>
                  <a:gd name="T27" fmla="*/ 89 h 127"/>
                  <a:gd name="T28" fmla="*/ 37 w 135"/>
                  <a:gd name="T29" fmla="*/ 89 h 127"/>
                  <a:gd name="T30" fmla="*/ 42 w 135"/>
                  <a:gd name="T31" fmla="*/ 91 h 127"/>
                  <a:gd name="T32" fmla="*/ 43 w 135"/>
                  <a:gd name="T33" fmla="*/ 94 h 127"/>
                  <a:gd name="T34" fmla="*/ 42 w 135"/>
                  <a:gd name="T35" fmla="*/ 101 h 127"/>
                  <a:gd name="T36" fmla="*/ 49 w 135"/>
                  <a:gd name="T37" fmla="*/ 110 h 127"/>
                  <a:gd name="T38" fmla="*/ 63 w 135"/>
                  <a:gd name="T39" fmla="*/ 114 h 127"/>
                  <a:gd name="T40" fmla="*/ 66 w 135"/>
                  <a:gd name="T41" fmla="*/ 117 h 127"/>
                  <a:gd name="T42" fmla="*/ 68 w 135"/>
                  <a:gd name="T43" fmla="*/ 120 h 127"/>
                  <a:gd name="T44" fmla="*/ 76 w 135"/>
                  <a:gd name="T45" fmla="*/ 123 h 127"/>
                  <a:gd name="T46" fmla="*/ 102 w 135"/>
                  <a:gd name="T47" fmla="*/ 124 h 127"/>
                  <a:gd name="T48" fmla="*/ 119 w 135"/>
                  <a:gd name="T49" fmla="*/ 112 h 127"/>
                  <a:gd name="T50" fmla="*/ 125 w 135"/>
                  <a:gd name="T51" fmla="*/ 105 h 127"/>
                  <a:gd name="T52" fmla="*/ 125 w 135"/>
                  <a:gd name="T53" fmla="*/ 101 h 127"/>
                  <a:gd name="T54" fmla="*/ 127 w 135"/>
                  <a:gd name="T55" fmla="*/ 95 h 127"/>
                  <a:gd name="T56" fmla="*/ 132 w 135"/>
                  <a:gd name="T57" fmla="*/ 87 h 127"/>
                  <a:gd name="T58" fmla="*/ 135 w 135"/>
                  <a:gd name="T59" fmla="*/ 81 h 127"/>
                  <a:gd name="T60" fmla="*/ 134 w 135"/>
                  <a:gd name="T61" fmla="*/ 75 h 127"/>
                  <a:gd name="T62" fmla="*/ 132 w 135"/>
                  <a:gd name="T63" fmla="*/ 71 h 127"/>
                  <a:gd name="T64" fmla="*/ 132 w 135"/>
                  <a:gd name="T65" fmla="*/ 66 h 127"/>
                  <a:gd name="T66" fmla="*/ 132 w 135"/>
                  <a:gd name="T67" fmla="*/ 64 h 127"/>
                  <a:gd name="T68" fmla="*/ 131 w 135"/>
                  <a:gd name="T69" fmla="*/ 61 h 127"/>
                  <a:gd name="T70" fmla="*/ 134 w 135"/>
                  <a:gd name="T71" fmla="*/ 58 h 127"/>
                  <a:gd name="T72" fmla="*/ 135 w 135"/>
                  <a:gd name="T73" fmla="*/ 44 h 127"/>
                  <a:gd name="T74" fmla="*/ 134 w 135"/>
                  <a:gd name="T75" fmla="*/ 26 h 127"/>
                  <a:gd name="T76" fmla="*/ 135 w 135"/>
                  <a:gd name="T77" fmla="*/ 21 h 127"/>
                  <a:gd name="T78" fmla="*/ 134 w 135"/>
                  <a:gd name="T79" fmla="*/ 21 h 127"/>
                  <a:gd name="T80" fmla="*/ 131 w 135"/>
                  <a:gd name="T81" fmla="*/ 19 h 127"/>
                  <a:gd name="T82" fmla="*/ 125 w 135"/>
                  <a:gd name="T83" fmla="*/ 16 h 127"/>
                  <a:gd name="T84" fmla="*/ 118 w 135"/>
                  <a:gd name="T85" fmla="*/ 15 h 127"/>
                  <a:gd name="T86" fmla="*/ 109 w 135"/>
                  <a:gd name="T87" fmla="*/ 10 h 127"/>
                  <a:gd name="T88" fmla="*/ 93 w 135"/>
                  <a:gd name="T89" fmla="*/ 8 h 127"/>
                  <a:gd name="T90" fmla="*/ 91 w 135"/>
                  <a:gd name="T91" fmla="*/ 3 h 127"/>
                  <a:gd name="T92" fmla="*/ 76 w 135"/>
                  <a:gd name="T93"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5" h="127">
                    <a:moveTo>
                      <a:pt x="76" y="0"/>
                    </a:moveTo>
                    <a:lnTo>
                      <a:pt x="69" y="3"/>
                    </a:lnTo>
                    <a:lnTo>
                      <a:pt x="63" y="8"/>
                    </a:lnTo>
                    <a:lnTo>
                      <a:pt x="62" y="10"/>
                    </a:lnTo>
                    <a:lnTo>
                      <a:pt x="62" y="13"/>
                    </a:lnTo>
                    <a:lnTo>
                      <a:pt x="62" y="15"/>
                    </a:lnTo>
                    <a:lnTo>
                      <a:pt x="59" y="18"/>
                    </a:lnTo>
                    <a:lnTo>
                      <a:pt x="49" y="22"/>
                    </a:lnTo>
                    <a:lnTo>
                      <a:pt x="46" y="23"/>
                    </a:lnTo>
                    <a:lnTo>
                      <a:pt x="42" y="29"/>
                    </a:lnTo>
                    <a:lnTo>
                      <a:pt x="37" y="36"/>
                    </a:lnTo>
                    <a:lnTo>
                      <a:pt x="32" y="42"/>
                    </a:lnTo>
                    <a:lnTo>
                      <a:pt x="26" y="45"/>
                    </a:lnTo>
                    <a:lnTo>
                      <a:pt x="25" y="45"/>
                    </a:lnTo>
                    <a:lnTo>
                      <a:pt x="22" y="44"/>
                    </a:lnTo>
                    <a:lnTo>
                      <a:pt x="20" y="44"/>
                    </a:lnTo>
                    <a:lnTo>
                      <a:pt x="19" y="42"/>
                    </a:lnTo>
                    <a:lnTo>
                      <a:pt x="17" y="42"/>
                    </a:lnTo>
                    <a:lnTo>
                      <a:pt x="15" y="44"/>
                    </a:lnTo>
                    <a:lnTo>
                      <a:pt x="13" y="44"/>
                    </a:lnTo>
                    <a:lnTo>
                      <a:pt x="10" y="42"/>
                    </a:lnTo>
                    <a:lnTo>
                      <a:pt x="7" y="41"/>
                    </a:lnTo>
                    <a:lnTo>
                      <a:pt x="6" y="41"/>
                    </a:lnTo>
                    <a:lnTo>
                      <a:pt x="4" y="41"/>
                    </a:lnTo>
                    <a:lnTo>
                      <a:pt x="2" y="41"/>
                    </a:lnTo>
                    <a:lnTo>
                      <a:pt x="0" y="39"/>
                    </a:lnTo>
                    <a:lnTo>
                      <a:pt x="0" y="45"/>
                    </a:lnTo>
                    <a:lnTo>
                      <a:pt x="3" y="51"/>
                    </a:lnTo>
                    <a:lnTo>
                      <a:pt x="10" y="59"/>
                    </a:lnTo>
                    <a:lnTo>
                      <a:pt x="13" y="69"/>
                    </a:lnTo>
                    <a:lnTo>
                      <a:pt x="16" y="72"/>
                    </a:lnTo>
                    <a:lnTo>
                      <a:pt x="17" y="74"/>
                    </a:lnTo>
                    <a:lnTo>
                      <a:pt x="20" y="77"/>
                    </a:lnTo>
                    <a:lnTo>
                      <a:pt x="26" y="79"/>
                    </a:lnTo>
                    <a:lnTo>
                      <a:pt x="32" y="81"/>
                    </a:lnTo>
                    <a:lnTo>
                      <a:pt x="33" y="82"/>
                    </a:lnTo>
                    <a:lnTo>
                      <a:pt x="33" y="84"/>
                    </a:lnTo>
                    <a:lnTo>
                      <a:pt x="35" y="85"/>
                    </a:lnTo>
                    <a:lnTo>
                      <a:pt x="35" y="87"/>
                    </a:lnTo>
                    <a:lnTo>
                      <a:pt x="35" y="88"/>
                    </a:lnTo>
                    <a:lnTo>
                      <a:pt x="36" y="89"/>
                    </a:lnTo>
                    <a:lnTo>
                      <a:pt x="36" y="89"/>
                    </a:lnTo>
                    <a:lnTo>
                      <a:pt x="36" y="89"/>
                    </a:lnTo>
                    <a:lnTo>
                      <a:pt x="37" y="89"/>
                    </a:lnTo>
                    <a:lnTo>
                      <a:pt x="37" y="89"/>
                    </a:lnTo>
                    <a:lnTo>
                      <a:pt x="40" y="89"/>
                    </a:lnTo>
                    <a:lnTo>
                      <a:pt x="40" y="89"/>
                    </a:lnTo>
                    <a:lnTo>
                      <a:pt x="42" y="91"/>
                    </a:lnTo>
                    <a:lnTo>
                      <a:pt x="42" y="91"/>
                    </a:lnTo>
                    <a:lnTo>
                      <a:pt x="42" y="92"/>
                    </a:lnTo>
                    <a:lnTo>
                      <a:pt x="43" y="94"/>
                    </a:lnTo>
                    <a:lnTo>
                      <a:pt x="42" y="97"/>
                    </a:lnTo>
                    <a:lnTo>
                      <a:pt x="42" y="98"/>
                    </a:lnTo>
                    <a:lnTo>
                      <a:pt x="42" y="101"/>
                    </a:lnTo>
                    <a:lnTo>
                      <a:pt x="43" y="101"/>
                    </a:lnTo>
                    <a:lnTo>
                      <a:pt x="48" y="110"/>
                    </a:lnTo>
                    <a:lnTo>
                      <a:pt x="49" y="110"/>
                    </a:lnTo>
                    <a:lnTo>
                      <a:pt x="53" y="111"/>
                    </a:lnTo>
                    <a:lnTo>
                      <a:pt x="60" y="112"/>
                    </a:lnTo>
                    <a:lnTo>
                      <a:pt x="63" y="114"/>
                    </a:lnTo>
                    <a:lnTo>
                      <a:pt x="66" y="115"/>
                    </a:lnTo>
                    <a:lnTo>
                      <a:pt x="66" y="117"/>
                    </a:lnTo>
                    <a:lnTo>
                      <a:pt x="66" y="117"/>
                    </a:lnTo>
                    <a:lnTo>
                      <a:pt x="66" y="118"/>
                    </a:lnTo>
                    <a:lnTo>
                      <a:pt x="66" y="120"/>
                    </a:lnTo>
                    <a:lnTo>
                      <a:pt x="68" y="120"/>
                    </a:lnTo>
                    <a:lnTo>
                      <a:pt x="71" y="121"/>
                    </a:lnTo>
                    <a:lnTo>
                      <a:pt x="72" y="123"/>
                    </a:lnTo>
                    <a:lnTo>
                      <a:pt x="76" y="123"/>
                    </a:lnTo>
                    <a:lnTo>
                      <a:pt x="91" y="125"/>
                    </a:lnTo>
                    <a:lnTo>
                      <a:pt x="98" y="124"/>
                    </a:lnTo>
                    <a:lnTo>
                      <a:pt x="102" y="124"/>
                    </a:lnTo>
                    <a:lnTo>
                      <a:pt x="105" y="127"/>
                    </a:lnTo>
                    <a:lnTo>
                      <a:pt x="109" y="123"/>
                    </a:lnTo>
                    <a:lnTo>
                      <a:pt x="119" y="112"/>
                    </a:lnTo>
                    <a:lnTo>
                      <a:pt x="124" y="107"/>
                    </a:lnTo>
                    <a:lnTo>
                      <a:pt x="125" y="105"/>
                    </a:lnTo>
                    <a:lnTo>
                      <a:pt x="125" y="105"/>
                    </a:lnTo>
                    <a:lnTo>
                      <a:pt x="125" y="104"/>
                    </a:lnTo>
                    <a:lnTo>
                      <a:pt x="125" y="102"/>
                    </a:lnTo>
                    <a:lnTo>
                      <a:pt x="125" y="101"/>
                    </a:lnTo>
                    <a:lnTo>
                      <a:pt x="127" y="98"/>
                    </a:lnTo>
                    <a:lnTo>
                      <a:pt x="127" y="97"/>
                    </a:lnTo>
                    <a:lnTo>
                      <a:pt x="127" y="95"/>
                    </a:lnTo>
                    <a:lnTo>
                      <a:pt x="128" y="94"/>
                    </a:lnTo>
                    <a:lnTo>
                      <a:pt x="131" y="89"/>
                    </a:lnTo>
                    <a:lnTo>
                      <a:pt x="132" y="87"/>
                    </a:lnTo>
                    <a:lnTo>
                      <a:pt x="134" y="85"/>
                    </a:lnTo>
                    <a:lnTo>
                      <a:pt x="135" y="82"/>
                    </a:lnTo>
                    <a:lnTo>
                      <a:pt x="135" y="81"/>
                    </a:lnTo>
                    <a:lnTo>
                      <a:pt x="135" y="79"/>
                    </a:lnTo>
                    <a:lnTo>
                      <a:pt x="135" y="78"/>
                    </a:lnTo>
                    <a:lnTo>
                      <a:pt x="134" y="75"/>
                    </a:lnTo>
                    <a:lnTo>
                      <a:pt x="132" y="74"/>
                    </a:lnTo>
                    <a:lnTo>
                      <a:pt x="132" y="72"/>
                    </a:lnTo>
                    <a:lnTo>
                      <a:pt x="132" y="71"/>
                    </a:lnTo>
                    <a:lnTo>
                      <a:pt x="132" y="69"/>
                    </a:lnTo>
                    <a:lnTo>
                      <a:pt x="132" y="68"/>
                    </a:lnTo>
                    <a:lnTo>
                      <a:pt x="132" y="66"/>
                    </a:lnTo>
                    <a:lnTo>
                      <a:pt x="134" y="65"/>
                    </a:lnTo>
                    <a:lnTo>
                      <a:pt x="132" y="64"/>
                    </a:lnTo>
                    <a:lnTo>
                      <a:pt x="132" y="64"/>
                    </a:lnTo>
                    <a:lnTo>
                      <a:pt x="131" y="62"/>
                    </a:lnTo>
                    <a:lnTo>
                      <a:pt x="131" y="62"/>
                    </a:lnTo>
                    <a:lnTo>
                      <a:pt x="131" y="61"/>
                    </a:lnTo>
                    <a:lnTo>
                      <a:pt x="131" y="59"/>
                    </a:lnTo>
                    <a:lnTo>
                      <a:pt x="132" y="59"/>
                    </a:lnTo>
                    <a:lnTo>
                      <a:pt x="134" y="58"/>
                    </a:lnTo>
                    <a:lnTo>
                      <a:pt x="135" y="54"/>
                    </a:lnTo>
                    <a:lnTo>
                      <a:pt x="135" y="51"/>
                    </a:lnTo>
                    <a:lnTo>
                      <a:pt x="135" y="44"/>
                    </a:lnTo>
                    <a:lnTo>
                      <a:pt x="135" y="33"/>
                    </a:lnTo>
                    <a:lnTo>
                      <a:pt x="135" y="31"/>
                    </a:lnTo>
                    <a:lnTo>
                      <a:pt x="134" y="26"/>
                    </a:lnTo>
                    <a:lnTo>
                      <a:pt x="134" y="23"/>
                    </a:lnTo>
                    <a:lnTo>
                      <a:pt x="134" y="23"/>
                    </a:lnTo>
                    <a:lnTo>
                      <a:pt x="135" y="21"/>
                    </a:lnTo>
                    <a:lnTo>
                      <a:pt x="135" y="21"/>
                    </a:lnTo>
                    <a:lnTo>
                      <a:pt x="134" y="21"/>
                    </a:lnTo>
                    <a:lnTo>
                      <a:pt x="134" y="21"/>
                    </a:lnTo>
                    <a:lnTo>
                      <a:pt x="134" y="21"/>
                    </a:lnTo>
                    <a:lnTo>
                      <a:pt x="132" y="19"/>
                    </a:lnTo>
                    <a:lnTo>
                      <a:pt x="131" y="19"/>
                    </a:lnTo>
                    <a:lnTo>
                      <a:pt x="129" y="18"/>
                    </a:lnTo>
                    <a:lnTo>
                      <a:pt x="128" y="16"/>
                    </a:lnTo>
                    <a:lnTo>
                      <a:pt x="125" y="16"/>
                    </a:lnTo>
                    <a:lnTo>
                      <a:pt x="124" y="16"/>
                    </a:lnTo>
                    <a:lnTo>
                      <a:pt x="119" y="15"/>
                    </a:lnTo>
                    <a:lnTo>
                      <a:pt x="118" y="15"/>
                    </a:lnTo>
                    <a:lnTo>
                      <a:pt x="116" y="13"/>
                    </a:lnTo>
                    <a:lnTo>
                      <a:pt x="115" y="12"/>
                    </a:lnTo>
                    <a:lnTo>
                      <a:pt x="109" y="10"/>
                    </a:lnTo>
                    <a:lnTo>
                      <a:pt x="105" y="8"/>
                    </a:lnTo>
                    <a:lnTo>
                      <a:pt x="102" y="8"/>
                    </a:lnTo>
                    <a:lnTo>
                      <a:pt x="93" y="8"/>
                    </a:lnTo>
                    <a:lnTo>
                      <a:pt x="92" y="6"/>
                    </a:lnTo>
                    <a:lnTo>
                      <a:pt x="91" y="5"/>
                    </a:lnTo>
                    <a:lnTo>
                      <a:pt x="91" y="3"/>
                    </a:lnTo>
                    <a:lnTo>
                      <a:pt x="91" y="0"/>
                    </a:lnTo>
                    <a:lnTo>
                      <a:pt x="83" y="0"/>
                    </a:lnTo>
                    <a:lnTo>
                      <a:pt x="76"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90" name="Freeform 177">
                <a:extLst>
                  <a:ext uri="{FF2B5EF4-FFF2-40B4-BE49-F238E27FC236}">
                    <a16:creationId xmlns:a16="http://schemas.microsoft.com/office/drawing/2014/main" id="{A27528D1-B476-1B49-3769-51CFF9F2C2EA}"/>
                  </a:ext>
                </a:extLst>
              </p:cNvPr>
              <p:cNvSpPr>
                <a:spLocks/>
              </p:cNvSpPr>
              <p:nvPr/>
            </p:nvSpPr>
            <p:spPr bwMode="auto">
              <a:xfrm>
                <a:off x="3933" y="2863"/>
                <a:ext cx="206" cy="178"/>
              </a:xfrm>
              <a:custGeom>
                <a:avLst/>
                <a:gdLst>
                  <a:gd name="T0" fmla="*/ 119 w 206"/>
                  <a:gd name="T1" fmla="*/ 13 h 178"/>
                  <a:gd name="T2" fmla="*/ 114 w 206"/>
                  <a:gd name="T3" fmla="*/ 18 h 178"/>
                  <a:gd name="T4" fmla="*/ 118 w 206"/>
                  <a:gd name="T5" fmla="*/ 28 h 178"/>
                  <a:gd name="T6" fmla="*/ 114 w 206"/>
                  <a:gd name="T7" fmla="*/ 57 h 178"/>
                  <a:gd name="T8" fmla="*/ 119 w 206"/>
                  <a:gd name="T9" fmla="*/ 69 h 178"/>
                  <a:gd name="T10" fmla="*/ 131 w 206"/>
                  <a:gd name="T11" fmla="*/ 74 h 178"/>
                  <a:gd name="T12" fmla="*/ 134 w 206"/>
                  <a:gd name="T13" fmla="*/ 72 h 178"/>
                  <a:gd name="T14" fmla="*/ 138 w 206"/>
                  <a:gd name="T15" fmla="*/ 70 h 178"/>
                  <a:gd name="T16" fmla="*/ 137 w 206"/>
                  <a:gd name="T17" fmla="*/ 93 h 178"/>
                  <a:gd name="T18" fmla="*/ 130 w 206"/>
                  <a:gd name="T19" fmla="*/ 92 h 178"/>
                  <a:gd name="T20" fmla="*/ 121 w 206"/>
                  <a:gd name="T21" fmla="*/ 86 h 178"/>
                  <a:gd name="T22" fmla="*/ 115 w 206"/>
                  <a:gd name="T23" fmla="*/ 80 h 178"/>
                  <a:gd name="T24" fmla="*/ 111 w 206"/>
                  <a:gd name="T25" fmla="*/ 74 h 178"/>
                  <a:gd name="T26" fmla="*/ 98 w 206"/>
                  <a:gd name="T27" fmla="*/ 67 h 178"/>
                  <a:gd name="T28" fmla="*/ 94 w 206"/>
                  <a:gd name="T29" fmla="*/ 63 h 178"/>
                  <a:gd name="T30" fmla="*/ 91 w 206"/>
                  <a:gd name="T31" fmla="*/ 60 h 178"/>
                  <a:gd name="T32" fmla="*/ 86 w 206"/>
                  <a:gd name="T33" fmla="*/ 66 h 178"/>
                  <a:gd name="T34" fmla="*/ 72 w 206"/>
                  <a:gd name="T35" fmla="*/ 66 h 178"/>
                  <a:gd name="T36" fmla="*/ 61 w 206"/>
                  <a:gd name="T37" fmla="*/ 60 h 178"/>
                  <a:gd name="T38" fmla="*/ 59 w 206"/>
                  <a:gd name="T39" fmla="*/ 54 h 178"/>
                  <a:gd name="T40" fmla="*/ 49 w 206"/>
                  <a:gd name="T41" fmla="*/ 56 h 178"/>
                  <a:gd name="T42" fmla="*/ 43 w 206"/>
                  <a:gd name="T43" fmla="*/ 53 h 178"/>
                  <a:gd name="T44" fmla="*/ 40 w 206"/>
                  <a:gd name="T45" fmla="*/ 50 h 178"/>
                  <a:gd name="T46" fmla="*/ 36 w 206"/>
                  <a:gd name="T47" fmla="*/ 47 h 178"/>
                  <a:gd name="T48" fmla="*/ 36 w 206"/>
                  <a:gd name="T49" fmla="*/ 73 h 178"/>
                  <a:gd name="T50" fmla="*/ 36 w 206"/>
                  <a:gd name="T51" fmla="*/ 83 h 178"/>
                  <a:gd name="T52" fmla="*/ 0 w 206"/>
                  <a:gd name="T53" fmla="*/ 86 h 178"/>
                  <a:gd name="T54" fmla="*/ 3 w 206"/>
                  <a:gd name="T55" fmla="*/ 148 h 178"/>
                  <a:gd name="T56" fmla="*/ 43 w 206"/>
                  <a:gd name="T57" fmla="*/ 168 h 178"/>
                  <a:gd name="T58" fmla="*/ 63 w 206"/>
                  <a:gd name="T59" fmla="*/ 174 h 178"/>
                  <a:gd name="T60" fmla="*/ 72 w 206"/>
                  <a:gd name="T61" fmla="*/ 177 h 178"/>
                  <a:gd name="T62" fmla="*/ 79 w 206"/>
                  <a:gd name="T63" fmla="*/ 177 h 178"/>
                  <a:gd name="T64" fmla="*/ 91 w 206"/>
                  <a:gd name="T65" fmla="*/ 175 h 178"/>
                  <a:gd name="T66" fmla="*/ 108 w 206"/>
                  <a:gd name="T67" fmla="*/ 155 h 178"/>
                  <a:gd name="T68" fmla="*/ 121 w 206"/>
                  <a:gd name="T69" fmla="*/ 143 h 178"/>
                  <a:gd name="T70" fmla="*/ 142 w 206"/>
                  <a:gd name="T71" fmla="*/ 133 h 178"/>
                  <a:gd name="T72" fmla="*/ 147 w 206"/>
                  <a:gd name="T73" fmla="*/ 123 h 178"/>
                  <a:gd name="T74" fmla="*/ 198 w 206"/>
                  <a:gd name="T75" fmla="*/ 103 h 178"/>
                  <a:gd name="T76" fmla="*/ 194 w 206"/>
                  <a:gd name="T77" fmla="*/ 103 h 178"/>
                  <a:gd name="T78" fmla="*/ 191 w 206"/>
                  <a:gd name="T79" fmla="*/ 97 h 178"/>
                  <a:gd name="T80" fmla="*/ 191 w 206"/>
                  <a:gd name="T81" fmla="*/ 95 h 178"/>
                  <a:gd name="T82" fmla="*/ 194 w 206"/>
                  <a:gd name="T83" fmla="*/ 82 h 178"/>
                  <a:gd name="T84" fmla="*/ 201 w 206"/>
                  <a:gd name="T85" fmla="*/ 76 h 178"/>
                  <a:gd name="T86" fmla="*/ 200 w 206"/>
                  <a:gd name="T87" fmla="*/ 72 h 178"/>
                  <a:gd name="T88" fmla="*/ 198 w 206"/>
                  <a:gd name="T89" fmla="*/ 59 h 178"/>
                  <a:gd name="T90" fmla="*/ 201 w 206"/>
                  <a:gd name="T91" fmla="*/ 53 h 178"/>
                  <a:gd name="T92" fmla="*/ 200 w 206"/>
                  <a:gd name="T93" fmla="*/ 47 h 178"/>
                  <a:gd name="T94" fmla="*/ 206 w 206"/>
                  <a:gd name="T95" fmla="*/ 40 h 178"/>
                  <a:gd name="T96" fmla="*/ 201 w 206"/>
                  <a:gd name="T97" fmla="*/ 33 h 178"/>
                  <a:gd name="T98" fmla="*/ 200 w 206"/>
                  <a:gd name="T99" fmla="*/ 28 h 178"/>
                  <a:gd name="T100" fmla="*/ 196 w 206"/>
                  <a:gd name="T101" fmla="*/ 24 h 178"/>
                  <a:gd name="T102" fmla="*/ 193 w 206"/>
                  <a:gd name="T103" fmla="*/ 21 h 178"/>
                  <a:gd name="T104" fmla="*/ 177 w 206"/>
                  <a:gd name="T105" fmla="*/ 14 h 178"/>
                  <a:gd name="T106" fmla="*/ 168 w 206"/>
                  <a:gd name="T107" fmla="*/ 10 h 178"/>
                  <a:gd name="T108" fmla="*/ 167 w 206"/>
                  <a:gd name="T109" fmla="*/ 7 h 178"/>
                  <a:gd name="T110" fmla="*/ 161 w 206"/>
                  <a:gd name="T111" fmla="*/ 5 h 178"/>
                  <a:gd name="T112" fmla="*/ 131 w 206"/>
                  <a:gd name="T113" fmla="*/ 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6" h="178">
                    <a:moveTo>
                      <a:pt x="122" y="4"/>
                    </a:moveTo>
                    <a:lnTo>
                      <a:pt x="124" y="7"/>
                    </a:lnTo>
                    <a:lnTo>
                      <a:pt x="122" y="10"/>
                    </a:lnTo>
                    <a:lnTo>
                      <a:pt x="119" y="13"/>
                    </a:lnTo>
                    <a:lnTo>
                      <a:pt x="118" y="16"/>
                    </a:lnTo>
                    <a:lnTo>
                      <a:pt x="115" y="17"/>
                    </a:lnTo>
                    <a:lnTo>
                      <a:pt x="114" y="17"/>
                    </a:lnTo>
                    <a:lnTo>
                      <a:pt x="114" y="18"/>
                    </a:lnTo>
                    <a:lnTo>
                      <a:pt x="114" y="20"/>
                    </a:lnTo>
                    <a:lnTo>
                      <a:pt x="117" y="24"/>
                    </a:lnTo>
                    <a:lnTo>
                      <a:pt x="118" y="26"/>
                    </a:lnTo>
                    <a:lnTo>
                      <a:pt x="118" y="28"/>
                    </a:lnTo>
                    <a:lnTo>
                      <a:pt x="118" y="41"/>
                    </a:lnTo>
                    <a:lnTo>
                      <a:pt x="117" y="46"/>
                    </a:lnTo>
                    <a:lnTo>
                      <a:pt x="114" y="54"/>
                    </a:lnTo>
                    <a:lnTo>
                      <a:pt x="114" y="57"/>
                    </a:lnTo>
                    <a:lnTo>
                      <a:pt x="114" y="60"/>
                    </a:lnTo>
                    <a:lnTo>
                      <a:pt x="115" y="63"/>
                    </a:lnTo>
                    <a:lnTo>
                      <a:pt x="117" y="66"/>
                    </a:lnTo>
                    <a:lnTo>
                      <a:pt x="119" y="69"/>
                    </a:lnTo>
                    <a:lnTo>
                      <a:pt x="124" y="72"/>
                    </a:lnTo>
                    <a:lnTo>
                      <a:pt x="127" y="73"/>
                    </a:lnTo>
                    <a:lnTo>
                      <a:pt x="128" y="74"/>
                    </a:lnTo>
                    <a:lnTo>
                      <a:pt x="131" y="74"/>
                    </a:lnTo>
                    <a:lnTo>
                      <a:pt x="134" y="74"/>
                    </a:lnTo>
                    <a:lnTo>
                      <a:pt x="134" y="74"/>
                    </a:lnTo>
                    <a:lnTo>
                      <a:pt x="134" y="73"/>
                    </a:lnTo>
                    <a:lnTo>
                      <a:pt x="134" y="72"/>
                    </a:lnTo>
                    <a:lnTo>
                      <a:pt x="134" y="72"/>
                    </a:lnTo>
                    <a:lnTo>
                      <a:pt x="135" y="70"/>
                    </a:lnTo>
                    <a:lnTo>
                      <a:pt x="137" y="70"/>
                    </a:lnTo>
                    <a:lnTo>
                      <a:pt x="138" y="70"/>
                    </a:lnTo>
                    <a:lnTo>
                      <a:pt x="140" y="90"/>
                    </a:lnTo>
                    <a:lnTo>
                      <a:pt x="138" y="93"/>
                    </a:lnTo>
                    <a:lnTo>
                      <a:pt x="137" y="93"/>
                    </a:lnTo>
                    <a:lnTo>
                      <a:pt x="137" y="93"/>
                    </a:lnTo>
                    <a:lnTo>
                      <a:pt x="135" y="92"/>
                    </a:lnTo>
                    <a:lnTo>
                      <a:pt x="135" y="90"/>
                    </a:lnTo>
                    <a:lnTo>
                      <a:pt x="132" y="90"/>
                    </a:lnTo>
                    <a:lnTo>
                      <a:pt x="130" y="92"/>
                    </a:lnTo>
                    <a:lnTo>
                      <a:pt x="127" y="93"/>
                    </a:lnTo>
                    <a:lnTo>
                      <a:pt x="125" y="92"/>
                    </a:lnTo>
                    <a:lnTo>
                      <a:pt x="124" y="90"/>
                    </a:lnTo>
                    <a:lnTo>
                      <a:pt x="121" y="86"/>
                    </a:lnTo>
                    <a:lnTo>
                      <a:pt x="119" y="85"/>
                    </a:lnTo>
                    <a:lnTo>
                      <a:pt x="117" y="83"/>
                    </a:lnTo>
                    <a:lnTo>
                      <a:pt x="117" y="82"/>
                    </a:lnTo>
                    <a:lnTo>
                      <a:pt x="115" y="80"/>
                    </a:lnTo>
                    <a:lnTo>
                      <a:pt x="115" y="79"/>
                    </a:lnTo>
                    <a:lnTo>
                      <a:pt x="114" y="77"/>
                    </a:lnTo>
                    <a:lnTo>
                      <a:pt x="112" y="76"/>
                    </a:lnTo>
                    <a:lnTo>
                      <a:pt x="111" y="74"/>
                    </a:lnTo>
                    <a:lnTo>
                      <a:pt x="101" y="72"/>
                    </a:lnTo>
                    <a:lnTo>
                      <a:pt x="99" y="72"/>
                    </a:lnTo>
                    <a:lnTo>
                      <a:pt x="99" y="70"/>
                    </a:lnTo>
                    <a:lnTo>
                      <a:pt x="98" y="67"/>
                    </a:lnTo>
                    <a:lnTo>
                      <a:pt x="96" y="66"/>
                    </a:lnTo>
                    <a:lnTo>
                      <a:pt x="95" y="64"/>
                    </a:lnTo>
                    <a:lnTo>
                      <a:pt x="94" y="64"/>
                    </a:lnTo>
                    <a:lnTo>
                      <a:pt x="94" y="63"/>
                    </a:lnTo>
                    <a:lnTo>
                      <a:pt x="94" y="62"/>
                    </a:lnTo>
                    <a:lnTo>
                      <a:pt x="92" y="60"/>
                    </a:lnTo>
                    <a:lnTo>
                      <a:pt x="92" y="60"/>
                    </a:lnTo>
                    <a:lnTo>
                      <a:pt x="91" y="60"/>
                    </a:lnTo>
                    <a:lnTo>
                      <a:pt x="89" y="62"/>
                    </a:lnTo>
                    <a:lnTo>
                      <a:pt x="89" y="64"/>
                    </a:lnTo>
                    <a:lnTo>
                      <a:pt x="88" y="66"/>
                    </a:lnTo>
                    <a:lnTo>
                      <a:pt x="86" y="66"/>
                    </a:lnTo>
                    <a:lnTo>
                      <a:pt x="85" y="67"/>
                    </a:lnTo>
                    <a:lnTo>
                      <a:pt x="84" y="67"/>
                    </a:lnTo>
                    <a:lnTo>
                      <a:pt x="82" y="67"/>
                    </a:lnTo>
                    <a:lnTo>
                      <a:pt x="72" y="66"/>
                    </a:lnTo>
                    <a:lnTo>
                      <a:pt x="68" y="64"/>
                    </a:lnTo>
                    <a:lnTo>
                      <a:pt x="63" y="63"/>
                    </a:lnTo>
                    <a:lnTo>
                      <a:pt x="62" y="62"/>
                    </a:lnTo>
                    <a:lnTo>
                      <a:pt x="61" y="60"/>
                    </a:lnTo>
                    <a:lnTo>
                      <a:pt x="59" y="59"/>
                    </a:lnTo>
                    <a:lnTo>
                      <a:pt x="59" y="57"/>
                    </a:lnTo>
                    <a:lnTo>
                      <a:pt x="59" y="54"/>
                    </a:lnTo>
                    <a:lnTo>
                      <a:pt x="59" y="54"/>
                    </a:lnTo>
                    <a:lnTo>
                      <a:pt x="59" y="54"/>
                    </a:lnTo>
                    <a:lnTo>
                      <a:pt x="58" y="54"/>
                    </a:lnTo>
                    <a:lnTo>
                      <a:pt x="53" y="54"/>
                    </a:lnTo>
                    <a:lnTo>
                      <a:pt x="49" y="56"/>
                    </a:lnTo>
                    <a:lnTo>
                      <a:pt x="45" y="57"/>
                    </a:lnTo>
                    <a:lnTo>
                      <a:pt x="42" y="56"/>
                    </a:lnTo>
                    <a:lnTo>
                      <a:pt x="43" y="54"/>
                    </a:lnTo>
                    <a:lnTo>
                      <a:pt x="43" y="53"/>
                    </a:lnTo>
                    <a:lnTo>
                      <a:pt x="43" y="53"/>
                    </a:lnTo>
                    <a:lnTo>
                      <a:pt x="42" y="51"/>
                    </a:lnTo>
                    <a:lnTo>
                      <a:pt x="42" y="51"/>
                    </a:lnTo>
                    <a:lnTo>
                      <a:pt x="40" y="50"/>
                    </a:lnTo>
                    <a:lnTo>
                      <a:pt x="40" y="50"/>
                    </a:lnTo>
                    <a:lnTo>
                      <a:pt x="39" y="49"/>
                    </a:lnTo>
                    <a:lnTo>
                      <a:pt x="38" y="47"/>
                    </a:lnTo>
                    <a:lnTo>
                      <a:pt x="36" y="47"/>
                    </a:lnTo>
                    <a:lnTo>
                      <a:pt x="36" y="51"/>
                    </a:lnTo>
                    <a:lnTo>
                      <a:pt x="36" y="54"/>
                    </a:lnTo>
                    <a:lnTo>
                      <a:pt x="36" y="66"/>
                    </a:lnTo>
                    <a:lnTo>
                      <a:pt x="36" y="73"/>
                    </a:lnTo>
                    <a:lnTo>
                      <a:pt x="35" y="77"/>
                    </a:lnTo>
                    <a:lnTo>
                      <a:pt x="35" y="80"/>
                    </a:lnTo>
                    <a:lnTo>
                      <a:pt x="35" y="82"/>
                    </a:lnTo>
                    <a:lnTo>
                      <a:pt x="36" y="83"/>
                    </a:lnTo>
                    <a:lnTo>
                      <a:pt x="35" y="85"/>
                    </a:lnTo>
                    <a:lnTo>
                      <a:pt x="33" y="86"/>
                    </a:lnTo>
                    <a:lnTo>
                      <a:pt x="32" y="86"/>
                    </a:lnTo>
                    <a:lnTo>
                      <a:pt x="0" y="86"/>
                    </a:lnTo>
                    <a:lnTo>
                      <a:pt x="2" y="139"/>
                    </a:lnTo>
                    <a:lnTo>
                      <a:pt x="2" y="142"/>
                    </a:lnTo>
                    <a:lnTo>
                      <a:pt x="2" y="145"/>
                    </a:lnTo>
                    <a:lnTo>
                      <a:pt x="3" y="148"/>
                    </a:lnTo>
                    <a:lnTo>
                      <a:pt x="5" y="151"/>
                    </a:lnTo>
                    <a:lnTo>
                      <a:pt x="26" y="171"/>
                    </a:lnTo>
                    <a:lnTo>
                      <a:pt x="35" y="168"/>
                    </a:lnTo>
                    <a:lnTo>
                      <a:pt x="43" y="168"/>
                    </a:lnTo>
                    <a:lnTo>
                      <a:pt x="52" y="168"/>
                    </a:lnTo>
                    <a:lnTo>
                      <a:pt x="59" y="172"/>
                    </a:lnTo>
                    <a:lnTo>
                      <a:pt x="61" y="174"/>
                    </a:lnTo>
                    <a:lnTo>
                      <a:pt x="63" y="174"/>
                    </a:lnTo>
                    <a:lnTo>
                      <a:pt x="65" y="174"/>
                    </a:lnTo>
                    <a:lnTo>
                      <a:pt x="66" y="174"/>
                    </a:lnTo>
                    <a:lnTo>
                      <a:pt x="69" y="175"/>
                    </a:lnTo>
                    <a:lnTo>
                      <a:pt x="72" y="177"/>
                    </a:lnTo>
                    <a:lnTo>
                      <a:pt x="74" y="177"/>
                    </a:lnTo>
                    <a:lnTo>
                      <a:pt x="76" y="175"/>
                    </a:lnTo>
                    <a:lnTo>
                      <a:pt x="78" y="175"/>
                    </a:lnTo>
                    <a:lnTo>
                      <a:pt x="79" y="177"/>
                    </a:lnTo>
                    <a:lnTo>
                      <a:pt x="81" y="177"/>
                    </a:lnTo>
                    <a:lnTo>
                      <a:pt x="84" y="178"/>
                    </a:lnTo>
                    <a:lnTo>
                      <a:pt x="85" y="178"/>
                    </a:lnTo>
                    <a:lnTo>
                      <a:pt x="91" y="175"/>
                    </a:lnTo>
                    <a:lnTo>
                      <a:pt x="96" y="169"/>
                    </a:lnTo>
                    <a:lnTo>
                      <a:pt x="101" y="162"/>
                    </a:lnTo>
                    <a:lnTo>
                      <a:pt x="105" y="156"/>
                    </a:lnTo>
                    <a:lnTo>
                      <a:pt x="108" y="155"/>
                    </a:lnTo>
                    <a:lnTo>
                      <a:pt x="118" y="151"/>
                    </a:lnTo>
                    <a:lnTo>
                      <a:pt x="121" y="148"/>
                    </a:lnTo>
                    <a:lnTo>
                      <a:pt x="121" y="146"/>
                    </a:lnTo>
                    <a:lnTo>
                      <a:pt x="121" y="143"/>
                    </a:lnTo>
                    <a:lnTo>
                      <a:pt x="122" y="141"/>
                    </a:lnTo>
                    <a:lnTo>
                      <a:pt x="128" y="136"/>
                    </a:lnTo>
                    <a:lnTo>
                      <a:pt x="135" y="133"/>
                    </a:lnTo>
                    <a:lnTo>
                      <a:pt x="142" y="133"/>
                    </a:lnTo>
                    <a:lnTo>
                      <a:pt x="150" y="133"/>
                    </a:lnTo>
                    <a:lnTo>
                      <a:pt x="148" y="131"/>
                    </a:lnTo>
                    <a:lnTo>
                      <a:pt x="147" y="125"/>
                    </a:lnTo>
                    <a:lnTo>
                      <a:pt x="147" y="123"/>
                    </a:lnTo>
                    <a:lnTo>
                      <a:pt x="147" y="122"/>
                    </a:lnTo>
                    <a:lnTo>
                      <a:pt x="147" y="120"/>
                    </a:lnTo>
                    <a:lnTo>
                      <a:pt x="150" y="120"/>
                    </a:lnTo>
                    <a:lnTo>
                      <a:pt x="198" y="103"/>
                    </a:lnTo>
                    <a:lnTo>
                      <a:pt x="197" y="103"/>
                    </a:lnTo>
                    <a:lnTo>
                      <a:pt x="197" y="103"/>
                    </a:lnTo>
                    <a:lnTo>
                      <a:pt x="196" y="103"/>
                    </a:lnTo>
                    <a:lnTo>
                      <a:pt x="194" y="103"/>
                    </a:lnTo>
                    <a:lnTo>
                      <a:pt x="194" y="103"/>
                    </a:lnTo>
                    <a:lnTo>
                      <a:pt x="191" y="100"/>
                    </a:lnTo>
                    <a:lnTo>
                      <a:pt x="191" y="99"/>
                    </a:lnTo>
                    <a:lnTo>
                      <a:pt x="191" y="97"/>
                    </a:lnTo>
                    <a:lnTo>
                      <a:pt x="191" y="97"/>
                    </a:lnTo>
                    <a:lnTo>
                      <a:pt x="190" y="96"/>
                    </a:lnTo>
                    <a:lnTo>
                      <a:pt x="188" y="96"/>
                    </a:lnTo>
                    <a:lnTo>
                      <a:pt x="191" y="95"/>
                    </a:lnTo>
                    <a:lnTo>
                      <a:pt x="194" y="90"/>
                    </a:lnTo>
                    <a:lnTo>
                      <a:pt x="194" y="87"/>
                    </a:lnTo>
                    <a:lnTo>
                      <a:pt x="194" y="83"/>
                    </a:lnTo>
                    <a:lnTo>
                      <a:pt x="194" y="82"/>
                    </a:lnTo>
                    <a:lnTo>
                      <a:pt x="194" y="80"/>
                    </a:lnTo>
                    <a:lnTo>
                      <a:pt x="196" y="79"/>
                    </a:lnTo>
                    <a:lnTo>
                      <a:pt x="198" y="77"/>
                    </a:lnTo>
                    <a:lnTo>
                      <a:pt x="201" y="76"/>
                    </a:lnTo>
                    <a:lnTo>
                      <a:pt x="203" y="76"/>
                    </a:lnTo>
                    <a:lnTo>
                      <a:pt x="204" y="73"/>
                    </a:lnTo>
                    <a:lnTo>
                      <a:pt x="201" y="73"/>
                    </a:lnTo>
                    <a:lnTo>
                      <a:pt x="200" y="72"/>
                    </a:lnTo>
                    <a:lnTo>
                      <a:pt x="200" y="69"/>
                    </a:lnTo>
                    <a:lnTo>
                      <a:pt x="200" y="66"/>
                    </a:lnTo>
                    <a:lnTo>
                      <a:pt x="200" y="63"/>
                    </a:lnTo>
                    <a:lnTo>
                      <a:pt x="198" y="59"/>
                    </a:lnTo>
                    <a:lnTo>
                      <a:pt x="198" y="57"/>
                    </a:lnTo>
                    <a:lnTo>
                      <a:pt x="200" y="56"/>
                    </a:lnTo>
                    <a:lnTo>
                      <a:pt x="201" y="54"/>
                    </a:lnTo>
                    <a:lnTo>
                      <a:pt x="201" y="53"/>
                    </a:lnTo>
                    <a:lnTo>
                      <a:pt x="201" y="51"/>
                    </a:lnTo>
                    <a:lnTo>
                      <a:pt x="200" y="50"/>
                    </a:lnTo>
                    <a:lnTo>
                      <a:pt x="200" y="49"/>
                    </a:lnTo>
                    <a:lnTo>
                      <a:pt x="200" y="47"/>
                    </a:lnTo>
                    <a:lnTo>
                      <a:pt x="204" y="44"/>
                    </a:lnTo>
                    <a:lnTo>
                      <a:pt x="206" y="43"/>
                    </a:lnTo>
                    <a:lnTo>
                      <a:pt x="206" y="41"/>
                    </a:lnTo>
                    <a:lnTo>
                      <a:pt x="206" y="40"/>
                    </a:lnTo>
                    <a:lnTo>
                      <a:pt x="206" y="37"/>
                    </a:lnTo>
                    <a:lnTo>
                      <a:pt x="204" y="36"/>
                    </a:lnTo>
                    <a:lnTo>
                      <a:pt x="203" y="34"/>
                    </a:lnTo>
                    <a:lnTo>
                      <a:pt x="201" y="33"/>
                    </a:lnTo>
                    <a:lnTo>
                      <a:pt x="201" y="33"/>
                    </a:lnTo>
                    <a:lnTo>
                      <a:pt x="200" y="31"/>
                    </a:lnTo>
                    <a:lnTo>
                      <a:pt x="200" y="30"/>
                    </a:lnTo>
                    <a:lnTo>
                      <a:pt x="200" y="28"/>
                    </a:lnTo>
                    <a:lnTo>
                      <a:pt x="198" y="24"/>
                    </a:lnTo>
                    <a:lnTo>
                      <a:pt x="197" y="24"/>
                    </a:lnTo>
                    <a:lnTo>
                      <a:pt x="197" y="24"/>
                    </a:lnTo>
                    <a:lnTo>
                      <a:pt x="196" y="24"/>
                    </a:lnTo>
                    <a:lnTo>
                      <a:pt x="196" y="26"/>
                    </a:lnTo>
                    <a:lnTo>
                      <a:pt x="196" y="24"/>
                    </a:lnTo>
                    <a:lnTo>
                      <a:pt x="194" y="23"/>
                    </a:lnTo>
                    <a:lnTo>
                      <a:pt x="193" y="21"/>
                    </a:lnTo>
                    <a:lnTo>
                      <a:pt x="190" y="20"/>
                    </a:lnTo>
                    <a:lnTo>
                      <a:pt x="184" y="17"/>
                    </a:lnTo>
                    <a:lnTo>
                      <a:pt x="178" y="16"/>
                    </a:lnTo>
                    <a:lnTo>
                      <a:pt x="177" y="14"/>
                    </a:lnTo>
                    <a:lnTo>
                      <a:pt x="173" y="11"/>
                    </a:lnTo>
                    <a:lnTo>
                      <a:pt x="170" y="11"/>
                    </a:lnTo>
                    <a:lnTo>
                      <a:pt x="170" y="10"/>
                    </a:lnTo>
                    <a:lnTo>
                      <a:pt x="168" y="10"/>
                    </a:lnTo>
                    <a:lnTo>
                      <a:pt x="168" y="8"/>
                    </a:lnTo>
                    <a:lnTo>
                      <a:pt x="168" y="8"/>
                    </a:lnTo>
                    <a:lnTo>
                      <a:pt x="167" y="7"/>
                    </a:lnTo>
                    <a:lnTo>
                      <a:pt x="167" y="7"/>
                    </a:lnTo>
                    <a:lnTo>
                      <a:pt x="165" y="7"/>
                    </a:lnTo>
                    <a:lnTo>
                      <a:pt x="165" y="7"/>
                    </a:lnTo>
                    <a:lnTo>
                      <a:pt x="164" y="7"/>
                    </a:lnTo>
                    <a:lnTo>
                      <a:pt x="161" y="5"/>
                    </a:lnTo>
                    <a:lnTo>
                      <a:pt x="158" y="4"/>
                    </a:lnTo>
                    <a:lnTo>
                      <a:pt x="157" y="3"/>
                    </a:lnTo>
                    <a:lnTo>
                      <a:pt x="155" y="0"/>
                    </a:lnTo>
                    <a:lnTo>
                      <a:pt x="131" y="3"/>
                    </a:lnTo>
                    <a:lnTo>
                      <a:pt x="122" y="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91" name="Freeform 178">
                <a:extLst>
                  <a:ext uri="{FF2B5EF4-FFF2-40B4-BE49-F238E27FC236}">
                    <a16:creationId xmlns:a16="http://schemas.microsoft.com/office/drawing/2014/main" id="{F563E061-14DA-1986-2EDB-0CDD01BF5090}"/>
                  </a:ext>
                </a:extLst>
              </p:cNvPr>
              <p:cNvSpPr>
                <a:spLocks/>
              </p:cNvSpPr>
              <p:nvPr/>
            </p:nvSpPr>
            <p:spPr bwMode="auto">
              <a:xfrm>
                <a:off x="3754" y="3021"/>
                <a:ext cx="238" cy="228"/>
              </a:xfrm>
              <a:custGeom>
                <a:avLst/>
                <a:gdLst>
                  <a:gd name="T0" fmla="*/ 89 w 238"/>
                  <a:gd name="T1" fmla="*/ 218 h 228"/>
                  <a:gd name="T2" fmla="*/ 92 w 238"/>
                  <a:gd name="T3" fmla="*/ 211 h 228"/>
                  <a:gd name="T4" fmla="*/ 96 w 238"/>
                  <a:gd name="T5" fmla="*/ 213 h 228"/>
                  <a:gd name="T6" fmla="*/ 99 w 238"/>
                  <a:gd name="T7" fmla="*/ 217 h 228"/>
                  <a:gd name="T8" fmla="*/ 99 w 238"/>
                  <a:gd name="T9" fmla="*/ 218 h 228"/>
                  <a:gd name="T10" fmla="*/ 99 w 238"/>
                  <a:gd name="T11" fmla="*/ 221 h 228"/>
                  <a:gd name="T12" fmla="*/ 100 w 238"/>
                  <a:gd name="T13" fmla="*/ 224 h 228"/>
                  <a:gd name="T14" fmla="*/ 103 w 238"/>
                  <a:gd name="T15" fmla="*/ 224 h 228"/>
                  <a:gd name="T16" fmla="*/ 130 w 238"/>
                  <a:gd name="T17" fmla="*/ 228 h 228"/>
                  <a:gd name="T18" fmla="*/ 132 w 238"/>
                  <a:gd name="T19" fmla="*/ 227 h 228"/>
                  <a:gd name="T20" fmla="*/ 136 w 238"/>
                  <a:gd name="T21" fmla="*/ 223 h 228"/>
                  <a:gd name="T22" fmla="*/ 142 w 238"/>
                  <a:gd name="T23" fmla="*/ 220 h 228"/>
                  <a:gd name="T24" fmla="*/ 145 w 238"/>
                  <a:gd name="T25" fmla="*/ 146 h 228"/>
                  <a:gd name="T26" fmla="*/ 162 w 238"/>
                  <a:gd name="T27" fmla="*/ 93 h 228"/>
                  <a:gd name="T28" fmla="*/ 162 w 238"/>
                  <a:gd name="T29" fmla="*/ 24 h 228"/>
                  <a:gd name="T30" fmla="*/ 172 w 238"/>
                  <a:gd name="T31" fmla="*/ 24 h 228"/>
                  <a:gd name="T32" fmla="*/ 201 w 238"/>
                  <a:gd name="T33" fmla="*/ 19 h 228"/>
                  <a:gd name="T34" fmla="*/ 207 w 238"/>
                  <a:gd name="T35" fmla="*/ 23 h 228"/>
                  <a:gd name="T36" fmla="*/ 209 w 238"/>
                  <a:gd name="T37" fmla="*/ 27 h 228"/>
                  <a:gd name="T38" fmla="*/ 215 w 238"/>
                  <a:gd name="T39" fmla="*/ 23 h 228"/>
                  <a:gd name="T40" fmla="*/ 219 w 238"/>
                  <a:gd name="T41" fmla="*/ 20 h 228"/>
                  <a:gd name="T42" fmla="*/ 224 w 238"/>
                  <a:gd name="T43" fmla="*/ 19 h 228"/>
                  <a:gd name="T44" fmla="*/ 225 w 238"/>
                  <a:gd name="T45" fmla="*/ 19 h 228"/>
                  <a:gd name="T46" fmla="*/ 227 w 238"/>
                  <a:gd name="T47" fmla="*/ 19 h 228"/>
                  <a:gd name="T48" fmla="*/ 230 w 238"/>
                  <a:gd name="T49" fmla="*/ 16 h 228"/>
                  <a:gd name="T50" fmla="*/ 234 w 238"/>
                  <a:gd name="T51" fmla="*/ 16 h 228"/>
                  <a:gd name="T52" fmla="*/ 238 w 238"/>
                  <a:gd name="T53" fmla="*/ 14 h 228"/>
                  <a:gd name="T54" fmla="*/ 222 w 238"/>
                  <a:gd name="T55" fmla="*/ 10 h 228"/>
                  <a:gd name="T56" fmla="*/ 205 w 238"/>
                  <a:gd name="T57" fmla="*/ 13 h 228"/>
                  <a:gd name="T58" fmla="*/ 158 w 238"/>
                  <a:gd name="T59" fmla="*/ 19 h 228"/>
                  <a:gd name="T60" fmla="*/ 126 w 238"/>
                  <a:gd name="T61" fmla="*/ 16 h 228"/>
                  <a:gd name="T62" fmla="*/ 122 w 238"/>
                  <a:gd name="T63" fmla="*/ 13 h 228"/>
                  <a:gd name="T64" fmla="*/ 118 w 238"/>
                  <a:gd name="T65" fmla="*/ 8 h 228"/>
                  <a:gd name="T66" fmla="*/ 47 w 238"/>
                  <a:gd name="T67" fmla="*/ 7 h 228"/>
                  <a:gd name="T68" fmla="*/ 36 w 238"/>
                  <a:gd name="T69" fmla="*/ 6 h 228"/>
                  <a:gd name="T70" fmla="*/ 28 w 238"/>
                  <a:gd name="T71" fmla="*/ 1 h 228"/>
                  <a:gd name="T72" fmla="*/ 18 w 238"/>
                  <a:gd name="T73" fmla="*/ 1 h 228"/>
                  <a:gd name="T74" fmla="*/ 14 w 238"/>
                  <a:gd name="T75" fmla="*/ 4 h 228"/>
                  <a:gd name="T76" fmla="*/ 10 w 238"/>
                  <a:gd name="T77" fmla="*/ 4 h 228"/>
                  <a:gd name="T78" fmla="*/ 5 w 238"/>
                  <a:gd name="T79" fmla="*/ 4 h 228"/>
                  <a:gd name="T80" fmla="*/ 4 w 238"/>
                  <a:gd name="T81" fmla="*/ 4 h 228"/>
                  <a:gd name="T82" fmla="*/ 0 w 238"/>
                  <a:gd name="T83" fmla="*/ 6 h 228"/>
                  <a:gd name="T84" fmla="*/ 1 w 238"/>
                  <a:gd name="T85" fmla="*/ 20 h 228"/>
                  <a:gd name="T86" fmla="*/ 14 w 238"/>
                  <a:gd name="T87" fmla="*/ 37 h 228"/>
                  <a:gd name="T88" fmla="*/ 28 w 238"/>
                  <a:gd name="T89" fmla="*/ 69 h 228"/>
                  <a:gd name="T90" fmla="*/ 46 w 238"/>
                  <a:gd name="T91" fmla="*/ 98 h 228"/>
                  <a:gd name="T92" fmla="*/ 49 w 238"/>
                  <a:gd name="T93" fmla="*/ 110 h 228"/>
                  <a:gd name="T94" fmla="*/ 47 w 238"/>
                  <a:gd name="T95" fmla="*/ 113 h 228"/>
                  <a:gd name="T96" fmla="*/ 49 w 238"/>
                  <a:gd name="T97" fmla="*/ 133 h 228"/>
                  <a:gd name="T98" fmla="*/ 53 w 238"/>
                  <a:gd name="T99" fmla="*/ 148 h 228"/>
                  <a:gd name="T100" fmla="*/ 54 w 238"/>
                  <a:gd name="T101" fmla="*/ 159 h 228"/>
                  <a:gd name="T102" fmla="*/ 57 w 238"/>
                  <a:gd name="T103" fmla="*/ 178 h 228"/>
                  <a:gd name="T104" fmla="*/ 59 w 238"/>
                  <a:gd name="T105" fmla="*/ 182 h 228"/>
                  <a:gd name="T106" fmla="*/ 62 w 238"/>
                  <a:gd name="T107" fmla="*/ 194 h 228"/>
                  <a:gd name="T108" fmla="*/ 67 w 238"/>
                  <a:gd name="T109" fmla="*/ 205 h 228"/>
                  <a:gd name="T110" fmla="*/ 77 w 238"/>
                  <a:gd name="T111" fmla="*/ 217 h 228"/>
                  <a:gd name="T112" fmla="*/ 84 w 238"/>
                  <a:gd name="T113" fmla="*/ 2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8" h="228">
                    <a:moveTo>
                      <a:pt x="87" y="220"/>
                    </a:moveTo>
                    <a:lnTo>
                      <a:pt x="89" y="218"/>
                    </a:lnTo>
                    <a:lnTo>
                      <a:pt x="90" y="213"/>
                    </a:lnTo>
                    <a:lnTo>
                      <a:pt x="92" y="211"/>
                    </a:lnTo>
                    <a:lnTo>
                      <a:pt x="95" y="211"/>
                    </a:lnTo>
                    <a:lnTo>
                      <a:pt x="96" y="213"/>
                    </a:lnTo>
                    <a:lnTo>
                      <a:pt x="97" y="214"/>
                    </a:lnTo>
                    <a:lnTo>
                      <a:pt x="99" y="217"/>
                    </a:lnTo>
                    <a:lnTo>
                      <a:pt x="99" y="218"/>
                    </a:lnTo>
                    <a:lnTo>
                      <a:pt x="99" y="218"/>
                    </a:lnTo>
                    <a:lnTo>
                      <a:pt x="99" y="220"/>
                    </a:lnTo>
                    <a:lnTo>
                      <a:pt x="99" y="221"/>
                    </a:lnTo>
                    <a:lnTo>
                      <a:pt x="100" y="223"/>
                    </a:lnTo>
                    <a:lnTo>
                      <a:pt x="100" y="224"/>
                    </a:lnTo>
                    <a:lnTo>
                      <a:pt x="102" y="224"/>
                    </a:lnTo>
                    <a:lnTo>
                      <a:pt x="103" y="224"/>
                    </a:lnTo>
                    <a:lnTo>
                      <a:pt x="109" y="227"/>
                    </a:lnTo>
                    <a:lnTo>
                      <a:pt x="130" y="228"/>
                    </a:lnTo>
                    <a:lnTo>
                      <a:pt x="132" y="227"/>
                    </a:lnTo>
                    <a:lnTo>
                      <a:pt x="132" y="227"/>
                    </a:lnTo>
                    <a:lnTo>
                      <a:pt x="133" y="224"/>
                    </a:lnTo>
                    <a:lnTo>
                      <a:pt x="136" y="223"/>
                    </a:lnTo>
                    <a:lnTo>
                      <a:pt x="139" y="221"/>
                    </a:lnTo>
                    <a:lnTo>
                      <a:pt x="142" y="220"/>
                    </a:lnTo>
                    <a:lnTo>
                      <a:pt x="145" y="220"/>
                    </a:lnTo>
                    <a:lnTo>
                      <a:pt x="145" y="146"/>
                    </a:lnTo>
                    <a:lnTo>
                      <a:pt x="145" y="93"/>
                    </a:lnTo>
                    <a:lnTo>
                      <a:pt x="162" y="93"/>
                    </a:lnTo>
                    <a:lnTo>
                      <a:pt x="162" y="93"/>
                    </a:lnTo>
                    <a:lnTo>
                      <a:pt x="162" y="24"/>
                    </a:lnTo>
                    <a:lnTo>
                      <a:pt x="163" y="24"/>
                    </a:lnTo>
                    <a:lnTo>
                      <a:pt x="172" y="24"/>
                    </a:lnTo>
                    <a:lnTo>
                      <a:pt x="196" y="19"/>
                    </a:lnTo>
                    <a:lnTo>
                      <a:pt x="201" y="19"/>
                    </a:lnTo>
                    <a:lnTo>
                      <a:pt x="204" y="20"/>
                    </a:lnTo>
                    <a:lnTo>
                      <a:pt x="207" y="23"/>
                    </a:lnTo>
                    <a:lnTo>
                      <a:pt x="208" y="26"/>
                    </a:lnTo>
                    <a:lnTo>
                      <a:pt x="209" y="27"/>
                    </a:lnTo>
                    <a:lnTo>
                      <a:pt x="212" y="24"/>
                    </a:lnTo>
                    <a:lnTo>
                      <a:pt x="215" y="23"/>
                    </a:lnTo>
                    <a:lnTo>
                      <a:pt x="218" y="21"/>
                    </a:lnTo>
                    <a:lnTo>
                      <a:pt x="219" y="20"/>
                    </a:lnTo>
                    <a:lnTo>
                      <a:pt x="224" y="19"/>
                    </a:lnTo>
                    <a:lnTo>
                      <a:pt x="224" y="19"/>
                    </a:lnTo>
                    <a:lnTo>
                      <a:pt x="225" y="19"/>
                    </a:lnTo>
                    <a:lnTo>
                      <a:pt x="225" y="19"/>
                    </a:lnTo>
                    <a:lnTo>
                      <a:pt x="227" y="19"/>
                    </a:lnTo>
                    <a:lnTo>
                      <a:pt x="227" y="19"/>
                    </a:lnTo>
                    <a:lnTo>
                      <a:pt x="228" y="17"/>
                    </a:lnTo>
                    <a:lnTo>
                      <a:pt x="230" y="16"/>
                    </a:lnTo>
                    <a:lnTo>
                      <a:pt x="231" y="16"/>
                    </a:lnTo>
                    <a:lnTo>
                      <a:pt x="234" y="16"/>
                    </a:lnTo>
                    <a:lnTo>
                      <a:pt x="235" y="14"/>
                    </a:lnTo>
                    <a:lnTo>
                      <a:pt x="238" y="14"/>
                    </a:lnTo>
                    <a:lnTo>
                      <a:pt x="231" y="10"/>
                    </a:lnTo>
                    <a:lnTo>
                      <a:pt x="222" y="10"/>
                    </a:lnTo>
                    <a:lnTo>
                      <a:pt x="214" y="10"/>
                    </a:lnTo>
                    <a:lnTo>
                      <a:pt x="205" y="13"/>
                    </a:lnTo>
                    <a:lnTo>
                      <a:pt x="174" y="19"/>
                    </a:lnTo>
                    <a:lnTo>
                      <a:pt x="158" y="19"/>
                    </a:lnTo>
                    <a:lnTo>
                      <a:pt x="149" y="17"/>
                    </a:lnTo>
                    <a:lnTo>
                      <a:pt x="126" y="16"/>
                    </a:lnTo>
                    <a:lnTo>
                      <a:pt x="125" y="14"/>
                    </a:lnTo>
                    <a:lnTo>
                      <a:pt x="122" y="13"/>
                    </a:lnTo>
                    <a:lnTo>
                      <a:pt x="120" y="10"/>
                    </a:lnTo>
                    <a:lnTo>
                      <a:pt x="118" y="8"/>
                    </a:lnTo>
                    <a:lnTo>
                      <a:pt x="118" y="7"/>
                    </a:lnTo>
                    <a:lnTo>
                      <a:pt x="47" y="7"/>
                    </a:lnTo>
                    <a:lnTo>
                      <a:pt x="40" y="7"/>
                    </a:lnTo>
                    <a:lnTo>
                      <a:pt x="36" y="6"/>
                    </a:lnTo>
                    <a:lnTo>
                      <a:pt x="31" y="3"/>
                    </a:lnTo>
                    <a:lnTo>
                      <a:pt x="28" y="1"/>
                    </a:lnTo>
                    <a:lnTo>
                      <a:pt x="24" y="0"/>
                    </a:lnTo>
                    <a:lnTo>
                      <a:pt x="18" y="1"/>
                    </a:lnTo>
                    <a:lnTo>
                      <a:pt x="17" y="3"/>
                    </a:lnTo>
                    <a:lnTo>
                      <a:pt x="14" y="4"/>
                    </a:lnTo>
                    <a:lnTo>
                      <a:pt x="11" y="4"/>
                    </a:lnTo>
                    <a:lnTo>
                      <a:pt x="10" y="4"/>
                    </a:lnTo>
                    <a:lnTo>
                      <a:pt x="8" y="4"/>
                    </a:lnTo>
                    <a:lnTo>
                      <a:pt x="5" y="4"/>
                    </a:lnTo>
                    <a:lnTo>
                      <a:pt x="4" y="3"/>
                    </a:lnTo>
                    <a:lnTo>
                      <a:pt x="4" y="4"/>
                    </a:lnTo>
                    <a:lnTo>
                      <a:pt x="1" y="4"/>
                    </a:lnTo>
                    <a:lnTo>
                      <a:pt x="0" y="6"/>
                    </a:lnTo>
                    <a:lnTo>
                      <a:pt x="0" y="13"/>
                    </a:lnTo>
                    <a:lnTo>
                      <a:pt x="1" y="20"/>
                    </a:lnTo>
                    <a:lnTo>
                      <a:pt x="4" y="26"/>
                    </a:lnTo>
                    <a:lnTo>
                      <a:pt x="14" y="37"/>
                    </a:lnTo>
                    <a:lnTo>
                      <a:pt x="26" y="62"/>
                    </a:lnTo>
                    <a:lnTo>
                      <a:pt x="28" y="69"/>
                    </a:lnTo>
                    <a:lnTo>
                      <a:pt x="30" y="73"/>
                    </a:lnTo>
                    <a:lnTo>
                      <a:pt x="46" y="98"/>
                    </a:lnTo>
                    <a:lnTo>
                      <a:pt x="49" y="105"/>
                    </a:lnTo>
                    <a:lnTo>
                      <a:pt x="49" y="110"/>
                    </a:lnTo>
                    <a:lnTo>
                      <a:pt x="47" y="110"/>
                    </a:lnTo>
                    <a:lnTo>
                      <a:pt x="47" y="113"/>
                    </a:lnTo>
                    <a:lnTo>
                      <a:pt x="49" y="125"/>
                    </a:lnTo>
                    <a:lnTo>
                      <a:pt x="49" y="133"/>
                    </a:lnTo>
                    <a:lnTo>
                      <a:pt x="49" y="138"/>
                    </a:lnTo>
                    <a:lnTo>
                      <a:pt x="53" y="148"/>
                    </a:lnTo>
                    <a:lnTo>
                      <a:pt x="54" y="152"/>
                    </a:lnTo>
                    <a:lnTo>
                      <a:pt x="54" y="159"/>
                    </a:lnTo>
                    <a:lnTo>
                      <a:pt x="57" y="175"/>
                    </a:lnTo>
                    <a:lnTo>
                      <a:pt x="57" y="178"/>
                    </a:lnTo>
                    <a:lnTo>
                      <a:pt x="59" y="181"/>
                    </a:lnTo>
                    <a:lnTo>
                      <a:pt x="59" y="182"/>
                    </a:lnTo>
                    <a:lnTo>
                      <a:pt x="60" y="187"/>
                    </a:lnTo>
                    <a:lnTo>
                      <a:pt x="62" y="194"/>
                    </a:lnTo>
                    <a:lnTo>
                      <a:pt x="63" y="198"/>
                    </a:lnTo>
                    <a:lnTo>
                      <a:pt x="67" y="205"/>
                    </a:lnTo>
                    <a:lnTo>
                      <a:pt x="72" y="211"/>
                    </a:lnTo>
                    <a:lnTo>
                      <a:pt x="77" y="217"/>
                    </a:lnTo>
                    <a:lnTo>
                      <a:pt x="83" y="223"/>
                    </a:lnTo>
                    <a:lnTo>
                      <a:pt x="84" y="221"/>
                    </a:lnTo>
                    <a:lnTo>
                      <a:pt x="87" y="22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92" name="Freeform 179">
                <a:extLst>
                  <a:ext uri="{FF2B5EF4-FFF2-40B4-BE49-F238E27FC236}">
                    <a16:creationId xmlns:a16="http://schemas.microsoft.com/office/drawing/2014/main" id="{EE2A70F2-6913-0D3B-9D58-C1C349FB93D1}"/>
                  </a:ext>
                </a:extLst>
              </p:cNvPr>
              <p:cNvSpPr>
                <a:spLocks/>
              </p:cNvSpPr>
              <p:nvPr/>
            </p:nvSpPr>
            <p:spPr bwMode="auto">
              <a:xfrm>
                <a:off x="3701" y="2677"/>
                <a:ext cx="102" cy="110"/>
              </a:xfrm>
              <a:custGeom>
                <a:avLst/>
                <a:gdLst>
                  <a:gd name="T0" fmla="*/ 46 w 102"/>
                  <a:gd name="T1" fmla="*/ 104 h 110"/>
                  <a:gd name="T2" fmla="*/ 50 w 102"/>
                  <a:gd name="T3" fmla="*/ 104 h 110"/>
                  <a:gd name="T4" fmla="*/ 53 w 102"/>
                  <a:gd name="T5" fmla="*/ 105 h 110"/>
                  <a:gd name="T6" fmla="*/ 56 w 102"/>
                  <a:gd name="T7" fmla="*/ 105 h 110"/>
                  <a:gd name="T8" fmla="*/ 54 w 102"/>
                  <a:gd name="T9" fmla="*/ 104 h 110"/>
                  <a:gd name="T10" fmla="*/ 56 w 102"/>
                  <a:gd name="T11" fmla="*/ 98 h 110"/>
                  <a:gd name="T12" fmla="*/ 53 w 102"/>
                  <a:gd name="T13" fmla="*/ 95 h 110"/>
                  <a:gd name="T14" fmla="*/ 50 w 102"/>
                  <a:gd name="T15" fmla="*/ 91 h 110"/>
                  <a:gd name="T16" fmla="*/ 50 w 102"/>
                  <a:gd name="T17" fmla="*/ 82 h 110"/>
                  <a:gd name="T18" fmla="*/ 61 w 102"/>
                  <a:gd name="T19" fmla="*/ 82 h 110"/>
                  <a:gd name="T20" fmla="*/ 66 w 102"/>
                  <a:gd name="T21" fmla="*/ 81 h 110"/>
                  <a:gd name="T22" fmla="*/ 66 w 102"/>
                  <a:gd name="T23" fmla="*/ 75 h 110"/>
                  <a:gd name="T24" fmla="*/ 74 w 102"/>
                  <a:gd name="T25" fmla="*/ 79 h 110"/>
                  <a:gd name="T26" fmla="*/ 81 w 102"/>
                  <a:gd name="T27" fmla="*/ 82 h 110"/>
                  <a:gd name="T28" fmla="*/ 87 w 102"/>
                  <a:gd name="T29" fmla="*/ 79 h 110"/>
                  <a:gd name="T30" fmla="*/ 90 w 102"/>
                  <a:gd name="T31" fmla="*/ 82 h 110"/>
                  <a:gd name="T32" fmla="*/ 90 w 102"/>
                  <a:gd name="T33" fmla="*/ 84 h 110"/>
                  <a:gd name="T34" fmla="*/ 93 w 102"/>
                  <a:gd name="T35" fmla="*/ 84 h 110"/>
                  <a:gd name="T36" fmla="*/ 96 w 102"/>
                  <a:gd name="T37" fmla="*/ 82 h 110"/>
                  <a:gd name="T38" fmla="*/ 100 w 102"/>
                  <a:gd name="T39" fmla="*/ 72 h 110"/>
                  <a:gd name="T40" fmla="*/ 100 w 102"/>
                  <a:gd name="T41" fmla="*/ 62 h 110"/>
                  <a:gd name="T42" fmla="*/ 102 w 102"/>
                  <a:gd name="T43" fmla="*/ 52 h 110"/>
                  <a:gd name="T44" fmla="*/ 96 w 102"/>
                  <a:gd name="T45" fmla="*/ 48 h 110"/>
                  <a:gd name="T46" fmla="*/ 90 w 102"/>
                  <a:gd name="T47" fmla="*/ 42 h 110"/>
                  <a:gd name="T48" fmla="*/ 92 w 102"/>
                  <a:gd name="T49" fmla="*/ 33 h 110"/>
                  <a:gd name="T50" fmla="*/ 97 w 102"/>
                  <a:gd name="T51" fmla="*/ 30 h 110"/>
                  <a:gd name="T52" fmla="*/ 100 w 102"/>
                  <a:gd name="T53" fmla="*/ 25 h 110"/>
                  <a:gd name="T54" fmla="*/ 97 w 102"/>
                  <a:gd name="T55" fmla="*/ 19 h 110"/>
                  <a:gd name="T56" fmla="*/ 83 w 102"/>
                  <a:gd name="T57" fmla="*/ 19 h 110"/>
                  <a:gd name="T58" fmla="*/ 79 w 102"/>
                  <a:gd name="T59" fmla="*/ 15 h 110"/>
                  <a:gd name="T60" fmla="*/ 79 w 102"/>
                  <a:gd name="T61" fmla="*/ 9 h 110"/>
                  <a:gd name="T62" fmla="*/ 76 w 102"/>
                  <a:gd name="T63" fmla="*/ 0 h 110"/>
                  <a:gd name="T64" fmla="*/ 46 w 102"/>
                  <a:gd name="T65" fmla="*/ 0 h 110"/>
                  <a:gd name="T66" fmla="*/ 46 w 102"/>
                  <a:gd name="T67" fmla="*/ 23 h 110"/>
                  <a:gd name="T68" fmla="*/ 20 w 102"/>
                  <a:gd name="T69" fmla="*/ 23 h 110"/>
                  <a:gd name="T70" fmla="*/ 17 w 102"/>
                  <a:gd name="T71" fmla="*/ 22 h 110"/>
                  <a:gd name="T72" fmla="*/ 15 w 102"/>
                  <a:gd name="T73" fmla="*/ 26 h 110"/>
                  <a:gd name="T74" fmla="*/ 15 w 102"/>
                  <a:gd name="T75" fmla="*/ 30 h 110"/>
                  <a:gd name="T76" fmla="*/ 13 w 102"/>
                  <a:gd name="T77" fmla="*/ 29 h 110"/>
                  <a:gd name="T78" fmla="*/ 13 w 102"/>
                  <a:gd name="T79" fmla="*/ 33 h 110"/>
                  <a:gd name="T80" fmla="*/ 18 w 102"/>
                  <a:gd name="T81" fmla="*/ 36 h 110"/>
                  <a:gd name="T82" fmla="*/ 21 w 102"/>
                  <a:gd name="T83" fmla="*/ 38 h 110"/>
                  <a:gd name="T84" fmla="*/ 18 w 102"/>
                  <a:gd name="T85" fmla="*/ 39 h 110"/>
                  <a:gd name="T86" fmla="*/ 13 w 102"/>
                  <a:gd name="T87" fmla="*/ 36 h 110"/>
                  <a:gd name="T88" fmla="*/ 10 w 102"/>
                  <a:gd name="T89" fmla="*/ 46 h 110"/>
                  <a:gd name="T90" fmla="*/ 4 w 102"/>
                  <a:gd name="T91" fmla="*/ 52 h 110"/>
                  <a:gd name="T92" fmla="*/ 4 w 102"/>
                  <a:gd name="T93" fmla="*/ 61 h 110"/>
                  <a:gd name="T94" fmla="*/ 10 w 102"/>
                  <a:gd name="T95" fmla="*/ 66 h 110"/>
                  <a:gd name="T96" fmla="*/ 14 w 102"/>
                  <a:gd name="T97" fmla="*/ 69 h 110"/>
                  <a:gd name="T98" fmla="*/ 5 w 102"/>
                  <a:gd name="T99" fmla="*/ 64 h 110"/>
                  <a:gd name="T100" fmla="*/ 10 w 102"/>
                  <a:gd name="T101" fmla="*/ 72 h 110"/>
                  <a:gd name="T102" fmla="*/ 13 w 102"/>
                  <a:gd name="T103" fmla="*/ 74 h 110"/>
                  <a:gd name="T104" fmla="*/ 11 w 102"/>
                  <a:gd name="T105" fmla="*/ 75 h 110"/>
                  <a:gd name="T106" fmla="*/ 15 w 102"/>
                  <a:gd name="T107" fmla="*/ 81 h 110"/>
                  <a:gd name="T108" fmla="*/ 24 w 102"/>
                  <a:gd name="T109" fmla="*/ 85 h 110"/>
                  <a:gd name="T110" fmla="*/ 18 w 102"/>
                  <a:gd name="T111" fmla="*/ 85 h 110"/>
                  <a:gd name="T112" fmla="*/ 28 w 102"/>
                  <a:gd name="T113" fmla="*/ 94 h 110"/>
                  <a:gd name="T114" fmla="*/ 43 w 102"/>
                  <a:gd name="T11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 h="110">
                    <a:moveTo>
                      <a:pt x="44" y="107"/>
                    </a:moveTo>
                    <a:lnTo>
                      <a:pt x="44" y="105"/>
                    </a:lnTo>
                    <a:lnTo>
                      <a:pt x="46" y="104"/>
                    </a:lnTo>
                    <a:lnTo>
                      <a:pt x="47" y="102"/>
                    </a:lnTo>
                    <a:lnTo>
                      <a:pt x="48" y="102"/>
                    </a:lnTo>
                    <a:lnTo>
                      <a:pt x="50" y="104"/>
                    </a:lnTo>
                    <a:lnTo>
                      <a:pt x="51" y="104"/>
                    </a:lnTo>
                    <a:lnTo>
                      <a:pt x="51" y="105"/>
                    </a:lnTo>
                    <a:lnTo>
                      <a:pt x="53" y="105"/>
                    </a:lnTo>
                    <a:lnTo>
                      <a:pt x="54" y="107"/>
                    </a:lnTo>
                    <a:lnTo>
                      <a:pt x="54" y="105"/>
                    </a:lnTo>
                    <a:lnTo>
                      <a:pt x="56" y="105"/>
                    </a:lnTo>
                    <a:lnTo>
                      <a:pt x="56" y="104"/>
                    </a:lnTo>
                    <a:lnTo>
                      <a:pt x="54" y="104"/>
                    </a:lnTo>
                    <a:lnTo>
                      <a:pt x="54" y="104"/>
                    </a:lnTo>
                    <a:lnTo>
                      <a:pt x="56" y="101"/>
                    </a:lnTo>
                    <a:lnTo>
                      <a:pt x="56" y="99"/>
                    </a:lnTo>
                    <a:lnTo>
                      <a:pt x="56" y="98"/>
                    </a:lnTo>
                    <a:lnTo>
                      <a:pt x="53" y="98"/>
                    </a:lnTo>
                    <a:lnTo>
                      <a:pt x="53" y="97"/>
                    </a:lnTo>
                    <a:lnTo>
                      <a:pt x="53" y="95"/>
                    </a:lnTo>
                    <a:lnTo>
                      <a:pt x="53" y="92"/>
                    </a:lnTo>
                    <a:lnTo>
                      <a:pt x="51" y="91"/>
                    </a:lnTo>
                    <a:lnTo>
                      <a:pt x="50" y="91"/>
                    </a:lnTo>
                    <a:lnTo>
                      <a:pt x="50" y="89"/>
                    </a:lnTo>
                    <a:lnTo>
                      <a:pt x="50" y="84"/>
                    </a:lnTo>
                    <a:lnTo>
                      <a:pt x="50" y="82"/>
                    </a:lnTo>
                    <a:lnTo>
                      <a:pt x="51" y="82"/>
                    </a:lnTo>
                    <a:lnTo>
                      <a:pt x="57" y="82"/>
                    </a:lnTo>
                    <a:lnTo>
                      <a:pt x="61" y="82"/>
                    </a:lnTo>
                    <a:lnTo>
                      <a:pt x="63" y="82"/>
                    </a:lnTo>
                    <a:lnTo>
                      <a:pt x="66" y="82"/>
                    </a:lnTo>
                    <a:lnTo>
                      <a:pt x="66" y="81"/>
                    </a:lnTo>
                    <a:lnTo>
                      <a:pt x="66" y="78"/>
                    </a:lnTo>
                    <a:lnTo>
                      <a:pt x="66" y="76"/>
                    </a:lnTo>
                    <a:lnTo>
                      <a:pt x="66" y="75"/>
                    </a:lnTo>
                    <a:lnTo>
                      <a:pt x="67" y="72"/>
                    </a:lnTo>
                    <a:lnTo>
                      <a:pt x="71" y="75"/>
                    </a:lnTo>
                    <a:lnTo>
                      <a:pt x="74" y="79"/>
                    </a:lnTo>
                    <a:lnTo>
                      <a:pt x="77" y="82"/>
                    </a:lnTo>
                    <a:lnTo>
                      <a:pt x="80" y="82"/>
                    </a:lnTo>
                    <a:lnTo>
                      <a:pt x="81" y="82"/>
                    </a:lnTo>
                    <a:lnTo>
                      <a:pt x="84" y="82"/>
                    </a:lnTo>
                    <a:lnTo>
                      <a:pt x="86" y="81"/>
                    </a:lnTo>
                    <a:lnTo>
                      <a:pt x="87" y="79"/>
                    </a:lnTo>
                    <a:lnTo>
                      <a:pt x="89" y="79"/>
                    </a:lnTo>
                    <a:lnTo>
                      <a:pt x="89" y="79"/>
                    </a:lnTo>
                    <a:lnTo>
                      <a:pt x="90" y="82"/>
                    </a:lnTo>
                    <a:lnTo>
                      <a:pt x="92" y="82"/>
                    </a:lnTo>
                    <a:lnTo>
                      <a:pt x="90" y="84"/>
                    </a:lnTo>
                    <a:lnTo>
                      <a:pt x="90" y="84"/>
                    </a:lnTo>
                    <a:lnTo>
                      <a:pt x="92" y="84"/>
                    </a:lnTo>
                    <a:lnTo>
                      <a:pt x="93" y="85"/>
                    </a:lnTo>
                    <a:lnTo>
                      <a:pt x="93" y="84"/>
                    </a:lnTo>
                    <a:lnTo>
                      <a:pt x="94" y="84"/>
                    </a:lnTo>
                    <a:lnTo>
                      <a:pt x="94" y="84"/>
                    </a:lnTo>
                    <a:lnTo>
                      <a:pt x="96" y="82"/>
                    </a:lnTo>
                    <a:lnTo>
                      <a:pt x="96" y="79"/>
                    </a:lnTo>
                    <a:lnTo>
                      <a:pt x="97" y="76"/>
                    </a:lnTo>
                    <a:lnTo>
                      <a:pt x="100" y="72"/>
                    </a:lnTo>
                    <a:lnTo>
                      <a:pt x="100" y="71"/>
                    </a:lnTo>
                    <a:lnTo>
                      <a:pt x="100" y="69"/>
                    </a:lnTo>
                    <a:lnTo>
                      <a:pt x="100" y="62"/>
                    </a:lnTo>
                    <a:lnTo>
                      <a:pt x="100" y="59"/>
                    </a:lnTo>
                    <a:lnTo>
                      <a:pt x="102" y="53"/>
                    </a:lnTo>
                    <a:lnTo>
                      <a:pt x="102" y="52"/>
                    </a:lnTo>
                    <a:lnTo>
                      <a:pt x="100" y="51"/>
                    </a:lnTo>
                    <a:lnTo>
                      <a:pt x="99" y="49"/>
                    </a:lnTo>
                    <a:lnTo>
                      <a:pt x="96" y="48"/>
                    </a:lnTo>
                    <a:lnTo>
                      <a:pt x="92" y="45"/>
                    </a:lnTo>
                    <a:lnTo>
                      <a:pt x="92" y="43"/>
                    </a:lnTo>
                    <a:lnTo>
                      <a:pt x="90" y="42"/>
                    </a:lnTo>
                    <a:lnTo>
                      <a:pt x="90" y="39"/>
                    </a:lnTo>
                    <a:lnTo>
                      <a:pt x="92" y="36"/>
                    </a:lnTo>
                    <a:lnTo>
                      <a:pt x="92" y="33"/>
                    </a:lnTo>
                    <a:lnTo>
                      <a:pt x="94" y="32"/>
                    </a:lnTo>
                    <a:lnTo>
                      <a:pt x="96" y="30"/>
                    </a:lnTo>
                    <a:lnTo>
                      <a:pt x="97" y="30"/>
                    </a:lnTo>
                    <a:lnTo>
                      <a:pt x="99" y="29"/>
                    </a:lnTo>
                    <a:lnTo>
                      <a:pt x="100" y="26"/>
                    </a:lnTo>
                    <a:lnTo>
                      <a:pt x="100" y="25"/>
                    </a:lnTo>
                    <a:lnTo>
                      <a:pt x="100" y="23"/>
                    </a:lnTo>
                    <a:lnTo>
                      <a:pt x="99" y="20"/>
                    </a:lnTo>
                    <a:lnTo>
                      <a:pt x="97" y="19"/>
                    </a:lnTo>
                    <a:lnTo>
                      <a:pt x="93" y="16"/>
                    </a:lnTo>
                    <a:lnTo>
                      <a:pt x="87" y="18"/>
                    </a:lnTo>
                    <a:lnTo>
                      <a:pt x="83" y="19"/>
                    </a:lnTo>
                    <a:lnTo>
                      <a:pt x="79" y="18"/>
                    </a:lnTo>
                    <a:lnTo>
                      <a:pt x="79" y="16"/>
                    </a:lnTo>
                    <a:lnTo>
                      <a:pt x="79" y="15"/>
                    </a:lnTo>
                    <a:lnTo>
                      <a:pt x="79" y="13"/>
                    </a:lnTo>
                    <a:lnTo>
                      <a:pt x="79" y="12"/>
                    </a:lnTo>
                    <a:lnTo>
                      <a:pt x="79" y="9"/>
                    </a:lnTo>
                    <a:lnTo>
                      <a:pt x="80" y="5"/>
                    </a:lnTo>
                    <a:lnTo>
                      <a:pt x="80" y="3"/>
                    </a:lnTo>
                    <a:lnTo>
                      <a:pt x="76" y="0"/>
                    </a:lnTo>
                    <a:lnTo>
                      <a:pt x="64" y="0"/>
                    </a:lnTo>
                    <a:lnTo>
                      <a:pt x="46" y="0"/>
                    </a:lnTo>
                    <a:lnTo>
                      <a:pt x="46" y="0"/>
                    </a:lnTo>
                    <a:lnTo>
                      <a:pt x="46" y="2"/>
                    </a:lnTo>
                    <a:lnTo>
                      <a:pt x="46" y="2"/>
                    </a:lnTo>
                    <a:lnTo>
                      <a:pt x="46" y="23"/>
                    </a:lnTo>
                    <a:lnTo>
                      <a:pt x="23" y="23"/>
                    </a:lnTo>
                    <a:lnTo>
                      <a:pt x="21" y="23"/>
                    </a:lnTo>
                    <a:lnTo>
                      <a:pt x="20" y="23"/>
                    </a:lnTo>
                    <a:lnTo>
                      <a:pt x="18" y="23"/>
                    </a:lnTo>
                    <a:lnTo>
                      <a:pt x="17" y="22"/>
                    </a:lnTo>
                    <a:lnTo>
                      <a:pt x="17" y="22"/>
                    </a:lnTo>
                    <a:lnTo>
                      <a:pt x="15" y="22"/>
                    </a:lnTo>
                    <a:lnTo>
                      <a:pt x="15" y="25"/>
                    </a:lnTo>
                    <a:lnTo>
                      <a:pt x="15" y="26"/>
                    </a:lnTo>
                    <a:lnTo>
                      <a:pt x="15" y="28"/>
                    </a:lnTo>
                    <a:lnTo>
                      <a:pt x="15" y="30"/>
                    </a:lnTo>
                    <a:lnTo>
                      <a:pt x="15" y="30"/>
                    </a:lnTo>
                    <a:lnTo>
                      <a:pt x="14" y="29"/>
                    </a:lnTo>
                    <a:lnTo>
                      <a:pt x="14" y="29"/>
                    </a:lnTo>
                    <a:lnTo>
                      <a:pt x="13" y="29"/>
                    </a:lnTo>
                    <a:lnTo>
                      <a:pt x="11" y="30"/>
                    </a:lnTo>
                    <a:lnTo>
                      <a:pt x="11" y="32"/>
                    </a:lnTo>
                    <a:lnTo>
                      <a:pt x="13" y="33"/>
                    </a:lnTo>
                    <a:lnTo>
                      <a:pt x="14" y="35"/>
                    </a:lnTo>
                    <a:lnTo>
                      <a:pt x="15" y="36"/>
                    </a:lnTo>
                    <a:lnTo>
                      <a:pt x="18" y="36"/>
                    </a:lnTo>
                    <a:lnTo>
                      <a:pt x="20" y="36"/>
                    </a:lnTo>
                    <a:lnTo>
                      <a:pt x="23" y="38"/>
                    </a:lnTo>
                    <a:lnTo>
                      <a:pt x="21" y="38"/>
                    </a:lnTo>
                    <a:lnTo>
                      <a:pt x="20" y="38"/>
                    </a:lnTo>
                    <a:lnTo>
                      <a:pt x="20" y="39"/>
                    </a:lnTo>
                    <a:lnTo>
                      <a:pt x="18" y="39"/>
                    </a:lnTo>
                    <a:lnTo>
                      <a:pt x="17" y="39"/>
                    </a:lnTo>
                    <a:lnTo>
                      <a:pt x="14" y="38"/>
                    </a:lnTo>
                    <a:lnTo>
                      <a:pt x="13" y="36"/>
                    </a:lnTo>
                    <a:lnTo>
                      <a:pt x="11" y="35"/>
                    </a:lnTo>
                    <a:lnTo>
                      <a:pt x="10" y="38"/>
                    </a:lnTo>
                    <a:lnTo>
                      <a:pt x="10" y="46"/>
                    </a:lnTo>
                    <a:lnTo>
                      <a:pt x="8" y="49"/>
                    </a:lnTo>
                    <a:lnTo>
                      <a:pt x="5" y="52"/>
                    </a:lnTo>
                    <a:lnTo>
                      <a:pt x="4" y="52"/>
                    </a:lnTo>
                    <a:lnTo>
                      <a:pt x="1" y="52"/>
                    </a:lnTo>
                    <a:lnTo>
                      <a:pt x="0" y="51"/>
                    </a:lnTo>
                    <a:lnTo>
                      <a:pt x="4" y="61"/>
                    </a:lnTo>
                    <a:lnTo>
                      <a:pt x="7" y="64"/>
                    </a:lnTo>
                    <a:lnTo>
                      <a:pt x="11" y="64"/>
                    </a:lnTo>
                    <a:lnTo>
                      <a:pt x="10" y="66"/>
                    </a:lnTo>
                    <a:lnTo>
                      <a:pt x="11" y="68"/>
                    </a:lnTo>
                    <a:lnTo>
                      <a:pt x="13" y="68"/>
                    </a:lnTo>
                    <a:lnTo>
                      <a:pt x="14" y="69"/>
                    </a:lnTo>
                    <a:lnTo>
                      <a:pt x="11" y="69"/>
                    </a:lnTo>
                    <a:lnTo>
                      <a:pt x="10" y="68"/>
                    </a:lnTo>
                    <a:lnTo>
                      <a:pt x="5" y="64"/>
                    </a:lnTo>
                    <a:lnTo>
                      <a:pt x="5" y="65"/>
                    </a:lnTo>
                    <a:lnTo>
                      <a:pt x="8" y="71"/>
                    </a:lnTo>
                    <a:lnTo>
                      <a:pt x="10" y="72"/>
                    </a:lnTo>
                    <a:lnTo>
                      <a:pt x="10" y="72"/>
                    </a:lnTo>
                    <a:lnTo>
                      <a:pt x="11" y="74"/>
                    </a:lnTo>
                    <a:lnTo>
                      <a:pt x="13" y="74"/>
                    </a:lnTo>
                    <a:lnTo>
                      <a:pt x="13" y="75"/>
                    </a:lnTo>
                    <a:lnTo>
                      <a:pt x="13" y="75"/>
                    </a:lnTo>
                    <a:lnTo>
                      <a:pt x="11" y="75"/>
                    </a:lnTo>
                    <a:lnTo>
                      <a:pt x="10" y="74"/>
                    </a:lnTo>
                    <a:lnTo>
                      <a:pt x="14" y="79"/>
                    </a:lnTo>
                    <a:lnTo>
                      <a:pt x="15" y="81"/>
                    </a:lnTo>
                    <a:lnTo>
                      <a:pt x="17" y="82"/>
                    </a:lnTo>
                    <a:lnTo>
                      <a:pt x="21" y="84"/>
                    </a:lnTo>
                    <a:lnTo>
                      <a:pt x="24" y="85"/>
                    </a:lnTo>
                    <a:lnTo>
                      <a:pt x="23" y="87"/>
                    </a:lnTo>
                    <a:lnTo>
                      <a:pt x="21" y="85"/>
                    </a:lnTo>
                    <a:lnTo>
                      <a:pt x="18" y="85"/>
                    </a:lnTo>
                    <a:lnTo>
                      <a:pt x="17" y="84"/>
                    </a:lnTo>
                    <a:lnTo>
                      <a:pt x="21" y="88"/>
                    </a:lnTo>
                    <a:lnTo>
                      <a:pt x="28" y="94"/>
                    </a:lnTo>
                    <a:lnTo>
                      <a:pt x="38" y="105"/>
                    </a:lnTo>
                    <a:lnTo>
                      <a:pt x="41" y="108"/>
                    </a:lnTo>
                    <a:lnTo>
                      <a:pt x="43" y="110"/>
                    </a:lnTo>
                    <a:lnTo>
                      <a:pt x="43" y="108"/>
                    </a:lnTo>
                    <a:lnTo>
                      <a:pt x="44" y="10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93" name="Freeform 180">
                <a:extLst>
                  <a:ext uri="{FF2B5EF4-FFF2-40B4-BE49-F238E27FC236}">
                    <a16:creationId xmlns:a16="http://schemas.microsoft.com/office/drawing/2014/main" id="{6FCF21D1-05B1-0C0B-F773-D220039D134C}"/>
                  </a:ext>
                </a:extLst>
              </p:cNvPr>
              <p:cNvSpPr>
                <a:spLocks noEditPoints="1"/>
              </p:cNvSpPr>
              <p:nvPr/>
            </p:nvSpPr>
            <p:spPr bwMode="auto">
              <a:xfrm>
                <a:off x="3754" y="2797"/>
                <a:ext cx="215" cy="243"/>
              </a:xfrm>
              <a:custGeom>
                <a:avLst/>
                <a:gdLst>
                  <a:gd name="T0" fmla="*/ 1 w 215"/>
                  <a:gd name="T1" fmla="*/ 212 h 243"/>
                  <a:gd name="T2" fmla="*/ 1 w 215"/>
                  <a:gd name="T3" fmla="*/ 202 h 243"/>
                  <a:gd name="T4" fmla="*/ 5 w 215"/>
                  <a:gd name="T5" fmla="*/ 195 h 243"/>
                  <a:gd name="T6" fmla="*/ 16 w 215"/>
                  <a:gd name="T7" fmla="*/ 158 h 243"/>
                  <a:gd name="T8" fmla="*/ 21 w 215"/>
                  <a:gd name="T9" fmla="*/ 151 h 243"/>
                  <a:gd name="T10" fmla="*/ 30 w 215"/>
                  <a:gd name="T11" fmla="*/ 142 h 243"/>
                  <a:gd name="T12" fmla="*/ 36 w 215"/>
                  <a:gd name="T13" fmla="*/ 132 h 243"/>
                  <a:gd name="T14" fmla="*/ 34 w 215"/>
                  <a:gd name="T15" fmla="*/ 109 h 243"/>
                  <a:gd name="T16" fmla="*/ 23 w 215"/>
                  <a:gd name="T17" fmla="*/ 84 h 243"/>
                  <a:gd name="T18" fmla="*/ 23 w 215"/>
                  <a:gd name="T19" fmla="*/ 79 h 243"/>
                  <a:gd name="T20" fmla="*/ 23 w 215"/>
                  <a:gd name="T21" fmla="*/ 80 h 243"/>
                  <a:gd name="T22" fmla="*/ 28 w 215"/>
                  <a:gd name="T23" fmla="*/ 70 h 243"/>
                  <a:gd name="T24" fmla="*/ 18 w 215"/>
                  <a:gd name="T25" fmla="*/ 44 h 243"/>
                  <a:gd name="T26" fmla="*/ 11 w 215"/>
                  <a:gd name="T27" fmla="*/ 33 h 243"/>
                  <a:gd name="T28" fmla="*/ 11 w 215"/>
                  <a:gd name="T29" fmla="*/ 28 h 243"/>
                  <a:gd name="T30" fmla="*/ 18 w 215"/>
                  <a:gd name="T31" fmla="*/ 25 h 243"/>
                  <a:gd name="T32" fmla="*/ 31 w 215"/>
                  <a:gd name="T33" fmla="*/ 23 h 243"/>
                  <a:gd name="T34" fmla="*/ 87 w 215"/>
                  <a:gd name="T35" fmla="*/ 33 h 243"/>
                  <a:gd name="T36" fmla="*/ 99 w 215"/>
                  <a:gd name="T37" fmla="*/ 60 h 243"/>
                  <a:gd name="T38" fmla="*/ 107 w 215"/>
                  <a:gd name="T39" fmla="*/ 64 h 243"/>
                  <a:gd name="T40" fmla="*/ 118 w 215"/>
                  <a:gd name="T41" fmla="*/ 61 h 243"/>
                  <a:gd name="T42" fmla="*/ 128 w 215"/>
                  <a:gd name="T43" fmla="*/ 61 h 243"/>
                  <a:gd name="T44" fmla="*/ 133 w 215"/>
                  <a:gd name="T45" fmla="*/ 61 h 243"/>
                  <a:gd name="T46" fmla="*/ 136 w 215"/>
                  <a:gd name="T47" fmla="*/ 50 h 243"/>
                  <a:gd name="T48" fmla="*/ 145 w 215"/>
                  <a:gd name="T49" fmla="*/ 44 h 243"/>
                  <a:gd name="T50" fmla="*/ 155 w 215"/>
                  <a:gd name="T51" fmla="*/ 44 h 243"/>
                  <a:gd name="T52" fmla="*/ 155 w 215"/>
                  <a:gd name="T53" fmla="*/ 47 h 243"/>
                  <a:gd name="T54" fmla="*/ 172 w 215"/>
                  <a:gd name="T55" fmla="*/ 48 h 243"/>
                  <a:gd name="T56" fmla="*/ 178 w 215"/>
                  <a:gd name="T57" fmla="*/ 54 h 243"/>
                  <a:gd name="T58" fmla="*/ 176 w 215"/>
                  <a:gd name="T59" fmla="*/ 64 h 243"/>
                  <a:gd name="T60" fmla="*/ 178 w 215"/>
                  <a:gd name="T61" fmla="*/ 74 h 243"/>
                  <a:gd name="T62" fmla="*/ 178 w 215"/>
                  <a:gd name="T63" fmla="*/ 92 h 243"/>
                  <a:gd name="T64" fmla="*/ 185 w 215"/>
                  <a:gd name="T65" fmla="*/ 103 h 243"/>
                  <a:gd name="T66" fmla="*/ 185 w 215"/>
                  <a:gd name="T67" fmla="*/ 112 h 243"/>
                  <a:gd name="T68" fmla="*/ 184 w 215"/>
                  <a:gd name="T69" fmla="*/ 113 h 243"/>
                  <a:gd name="T70" fmla="*/ 185 w 215"/>
                  <a:gd name="T71" fmla="*/ 117 h 243"/>
                  <a:gd name="T72" fmla="*/ 196 w 215"/>
                  <a:gd name="T73" fmla="*/ 117 h 243"/>
                  <a:gd name="T74" fmla="*/ 204 w 215"/>
                  <a:gd name="T75" fmla="*/ 116 h 243"/>
                  <a:gd name="T76" fmla="*/ 211 w 215"/>
                  <a:gd name="T77" fmla="*/ 116 h 243"/>
                  <a:gd name="T78" fmla="*/ 215 w 215"/>
                  <a:gd name="T79" fmla="*/ 117 h 243"/>
                  <a:gd name="T80" fmla="*/ 215 w 215"/>
                  <a:gd name="T81" fmla="*/ 139 h 243"/>
                  <a:gd name="T82" fmla="*/ 214 w 215"/>
                  <a:gd name="T83" fmla="*/ 148 h 243"/>
                  <a:gd name="T84" fmla="*/ 212 w 215"/>
                  <a:gd name="T85" fmla="*/ 152 h 243"/>
                  <a:gd name="T86" fmla="*/ 181 w 215"/>
                  <a:gd name="T87" fmla="*/ 205 h 243"/>
                  <a:gd name="T88" fmla="*/ 182 w 215"/>
                  <a:gd name="T89" fmla="*/ 214 h 243"/>
                  <a:gd name="T90" fmla="*/ 174 w 215"/>
                  <a:gd name="T91" fmla="*/ 243 h 243"/>
                  <a:gd name="T92" fmla="*/ 126 w 215"/>
                  <a:gd name="T93" fmla="*/ 240 h 243"/>
                  <a:gd name="T94" fmla="*/ 120 w 215"/>
                  <a:gd name="T95" fmla="*/ 234 h 243"/>
                  <a:gd name="T96" fmla="*/ 47 w 215"/>
                  <a:gd name="T97" fmla="*/ 231 h 243"/>
                  <a:gd name="T98" fmla="*/ 31 w 215"/>
                  <a:gd name="T99" fmla="*/ 227 h 243"/>
                  <a:gd name="T100" fmla="*/ 18 w 215"/>
                  <a:gd name="T101" fmla="*/ 225 h 243"/>
                  <a:gd name="T102" fmla="*/ 11 w 215"/>
                  <a:gd name="T103" fmla="*/ 228 h 243"/>
                  <a:gd name="T104" fmla="*/ 5 w 215"/>
                  <a:gd name="T105" fmla="*/ 228 h 243"/>
                  <a:gd name="T106" fmla="*/ 1 w 215"/>
                  <a:gd name="T107" fmla="*/ 228 h 243"/>
                  <a:gd name="T108" fmla="*/ 14 w 215"/>
                  <a:gd name="T109" fmla="*/ 17 h 243"/>
                  <a:gd name="T110" fmla="*/ 14 w 215"/>
                  <a:gd name="T111" fmla="*/ 10 h 243"/>
                  <a:gd name="T112" fmla="*/ 17 w 215"/>
                  <a:gd name="T113" fmla="*/ 5 h 243"/>
                  <a:gd name="T114" fmla="*/ 18 w 215"/>
                  <a:gd name="T115" fmla="*/ 0 h 243"/>
                  <a:gd name="T116" fmla="*/ 5 w 215"/>
                  <a:gd name="T117" fmla="*/ 8 h 243"/>
                  <a:gd name="T118" fmla="*/ 8 w 215"/>
                  <a:gd name="T119" fmla="*/ 15 h 243"/>
                  <a:gd name="T120" fmla="*/ 7 w 215"/>
                  <a:gd name="T121" fmla="*/ 20 h 243"/>
                  <a:gd name="T122" fmla="*/ 13 w 215"/>
                  <a:gd name="T123" fmla="*/ 21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5" h="243">
                    <a:moveTo>
                      <a:pt x="1" y="228"/>
                    </a:moveTo>
                    <a:lnTo>
                      <a:pt x="0" y="230"/>
                    </a:lnTo>
                    <a:lnTo>
                      <a:pt x="1" y="212"/>
                    </a:lnTo>
                    <a:lnTo>
                      <a:pt x="0" y="207"/>
                    </a:lnTo>
                    <a:lnTo>
                      <a:pt x="0" y="204"/>
                    </a:lnTo>
                    <a:lnTo>
                      <a:pt x="1" y="202"/>
                    </a:lnTo>
                    <a:lnTo>
                      <a:pt x="3" y="201"/>
                    </a:lnTo>
                    <a:lnTo>
                      <a:pt x="4" y="198"/>
                    </a:lnTo>
                    <a:lnTo>
                      <a:pt x="5" y="195"/>
                    </a:lnTo>
                    <a:lnTo>
                      <a:pt x="14" y="163"/>
                    </a:lnTo>
                    <a:lnTo>
                      <a:pt x="14" y="161"/>
                    </a:lnTo>
                    <a:lnTo>
                      <a:pt x="16" y="158"/>
                    </a:lnTo>
                    <a:lnTo>
                      <a:pt x="17" y="156"/>
                    </a:lnTo>
                    <a:lnTo>
                      <a:pt x="20" y="152"/>
                    </a:lnTo>
                    <a:lnTo>
                      <a:pt x="21" y="151"/>
                    </a:lnTo>
                    <a:lnTo>
                      <a:pt x="23" y="148"/>
                    </a:lnTo>
                    <a:lnTo>
                      <a:pt x="24" y="146"/>
                    </a:lnTo>
                    <a:lnTo>
                      <a:pt x="30" y="142"/>
                    </a:lnTo>
                    <a:lnTo>
                      <a:pt x="31" y="140"/>
                    </a:lnTo>
                    <a:lnTo>
                      <a:pt x="33" y="139"/>
                    </a:lnTo>
                    <a:lnTo>
                      <a:pt x="36" y="132"/>
                    </a:lnTo>
                    <a:lnTo>
                      <a:pt x="37" y="123"/>
                    </a:lnTo>
                    <a:lnTo>
                      <a:pt x="37" y="116"/>
                    </a:lnTo>
                    <a:lnTo>
                      <a:pt x="34" y="109"/>
                    </a:lnTo>
                    <a:lnTo>
                      <a:pt x="27" y="97"/>
                    </a:lnTo>
                    <a:lnTo>
                      <a:pt x="26" y="93"/>
                    </a:lnTo>
                    <a:lnTo>
                      <a:pt x="23" y="84"/>
                    </a:lnTo>
                    <a:lnTo>
                      <a:pt x="23" y="82"/>
                    </a:lnTo>
                    <a:lnTo>
                      <a:pt x="23" y="80"/>
                    </a:lnTo>
                    <a:lnTo>
                      <a:pt x="23" y="79"/>
                    </a:lnTo>
                    <a:lnTo>
                      <a:pt x="24" y="77"/>
                    </a:lnTo>
                    <a:lnTo>
                      <a:pt x="24" y="79"/>
                    </a:lnTo>
                    <a:lnTo>
                      <a:pt x="23" y="80"/>
                    </a:lnTo>
                    <a:lnTo>
                      <a:pt x="26" y="77"/>
                    </a:lnTo>
                    <a:lnTo>
                      <a:pt x="28" y="74"/>
                    </a:lnTo>
                    <a:lnTo>
                      <a:pt x="28" y="70"/>
                    </a:lnTo>
                    <a:lnTo>
                      <a:pt x="28" y="67"/>
                    </a:lnTo>
                    <a:lnTo>
                      <a:pt x="21" y="53"/>
                    </a:lnTo>
                    <a:lnTo>
                      <a:pt x="18" y="44"/>
                    </a:lnTo>
                    <a:lnTo>
                      <a:pt x="17" y="43"/>
                    </a:lnTo>
                    <a:lnTo>
                      <a:pt x="13" y="34"/>
                    </a:lnTo>
                    <a:lnTo>
                      <a:pt x="11" y="33"/>
                    </a:lnTo>
                    <a:lnTo>
                      <a:pt x="11" y="30"/>
                    </a:lnTo>
                    <a:lnTo>
                      <a:pt x="10" y="28"/>
                    </a:lnTo>
                    <a:lnTo>
                      <a:pt x="11" y="28"/>
                    </a:lnTo>
                    <a:lnTo>
                      <a:pt x="11" y="27"/>
                    </a:lnTo>
                    <a:lnTo>
                      <a:pt x="17" y="27"/>
                    </a:lnTo>
                    <a:lnTo>
                      <a:pt x="18" y="25"/>
                    </a:lnTo>
                    <a:lnTo>
                      <a:pt x="21" y="25"/>
                    </a:lnTo>
                    <a:lnTo>
                      <a:pt x="23" y="24"/>
                    </a:lnTo>
                    <a:lnTo>
                      <a:pt x="31" y="23"/>
                    </a:lnTo>
                    <a:lnTo>
                      <a:pt x="76" y="24"/>
                    </a:lnTo>
                    <a:lnTo>
                      <a:pt x="83" y="25"/>
                    </a:lnTo>
                    <a:lnTo>
                      <a:pt x="87" y="33"/>
                    </a:lnTo>
                    <a:lnTo>
                      <a:pt x="89" y="40"/>
                    </a:lnTo>
                    <a:lnTo>
                      <a:pt x="92" y="47"/>
                    </a:lnTo>
                    <a:lnTo>
                      <a:pt x="99" y="60"/>
                    </a:lnTo>
                    <a:lnTo>
                      <a:pt x="102" y="61"/>
                    </a:lnTo>
                    <a:lnTo>
                      <a:pt x="105" y="63"/>
                    </a:lnTo>
                    <a:lnTo>
                      <a:pt x="107" y="64"/>
                    </a:lnTo>
                    <a:lnTo>
                      <a:pt x="110" y="64"/>
                    </a:lnTo>
                    <a:lnTo>
                      <a:pt x="115" y="63"/>
                    </a:lnTo>
                    <a:lnTo>
                      <a:pt x="118" y="61"/>
                    </a:lnTo>
                    <a:lnTo>
                      <a:pt x="120" y="61"/>
                    </a:lnTo>
                    <a:lnTo>
                      <a:pt x="125" y="61"/>
                    </a:lnTo>
                    <a:lnTo>
                      <a:pt x="128" y="61"/>
                    </a:lnTo>
                    <a:lnTo>
                      <a:pt x="129" y="61"/>
                    </a:lnTo>
                    <a:lnTo>
                      <a:pt x="130" y="61"/>
                    </a:lnTo>
                    <a:lnTo>
                      <a:pt x="133" y="61"/>
                    </a:lnTo>
                    <a:lnTo>
                      <a:pt x="133" y="60"/>
                    </a:lnTo>
                    <a:lnTo>
                      <a:pt x="135" y="57"/>
                    </a:lnTo>
                    <a:lnTo>
                      <a:pt x="136" y="50"/>
                    </a:lnTo>
                    <a:lnTo>
                      <a:pt x="138" y="46"/>
                    </a:lnTo>
                    <a:lnTo>
                      <a:pt x="140" y="44"/>
                    </a:lnTo>
                    <a:lnTo>
                      <a:pt x="145" y="44"/>
                    </a:lnTo>
                    <a:lnTo>
                      <a:pt x="149" y="43"/>
                    </a:lnTo>
                    <a:lnTo>
                      <a:pt x="153" y="43"/>
                    </a:lnTo>
                    <a:lnTo>
                      <a:pt x="155" y="44"/>
                    </a:lnTo>
                    <a:lnTo>
                      <a:pt x="156" y="46"/>
                    </a:lnTo>
                    <a:lnTo>
                      <a:pt x="155" y="46"/>
                    </a:lnTo>
                    <a:lnTo>
                      <a:pt x="155" y="47"/>
                    </a:lnTo>
                    <a:lnTo>
                      <a:pt x="156" y="48"/>
                    </a:lnTo>
                    <a:lnTo>
                      <a:pt x="158" y="50"/>
                    </a:lnTo>
                    <a:lnTo>
                      <a:pt x="172" y="48"/>
                    </a:lnTo>
                    <a:lnTo>
                      <a:pt x="176" y="50"/>
                    </a:lnTo>
                    <a:lnTo>
                      <a:pt x="178" y="53"/>
                    </a:lnTo>
                    <a:lnTo>
                      <a:pt x="178" y="54"/>
                    </a:lnTo>
                    <a:lnTo>
                      <a:pt x="176" y="60"/>
                    </a:lnTo>
                    <a:lnTo>
                      <a:pt x="176" y="61"/>
                    </a:lnTo>
                    <a:lnTo>
                      <a:pt x="176" y="64"/>
                    </a:lnTo>
                    <a:lnTo>
                      <a:pt x="178" y="67"/>
                    </a:lnTo>
                    <a:lnTo>
                      <a:pt x="179" y="70"/>
                    </a:lnTo>
                    <a:lnTo>
                      <a:pt x="178" y="74"/>
                    </a:lnTo>
                    <a:lnTo>
                      <a:pt x="176" y="83"/>
                    </a:lnTo>
                    <a:lnTo>
                      <a:pt x="176" y="87"/>
                    </a:lnTo>
                    <a:lnTo>
                      <a:pt x="178" y="92"/>
                    </a:lnTo>
                    <a:lnTo>
                      <a:pt x="184" y="97"/>
                    </a:lnTo>
                    <a:lnTo>
                      <a:pt x="185" y="100"/>
                    </a:lnTo>
                    <a:lnTo>
                      <a:pt x="185" y="103"/>
                    </a:lnTo>
                    <a:lnTo>
                      <a:pt x="185" y="105"/>
                    </a:lnTo>
                    <a:lnTo>
                      <a:pt x="185" y="110"/>
                    </a:lnTo>
                    <a:lnTo>
                      <a:pt x="185" y="112"/>
                    </a:lnTo>
                    <a:lnTo>
                      <a:pt x="185" y="112"/>
                    </a:lnTo>
                    <a:lnTo>
                      <a:pt x="185" y="112"/>
                    </a:lnTo>
                    <a:lnTo>
                      <a:pt x="184" y="113"/>
                    </a:lnTo>
                    <a:lnTo>
                      <a:pt x="184" y="113"/>
                    </a:lnTo>
                    <a:lnTo>
                      <a:pt x="184" y="117"/>
                    </a:lnTo>
                    <a:lnTo>
                      <a:pt x="185" y="117"/>
                    </a:lnTo>
                    <a:lnTo>
                      <a:pt x="191" y="116"/>
                    </a:lnTo>
                    <a:lnTo>
                      <a:pt x="192" y="116"/>
                    </a:lnTo>
                    <a:lnTo>
                      <a:pt x="196" y="117"/>
                    </a:lnTo>
                    <a:lnTo>
                      <a:pt x="199" y="117"/>
                    </a:lnTo>
                    <a:lnTo>
                      <a:pt x="201" y="116"/>
                    </a:lnTo>
                    <a:lnTo>
                      <a:pt x="204" y="116"/>
                    </a:lnTo>
                    <a:lnTo>
                      <a:pt x="205" y="115"/>
                    </a:lnTo>
                    <a:lnTo>
                      <a:pt x="208" y="115"/>
                    </a:lnTo>
                    <a:lnTo>
                      <a:pt x="211" y="116"/>
                    </a:lnTo>
                    <a:lnTo>
                      <a:pt x="214" y="115"/>
                    </a:lnTo>
                    <a:lnTo>
                      <a:pt x="215" y="113"/>
                    </a:lnTo>
                    <a:lnTo>
                      <a:pt x="215" y="117"/>
                    </a:lnTo>
                    <a:lnTo>
                      <a:pt x="215" y="120"/>
                    </a:lnTo>
                    <a:lnTo>
                      <a:pt x="215" y="132"/>
                    </a:lnTo>
                    <a:lnTo>
                      <a:pt x="215" y="139"/>
                    </a:lnTo>
                    <a:lnTo>
                      <a:pt x="214" y="143"/>
                    </a:lnTo>
                    <a:lnTo>
                      <a:pt x="214" y="146"/>
                    </a:lnTo>
                    <a:lnTo>
                      <a:pt x="214" y="148"/>
                    </a:lnTo>
                    <a:lnTo>
                      <a:pt x="215" y="149"/>
                    </a:lnTo>
                    <a:lnTo>
                      <a:pt x="214" y="151"/>
                    </a:lnTo>
                    <a:lnTo>
                      <a:pt x="212" y="152"/>
                    </a:lnTo>
                    <a:lnTo>
                      <a:pt x="211" y="152"/>
                    </a:lnTo>
                    <a:lnTo>
                      <a:pt x="179" y="152"/>
                    </a:lnTo>
                    <a:lnTo>
                      <a:pt x="181" y="205"/>
                    </a:lnTo>
                    <a:lnTo>
                      <a:pt x="181" y="208"/>
                    </a:lnTo>
                    <a:lnTo>
                      <a:pt x="181" y="211"/>
                    </a:lnTo>
                    <a:lnTo>
                      <a:pt x="182" y="214"/>
                    </a:lnTo>
                    <a:lnTo>
                      <a:pt x="184" y="217"/>
                    </a:lnTo>
                    <a:lnTo>
                      <a:pt x="205" y="237"/>
                    </a:lnTo>
                    <a:lnTo>
                      <a:pt x="174" y="243"/>
                    </a:lnTo>
                    <a:lnTo>
                      <a:pt x="158" y="243"/>
                    </a:lnTo>
                    <a:lnTo>
                      <a:pt x="149" y="241"/>
                    </a:lnTo>
                    <a:lnTo>
                      <a:pt x="126" y="240"/>
                    </a:lnTo>
                    <a:lnTo>
                      <a:pt x="125" y="238"/>
                    </a:lnTo>
                    <a:lnTo>
                      <a:pt x="122" y="237"/>
                    </a:lnTo>
                    <a:lnTo>
                      <a:pt x="120" y="234"/>
                    </a:lnTo>
                    <a:lnTo>
                      <a:pt x="118" y="232"/>
                    </a:lnTo>
                    <a:lnTo>
                      <a:pt x="118" y="231"/>
                    </a:lnTo>
                    <a:lnTo>
                      <a:pt x="47" y="231"/>
                    </a:lnTo>
                    <a:lnTo>
                      <a:pt x="40" y="231"/>
                    </a:lnTo>
                    <a:lnTo>
                      <a:pt x="36" y="230"/>
                    </a:lnTo>
                    <a:lnTo>
                      <a:pt x="31" y="227"/>
                    </a:lnTo>
                    <a:lnTo>
                      <a:pt x="28" y="225"/>
                    </a:lnTo>
                    <a:lnTo>
                      <a:pt x="24" y="224"/>
                    </a:lnTo>
                    <a:lnTo>
                      <a:pt x="18" y="225"/>
                    </a:lnTo>
                    <a:lnTo>
                      <a:pt x="17" y="227"/>
                    </a:lnTo>
                    <a:lnTo>
                      <a:pt x="14" y="228"/>
                    </a:lnTo>
                    <a:lnTo>
                      <a:pt x="11" y="228"/>
                    </a:lnTo>
                    <a:lnTo>
                      <a:pt x="10" y="228"/>
                    </a:lnTo>
                    <a:lnTo>
                      <a:pt x="8" y="228"/>
                    </a:lnTo>
                    <a:lnTo>
                      <a:pt x="5" y="228"/>
                    </a:lnTo>
                    <a:lnTo>
                      <a:pt x="4" y="227"/>
                    </a:lnTo>
                    <a:lnTo>
                      <a:pt x="4" y="228"/>
                    </a:lnTo>
                    <a:lnTo>
                      <a:pt x="1" y="228"/>
                    </a:lnTo>
                    <a:close/>
                    <a:moveTo>
                      <a:pt x="13" y="21"/>
                    </a:moveTo>
                    <a:lnTo>
                      <a:pt x="14" y="20"/>
                    </a:lnTo>
                    <a:lnTo>
                      <a:pt x="14" y="17"/>
                    </a:lnTo>
                    <a:lnTo>
                      <a:pt x="13" y="13"/>
                    </a:lnTo>
                    <a:lnTo>
                      <a:pt x="13" y="11"/>
                    </a:lnTo>
                    <a:lnTo>
                      <a:pt x="14" y="10"/>
                    </a:lnTo>
                    <a:lnTo>
                      <a:pt x="14" y="10"/>
                    </a:lnTo>
                    <a:lnTo>
                      <a:pt x="14" y="8"/>
                    </a:lnTo>
                    <a:lnTo>
                      <a:pt x="17" y="5"/>
                    </a:lnTo>
                    <a:lnTo>
                      <a:pt x="23" y="2"/>
                    </a:lnTo>
                    <a:lnTo>
                      <a:pt x="21" y="0"/>
                    </a:lnTo>
                    <a:lnTo>
                      <a:pt x="18" y="0"/>
                    </a:lnTo>
                    <a:lnTo>
                      <a:pt x="17" y="0"/>
                    </a:lnTo>
                    <a:lnTo>
                      <a:pt x="13" y="1"/>
                    </a:lnTo>
                    <a:lnTo>
                      <a:pt x="5" y="8"/>
                    </a:lnTo>
                    <a:lnTo>
                      <a:pt x="7" y="13"/>
                    </a:lnTo>
                    <a:lnTo>
                      <a:pt x="7" y="14"/>
                    </a:lnTo>
                    <a:lnTo>
                      <a:pt x="8" y="15"/>
                    </a:lnTo>
                    <a:lnTo>
                      <a:pt x="8" y="17"/>
                    </a:lnTo>
                    <a:lnTo>
                      <a:pt x="7" y="18"/>
                    </a:lnTo>
                    <a:lnTo>
                      <a:pt x="7" y="20"/>
                    </a:lnTo>
                    <a:lnTo>
                      <a:pt x="8" y="23"/>
                    </a:lnTo>
                    <a:lnTo>
                      <a:pt x="11" y="21"/>
                    </a:lnTo>
                    <a:lnTo>
                      <a:pt x="13" y="2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94" name="Freeform 181">
                <a:extLst>
                  <a:ext uri="{FF2B5EF4-FFF2-40B4-BE49-F238E27FC236}">
                    <a16:creationId xmlns:a16="http://schemas.microsoft.com/office/drawing/2014/main" id="{6D92AE4F-B31A-87E6-75C9-7DD89F50B0B4}"/>
                  </a:ext>
                </a:extLst>
              </p:cNvPr>
              <p:cNvSpPr>
                <a:spLocks/>
              </p:cNvSpPr>
              <p:nvPr/>
            </p:nvSpPr>
            <p:spPr bwMode="auto">
              <a:xfrm>
                <a:off x="3744" y="2653"/>
                <a:ext cx="130" cy="152"/>
              </a:xfrm>
              <a:custGeom>
                <a:avLst/>
                <a:gdLst>
                  <a:gd name="T0" fmla="*/ 33 w 130"/>
                  <a:gd name="T1" fmla="*/ 146 h 152"/>
                  <a:gd name="T2" fmla="*/ 38 w 130"/>
                  <a:gd name="T3" fmla="*/ 149 h 152"/>
                  <a:gd name="T4" fmla="*/ 44 w 130"/>
                  <a:gd name="T5" fmla="*/ 146 h 152"/>
                  <a:gd name="T6" fmla="*/ 46 w 130"/>
                  <a:gd name="T7" fmla="*/ 142 h 152"/>
                  <a:gd name="T8" fmla="*/ 49 w 130"/>
                  <a:gd name="T9" fmla="*/ 144 h 152"/>
                  <a:gd name="T10" fmla="*/ 57 w 130"/>
                  <a:gd name="T11" fmla="*/ 146 h 152"/>
                  <a:gd name="T12" fmla="*/ 66 w 130"/>
                  <a:gd name="T13" fmla="*/ 148 h 152"/>
                  <a:gd name="T14" fmla="*/ 80 w 130"/>
                  <a:gd name="T15" fmla="*/ 135 h 152"/>
                  <a:gd name="T16" fmla="*/ 86 w 130"/>
                  <a:gd name="T17" fmla="*/ 128 h 152"/>
                  <a:gd name="T18" fmla="*/ 89 w 130"/>
                  <a:gd name="T19" fmla="*/ 109 h 152"/>
                  <a:gd name="T20" fmla="*/ 93 w 130"/>
                  <a:gd name="T21" fmla="*/ 99 h 152"/>
                  <a:gd name="T22" fmla="*/ 100 w 130"/>
                  <a:gd name="T23" fmla="*/ 86 h 152"/>
                  <a:gd name="T24" fmla="*/ 113 w 130"/>
                  <a:gd name="T25" fmla="*/ 77 h 152"/>
                  <a:gd name="T26" fmla="*/ 116 w 130"/>
                  <a:gd name="T27" fmla="*/ 72 h 152"/>
                  <a:gd name="T28" fmla="*/ 117 w 130"/>
                  <a:gd name="T29" fmla="*/ 60 h 152"/>
                  <a:gd name="T30" fmla="*/ 119 w 130"/>
                  <a:gd name="T31" fmla="*/ 43 h 152"/>
                  <a:gd name="T32" fmla="*/ 122 w 130"/>
                  <a:gd name="T33" fmla="*/ 31 h 152"/>
                  <a:gd name="T34" fmla="*/ 130 w 130"/>
                  <a:gd name="T35" fmla="*/ 10 h 152"/>
                  <a:gd name="T36" fmla="*/ 123 w 130"/>
                  <a:gd name="T37" fmla="*/ 3 h 152"/>
                  <a:gd name="T38" fmla="*/ 110 w 130"/>
                  <a:gd name="T39" fmla="*/ 0 h 152"/>
                  <a:gd name="T40" fmla="*/ 93 w 130"/>
                  <a:gd name="T41" fmla="*/ 10 h 152"/>
                  <a:gd name="T42" fmla="*/ 89 w 130"/>
                  <a:gd name="T43" fmla="*/ 24 h 152"/>
                  <a:gd name="T44" fmla="*/ 86 w 130"/>
                  <a:gd name="T45" fmla="*/ 31 h 152"/>
                  <a:gd name="T46" fmla="*/ 86 w 130"/>
                  <a:gd name="T47" fmla="*/ 34 h 152"/>
                  <a:gd name="T48" fmla="*/ 66 w 130"/>
                  <a:gd name="T49" fmla="*/ 29 h 152"/>
                  <a:gd name="T50" fmla="*/ 37 w 130"/>
                  <a:gd name="T51" fmla="*/ 27 h 152"/>
                  <a:gd name="T52" fmla="*/ 36 w 130"/>
                  <a:gd name="T53" fmla="*/ 37 h 152"/>
                  <a:gd name="T54" fmla="*/ 40 w 130"/>
                  <a:gd name="T55" fmla="*/ 43 h 152"/>
                  <a:gd name="T56" fmla="*/ 56 w 130"/>
                  <a:gd name="T57" fmla="*/ 44 h 152"/>
                  <a:gd name="T58" fmla="*/ 56 w 130"/>
                  <a:gd name="T59" fmla="*/ 53 h 152"/>
                  <a:gd name="T60" fmla="*/ 49 w 130"/>
                  <a:gd name="T61" fmla="*/ 57 h 152"/>
                  <a:gd name="T62" fmla="*/ 49 w 130"/>
                  <a:gd name="T63" fmla="*/ 67 h 152"/>
                  <a:gd name="T64" fmla="*/ 57 w 130"/>
                  <a:gd name="T65" fmla="*/ 75 h 152"/>
                  <a:gd name="T66" fmla="*/ 57 w 130"/>
                  <a:gd name="T67" fmla="*/ 86 h 152"/>
                  <a:gd name="T68" fmla="*/ 54 w 130"/>
                  <a:gd name="T69" fmla="*/ 100 h 152"/>
                  <a:gd name="T70" fmla="*/ 51 w 130"/>
                  <a:gd name="T71" fmla="*/ 108 h 152"/>
                  <a:gd name="T72" fmla="*/ 47 w 130"/>
                  <a:gd name="T73" fmla="*/ 108 h 152"/>
                  <a:gd name="T74" fmla="*/ 46 w 130"/>
                  <a:gd name="T75" fmla="*/ 103 h 152"/>
                  <a:gd name="T76" fmla="*/ 41 w 130"/>
                  <a:gd name="T77" fmla="*/ 106 h 152"/>
                  <a:gd name="T78" fmla="*/ 31 w 130"/>
                  <a:gd name="T79" fmla="*/ 103 h 152"/>
                  <a:gd name="T80" fmla="*/ 23 w 130"/>
                  <a:gd name="T81" fmla="*/ 100 h 152"/>
                  <a:gd name="T82" fmla="*/ 20 w 130"/>
                  <a:gd name="T83" fmla="*/ 106 h 152"/>
                  <a:gd name="T84" fmla="*/ 7 w 130"/>
                  <a:gd name="T85" fmla="*/ 106 h 152"/>
                  <a:gd name="T86" fmla="*/ 8 w 130"/>
                  <a:gd name="T87" fmla="*/ 115 h 152"/>
                  <a:gd name="T88" fmla="*/ 10 w 130"/>
                  <a:gd name="T89" fmla="*/ 122 h 152"/>
                  <a:gd name="T90" fmla="*/ 11 w 130"/>
                  <a:gd name="T91" fmla="*/ 128 h 152"/>
                  <a:gd name="T92" fmla="*/ 11 w 130"/>
                  <a:gd name="T93" fmla="*/ 129 h 152"/>
                  <a:gd name="T94" fmla="*/ 8 w 130"/>
                  <a:gd name="T95" fmla="*/ 128 h 152"/>
                  <a:gd name="T96" fmla="*/ 3 w 130"/>
                  <a:gd name="T97" fmla="*/ 128 h 152"/>
                  <a:gd name="T98" fmla="*/ 0 w 130"/>
                  <a:gd name="T99" fmla="*/ 134 h 152"/>
                  <a:gd name="T100" fmla="*/ 11 w 130"/>
                  <a:gd name="T101" fmla="*/ 148 h 152"/>
                  <a:gd name="T102" fmla="*/ 27 w 130"/>
                  <a:gd name="T103" fmla="*/ 1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 h="152">
                    <a:moveTo>
                      <a:pt x="27" y="144"/>
                    </a:moveTo>
                    <a:lnTo>
                      <a:pt x="28" y="144"/>
                    </a:lnTo>
                    <a:lnTo>
                      <a:pt x="31" y="144"/>
                    </a:lnTo>
                    <a:lnTo>
                      <a:pt x="33" y="146"/>
                    </a:lnTo>
                    <a:lnTo>
                      <a:pt x="34" y="146"/>
                    </a:lnTo>
                    <a:lnTo>
                      <a:pt x="36" y="146"/>
                    </a:lnTo>
                    <a:lnTo>
                      <a:pt x="37" y="148"/>
                    </a:lnTo>
                    <a:lnTo>
                      <a:pt x="38" y="149"/>
                    </a:lnTo>
                    <a:lnTo>
                      <a:pt x="40" y="149"/>
                    </a:lnTo>
                    <a:lnTo>
                      <a:pt x="41" y="149"/>
                    </a:lnTo>
                    <a:lnTo>
                      <a:pt x="43" y="148"/>
                    </a:lnTo>
                    <a:lnTo>
                      <a:pt x="44" y="146"/>
                    </a:lnTo>
                    <a:lnTo>
                      <a:pt x="44" y="145"/>
                    </a:lnTo>
                    <a:lnTo>
                      <a:pt x="44" y="144"/>
                    </a:lnTo>
                    <a:lnTo>
                      <a:pt x="44" y="144"/>
                    </a:lnTo>
                    <a:lnTo>
                      <a:pt x="46" y="142"/>
                    </a:lnTo>
                    <a:lnTo>
                      <a:pt x="46" y="142"/>
                    </a:lnTo>
                    <a:lnTo>
                      <a:pt x="47" y="144"/>
                    </a:lnTo>
                    <a:lnTo>
                      <a:pt x="47" y="144"/>
                    </a:lnTo>
                    <a:lnTo>
                      <a:pt x="49" y="144"/>
                    </a:lnTo>
                    <a:lnTo>
                      <a:pt x="54" y="141"/>
                    </a:lnTo>
                    <a:lnTo>
                      <a:pt x="56" y="141"/>
                    </a:lnTo>
                    <a:lnTo>
                      <a:pt x="57" y="142"/>
                    </a:lnTo>
                    <a:lnTo>
                      <a:pt x="57" y="146"/>
                    </a:lnTo>
                    <a:lnTo>
                      <a:pt x="57" y="149"/>
                    </a:lnTo>
                    <a:lnTo>
                      <a:pt x="61" y="151"/>
                    </a:lnTo>
                    <a:lnTo>
                      <a:pt x="63" y="149"/>
                    </a:lnTo>
                    <a:lnTo>
                      <a:pt x="66" y="148"/>
                    </a:lnTo>
                    <a:lnTo>
                      <a:pt x="69" y="144"/>
                    </a:lnTo>
                    <a:lnTo>
                      <a:pt x="73" y="139"/>
                    </a:lnTo>
                    <a:lnTo>
                      <a:pt x="77" y="136"/>
                    </a:lnTo>
                    <a:lnTo>
                      <a:pt x="80" y="135"/>
                    </a:lnTo>
                    <a:lnTo>
                      <a:pt x="82" y="134"/>
                    </a:lnTo>
                    <a:lnTo>
                      <a:pt x="83" y="132"/>
                    </a:lnTo>
                    <a:lnTo>
                      <a:pt x="84" y="131"/>
                    </a:lnTo>
                    <a:lnTo>
                      <a:pt x="86" y="128"/>
                    </a:lnTo>
                    <a:lnTo>
                      <a:pt x="87" y="125"/>
                    </a:lnTo>
                    <a:lnTo>
                      <a:pt x="89" y="121"/>
                    </a:lnTo>
                    <a:lnTo>
                      <a:pt x="89" y="118"/>
                    </a:lnTo>
                    <a:lnTo>
                      <a:pt x="89" y="109"/>
                    </a:lnTo>
                    <a:lnTo>
                      <a:pt x="89" y="106"/>
                    </a:lnTo>
                    <a:lnTo>
                      <a:pt x="89" y="103"/>
                    </a:lnTo>
                    <a:lnTo>
                      <a:pt x="90" y="100"/>
                    </a:lnTo>
                    <a:lnTo>
                      <a:pt x="93" y="99"/>
                    </a:lnTo>
                    <a:lnTo>
                      <a:pt x="94" y="96"/>
                    </a:lnTo>
                    <a:lnTo>
                      <a:pt x="96" y="93"/>
                    </a:lnTo>
                    <a:lnTo>
                      <a:pt x="99" y="89"/>
                    </a:lnTo>
                    <a:lnTo>
                      <a:pt x="100" y="86"/>
                    </a:lnTo>
                    <a:lnTo>
                      <a:pt x="103" y="85"/>
                    </a:lnTo>
                    <a:lnTo>
                      <a:pt x="109" y="82"/>
                    </a:lnTo>
                    <a:lnTo>
                      <a:pt x="110" y="79"/>
                    </a:lnTo>
                    <a:lnTo>
                      <a:pt x="113" y="77"/>
                    </a:lnTo>
                    <a:lnTo>
                      <a:pt x="115" y="76"/>
                    </a:lnTo>
                    <a:lnTo>
                      <a:pt x="115" y="75"/>
                    </a:lnTo>
                    <a:lnTo>
                      <a:pt x="116" y="73"/>
                    </a:lnTo>
                    <a:lnTo>
                      <a:pt x="116" y="72"/>
                    </a:lnTo>
                    <a:lnTo>
                      <a:pt x="115" y="70"/>
                    </a:lnTo>
                    <a:lnTo>
                      <a:pt x="115" y="69"/>
                    </a:lnTo>
                    <a:lnTo>
                      <a:pt x="116" y="66"/>
                    </a:lnTo>
                    <a:lnTo>
                      <a:pt x="117" y="60"/>
                    </a:lnTo>
                    <a:lnTo>
                      <a:pt x="119" y="57"/>
                    </a:lnTo>
                    <a:lnTo>
                      <a:pt x="117" y="47"/>
                    </a:lnTo>
                    <a:lnTo>
                      <a:pt x="119" y="44"/>
                    </a:lnTo>
                    <a:lnTo>
                      <a:pt x="119" y="43"/>
                    </a:lnTo>
                    <a:lnTo>
                      <a:pt x="120" y="39"/>
                    </a:lnTo>
                    <a:lnTo>
                      <a:pt x="120" y="37"/>
                    </a:lnTo>
                    <a:lnTo>
                      <a:pt x="122" y="36"/>
                    </a:lnTo>
                    <a:lnTo>
                      <a:pt x="122" y="31"/>
                    </a:lnTo>
                    <a:lnTo>
                      <a:pt x="122" y="30"/>
                    </a:lnTo>
                    <a:lnTo>
                      <a:pt x="123" y="23"/>
                    </a:lnTo>
                    <a:lnTo>
                      <a:pt x="128" y="17"/>
                    </a:lnTo>
                    <a:lnTo>
                      <a:pt x="130" y="10"/>
                    </a:lnTo>
                    <a:lnTo>
                      <a:pt x="130" y="3"/>
                    </a:lnTo>
                    <a:lnTo>
                      <a:pt x="129" y="1"/>
                    </a:lnTo>
                    <a:lnTo>
                      <a:pt x="128" y="1"/>
                    </a:lnTo>
                    <a:lnTo>
                      <a:pt x="123" y="3"/>
                    </a:lnTo>
                    <a:lnTo>
                      <a:pt x="122" y="3"/>
                    </a:lnTo>
                    <a:lnTo>
                      <a:pt x="122" y="3"/>
                    </a:lnTo>
                    <a:lnTo>
                      <a:pt x="113" y="1"/>
                    </a:lnTo>
                    <a:lnTo>
                      <a:pt x="110" y="0"/>
                    </a:lnTo>
                    <a:lnTo>
                      <a:pt x="99" y="3"/>
                    </a:lnTo>
                    <a:lnTo>
                      <a:pt x="96" y="4"/>
                    </a:lnTo>
                    <a:lnTo>
                      <a:pt x="93" y="9"/>
                    </a:lnTo>
                    <a:lnTo>
                      <a:pt x="93" y="10"/>
                    </a:lnTo>
                    <a:lnTo>
                      <a:pt x="93" y="14"/>
                    </a:lnTo>
                    <a:lnTo>
                      <a:pt x="93" y="16"/>
                    </a:lnTo>
                    <a:lnTo>
                      <a:pt x="92" y="17"/>
                    </a:lnTo>
                    <a:lnTo>
                      <a:pt x="89" y="24"/>
                    </a:lnTo>
                    <a:lnTo>
                      <a:pt x="87" y="26"/>
                    </a:lnTo>
                    <a:lnTo>
                      <a:pt x="87" y="27"/>
                    </a:lnTo>
                    <a:lnTo>
                      <a:pt x="86" y="29"/>
                    </a:lnTo>
                    <a:lnTo>
                      <a:pt x="86" y="31"/>
                    </a:lnTo>
                    <a:lnTo>
                      <a:pt x="87" y="33"/>
                    </a:lnTo>
                    <a:lnTo>
                      <a:pt x="87" y="34"/>
                    </a:lnTo>
                    <a:lnTo>
                      <a:pt x="87" y="34"/>
                    </a:lnTo>
                    <a:lnTo>
                      <a:pt x="86" y="34"/>
                    </a:lnTo>
                    <a:lnTo>
                      <a:pt x="83" y="33"/>
                    </a:lnTo>
                    <a:lnTo>
                      <a:pt x="79" y="31"/>
                    </a:lnTo>
                    <a:lnTo>
                      <a:pt x="76" y="30"/>
                    </a:lnTo>
                    <a:lnTo>
                      <a:pt x="66" y="29"/>
                    </a:lnTo>
                    <a:lnTo>
                      <a:pt x="63" y="27"/>
                    </a:lnTo>
                    <a:lnTo>
                      <a:pt x="61" y="27"/>
                    </a:lnTo>
                    <a:lnTo>
                      <a:pt x="59" y="27"/>
                    </a:lnTo>
                    <a:lnTo>
                      <a:pt x="37" y="27"/>
                    </a:lnTo>
                    <a:lnTo>
                      <a:pt x="37" y="29"/>
                    </a:lnTo>
                    <a:lnTo>
                      <a:pt x="36" y="33"/>
                    </a:lnTo>
                    <a:lnTo>
                      <a:pt x="36" y="36"/>
                    </a:lnTo>
                    <a:lnTo>
                      <a:pt x="36" y="37"/>
                    </a:lnTo>
                    <a:lnTo>
                      <a:pt x="36" y="39"/>
                    </a:lnTo>
                    <a:lnTo>
                      <a:pt x="36" y="40"/>
                    </a:lnTo>
                    <a:lnTo>
                      <a:pt x="36" y="42"/>
                    </a:lnTo>
                    <a:lnTo>
                      <a:pt x="40" y="43"/>
                    </a:lnTo>
                    <a:lnTo>
                      <a:pt x="44" y="42"/>
                    </a:lnTo>
                    <a:lnTo>
                      <a:pt x="50" y="40"/>
                    </a:lnTo>
                    <a:lnTo>
                      <a:pt x="54" y="43"/>
                    </a:lnTo>
                    <a:lnTo>
                      <a:pt x="56" y="44"/>
                    </a:lnTo>
                    <a:lnTo>
                      <a:pt x="57" y="47"/>
                    </a:lnTo>
                    <a:lnTo>
                      <a:pt x="57" y="49"/>
                    </a:lnTo>
                    <a:lnTo>
                      <a:pt x="57" y="50"/>
                    </a:lnTo>
                    <a:lnTo>
                      <a:pt x="56" y="53"/>
                    </a:lnTo>
                    <a:lnTo>
                      <a:pt x="54" y="54"/>
                    </a:lnTo>
                    <a:lnTo>
                      <a:pt x="53" y="54"/>
                    </a:lnTo>
                    <a:lnTo>
                      <a:pt x="51" y="56"/>
                    </a:lnTo>
                    <a:lnTo>
                      <a:pt x="49" y="57"/>
                    </a:lnTo>
                    <a:lnTo>
                      <a:pt x="49" y="60"/>
                    </a:lnTo>
                    <a:lnTo>
                      <a:pt x="47" y="63"/>
                    </a:lnTo>
                    <a:lnTo>
                      <a:pt x="47" y="66"/>
                    </a:lnTo>
                    <a:lnTo>
                      <a:pt x="49" y="67"/>
                    </a:lnTo>
                    <a:lnTo>
                      <a:pt x="49" y="69"/>
                    </a:lnTo>
                    <a:lnTo>
                      <a:pt x="53" y="72"/>
                    </a:lnTo>
                    <a:lnTo>
                      <a:pt x="56" y="73"/>
                    </a:lnTo>
                    <a:lnTo>
                      <a:pt x="57" y="75"/>
                    </a:lnTo>
                    <a:lnTo>
                      <a:pt x="59" y="76"/>
                    </a:lnTo>
                    <a:lnTo>
                      <a:pt x="59" y="77"/>
                    </a:lnTo>
                    <a:lnTo>
                      <a:pt x="57" y="83"/>
                    </a:lnTo>
                    <a:lnTo>
                      <a:pt x="57" y="86"/>
                    </a:lnTo>
                    <a:lnTo>
                      <a:pt x="57" y="93"/>
                    </a:lnTo>
                    <a:lnTo>
                      <a:pt x="57" y="95"/>
                    </a:lnTo>
                    <a:lnTo>
                      <a:pt x="57" y="96"/>
                    </a:lnTo>
                    <a:lnTo>
                      <a:pt x="54" y="100"/>
                    </a:lnTo>
                    <a:lnTo>
                      <a:pt x="53" y="103"/>
                    </a:lnTo>
                    <a:lnTo>
                      <a:pt x="53" y="106"/>
                    </a:lnTo>
                    <a:lnTo>
                      <a:pt x="51" y="108"/>
                    </a:lnTo>
                    <a:lnTo>
                      <a:pt x="51" y="108"/>
                    </a:lnTo>
                    <a:lnTo>
                      <a:pt x="50" y="108"/>
                    </a:lnTo>
                    <a:lnTo>
                      <a:pt x="50" y="109"/>
                    </a:lnTo>
                    <a:lnTo>
                      <a:pt x="49" y="108"/>
                    </a:lnTo>
                    <a:lnTo>
                      <a:pt x="47" y="108"/>
                    </a:lnTo>
                    <a:lnTo>
                      <a:pt x="47" y="108"/>
                    </a:lnTo>
                    <a:lnTo>
                      <a:pt x="49" y="106"/>
                    </a:lnTo>
                    <a:lnTo>
                      <a:pt x="47" y="106"/>
                    </a:lnTo>
                    <a:lnTo>
                      <a:pt x="46" y="103"/>
                    </a:lnTo>
                    <a:lnTo>
                      <a:pt x="46" y="103"/>
                    </a:lnTo>
                    <a:lnTo>
                      <a:pt x="44" y="103"/>
                    </a:lnTo>
                    <a:lnTo>
                      <a:pt x="43" y="105"/>
                    </a:lnTo>
                    <a:lnTo>
                      <a:pt x="41" y="106"/>
                    </a:lnTo>
                    <a:lnTo>
                      <a:pt x="38" y="106"/>
                    </a:lnTo>
                    <a:lnTo>
                      <a:pt x="37" y="106"/>
                    </a:lnTo>
                    <a:lnTo>
                      <a:pt x="34" y="106"/>
                    </a:lnTo>
                    <a:lnTo>
                      <a:pt x="31" y="103"/>
                    </a:lnTo>
                    <a:lnTo>
                      <a:pt x="28" y="99"/>
                    </a:lnTo>
                    <a:lnTo>
                      <a:pt x="24" y="96"/>
                    </a:lnTo>
                    <a:lnTo>
                      <a:pt x="23" y="99"/>
                    </a:lnTo>
                    <a:lnTo>
                      <a:pt x="23" y="100"/>
                    </a:lnTo>
                    <a:lnTo>
                      <a:pt x="23" y="102"/>
                    </a:lnTo>
                    <a:lnTo>
                      <a:pt x="23" y="105"/>
                    </a:lnTo>
                    <a:lnTo>
                      <a:pt x="23" y="106"/>
                    </a:lnTo>
                    <a:lnTo>
                      <a:pt x="20" y="106"/>
                    </a:lnTo>
                    <a:lnTo>
                      <a:pt x="18" y="106"/>
                    </a:lnTo>
                    <a:lnTo>
                      <a:pt x="14" y="106"/>
                    </a:lnTo>
                    <a:lnTo>
                      <a:pt x="8" y="106"/>
                    </a:lnTo>
                    <a:lnTo>
                      <a:pt x="7" y="106"/>
                    </a:lnTo>
                    <a:lnTo>
                      <a:pt x="7" y="108"/>
                    </a:lnTo>
                    <a:lnTo>
                      <a:pt x="7" y="113"/>
                    </a:lnTo>
                    <a:lnTo>
                      <a:pt x="7" y="115"/>
                    </a:lnTo>
                    <a:lnTo>
                      <a:pt x="8" y="115"/>
                    </a:lnTo>
                    <a:lnTo>
                      <a:pt x="10" y="116"/>
                    </a:lnTo>
                    <a:lnTo>
                      <a:pt x="10" y="119"/>
                    </a:lnTo>
                    <a:lnTo>
                      <a:pt x="10" y="121"/>
                    </a:lnTo>
                    <a:lnTo>
                      <a:pt x="10" y="122"/>
                    </a:lnTo>
                    <a:lnTo>
                      <a:pt x="13" y="122"/>
                    </a:lnTo>
                    <a:lnTo>
                      <a:pt x="13" y="123"/>
                    </a:lnTo>
                    <a:lnTo>
                      <a:pt x="13" y="125"/>
                    </a:lnTo>
                    <a:lnTo>
                      <a:pt x="11" y="128"/>
                    </a:lnTo>
                    <a:lnTo>
                      <a:pt x="11" y="128"/>
                    </a:lnTo>
                    <a:lnTo>
                      <a:pt x="13" y="128"/>
                    </a:lnTo>
                    <a:lnTo>
                      <a:pt x="13" y="129"/>
                    </a:lnTo>
                    <a:lnTo>
                      <a:pt x="11" y="129"/>
                    </a:lnTo>
                    <a:lnTo>
                      <a:pt x="11" y="131"/>
                    </a:lnTo>
                    <a:lnTo>
                      <a:pt x="10" y="129"/>
                    </a:lnTo>
                    <a:lnTo>
                      <a:pt x="8" y="129"/>
                    </a:lnTo>
                    <a:lnTo>
                      <a:pt x="8" y="128"/>
                    </a:lnTo>
                    <a:lnTo>
                      <a:pt x="7" y="128"/>
                    </a:lnTo>
                    <a:lnTo>
                      <a:pt x="5" y="126"/>
                    </a:lnTo>
                    <a:lnTo>
                      <a:pt x="4" y="126"/>
                    </a:lnTo>
                    <a:lnTo>
                      <a:pt x="3" y="128"/>
                    </a:lnTo>
                    <a:lnTo>
                      <a:pt x="1" y="129"/>
                    </a:lnTo>
                    <a:lnTo>
                      <a:pt x="1" y="131"/>
                    </a:lnTo>
                    <a:lnTo>
                      <a:pt x="0" y="132"/>
                    </a:lnTo>
                    <a:lnTo>
                      <a:pt x="0" y="134"/>
                    </a:lnTo>
                    <a:lnTo>
                      <a:pt x="7" y="141"/>
                    </a:lnTo>
                    <a:lnTo>
                      <a:pt x="10" y="144"/>
                    </a:lnTo>
                    <a:lnTo>
                      <a:pt x="11" y="146"/>
                    </a:lnTo>
                    <a:lnTo>
                      <a:pt x="11" y="148"/>
                    </a:lnTo>
                    <a:lnTo>
                      <a:pt x="13" y="151"/>
                    </a:lnTo>
                    <a:lnTo>
                      <a:pt x="15" y="152"/>
                    </a:lnTo>
                    <a:lnTo>
                      <a:pt x="23" y="145"/>
                    </a:lnTo>
                    <a:lnTo>
                      <a:pt x="27" y="14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95" name="Freeform 182">
                <a:extLst>
                  <a:ext uri="{FF2B5EF4-FFF2-40B4-BE49-F238E27FC236}">
                    <a16:creationId xmlns:a16="http://schemas.microsoft.com/office/drawing/2014/main" id="{45A976AF-ACCC-4439-EB75-4500DA57CEBE}"/>
                  </a:ext>
                </a:extLst>
              </p:cNvPr>
              <p:cNvSpPr>
                <a:spLocks noEditPoints="1"/>
              </p:cNvSpPr>
              <p:nvPr/>
            </p:nvSpPr>
            <p:spPr bwMode="auto">
              <a:xfrm>
                <a:off x="4080" y="2903"/>
                <a:ext cx="185" cy="306"/>
              </a:xfrm>
              <a:custGeom>
                <a:avLst/>
                <a:gdLst>
                  <a:gd name="T0" fmla="*/ 145 w 185"/>
                  <a:gd name="T1" fmla="*/ 16 h 306"/>
                  <a:gd name="T2" fmla="*/ 133 w 185"/>
                  <a:gd name="T3" fmla="*/ 16 h 306"/>
                  <a:gd name="T4" fmla="*/ 126 w 185"/>
                  <a:gd name="T5" fmla="*/ 22 h 306"/>
                  <a:gd name="T6" fmla="*/ 106 w 185"/>
                  <a:gd name="T7" fmla="*/ 22 h 306"/>
                  <a:gd name="T8" fmla="*/ 97 w 185"/>
                  <a:gd name="T9" fmla="*/ 19 h 306"/>
                  <a:gd name="T10" fmla="*/ 79 w 185"/>
                  <a:gd name="T11" fmla="*/ 20 h 306"/>
                  <a:gd name="T12" fmla="*/ 76 w 185"/>
                  <a:gd name="T13" fmla="*/ 52 h 306"/>
                  <a:gd name="T14" fmla="*/ 95 w 185"/>
                  <a:gd name="T15" fmla="*/ 70 h 306"/>
                  <a:gd name="T16" fmla="*/ 97 w 185"/>
                  <a:gd name="T17" fmla="*/ 95 h 306"/>
                  <a:gd name="T18" fmla="*/ 89 w 185"/>
                  <a:gd name="T19" fmla="*/ 103 h 306"/>
                  <a:gd name="T20" fmla="*/ 87 w 185"/>
                  <a:gd name="T21" fmla="*/ 116 h 306"/>
                  <a:gd name="T22" fmla="*/ 84 w 185"/>
                  <a:gd name="T23" fmla="*/ 118 h 306"/>
                  <a:gd name="T24" fmla="*/ 73 w 185"/>
                  <a:gd name="T25" fmla="*/ 103 h 306"/>
                  <a:gd name="T26" fmla="*/ 74 w 185"/>
                  <a:gd name="T27" fmla="*/ 88 h 306"/>
                  <a:gd name="T28" fmla="*/ 74 w 185"/>
                  <a:gd name="T29" fmla="*/ 75 h 306"/>
                  <a:gd name="T30" fmla="*/ 60 w 185"/>
                  <a:gd name="T31" fmla="*/ 73 h 306"/>
                  <a:gd name="T32" fmla="*/ 3 w 185"/>
                  <a:gd name="T33" fmla="*/ 80 h 306"/>
                  <a:gd name="T34" fmla="*/ 1 w 185"/>
                  <a:gd name="T35" fmla="*/ 91 h 306"/>
                  <a:gd name="T36" fmla="*/ 5 w 185"/>
                  <a:gd name="T37" fmla="*/ 101 h 306"/>
                  <a:gd name="T38" fmla="*/ 28 w 185"/>
                  <a:gd name="T39" fmla="*/ 106 h 306"/>
                  <a:gd name="T40" fmla="*/ 40 w 185"/>
                  <a:gd name="T41" fmla="*/ 109 h 306"/>
                  <a:gd name="T42" fmla="*/ 46 w 185"/>
                  <a:gd name="T43" fmla="*/ 114 h 306"/>
                  <a:gd name="T44" fmla="*/ 46 w 185"/>
                  <a:gd name="T45" fmla="*/ 116 h 306"/>
                  <a:gd name="T46" fmla="*/ 47 w 185"/>
                  <a:gd name="T47" fmla="*/ 144 h 306"/>
                  <a:gd name="T48" fmla="*/ 43 w 185"/>
                  <a:gd name="T49" fmla="*/ 154 h 306"/>
                  <a:gd name="T50" fmla="*/ 46 w 185"/>
                  <a:gd name="T51" fmla="*/ 158 h 306"/>
                  <a:gd name="T52" fmla="*/ 44 w 185"/>
                  <a:gd name="T53" fmla="*/ 165 h 306"/>
                  <a:gd name="T54" fmla="*/ 47 w 185"/>
                  <a:gd name="T55" fmla="*/ 174 h 306"/>
                  <a:gd name="T56" fmla="*/ 40 w 185"/>
                  <a:gd name="T57" fmla="*/ 187 h 306"/>
                  <a:gd name="T58" fmla="*/ 37 w 185"/>
                  <a:gd name="T59" fmla="*/ 195 h 306"/>
                  <a:gd name="T60" fmla="*/ 31 w 185"/>
                  <a:gd name="T61" fmla="*/ 205 h 306"/>
                  <a:gd name="T62" fmla="*/ 28 w 185"/>
                  <a:gd name="T63" fmla="*/ 251 h 306"/>
                  <a:gd name="T64" fmla="*/ 30 w 185"/>
                  <a:gd name="T65" fmla="*/ 287 h 306"/>
                  <a:gd name="T66" fmla="*/ 46 w 185"/>
                  <a:gd name="T67" fmla="*/ 306 h 306"/>
                  <a:gd name="T68" fmla="*/ 46 w 185"/>
                  <a:gd name="T69" fmla="*/ 295 h 306"/>
                  <a:gd name="T70" fmla="*/ 43 w 185"/>
                  <a:gd name="T71" fmla="*/ 283 h 306"/>
                  <a:gd name="T72" fmla="*/ 76 w 185"/>
                  <a:gd name="T73" fmla="*/ 266 h 306"/>
                  <a:gd name="T74" fmla="*/ 92 w 185"/>
                  <a:gd name="T75" fmla="*/ 246 h 306"/>
                  <a:gd name="T76" fmla="*/ 92 w 185"/>
                  <a:gd name="T77" fmla="*/ 234 h 306"/>
                  <a:gd name="T78" fmla="*/ 93 w 185"/>
                  <a:gd name="T79" fmla="*/ 218 h 306"/>
                  <a:gd name="T80" fmla="*/ 89 w 185"/>
                  <a:gd name="T81" fmla="*/ 218 h 306"/>
                  <a:gd name="T82" fmla="*/ 77 w 185"/>
                  <a:gd name="T83" fmla="*/ 181 h 306"/>
                  <a:gd name="T84" fmla="*/ 79 w 185"/>
                  <a:gd name="T85" fmla="*/ 170 h 306"/>
                  <a:gd name="T86" fmla="*/ 87 w 185"/>
                  <a:gd name="T87" fmla="*/ 167 h 306"/>
                  <a:gd name="T88" fmla="*/ 103 w 185"/>
                  <a:gd name="T89" fmla="*/ 152 h 306"/>
                  <a:gd name="T90" fmla="*/ 119 w 185"/>
                  <a:gd name="T91" fmla="*/ 135 h 306"/>
                  <a:gd name="T92" fmla="*/ 152 w 185"/>
                  <a:gd name="T93" fmla="*/ 118 h 306"/>
                  <a:gd name="T94" fmla="*/ 168 w 185"/>
                  <a:gd name="T95" fmla="*/ 106 h 306"/>
                  <a:gd name="T96" fmla="*/ 171 w 185"/>
                  <a:gd name="T97" fmla="*/ 103 h 306"/>
                  <a:gd name="T98" fmla="*/ 182 w 185"/>
                  <a:gd name="T99" fmla="*/ 83 h 306"/>
                  <a:gd name="T100" fmla="*/ 185 w 185"/>
                  <a:gd name="T101" fmla="*/ 73 h 306"/>
                  <a:gd name="T102" fmla="*/ 184 w 185"/>
                  <a:gd name="T103" fmla="*/ 70 h 306"/>
                  <a:gd name="T104" fmla="*/ 182 w 185"/>
                  <a:gd name="T105" fmla="*/ 66 h 306"/>
                  <a:gd name="T106" fmla="*/ 181 w 185"/>
                  <a:gd name="T107" fmla="*/ 46 h 306"/>
                  <a:gd name="T108" fmla="*/ 179 w 185"/>
                  <a:gd name="T109" fmla="*/ 43 h 306"/>
                  <a:gd name="T110" fmla="*/ 179 w 185"/>
                  <a:gd name="T111" fmla="*/ 19 h 306"/>
                  <a:gd name="T112" fmla="*/ 181 w 185"/>
                  <a:gd name="T113" fmla="*/ 6 h 306"/>
                  <a:gd name="T114" fmla="*/ 181 w 185"/>
                  <a:gd name="T115" fmla="*/ 4 h 306"/>
                  <a:gd name="T116" fmla="*/ 179 w 185"/>
                  <a:gd name="T117" fmla="*/ 0 h 306"/>
                  <a:gd name="T118" fmla="*/ 76 w 185"/>
                  <a:gd name="T119" fmla="*/ 27 h 306"/>
                  <a:gd name="T120" fmla="*/ 77 w 185"/>
                  <a:gd name="T121" fmla="*/ 2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5" h="306">
                    <a:moveTo>
                      <a:pt x="168" y="7"/>
                    </a:moveTo>
                    <a:lnTo>
                      <a:pt x="161" y="10"/>
                    </a:lnTo>
                    <a:lnTo>
                      <a:pt x="152" y="13"/>
                    </a:lnTo>
                    <a:lnTo>
                      <a:pt x="149" y="14"/>
                    </a:lnTo>
                    <a:lnTo>
                      <a:pt x="145" y="16"/>
                    </a:lnTo>
                    <a:lnTo>
                      <a:pt x="145" y="16"/>
                    </a:lnTo>
                    <a:lnTo>
                      <a:pt x="139" y="14"/>
                    </a:lnTo>
                    <a:lnTo>
                      <a:pt x="136" y="14"/>
                    </a:lnTo>
                    <a:lnTo>
                      <a:pt x="135" y="14"/>
                    </a:lnTo>
                    <a:lnTo>
                      <a:pt x="133" y="16"/>
                    </a:lnTo>
                    <a:lnTo>
                      <a:pt x="133" y="16"/>
                    </a:lnTo>
                    <a:lnTo>
                      <a:pt x="133" y="17"/>
                    </a:lnTo>
                    <a:lnTo>
                      <a:pt x="132" y="19"/>
                    </a:lnTo>
                    <a:lnTo>
                      <a:pt x="129" y="22"/>
                    </a:lnTo>
                    <a:lnTo>
                      <a:pt x="126" y="22"/>
                    </a:lnTo>
                    <a:lnTo>
                      <a:pt x="123" y="22"/>
                    </a:lnTo>
                    <a:lnTo>
                      <a:pt x="119" y="20"/>
                    </a:lnTo>
                    <a:lnTo>
                      <a:pt x="116" y="20"/>
                    </a:lnTo>
                    <a:lnTo>
                      <a:pt x="109" y="23"/>
                    </a:lnTo>
                    <a:lnTo>
                      <a:pt x="106" y="22"/>
                    </a:lnTo>
                    <a:lnTo>
                      <a:pt x="105" y="22"/>
                    </a:lnTo>
                    <a:lnTo>
                      <a:pt x="102" y="19"/>
                    </a:lnTo>
                    <a:lnTo>
                      <a:pt x="100" y="19"/>
                    </a:lnTo>
                    <a:lnTo>
                      <a:pt x="99" y="17"/>
                    </a:lnTo>
                    <a:lnTo>
                      <a:pt x="97" y="19"/>
                    </a:lnTo>
                    <a:lnTo>
                      <a:pt x="96" y="19"/>
                    </a:lnTo>
                    <a:lnTo>
                      <a:pt x="95" y="20"/>
                    </a:lnTo>
                    <a:lnTo>
                      <a:pt x="92" y="20"/>
                    </a:lnTo>
                    <a:lnTo>
                      <a:pt x="82" y="20"/>
                    </a:lnTo>
                    <a:lnTo>
                      <a:pt x="79" y="20"/>
                    </a:lnTo>
                    <a:lnTo>
                      <a:pt x="77" y="20"/>
                    </a:lnTo>
                    <a:lnTo>
                      <a:pt x="76" y="23"/>
                    </a:lnTo>
                    <a:lnTo>
                      <a:pt x="73" y="30"/>
                    </a:lnTo>
                    <a:lnTo>
                      <a:pt x="72" y="32"/>
                    </a:lnTo>
                    <a:lnTo>
                      <a:pt x="76" y="52"/>
                    </a:lnTo>
                    <a:lnTo>
                      <a:pt x="77" y="53"/>
                    </a:lnTo>
                    <a:lnTo>
                      <a:pt x="82" y="56"/>
                    </a:lnTo>
                    <a:lnTo>
                      <a:pt x="86" y="59"/>
                    </a:lnTo>
                    <a:lnTo>
                      <a:pt x="90" y="65"/>
                    </a:lnTo>
                    <a:lnTo>
                      <a:pt x="95" y="70"/>
                    </a:lnTo>
                    <a:lnTo>
                      <a:pt x="97" y="75"/>
                    </a:lnTo>
                    <a:lnTo>
                      <a:pt x="97" y="78"/>
                    </a:lnTo>
                    <a:lnTo>
                      <a:pt x="97" y="80"/>
                    </a:lnTo>
                    <a:lnTo>
                      <a:pt x="97" y="85"/>
                    </a:lnTo>
                    <a:lnTo>
                      <a:pt x="97" y="95"/>
                    </a:lnTo>
                    <a:lnTo>
                      <a:pt x="97" y="98"/>
                    </a:lnTo>
                    <a:lnTo>
                      <a:pt x="96" y="101"/>
                    </a:lnTo>
                    <a:lnTo>
                      <a:pt x="95" y="102"/>
                    </a:lnTo>
                    <a:lnTo>
                      <a:pt x="92" y="102"/>
                    </a:lnTo>
                    <a:lnTo>
                      <a:pt x="89" y="103"/>
                    </a:lnTo>
                    <a:lnTo>
                      <a:pt x="87" y="105"/>
                    </a:lnTo>
                    <a:lnTo>
                      <a:pt x="87" y="106"/>
                    </a:lnTo>
                    <a:lnTo>
                      <a:pt x="86" y="109"/>
                    </a:lnTo>
                    <a:lnTo>
                      <a:pt x="86" y="111"/>
                    </a:lnTo>
                    <a:lnTo>
                      <a:pt x="87" y="116"/>
                    </a:lnTo>
                    <a:lnTo>
                      <a:pt x="89" y="119"/>
                    </a:lnTo>
                    <a:lnTo>
                      <a:pt x="86" y="121"/>
                    </a:lnTo>
                    <a:lnTo>
                      <a:pt x="84" y="121"/>
                    </a:lnTo>
                    <a:lnTo>
                      <a:pt x="84" y="119"/>
                    </a:lnTo>
                    <a:lnTo>
                      <a:pt x="84" y="118"/>
                    </a:lnTo>
                    <a:lnTo>
                      <a:pt x="84" y="116"/>
                    </a:lnTo>
                    <a:lnTo>
                      <a:pt x="83" y="115"/>
                    </a:lnTo>
                    <a:lnTo>
                      <a:pt x="77" y="109"/>
                    </a:lnTo>
                    <a:lnTo>
                      <a:pt x="74" y="105"/>
                    </a:lnTo>
                    <a:lnTo>
                      <a:pt x="73" y="103"/>
                    </a:lnTo>
                    <a:lnTo>
                      <a:pt x="70" y="99"/>
                    </a:lnTo>
                    <a:lnTo>
                      <a:pt x="70" y="98"/>
                    </a:lnTo>
                    <a:lnTo>
                      <a:pt x="70" y="96"/>
                    </a:lnTo>
                    <a:lnTo>
                      <a:pt x="72" y="93"/>
                    </a:lnTo>
                    <a:lnTo>
                      <a:pt x="74" y="88"/>
                    </a:lnTo>
                    <a:lnTo>
                      <a:pt x="74" y="86"/>
                    </a:lnTo>
                    <a:lnTo>
                      <a:pt x="76" y="83"/>
                    </a:lnTo>
                    <a:lnTo>
                      <a:pt x="76" y="80"/>
                    </a:lnTo>
                    <a:lnTo>
                      <a:pt x="74" y="78"/>
                    </a:lnTo>
                    <a:lnTo>
                      <a:pt x="74" y="75"/>
                    </a:lnTo>
                    <a:lnTo>
                      <a:pt x="73" y="72"/>
                    </a:lnTo>
                    <a:lnTo>
                      <a:pt x="72" y="72"/>
                    </a:lnTo>
                    <a:lnTo>
                      <a:pt x="69" y="72"/>
                    </a:lnTo>
                    <a:lnTo>
                      <a:pt x="62" y="73"/>
                    </a:lnTo>
                    <a:lnTo>
                      <a:pt x="60" y="73"/>
                    </a:lnTo>
                    <a:lnTo>
                      <a:pt x="59" y="73"/>
                    </a:lnTo>
                    <a:lnTo>
                      <a:pt x="56" y="72"/>
                    </a:lnTo>
                    <a:lnTo>
                      <a:pt x="53" y="66"/>
                    </a:lnTo>
                    <a:lnTo>
                      <a:pt x="51" y="63"/>
                    </a:lnTo>
                    <a:lnTo>
                      <a:pt x="3" y="80"/>
                    </a:lnTo>
                    <a:lnTo>
                      <a:pt x="0" y="80"/>
                    </a:lnTo>
                    <a:lnTo>
                      <a:pt x="0" y="82"/>
                    </a:lnTo>
                    <a:lnTo>
                      <a:pt x="0" y="83"/>
                    </a:lnTo>
                    <a:lnTo>
                      <a:pt x="0" y="85"/>
                    </a:lnTo>
                    <a:lnTo>
                      <a:pt x="1" y="91"/>
                    </a:lnTo>
                    <a:lnTo>
                      <a:pt x="3" y="93"/>
                    </a:lnTo>
                    <a:lnTo>
                      <a:pt x="3" y="96"/>
                    </a:lnTo>
                    <a:lnTo>
                      <a:pt x="3" y="98"/>
                    </a:lnTo>
                    <a:lnTo>
                      <a:pt x="4" y="99"/>
                    </a:lnTo>
                    <a:lnTo>
                      <a:pt x="5" y="101"/>
                    </a:lnTo>
                    <a:lnTo>
                      <a:pt x="14" y="101"/>
                    </a:lnTo>
                    <a:lnTo>
                      <a:pt x="17" y="101"/>
                    </a:lnTo>
                    <a:lnTo>
                      <a:pt x="21" y="103"/>
                    </a:lnTo>
                    <a:lnTo>
                      <a:pt x="27" y="105"/>
                    </a:lnTo>
                    <a:lnTo>
                      <a:pt x="28" y="106"/>
                    </a:lnTo>
                    <a:lnTo>
                      <a:pt x="30" y="108"/>
                    </a:lnTo>
                    <a:lnTo>
                      <a:pt x="31" y="108"/>
                    </a:lnTo>
                    <a:lnTo>
                      <a:pt x="36" y="109"/>
                    </a:lnTo>
                    <a:lnTo>
                      <a:pt x="37" y="109"/>
                    </a:lnTo>
                    <a:lnTo>
                      <a:pt x="40" y="109"/>
                    </a:lnTo>
                    <a:lnTo>
                      <a:pt x="41" y="111"/>
                    </a:lnTo>
                    <a:lnTo>
                      <a:pt x="43" y="112"/>
                    </a:lnTo>
                    <a:lnTo>
                      <a:pt x="44" y="112"/>
                    </a:lnTo>
                    <a:lnTo>
                      <a:pt x="46" y="114"/>
                    </a:lnTo>
                    <a:lnTo>
                      <a:pt x="46" y="114"/>
                    </a:lnTo>
                    <a:lnTo>
                      <a:pt x="46" y="114"/>
                    </a:lnTo>
                    <a:lnTo>
                      <a:pt x="47" y="114"/>
                    </a:lnTo>
                    <a:lnTo>
                      <a:pt x="47" y="114"/>
                    </a:lnTo>
                    <a:lnTo>
                      <a:pt x="46" y="116"/>
                    </a:lnTo>
                    <a:lnTo>
                      <a:pt x="46" y="116"/>
                    </a:lnTo>
                    <a:lnTo>
                      <a:pt x="46" y="119"/>
                    </a:lnTo>
                    <a:lnTo>
                      <a:pt x="47" y="124"/>
                    </a:lnTo>
                    <a:lnTo>
                      <a:pt x="47" y="126"/>
                    </a:lnTo>
                    <a:lnTo>
                      <a:pt x="47" y="137"/>
                    </a:lnTo>
                    <a:lnTo>
                      <a:pt x="47" y="144"/>
                    </a:lnTo>
                    <a:lnTo>
                      <a:pt x="47" y="147"/>
                    </a:lnTo>
                    <a:lnTo>
                      <a:pt x="46" y="151"/>
                    </a:lnTo>
                    <a:lnTo>
                      <a:pt x="44" y="152"/>
                    </a:lnTo>
                    <a:lnTo>
                      <a:pt x="43" y="152"/>
                    </a:lnTo>
                    <a:lnTo>
                      <a:pt x="43" y="154"/>
                    </a:lnTo>
                    <a:lnTo>
                      <a:pt x="43" y="155"/>
                    </a:lnTo>
                    <a:lnTo>
                      <a:pt x="43" y="155"/>
                    </a:lnTo>
                    <a:lnTo>
                      <a:pt x="44" y="157"/>
                    </a:lnTo>
                    <a:lnTo>
                      <a:pt x="44" y="157"/>
                    </a:lnTo>
                    <a:lnTo>
                      <a:pt x="46" y="158"/>
                    </a:lnTo>
                    <a:lnTo>
                      <a:pt x="44" y="159"/>
                    </a:lnTo>
                    <a:lnTo>
                      <a:pt x="44" y="161"/>
                    </a:lnTo>
                    <a:lnTo>
                      <a:pt x="44" y="162"/>
                    </a:lnTo>
                    <a:lnTo>
                      <a:pt x="44" y="164"/>
                    </a:lnTo>
                    <a:lnTo>
                      <a:pt x="44" y="165"/>
                    </a:lnTo>
                    <a:lnTo>
                      <a:pt x="44" y="167"/>
                    </a:lnTo>
                    <a:lnTo>
                      <a:pt x="46" y="168"/>
                    </a:lnTo>
                    <a:lnTo>
                      <a:pt x="47" y="171"/>
                    </a:lnTo>
                    <a:lnTo>
                      <a:pt x="47" y="172"/>
                    </a:lnTo>
                    <a:lnTo>
                      <a:pt x="47" y="174"/>
                    </a:lnTo>
                    <a:lnTo>
                      <a:pt x="47" y="175"/>
                    </a:lnTo>
                    <a:lnTo>
                      <a:pt x="46" y="178"/>
                    </a:lnTo>
                    <a:lnTo>
                      <a:pt x="44" y="180"/>
                    </a:lnTo>
                    <a:lnTo>
                      <a:pt x="43" y="182"/>
                    </a:lnTo>
                    <a:lnTo>
                      <a:pt x="40" y="187"/>
                    </a:lnTo>
                    <a:lnTo>
                      <a:pt x="39" y="188"/>
                    </a:lnTo>
                    <a:lnTo>
                      <a:pt x="39" y="190"/>
                    </a:lnTo>
                    <a:lnTo>
                      <a:pt x="39" y="191"/>
                    </a:lnTo>
                    <a:lnTo>
                      <a:pt x="37" y="194"/>
                    </a:lnTo>
                    <a:lnTo>
                      <a:pt x="37" y="195"/>
                    </a:lnTo>
                    <a:lnTo>
                      <a:pt x="37" y="197"/>
                    </a:lnTo>
                    <a:lnTo>
                      <a:pt x="37" y="198"/>
                    </a:lnTo>
                    <a:lnTo>
                      <a:pt x="37" y="198"/>
                    </a:lnTo>
                    <a:lnTo>
                      <a:pt x="36" y="200"/>
                    </a:lnTo>
                    <a:lnTo>
                      <a:pt x="31" y="205"/>
                    </a:lnTo>
                    <a:lnTo>
                      <a:pt x="21" y="216"/>
                    </a:lnTo>
                    <a:lnTo>
                      <a:pt x="17" y="220"/>
                    </a:lnTo>
                    <a:lnTo>
                      <a:pt x="18" y="224"/>
                    </a:lnTo>
                    <a:lnTo>
                      <a:pt x="23" y="241"/>
                    </a:lnTo>
                    <a:lnTo>
                      <a:pt x="28" y="251"/>
                    </a:lnTo>
                    <a:lnTo>
                      <a:pt x="28" y="256"/>
                    </a:lnTo>
                    <a:lnTo>
                      <a:pt x="30" y="260"/>
                    </a:lnTo>
                    <a:lnTo>
                      <a:pt x="30" y="279"/>
                    </a:lnTo>
                    <a:lnTo>
                      <a:pt x="28" y="286"/>
                    </a:lnTo>
                    <a:lnTo>
                      <a:pt x="30" y="287"/>
                    </a:lnTo>
                    <a:lnTo>
                      <a:pt x="31" y="290"/>
                    </a:lnTo>
                    <a:lnTo>
                      <a:pt x="31" y="296"/>
                    </a:lnTo>
                    <a:lnTo>
                      <a:pt x="33" y="305"/>
                    </a:lnTo>
                    <a:lnTo>
                      <a:pt x="36" y="305"/>
                    </a:lnTo>
                    <a:lnTo>
                      <a:pt x="46" y="306"/>
                    </a:lnTo>
                    <a:lnTo>
                      <a:pt x="47" y="290"/>
                    </a:lnTo>
                    <a:lnTo>
                      <a:pt x="46" y="290"/>
                    </a:lnTo>
                    <a:lnTo>
                      <a:pt x="46" y="292"/>
                    </a:lnTo>
                    <a:lnTo>
                      <a:pt x="46" y="293"/>
                    </a:lnTo>
                    <a:lnTo>
                      <a:pt x="46" y="295"/>
                    </a:lnTo>
                    <a:lnTo>
                      <a:pt x="43" y="292"/>
                    </a:lnTo>
                    <a:lnTo>
                      <a:pt x="41" y="290"/>
                    </a:lnTo>
                    <a:lnTo>
                      <a:pt x="41" y="289"/>
                    </a:lnTo>
                    <a:lnTo>
                      <a:pt x="41" y="286"/>
                    </a:lnTo>
                    <a:lnTo>
                      <a:pt x="43" y="283"/>
                    </a:lnTo>
                    <a:lnTo>
                      <a:pt x="46" y="280"/>
                    </a:lnTo>
                    <a:lnTo>
                      <a:pt x="47" y="279"/>
                    </a:lnTo>
                    <a:lnTo>
                      <a:pt x="50" y="276"/>
                    </a:lnTo>
                    <a:lnTo>
                      <a:pt x="57" y="273"/>
                    </a:lnTo>
                    <a:lnTo>
                      <a:pt x="76" y="266"/>
                    </a:lnTo>
                    <a:lnTo>
                      <a:pt x="82" y="263"/>
                    </a:lnTo>
                    <a:lnTo>
                      <a:pt x="87" y="259"/>
                    </a:lnTo>
                    <a:lnTo>
                      <a:pt x="92" y="253"/>
                    </a:lnTo>
                    <a:lnTo>
                      <a:pt x="92" y="247"/>
                    </a:lnTo>
                    <a:lnTo>
                      <a:pt x="92" y="246"/>
                    </a:lnTo>
                    <a:lnTo>
                      <a:pt x="90" y="246"/>
                    </a:lnTo>
                    <a:lnTo>
                      <a:pt x="90" y="246"/>
                    </a:lnTo>
                    <a:lnTo>
                      <a:pt x="90" y="244"/>
                    </a:lnTo>
                    <a:lnTo>
                      <a:pt x="90" y="240"/>
                    </a:lnTo>
                    <a:lnTo>
                      <a:pt x="92" y="234"/>
                    </a:lnTo>
                    <a:lnTo>
                      <a:pt x="93" y="230"/>
                    </a:lnTo>
                    <a:lnTo>
                      <a:pt x="93" y="228"/>
                    </a:lnTo>
                    <a:lnTo>
                      <a:pt x="92" y="226"/>
                    </a:lnTo>
                    <a:lnTo>
                      <a:pt x="92" y="224"/>
                    </a:lnTo>
                    <a:lnTo>
                      <a:pt x="93" y="218"/>
                    </a:lnTo>
                    <a:lnTo>
                      <a:pt x="92" y="217"/>
                    </a:lnTo>
                    <a:lnTo>
                      <a:pt x="92" y="214"/>
                    </a:lnTo>
                    <a:lnTo>
                      <a:pt x="90" y="216"/>
                    </a:lnTo>
                    <a:lnTo>
                      <a:pt x="90" y="220"/>
                    </a:lnTo>
                    <a:lnTo>
                      <a:pt x="89" y="218"/>
                    </a:lnTo>
                    <a:lnTo>
                      <a:pt x="87" y="207"/>
                    </a:lnTo>
                    <a:lnTo>
                      <a:pt x="84" y="193"/>
                    </a:lnTo>
                    <a:lnTo>
                      <a:pt x="83" y="190"/>
                    </a:lnTo>
                    <a:lnTo>
                      <a:pt x="79" y="184"/>
                    </a:lnTo>
                    <a:lnTo>
                      <a:pt x="77" y="181"/>
                    </a:lnTo>
                    <a:lnTo>
                      <a:pt x="77" y="178"/>
                    </a:lnTo>
                    <a:lnTo>
                      <a:pt x="79" y="174"/>
                    </a:lnTo>
                    <a:lnTo>
                      <a:pt x="79" y="171"/>
                    </a:lnTo>
                    <a:lnTo>
                      <a:pt x="77" y="168"/>
                    </a:lnTo>
                    <a:lnTo>
                      <a:pt x="79" y="170"/>
                    </a:lnTo>
                    <a:lnTo>
                      <a:pt x="80" y="170"/>
                    </a:lnTo>
                    <a:lnTo>
                      <a:pt x="82" y="170"/>
                    </a:lnTo>
                    <a:lnTo>
                      <a:pt x="83" y="170"/>
                    </a:lnTo>
                    <a:lnTo>
                      <a:pt x="86" y="168"/>
                    </a:lnTo>
                    <a:lnTo>
                      <a:pt x="87" y="167"/>
                    </a:lnTo>
                    <a:lnTo>
                      <a:pt x="96" y="158"/>
                    </a:lnTo>
                    <a:lnTo>
                      <a:pt x="97" y="155"/>
                    </a:lnTo>
                    <a:lnTo>
                      <a:pt x="100" y="154"/>
                    </a:lnTo>
                    <a:lnTo>
                      <a:pt x="102" y="154"/>
                    </a:lnTo>
                    <a:lnTo>
                      <a:pt x="103" y="152"/>
                    </a:lnTo>
                    <a:lnTo>
                      <a:pt x="105" y="152"/>
                    </a:lnTo>
                    <a:lnTo>
                      <a:pt x="105" y="149"/>
                    </a:lnTo>
                    <a:lnTo>
                      <a:pt x="107" y="151"/>
                    </a:lnTo>
                    <a:lnTo>
                      <a:pt x="109" y="148"/>
                    </a:lnTo>
                    <a:lnTo>
                      <a:pt x="119" y="135"/>
                    </a:lnTo>
                    <a:lnTo>
                      <a:pt x="122" y="134"/>
                    </a:lnTo>
                    <a:lnTo>
                      <a:pt x="128" y="129"/>
                    </a:lnTo>
                    <a:lnTo>
                      <a:pt x="133" y="125"/>
                    </a:lnTo>
                    <a:lnTo>
                      <a:pt x="140" y="122"/>
                    </a:lnTo>
                    <a:lnTo>
                      <a:pt x="152" y="118"/>
                    </a:lnTo>
                    <a:lnTo>
                      <a:pt x="153" y="118"/>
                    </a:lnTo>
                    <a:lnTo>
                      <a:pt x="165" y="111"/>
                    </a:lnTo>
                    <a:lnTo>
                      <a:pt x="168" y="108"/>
                    </a:lnTo>
                    <a:lnTo>
                      <a:pt x="168" y="108"/>
                    </a:lnTo>
                    <a:lnTo>
                      <a:pt x="168" y="106"/>
                    </a:lnTo>
                    <a:lnTo>
                      <a:pt x="168" y="105"/>
                    </a:lnTo>
                    <a:lnTo>
                      <a:pt x="168" y="105"/>
                    </a:lnTo>
                    <a:lnTo>
                      <a:pt x="169" y="105"/>
                    </a:lnTo>
                    <a:lnTo>
                      <a:pt x="171" y="105"/>
                    </a:lnTo>
                    <a:lnTo>
                      <a:pt x="171" y="103"/>
                    </a:lnTo>
                    <a:lnTo>
                      <a:pt x="172" y="101"/>
                    </a:lnTo>
                    <a:lnTo>
                      <a:pt x="179" y="92"/>
                    </a:lnTo>
                    <a:lnTo>
                      <a:pt x="181" y="89"/>
                    </a:lnTo>
                    <a:lnTo>
                      <a:pt x="182" y="88"/>
                    </a:lnTo>
                    <a:lnTo>
                      <a:pt x="182" y="83"/>
                    </a:lnTo>
                    <a:lnTo>
                      <a:pt x="182" y="82"/>
                    </a:lnTo>
                    <a:lnTo>
                      <a:pt x="185" y="79"/>
                    </a:lnTo>
                    <a:lnTo>
                      <a:pt x="185" y="79"/>
                    </a:lnTo>
                    <a:lnTo>
                      <a:pt x="185" y="76"/>
                    </a:lnTo>
                    <a:lnTo>
                      <a:pt x="185" y="73"/>
                    </a:lnTo>
                    <a:lnTo>
                      <a:pt x="184" y="72"/>
                    </a:lnTo>
                    <a:lnTo>
                      <a:pt x="182" y="73"/>
                    </a:lnTo>
                    <a:lnTo>
                      <a:pt x="182" y="72"/>
                    </a:lnTo>
                    <a:lnTo>
                      <a:pt x="182" y="70"/>
                    </a:lnTo>
                    <a:lnTo>
                      <a:pt x="184" y="70"/>
                    </a:lnTo>
                    <a:lnTo>
                      <a:pt x="184" y="69"/>
                    </a:lnTo>
                    <a:lnTo>
                      <a:pt x="184" y="68"/>
                    </a:lnTo>
                    <a:lnTo>
                      <a:pt x="182" y="68"/>
                    </a:lnTo>
                    <a:lnTo>
                      <a:pt x="182" y="68"/>
                    </a:lnTo>
                    <a:lnTo>
                      <a:pt x="182" y="66"/>
                    </a:lnTo>
                    <a:lnTo>
                      <a:pt x="181" y="63"/>
                    </a:lnTo>
                    <a:lnTo>
                      <a:pt x="181" y="56"/>
                    </a:lnTo>
                    <a:lnTo>
                      <a:pt x="181" y="49"/>
                    </a:lnTo>
                    <a:lnTo>
                      <a:pt x="181" y="46"/>
                    </a:lnTo>
                    <a:lnTo>
                      <a:pt x="181" y="46"/>
                    </a:lnTo>
                    <a:lnTo>
                      <a:pt x="179" y="45"/>
                    </a:lnTo>
                    <a:lnTo>
                      <a:pt x="179" y="45"/>
                    </a:lnTo>
                    <a:lnTo>
                      <a:pt x="178" y="45"/>
                    </a:lnTo>
                    <a:lnTo>
                      <a:pt x="179" y="43"/>
                    </a:lnTo>
                    <a:lnTo>
                      <a:pt x="179" y="43"/>
                    </a:lnTo>
                    <a:lnTo>
                      <a:pt x="181" y="43"/>
                    </a:lnTo>
                    <a:lnTo>
                      <a:pt x="181" y="42"/>
                    </a:lnTo>
                    <a:lnTo>
                      <a:pt x="181" y="40"/>
                    </a:lnTo>
                    <a:lnTo>
                      <a:pt x="179" y="33"/>
                    </a:lnTo>
                    <a:lnTo>
                      <a:pt x="179" y="19"/>
                    </a:lnTo>
                    <a:lnTo>
                      <a:pt x="179" y="16"/>
                    </a:lnTo>
                    <a:lnTo>
                      <a:pt x="179" y="13"/>
                    </a:lnTo>
                    <a:lnTo>
                      <a:pt x="179" y="10"/>
                    </a:lnTo>
                    <a:lnTo>
                      <a:pt x="181" y="7"/>
                    </a:lnTo>
                    <a:lnTo>
                      <a:pt x="181" y="6"/>
                    </a:lnTo>
                    <a:lnTo>
                      <a:pt x="181" y="6"/>
                    </a:lnTo>
                    <a:lnTo>
                      <a:pt x="179" y="6"/>
                    </a:lnTo>
                    <a:lnTo>
                      <a:pt x="179" y="6"/>
                    </a:lnTo>
                    <a:lnTo>
                      <a:pt x="181" y="4"/>
                    </a:lnTo>
                    <a:lnTo>
                      <a:pt x="181" y="4"/>
                    </a:lnTo>
                    <a:lnTo>
                      <a:pt x="182" y="3"/>
                    </a:lnTo>
                    <a:lnTo>
                      <a:pt x="181" y="3"/>
                    </a:lnTo>
                    <a:lnTo>
                      <a:pt x="181" y="1"/>
                    </a:lnTo>
                    <a:lnTo>
                      <a:pt x="179" y="1"/>
                    </a:lnTo>
                    <a:lnTo>
                      <a:pt x="179" y="0"/>
                    </a:lnTo>
                    <a:lnTo>
                      <a:pt x="174" y="4"/>
                    </a:lnTo>
                    <a:lnTo>
                      <a:pt x="168" y="7"/>
                    </a:lnTo>
                    <a:close/>
                    <a:moveTo>
                      <a:pt x="76" y="29"/>
                    </a:moveTo>
                    <a:lnTo>
                      <a:pt x="74" y="27"/>
                    </a:lnTo>
                    <a:lnTo>
                      <a:pt x="76" y="27"/>
                    </a:lnTo>
                    <a:lnTo>
                      <a:pt x="77" y="27"/>
                    </a:lnTo>
                    <a:lnTo>
                      <a:pt x="76" y="29"/>
                    </a:lnTo>
                    <a:close/>
                    <a:moveTo>
                      <a:pt x="77" y="29"/>
                    </a:moveTo>
                    <a:lnTo>
                      <a:pt x="77" y="29"/>
                    </a:lnTo>
                    <a:lnTo>
                      <a:pt x="77" y="27"/>
                    </a:lnTo>
                    <a:lnTo>
                      <a:pt x="79" y="29"/>
                    </a:lnTo>
                    <a:lnTo>
                      <a:pt x="77" y="2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96" name="Freeform 183">
                <a:extLst>
                  <a:ext uri="{FF2B5EF4-FFF2-40B4-BE49-F238E27FC236}">
                    <a16:creationId xmlns:a16="http://schemas.microsoft.com/office/drawing/2014/main" id="{71577D71-F81B-2634-1CA7-A081B2373984}"/>
                  </a:ext>
                </a:extLst>
              </p:cNvPr>
              <p:cNvSpPr>
                <a:spLocks/>
              </p:cNvSpPr>
              <p:nvPr/>
            </p:nvSpPr>
            <p:spPr bwMode="auto">
              <a:xfrm>
                <a:off x="3762" y="2624"/>
                <a:ext cx="335" cy="332"/>
              </a:xfrm>
              <a:custGeom>
                <a:avLst/>
                <a:gdLst>
                  <a:gd name="T0" fmla="*/ 94 w 335"/>
                  <a:gd name="T1" fmla="*/ 234 h 332"/>
                  <a:gd name="T2" fmla="*/ 117 w 335"/>
                  <a:gd name="T3" fmla="*/ 234 h 332"/>
                  <a:gd name="T4" fmla="*/ 128 w 335"/>
                  <a:gd name="T5" fmla="*/ 223 h 332"/>
                  <a:gd name="T6" fmla="*/ 148 w 335"/>
                  <a:gd name="T7" fmla="*/ 219 h 332"/>
                  <a:gd name="T8" fmla="*/ 170 w 335"/>
                  <a:gd name="T9" fmla="*/ 226 h 332"/>
                  <a:gd name="T10" fmla="*/ 170 w 335"/>
                  <a:gd name="T11" fmla="*/ 247 h 332"/>
                  <a:gd name="T12" fmla="*/ 177 w 335"/>
                  <a:gd name="T13" fmla="*/ 278 h 332"/>
                  <a:gd name="T14" fmla="*/ 176 w 335"/>
                  <a:gd name="T15" fmla="*/ 290 h 332"/>
                  <a:gd name="T16" fmla="*/ 196 w 335"/>
                  <a:gd name="T17" fmla="*/ 289 h 332"/>
                  <a:gd name="T18" fmla="*/ 210 w 335"/>
                  <a:gd name="T19" fmla="*/ 288 h 332"/>
                  <a:gd name="T20" fmla="*/ 214 w 335"/>
                  <a:gd name="T21" fmla="*/ 293 h 332"/>
                  <a:gd name="T22" fmla="*/ 230 w 335"/>
                  <a:gd name="T23" fmla="*/ 293 h 332"/>
                  <a:gd name="T24" fmla="*/ 239 w 335"/>
                  <a:gd name="T25" fmla="*/ 303 h 332"/>
                  <a:gd name="T26" fmla="*/ 260 w 335"/>
                  <a:gd name="T27" fmla="*/ 303 h 332"/>
                  <a:gd name="T28" fmla="*/ 265 w 335"/>
                  <a:gd name="T29" fmla="*/ 303 h 332"/>
                  <a:gd name="T30" fmla="*/ 282 w 335"/>
                  <a:gd name="T31" fmla="*/ 313 h 332"/>
                  <a:gd name="T32" fmla="*/ 290 w 335"/>
                  <a:gd name="T33" fmla="*/ 324 h 332"/>
                  <a:gd name="T34" fmla="*/ 306 w 335"/>
                  <a:gd name="T35" fmla="*/ 329 h 332"/>
                  <a:gd name="T36" fmla="*/ 308 w 335"/>
                  <a:gd name="T37" fmla="*/ 309 h 332"/>
                  <a:gd name="T38" fmla="*/ 302 w 335"/>
                  <a:gd name="T39" fmla="*/ 313 h 332"/>
                  <a:gd name="T40" fmla="*/ 285 w 335"/>
                  <a:gd name="T41" fmla="*/ 299 h 332"/>
                  <a:gd name="T42" fmla="*/ 288 w 335"/>
                  <a:gd name="T43" fmla="*/ 263 h 332"/>
                  <a:gd name="T44" fmla="*/ 293 w 335"/>
                  <a:gd name="T45" fmla="*/ 249 h 332"/>
                  <a:gd name="T46" fmla="*/ 315 w 335"/>
                  <a:gd name="T47" fmla="*/ 216 h 332"/>
                  <a:gd name="T48" fmla="*/ 302 w 335"/>
                  <a:gd name="T49" fmla="*/ 181 h 332"/>
                  <a:gd name="T50" fmla="*/ 299 w 335"/>
                  <a:gd name="T51" fmla="*/ 147 h 332"/>
                  <a:gd name="T52" fmla="*/ 298 w 335"/>
                  <a:gd name="T53" fmla="*/ 131 h 332"/>
                  <a:gd name="T54" fmla="*/ 306 w 335"/>
                  <a:gd name="T55" fmla="*/ 106 h 332"/>
                  <a:gd name="T56" fmla="*/ 312 w 335"/>
                  <a:gd name="T57" fmla="*/ 79 h 332"/>
                  <a:gd name="T58" fmla="*/ 332 w 335"/>
                  <a:gd name="T59" fmla="*/ 53 h 332"/>
                  <a:gd name="T60" fmla="*/ 328 w 335"/>
                  <a:gd name="T61" fmla="*/ 43 h 332"/>
                  <a:gd name="T62" fmla="*/ 326 w 335"/>
                  <a:gd name="T63" fmla="*/ 30 h 332"/>
                  <a:gd name="T64" fmla="*/ 323 w 335"/>
                  <a:gd name="T65" fmla="*/ 29 h 332"/>
                  <a:gd name="T66" fmla="*/ 322 w 335"/>
                  <a:gd name="T67" fmla="*/ 27 h 332"/>
                  <a:gd name="T68" fmla="*/ 311 w 335"/>
                  <a:gd name="T69" fmla="*/ 17 h 332"/>
                  <a:gd name="T70" fmla="*/ 303 w 335"/>
                  <a:gd name="T71" fmla="*/ 13 h 332"/>
                  <a:gd name="T72" fmla="*/ 295 w 335"/>
                  <a:gd name="T73" fmla="*/ 15 h 332"/>
                  <a:gd name="T74" fmla="*/ 280 w 335"/>
                  <a:gd name="T75" fmla="*/ 16 h 332"/>
                  <a:gd name="T76" fmla="*/ 275 w 335"/>
                  <a:gd name="T77" fmla="*/ 12 h 332"/>
                  <a:gd name="T78" fmla="*/ 267 w 335"/>
                  <a:gd name="T79" fmla="*/ 3 h 332"/>
                  <a:gd name="T80" fmla="*/ 253 w 335"/>
                  <a:gd name="T81" fmla="*/ 4 h 332"/>
                  <a:gd name="T82" fmla="*/ 227 w 335"/>
                  <a:gd name="T83" fmla="*/ 6 h 332"/>
                  <a:gd name="T84" fmla="*/ 194 w 335"/>
                  <a:gd name="T85" fmla="*/ 12 h 332"/>
                  <a:gd name="T86" fmla="*/ 177 w 335"/>
                  <a:gd name="T87" fmla="*/ 20 h 332"/>
                  <a:gd name="T88" fmla="*/ 143 w 335"/>
                  <a:gd name="T89" fmla="*/ 10 h 332"/>
                  <a:gd name="T90" fmla="*/ 114 w 335"/>
                  <a:gd name="T91" fmla="*/ 17 h 332"/>
                  <a:gd name="T92" fmla="*/ 104 w 335"/>
                  <a:gd name="T93" fmla="*/ 59 h 332"/>
                  <a:gd name="T94" fmla="*/ 99 w 335"/>
                  <a:gd name="T95" fmla="*/ 76 h 332"/>
                  <a:gd name="T96" fmla="*/ 98 w 335"/>
                  <a:gd name="T97" fmla="*/ 102 h 332"/>
                  <a:gd name="T98" fmla="*/ 82 w 335"/>
                  <a:gd name="T99" fmla="*/ 115 h 332"/>
                  <a:gd name="T100" fmla="*/ 71 w 335"/>
                  <a:gd name="T101" fmla="*/ 135 h 332"/>
                  <a:gd name="T102" fmla="*/ 65 w 335"/>
                  <a:gd name="T103" fmla="*/ 161 h 332"/>
                  <a:gd name="T104" fmla="*/ 45 w 335"/>
                  <a:gd name="T105" fmla="*/ 178 h 332"/>
                  <a:gd name="T106" fmla="*/ 31 w 335"/>
                  <a:gd name="T107" fmla="*/ 173 h 332"/>
                  <a:gd name="T108" fmla="*/ 26 w 335"/>
                  <a:gd name="T109" fmla="*/ 174 h 332"/>
                  <a:gd name="T110" fmla="*/ 18 w 335"/>
                  <a:gd name="T111" fmla="*/ 175 h 332"/>
                  <a:gd name="T112" fmla="*/ 5 w 335"/>
                  <a:gd name="T113" fmla="*/ 184 h 332"/>
                  <a:gd name="T114" fmla="*/ 3 w 335"/>
                  <a:gd name="T115" fmla="*/ 198 h 332"/>
                  <a:gd name="T116" fmla="*/ 68 w 335"/>
                  <a:gd name="T117" fmla="*/ 19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5" h="332">
                    <a:moveTo>
                      <a:pt x="68" y="197"/>
                    </a:moveTo>
                    <a:lnTo>
                      <a:pt x="75" y="198"/>
                    </a:lnTo>
                    <a:lnTo>
                      <a:pt x="79" y="206"/>
                    </a:lnTo>
                    <a:lnTo>
                      <a:pt x="81" y="213"/>
                    </a:lnTo>
                    <a:lnTo>
                      <a:pt x="84" y="220"/>
                    </a:lnTo>
                    <a:lnTo>
                      <a:pt x="91" y="233"/>
                    </a:lnTo>
                    <a:lnTo>
                      <a:pt x="94" y="234"/>
                    </a:lnTo>
                    <a:lnTo>
                      <a:pt x="97" y="236"/>
                    </a:lnTo>
                    <a:lnTo>
                      <a:pt x="99" y="237"/>
                    </a:lnTo>
                    <a:lnTo>
                      <a:pt x="102" y="237"/>
                    </a:lnTo>
                    <a:lnTo>
                      <a:pt x="107" y="236"/>
                    </a:lnTo>
                    <a:lnTo>
                      <a:pt x="110" y="234"/>
                    </a:lnTo>
                    <a:lnTo>
                      <a:pt x="112" y="234"/>
                    </a:lnTo>
                    <a:lnTo>
                      <a:pt x="117" y="234"/>
                    </a:lnTo>
                    <a:lnTo>
                      <a:pt x="120" y="234"/>
                    </a:lnTo>
                    <a:lnTo>
                      <a:pt x="121" y="234"/>
                    </a:lnTo>
                    <a:lnTo>
                      <a:pt x="122" y="234"/>
                    </a:lnTo>
                    <a:lnTo>
                      <a:pt x="125" y="234"/>
                    </a:lnTo>
                    <a:lnTo>
                      <a:pt x="125" y="233"/>
                    </a:lnTo>
                    <a:lnTo>
                      <a:pt x="127" y="230"/>
                    </a:lnTo>
                    <a:lnTo>
                      <a:pt x="128" y="223"/>
                    </a:lnTo>
                    <a:lnTo>
                      <a:pt x="130" y="219"/>
                    </a:lnTo>
                    <a:lnTo>
                      <a:pt x="132" y="217"/>
                    </a:lnTo>
                    <a:lnTo>
                      <a:pt x="137" y="217"/>
                    </a:lnTo>
                    <a:lnTo>
                      <a:pt x="141" y="216"/>
                    </a:lnTo>
                    <a:lnTo>
                      <a:pt x="145" y="216"/>
                    </a:lnTo>
                    <a:lnTo>
                      <a:pt x="147" y="217"/>
                    </a:lnTo>
                    <a:lnTo>
                      <a:pt x="148" y="219"/>
                    </a:lnTo>
                    <a:lnTo>
                      <a:pt x="147" y="219"/>
                    </a:lnTo>
                    <a:lnTo>
                      <a:pt x="147" y="220"/>
                    </a:lnTo>
                    <a:lnTo>
                      <a:pt x="148" y="221"/>
                    </a:lnTo>
                    <a:lnTo>
                      <a:pt x="150" y="223"/>
                    </a:lnTo>
                    <a:lnTo>
                      <a:pt x="164" y="221"/>
                    </a:lnTo>
                    <a:lnTo>
                      <a:pt x="168" y="223"/>
                    </a:lnTo>
                    <a:lnTo>
                      <a:pt x="170" y="226"/>
                    </a:lnTo>
                    <a:lnTo>
                      <a:pt x="170" y="227"/>
                    </a:lnTo>
                    <a:lnTo>
                      <a:pt x="168" y="233"/>
                    </a:lnTo>
                    <a:lnTo>
                      <a:pt x="168" y="234"/>
                    </a:lnTo>
                    <a:lnTo>
                      <a:pt x="168" y="237"/>
                    </a:lnTo>
                    <a:lnTo>
                      <a:pt x="170" y="240"/>
                    </a:lnTo>
                    <a:lnTo>
                      <a:pt x="171" y="243"/>
                    </a:lnTo>
                    <a:lnTo>
                      <a:pt x="170" y="247"/>
                    </a:lnTo>
                    <a:lnTo>
                      <a:pt x="168" y="256"/>
                    </a:lnTo>
                    <a:lnTo>
                      <a:pt x="168" y="260"/>
                    </a:lnTo>
                    <a:lnTo>
                      <a:pt x="170" y="265"/>
                    </a:lnTo>
                    <a:lnTo>
                      <a:pt x="176" y="270"/>
                    </a:lnTo>
                    <a:lnTo>
                      <a:pt x="177" y="273"/>
                    </a:lnTo>
                    <a:lnTo>
                      <a:pt x="177" y="276"/>
                    </a:lnTo>
                    <a:lnTo>
                      <a:pt x="177" y="278"/>
                    </a:lnTo>
                    <a:lnTo>
                      <a:pt x="177" y="283"/>
                    </a:lnTo>
                    <a:lnTo>
                      <a:pt x="177" y="285"/>
                    </a:lnTo>
                    <a:lnTo>
                      <a:pt x="177" y="285"/>
                    </a:lnTo>
                    <a:lnTo>
                      <a:pt x="177" y="285"/>
                    </a:lnTo>
                    <a:lnTo>
                      <a:pt x="176" y="286"/>
                    </a:lnTo>
                    <a:lnTo>
                      <a:pt x="176" y="286"/>
                    </a:lnTo>
                    <a:lnTo>
                      <a:pt x="176" y="290"/>
                    </a:lnTo>
                    <a:lnTo>
                      <a:pt x="177" y="290"/>
                    </a:lnTo>
                    <a:lnTo>
                      <a:pt x="183" y="289"/>
                    </a:lnTo>
                    <a:lnTo>
                      <a:pt x="184" y="289"/>
                    </a:lnTo>
                    <a:lnTo>
                      <a:pt x="188" y="290"/>
                    </a:lnTo>
                    <a:lnTo>
                      <a:pt x="191" y="290"/>
                    </a:lnTo>
                    <a:lnTo>
                      <a:pt x="193" y="289"/>
                    </a:lnTo>
                    <a:lnTo>
                      <a:pt x="196" y="289"/>
                    </a:lnTo>
                    <a:lnTo>
                      <a:pt x="197" y="288"/>
                    </a:lnTo>
                    <a:lnTo>
                      <a:pt x="200" y="288"/>
                    </a:lnTo>
                    <a:lnTo>
                      <a:pt x="203" y="289"/>
                    </a:lnTo>
                    <a:lnTo>
                      <a:pt x="206" y="288"/>
                    </a:lnTo>
                    <a:lnTo>
                      <a:pt x="207" y="286"/>
                    </a:lnTo>
                    <a:lnTo>
                      <a:pt x="209" y="286"/>
                    </a:lnTo>
                    <a:lnTo>
                      <a:pt x="210" y="288"/>
                    </a:lnTo>
                    <a:lnTo>
                      <a:pt x="211" y="289"/>
                    </a:lnTo>
                    <a:lnTo>
                      <a:pt x="211" y="289"/>
                    </a:lnTo>
                    <a:lnTo>
                      <a:pt x="213" y="290"/>
                    </a:lnTo>
                    <a:lnTo>
                      <a:pt x="213" y="290"/>
                    </a:lnTo>
                    <a:lnTo>
                      <a:pt x="214" y="292"/>
                    </a:lnTo>
                    <a:lnTo>
                      <a:pt x="214" y="292"/>
                    </a:lnTo>
                    <a:lnTo>
                      <a:pt x="214" y="293"/>
                    </a:lnTo>
                    <a:lnTo>
                      <a:pt x="213" y="295"/>
                    </a:lnTo>
                    <a:lnTo>
                      <a:pt x="216" y="296"/>
                    </a:lnTo>
                    <a:lnTo>
                      <a:pt x="220" y="295"/>
                    </a:lnTo>
                    <a:lnTo>
                      <a:pt x="224" y="293"/>
                    </a:lnTo>
                    <a:lnTo>
                      <a:pt x="229" y="293"/>
                    </a:lnTo>
                    <a:lnTo>
                      <a:pt x="230" y="293"/>
                    </a:lnTo>
                    <a:lnTo>
                      <a:pt x="230" y="293"/>
                    </a:lnTo>
                    <a:lnTo>
                      <a:pt x="230" y="293"/>
                    </a:lnTo>
                    <a:lnTo>
                      <a:pt x="230" y="296"/>
                    </a:lnTo>
                    <a:lnTo>
                      <a:pt x="230" y="298"/>
                    </a:lnTo>
                    <a:lnTo>
                      <a:pt x="232" y="299"/>
                    </a:lnTo>
                    <a:lnTo>
                      <a:pt x="233" y="301"/>
                    </a:lnTo>
                    <a:lnTo>
                      <a:pt x="234" y="302"/>
                    </a:lnTo>
                    <a:lnTo>
                      <a:pt x="239" y="303"/>
                    </a:lnTo>
                    <a:lnTo>
                      <a:pt x="243" y="305"/>
                    </a:lnTo>
                    <a:lnTo>
                      <a:pt x="253" y="306"/>
                    </a:lnTo>
                    <a:lnTo>
                      <a:pt x="255" y="306"/>
                    </a:lnTo>
                    <a:lnTo>
                      <a:pt x="256" y="306"/>
                    </a:lnTo>
                    <a:lnTo>
                      <a:pt x="257" y="305"/>
                    </a:lnTo>
                    <a:lnTo>
                      <a:pt x="259" y="305"/>
                    </a:lnTo>
                    <a:lnTo>
                      <a:pt x="260" y="303"/>
                    </a:lnTo>
                    <a:lnTo>
                      <a:pt x="260" y="301"/>
                    </a:lnTo>
                    <a:lnTo>
                      <a:pt x="262" y="299"/>
                    </a:lnTo>
                    <a:lnTo>
                      <a:pt x="263" y="299"/>
                    </a:lnTo>
                    <a:lnTo>
                      <a:pt x="263" y="299"/>
                    </a:lnTo>
                    <a:lnTo>
                      <a:pt x="265" y="301"/>
                    </a:lnTo>
                    <a:lnTo>
                      <a:pt x="265" y="302"/>
                    </a:lnTo>
                    <a:lnTo>
                      <a:pt x="265" y="303"/>
                    </a:lnTo>
                    <a:lnTo>
                      <a:pt x="266" y="303"/>
                    </a:lnTo>
                    <a:lnTo>
                      <a:pt x="267" y="305"/>
                    </a:lnTo>
                    <a:lnTo>
                      <a:pt x="269" y="306"/>
                    </a:lnTo>
                    <a:lnTo>
                      <a:pt x="270" y="309"/>
                    </a:lnTo>
                    <a:lnTo>
                      <a:pt x="270" y="311"/>
                    </a:lnTo>
                    <a:lnTo>
                      <a:pt x="272" y="311"/>
                    </a:lnTo>
                    <a:lnTo>
                      <a:pt x="282" y="313"/>
                    </a:lnTo>
                    <a:lnTo>
                      <a:pt x="283" y="315"/>
                    </a:lnTo>
                    <a:lnTo>
                      <a:pt x="285" y="316"/>
                    </a:lnTo>
                    <a:lnTo>
                      <a:pt x="286" y="318"/>
                    </a:lnTo>
                    <a:lnTo>
                      <a:pt x="286" y="319"/>
                    </a:lnTo>
                    <a:lnTo>
                      <a:pt x="288" y="321"/>
                    </a:lnTo>
                    <a:lnTo>
                      <a:pt x="288" y="322"/>
                    </a:lnTo>
                    <a:lnTo>
                      <a:pt x="290" y="324"/>
                    </a:lnTo>
                    <a:lnTo>
                      <a:pt x="292" y="325"/>
                    </a:lnTo>
                    <a:lnTo>
                      <a:pt x="295" y="329"/>
                    </a:lnTo>
                    <a:lnTo>
                      <a:pt x="296" y="331"/>
                    </a:lnTo>
                    <a:lnTo>
                      <a:pt x="298" y="332"/>
                    </a:lnTo>
                    <a:lnTo>
                      <a:pt x="301" y="331"/>
                    </a:lnTo>
                    <a:lnTo>
                      <a:pt x="303" y="329"/>
                    </a:lnTo>
                    <a:lnTo>
                      <a:pt x="306" y="329"/>
                    </a:lnTo>
                    <a:lnTo>
                      <a:pt x="306" y="331"/>
                    </a:lnTo>
                    <a:lnTo>
                      <a:pt x="308" y="332"/>
                    </a:lnTo>
                    <a:lnTo>
                      <a:pt x="308" y="332"/>
                    </a:lnTo>
                    <a:lnTo>
                      <a:pt x="309" y="332"/>
                    </a:lnTo>
                    <a:lnTo>
                      <a:pt x="311" y="329"/>
                    </a:lnTo>
                    <a:lnTo>
                      <a:pt x="309" y="309"/>
                    </a:lnTo>
                    <a:lnTo>
                      <a:pt x="308" y="309"/>
                    </a:lnTo>
                    <a:lnTo>
                      <a:pt x="306" y="309"/>
                    </a:lnTo>
                    <a:lnTo>
                      <a:pt x="305" y="311"/>
                    </a:lnTo>
                    <a:lnTo>
                      <a:pt x="305" y="311"/>
                    </a:lnTo>
                    <a:lnTo>
                      <a:pt x="305" y="312"/>
                    </a:lnTo>
                    <a:lnTo>
                      <a:pt x="305" y="313"/>
                    </a:lnTo>
                    <a:lnTo>
                      <a:pt x="305" y="313"/>
                    </a:lnTo>
                    <a:lnTo>
                      <a:pt x="302" y="313"/>
                    </a:lnTo>
                    <a:lnTo>
                      <a:pt x="299" y="313"/>
                    </a:lnTo>
                    <a:lnTo>
                      <a:pt x="298" y="312"/>
                    </a:lnTo>
                    <a:lnTo>
                      <a:pt x="295" y="311"/>
                    </a:lnTo>
                    <a:lnTo>
                      <a:pt x="290" y="308"/>
                    </a:lnTo>
                    <a:lnTo>
                      <a:pt x="288" y="305"/>
                    </a:lnTo>
                    <a:lnTo>
                      <a:pt x="286" y="302"/>
                    </a:lnTo>
                    <a:lnTo>
                      <a:pt x="285" y="299"/>
                    </a:lnTo>
                    <a:lnTo>
                      <a:pt x="285" y="296"/>
                    </a:lnTo>
                    <a:lnTo>
                      <a:pt x="285" y="293"/>
                    </a:lnTo>
                    <a:lnTo>
                      <a:pt x="288" y="285"/>
                    </a:lnTo>
                    <a:lnTo>
                      <a:pt x="289" y="280"/>
                    </a:lnTo>
                    <a:lnTo>
                      <a:pt x="289" y="267"/>
                    </a:lnTo>
                    <a:lnTo>
                      <a:pt x="289" y="265"/>
                    </a:lnTo>
                    <a:lnTo>
                      <a:pt x="288" y="263"/>
                    </a:lnTo>
                    <a:lnTo>
                      <a:pt x="285" y="259"/>
                    </a:lnTo>
                    <a:lnTo>
                      <a:pt x="285" y="257"/>
                    </a:lnTo>
                    <a:lnTo>
                      <a:pt x="285" y="256"/>
                    </a:lnTo>
                    <a:lnTo>
                      <a:pt x="286" y="256"/>
                    </a:lnTo>
                    <a:lnTo>
                      <a:pt x="289" y="255"/>
                    </a:lnTo>
                    <a:lnTo>
                      <a:pt x="290" y="252"/>
                    </a:lnTo>
                    <a:lnTo>
                      <a:pt x="293" y="249"/>
                    </a:lnTo>
                    <a:lnTo>
                      <a:pt x="295" y="246"/>
                    </a:lnTo>
                    <a:lnTo>
                      <a:pt x="293" y="243"/>
                    </a:lnTo>
                    <a:lnTo>
                      <a:pt x="302" y="242"/>
                    </a:lnTo>
                    <a:lnTo>
                      <a:pt x="326" y="239"/>
                    </a:lnTo>
                    <a:lnTo>
                      <a:pt x="322" y="229"/>
                    </a:lnTo>
                    <a:lnTo>
                      <a:pt x="318" y="220"/>
                    </a:lnTo>
                    <a:lnTo>
                      <a:pt x="315" y="216"/>
                    </a:lnTo>
                    <a:lnTo>
                      <a:pt x="308" y="210"/>
                    </a:lnTo>
                    <a:lnTo>
                      <a:pt x="306" y="206"/>
                    </a:lnTo>
                    <a:lnTo>
                      <a:pt x="305" y="201"/>
                    </a:lnTo>
                    <a:lnTo>
                      <a:pt x="305" y="194"/>
                    </a:lnTo>
                    <a:lnTo>
                      <a:pt x="305" y="190"/>
                    </a:lnTo>
                    <a:lnTo>
                      <a:pt x="302" y="183"/>
                    </a:lnTo>
                    <a:lnTo>
                      <a:pt x="302" y="181"/>
                    </a:lnTo>
                    <a:lnTo>
                      <a:pt x="302" y="178"/>
                    </a:lnTo>
                    <a:lnTo>
                      <a:pt x="302" y="174"/>
                    </a:lnTo>
                    <a:lnTo>
                      <a:pt x="302" y="173"/>
                    </a:lnTo>
                    <a:lnTo>
                      <a:pt x="299" y="160"/>
                    </a:lnTo>
                    <a:lnTo>
                      <a:pt x="299" y="155"/>
                    </a:lnTo>
                    <a:lnTo>
                      <a:pt x="299" y="148"/>
                    </a:lnTo>
                    <a:lnTo>
                      <a:pt x="299" y="147"/>
                    </a:lnTo>
                    <a:lnTo>
                      <a:pt x="298" y="145"/>
                    </a:lnTo>
                    <a:lnTo>
                      <a:pt x="298" y="144"/>
                    </a:lnTo>
                    <a:lnTo>
                      <a:pt x="296" y="142"/>
                    </a:lnTo>
                    <a:lnTo>
                      <a:pt x="296" y="141"/>
                    </a:lnTo>
                    <a:lnTo>
                      <a:pt x="293" y="140"/>
                    </a:lnTo>
                    <a:lnTo>
                      <a:pt x="293" y="137"/>
                    </a:lnTo>
                    <a:lnTo>
                      <a:pt x="298" y="131"/>
                    </a:lnTo>
                    <a:lnTo>
                      <a:pt x="299" y="128"/>
                    </a:lnTo>
                    <a:lnTo>
                      <a:pt x="298" y="127"/>
                    </a:lnTo>
                    <a:lnTo>
                      <a:pt x="299" y="124"/>
                    </a:lnTo>
                    <a:lnTo>
                      <a:pt x="301" y="122"/>
                    </a:lnTo>
                    <a:lnTo>
                      <a:pt x="302" y="121"/>
                    </a:lnTo>
                    <a:lnTo>
                      <a:pt x="306" y="118"/>
                    </a:lnTo>
                    <a:lnTo>
                      <a:pt x="306" y="106"/>
                    </a:lnTo>
                    <a:lnTo>
                      <a:pt x="308" y="95"/>
                    </a:lnTo>
                    <a:lnTo>
                      <a:pt x="309" y="92"/>
                    </a:lnTo>
                    <a:lnTo>
                      <a:pt x="311" y="88"/>
                    </a:lnTo>
                    <a:lnTo>
                      <a:pt x="312" y="85"/>
                    </a:lnTo>
                    <a:lnTo>
                      <a:pt x="312" y="83"/>
                    </a:lnTo>
                    <a:lnTo>
                      <a:pt x="312" y="81"/>
                    </a:lnTo>
                    <a:lnTo>
                      <a:pt x="312" y="79"/>
                    </a:lnTo>
                    <a:lnTo>
                      <a:pt x="313" y="79"/>
                    </a:lnTo>
                    <a:lnTo>
                      <a:pt x="332" y="63"/>
                    </a:lnTo>
                    <a:lnTo>
                      <a:pt x="335" y="58"/>
                    </a:lnTo>
                    <a:lnTo>
                      <a:pt x="335" y="56"/>
                    </a:lnTo>
                    <a:lnTo>
                      <a:pt x="335" y="55"/>
                    </a:lnTo>
                    <a:lnTo>
                      <a:pt x="334" y="55"/>
                    </a:lnTo>
                    <a:lnTo>
                      <a:pt x="332" y="53"/>
                    </a:lnTo>
                    <a:lnTo>
                      <a:pt x="331" y="52"/>
                    </a:lnTo>
                    <a:lnTo>
                      <a:pt x="326" y="50"/>
                    </a:lnTo>
                    <a:lnTo>
                      <a:pt x="326" y="50"/>
                    </a:lnTo>
                    <a:lnTo>
                      <a:pt x="326" y="49"/>
                    </a:lnTo>
                    <a:lnTo>
                      <a:pt x="326" y="46"/>
                    </a:lnTo>
                    <a:lnTo>
                      <a:pt x="328" y="45"/>
                    </a:lnTo>
                    <a:lnTo>
                      <a:pt x="328" y="43"/>
                    </a:lnTo>
                    <a:lnTo>
                      <a:pt x="328" y="43"/>
                    </a:lnTo>
                    <a:lnTo>
                      <a:pt x="328" y="42"/>
                    </a:lnTo>
                    <a:lnTo>
                      <a:pt x="326" y="40"/>
                    </a:lnTo>
                    <a:lnTo>
                      <a:pt x="328" y="33"/>
                    </a:lnTo>
                    <a:lnTo>
                      <a:pt x="328" y="32"/>
                    </a:lnTo>
                    <a:lnTo>
                      <a:pt x="328" y="32"/>
                    </a:lnTo>
                    <a:lnTo>
                      <a:pt x="326" y="30"/>
                    </a:lnTo>
                    <a:lnTo>
                      <a:pt x="326" y="30"/>
                    </a:lnTo>
                    <a:lnTo>
                      <a:pt x="326" y="30"/>
                    </a:lnTo>
                    <a:lnTo>
                      <a:pt x="325" y="29"/>
                    </a:lnTo>
                    <a:lnTo>
                      <a:pt x="325" y="29"/>
                    </a:lnTo>
                    <a:lnTo>
                      <a:pt x="323" y="30"/>
                    </a:lnTo>
                    <a:lnTo>
                      <a:pt x="323" y="30"/>
                    </a:lnTo>
                    <a:lnTo>
                      <a:pt x="323" y="29"/>
                    </a:lnTo>
                    <a:lnTo>
                      <a:pt x="323" y="29"/>
                    </a:lnTo>
                    <a:lnTo>
                      <a:pt x="323" y="29"/>
                    </a:lnTo>
                    <a:lnTo>
                      <a:pt x="322" y="29"/>
                    </a:lnTo>
                    <a:lnTo>
                      <a:pt x="322" y="29"/>
                    </a:lnTo>
                    <a:lnTo>
                      <a:pt x="322" y="29"/>
                    </a:lnTo>
                    <a:lnTo>
                      <a:pt x="322" y="27"/>
                    </a:lnTo>
                    <a:lnTo>
                      <a:pt x="322" y="27"/>
                    </a:lnTo>
                    <a:lnTo>
                      <a:pt x="322" y="26"/>
                    </a:lnTo>
                    <a:lnTo>
                      <a:pt x="322" y="26"/>
                    </a:lnTo>
                    <a:lnTo>
                      <a:pt x="321" y="26"/>
                    </a:lnTo>
                    <a:lnTo>
                      <a:pt x="321" y="25"/>
                    </a:lnTo>
                    <a:lnTo>
                      <a:pt x="316" y="23"/>
                    </a:lnTo>
                    <a:lnTo>
                      <a:pt x="313" y="20"/>
                    </a:lnTo>
                    <a:lnTo>
                      <a:pt x="311" y="17"/>
                    </a:lnTo>
                    <a:lnTo>
                      <a:pt x="311" y="16"/>
                    </a:lnTo>
                    <a:lnTo>
                      <a:pt x="306" y="13"/>
                    </a:lnTo>
                    <a:lnTo>
                      <a:pt x="306" y="13"/>
                    </a:lnTo>
                    <a:lnTo>
                      <a:pt x="305" y="12"/>
                    </a:lnTo>
                    <a:lnTo>
                      <a:pt x="305" y="12"/>
                    </a:lnTo>
                    <a:lnTo>
                      <a:pt x="303" y="13"/>
                    </a:lnTo>
                    <a:lnTo>
                      <a:pt x="303" y="13"/>
                    </a:lnTo>
                    <a:lnTo>
                      <a:pt x="302" y="15"/>
                    </a:lnTo>
                    <a:lnTo>
                      <a:pt x="302" y="15"/>
                    </a:lnTo>
                    <a:lnTo>
                      <a:pt x="301" y="16"/>
                    </a:lnTo>
                    <a:lnTo>
                      <a:pt x="299" y="16"/>
                    </a:lnTo>
                    <a:lnTo>
                      <a:pt x="298" y="16"/>
                    </a:lnTo>
                    <a:lnTo>
                      <a:pt x="296" y="16"/>
                    </a:lnTo>
                    <a:lnTo>
                      <a:pt x="295" y="15"/>
                    </a:lnTo>
                    <a:lnTo>
                      <a:pt x="293" y="15"/>
                    </a:lnTo>
                    <a:lnTo>
                      <a:pt x="290" y="15"/>
                    </a:lnTo>
                    <a:lnTo>
                      <a:pt x="285" y="17"/>
                    </a:lnTo>
                    <a:lnTo>
                      <a:pt x="282" y="17"/>
                    </a:lnTo>
                    <a:lnTo>
                      <a:pt x="282" y="17"/>
                    </a:lnTo>
                    <a:lnTo>
                      <a:pt x="282" y="17"/>
                    </a:lnTo>
                    <a:lnTo>
                      <a:pt x="280" y="16"/>
                    </a:lnTo>
                    <a:lnTo>
                      <a:pt x="280" y="16"/>
                    </a:lnTo>
                    <a:lnTo>
                      <a:pt x="279" y="16"/>
                    </a:lnTo>
                    <a:lnTo>
                      <a:pt x="278" y="15"/>
                    </a:lnTo>
                    <a:lnTo>
                      <a:pt x="278" y="13"/>
                    </a:lnTo>
                    <a:lnTo>
                      <a:pt x="275" y="13"/>
                    </a:lnTo>
                    <a:lnTo>
                      <a:pt x="275" y="12"/>
                    </a:lnTo>
                    <a:lnTo>
                      <a:pt x="275" y="12"/>
                    </a:lnTo>
                    <a:lnTo>
                      <a:pt x="273" y="10"/>
                    </a:lnTo>
                    <a:lnTo>
                      <a:pt x="273" y="9"/>
                    </a:lnTo>
                    <a:lnTo>
                      <a:pt x="272" y="9"/>
                    </a:lnTo>
                    <a:lnTo>
                      <a:pt x="270" y="7"/>
                    </a:lnTo>
                    <a:lnTo>
                      <a:pt x="269" y="6"/>
                    </a:lnTo>
                    <a:lnTo>
                      <a:pt x="267" y="4"/>
                    </a:lnTo>
                    <a:lnTo>
                      <a:pt x="267" y="3"/>
                    </a:lnTo>
                    <a:lnTo>
                      <a:pt x="265" y="3"/>
                    </a:lnTo>
                    <a:lnTo>
                      <a:pt x="263" y="3"/>
                    </a:lnTo>
                    <a:lnTo>
                      <a:pt x="262" y="3"/>
                    </a:lnTo>
                    <a:lnTo>
                      <a:pt x="260" y="3"/>
                    </a:lnTo>
                    <a:lnTo>
                      <a:pt x="256" y="4"/>
                    </a:lnTo>
                    <a:lnTo>
                      <a:pt x="255" y="4"/>
                    </a:lnTo>
                    <a:lnTo>
                      <a:pt x="253" y="4"/>
                    </a:lnTo>
                    <a:lnTo>
                      <a:pt x="243" y="2"/>
                    </a:lnTo>
                    <a:lnTo>
                      <a:pt x="237" y="0"/>
                    </a:lnTo>
                    <a:lnTo>
                      <a:pt x="233" y="0"/>
                    </a:lnTo>
                    <a:lnTo>
                      <a:pt x="232" y="2"/>
                    </a:lnTo>
                    <a:lnTo>
                      <a:pt x="230" y="3"/>
                    </a:lnTo>
                    <a:lnTo>
                      <a:pt x="229" y="4"/>
                    </a:lnTo>
                    <a:lnTo>
                      <a:pt x="227" y="6"/>
                    </a:lnTo>
                    <a:lnTo>
                      <a:pt x="224" y="6"/>
                    </a:lnTo>
                    <a:lnTo>
                      <a:pt x="222" y="6"/>
                    </a:lnTo>
                    <a:lnTo>
                      <a:pt x="217" y="6"/>
                    </a:lnTo>
                    <a:lnTo>
                      <a:pt x="211" y="6"/>
                    </a:lnTo>
                    <a:lnTo>
                      <a:pt x="203" y="10"/>
                    </a:lnTo>
                    <a:lnTo>
                      <a:pt x="199" y="12"/>
                    </a:lnTo>
                    <a:lnTo>
                      <a:pt x="194" y="12"/>
                    </a:lnTo>
                    <a:lnTo>
                      <a:pt x="190" y="10"/>
                    </a:lnTo>
                    <a:lnTo>
                      <a:pt x="187" y="12"/>
                    </a:lnTo>
                    <a:lnTo>
                      <a:pt x="183" y="16"/>
                    </a:lnTo>
                    <a:lnTo>
                      <a:pt x="181" y="19"/>
                    </a:lnTo>
                    <a:lnTo>
                      <a:pt x="181" y="20"/>
                    </a:lnTo>
                    <a:lnTo>
                      <a:pt x="180" y="20"/>
                    </a:lnTo>
                    <a:lnTo>
                      <a:pt x="177" y="20"/>
                    </a:lnTo>
                    <a:lnTo>
                      <a:pt x="171" y="19"/>
                    </a:lnTo>
                    <a:lnTo>
                      <a:pt x="168" y="19"/>
                    </a:lnTo>
                    <a:lnTo>
                      <a:pt x="164" y="17"/>
                    </a:lnTo>
                    <a:lnTo>
                      <a:pt x="150" y="15"/>
                    </a:lnTo>
                    <a:lnTo>
                      <a:pt x="148" y="15"/>
                    </a:lnTo>
                    <a:lnTo>
                      <a:pt x="147" y="13"/>
                    </a:lnTo>
                    <a:lnTo>
                      <a:pt x="143" y="10"/>
                    </a:lnTo>
                    <a:lnTo>
                      <a:pt x="140" y="9"/>
                    </a:lnTo>
                    <a:lnTo>
                      <a:pt x="135" y="6"/>
                    </a:lnTo>
                    <a:lnTo>
                      <a:pt x="130" y="3"/>
                    </a:lnTo>
                    <a:lnTo>
                      <a:pt x="124" y="6"/>
                    </a:lnTo>
                    <a:lnTo>
                      <a:pt x="121" y="9"/>
                    </a:lnTo>
                    <a:lnTo>
                      <a:pt x="117" y="15"/>
                    </a:lnTo>
                    <a:lnTo>
                      <a:pt x="114" y="17"/>
                    </a:lnTo>
                    <a:lnTo>
                      <a:pt x="112" y="19"/>
                    </a:lnTo>
                    <a:lnTo>
                      <a:pt x="112" y="29"/>
                    </a:lnTo>
                    <a:lnTo>
                      <a:pt x="112" y="32"/>
                    </a:lnTo>
                    <a:lnTo>
                      <a:pt x="112" y="39"/>
                    </a:lnTo>
                    <a:lnTo>
                      <a:pt x="110" y="46"/>
                    </a:lnTo>
                    <a:lnTo>
                      <a:pt x="105" y="52"/>
                    </a:lnTo>
                    <a:lnTo>
                      <a:pt x="104" y="59"/>
                    </a:lnTo>
                    <a:lnTo>
                      <a:pt x="104" y="60"/>
                    </a:lnTo>
                    <a:lnTo>
                      <a:pt x="104" y="65"/>
                    </a:lnTo>
                    <a:lnTo>
                      <a:pt x="102" y="66"/>
                    </a:lnTo>
                    <a:lnTo>
                      <a:pt x="102" y="68"/>
                    </a:lnTo>
                    <a:lnTo>
                      <a:pt x="101" y="72"/>
                    </a:lnTo>
                    <a:lnTo>
                      <a:pt x="101" y="73"/>
                    </a:lnTo>
                    <a:lnTo>
                      <a:pt x="99" y="76"/>
                    </a:lnTo>
                    <a:lnTo>
                      <a:pt x="101" y="86"/>
                    </a:lnTo>
                    <a:lnTo>
                      <a:pt x="99" y="89"/>
                    </a:lnTo>
                    <a:lnTo>
                      <a:pt x="98" y="95"/>
                    </a:lnTo>
                    <a:lnTo>
                      <a:pt x="97" y="98"/>
                    </a:lnTo>
                    <a:lnTo>
                      <a:pt x="97" y="99"/>
                    </a:lnTo>
                    <a:lnTo>
                      <a:pt x="98" y="101"/>
                    </a:lnTo>
                    <a:lnTo>
                      <a:pt x="98" y="102"/>
                    </a:lnTo>
                    <a:lnTo>
                      <a:pt x="97" y="104"/>
                    </a:lnTo>
                    <a:lnTo>
                      <a:pt x="97" y="105"/>
                    </a:lnTo>
                    <a:lnTo>
                      <a:pt x="95" y="106"/>
                    </a:lnTo>
                    <a:lnTo>
                      <a:pt x="92" y="108"/>
                    </a:lnTo>
                    <a:lnTo>
                      <a:pt x="91" y="111"/>
                    </a:lnTo>
                    <a:lnTo>
                      <a:pt x="85" y="114"/>
                    </a:lnTo>
                    <a:lnTo>
                      <a:pt x="82" y="115"/>
                    </a:lnTo>
                    <a:lnTo>
                      <a:pt x="81" y="118"/>
                    </a:lnTo>
                    <a:lnTo>
                      <a:pt x="78" y="122"/>
                    </a:lnTo>
                    <a:lnTo>
                      <a:pt x="76" y="125"/>
                    </a:lnTo>
                    <a:lnTo>
                      <a:pt x="75" y="128"/>
                    </a:lnTo>
                    <a:lnTo>
                      <a:pt x="72" y="129"/>
                    </a:lnTo>
                    <a:lnTo>
                      <a:pt x="71" y="132"/>
                    </a:lnTo>
                    <a:lnTo>
                      <a:pt x="71" y="135"/>
                    </a:lnTo>
                    <a:lnTo>
                      <a:pt x="71" y="138"/>
                    </a:lnTo>
                    <a:lnTo>
                      <a:pt x="71" y="147"/>
                    </a:lnTo>
                    <a:lnTo>
                      <a:pt x="71" y="150"/>
                    </a:lnTo>
                    <a:lnTo>
                      <a:pt x="69" y="154"/>
                    </a:lnTo>
                    <a:lnTo>
                      <a:pt x="68" y="157"/>
                    </a:lnTo>
                    <a:lnTo>
                      <a:pt x="66" y="160"/>
                    </a:lnTo>
                    <a:lnTo>
                      <a:pt x="65" y="161"/>
                    </a:lnTo>
                    <a:lnTo>
                      <a:pt x="64" y="163"/>
                    </a:lnTo>
                    <a:lnTo>
                      <a:pt x="62" y="164"/>
                    </a:lnTo>
                    <a:lnTo>
                      <a:pt x="59" y="165"/>
                    </a:lnTo>
                    <a:lnTo>
                      <a:pt x="55" y="168"/>
                    </a:lnTo>
                    <a:lnTo>
                      <a:pt x="51" y="173"/>
                    </a:lnTo>
                    <a:lnTo>
                      <a:pt x="48" y="177"/>
                    </a:lnTo>
                    <a:lnTo>
                      <a:pt x="45" y="178"/>
                    </a:lnTo>
                    <a:lnTo>
                      <a:pt x="43" y="180"/>
                    </a:lnTo>
                    <a:lnTo>
                      <a:pt x="39" y="178"/>
                    </a:lnTo>
                    <a:lnTo>
                      <a:pt x="39" y="175"/>
                    </a:lnTo>
                    <a:lnTo>
                      <a:pt x="39" y="171"/>
                    </a:lnTo>
                    <a:lnTo>
                      <a:pt x="38" y="170"/>
                    </a:lnTo>
                    <a:lnTo>
                      <a:pt x="36" y="170"/>
                    </a:lnTo>
                    <a:lnTo>
                      <a:pt x="31" y="173"/>
                    </a:lnTo>
                    <a:lnTo>
                      <a:pt x="29" y="173"/>
                    </a:lnTo>
                    <a:lnTo>
                      <a:pt x="29" y="173"/>
                    </a:lnTo>
                    <a:lnTo>
                      <a:pt x="28" y="171"/>
                    </a:lnTo>
                    <a:lnTo>
                      <a:pt x="28" y="171"/>
                    </a:lnTo>
                    <a:lnTo>
                      <a:pt x="26" y="173"/>
                    </a:lnTo>
                    <a:lnTo>
                      <a:pt x="26" y="173"/>
                    </a:lnTo>
                    <a:lnTo>
                      <a:pt x="26" y="174"/>
                    </a:lnTo>
                    <a:lnTo>
                      <a:pt x="26" y="175"/>
                    </a:lnTo>
                    <a:lnTo>
                      <a:pt x="25" y="177"/>
                    </a:lnTo>
                    <a:lnTo>
                      <a:pt x="23" y="178"/>
                    </a:lnTo>
                    <a:lnTo>
                      <a:pt x="22" y="178"/>
                    </a:lnTo>
                    <a:lnTo>
                      <a:pt x="20" y="178"/>
                    </a:lnTo>
                    <a:lnTo>
                      <a:pt x="19" y="177"/>
                    </a:lnTo>
                    <a:lnTo>
                      <a:pt x="18" y="175"/>
                    </a:lnTo>
                    <a:lnTo>
                      <a:pt x="16" y="175"/>
                    </a:lnTo>
                    <a:lnTo>
                      <a:pt x="15" y="175"/>
                    </a:lnTo>
                    <a:lnTo>
                      <a:pt x="9" y="178"/>
                    </a:lnTo>
                    <a:lnTo>
                      <a:pt x="6" y="181"/>
                    </a:lnTo>
                    <a:lnTo>
                      <a:pt x="6" y="183"/>
                    </a:lnTo>
                    <a:lnTo>
                      <a:pt x="6" y="183"/>
                    </a:lnTo>
                    <a:lnTo>
                      <a:pt x="5" y="184"/>
                    </a:lnTo>
                    <a:lnTo>
                      <a:pt x="5" y="186"/>
                    </a:lnTo>
                    <a:lnTo>
                      <a:pt x="6" y="190"/>
                    </a:lnTo>
                    <a:lnTo>
                      <a:pt x="6" y="193"/>
                    </a:lnTo>
                    <a:lnTo>
                      <a:pt x="5" y="194"/>
                    </a:lnTo>
                    <a:lnTo>
                      <a:pt x="3" y="194"/>
                    </a:lnTo>
                    <a:lnTo>
                      <a:pt x="0" y="196"/>
                    </a:lnTo>
                    <a:lnTo>
                      <a:pt x="3" y="198"/>
                    </a:lnTo>
                    <a:lnTo>
                      <a:pt x="8" y="198"/>
                    </a:lnTo>
                    <a:lnTo>
                      <a:pt x="10" y="197"/>
                    </a:lnTo>
                    <a:lnTo>
                      <a:pt x="15" y="197"/>
                    </a:lnTo>
                    <a:lnTo>
                      <a:pt x="23" y="196"/>
                    </a:lnTo>
                    <a:lnTo>
                      <a:pt x="68" y="197"/>
                    </a:lnTo>
                    <a:lnTo>
                      <a:pt x="68" y="197"/>
                    </a:lnTo>
                    <a:lnTo>
                      <a:pt x="68" y="197"/>
                    </a:lnTo>
                    <a:lnTo>
                      <a:pt x="68" y="19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97" name="Freeform 184">
                <a:extLst>
                  <a:ext uri="{FF2B5EF4-FFF2-40B4-BE49-F238E27FC236}">
                    <a16:creationId xmlns:a16="http://schemas.microsoft.com/office/drawing/2014/main" id="{130C5876-F49A-9B46-A44E-EC99E2158DC9}"/>
                  </a:ext>
                </a:extLst>
              </p:cNvPr>
              <p:cNvSpPr>
                <a:spLocks noEditPoints="1"/>
              </p:cNvSpPr>
              <p:nvPr/>
            </p:nvSpPr>
            <p:spPr bwMode="auto">
              <a:xfrm>
                <a:off x="3837" y="3119"/>
                <a:ext cx="289" cy="244"/>
              </a:xfrm>
              <a:custGeom>
                <a:avLst/>
                <a:gdLst>
                  <a:gd name="T0" fmla="*/ 273 w 289"/>
                  <a:gd name="T1" fmla="*/ 99 h 244"/>
                  <a:gd name="T2" fmla="*/ 254 w 289"/>
                  <a:gd name="T3" fmla="*/ 92 h 244"/>
                  <a:gd name="T4" fmla="*/ 256 w 289"/>
                  <a:gd name="T5" fmla="*/ 74 h 244"/>
                  <a:gd name="T6" fmla="*/ 273 w 289"/>
                  <a:gd name="T7" fmla="*/ 71 h 244"/>
                  <a:gd name="T8" fmla="*/ 271 w 289"/>
                  <a:gd name="T9" fmla="*/ 35 h 244"/>
                  <a:gd name="T10" fmla="*/ 253 w 289"/>
                  <a:gd name="T11" fmla="*/ 1 h 244"/>
                  <a:gd name="T12" fmla="*/ 220 w 289"/>
                  <a:gd name="T13" fmla="*/ 2 h 244"/>
                  <a:gd name="T14" fmla="*/ 205 w 289"/>
                  <a:gd name="T15" fmla="*/ 11 h 244"/>
                  <a:gd name="T16" fmla="*/ 185 w 289"/>
                  <a:gd name="T17" fmla="*/ 28 h 244"/>
                  <a:gd name="T18" fmla="*/ 174 w 289"/>
                  <a:gd name="T19" fmla="*/ 46 h 244"/>
                  <a:gd name="T20" fmla="*/ 161 w 289"/>
                  <a:gd name="T21" fmla="*/ 64 h 244"/>
                  <a:gd name="T22" fmla="*/ 144 w 289"/>
                  <a:gd name="T23" fmla="*/ 69 h 244"/>
                  <a:gd name="T24" fmla="*/ 125 w 289"/>
                  <a:gd name="T25" fmla="*/ 60 h 244"/>
                  <a:gd name="T26" fmla="*/ 112 w 289"/>
                  <a:gd name="T27" fmla="*/ 63 h 244"/>
                  <a:gd name="T28" fmla="*/ 103 w 289"/>
                  <a:gd name="T29" fmla="*/ 79 h 244"/>
                  <a:gd name="T30" fmla="*/ 93 w 289"/>
                  <a:gd name="T31" fmla="*/ 86 h 244"/>
                  <a:gd name="T32" fmla="*/ 88 w 289"/>
                  <a:gd name="T33" fmla="*/ 90 h 244"/>
                  <a:gd name="T34" fmla="*/ 73 w 289"/>
                  <a:gd name="T35" fmla="*/ 87 h 244"/>
                  <a:gd name="T36" fmla="*/ 76 w 289"/>
                  <a:gd name="T37" fmla="*/ 77 h 244"/>
                  <a:gd name="T38" fmla="*/ 68 w 289"/>
                  <a:gd name="T39" fmla="*/ 53 h 244"/>
                  <a:gd name="T40" fmla="*/ 53 w 289"/>
                  <a:gd name="T41" fmla="*/ 125 h 244"/>
                  <a:gd name="T42" fmla="*/ 26 w 289"/>
                  <a:gd name="T43" fmla="*/ 129 h 244"/>
                  <a:gd name="T44" fmla="*/ 16 w 289"/>
                  <a:gd name="T45" fmla="*/ 123 h 244"/>
                  <a:gd name="T46" fmla="*/ 14 w 289"/>
                  <a:gd name="T47" fmla="*/ 116 h 244"/>
                  <a:gd name="T48" fmla="*/ 6 w 289"/>
                  <a:gd name="T49" fmla="*/ 120 h 244"/>
                  <a:gd name="T50" fmla="*/ 7 w 289"/>
                  <a:gd name="T51" fmla="*/ 136 h 244"/>
                  <a:gd name="T52" fmla="*/ 33 w 289"/>
                  <a:gd name="T53" fmla="*/ 198 h 244"/>
                  <a:gd name="T54" fmla="*/ 27 w 289"/>
                  <a:gd name="T55" fmla="*/ 202 h 244"/>
                  <a:gd name="T56" fmla="*/ 33 w 289"/>
                  <a:gd name="T57" fmla="*/ 218 h 244"/>
                  <a:gd name="T58" fmla="*/ 33 w 289"/>
                  <a:gd name="T59" fmla="*/ 230 h 244"/>
                  <a:gd name="T60" fmla="*/ 35 w 289"/>
                  <a:gd name="T61" fmla="*/ 232 h 244"/>
                  <a:gd name="T62" fmla="*/ 40 w 289"/>
                  <a:gd name="T63" fmla="*/ 231 h 244"/>
                  <a:gd name="T64" fmla="*/ 43 w 289"/>
                  <a:gd name="T65" fmla="*/ 235 h 244"/>
                  <a:gd name="T66" fmla="*/ 50 w 289"/>
                  <a:gd name="T67" fmla="*/ 238 h 244"/>
                  <a:gd name="T68" fmla="*/ 65 w 289"/>
                  <a:gd name="T69" fmla="*/ 242 h 244"/>
                  <a:gd name="T70" fmla="*/ 78 w 289"/>
                  <a:gd name="T71" fmla="*/ 235 h 244"/>
                  <a:gd name="T72" fmla="*/ 101 w 289"/>
                  <a:gd name="T73" fmla="*/ 231 h 244"/>
                  <a:gd name="T74" fmla="*/ 121 w 289"/>
                  <a:gd name="T75" fmla="*/ 230 h 244"/>
                  <a:gd name="T76" fmla="*/ 136 w 289"/>
                  <a:gd name="T77" fmla="*/ 230 h 244"/>
                  <a:gd name="T78" fmla="*/ 147 w 289"/>
                  <a:gd name="T79" fmla="*/ 230 h 244"/>
                  <a:gd name="T80" fmla="*/ 155 w 289"/>
                  <a:gd name="T81" fmla="*/ 228 h 244"/>
                  <a:gd name="T82" fmla="*/ 162 w 289"/>
                  <a:gd name="T83" fmla="*/ 225 h 244"/>
                  <a:gd name="T84" fmla="*/ 172 w 289"/>
                  <a:gd name="T85" fmla="*/ 222 h 244"/>
                  <a:gd name="T86" fmla="*/ 194 w 289"/>
                  <a:gd name="T87" fmla="*/ 214 h 244"/>
                  <a:gd name="T88" fmla="*/ 269 w 289"/>
                  <a:gd name="T89" fmla="*/ 132 h 244"/>
                  <a:gd name="T90" fmla="*/ 284 w 289"/>
                  <a:gd name="T91" fmla="*/ 106 h 244"/>
                  <a:gd name="T92" fmla="*/ 227 w 289"/>
                  <a:gd name="T93" fmla="*/ 139 h 244"/>
                  <a:gd name="T94" fmla="*/ 211 w 289"/>
                  <a:gd name="T95" fmla="*/ 153 h 244"/>
                  <a:gd name="T96" fmla="*/ 198 w 289"/>
                  <a:gd name="T97" fmla="*/ 162 h 244"/>
                  <a:gd name="T98" fmla="*/ 187 w 289"/>
                  <a:gd name="T99" fmla="*/ 143 h 244"/>
                  <a:gd name="T100" fmla="*/ 195 w 289"/>
                  <a:gd name="T101" fmla="*/ 136 h 244"/>
                  <a:gd name="T102" fmla="*/ 213 w 289"/>
                  <a:gd name="T103" fmla="*/ 125 h 244"/>
                  <a:gd name="T104" fmla="*/ 227 w 289"/>
                  <a:gd name="T105" fmla="*/ 13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9" h="244">
                    <a:moveTo>
                      <a:pt x="276" y="89"/>
                    </a:moveTo>
                    <a:lnTo>
                      <a:pt x="273" y="90"/>
                    </a:lnTo>
                    <a:lnTo>
                      <a:pt x="273" y="92"/>
                    </a:lnTo>
                    <a:lnTo>
                      <a:pt x="273" y="96"/>
                    </a:lnTo>
                    <a:lnTo>
                      <a:pt x="273" y="99"/>
                    </a:lnTo>
                    <a:lnTo>
                      <a:pt x="269" y="99"/>
                    </a:lnTo>
                    <a:lnTo>
                      <a:pt x="264" y="99"/>
                    </a:lnTo>
                    <a:lnTo>
                      <a:pt x="260" y="97"/>
                    </a:lnTo>
                    <a:lnTo>
                      <a:pt x="257" y="94"/>
                    </a:lnTo>
                    <a:lnTo>
                      <a:pt x="254" y="92"/>
                    </a:lnTo>
                    <a:lnTo>
                      <a:pt x="253" y="89"/>
                    </a:lnTo>
                    <a:lnTo>
                      <a:pt x="251" y="84"/>
                    </a:lnTo>
                    <a:lnTo>
                      <a:pt x="251" y="81"/>
                    </a:lnTo>
                    <a:lnTo>
                      <a:pt x="253" y="79"/>
                    </a:lnTo>
                    <a:lnTo>
                      <a:pt x="256" y="74"/>
                    </a:lnTo>
                    <a:lnTo>
                      <a:pt x="259" y="70"/>
                    </a:lnTo>
                    <a:lnTo>
                      <a:pt x="261" y="69"/>
                    </a:lnTo>
                    <a:lnTo>
                      <a:pt x="264" y="69"/>
                    </a:lnTo>
                    <a:lnTo>
                      <a:pt x="270" y="71"/>
                    </a:lnTo>
                    <a:lnTo>
                      <a:pt x="273" y="71"/>
                    </a:lnTo>
                    <a:lnTo>
                      <a:pt x="271" y="70"/>
                    </a:lnTo>
                    <a:lnTo>
                      <a:pt x="273" y="63"/>
                    </a:lnTo>
                    <a:lnTo>
                      <a:pt x="273" y="44"/>
                    </a:lnTo>
                    <a:lnTo>
                      <a:pt x="271" y="40"/>
                    </a:lnTo>
                    <a:lnTo>
                      <a:pt x="271" y="35"/>
                    </a:lnTo>
                    <a:lnTo>
                      <a:pt x="266" y="25"/>
                    </a:lnTo>
                    <a:lnTo>
                      <a:pt x="261" y="8"/>
                    </a:lnTo>
                    <a:lnTo>
                      <a:pt x="260" y="4"/>
                    </a:lnTo>
                    <a:lnTo>
                      <a:pt x="257" y="1"/>
                    </a:lnTo>
                    <a:lnTo>
                      <a:pt x="253" y="1"/>
                    </a:lnTo>
                    <a:lnTo>
                      <a:pt x="246" y="2"/>
                    </a:lnTo>
                    <a:lnTo>
                      <a:pt x="231" y="0"/>
                    </a:lnTo>
                    <a:lnTo>
                      <a:pt x="227" y="0"/>
                    </a:lnTo>
                    <a:lnTo>
                      <a:pt x="223" y="1"/>
                    </a:lnTo>
                    <a:lnTo>
                      <a:pt x="220" y="2"/>
                    </a:lnTo>
                    <a:lnTo>
                      <a:pt x="218" y="4"/>
                    </a:lnTo>
                    <a:lnTo>
                      <a:pt x="214" y="5"/>
                    </a:lnTo>
                    <a:lnTo>
                      <a:pt x="211" y="7"/>
                    </a:lnTo>
                    <a:lnTo>
                      <a:pt x="208" y="8"/>
                    </a:lnTo>
                    <a:lnTo>
                      <a:pt x="205" y="11"/>
                    </a:lnTo>
                    <a:lnTo>
                      <a:pt x="201" y="15"/>
                    </a:lnTo>
                    <a:lnTo>
                      <a:pt x="198" y="18"/>
                    </a:lnTo>
                    <a:lnTo>
                      <a:pt x="188" y="24"/>
                    </a:lnTo>
                    <a:lnTo>
                      <a:pt x="187" y="25"/>
                    </a:lnTo>
                    <a:lnTo>
                      <a:pt x="185" y="28"/>
                    </a:lnTo>
                    <a:lnTo>
                      <a:pt x="184" y="35"/>
                    </a:lnTo>
                    <a:lnTo>
                      <a:pt x="182" y="38"/>
                    </a:lnTo>
                    <a:lnTo>
                      <a:pt x="180" y="41"/>
                    </a:lnTo>
                    <a:lnTo>
                      <a:pt x="177" y="44"/>
                    </a:lnTo>
                    <a:lnTo>
                      <a:pt x="174" y="46"/>
                    </a:lnTo>
                    <a:lnTo>
                      <a:pt x="168" y="48"/>
                    </a:lnTo>
                    <a:lnTo>
                      <a:pt x="167" y="50"/>
                    </a:lnTo>
                    <a:lnTo>
                      <a:pt x="165" y="51"/>
                    </a:lnTo>
                    <a:lnTo>
                      <a:pt x="162" y="61"/>
                    </a:lnTo>
                    <a:lnTo>
                      <a:pt x="161" y="64"/>
                    </a:lnTo>
                    <a:lnTo>
                      <a:pt x="158" y="67"/>
                    </a:lnTo>
                    <a:lnTo>
                      <a:pt x="157" y="67"/>
                    </a:lnTo>
                    <a:lnTo>
                      <a:pt x="152" y="69"/>
                    </a:lnTo>
                    <a:lnTo>
                      <a:pt x="147" y="69"/>
                    </a:lnTo>
                    <a:lnTo>
                      <a:pt x="144" y="69"/>
                    </a:lnTo>
                    <a:lnTo>
                      <a:pt x="139" y="69"/>
                    </a:lnTo>
                    <a:lnTo>
                      <a:pt x="135" y="66"/>
                    </a:lnTo>
                    <a:lnTo>
                      <a:pt x="131" y="64"/>
                    </a:lnTo>
                    <a:lnTo>
                      <a:pt x="129" y="63"/>
                    </a:lnTo>
                    <a:lnTo>
                      <a:pt x="125" y="60"/>
                    </a:lnTo>
                    <a:lnTo>
                      <a:pt x="124" y="60"/>
                    </a:lnTo>
                    <a:lnTo>
                      <a:pt x="121" y="58"/>
                    </a:lnTo>
                    <a:lnTo>
                      <a:pt x="118" y="58"/>
                    </a:lnTo>
                    <a:lnTo>
                      <a:pt x="115" y="60"/>
                    </a:lnTo>
                    <a:lnTo>
                      <a:pt x="112" y="63"/>
                    </a:lnTo>
                    <a:lnTo>
                      <a:pt x="112" y="66"/>
                    </a:lnTo>
                    <a:lnTo>
                      <a:pt x="109" y="71"/>
                    </a:lnTo>
                    <a:lnTo>
                      <a:pt x="108" y="74"/>
                    </a:lnTo>
                    <a:lnTo>
                      <a:pt x="108" y="76"/>
                    </a:lnTo>
                    <a:lnTo>
                      <a:pt x="103" y="79"/>
                    </a:lnTo>
                    <a:lnTo>
                      <a:pt x="102" y="80"/>
                    </a:lnTo>
                    <a:lnTo>
                      <a:pt x="99" y="84"/>
                    </a:lnTo>
                    <a:lnTo>
                      <a:pt x="98" y="84"/>
                    </a:lnTo>
                    <a:lnTo>
                      <a:pt x="95" y="86"/>
                    </a:lnTo>
                    <a:lnTo>
                      <a:pt x="93" y="86"/>
                    </a:lnTo>
                    <a:lnTo>
                      <a:pt x="93" y="87"/>
                    </a:lnTo>
                    <a:lnTo>
                      <a:pt x="93" y="89"/>
                    </a:lnTo>
                    <a:lnTo>
                      <a:pt x="92" y="89"/>
                    </a:lnTo>
                    <a:lnTo>
                      <a:pt x="91" y="90"/>
                    </a:lnTo>
                    <a:lnTo>
                      <a:pt x="88" y="90"/>
                    </a:lnTo>
                    <a:lnTo>
                      <a:pt x="79" y="89"/>
                    </a:lnTo>
                    <a:lnTo>
                      <a:pt x="76" y="89"/>
                    </a:lnTo>
                    <a:lnTo>
                      <a:pt x="75" y="89"/>
                    </a:lnTo>
                    <a:lnTo>
                      <a:pt x="73" y="89"/>
                    </a:lnTo>
                    <a:lnTo>
                      <a:pt x="73" y="87"/>
                    </a:lnTo>
                    <a:lnTo>
                      <a:pt x="73" y="84"/>
                    </a:lnTo>
                    <a:lnTo>
                      <a:pt x="73" y="83"/>
                    </a:lnTo>
                    <a:lnTo>
                      <a:pt x="73" y="81"/>
                    </a:lnTo>
                    <a:lnTo>
                      <a:pt x="75" y="79"/>
                    </a:lnTo>
                    <a:lnTo>
                      <a:pt x="76" y="77"/>
                    </a:lnTo>
                    <a:lnTo>
                      <a:pt x="76" y="74"/>
                    </a:lnTo>
                    <a:lnTo>
                      <a:pt x="76" y="71"/>
                    </a:lnTo>
                    <a:lnTo>
                      <a:pt x="73" y="64"/>
                    </a:lnTo>
                    <a:lnTo>
                      <a:pt x="70" y="58"/>
                    </a:lnTo>
                    <a:lnTo>
                      <a:pt x="68" y="53"/>
                    </a:lnTo>
                    <a:lnTo>
                      <a:pt x="62" y="48"/>
                    </a:lnTo>
                    <a:lnTo>
                      <a:pt x="62" y="122"/>
                    </a:lnTo>
                    <a:lnTo>
                      <a:pt x="59" y="122"/>
                    </a:lnTo>
                    <a:lnTo>
                      <a:pt x="56" y="123"/>
                    </a:lnTo>
                    <a:lnTo>
                      <a:pt x="53" y="125"/>
                    </a:lnTo>
                    <a:lnTo>
                      <a:pt x="50" y="126"/>
                    </a:lnTo>
                    <a:lnTo>
                      <a:pt x="49" y="129"/>
                    </a:lnTo>
                    <a:lnTo>
                      <a:pt x="49" y="129"/>
                    </a:lnTo>
                    <a:lnTo>
                      <a:pt x="47" y="130"/>
                    </a:lnTo>
                    <a:lnTo>
                      <a:pt x="26" y="129"/>
                    </a:lnTo>
                    <a:lnTo>
                      <a:pt x="20" y="126"/>
                    </a:lnTo>
                    <a:lnTo>
                      <a:pt x="19" y="126"/>
                    </a:lnTo>
                    <a:lnTo>
                      <a:pt x="17" y="126"/>
                    </a:lnTo>
                    <a:lnTo>
                      <a:pt x="17" y="125"/>
                    </a:lnTo>
                    <a:lnTo>
                      <a:pt x="16" y="123"/>
                    </a:lnTo>
                    <a:lnTo>
                      <a:pt x="16" y="122"/>
                    </a:lnTo>
                    <a:lnTo>
                      <a:pt x="16" y="120"/>
                    </a:lnTo>
                    <a:lnTo>
                      <a:pt x="16" y="120"/>
                    </a:lnTo>
                    <a:lnTo>
                      <a:pt x="16" y="119"/>
                    </a:lnTo>
                    <a:lnTo>
                      <a:pt x="14" y="116"/>
                    </a:lnTo>
                    <a:lnTo>
                      <a:pt x="13" y="115"/>
                    </a:lnTo>
                    <a:lnTo>
                      <a:pt x="12" y="113"/>
                    </a:lnTo>
                    <a:lnTo>
                      <a:pt x="9" y="113"/>
                    </a:lnTo>
                    <a:lnTo>
                      <a:pt x="7" y="115"/>
                    </a:lnTo>
                    <a:lnTo>
                      <a:pt x="6" y="120"/>
                    </a:lnTo>
                    <a:lnTo>
                      <a:pt x="4" y="122"/>
                    </a:lnTo>
                    <a:lnTo>
                      <a:pt x="1" y="123"/>
                    </a:lnTo>
                    <a:lnTo>
                      <a:pt x="0" y="125"/>
                    </a:lnTo>
                    <a:lnTo>
                      <a:pt x="4" y="130"/>
                    </a:lnTo>
                    <a:lnTo>
                      <a:pt x="7" y="136"/>
                    </a:lnTo>
                    <a:lnTo>
                      <a:pt x="16" y="161"/>
                    </a:lnTo>
                    <a:lnTo>
                      <a:pt x="30" y="184"/>
                    </a:lnTo>
                    <a:lnTo>
                      <a:pt x="33" y="189"/>
                    </a:lnTo>
                    <a:lnTo>
                      <a:pt x="33" y="196"/>
                    </a:lnTo>
                    <a:lnTo>
                      <a:pt x="33" y="198"/>
                    </a:lnTo>
                    <a:lnTo>
                      <a:pt x="32" y="199"/>
                    </a:lnTo>
                    <a:lnTo>
                      <a:pt x="32" y="201"/>
                    </a:lnTo>
                    <a:lnTo>
                      <a:pt x="30" y="202"/>
                    </a:lnTo>
                    <a:lnTo>
                      <a:pt x="29" y="202"/>
                    </a:lnTo>
                    <a:lnTo>
                      <a:pt x="27" y="202"/>
                    </a:lnTo>
                    <a:lnTo>
                      <a:pt x="27" y="202"/>
                    </a:lnTo>
                    <a:lnTo>
                      <a:pt x="26" y="202"/>
                    </a:lnTo>
                    <a:lnTo>
                      <a:pt x="24" y="205"/>
                    </a:lnTo>
                    <a:lnTo>
                      <a:pt x="26" y="208"/>
                    </a:lnTo>
                    <a:lnTo>
                      <a:pt x="33" y="218"/>
                    </a:lnTo>
                    <a:lnTo>
                      <a:pt x="35" y="221"/>
                    </a:lnTo>
                    <a:lnTo>
                      <a:pt x="35" y="224"/>
                    </a:lnTo>
                    <a:lnTo>
                      <a:pt x="35" y="225"/>
                    </a:lnTo>
                    <a:lnTo>
                      <a:pt x="33" y="228"/>
                    </a:lnTo>
                    <a:lnTo>
                      <a:pt x="33" y="230"/>
                    </a:lnTo>
                    <a:lnTo>
                      <a:pt x="33" y="231"/>
                    </a:lnTo>
                    <a:lnTo>
                      <a:pt x="33" y="232"/>
                    </a:lnTo>
                    <a:lnTo>
                      <a:pt x="35" y="234"/>
                    </a:lnTo>
                    <a:lnTo>
                      <a:pt x="35" y="235"/>
                    </a:lnTo>
                    <a:lnTo>
                      <a:pt x="35" y="232"/>
                    </a:lnTo>
                    <a:lnTo>
                      <a:pt x="36" y="231"/>
                    </a:lnTo>
                    <a:lnTo>
                      <a:pt x="36" y="230"/>
                    </a:lnTo>
                    <a:lnTo>
                      <a:pt x="39" y="230"/>
                    </a:lnTo>
                    <a:lnTo>
                      <a:pt x="40" y="230"/>
                    </a:lnTo>
                    <a:lnTo>
                      <a:pt x="40" y="231"/>
                    </a:lnTo>
                    <a:lnTo>
                      <a:pt x="42" y="232"/>
                    </a:lnTo>
                    <a:lnTo>
                      <a:pt x="42" y="234"/>
                    </a:lnTo>
                    <a:lnTo>
                      <a:pt x="42" y="235"/>
                    </a:lnTo>
                    <a:lnTo>
                      <a:pt x="42" y="235"/>
                    </a:lnTo>
                    <a:lnTo>
                      <a:pt x="43" y="235"/>
                    </a:lnTo>
                    <a:lnTo>
                      <a:pt x="43" y="235"/>
                    </a:lnTo>
                    <a:lnTo>
                      <a:pt x="47" y="235"/>
                    </a:lnTo>
                    <a:lnTo>
                      <a:pt x="49" y="237"/>
                    </a:lnTo>
                    <a:lnTo>
                      <a:pt x="50" y="237"/>
                    </a:lnTo>
                    <a:lnTo>
                      <a:pt x="50" y="238"/>
                    </a:lnTo>
                    <a:lnTo>
                      <a:pt x="50" y="240"/>
                    </a:lnTo>
                    <a:lnTo>
                      <a:pt x="53" y="241"/>
                    </a:lnTo>
                    <a:lnTo>
                      <a:pt x="59" y="244"/>
                    </a:lnTo>
                    <a:lnTo>
                      <a:pt x="63" y="244"/>
                    </a:lnTo>
                    <a:lnTo>
                      <a:pt x="65" y="242"/>
                    </a:lnTo>
                    <a:lnTo>
                      <a:pt x="68" y="240"/>
                    </a:lnTo>
                    <a:lnTo>
                      <a:pt x="70" y="238"/>
                    </a:lnTo>
                    <a:lnTo>
                      <a:pt x="72" y="237"/>
                    </a:lnTo>
                    <a:lnTo>
                      <a:pt x="75" y="237"/>
                    </a:lnTo>
                    <a:lnTo>
                      <a:pt x="78" y="235"/>
                    </a:lnTo>
                    <a:lnTo>
                      <a:pt x="80" y="235"/>
                    </a:lnTo>
                    <a:lnTo>
                      <a:pt x="88" y="235"/>
                    </a:lnTo>
                    <a:lnTo>
                      <a:pt x="91" y="235"/>
                    </a:lnTo>
                    <a:lnTo>
                      <a:pt x="95" y="234"/>
                    </a:lnTo>
                    <a:lnTo>
                      <a:pt x="101" y="231"/>
                    </a:lnTo>
                    <a:lnTo>
                      <a:pt x="105" y="230"/>
                    </a:lnTo>
                    <a:lnTo>
                      <a:pt x="109" y="228"/>
                    </a:lnTo>
                    <a:lnTo>
                      <a:pt x="116" y="230"/>
                    </a:lnTo>
                    <a:lnTo>
                      <a:pt x="119" y="230"/>
                    </a:lnTo>
                    <a:lnTo>
                      <a:pt x="121" y="230"/>
                    </a:lnTo>
                    <a:lnTo>
                      <a:pt x="124" y="228"/>
                    </a:lnTo>
                    <a:lnTo>
                      <a:pt x="126" y="228"/>
                    </a:lnTo>
                    <a:lnTo>
                      <a:pt x="128" y="228"/>
                    </a:lnTo>
                    <a:lnTo>
                      <a:pt x="132" y="228"/>
                    </a:lnTo>
                    <a:lnTo>
                      <a:pt x="136" y="230"/>
                    </a:lnTo>
                    <a:lnTo>
                      <a:pt x="141" y="231"/>
                    </a:lnTo>
                    <a:lnTo>
                      <a:pt x="142" y="231"/>
                    </a:lnTo>
                    <a:lnTo>
                      <a:pt x="145" y="231"/>
                    </a:lnTo>
                    <a:lnTo>
                      <a:pt x="147" y="231"/>
                    </a:lnTo>
                    <a:lnTo>
                      <a:pt x="147" y="230"/>
                    </a:lnTo>
                    <a:lnTo>
                      <a:pt x="148" y="230"/>
                    </a:lnTo>
                    <a:lnTo>
                      <a:pt x="151" y="228"/>
                    </a:lnTo>
                    <a:lnTo>
                      <a:pt x="151" y="228"/>
                    </a:lnTo>
                    <a:lnTo>
                      <a:pt x="152" y="227"/>
                    </a:lnTo>
                    <a:lnTo>
                      <a:pt x="155" y="228"/>
                    </a:lnTo>
                    <a:lnTo>
                      <a:pt x="158" y="228"/>
                    </a:lnTo>
                    <a:lnTo>
                      <a:pt x="159" y="228"/>
                    </a:lnTo>
                    <a:lnTo>
                      <a:pt x="161" y="228"/>
                    </a:lnTo>
                    <a:lnTo>
                      <a:pt x="162" y="227"/>
                    </a:lnTo>
                    <a:lnTo>
                      <a:pt x="162" y="225"/>
                    </a:lnTo>
                    <a:lnTo>
                      <a:pt x="162" y="224"/>
                    </a:lnTo>
                    <a:lnTo>
                      <a:pt x="165" y="222"/>
                    </a:lnTo>
                    <a:lnTo>
                      <a:pt x="167" y="222"/>
                    </a:lnTo>
                    <a:lnTo>
                      <a:pt x="170" y="222"/>
                    </a:lnTo>
                    <a:lnTo>
                      <a:pt x="172" y="222"/>
                    </a:lnTo>
                    <a:lnTo>
                      <a:pt x="174" y="222"/>
                    </a:lnTo>
                    <a:lnTo>
                      <a:pt x="177" y="222"/>
                    </a:lnTo>
                    <a:lnTo>
                      <a:pt x="181" y="221"/>
                    </a:lnTo>
                    <a:lnTo>
                      <a:pt x="187" y="218"/>
                    </a:lnTo>
                    <a:lnTo>
                      <a:pt x="194" y="214"/>
                    </a:lnTo>
                    <a:lnTo>
                      <a:pt x="218" y="194"/>
                    </a:lnTo>
                    <a:lnTo>
                      <a:pt x="243" y="171"/>
                    </a:lnTo>
                    <a:lnTo>
                      <a:pt x="263" y="139"/>
                    </a:lnTo>
                    <a:lnTo>
                      <a:pt x="266" y="135"/>
                    </a:lnTo>
                    <a:lnTo>
                      <a:pt x="269" y="132"/>
                    </a:lnTo>
                    <a:lnTo>
                      <a:pt x="276" y="127"/>
                    </a:lnTo>
                    <a:lnTo>
                      <a:pt x="279" y="125"/>
                    </a:lnTo>
                    <a:lnTo>
                      <a:pt x="282" y="120"/>
                    </a:lnTo>
                    <a:lnTo>
                      <a:pt x="283" y="116"/>
                    </a:lnTo>
                    <a:lnTo>
                      <a:pt x="284" y="106"/>
                    </a:lnTo>
                    <a:lnTo>
                      <a:pt x="287" y="93"/>
                    </a:lnTo>
                    <a:lnTo>
                      <a:pt x="289" y="90"/>
                    </a:lnTo>
                    <a:lnTo>
                      <a:pt x="279" y="89"/>
                    </a:lnTo>
                    <a:lnTo>
                      <a:pt x="276" y="89"/>
                    </a:lnTo>
                    <a:close/>
                    <a:moveTo>
                      <a:pt x="227" y="139"/>
                    </a:moveTo>
                    <a:lnTo>
                      <a:pt x="226" y="142"/>
                    </a:lnTo>
                    <a:lnTo>
                      <a:pt x="221" y="149"/>
                    </a:lnTo>
                    <a:lnTo>
                      <a:pt x="220" y="150"/>
                    </a:lnTo>
                    <a:lnTo>
                      <a:pt x="217" y="152"/>
                    </a:lnTo>
                    <a:lnTo>
                      <a:pt x="211" y="153"/>
                    </a:lnTo>
                    <a:lnTo>
                      <a:pt x="210" y="155"/>
                    </a:lnTo>
                    <a:lnTo>
                      <a:pt x="207" y="156"/>
                    </a:lnTo>
                    <a:lnTo>
                      <a:pt x="204" y="162"/>
                    </a:lnTo>
                    <a:lnTo>
                      <a:pt x="203" y="163"/>
                    </a:lnTo>
                    <a:lnTo>
                      <a:pt x="198" y="162"/>
                    </a:lnTo>
                    <a:lnTo>
                      <a:pt x="194" y="159"/>
                    </a:lnTo>
                    <a:lnTo>
                      <a:pt x="191" y="155"/>
                    </a:lnTo>
                    <a:lnTo>
                      <a:pt x="188" y="149"/>
                    </a:lnTo>
                    <a:lnTo>
                      <a:pt x="187" y="145"/>
                    </a:lnTo>
                    <a:lnTo>
                      <a:pt x="187" y="143"/>
                    </a:lnTo>
                    <a:lnTo>
                      <a:pt x="188" y="142"/>
                    </a:lnTo>
                    <a:lnTo>
                      <a:pt x="190" y="142"/>
                    </a:lnTo>
                    <a:lnTo>
                      <a:pt x="191" y="140"/>
                    </a:lnTo>
                    <a:lnTo>
                      <a:pt x="192" y="139"/>
                    </a:lnTo>
                    <a:lnTo>
                      <a:pt x="195" y="136"/>
                    </a:lnTo>
                    <a:lnTo>
                      <a:pt x="198" y="132"/>
                    </a:lnTo>
                    <a:lnTo>
                      <a:pt x="200" y="130"/>
                    </a:lnTo>
                    <a:lnTo>
                      <a:pt x="204" y="127"/>
                    </a:lnTo>
                    <a:lnTo>
                      <a:pt x="210" y="125"/>
                    </a:lnTo>
                    <a:lnTo>
                      <a:pt x="213" y="125"/>
                    </a:lnTo>
                    <a:lnTo>
                      <a:pt x="214" y="125"/>
                    </a:lnTo>
                    <a:lnTo>
                      <a:pt x="224" y="132"/>
                    </a:lnTo>
                    <a:lnTo>
                      <a:pt x="226" y="133"/>
                    </a:lnTo>
                    <a:lnTo>
                      <a:pt x="227" y="136"/>
                    </a:lnTo>
                    <a:lnTo>
                      <a:pt x="227" y="13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98" name="Freeform 185">
                <a:extLst>
                  <a:ext uri="{FF2B5EF4-FFF2-40B4-BE49-F238E27FC236}">
                    <a16:creationId xmlns:a16="http://schemas.microsoft.com/office/drawing/2014/main" id="{1E4F6176-AFAC-9C43-8FF1-DF1340884631}"/>
                  </a:ext>
                </a:extLst>
              </p:cNvPr>
              <p:cNvSpPr>
                <a:spLocks/>
              </p:cNvSpPr>
              <p:nvPr/>
            </p:nvSpPr>
            <p:spPr bwMode="auto">
              <a:xfrm>
                <a:off x="3982" y="2134"/>
                <a:ext cx="214" cy="187"/>
              </a:xfrm>
              <a:custGeom>
                <a:avLst/>
                <a:gdLst>
                  <a:gd name="T0" fmla="*/ 172 w 214"/>
                  <a:gd name="T1" fmla="*/ 20 h 187"/>
                  <a:gd name="T2" fmla="*/ 167 w 214"/>
                  <a:gd name="T3" fmla="*/ 7 h 187"/>
                  <a:gd name="T4" fmla="*/ 160 w 214"/>
                  <a:gd name="T5" fmla="*/ 9 h 187"/>
                  <a:gd name="T6" fmla="*/ 148 w 214"/>
                  <a:gd name="T7" fmla="*/ 9 h 187"/>
                  <a:gd name="T8" fmla="*/ 137 w 214"/>
                  <a:gd name="T9" fmla="*/ 10 h 187"/>
                  <a:gd name="T10" fmla="*/ 132 w 214"/>
                  <a:gd name="T11" fmla="*/ 9 h 187"/>
                  <a:gd name="T12" fmla="*/ 128 w 214"/>
                  <a:gd name="T13" fmla="*/ 7 h 187"/>
                  <a:gd name="T14" fmla="*/ 125 w 214"/>
                  <a:gd name="T15" fmla="*/ 6 h 187"/>
                  <a:gd name="T16" fmla="*/ 128 w 214"/>
                  <a:gd name="T17" fmla="*/ 4 h 187"/>
                  <a:gd name="T18" fmla="*/ 128 w 214"/>
                  <a:gd name="T19" fmla="*/ 3 h 187"/>
                  <a:gd name="T20" fmla="*/ 115 w 214"/>
                  <a:gd name="T21" fmla="*/ 1 h 187"/>
                  <a:gd name="T22" fmla="*/ 106 w 214"/>
                  <a:gd name="T23" fmla="*/ 3 h 187"/>
                  <a:gd name="T24" fmla="*/ 101 w 214"/>
                  <a:gd name="T25" fmla="*/ 3 h 187"/>
                  <a:gd name="T26" fmla="*/ 89 w 214"/>
                  <a:gd name="T27" fmla="*/ 10 h 187"/>
                  <a:gd name="T28" fmla="*/ 75 w 214"/>
                  <a:gd name="T29" fmla="*/ 14 h 187"/>
                  <a:gd name="T30" fmla="*/ 25 w 214"/>
                  <a:gd name="T31" fmla="*/ 1 h 187"/>
                  <a:gd name="T32" fmla="*/ 7 w 214"/>
                  <a:gd name="T33" fmla="*/ 0 h 187"/>
                  <a:gd name="T34" fmla="*/ 3 w 214"/>
                  <a:gd name="T35" fmla="*/ 12 h 187"/>
                  <a:gd name="T36" fmla="*/ 3 w 214"/>
                  <a:gd name="T37" fmla="*/ 22 h 187"/>
                  <a:gd name="T38" fmla="*/ 2 w 214"/>
                  <a:gd name="T39" fmla="*/ 35 h 187"/>
                  <a:gd name="T40" fmla="*/ 7 w 214"/>
                  <a:gd name="T41" fmla="*/ 187 h 187"/>
                  <a:gd name="T42" fmla="*/ 22 w 214"/>
                  <a:gd name="T43" fmla="*/ 187 h 187"/>
                  <a:gd name="T44" fmla="*/ 39 w 214"/>
                  <a:gd name="T45" fmla="*/ 187 h 187"/>
                  <a:gd name="T46" fmla="*/ 56 w 214"/>
                  <a:gd name="T47" fmla="*/ 187 h 187"/>
                  <a:gd name="T48" fmla="*/ 70 w 214"/>
                  <a:gd name="T49" fmla="*/ 187 h 187"/>
                  <a:gd name="T50" fmla="*/ 81 w 214"/>
                  <a:gd name="T51" fmla="*/ 187 h 187"/>
                  <a:gd name="T52" fmla="*/ 99 w 214"/>
                  <a:gd name="T53" fmla="*/ 187 h 187"/>
                  <a:gd name="T54" fmla="*/ 109 w 214"/>
                  <a:gd name="T55" fmla="*/ 187 h 187"/>
                  <a:gd name="T56" fmla="*/ 116 w 214"/>
                  <a:gd name="T57" fmla="*/ 185 h 187"/>
                  <a:gd name="T58" fmla="*/ 118 w 214"/>
                  <a:gd name="T59" fmla="*/ 183 h 187"/>
                  <a:gd name="T60" fmla="*/ 118 w 214"/>
                  <a:gd name="T61" fmla="*/ 183 h 187"/>
                  <a:gd name="T62" fmla="*/ 128 w 214"/>
                  <a:gd name="T63" fmla="*/ 187 h 187"/>
                  <a:gd name="T64" fmla="*/ 171 w 214"/>
                  <a:gd name="T65" fmla="*/ 187 h 187"/>
                  <a:gd name="T66" fmla="*/ 200 w 214"/>
                  <a:gd name="T67" fmla="*/ 187 h 187"/>
                  <a:gd name="T68" fmla="*/ 213 w 214"/>
                  <a:gd name="T69" fmla="*/ 184 h 187"/>
                  <a:gd name="T70" fmla="*/ 194 w 214"/>
                  <a:gd name="T71" fmla="*/ 170 h 187"/>
                  <a:gd name="T72" fmla="*/ 195 w 214"/>
                  <a:gd name="T73" fmla="*/ 149 h 187"/>
                  <a:gd name="T74" fmla="*/ 162 w 214"/>
                  <a:gd name="T75" fmla="*/ 93 h 187"/>
                  <a:gd name="T76" fmla="*/ 157 w 214"/>
                  <a:gd name="T77" fmla="*/ 79 h 187"/>
                  <a:gd name="T78" fmla="*/ 154 w 214"/>
                  <a:gd name="T79" fmla="*/ 70 h 187"/>
                  <a:gd name="T80" fmla="*/ 139 w 214"/>
                  <a:gd name="T81" fmla="*/ 49 h 187"/>
                  <a:gd name="T82" fmla="*/ 137 w 214"/>
                  <a:gd name="T83" fmla="*/ 33 h 187"/>
                  <a:gd name="T84" fmla="*/ 142 w 214"/>
                  <a:gd name="T85" fmla="*/ 42 h 187"/>
                  <a:gd name="T86" fmla="*/ 149 w 214"/>
                  <a:gd name="T87" fmla="*/ 53 h 187"/>
                  <a:gd name="T88" fmla="*/ 162 w 214"/>
                  <a:gd name="T89" fmla="*/ 72 h 187"/>
                  <a:gd name="T90" fmla="*/ 167 w 214"/>
                  <a:gd name="T91" fmla="*/ 75 h 187"/>
                  <a:gd name="T92" fmla="*/ 171 w 214"/>
                  <a:gd name="T93" fmla="*/ 68 h 187"/>
                  <a:gd name="T94" fmla="*/ 177 w 214"/>
                  <a:gd name="T95" fmla="*/ 46 h 187"/>
                  <a:gd name="T96" fmla="*/ 175 w 214"/>
                  <a:gd name="T97" fmla="*/ 2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4" h="187">
                    <a:moveTo>
                      <a:pt x="175" y="27"/>
                    </a:moveTo>
                    <a:lnTo>
                      <a:pt x="172" y="23"/>
                    </a:lnTo>
                    <a:lnTo>
                      <a:pt x="172" y="22"/>
                    </a:lnTo>
                    <a:lnTo>
                      <a:pt x="172" y="20"/>
                    </a:lnTo>
                    <a:lnTo>
                      <a:pt x="171" y="17"/>
                    </a:lnTo>
                    <a:lnTo>
                      <a:pt x="170" y="14"/>
                    </a:lnTo>
                    <a:lnTo>
                      <a:pt x="168" y="7"/>
                    </a:lnTo>
                    <a:lnTo>
                      <a:pt x="167" y="7"/>
                    </a:lnTo>
                    <a:lnTo>
                      <a:pt x="167" y="6"/>
                    </a:lnTo>
                    <a:lnTo>
                      <a:pt x="164" y="7"/>
                    </a:lnTo>
                    <a:lnTo>
                      <a:pt x="162" y="9"/>
                    </a:lnTo>
                    <a:lnTo>
                      <a:pt x="160" y="9"/>
                    </a:lnTo>
                    <a:lnTo>
                      <a:pt x="152" y="10"/>
                    </a:lnTo>
                    <a:lnTo>
                      <a:pt x="151" y="10"/>
                    </a:lnTo>
                    <a:lnTo>
                      <a:pt x="149" y="10"/>
                    </a:lnTo>
                    <a:lnTo>
                      <a:pt x="148" y="9"/>
                    </a:lnTo>
                    <a:lnTo>
                      <a:pt x="147" y="10"/>
                    </a:lnTo>
                    <a:lnTo>
                      <a:pt x="141" y="12"/>
                    </a:lnTo>
                    <a:lnTo>
                      <a:pt x="139" y="12"/>
                    </a:lnTo>
                    <a:lnTo>
                      <a:pt x="137" y="10"/>
                    </a:lnTo>
                    <a:lnTo>
                      <a:pt x="134" y="7"/>
                    </a:lnTo>
                    <a:lnTo>
                      <a:pt x="132" y="7"/>
                    </a:lnTo>
                    <a:lnTo>
                      <a:pt x="132" y="9"/>
                    </a:lnTo>
                    <a:lnTo>
                      <a:pt x="132" y="9"/>
                    </a:lnTo>
                    <a:lnTo>
                      <a:pt x="131" y="10"/>
                    </a:lnTo>
                    <a:lnTo>
                      <a:pt x="129" y="10"/>
                    </a:lnTo>
                    <a:lnTo>
                      <a:pt x="129" y="10"/>
                    </a:lnTo>
                    <a:lnTo>
                      <a:pt x="128" y="7"/>
                    </a:lnTo>
                    <a:lnTo>
                      <a:pt x="126" y="7"/>
                    </a:lnTo>
                    <a:lnTo>
                      <a:pt x="125" y="7"/>
                    </a:lnTo>
                    <a:lnTo>
                      <a:pt x="124" y="7"/>
                    </a:lnTo>
                    <a:lnTo>
                      <a:pt x="125" y="6"/>
                    </a:lnTo>
                    <a:lnTo>
                      <a:pt x="125" y="4"/>
                    </a:lnTo>
                    <a:lnTo>
                      <a:pt x="126" y="4"/>
                    </a:lnTo>
                    <a:lnTo>
                      <a:pt x="126" y="3"/>
                    </a:lnTo>
                    <a:lnTo>
                      <a:pt x="128" y="4"/>
                    </a:lnTo>
                    <a:lnTo>
                      <a:pt x="129" y="6"/>
                    </a:lnTo>
                    <a:lnTo>
                      <a:pt x="131" y="6"/>
                    </a:lnTo>
                    <a:lnTo>
                      <a:pt x="129" y="4"/>
                    </a:lnTo>
                    <a:lnTo>
                      <a:pt x="128" y="3"/>
                    </a:lnTo>
                    <a:lnTo>
                      <a:pt x="126" y="3"/>
                    </a:lnTo>
                    <a:lnTo>
                      <a:pt x="121" y="3"/>
                    </a:lnTo>
                    <a:lnTo>
                      <a:pt x="119" y="3"/>
                    </a:lnTo>
                    <a:lnTo>
                      <a:pt x="115" y="1"/>
                    </a:lnTo>
                    <a:lnTo>
                      <a:pt x="112" y="1"/>
                    </a:lnTo>
                    <a:lnTo>
                      <a:pt x="106" y="4"/>
                    </a:lnTo>
                    <a:lnTo>
                      <a:pt x="103" y="4"/>
                    </a:lnTo>
                    <a:lnTo>
                      <a:pt x="106" y="3"/>
                    </a:lnTo>
                    <a:lnTo>
                      <a:pt x="108" y="3"/>
                    </a:lnTo>
                    <a:lnTo>
                      <a:pt x="109" y="1"/>
                    </a:lnTo>
                    <a:lnTo>
                      <a:pt x="102" y="3"/>
                    </a:lnTo>
                    <a:lnTo>
                      <a:pt x="101" y="3"/>
                    </a:lnTo>
                    <a:lnTo>
                      <a:pt x="101" y="4"/>
                    </a:lnTo>
                    <a:lnTo>
                      <a:pt x="99" y="6"/>
                    </a:lnTo>
                    <a:lnTo>
                      <a:pt x="98" y="6"/>
                    </a:lnTo>
                    <a:lnTo>
                      <a:pt x="89" y="10"/>
                    </a:lnTo>
                    <a:lnTo>
                      <a:pt x="85" y="13"/>
                    </a:lnTo>
                    <a:lnTo>
                      <a:pt x="82" y="14"/>
                    </a:lnTo>
                    <a:lnTo>
                      <a:pt x="78" y="16"/>
                    </a:lnTo>
                    <a:lnTo>
                      <a:pt x="75" y="14"/>
                    </a:lnTo>
                    <a:lnTo>
                      <a:pt x="65" y="12"/>
                    </a:lnTo>
                    <a:lnTo>
                      <a:pt x="55" y="10"/>
                    </a:lnTo>
                    <a:lnTo>
                      <a:pt x="42" y="4"/>
                    </a:lnTo>
                    <a:lnTo>
                      <a:pt x="25" y="1"/>
                    </a:lnTo>
                    <a:lnTo>
                      <a:pt x="20" y="0"/>
                    </a:lnTo>
                    <a:lnTo>
                      <a:pt x="13" y="3"/>
                    </a:lnTo>
                    <a:lnTo>
                      <a:pt x="10" y="3"/>
                    </a:lnTo>
                    <a:lnTo>
                      <a:pt x="7" y="0"/>
                    </a:lnTo>
                    <a:lnTo>
                      <a:pt x="6" y="3"/>
                    </a:lnTo>
                    <a:lnTo>
                      <a:pt x="3" y="6"/>
                    </a:lnTo>
                    <a:lnTo>
                      <a:pt x="3" y="9"/>
                    </a:lnTo>
                    <a:lnTo>
                      <a:pt x="3" y="12"/>
                    </a:lnTo>
                    <a:lnTo>
                      <a:pt x="4" y="16"/>
                    </a:lnTo>
                    <a:lnTo>
                      <a:pt x="4" y="17"/>
                    </a:lnTo>
                    <a:lnTo>
                      <a:pt x="4" y="20"/>
                    </a:lnTo>
                    <a:lnTo>
                      <a:pt x="3" y="22"/>
                    </a:lnTo>
                    <a:lnTo>
                      <a:pt x="0" y="26"/>
                    </a:lnTo>
                    <a:lnTo>
                      <a:pt x="0" y="27"/>
                    </a:lnTo>
                    <a:lnTo>
                      <a:pt x="0" y="29"/>
                    </a:lnTo>
                    <a:lnTo>
                      <a:pt x="2" y="35"/>
                    </a:lnTo>
                    <a:lnTo>
                      <a:pt x="4" y="45"/>
                    </a:lnTo>
                    <a:lnTo>
                      <a:pt x="4" y="47"/>
                    </a:lnTo>
                    <a:lnTo>
                      <a:pt x="4" y="187"/>
                    </a:lnTo>
                    <a:lnTo>
                      <a:pt x="7" y="187"/>
                    </a:lnTo>
                    <a:lnTo>
                      <a:pt x="10" y="187"/>
                    </a:lnTo>
                    <a:lnTo>
                      <a:pt x="13" y="187"/>
                    </a:lnTo>
                    <a:lnTo>
                      <a:pt x="16" y="187"/>
                    </a:lnTo>
                    <a:lnTo>
                      <a:pt x="22" y="187"/>
                    </a:lnTo>
                    <a:lnTo>
                      <a:pt x="30" y="187"/>
                    </a:lnTo>
                    <a:lnTo>
                      <a:pt x="32" y="187"/>
                    </a:lnTo>
                    <a:lnTo>
                      <a:pt x="35" y="187"/>
                    </a:lnTo>
                    <a:lnTo>
                      <a:pt x="39" y="187"/>
                    </a:lnTo>
                    <a:lnTo>
                      <a:pt x="49" y="187"/>
                    </a:lnTo>
                    <a:lnTo>
                      <a:pt x="52" y="187"/>
                    </a:lnTo>
                    <a:lnTo>
                      <a:pt x="53" y="187"/>
                    </a:lnTo>
                    <a:lnTo>
                      <a:pt x="56" y="187"/>
                    </a:lnTo>
                    <a:lnTo>
                      <a:pt x="59" y="187"/>
                    </a:lnTo>
                    <a:lnTo>
                      <a:pt x="65" y="187"/>
                    </a:lnTo>
                    <a:lnTo>
                      <a:pt x="68" y="187"/>
                    </a:lnTo>
                    <a:lnTo>
                      <a:pt x="70" y="187"/>
                    </a:lnTo>
                    <a:lnTo>
                      <a:pt x="73" y="187"/>
                    </a:lnTo>
                    <a:lnTo>
                      <a:pt x="76" y="187"/>
                    </a:lnTo>
                    <a:lnTo>
                      <a:pt x="76" y="187"/>
                    </a:lnTo>
                    <a:lnTo>
                      <a:pt x="81" y="187"/>
                    </a:lnTo>
                    <a:lnTo>
                      <a:pt x="83" y="187"/>
                    </a:lnTo>
                    <a:lnTo>
                      <a:pt x="85" y="187"/>
                    </a:lnTo>
                    <a:lnTo>
                      <a:pt x="92" y="187"/>
                    </a:lnTo>
                    <a:lnTo>
                      <a:pt x="99" y="187"/>
                    </a:lnTo>
                    <a:lnTo>
                      <a:pt x="102" y="187"/>
                    </a:lnTo>
                    <a:lnTo>
                      <a:pt x="103" y="187"/>
                    </a:lnTo>
                    <a:lnTo>
                      <a:pt x="108" y="187"/>
                    </a:lnTo>
                    <a:lnTo>
                      <a:pt x="109" y="187"/>
                    </a:lnTo>
                    <a:lnTo>
                      <a:pt x="112" y="187"/>
                    </a:lnTo>
                    <a:lnTo>
                      <a:pt x="115" y="187"/>
                    </a:lnTo>
                    <a:lnTo>
                      <a:pt x="115" y="187"/>
                    </a:lnTo>
                    <a:lnTo>
                      <a:pt x="116" y="185"/>
                    </a:lnTo>
                    <a:lnTo>
                      <a:pt x="116" y="184"/>
                    </a:lnTo>
                    <a:lnTo>
                      <a:pt x="116" y="184"/>
                    </a:lnTo>
                    <a:lnTo>
                      <a:pt x="116" y="183"/>
                    </a:lnTo>
                    <a:lnTo>
                      <a:pt x="118" y="183"/>
                    </a:lnTo>
                    <a:lnTo>
                      <a:pt x="118" y="183"/>
                    </a:lnTo>
                    <a:lnTo>
                      <a:pt x="118" y="183"/>
                    </a:lnTo>
                    <a:lnTo>
                      <a:pt x="118" y="183"/>
                    </a:lnTo>
                    <a:lnTo>
                      <a:pt x="118" y="183"/>
                    </a:lnTo>
                    <a:lnTo>
                      <a:pt x="119" y="183"/>
                    </a:lnTo>
                    <a:lnTo>
                      <a:pt x="119" y="184"/>
                    </a:lnTo>
                    <a:lnTo>
                      <a:pt x="118" y="187"/>
                    </a:lnTo>
                    <a:lnTo>
                      <a:pt x="128" y="187"/>
                    </a:lnTo>
                    <a:lnTo>
                      <a:pt x="134" y="187"/>
                    </a:lnTo>
                    <a:lnTo>
                      <a:pt x="142" y="187"/>
                    </a:lnTo>
                    <a:lnTo>
                      <a:pt x="162" y="187"/>
                    </a:lnTo>
                    <a:lnTo>
                      <a:pt x="171" y="187"/>
                    </a:lnTo>
                    <a:lnTo>
                      <a:pt x="182" y="187"/>
                    </a:lnTo>
                    <a:lnTo>
                      <a:pt x="185" y="187"/>
                    </a:lnTo>
                    <a:lnTo>
                      <a:pt x="191" y="187"/>
                    </a:lnTo>
                    <a:lnTo>
                      <a:pt x="200" y="187"/>
                    </a:lnTo>
                    <a:lnTo>
                      <a:pt x="203" y="187"/>
                    </a:lnTo>
                    <a:lnTo>
                      <a:pt x="208" y="187"/>
                    </a:lnTo>
                    <a:lnTo>
                      <a:pt x="214" y="187"/>
                    </a:lnTo>
                    <a:lnTo>
                      <a:pt x="213" y="184"/>
                    </a:lnTo>
                    <a:lnTo>
                      <a:pt x="210" y="181"/>
                    </a:lnTo>
                    <a:lnTo>
                      <a:pt x="201" y="175"/>
                    </a:lnTo>
                    <a:lnTo>
                      <a:pt x="197" y="171"/>
                    </a:lnTo>
                    <a:lnTo>
                      <a:pt x="194" y="170"/>
                    </a:lnTo>
                    <a:lnTo>
                      <a:pt x="191" y="164"/>
                    </a:lnTo>
                    <a:lnTo>
                      <a:pt x="190" y="157"/>
                    </a:lnTo>
                    <a:lnTo>
                      <a:pt x="190" y="151"/>
                    </a:lnTo>
                    <a:lnTo>
                      <a:pt x="195" y="149"/>
                    </a:lnTo>
                    <a:lnTo>
                      <a:pt x="187" y="142"/>
                    </a:lnTo>
                    <a:lnTo>
                      <a:pt x="184" y="139"/>
                    </a:lnTo>
                    <a:lnTo>
                      <a:pt x="162" y="96"/>
                    </a:lnTo>
                    <a:lnTo>
                      <a:pt x="162" y="93"/>
                    </a:lnTo>
                    <a:lnTo>
                      <a:pt x="161" y="88"/>
                    </a:lnTo>
                    <a:lnTo>
                      <a:pt x="160" y="85"/>
                    </a:lnTo>
                    <a:lnTo>
                      <a:pt x="157" y="81"/>
                    </a:lnTo>
                    <a:lnTo>
                      <a:pt x="157" y="79"/>
                    </a:lnTo>
                    <a:lnTo>
                      <a:pt x="155" y="78"/>
                    </a:lnTo>
                    <a:lnTo>
                      <a:pt x="155" y="73"/>
                    </a:lnTo>
                    <a:lnTo>
                      <a:pt x="155" y="72"/>
                    </a:lnTo>
                    <a:lnTo>
                      <a:pt x="154" y="70"/>
                    </a:lnTo>
                    <a:lnTo>
                      <a:pt x="149" y="65"/>
                    </a:lnTo>
                    <a:lnTo>
                      <a:pt x="141" y="55"/>
                    </a:lnTo>
                    <a:lnTo>
                      <a:pt x="141" y="52"/>
                    </a:lnTo>
                    <a:lnTo>
                      <a:pt x="139" y="49"/>
                    </a:lnTo>
                    <a:lnTo>
                      <a:pt x="138" y="45"/>
                    </a:lnTo>
                    <a:lnTo>
                      <a:pt x="135" y="39"/>
                    </a:lnTo>
                    <a:lnTo>
                      <a:pt x="135" y="36"/>
                    </a:lnTo>
                    <a:lnTo>
                      <a:pt x="137" y="33"/>
                    </a:lnTo>
                    <a:lnTo>
                      <a:pt x="138" y="32"/>
                    </a:lnTo>
                    <a:lnTo>
                      <a:pt x="139" y="35"/>
                    </a:lnTo>
                    <a:lnTo>
                      <a:pt x="141" y="40"/>
                    </a:lnTo>
                    <a:lnTo>
                      <a:pt x="142" y="42"/>
                    </a:lnTo>
                    <a:lnTo>
                      <a:pt x="144" y="45"/>
                    </a:lnTo>
                    <a:lnTo>
                      <a:pt x="147" y="49"/>
                    </a:lnTo>
                    <a:lnTo>
                      <a:pt x="148" y="52"/>
                    </a:lnTo>
                    <a:lnTo>
                      <a:pt x="149" y="53"/>
                    </a:lnTo>
                    <a:lnTo>
                      <a:pt x="149" y="56"/>
                    </a:lnTo>
                    <a:lnTo>
                      <a:pt x="151" y="59"/>
                    </a:lnTo>
                    <a:lnTo>
                      <a:pt x="152" y="60"/>
                    </a:lnTo>
                    <a:lnTo>
                      <a:pt x="162" y="72"/>
                    </a:lnTo>
                    <a:lnTo>
                      <a:pt x="164" y="73"/>
                    </a:lnTo>
                    <a:lnTo>
                      <a:pt x="164" y="73"/>
                    </a:lnTo>
                    <a:lnTo>
                      <a:pt x="165" y="75"/>
                    </a:lnTo>
                    <a:lnTo>
                      <a:pt x="167" y="75"/>
                    </a:lnTo>
                    <a:lnTo>
                      <a:pt x="168" y="73"/>
                    </a:lnTo>
                    <a:lnTo>
                      <a:pt x="168" y="73"/>
                    </a:lnTo>
                    <a:lnTo>
                      <a:pt x="170" y="70"/>
                    </a:lnTo>
                    <a:lnTo>
                      <a:pt x="171" y="68"/>
                    </a:lnTo>
                    <a:lnTo>
                      <a:pt x="171" y="62"/>
                    </a:lnTo>
                    <a:lnTo>
                      <a:pt x="172" y="60"/>
                    </a:lnTo>
                    <a:lnTo>
                      <a:pt x="174" y="55"/>
                    </a:lnTo>
                    <a:lnTo>
                      <a:pt x="177" y="46"/>
                    </a:lnTo>
                    <a:lnTo>
                      <a:pt x="177" y="43"/>
                    </a:lnTo>
                    <a:lnTo>
                      <a:pt x="180" y="42"/>
                    </a:lnTo>
                    <a:lnTo>
                      <a:pt x="178" y="40"/>
                    </a:lnTo>
                    <a:lnTo>
                      <a:pt x="175" y="2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99" name="Freeform 186">
                <a:extLst>
                  <a:ext uri="{FF2B5EF4-FFF2-40B4-BE49-F238E27FC236}">
                    <a16:creationId xmlns:a16="http://schemas.microsoft.com/office/drawing/2014/main" id="{E0D8801C-D7E7-45A2-954C-4674587E368E}"/>
                  </a:ext>
                </a:extLst>
              </p:cNvPr>
              <p:cNvSpPr>
                <a:spLocks/>
              </p:cNvSpPr>
              <p:nvPr/>
            </p:nvSpPr>
            <p:spPr bwMode="auto">
              <a:xfrm>
                <a:off x="4282" y="2492"/>
                <a:ext cx="29" cy="32"/>
              </a:xfrm>
              <a:custGeom>
                <a:avLst/>
                <a:gdLst>
                  <a:gd name="T0" fmla="*/ 19 w 29"/>
                  <a:gd name="T1" fmla="*/ 1 h 32"/>
                  <a:gd name="T2" fmla="*/ 19 w 29"/>
                  <a:gd name="T3" fmla="*/ 3 h 32"/>
                  <a:gd name="T4" fmla="*/ 17 w 29"/>
                  <a:gd name="T5" fmla="*/ 4 h 32"/>
                  <a:gd name="T6" fmla="*/ 17 w 29"/>
                  <a:gd name="T7" fmla="*/ 6 h 32"/>
                  <a:gd name="T8" fmla="*/ 15 w 29"/>
                  <a:gd name="T9" fmla="*/ 6 h 32"/>
                  <a:gd name="T10" fmla="*/ 13 w 29"/>
                  <a:gd name="T11" fmla="*/ 4 h 32"/>
                  <a:gd name="T12" fmla="*/ 12 w 29"/>
                  <a:gd name="T13" fmla="*/ 4 h 32"/>
                  <a:gd name="T14" fmla="*/ 10 w 29"/>
                  <a:gd name="T15" fmla="*/ 4 h 32"/>
                  <a:gd name="T16" fmla="*/ 3 w 29"/>
                  <a:gd name="T17" fmla="*/ 16 h 32"/>
                  <a:gd name="T18" fmla="*/ 0 w 29"/>
                  <a:gd name="T19" fmla="*/ 21 h 32"/>
                  <a:gd name="T20" fmla="*/ 0 w 29"/>
                  <a:gd name="T21" fmla="*/ 27 h 32"/>
                  <a:gd name="T22" fmla="*/ 0 w 29"/>
                  <a:gd name="T23" fmla="*/ 30 h 32"/>
                  <a:gd name="T24" fmla="*/ 0 w 29"/>
                  <a:gd name="T25" fmla="*/ 30 h 32"/>
                  <a:gd name="T26" fmla="*/ 2 w 29"/>
                  <a:gd name="T27" fmla="*/ 32 h 32"/>
                  <a:gd name="T28" fmla="*/ 3 w 29"/>
                  <a:gd name="T29" fmla="*/ 32 h 32"/>
                  <a:gd name="T30" fmla="*/ 5 w 29"/>
                  <a:gd name="T31" fmla="*/ 32 h 32"/>
                  <a:gd name="T32" fmla="*/ 15 w 29"/>
                  <a:gd name="T33" fmla="*/ 30 h 32"/>
                  <a:gd name="T34" fmla="*/ 16 w 29"/>
                  <a:gd name="T35" fmla="*/ 30 h 32"/>
                  <a:gd name="T36" fmla="*/ 17 w 29"/>
                  <a:gd name="T37" fmla="*/ 30 h 32"/>
                  <a:gd name="T38" fmla="*/ 17 w 29"/>
                  <a:gd name="T39" fmla="*/ 30 h 32"/>
                  <a:gd name="T40" fmla="*/ 19 w 29"/>
                  <a:gd name="T41" fmla="*/ 30 h 32"/>
                  <a:gd name="T42" fmla="*/ 20 w 29"/>
                  <a:gd name="T43" fmla="*/ 32 h 32"/>
                  <a:gd name="T44" fmla="*/ 22 w 29"/>
                  <a:gd name="T45" fmla="*/ 27 h 32"/>
                  <a:gd name="T46" fmla="*/ 25 w 29"/>
                  <a:gd name="T47" fmla="*/ 23 h 32"/>
                  <a:gd name="T48" fmla="*/ 26 w 29"/>
                  <a:gd name="T49" fmla="*/ 21 h 32"/>
                  <a:gd name="T50" fmla="*/ 23 w 29"/>
                  <a:gd name="T51" fmla="*/ 20 h 32"/>
                  <a:gd name="T52" fmla="*/ 15 w 29"/>
                  <a:gd name="T53" fmla="*/ 21 h 32"/>
                  <a:gd name="T54" fmla="*/ 13 w 29"/>
                  <a:gd name="T55" fmla="*/ 20 h 32"/>
                  <a:gd name="T56" fmla="*/ 15 w 29"/>
                  <a:gd name="T57" fmla="*/ 20 h 32"/>
                  <a:gd name="T58" fmla="*/ 17 w 29"/>
                  <a:gd name="T59" fmla="*/ 19 h 32"/>
                  <a:gd name="T60" fmla="*/ 20 w 29"/>
                  <a:gd name="T61" fmla="*/ 17 h 32"/>
                  <a:gd name="T62" fmla="*/ 25 w 29"/>
                  <a:gd name="T63" fmla="*/ 14 h 32"/>
                  <a:gd name="T64" fmla="*/ 26 w 29"/>
                  <a:gd name="T65" fmla="*/ 14 h 32"/>
                  <a:gd name="T66" fmla="*/ 28 w 29"/>
                  <a:gd name="T67" fmla="*/ 13 h 32"/>
                  <a:gd name="T68" fmla="*/ 29 w 29"/>
                  <a:gd name="T69" fmla="*/ 9 h 32"/>
                  <a:gd name="T70" fmla="*/ 28 w 29"/>
                  <a:gd name="T71" fmla="*/ 6 h 32"/>
                  <a:gd name="T72" fmla="*/ 23 w 29"/>
                  <a:gd name="T73" fmla="*/ 0 h 32"/>
                  <a:gd name="T74" fmla="*/ 20 w 29"/>
                  <a:gd name="T75" fmla="*/ 1 h 32"/>
                  <a:gd name="T76" fmla="*/ 19 w 29"/>
                  <a:gd name="T77"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32">
                    <a:moveTo>
                      <a:pt x="19" y="1"/>
                    </a:moveTo>
                    <a:lnTo>
                      <a:pt x="19" y="3"/>
                    </a:lnTo>
                    <a:lnTo>
                      <a:pt x="17" y="4"/>
                    </a:lnTo>
                    <a:lnTo>
                      <a:pt x="17" y="6"/>
                    </a:lnTo>
                    <a:lnTo>
                      <a:pt x="15" y="6"/>
                    </a:lnTo>
                    <a:lnTo>
                      <a:pt x="13" y="4"/>
                    </a:lnTo>
                    <a:lnTo>
                      <a:pt x="12" y="4"/>
                    </a:lnTo>
                    <a:lnTo>
                      <a:pt x="10" y="4"/>
                    </a:lnTo>
                    <a:lnTo>
                      <a:pt x="3" y="16"/>
                    </a:lnTo>
                    <a:lnTo>
                      <a:pt x="0" y="21"/>
                    </a:lnTo>
                    <a:lnTo>
                      <a:pt x="0" y="27"/>
                    </a:lnTo>
                    <a:lnTo>
                      <a:pt x="0" y="30"/>
                    </a:lnTo>
                    <a:lnTo>
                      <a:pt x="0" y="30"/>
                    </a:lnTo>
                    <a:lnTo>
                      <a:pt x="2" y="32"/>
                    </a:lnTo>
                    <a:lnTo>
                      <a:pt x="3" y="32"/>
                    </a:lnTo>
                    <a:lnTo>
                      <a:pt x="5" y="32"/>
                    </a:lnTo>
                    <a:lnTo>
                      <a:pt x="15" y="30"/>
                    </a:lnTo>
                    <a:lnTo>
                      <a:pt x="16" y="30"/>
                    </a:lnTo>
                    <a:lnTo>
                      <a:pt x="17" y="30"/>
                    </a:lnTo>
                    <a:lnTo>
                      <a:pt x="17" y="30"/>
                    </a:lnTo>
                    <a:lnTo>
                      <a:pt x="19" y="30"/>
                    </a:lnTo>
                    <a:lnTo>
                      <a:pt x="20" y="32"/>
                    </a:lnTo>
                    <a:lnTo>
                      <a:pt x="22" y="27"/>
                    </a:lnTo>
                    <a:lnTo>
                      <a:pt x="25" y="23"/>
                    </a:lnTo>
                    <a:lnTo>
                      <a:pt x="26" y="21"/>
                    </a:lnTo>
                    <a:lnTo>
                      <a:pt x="23" y="20"/>
                    </a:lnTo>
                    <a:lnTo>
                      <a:pt x="15" y="21"/>
                    </a:lnTo>
                    <a:lnTo>
                      <a:pt x="13" y="20"/>
                    </a:lnTo>
                    <a:lnTo>
                      <a:pt x="15" y="20"/>
                    </a:lnTo>
                    <a:lnTo>
                      <a:pt x="17" y="19"/>
                    </a:lnTo>
                    <a:lnTo>
                      <a:pt x="20" y="17"/>
                    </a:lnTo>
                    <a:lnTo>
                      <a:pt x="25" y="14"/>
                    </a:lnTo>
                    <a:lnTo>
                      <a:pt x="26" y="14"/>
                    </a:lnTo>
                    <a:lnTo>
                      <a:pt x="28" y="13"/>
                    </a:lnTo>
                    <a:lnTo>
                      <a:pt x="29" y="9"/>
                    </a:lnTo>
                    <a:lnTo>
                      <a:pt x="28" y="6"/>
                    </a:lnTo>
                    <a:lnTo>
                      <a:pt x="23" y="0"/>
                    </a:lnTo>
                    <a:lnTo>
                      <a:pt x="20" y="1"/>
                    </a:lnTo>
                    <a:lnTo>
                      <a:pt x="19" y="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00" name="Freeform 187">
                <a:extLst>
                  <a:ext uri="{FF2B5EF4-FFF2-40B4-BE49-F238E27FC236}">
                    <a16:creationId xmlns:a16="http://schemas.microsoft.com/office/drawing/2014/main" id="{B4629E19-A1E8-1A47-6D78-56BDED9381EB}"/>
                  </a:ext>
                </a:extLst>
              </p:cNvPr>
              <p:cNvSpPr>
                <a:spLocks/>
              </p:cNvSpPr>
              <p:nvPr/>
            </p:nvSpPr>
            <p:spPr bwMode="auto">
              <a:xfrm>
                <a:off x="3712" y="2105"/>
                <a:ext cx="277" cy="263"/>
              </a:xfrm>
              <a:custGeom>
                <a:avLst/>
                <a:gdLst>
                  <a:gd name="T0" fmla="*/ 274 w 277"/>
                  <a:gd name="T1" fmla="*/ 230 h 263"/>
                  <a:gd name="T2" fmla="*/ 274 w 277"/>
                  <a:gd name="T3" fmla="*/ 76 h 263"/>
                  <a:gd name="T4" fmla="*/ 270 w 277"/>
                  <a:gd name="T5" fmla="*/ 58 h 263"/>
                  <a:gd name="T6" fmla="*/ 273 w 277"/>
                  <a:gd name="T7" fmla="*/ 51 h 263"/>
                  <a:gd name="T8" fmla="*/ 274 w 277"/>
                  <a:gd name="T9" fmla="*/ 45 h 263"/>
                  <a:gd name="T10" fmla="*/ 273 w 277"/>
                  <a:gd name="T11" fmla="*/ 35 h 263"/>
                  <a:gd name="T12" fmla="*/ 276 w 277"/>
                  <a:gd name="T13" fmla="*/ 25 h 263"/>
                  <a:gd name="T14" fmla="*/ 261 w 277"/>
                  <a:gd name="T15" fmla="*/ 22 h 263"/>
                  <a:gd name="T16" fmla="*/ 246 w 277"/>
                  <a:gd name="T17" fmla="*/ 19 h 263"/>
                  <a:gd name="T18" fmla="*/ 241 w 277"/>
                  <a:gd name="T19" fmla="*/ 15 h 263"/>
                  <a:gd name="T20" fmla="*/ 240 w 277"/>
                  <a:gd name="T21" fmla="*/ 10 h 263"/>
                  <a:gd name="T22" fmla="*/ 228 w 277"/>
                  <a:gd name="T23" fmla="*/ 6 h 263"/>
                  <a:gd name="T24" fmla="*/ 214 w 277"/>
                  <a:gd name="T25" fmla="*/ 5 h 263"/>
                  <a:gd name="T26" fmla="*/ 203 w 277"/>
                  <a:gd name="T27" fmla="*/ 9 h 263"/>
                  <a:gd name="T28" fmla="*/ 193 w 277"/>
                  <a:gd name="T29" fmla="*/ 15 h 263"/>
                  <a:gd name="T30" fmla="*/ 187 w 277"/>
                  <a:gd name="T31" fmla="*/ 23 h 263"/>
                  <a:gd name="T32" fmla="*/ 188 w 277"/>
                  <a:gd name="T33" fmla="*/ 33 h 263"/>
                  <a:gd name="T34" fmla="*/ 184 w 277"/>
                  <a:gd name="T35" fmla="*/ 49 h 263"/>
                  <a:gd name="T36" fmla="*/ 167 w 277"/>
                  <a:gd name="T37" fmla="*/ 53 h 263"/>
                  <a:gd name="T38" fmla="*/ 155 w 277"/>
                  <a:gd name="T39" fmla="*/ 46 h 263"/>
                  <a:gd name="T40" fmla="*/ 139 w 277"/>
                  <a:gd name="T41" fmla="*/ 39 h 263"/>
                  <a:gd name="T42" fmla="*/ 116 w 277"/>
                  <a:gd name="T43" fmla="*/ 36 h 263"/>
                  <a:gd name="T44" fmla="*/ 108 w 277"/>
                  <a:gd name="T45" fmla="*/ 29 h 263"/>
                  <a:gd name="T46" fmla="*/ 102 w 277"/>
                  <a:gd name="T47" fmla="*/ 16 h 263"/>
                  <a:gd name="T48" fmla="*/ 88 w 277"/>
                  <a:gd name="T49" fmla="*/ 10 h 263"/>
                  <a:gd name="T50" fmla="*/ 66 w 277"/>
                  <a:gd name="T51" fmla="*/ 5 h 263"/>
                  <a:gd name="T52" fmla="*/ 52 w 277"/>
                  <a:gd name="T53" fmla="*/ 6 h 263"/>
                  <a:gd name="T54" fmla="*/ 43 w 277"/>
                  <a:gd name="T55" fmla="*/ 2 h 263"/>
                  <a:gd name="T56" fmla="*/ 37 w 277"/>
                  <a:gd name="T57" fmla="*/ 7 h 263"/>
                  <a:gd name="T58" fmla="*/ 37 w 277"/>
                  <a:gd name="T59" fmla="*/ 15 h 263"/>
                  <a:gd name="T60" fmla="*/ 22 w 277"/>
                  <a:gd name="T61" fmla="*/ 26 h 263"/>
                  <a:gd name="T62" fmla="*/ 16 w 277"/>
                  <a:gd name="T63" fmla="*/ 29 h 263"/>
                  <a:gd name="T64" fmla="*/ 13 w 277"/>
                  <a:gd name="T65" fmla="*/ 35 h 263"/>
                  <a:gd name="T66" fmla="*/ 14 w 277"/>
                  <a:gd name="T67" fmla="*/ 48 h 263"/>
                  <a:gd name="T68" fmla="*/ 3 w 277"/>
                  <a:gd name="T69" fmla="*/ 56 h 263"/>
                  <a:gd name="T70" fmla="*/ 0 w 277"/>
                  <a:gd name="T71" fmla="*/ 59 h 263"/>
                  <a:gd name="T72" fmla="*/ 4 w 277"/>
                  <a:gd name="T73" fmla="*/ 65 h 263"/>
                  <a:gd name="T74" fmla="*/ 7 w 277"/>
                  <a:gd name="T75" fmla="*/ 74 h 263"/>
                  <a:gd name="T76" fmla="*/ 9 w 277"/>
                  <a:gd name="T77" fmla="*/ 94 h 263"/>
                  <a:gd name="T78" fmla="*/ 7 w 277"/>
                  <a:gd name="T79" fmla="*/ 111 h 263"/>
                  <a:gd name="T80" fmla="*/ 7 w 277"/>
                  <a:gd name="T81" fmla="*/ 118 h 263"/>
                  <a:gd name="T82" fmla="*/ 7 w 277"/>
                  <a:gd name="T83" fmla="*/ 128 h 263"/>
                  <a:gd name="T84" fmla="*/ 3 w 277"/>
                  <a:gd name="T85" fmla="*/ 133 h 263"/>
                  <a:gd name="T86" fmla="*/ 2 w 277"/>
                  <a:gd name="T87" fmla="*/ 137 h 263"/>
                  <a:gd name="T88" fmla="*/ 13 w 277"/>
                  <a:gd name="T89" fmla="*/ 163 h 263"/>
                  <a:gd name="T90" fmla="*/ 20 w 277"/>
                  <a:gd name="T91" fmla="*/ 168 h 263"/>
                  <a:gd name="T92" fmla="*/ 25 w 277"/>
                  <a:gd name="T93" fmla="*/ 167 h 263"/>
                  <a:gd name="T94" fmla="*/ 40 w 277"/>
                  <a:gd name="T95" fmla="*/ 174 h 263"/>
                  <a:gd name="T96" fmla="*/ 69 w 277"/>
                  <a:gd name="T97" fmla="*/ 191 h 263"/>
                  <a:gd name="T98" fmla="*/ 86 w 277"/>
                  <a:gd name="T99" fmla="*/ 204 h 263"/>
                  <a:gd name="T100" fmla="*/ 116 w 277"/>
                  <a:gd name="T101" fmla="*/ 189 h 263"/>
                  <a:gd name="T102" fmla="*/ 274 w 277"/>
                  <a:gd name="T103" fmla="*/ 25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7" h="263">
                    <a:moveTo>
                      <a:pt x="274" y="253"/>
                    </a:moveTo>
                    <a:lnTo>
                      <a:pt x="274" y="253"/>
                    </a:lnTo>
                    <a:lnTo>
                      <a:pt x="274" y="230"/>
                    </a:lnTo>
                    <a:lnTo>
                      <a:pt x="274" y="223"/>
                    </a:lnTo>
                    <a:lnTo>
                      <a:pt x="274" y="216"/>
                    </a:lnTo>
                    <a:lnTo>
                      <a:pt x="274" y="76"/>
                    </a:lnTo>
                    <a:lnTo>
                      <a:pt x="274" y="74"/>
                    </a:lnTo>
                    <a:lnTo>
                      <a:pt x="272" y="64"/>
                    </a:lnTo>
                    <a:lnTo>
                      <a:pt x="270" y="58"/>
                    </a:lnTo>
                    <a:lnTo>
                      <a:pt x="270" y="56"/>
                    </a:lnTo>
                    <a:lnTo>
                      <a:pt x="270" y="55"/>
                    </a:lnTo>
                    <a:lnTo>
                      <a:pt x="273" y="51"/>
                    </a:lnTo>
                    <a:lnTo>
                      <a:pt x="274" y="49"/>
                    </a:lnTo>
                    <a:lnTo>
                      <a:pt x="274" y="46"/>
                    </a:lnTo>
                    <a:lnTo>
                      <a:pt x="274" y="45"/>
                    </a:lnTo>
                    <a:lnTo>
                      <a:pt x="273" y="41"/>
                    </a:lnTo>
                    <a:lnTo>
                      <a:pt x="273" y="38"/>
                    </a:lnTo>
                    <a:lnTo>
                      <a:pt x="273" y="35"/>
                    </a:lnTo>
                    <a:lnTo>
                      <a:pt x="276" y="32"/>
                    </a:lnTo>
                    <a:lnTo>
                      <a:pt x="277" y="29"/>
                    </a:lnTo>
                    <a:lnTo>
                      <a:pt x="276" y="25"/>
                    </a:lnTo>
                    <a:lnTo>
                      <a:pt x="273" y="23"/>
                    </a:lnTo>
                    <a:lnTo>
                      <a:pt x="270" y="22"/>
                    </a:lnTo>
                    <a:lnTo>
                      <a:pt x="261" y="22"/>
                    </a:lnTo>
                    <a:lnTo>
                      <a:pt x="254" y="20"/>
                    </a:lnTo>
                    <a:lnTo>
                      <a:pt x="250" y="19"/>
                    </a:lnTo>
                    <a:lnTo>
                      <a:pt x="246" y="19"/>
                    </a:lnTo>
                    <a:lnTo>
                      <a:pt x="243" y="18"/>
                    </a:lnTo>
                    <a:lnTo>
                      <a:pt x="241" y="16"/>
                    </a:lnTo>
                    <a:lnTo>
                      <a:pt x="241" y="15"/>
                    </a:lnTo>
                    <a:lnTo>
                      <a:pt x="241" y="13"/>
                    </a:lnTo>
                    <a:lnTo>
                      <a:pt x="241" y="12"/>
                    </a:lnTo>
                    <a:lnTo>
                      <a:pt x="240" y="10"/>
                    </a:lnTo>
                    <a:lnTo>
                      <a:pt x="237" y="7"/>
                    </a:lnTo>
                    <a:lnTo>
                      <a:pt x="233" y="6"/>
                    </a:lnTo>
                    <a:lnTo>
                      <a:pt x="228" y="6"/>
                    </a:lnTo>
                    <a:lnTo>
                      <a:pt x="218" y="5"/>
                    </a:lnTo>
                    <a:lnTo>
                      <a:pt x="216" y="5"/>
                    </a:lnTo>
                    <a:lnTo>
                      <a:pt x="214" y="5"/>
                    </a:lnTo>
                    <a:lnTo>
                      <a:pt x="211" y="7"/>
                    </a:lnTo>
                    <a:lnTo>
                      <a:pt x="210" y="7"/>
                    </a:lnTo>
                    <a:lnTo>
                      <a:pt x="203" y="9"/>
                    </a:lnTo>
                    <a:lnTo>
                      <a:pt x="198" y="10"/>
                    </a:lnTo>
                    <a:lnTo>
                      <a:pt x="195" y="13"/>
                    </a:lnTo>
                    <a:lnTo>
                      <a:pt x="193" y="15"/>
                    </a:lnTo>
                    <a:lnTo>
                      <a:pt x="190" y="18"/>
                    </a:lnTo>
                    <a:lnTo>
                      <a:pt x="188" y="20"/>
                    </a:lnTo>
                    <a:lnTo>
                      <a:pt x="187" y="23"/>
                    </a:lnTo>
                    <a:lnTo>
                      <a:pt x="187" y="28"/>
                    </a:lnTo>
                    <a:lnTo>
                      <a:pt x="187" y="30"/>
                    </a:lnTo>
                    <a:lnTo>
                      <a:pt x="188" y="33"/>
                    </a:lnTo>
                    <a:lnTo>
                      <a:pt x="190" y="38"/>
                    </a:lnTo>
                    <a:lnTo>
                      <a:pt x="188" y="43"/>
                    </a:lnTo>
                    <a:lnTo>
                      <a:pt x="184" y="49"/>
                    </a:lnTo>
                    <a:lnTo>
                      <a:pt x="177" y="53"/>
                    </a:lnTo>
                    <a:lnTo>
                      <a:pt x="171" y="55"/>
                    </a:lnTo>
                    <a:lnTo>
                      <a:pt x="167" y="53"/>
                    </a:lnTo>
                    <a:lnTo>
                      <a:pt x="162" y="52"/>
                    </a:lnTo>
                    <a:lnTo>
                      <a:pt x="160" y="49"/>
                    </a:lnTo>
                    <a:lnTo>
                      <a:pt x="155" y="46"/>
                    </a:lnTo>
                    <a:lnTo>
                      <a:pt x="152" y="45"/>
                    </a:lnTo>
                    <a:lnTo>
                      <a:pt x="147" y="42"/>
                    </a:lnTo>
                    <a:lnTo>
                      <a:pt x="139" y="39"/>
                    </a:lnTo>
                    <a:lnTo>
                      <a:pt x="132" y="38"/>
                    </a:lnTo>
                    <a:lnTo>
                      <a:pt x="121" y="36"/>
                    </a:lnTo>
                    <a:lnTo>
                      <a:pt x="116" y="36"/>
                    </a:lnTo>
                    <a:lnTo>
                      <a:pt x="114" y="33"/>
                    </a:lnTo>
                    <a:lnTo>
                      <a:pt x="111" y="32"/>
                    </a:lnTo>
                    <a:lnTo>
                      <a:pt x="108" y="29"/>
                    </a:lnTo>
                    <a:lnTo>
                      <a:pt x="106" y="26"/>
                    </a:lnTo>
                    <a:lnTo>
                      <a:pt x="104" y="18"/>
                    </a:lnTo>
                    <a:lnTo>
                      <a:pt x="102" y="16"/>
                    </a:lnTo>
                    <a:lnTo>
                      <a:pt x="99" y="15"/>
                    </a:lnTo>
                    <a:lnTo>
                      <a:pt x="95" y="13"/>
                    </a:lnTo>
                    <a:lnTo>
                      <a:pt x="88" y="10"/>
                    </a:lnTo>
                    <a:lnTo>
                      <a:pt x="81" y="7"/>
                    </a:lnTo>
                    <a:lnTo>
                      <a:pt x="73" y="6"/>
                    </a:lnTo>
                    <a:lnTo>
                      <a:pt x="66" y="5"/>
                    </a:lnTo>
                    <a:lnTo>
                      <a:pt x="59" y="6"/>
                    </a:lnTo>
                    <a:lnTo>
                      <a:pt x="56" y="7"/>
                    </a:lnTo>
                    <a:lnTo>
                      <a:pt x="52" y="6"/>
                    </a:lnTo>
                    <a:lnTo>
                      <a:pt x="50" y="5"/>
                    </a:lnTo>
                    <a:lnTo>
                      <a:pt x="46" y="3"/>
                    </a:lnTo>
                    <a:lnTo>
                      <a:pt x="43" y="2"/>
                    </a:lnTo>
                    <a:lnTo>
                      <a:pt x="39" y="0"/>
                    </a:lnTo>
                    <a:lnTo>
                      <a:pt x="37" y="0"/>
                    </a:lnTo>
                    <a:lnTo>
                      <a:pt x="37" y="7"/>
                    </a:lnTo>
                    <a:lnTo>
                      <a:pt x="37" y="10"/>
                    </a:lnTo>
                    <a:lnTo>
                      <a:pt x="37" y="13"/>
                    </a:lnTo>
                    <a:lnTo>
                      <a:pt x="37" y="15"/>
                    </a:lnTo>
                    <a:lnTo>
                      <a:pt x="26" y="22"/>
                    </a:lnTo>
                    <a:lnTo>
                      <a:pt x="23" y="23"/>
                    </a:lnTo>
                    <a:lnTo>
                      <a:pt x="22" y="26"/>
                    </a:lnTo>
                    <a:lnTo>
                      <a:pt x="20" y="28"/>
                    </a:lnTo>
                    <a:lnTo>
                      <a:pt x="17" y="28"/>
                    </a:lnTo>
                    <a:lnTo>
                      <a:pt x="16" y="29"/>
                    </a:lnTo>
                    <a:lnTo>
                      <a:pt x="14" y="29"/>
                    </a:lnTo>
                    <a:lnTo>
                      <a:pt x="14" y="32"/>
                    </a:lnTo>
                    <a:lnTo>
                      <a:pt x="13" y="35"/>
                    </a:lnTo>
                    <a:lnTo>
                      <a:pt x="16" y="41"/>
                    </a:lnTo>
                    <a:lnTo>
                      <a:pt x="16" y="43"/>
                    </a:lnTo>
                    <a:lnTo>
                      <a:pt x="14" y="48"/>
                    </a:lnTo>
                    <a:lnTo>
                      <a:pt x="12" y="51"/>
                    </a:lnTo>
                    <a:lnTo>
                      <a:pt x="7" y="53"/>
                    </a:lnTo>
                    <a:lnTo>
                      <a:pt x="3" y="56"/>
                    </a:lnTo>
                    <a:lnTo>
                      <a:pt x="2" y="56"/>
                    </a:lnTo>
                    <a:lnTo>
                      <a:pt x="0" y="58"/>
                    </a:lnTo>
                    <a:lnTo>
                      <a:pt x="0" y="59"/>
                    </a:lnTo>
                    <a:lnTo>
                      <a:pt x="0" y="61"/>
                    </a:lnTo>
                    <a:lnTo>
                      <a:pt x="2" y="62"/>
                    </a:lnTo>
                    <a:lnTo>
                      <a:pt x="4" y="65"/>
                    </a:lnTo>
                    <a:lnTo>
                      <a:pt x="4" y="68"/>
                    </a:lnTo>
                    <a:lnTo>
                      <a:pt x="6" y="71"/>
                    </a:lnTo>
                    <a:lnTo>
                      <a:pt x="7" y="74"/>
                    </a:lnTo>
                    <a:lnTo>
                      <a:pt x="9" y="78"/>
                    </a:lnTo>
                    <a:lnTo>
                      <a:pt x="9" y="81"/>
                    </a:lnTo>
                    <a:lnTo>
                      <a:pt x="9" y="94"/>
                    </a:lnTo>
                    <a:lnTo>
                      <a:pt x="9" y="102"/>
                    </a:lnTo>
                    <a:lnTo>
                      <a:pt x="9" y="105"/>
                    </a:lnTo>
                    <a:lnTo>
                      <a:pt x="7" y="111"/>
                    </a:lnTo>
                    <a:lnTo>
                      <a:pt x="7" y="112"/>
                    </a:lnTo>
                    <a:lnTo>
                      <a:pt x="7" y="114"/>
                    </a:lnTo>
                    <a:lnTo>
                      <a:pt x="7" y="118"/>
                    </a:lnTo>
                    <a:lnTo>
                      <a:pt x="9" y="122"/>
                    </a:lnTo>
                    <a:lnTo>
                      <a:pt x="9" y="125"/>
                    </a:lnTo>
                    <a:lnTo>
                      <a:pt x="7" y="128"/>
                    </a:lnTo>
                    <a:lnTo>
                      <a:pt x="6" y="130"/>
                    </a:lnTo>
                    <a:lnTo>
                      <a:pt x="4" y="131"/>
                    </a:lnTo>
                    <a:lnTo>
                      <a:pt x="3" y="133"/>
                    </a:lnTo>
                    <a:lnTo>
                      <a:pt x="2" y="134"/>
                    </a:lnTo>
                    <a:lnTo>
                      <a:pt x="2" y="135"/>
                    </a:lnTo>
                    <a:lnTo>
                      <a:pt x="2" y="137"/>
                    </a:lnTo>
                    <a:lnTo>
                      <a:pt x="9" y="148"/>
                    </a:lnTo>
                    <a:lnTo>
                      <a:pt x="10" y="151"/>
                    </a:lnTo>
                    <a:lnTo>
                      <a:pt x="13" y="163"/>
                    </a:lnTo>
                    <a:lnTo>
                      <a:pt x="16" y="166"/>
                    </a:lnTo>
                    <a:lnTo>
                      <a:pt x="19" y="168"/>
                    </a:lnTo>
                    <a:lnTo>
                      <a:pt x="20" y="168"/>
                    </a:lnTo>
                    <a:lnTo>
                      <a:pt x="22" y="167"/>
                    </a:lnTo>
                    <a:lnTo>
                      <a:pt x="23" y="167"/>
                    </a:lnTo>
                    <a:lnTo>
                      <a:pt x="25" y="167"/>
                    </a:lnTo>
                    <a:lnTo>
                      <a:pt x="35" y="170"/>
                    </a:lnTo>
                    <a:lnTo>
                      <a:pt x="37" y="171"/>
                    </a:lnTo>
                    <a:lnTo>
                      <a:pt x="40" y="174"/>
                    </a:lnTo>
                    <a:lnTo>
                      <a:pt x="42" y="178"/>
                    </a:lnTo>
                    <a:lnTo>
                      <a:pt x="46" y="187"/>
                    </a:lnTo>
                    <a:lnTo>
                      <a:pt x="69" y="191"/>
                    </a:lnTo>
                    <a:lnTo>
                      <a:pt x="75" y="194"/>
                    </a:lnTo>
                    <a:lnTo>
                      <a:pt x="83" y="203"/>
                    </a:lnTo>
                    <a:lnTo>
                      <a:pt x="86" y="204"/>
                    </a:lnTo>
                    <a:lnTo>
                      <a:pt x="89" y="203"/>
                    </a:lnTo>
                    <a:lnTo>
                      <a:pt x="99" y="197"/>
                    </a:lnTo>
                    <a:lnTo>
                      <a:pt x="116" y="189"/>
                    </a:lnTo>
                    <a:lnTo>
                      <a:pt x="257" y="263"/>
                    </a:lnTo>
                    <a:lnTo>
                      <a:pt x="257" y="253"/>
                    </a:lnTo>
                    <a:lnTo>
                      <a:pt x="274" y="25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01" name="Freeform 188">
                <a:extLst>
                  <a:ext uri="{FF2B5EF4-FFF2-40B4-BE49-F238E27FC236}">
                    <a16:creationId xmlns:a16="http://schemas.microsoft.com/office/drawing/2014/main" id="{BFA3B2DA-413E-4DFC-BA57-0CAAC628892E}"/>
                  </a:ext>
                </a:extLst>
              </p:cNvPr>
              <p:cNvSpPr>
                <a:spLocks/>
              </p:cNvSpPr>
              <p:nvPr/>
            </p:nvSpPr>
            <p:spPr bwMode="auto">
              <a:xfrm>
                <a:off x="3283" y="2493"/>
                <a:ext cx="130" cy="97"/>
              </a:xfrm>
              <a:custGeom>
                <a:avLst/>
                <a:gdLst>
                  <a:gd name="T0" fmla="*/ 37 w 130"/>
                  <a:gd name="T1" fmla="*/ 61 h 97"/>
                  <a:gd name="T2" fmla="*/ 41 w 130"/>
                  <a:gd name="T3" fmla="*/ 56 h 97"/>
                  <a:gd name="T4" fmla="*/ 49 w 130"/>
                  <a:gd name="T5" fmla="*/ 49 h 97"/>
                  <a:gd name="T6" fmla="*/ 54 w 130"/>
                  <a:gd name="T7" fmla="*/ 49 h 97"/>
                  <a:gd name="T8" fmla="*/ 56 w 130"/>
                  <a:gd name="T9" fmla="*/ 48 h 97"/>
                  <a:gd name="T10" fmla="*/ 64 w 130"/>
                  <a:gd name="T11" fmla="*/ 48 h 97"/>
                  <a:gd name="T12" fmla="*/ 76 w 130"/>
                  <a:gd name="T13" fmla="*/ 58 h 97"/>
                  <a:gd name="T14" fmla="*/ 76 w 130"/>
                  <a:gd name="T15" fmla="*/ 64 h 97"/>
                  <a:gd name="T16" fmla="*/ 79 w 130"/>
                  <a:gd name="T17" fmla="*/ 66 h 97"/>
                  <a:gd name="T18" fmla="*/ 79 w 130"/>
                  <a:gd name="T19" fmla="*/ 72 h 97"/>
                  <a:gd name="T20" fmla="*/ 83 w 130"/>
                  <a:gd name="T21" fmla="*/ 75 h 97"/>
                  <a:gd name="T22" fmla="*/ 87 w 130"/>
                  <a:gd name="T23" fmla="*/ 75 h 97"/>
                  <a:gd name="T24" fmla="*/ 93 w 130"/>
                  <a:gd name="T25" fmla="*/ 75 h 97"/>
                  <a:gd name="T26" fmla="*/ 100 w 130"/>
                  <a:gd name="T27" fmla="*/ 89 h 97"/>
                  <a:gd name="T28" fmla="*/ 99 w 130"/>
                  <a:gd name="T29" fmla="*/ 94 h 97"/>
                  <a:gd name="T30" fmla="*/ 106 w 130"/>
                  <a:gd name="T31" fmla="*/ 97 h 97"/>
                  <a:gd name="T32" fmla="*/ 112 w 130"/>
                  <a:gd name="T33" fmla="*/ 91 h 97"/>
                  <a:gd name="T34" fmla="*/ 119 w 130"/>
                  <a:gd name="T35" fmla="*/ 91 h 97"/>
                  <a:gd name="T36" fmla="*/ 123 w 130"/>
                  <a:gd name="T37" fmla="*/ 84 h 97"/>
                  <a:gd name="T38" fmla="*/ 123 w 130"/>
                  <a:gd name="T39" fmla="*/ 81 h 97"/>
                  <a:gd name="T40" fmla="*/ 119 w 130"/>
                  <a:gd name="T41" fmla="*/ 78 h 97"/>
                  <a:gd name="T42" fmla="*/ 128 w 130"/>
                  <a:gd name="T43" fmla="*/ 77 h 97"/>
                  <a:gd name="T44" fmla="*/ 126 w 130"/>
                  <a:gd name="T45" fmla="*/ 69 h 97"/>
                  <a:gd name="T46" fmla="*/ 128 w 130"/>
                  <a:gd name="T47" fmla="*/ 64 h 97"/>
                  <a:gd name="T48" fmla="*/ 126 w 130"/>
                  <a:gd name="T49" fmla="*/ 58 h 97"/>
                  <a:gd name="T50" fmla="*/ 122 w 130"/>
                  <a:gd name="T51" fmla="*/ 49 h 97"/>
                  <a:gd name="T52" fmla="*/ 125 w 130"/>
                  <a:gd name="T53" fmla="*/ 43 h 97"/>
                  <a:gd name="T54" fmla="*/ 119 w 130"/>
                  <a:gd name="T55" fmla="*/ 39 h 97"/>
                  <a:gd name="T56" fmla="*/ 119 w 130"/>
                  <a:gd name="T57" fmla="*/ 33 h 97"/>
                  <a:gd name="T58" fmla="*/ 116 w 130"/>
                  <a:gd name="T59" fmla="*/ 29 h 97"/>
                  <a:gd name="T60" fmla="*/ 115 w 130"/>
                  <a:gd name="T61" fmla="*/ 26 h 97"/>
                  <a:gd name="T62" fmla="*/ 112 w 130"/>
                  <a:gd name="T63" fmla="*/ 19 h 97"/>
                  <a:gd name="T64" fmla="*/ 106 w 130"/>
                  <a:gd name="T65" fmla="*/ 5 h 97"/>
                  <a:gd name="T66" fmla="*/ 100 w 130"/>
                  <a:gd name="T67" fmla="*/ 5 h 97"/>
                  <a:gd name="T68" fmla="*/ 99 w 130"/>
                  <a:gd name="T69" fmla="*/ 6 h 97"/>
                  <a:gd name="T70" fmla="*/ 90 w 130"/>
                  <a:gd name="T71" fmla="*/ 10 h 97"/>
                  <a:gd name="T72" fmla="*/ 82 w 130"/>
                  <a:gd name="T73" fmla="*/ 9 h 97"/>
                  <a:gd name="T74" fmla="*/ 76 w 130"/>
                  <a:gd name="T75" fmla="*/ 13 h 97"/>
                  <a:gd name="T76" fmla="*/ 72 w 130"/>
                  <a:gd name="T77" fmla="*/ 9 h 97"/>
                  <a:gd name="T78" fmla="*/ 66 w 130"/>
                  <a:gd name="T79" fmla="*/ 10 h 97"/>
                  <a:gd name="T80" fmla="*/ 61 w 130"/>
                  <a:gd name="T81" fmla="*/ 5 h 97"/>
                  <a:gd name="T82" fmla="*/ 44 w 130"/>
                  <a:gd name="T83" fmla="*/ 5 h 97"/>
                  <a:gd name="T84" fmla="*/ 36 w 130"/>
                  <a:gd name="T85" fmla="*/ 3 h 97"/>
                  <a:gd name="T86" fmla="*/ 34 w 130"/>
                  <a:gd name="T87" fmla="*/ 2 h 97"/>
                  <a:gd name="T88" fmla="*/ 23 w 130"/>
                  <a:gd name="T89" fmla="*/ 0 h 97"/>
                  <a:gd name="T90" fmla="*/ 24 w 130"/>
                  <a:gd name="T91" fmla="*/ 6 h 97"/>
                  <a:gd name="T92" fmla="*/ 20 w 130"/>
                  <a:gd name="T93" fmla="*/ 9 h 97"/>
                  <a:gd name="T94" fmla="*/ 21 w 130"/>
                  <a:gd name="T95" fmla="*/ 18 h 97"/>
                  <a:gd name="T96" fmla="*/ 13 w 130"/>
                  <a:gd name="T97" fmla="*/ 19 h 97"/>
                  <a:gd name="T98" fmla="*/ 3 w 130"/>
                  <a:gd name="T99" fmla="*/ 25 h 97"/>
                  <a:gd name="T100" fmla="*/ 1 w 130"/>
                  <a:gd name="T101" fmla="*/ 33 h 97"/>
                  <a:gd name="T102" fmla="*/ 5 w 130"/>
                  <a:gd name="T103" fmla="*/ 32 h 97"/>
                  <a:gd name="T104" fmla="*/ 10 w 130"/>
                  <a:gd name="T105" fmla="*/ 41 h 97"/>
                  <a:gd name="T106" fmla="*/ 17 w 130"/>
                  <a:gd name="T107" fmla="*/ 45 h 97"/>
                  <a:gd name="T108" fmla="*/ 18 w 130"/>
                  <a:gd name="T109" fmla="*/ 48 h 97"/>
                  <a:gd name="T110" fmla="*/ 24 w 130"/>
                  <a:gd name="T111" fmla="*/ 49 h 97"/>
                  <a:gd name="T112" fmla="*/ 27 w 130"/>
                  <a:gd name="T113" fmla="*/ 56 h 97"/>
                  <a:gd name="T114" fmla="*/ 33 w 130"/>
                  <a:gd name="T115" fmla="*/ 6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97">
                    <a:moveTo>
                      <a:pt x="34" y="64"/>
                    </a:moveTo>
                    <a:lnTo>
                      <a:pt x="36" y="62"/>
                    </a:lnTo>
                    <a:lnTo>
                      <a:pt x="37" y="61"/>
                    </a:lnTo>
                    <a:lnTo>
                      <a:pt x="37" y="61"/>
                    </a:lnTo>
                    <a:lnTo>
                      <a:pt x="38" y="59"/>
                    </a:lnTo>
                    <a:lnTo>
                      <a:pt x="40" y="59"/>
                    </a:lnTo>
                    <a:lnTo>
                      <a:pt x="41" y="58"/>
                    </a:lnTo>
                    <a:lnTo>
                      <a:pt x="41" y="56"/>
                    </a:lnTo>
                    <a:lnTo>
                      <a:pt x="44" y="52"/>
                    </a:lnTo>
                    <a:lnTo>
                      <a:pt x="44" y="51"/>
                    </a:lnTo>
                    <a:lnTo>
                      <a:pt x="46" y="49"/>
                    </a:lnTo>
                    <a:lnTo>
                      <a:pt x="49" y="49"/>
                    </a:lnTo>
                    <a:lnTo>
                      <a:pt x="50" y="49"/>
                    </a:lnTo>
                    <a:lnTo>
                      <a:pt x="51" y="49"/>
                    </a:lnTo>
                    <a:lnTo>
                      <a:pt x="53" y="49"/>
                    </a:lnTo>
                    <a:lnTo>
                      <a:pt x="54" y="49"/>
                    </a:lnTo>
                    <a:lnTo>
                      <a:pt x="56" y="49"/>
                    </a:lnTo>
                    <a:lnTo>
                      <a:pt x="56" y="49"/>
                    </a:lnTo>
                    <a:lnTo>
                      <a:pt x="56" y="48"/>
                    </a:lnTo>
                    <a:lnTo>
                      <a:pt x="56" y="48"/>
                    </a:lnTo>
                    <a:lnTo>
                      <a:pt x="56" y="48"/>
                    </a:lnTo>
                    <a:lnTo>
                      <a:pt x="59" y="48"/>
                    </a:lnTo>
                    <a:lnTo>
                      <a:pt x="61" y="48"/>
                    </a:lnTo>
                    <a:lnTo>
                      <a:pt x="64" y="48"/>
                    </a:lnTo>
                    <a:lnTo>
                      <a:pt x="67" y="49"/>
                    </a:lnTo>
                    <a:lnTo>
                      <a:pt x="69" y="51"/>
                    </a:lnTo>
                    <a:lnTo>
                      <a:pt x="73" y="55"/>
                    </a:lnTo>
                    <a:lnTo>
                      <a:pt x="76" y="58"/>
                    </a:lnTo>
                    <a:lnTo>
                      <a:pt x="77" y="61"/>
                    </a:lnTo>
                    <a:lnTo>
                      <a:pt x="77" y="61"/>
                    </a:lnTo>
                    <a:lnTo>
                      <a:pt x="76" y="64"/>
                    </a:lnTo>
                    <a:lnTo>
                      <a:pt x="76" y="64"/>
                    </a:lnTo>
                    <a:lnTo>
                      <a:pt x="76" y="64"/>
                    </a:lnTo>
                    <a:lnTo>
                      <a:pt x="77" y="65"/>
                    </a:lnTo>
                    <a:lnTo>
                      <a:pt x="77" y="65"/>
                    </a:lnTo>
                    <a:lnTo>
                      <a:pt x="79" y="66"/>
                    </a:lnTo>
                    <a:lnTo>
                      <a:pt x="77" y="68"/>
                    </a:lnTo>
                    <a:lnTo>
                      <a:pt x="79" y="68"/>
                    </a:lnTo>
                    <a:lnTo>
                      <a:pt x="79" y="71"/>
                    </a:lnTo>
                    <a:lnTo>
                      <a:pt x="79" y="72"/>
                    </a:lnTo>
                    <a:lnTo>
                      <a:pt x="76" y="78"/>
                    </a:lnTo>
                    <a:lnTo>
                      <a:pt x="79" y="78"/>
                    </a:lnTo>
                    <a:lnTo>
                      <a:pt x="82" y="75"/>
                    </a:lnTo>
                    <a:lnTo>
                      <a:pt x="83" y="75"/>
                    </a:lnTo>
                    <a:lnTo>
                      <a:pt x="84" y="75"/>
                    </a:lnTo>
                    <a:lnTo>
                      <a:pt x="86" y="75"/>
                    </a:lnTo>
                    <a:lnTo>
                      <a:pt x="87" y="75"/>
                    </a:lnTo>
                    <a:lnTo>
                      <a:pt x="87" y="75"/>
                    </a:lnTo>
                    <a:lnTo>
                      <a:pt x="89" y="75"/>
                    </a:lnTo>
                    <a:lnTo>
                      <a:pt x="90" y="74"/>
                    </a:lnTo>
                    <a:lnTo>
                      <a:pt x="93" y="74"/>
                    </a:lnTo>
                    <a:lnTo>
                      <a:pt x="93" y="75"/>
                    </a:lnTo>
                    <a:lnTo>
                      <a:pt x="96" y="75"/>
                    </a:lnTo>
                    <a:lnTo>
                      <a:pt x="97" y="78"/>
                    </a:lnTo>
                    <a:lnTo>
                      <a:pt x="100" y="88"/>
                    </a:lnTo>
                    <a:lnTo>
                      <a:pt x="100" y="89"/>
                    </a:lnTo>
                    <a:lnTo>
                      <a:pt x="99" y="91"/>
                    </a:lnTo>
                    <a:lnTo>
                      <a:pt x="99" y="92"/>
                    </a:lnTo>
                    <a:lnTo>
                      <a:pt x="99" y="92"/>
                    </a:lnTo>
                    <a:lnTo>
                      <a:pt x="99" y="94"/>
                    </a:lnTo>
                    <a:lnTo>
                      <a:pt x="100" y="94"/>
                    </a:lnTo>
                    <a:lnTo>
                      <a:pt x="105" y="97"/>
                    </a:lnTo>
                    <a:lnTo>
                      <a:pt x="105" y="97"/>
                    </a:lnTo>
                    <a:lnTo>
                      <a:pt x="106" y="97"/>
                    </a:lnTo>
                    <a:lnTo>
                      <a:pt x="107" y="97"/>
                    </a:lnTo>
                    <a:lnTo>
                      <a:pt x="109" y="95"/>
                    </a:lnTo>
                    <a:lnTo>
                      <a:pt x="110" y="92"/>
                    </a:lnTo>
                    <a:lnTo>
                      <a:pt x="112" y="91"/>
                    </a:lnTo>
                    <a:lnTo>
                      <a:pt x="113" y="89"/>
                    </a:lnTo>
                    <a:lnTo>
                      <a:pt x="115" y="91"/>
                    </a:lnTo>
                    <a:lnTo>
                      <a:pt x="117" y="91"/>
                    </a:lnTo>
                    <a:lnTo>
                      <a:pt x="119" y="91"/>
                    </a:lnTo>
                    <a:lnTo>
                      <a:pt x="119" y="91"/>
                    </a:lnTo>
                    <a:lnTo>
                      <a:pt x="120" y="89"/>
                    </a:lnTo>
                    <a:lnTo>
                      <a:pt x="122" y="88"/>
                    </a:lnTo>
                    <a:lnTo>
                      <a:pt x="123" y="84"/>
                    </a:lnTo>
                    <a:lnTo>
                      <a:pt x="123" y="84"/>
                    </a:lnTo>
                    <a:lnTo>
                      <a:pt x="123" y="82"/>
                    </a:lnTo>
                    <a:lnTo>
                      <a:pt x="123" y="81"/>
                    </a:lnTo>
                    <a:lnTo>
                      <a:pt x="123" y="81"/>
                    </a:lnTo>
                    <a:lnTo>
                      <a:pt x="122" y="81"/>
                    </a:lnTo>
                    <a:lnTo>
                      <a:pt x="120" y="79"/>
                    </a:lnTo>
                    <a:lnTo>
                      <a:pt x="119" y="78"/>
                    </a:lnTo>
                    <a:lnTo>
                      <a:pt x="119" y="78"/>
                    </a:lnTo>
                    <a:lnTo>
                      <a:pt x="120" y="75"/>
                    </a:lnTo>
                    <a:lnTo>
                      <a:pt x="122" y="74"/>
                    </a:lnTo>
                    <a:lnTo>
                      <a:pt x="125" y="75"/>
                    </a:lnTo>
                    <a:lnTo>
                      <a:pt x="128" y="77"/>
                    </a:lnTo>
                    <a:lnTo>
                      <a:pt x="129" y="77"/>
                    </a:lnTo>
                    <a:lnTo>
                      <a:pt x="130" y="74"/>
                    </a:lnTo>
                    <a:lnTo>
                      <a:pt x="129" y="72"/>
                    </a:lnTo>
                    <a:lnTo>
                      <a:pt x="126" y="69"/>
                    </a:lnTo>
                    <a:lnTo>
                      <a:pt x="125" y="68"/>
                    </a:lnTo>
                    <a:lnTo>
                      <a:pt x="125" y="66"/>
                    </a:lnTo>
                    <a:lnTo>
                      <a:pt x="126" y="65"/>
                    </a:lnTo>
                    <a:lnTo>
                      <a:pt x="128" y="64"/>
                    </a:lnTo>
                    <a:lnTo>
                      <a:pt x="126" y="62"/>
                    </a:lnTo>
                    <a:lnTo>
                      <a:pt x="126" y="62"/>
                    </a:lnTo>
                    <a:lnTo>
                      <a:pt x="126" y="61"/>
                    </a:lnTo>
                    <a:lnTo>
                      <a:pt x="126" y="58"/>
                    </a:lnTo>
                    <a:lnTo>
                      <a:pt x="123" y="58"/>
                    </a:lnTo>
                    <a:lnTo>
                      <a:pt x="122" y="56"/>
                    </a:lnTo>
                    <a:lnTo>
                      <a:pt x="122" y="55"/>
                    </a:lnTo>
                    <a:lnTo>
                      <a:pt x="122" y="49"/>
                    </a:lnTo>
                    <a:lnTo>
                      <a:pt x="122" y="48"/>
                    </a:lnTo>
                    <a:lnTo>
                      <a:pt x="122" y="46"/>
                    </a:lnTo>
                    <a:lnTo>
                      <a:pt x="125" y="45"/>
                    </a:lnTo>
                    <a:lnTo>
                      <a:pt x="125" y="43"/>
                    </a:lnTo>
                    <a:lnTo>
                      <a:pt x="123" y="42"/>
                    </a:lnTo>
                    <a:lnTo>
                      <a:pt x="123" y="42"/>
                    </a:lnTo>
                    <a:lnTo>
                      <a:pt x="122" y="41"/>
                    </a:lnTo>
                    <a:lnTo>
                      <a:pt x="119" y="39"/>
                    </a:lnTo>
                    <a:lnTo>
                      <a:pt x="119" y="38"/>
                    </a:lnTo>
                    <a:lnTo>
                      <a:pt x="119" y="35"/>
                    </a:lnTo>
                    <a:lnTo>
                      <a:pt x="119" y="35"/>
                    </a:lnTo>
                    <a:lnTo>
                      <a:pt x="119" y="33"/>
                    </a:lnTo>
                    <a:lnTo>
                      <a:pt x="119" y="32"/>
                    </a:lnTo>
                    <a:lnTo>
                      <a:pt x="117" y="31"/>
                    </a:lnTo>
                    <a:lnTo>
                      <a:pt x="117" y="29"/>
                    </a:lnTo>
                    <a:lnTo>
                      <a:pt x="116" y="29"/>
                    </a:lnTo>
                    <a:lnTo>
                      <a:pt x="115" y="31"/>
                    </a:lnTo>
                    <a:lnTo>
                      <a:pt x="113" y="31"/>
                    </a:lnTo>
                    <a:lnTo>
                      <a:pt x="113" y="28"/>
                    </a:lnTo>
                    <a:lnTo>
                      <a:pt x="115" y="26"/>
                    </a:lnTo>
                    <a:lnTo>
                      <a:pt x="116" y="25"/>
                    </a:lnTo>
                    <a:lnTo>
                      <a:pt x="116" y="23"/>
                    </a:lnTo>
                    <a:lnTo>
                      <a:pt x="116" y="22"/>
                    </a:lnTo>
                    <a:lnTo>
                      <a:pt x="112" y="19"/>
                    </a:lnTo>
                    <a:lnTo>
                      <a:pt x="110" y="19"/>
                    </a:lnTo>
                    <a:lnTo>
                      <a:pt x="110" y="18"/>
                    </a:lnTo>
                    <a:lnTo>
                      <a:pt x="107" y="8"/>
                    </a:lnTo>
                    <a:lnTo>
                      <a:pt x="106" y="5"/>
                    </a:lnTo>
                    <a:lnTo>
                      <a:pt x="103" y="3"/>
                    </a:lnTo>
                    <a:lnTo>
                      <a:pt x="100" y="3"/>
                    </a:lnTo>
                    <a:lnTo>
                      <a:pt x="100" y="3"/>
                    </a:lnTo>
                    <a:lnTo>
                      <a:pt x="100" y="5"/>
                    </a:lnTo>
                    <a:lnTo>
                      <a:pt x="100" y="5"/>
                    </a:lnTo>
                    <a:lnTo>
                      <a:pt x="100" y="6"/>
                    </a:lnTo>
                    <a:lnTo>
                      <a:pt x="100" y="6"/>
                    </a:lnTo>
                    <a:lnTo>
                      <a:pt x="99" y="6"/>
                    </a:lnTo>
                    <a:lnTo>
                      <a:pt x="99" y="8"/>
                    </a:lnTo>
                    <a:lnTo>
                      <a:pt x="94" y="10"/>
                    </a:lnTo>
                    <a:lnTo>
                      <a:pt x="93" y="10"/>
                    </a:lnTo>
                    <a:lnTo>
                      <a:pt x="90" y="10"/>
                    </a:lnTo>
                    <a:lnTo>
                      <a:pt x="84" y="9"/>
                    </a:lnTo>
                    <a:lnTo>
                      <a:pt x="83" y="9"/>
                    </a:lnTo>
                    <a:lnTo>
                      <a:pt x="83" y="9"/>
                    </a:lnTo>
                    <a:lnTo>
                      <a:pt x="82" y="9"/>
                    </a:lnTo>
                    <a:lnTo>
                      <a:pt x="80" y="10"/>
                    </a:lnTo>
                    <a:lnTo>
                      <a:pt x="77" y="13"/>
                    </a:lnTo>
                    <a:lnTo>
                      <a:pt x="77" y="13"/>
                    </a:lnTo>
                    <a:lnTo>
                      <a:pt x="76" y="13"/>
                    </a:lnTo>
                    <a:lnTo>
                      <a:pt x="74" y="12"/>
                    </a:lnTo>
                    <a:lnTo>
                      <a:pt x="74" y="10"/>
                    </a:lnTo>
                    <a:lnTo>
                      <a:pt x="73" y="9"/>
                    </a:lnTo>
                    <a:lnTo>
                      <a:pt x="72" y="9"/>
                    </a:lnTo>
                    <a:lnTo>
                      <a:pt x="70" y="9"/>
                    </a:lnTo>
                    <a:lnTo>
                      <a:pt x="70" y="10"/>
                    </a:lnTo>
                    <a:lnTo>
                      <a:pt x="69" y="10"/>
                    </a:lnTo>
                    <a:lnTo>
                      <a:pt x="66" y="10"/>
                    </a:lnTo>
                    <a:lnTo>
                      <a:pt x="63" y="10"/>
                    </a:lnTo>
                    <a:lnTo>
                      <a:pt x="63" y="8"/>
                    </a:lnTo>
                    <a:lnTo>
                      <a:pt x="64" y="5"/>
                    </a:lnTo>
                    <a:lnTo>
                      <a:pt x="61" y="5"/>
                    </a:lnTo>
                    <a:lnTo>
                      <a:pt x="57" y="5"/>
                    </a:lnTo>
                    <a:lnTo>
                      <a:pt x="50" y="5"/>
                    </a:lnTo>
                    <a:lnTo>
                      <a:pt x="47" y="5"/>
                    </a:lnTo>
                    <a:lnTo>
                      <a:pt x="44" y="5"/>
                    </a:lnTo>
                    <a:lnTo>
                      <a:pt x="38" y="3"/>
                    </a:lnTo>
                    <a:lnTo>
                      <a:pt x="37" y="3"/>
                    </a:lnTo>
                    <a:lnTo>
                      <a:pt x="37" y="3"/>
                    </a:lnTo>
                    <a:lnTo>
                      <a:pt x="36" y="3"/>
                    </a:lnTo>
                    <a:lnTo>
                      <a:pt x="36" y="3"/>
                    </a:lnTo>
                    <a:lnTo>
                      <a:pt x="36" y="3"/>
                    </a:lnTo>
                    <a:lnTo>
                      <a:pt x="36" y="2"/>
                    </a:lnTo>
                    <a:lnTo>
                      <a:pt x="34" y="2"/>
                    </a:lnTo>
                    <a:lnTo>
                      <a:pt x="34" y="0"/>
                    </a:lnTo>
                    <a:lnTo>
                      <a:pt x="33" y="0"/>
                    </a:lnTo>
                    <a:lnTo>
                      <a:pt x="28" y="0"/>
                    </a:lnTo>
                    <a:lnTo>
                      <a:pt x="23" y="0"/>
                    </a:lnTo>
                    <a:lnTo>
                      <a:pt x="23" y="2"/>
                    </a:lnTo>
                    <a:lnTo>
                      <a:pt x="24" y="3"/>
                    </a:lnTo>
                    <a:lnTo>
                      <a:pt x="24" y="5"/>
                    </a:lnTo>
                    <a:lnTo>
                      <a:pt x="24" y="6"/>
                    </a:lnTo>
                    <a:lnTo>
                      <a:pt x="23" y="8"/>
                    </a:lnTo>
                    <a:lnTo>
                      <a:pt x="20" y="8"/>
                    </a:lnTo>
                    <a:lnTo>
                      <a:pt x="20" y="8"/>
                    </a:lnTo>
                    <a:lnTo>
                      <a:pt x="20" y="9"/>
                    </a:lnTo>
                    <a:lnTo>
                      <a:pt x="21" y="10"/>
                    </a:lnTo>
                    <a:lnTo>
                      <a:pt x="23" y="13"/>
                    </a:lnTo>
                    <a:lnTo>
                      <a:pt x="23" y="16"/>
                    </a:lnTo>
                    <a:lnTo>
                      <a:pt x="21" y="18"/>
                    </a:lnTo>
                    <a:lnTo>
                      <a:pt x="20" y="18"/>
                    </a:lnTo>
                    <a:lnTo>
                      <a:pt x="15" y="18"/>
                    </a:lnTo>
                    <a:lnTo>
                      <a:pt x="14" y="19"/>
                    </a:lnTo>
                    <a:lnTo>
                      <a:pt x="13" y="19"/>
                    </a:lnTo>
                    <a:lnTo>
                      <a:pt x="7" y="22"/>
                    </a:lnTo>
                    <a:lnTo>
                      <a:pt x="5" y="22"/>
                    </a:lnTo>
                    <a:lnTo>
                      <a:pt x="4" y="23"/>
                    </a:lnTo>
                    <a:lnTo>
                      <a:pt x="3" y="25"/>
                    </a:lnTo>
                    <a:lnTo>
                      <a:pt x="1" y="29"/>
                    </a:lnTo>
                    <a:lnTo>
                      <a:pt x="0" y="31"/>
                    </a:lnTo>
                    <a:lnTo>
                      <a:pt x="0" y="33"/>
                    </a:lnTo>
                    <a:lnTo>
                      <a:pt x="1" y="33"/>
                    </a:lnTo>
                    <a:lnTo>
                      <a:pt x="3" y="32"/>
                    </a:lnTo>
                    <a:lnTo>
                      <a:pt x="3" y="31"/>
                    </a:lnTo>
                    <a:lnTo>
                      <a:pt x="4" y="31"/>
                    </a:lnTo>
                    <a:lnTo>
                      <a:pt x="5" y="32"/>
                    </a:lnTo>
                    <a:lnTo>
                      <a:pt x="7" y="35"/>
                    </a:lnTo>
                    <a:lnTo>
                      <a:pt x="8" y="33"/>
                    </a:lnTo>
                    <a:lnTo>
                      <a:pt x="8" y="38"/>
                    </a:lnTo>
                    <a:lnTo>
                      <a:pt x="10" y="41"/>
                    </a:lnTo>
                    <a:lnTo>
                      <a:pt x="13" y="43"/>
                    </a:lnTo>
                    <a:lnTo>
                      <a:pt x="15" y="45"/>
                    </a:lnTo>
                    <a:lnTo>
                      <a:pt x="15" y="45"/>
                    </a:lnTo>
                    <a:lnTo>
                      <a:pt x="17" y="45"/>
                    </a:lnTo>
                    <a:lnTo>
                      <a:pt x="18" y="45"/>
                    </a:lnTo>
                    <a:lnTo>
                      <a:pt x="18" y="46"/>
                    </a:lnTo>
                    <a:lnTo>
                      <a:pt x="18" y="48"/>
                    </a:lnTo>
                    <a:lnTo>
                      <a:pt x="18" y="48"/>
                    </a:lnTo>
                    <a:lnTo>
                      <a:pt x="20" y="49"/>
                    </a:lnTo>
                    <a:lnTo>
                      <a:pt x="21" y="49"/>
                    </a:lnTo>
                    <a:lnTo>
                      <a:pt x="23" y="49"/>
                    </a:lnTo>
                    <a:lnTo>
                      <a:pt x="24" y="49"/>
                    </a:lnTo>
                    <a:lnTo>
                      <a:pt x="24" y="52"/>
                    </a:lnTo>
                    <a:lnTo>
                      <a:pt x="24" y="54"/>
                    </a:lnTo>
                    <a:lnTo>
                      <a:pt x="24" y="56"/>
                    </a:lnTo>
                    <a:lnTo>
                      <a:pt x="27" y="56"/>
                    </a:lnTo>
                    <a:lnTo>
                      <a:pt x="28" y="59"/>
                    </a:lnTo>
                    <a:lnTo>
                      <a:pt x="31" y="62"/>
                    </a:lnTo>
                    <a:lnTo>
                      <a:pt x="31" y="65"/>
                    </a:lnTo>
                    <a:lnTo>
                      <a:pt x="33" y="65"/>
                    </a:lnTo>
                    <a:lnTo>
                      <a:pt x="34" y="6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02" name="Freeform 189">
                <a:extLst>
                  <a:ext uri="{FF2B5EF4-FFF2-40B4-BE49-F238E27FC236}">
                    <a16:creationId xmlns:a16="http://schemas.microsoft.com/office/drawing/2014/main" id="{0E9C90C6-99C6-0887-5CE2-F1F3A8827729}"/>
                  </a:ext>
                </a:extLst>
              </p:cNvPr>
              <p:cNvSpPr>
                <a:spLocks/>
              </p:cNvSpPr>
              <p:nvPr/>
            </p:nvSpPr>
            <p:spPr bwMode="auto">
              <a:xfrm>
                <a:off x="3344" y="2567"/>
                <a:ext cx="74" cy="74"/>
              </a:xfrm>
              <a:custGeom>
                <a:avLst/>
                <a:gdLst>
                  <a:gd name="T0" fmla="*/ 71 w 74"/>
                  <a:gd name="T1" fmla="*/ 63 h 74"/>
                  <a:gd name="T2" fmla="*/ 74 w 74"/>
                  <a:gd name="T3" fmla="*/ 53 h 74"/>
                  <a:gd name="T4" fmla="*/ 72 w 74"/>
                  <a:gd name="T5" fmla="*/ 47 h 74"/>
                  <a:gd name="T6" fmla="*/ 68 w 74"/>
                  <a:gd name="T7" fmla="*/ 46 h 74"/>
                  <a:gd name="T8" fmla="*/ 65 w 74"/>
                  <a:gd name="T9" fmla="*/ 43 h 74"/>
                  <a:gd name="T10" fmla="*/ 64 w 74"/>
                  <a:gd name="T11" fmla="*/ 40 h 74"/>
                  <a:gd name="T12" fmla="*/ 58 w 74"/>
                  <a:gd name="T13" fmla="*/ 38 h 74"/>
                  <a:gd name="T14" fmla="*/ 54 w 74"/>
                  <a:gd name="T15" fmla="*/ 37 h 74"/>
                  <a:gd name="T16" fmla="*/ 55 w 74"/>
                  <a:gd name="T17" fmla="*/ 31 h 74"/>
                  <a:gd name="T18" fmla="*/ 56 w 74"/>
                  <a:gd name="T19" fmla="*/ 23 h 74"/>
                  <a:gd name="T20" fmla="*/ 52 w 74"/>
                  <a:gd name="T21" fmla="*/ 15 h 74"/>
                  <a:gd name="T22" fmla="*/ 49 w 74"/>
                  <a:gd name="T23" fmla="*/ 18 h 74"/>
                  <a:gd name="T24" fmla="*/ 46 w 74"/>
                  <a:gd name="T25" fmla="*/ 23 h 74"/>
                  <a:gd name="T26" fmla="*/ 44 w 74"/>
                  <a:gd name="T27" fmla="*/ 23 h 74"/>
                  <a:gd name="T28" fmla="*/ 39 w 74"/>
                  <a:gd name="T29" fmla="*/ 20 h 74"/>
                  <a:gd name="T30" fmla="*/ 38 w 74"/>
                  <a:gd name="T31" fmla="*/ 18 h 74"/>
                  <a:gd name="T32" fmla="*/ 38 w 74"/>
                  <a:gd name="T33" fmla="*/ 17 h 74"/>
                  <a:gd name="T34" fmla="*/ 39 w 74"/>
                  <a:gd name="T35" fmla="*/ 14 h 74"/>
                  <a:gd name="T36" fmla="*/ 35 w 74"/>
                  <a:gd name="T37" fmla="*/ 1 h 74"/>
                  <a:gd name="T38" fmla="*/ 32 w 74"/>
                  <a:gd name="T39" fmla="*/ 0 h 74"/>
                  <a:gd name="T40" fmla="*/ 28 w 74"/>
                  <a:gd name="T41" fmla="*/ 1 h 74"/>
                  <a:gd name="T42" fmla="*/ 26 w 74"/>
                  <a:gd name="T43" fmla="*/ 1 h 74"/>
                  <a:gd name="T44" fmla="*/ 23 w 74"/>
                  <a:gd name="T45" fmla="*/ 1 h 74"/>
                  <a:gd name="T46" fmla="*/ 22 w 74"/>
                  <a:gd name="T47" fmla="*/ 3 h 74"/>
                  <a:gd name="T48" fmla="*/ 22 w 74"/>
                  <a:gd name="T49" fmla="*/ 5 h 74"/>
                  <a:gd name="T50" fmla="*/ 19 w 74"/>
                  <a:gd name="T51" fmla="*/ 7 h 74"/>
                  <a:gd name="T52" fmla="*/ 18 w 74"/>
                  <a:gd name="T53" fmla="*/ 8 h 74"/>
                  <a:gd name="T54" fmla="*/ 15 w 74"/>
                  <a:gd name="T55" fmla="*/ 14 h 74"/>
                  <a:gd name="T56" fmla="*/ 8 w 74"/>
                  <a:gd name="T57" fmla="*/ 21 h 74"/>
                  <a:gd name="T58" fmla="*/ 3 w 74"/>
                  <a:gd name="T59" fmla="*/ 27 h 74"/>
                  <a:gd name="T60" fmla="*/ 3 w 74"/>
                  <a:gd name="T61" fmla="*/ 31 h 74"/>
                  <a:gd name="T62" fmla="*/ 9 w 74"/>
                  <a:gd name="T63" fmla="*/ 34 h 74"/>
                  <a:gd name="T64" fmla="*/ 15 w 74"/>
                  <a:gd name="T65" fmla="*/ 40 h 74"/>
                  <a:gd name="T66" fmla="*/ 22 w 74"/>
                  <a:gd name="T67" fmla="*/ 44 h 74"/>
                  <a:gd name="T68" fmla="*/ 42 w 74"/>
                  <a:gd name="T69" fmla="*/ 60 h 74"/>
                  <a:gd name="T70" fmla="*/ 61 w 74"/>
                  <a:gd name="T71" fmla="*/ 70 h 74"/>
                  <a:gd name="T72" fmla="*/ 71 w 74"/>
                  <a:gd name="T73" fmla="*/ 74 h 74"/>
                  <a:gd name="T74" fmla="*/ 69 w 74"/>
                  <a:gd name="T75" fmla="*/ 6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 h="74">
                    <a:moveTo>
                      <a:pt x="69" y="67"/>
                    </a:moveTo>
                    <a:lnTo>
                      <a:pt x="71" y="63"/>
                    </a:lnTo>
                    <a:lnTo>
                      <a:pt x="72" y="57"/>
                    </a:lnTo>
                    <a:lnTo>
                      <a:pt x="74" y="53"/>
                    </a:lnTo>
                    <a:lnTo>
                      <a:pt x="72" y="50"/>
                    </a:lnTo>
                    <a:lnTo>
                      <a:pt x="72" y="47"/>
                    </a:lnTo>
                    <a:lnTo>
                      <a:pt x="71" y="47"/>
                    </a:lnTo>
                    <a:lnTo>
                      <a:pt x="68" y="46"/>
                    </a:lnTo>
                    <a:lnTo>
                      <a:pt x="67" y="44"/>
                    </a:lnTo>
                    <a:lnTo>
                      <a:pt x="65" y="43"/>
                    </a:lnTo>
                    <a:lnTo>
                      <a:pt x="65" y="41"/>
                    </a:lnTo>
                    <a:lnTo>
                      <a:pt x="64" y="40"/>
                    </a:lnTo>
                    <a:lnTo>
                      <a:pt x="62" y="40"/>
                    </a:lnTo>
                    <a:lnTo>
                      <a:pt x="58" y="38"/>
                    </a:lnTo>
                    <a:lnTo>
                      <a:pt x="56" y="38"/>
                    </a:lnTo>
                    <a:lnTo>
                      <a:pt x="54" y="37"/>
                    </a:lnTo>
                    <a:lnTo>
                      <a:pt x="52" y="36"/>
                    </a:lnTo>
                    <a:lnTo>
                      <a:pt x="55" y="31"/>
                    </a:lnTo>
                    <a:lnTo>
                      <a:pt x="58" y="27"/>
                    </a:lnTo>
                    <a:lnTo>
                      <a:pt x="56" y="23"/>
                    </a:lnTo>
                    <a:lnTo>
                      <a:pt x="54" y="17"/>
                    </a:lnTo>
                    <a:lnTo>
                      <a:pt x="52" y="15"/>
                    </a:lnTo>
                    <a:lnTo>
                      <a:pt x="51" y="17"/>
                    </a:lnTo>
                    <a:lnTo>
                      <a:pt x="49" y="18"/>
                    </a:lnTo>
                    <a:lnTo>
                      <a:pt x="48" y="21"/>
                    </a:lnTo>
                    <a:lnTo>
                      <a:pt x="46" y="23"/>
                    </a:lnTo>
                    <a:lnTo>
                      <a:pt x="45" y="23"/>
                    </a:lnTo>
                    <a:lnTo>
                      <a:pt x="44" y="23"/>
                    </a:lnTo>
                    <a:lnTo>
                      <a:pt x="44" y="23"/>
                    </a:lnTo>
                    <a:lnTo>
                      <a:pt x="39" y="20"/>
                    </a:lnTo>
                    <a:lnTo>
                      <a:pt x="38" y="20"/>
                    </a:lnTo>
                    <a:lnTo>
                      <a:pt x="38" y="18"/>
                    </a:lnTo>
                    <a:lnTo>
                      <a:pt x="38" y="18"/>
                    </a:lnTo>
                    <a:lnTo>
                      <a:pt x="38" y="17"/>
                    </a:lnTo>
                    <a:lnTo>
                      <a:pt x="39" y="15"/>
                    </a:lnTo>
                    <a:lnTo>
                      <a:pt x="39" y="14"/>
                    </a:lnTo>
                    <a:lnTo>
                      <a:pt x="36" y="4"/>
                    </a:lnTo>
                    <a:lnTo>
                      <a:pt x="35" y="1"/>
                    </a:lnTo>
                    <a:lnTo>
                      <a:pt x="32" y="1"/>
                    </a:lnTo>
                    <a:lnTo>
                      <a:pt x="32" y="0"/>
                    </a:lnTo>
                    <a:lnTo>
                      <a:pt x="29" y="0"/>
                    </a:lnTo>
                    <a:lnTo>
                      <a:pt x="28" y="1"/>
                    </a:lnTo>
                    <a:lnTo>
                      <a:pt x="26" y="1"/>
                    </a:lnTo>
                    <a:lnTo>
                      <a:pt x="26" y="1"/>
                    </a:lnTo>
                    <a:lnTo>
                      <a:pt x="25" y="1"/>
                    </a:lnTo>
                    <a:lnTo>
                      <a:pt x="23" y="1"/>
                    </a:lnTo>
                    <a:lnTo>
                      <a:pt x="22" y="1"/>
                    </a:lnTo>
                    <a:lnTo>
                      <a:pt x="22" y="3"/>
                    </a:lnTo>
                    <a:lnTo>
                      <a:pt x="22" y="4"/>
                    </a:lnTo>
                    <a:lnTo>
                      <a:pt x="22" y="5"/>
                    </a:lnTo>
                    <a:lnTo>
                      <a:pt x="21" y="5"/>
                    </a:lnTo>
                    <a:lnTo>
                      <a:pt x="19" y="7"/>
                    </a:lnTo>
                    <a:lnTo>
                      <a:pt x="19" y="7"/>
                    </a:lnTo>
                    <a:lnTo>
                      <a:pt x="18" y="8"/>
                    </a:lnTo>
                    <a:lnTo>
                      <a:pt x="16" y="13"/>
                    </a:lnTo>
                    <a:lnTo>
                      <a:pt x="15" y="14"/>
                    </a:lnTo>
                    <a:lnTo>
                      <a:pt x="13" y="17"/>
                    </a:lnTo>
                    <a:lnTo>
                      <a:pt x="8" y="21"/>
                    </a:lnTo>
                    <a:lnTo>
                      <a:pt x="6" y="23"/>
                    </a:lnTo>
                    <a:lnTo>
                      <a:pt x="3" y="27"/>
                    </a:lnTo>
                    <a:lnTo>
                      <a:pt x="0" y="28"/>
                    </a:lnTo>
                    <a:lnTo>
                      <a:pt x="3" y="31"/>
                    </a:lnTo>
                    <a:lnTo>
                      <a:pt x="5" y="33"/>
                    </a:lnTo>
                    <a:lnTo>
                      <a:pt x="9" y="34"/>
                    </a:lnTo>
                    <a:lnTo>
                      <a:pt x="12" y="36"/>
                    </a:lnTo>
                    <a:lnTo>
                      <a:pt x="15" y="40"/>
                    </a:lnTo>
                    <a:lnTo>
                      <a:pt x="16" y="41"/>
                    </a:lnTo>
                    <a:lnTo>
                      <a:pt x="22" y="44"/>
                    </a:lnTo>
                    <a:lnTo>
                      <a:pt x="25" y="47"/>
                    </a:lnTo>
                    <a:lnTo>
                      <a:pt x="42" y="60"/>
                    </a:lnTo>
                    <a:lnTo>
                      <a:pt x="46" y="63"/>
                    </a:lnTo>
                    <a:lnTo>
                      <a:pt x="61" y="70"/>
                    </a:lnTo>
                    <a:lnTo>
                      <a:pt x="65" y="73"/>
                    </a:lnTo>
                    <a:lnTo>
                      <a:pt x="71" y="74"/>
                    </a:lnTo>
                    <a:lnTo>
                      <a:pt x="69" y="70"/>
                    </a:lnTo>
                    <a:lnTo>
                      <a:pt x="69" y="6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03" name="Freeform 190">
                <a:extLst>
                  <a:ext uri="{FF2B5EF4-FFF2-40B4-BE49-F238E27FC236}">
                    <a16:creationId xmlns:a16="http://schemas.microsoft.com/office/drawing/2014/main" id="{126A0D0B-B45D-6FAF-BD1D-DE4FC8512997}"/>
                  </a:ext>
                </a:extLst>
              </p:cNvPr>
              <p:cNvSpPr>
                <a:spLocks/>
              </p:cNvSpPr>
              <p:nvPr/>
            </p:nvSpPr>
            <p:spPr bwMode="auto">
              <a:xfrm>
                <a:off x="3240" y="2420"/>
                <a:ext cx="107" cy="79"/>
              </a:xfrm>
              <a:custGeom>
                <a:avLst/>
                <a:gdLst>
                  <a:gd name="T0" fmla="*/ 34 w 107"/>
                  <a:gd name="T1" fmla="*/ 75 h 79"/>
                  <a:gd name="T2" fmla="*/ 51 w 107"/>
                  <a:gd name="T3" fmla="*/ 72 h 79"/>
                  <a:gd name="T4" fmla="*/ 76 w 107"/>
                  <a:gd name="T5" fmla="*/ 73 h 79"/>
                  <a:gd name="T6" fmla="*/ 79 w 107"/>
                  <a:gd name="T7" fmla="*/ 75 h 79"/>
                  <a:gd name="T8" fmla="*/ 79 w 107"/>
                  <a:gd name="T9" fmla="*/ 76 h 79"/>
                  <a:gd name="T10" fmla="*/ 81 w 107"/>
                  <a:gd name="T11" fmla="*/ 76 h 79"/>
                  <a:gd name="T12" fmla="*/ 93 w 107"/>
                  <a:gd name="T13" fmla="*/ 78 h 79"/>
                  <a:gd name="T14" fmla="*/ 107 w 107"/>
                  <a:gd name="T15" fmla="*/ 78 h 79"/>
                  <a:gd name="T16" fmla="*/ 107 w 107"/>
                  <a:gd name="T17" fmla="*/ 69 h 79"/>
                  <a:gd name="T18" fmla="*/ 103 w 107"/>
                  <a:gd name="T19" fmla="*/ 60 h 79"/>
                  <a:gd name="T20" fmla="*/ 100 w 107"/>
                  <a:gd name="T21" fmla="*/ 60 h 79"/>
                  <a:gd name="T22" fmla="*/ 99 w 107"/>
                  <a:gd name="T23" fmla="*/ 60 h 79"/>
                  <a:gd name="T24" fmla="*/ 96 w 107"/>
                  <a:gd name="T25" fmla="*/ 56 h 79"/>
                  <a:gd name="T26" fmla="*/ 97 w 107"/>
                  <a:gd name="T27" fmla="*/ 52 h 79"/>
                  <a:gd name="T28" fmla="*/ 96 w 107"/>
                  <a:gd name="T29" fmla="*/ 49 h 79"/>
                  <a:gd name="T30" fmla="*/ 96 w 107"/>
                  <a:gd name="T31" fmla="*/ 45 h 79"/>
                  <a:gd name="T32" fmla="*/ 93 w 107"/>
                  <a:gd name="T33" fmla="*/ 37 h 79"/>
                  <a:gd name="T34" fmla="*/ 89 w 107"/>
                  <a:gd name="T35" fmla="*/ 33 h 79"/>
                  <a:gd name="T36" fmla="*/ 83 w 107"/>
                  <a:gd name="T37" fmla="*/ 27 h 79"/>
                  <a:gd name="T38" fmla="*/ 76 w 107"/>
                  <a:gd name="T39" fmla="*/ 19 h 79"/>
                  <a:gd name="T40" fmla="*/ 69 w 107"/>
                  <a:gd name="T41" fmla="*/ 10 h 79"/>
                  <a:gd name="T42" fmla="*/ 64 w 107"/>
                  <a:gd name="T43" fmla="*/ 9 h 79"/>
                  <a:gd name="T44" fmla="*/ 58 w 107"/>
                  <a:gd name="T45" fmla="*/ 3 h 79"/>
                  <a:gd name="T46" fmla="*/ 47 w 107"/>
                  <a:gd name="T47" fmla="*/ 0 h 79"/>
                  <a:gd name="T48" fmla="*/ 27 w 107"/>
                  <a:gd name="T49" fmla="*/ 3 h 79"/>
                  <a:gd name="T50" fmla="*/ 24 w 107"/>
                  <a:gd name="T51" fmla="*/ 3 h 79"/>
                  <a:gd name="T52" fmla="*/ 18 w 107"/>
                  <a:gd name="T53" fmla="*/ 9 h 79"/>
                  <a:gd name="T54" fmla="*/ 10 w 107"/>
                  <a:gd name="T55" fmla="*/ 27 h 79"/>
                  <a:gd name="T56" fmla="*/ 0 w 107"/>
                  <a:gd name="T57" fmla="*/ 36 h 79"/>
                  <a:gd name="T58" fmla="*/ 1 w 107"/>
                  <a:gd name="T59" fmla="*/ 37 h 79"/>
                  <a:gd name="T60" fmla="*/ 11 w 107"/>
                  <a:gd name="T61" fmla="*/ 45 h 79"/>
                  <a:gd name="T62" fmla="*/ 15 w 107"/>
                  <a:gd name="T63" fmla="*/ 47 h 79"/>
                  <a:gd name="T64" fmla="*/ 15 w 107"/>
                  <a:gd name="T65" fmla="*/ 53 h 79"/>
                  <a:gd name="T66" fmla="*/ 31 w 107"/>
                  <a:gd name="T67" fmla="*/ 56 h 79"/>
                  <a:gd name="T68" fmla="*/ 34 w 107"/>
                  <a:gd name="T69" fmla="*/ 56 h 79"/>
                  <a:gd name="T70" fmla="*/ 36 w 107"/>
                  <a:gd name="T71" fmla="*/ 53 h 79"/>
                  <a:gd name="T72" fmla="*/ 41 w 107"/>
                  <a:gd name="T73" fmla="*/ 52 h 79"/>
                  <a:gd name="T74" fmla="*/ 53 w 107"/>
                  <a:gd name="T75" fmla="*/ 56 h 79"/>
                  <a:gd name="T76" fmla="*/ 61 w 107"/>
                  <a:gd name="T77" fmla="*/ 58 h 79"/>
                  <a:gd name="T78" fmla="*/ 60 w 107"/>
                  <a:gd name="T79" fmla="*/ 62 h 79"/>
                  <a:gd name="T80" fmla="*/ 53 w 107"/>
                  <a:gd name="T81" fmla="*/ 62 h 79"/>
                  <a:gd name="T82" fmla="*/ 40 w 107"/>
                  <a:gd name="T83" fmla="*/ 58 h 79"/>
                  <a:gd name="T84" fmla="*/ 37 w 107"/>
                  <a:gd name="T85" fmla="*/ 60 h 79"/>
                  <a:gd name="T86" fmla="*/ 31 w 107"/>
                  <a:gd name="T87" fmla="*/ 60 h 79"/>
                  <a:gd name="T88" fmla="*/ 28 w 107"/>
                  <a:gd name="T89" fmla="*/ 65 h 79"/>
                  <a:gd name="T90" fmla="*/ 15 w 107"/>
                  <a:gd name="T91" fmla="*/ 65 h 79"/>
                  <a:gd name="T92" fmla="*/ 13 w 107"/>
                  <a:gd name="T93" fmla="*/ 73 h 79"/>
                  <a:gd name="T94" fmla="*/ 15 w 107"/>
                  <a:gd name="T95" fmla="*/ 73 h 79"/>
                  <a:gd name="T96" fmla="*/ 15 w 107"/>
                  <a:gd name="T97" fmla="*/ 75 h 79"/>
                  <a:gd name="T98" fmla="*/ 14 w 107"/>
                  <a:gd name="T9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7" h="79">
                    <a:moveTo>
                      <a:pt x="21" y="78"/>
                    </a:moveTo>
                    <a:lnTo>
                      <a:pt x="31" y="76"/>
                    </a:lnTo>
                    <a:lnTo>
                      <a:pt x="34" y="75"/>
                    </a:lnTo>
                    <a:lnTo>
                      <a:pt x="37" y="73"/>
                    </a:lnTo>
                    <a:lnTo>
                      <a:pt x="44" y="72"/>
                    </a:lnTo>
                    <a:lnTo>
                      <a:pt x="51" y="72"/>
                    </a:lnTo>
                    <a:lnTo>
                      <a:pt x="66" y="73"/>
                    </a:lnTo>
                    <a:lnTo>
                      <a:pt x="71" y="73"/>
                    </a:lnTo>
                    <a:lnTo>
                      <a:pt x="76" y="73"/>
                    </a:lnTo>
                    <a:lnTo>
                      <a:pt x="77" y="73"/>
                    </a:lnTo>
                    <a:lnTo>
                      <a:pt x="77" y="75"/>
                    </a:lnTo>
                    <a:lnTo>
                      <a:pt x="79" y="75"/>
                    </a:lnTo>
                    <a:lnTo>
                      <a:pt x="79" y="76"/>
                    </a:lnTo>
                    <a:lnTo>
                      <a:pt x="79" y="76"/>
                    </a:lnTo>
                    <a:lnTo>
                      <a:pt x="79" y="76"/>
                    </a:lnTo>
                    <a:lnTo>
                      <a:pt x="80" y="76"/>
                    </a:lnTo>
                    <a:lnTo>
                      <a:pt x="80" y="76"/>
                    </a:lnTo>
                    <a:lnTo>
                      <a:pt x="81" y="76"/>
                    </a:lnTo>
                    <a:lnTo>
                      <a:pt x="87" y="78"/>
                    </a:lnTo>
                    <a:lnTo>
                      <a:pt x="90" y="78"/>
                    </a:lnTo>
                    <a:lnTo>
                      <a:pt x="93" y="78"/>
                    </a:lnTo>
                    <a:lnTo>
                      <a:pt x="100" y="78"/>
                    </a:lnTo>
                    <a:lnTo>
                      <a:pt x="104" y="78"/>
                    </a:lnTo>
                    <a:lnTo>
                      <a:pt x="107" y="78"/>
                    </a:lnTo>
                    <a:lnTo>
                      <a:pt x="107" y="76"/>
                    </a:lnTo>
                    <a:lnTo>
                      <a:pt x="107" y="75"/>
                    </a:lnTo>
                    <a:lnTo>
                      <a:pt x="107" y="69"/>
                    </a:lnTo>
                    <a:lnTo>
                      <a:pt x="106" y="68"/>
                    </a:lnTo>
                    <a:lnTo>
                      <a:pt x="104" y="62"/>
                    </a:lnTo>
                    <a:lnTo>
                      <a:pt x="103" y="60"/>
                    </a:lnTo>
                    <a:lnTo>
                      <a:pt x="102" y="60"/>
                    </a:lnTo>
                    <a:lnTo>
                      <a:pt x="102" y="60"/>
                    </a:lnTo>
                    <a:lnTo>
                      <a:pt x="100" y="60"/>
                    </a:lnTo>
                    <a:lnTo>
                      <a:pt x="100" y="60"/>
                    </a:lnTo>
                    <a:lnTo>
                      <a:pt x="100" y="60"/>
                    </a:lnTo>
                    <a:lnTo>
                      <a:pt x="99" y="60"/>
                    </a:lnTo>
                    <a:lnTo>
                      <a:pt x="99" y="59"/>
                    </a:lnTo>
                    <a:lnTo>
                      <a:pt x="97" y="58"/>
                    </a:lnTo>
                    <a:lnTo>
                      <a:pt x="96" y="56"/>
                    </a:lnTo>
                    <a:lnTo>
                      <a:pt x="96" y="53"/>
                    </a:lnTo>
                    <a:lnTo>
                      <a:pt x="96" y="53"/>
                    </a:lnTo>
                    <a:lnTo>
                      <a:pt x="97" y="52"/>
                    </a:lnTo>
                    <a:lnTo>
                      <a:pt x="97" y="50"/>
                    </a:lnTo>
                    <a:lnTo>
                      <a:pt x="97" y="50"/>
                    </a:lnTo>
                    <a:lnTo>
                      <a:pt x="96" y="49"/>
                    </a:lnTo>
                    <a:lnTo>
                      <a:pt x="96" y="49"/>
                    </a:lnTo>
                    <a:lnTo>
                      <a:pt x="96" y="46"/>
                    </a:lnTo>
                    <a:lnTo>
                      <a:pt x="96" y="45"/>
                    </a:lnTo>
                    <a:lnTo>
                      <a:pt x="94" y="42"/>
                    </a:lnTo>
                    <a:lnTo>
                      <a:pt x="93" y="40"/>
                    </a:lnTo>
                    <a:lnTo>
                      <a:pt x="93" y="37"/>
                    </a:lnTo>
                    <a:lnTo>
                      <a:pt x="93" y="36"/>
                    </a:lnTo>
                    <a:lnTo>
                      <a:pt x="92" y="35"/>
                    </a:lnTo>
                    <a:lnTo>
                      <a:pt x="89" y="33"/>
                    </a:lnTo>
                    <a:lnTo>
                      <a:pt x="87" y="30"/>
                    </a:lnTo>
                    <a:lnTo>
                      <a:pt x="84" y="29"/>
                    </a:lnTo>
                    <a:lnTo>
                      <a:pt x="83" y="27"/>
                    </a:lnTo>
                    <a:lnTo>
                      <a:pt x="80" y="23"/>
                    </a:lnTo>
                    <a:lnTo>
                      <a:pt x="79" y="22"/>
                    </a:lnTo>
                    <a:lnTo>
                      <a:pt x="76" y="19"/>
                    </a:lnTo>
                    <a:lnTo>
                      <a:pt x="74" y="14"/>
                    </a:lnTo>
                    <a:lnTo>
                      <a:pt x="71" y="12"/>
                    </a:lnTo>
                    <a:lnTo>
                      <a:pt x="69" y="10"/>
                    </a:lnTo>
                    <a:lnTo>
                      <a:pt x="67" y="10"/>
                    </a:lnTo>
                    <a:lnTo>
                      <a:pt x="66" y="9"/>
                    </a:lnTo>
                    <a:lnTo>
                      <a:pt x="64" y="9"/>
                    </a:lnTo>
                    <a:lnTo>
                      <a:pt x="63" y="9"/>
                    </a:lnTo>
                    <a:lnTo>
                      <a:pt x="60" y="6"/>
                    </a:lnTo>
                    <a:lnTo>
                      <a:pt x="58" y="3"/>
                    </a:lnTo>
                    <a:lnTo>
                      <a:pt x="56" y="1"/>
                    </a:lnTo>
                    <a:lnTo>
                      <a:pt x="53" y="0"/>
                    </a:lnTo>
                    <a:lnTo>
                      <a:pt x="47" y="0"/>
                    </a:lnTo>
                    <a:lnTo>
                      <a:pt x="43" y="0"/>
                    </a:lnTo>
                    <a:lnTo>
                      <a:pt x="30" y="3"/>
                    </a:lnTo>
                    <a:lnTo>
                      <a:pt x="27" y="3"/>
                    </a:lnTo>
                    <a:lnTo>
                      <a:pt x="25" y="3"/>
                    </a:lnTo>
                    <a:lnTo>
                      <a:pt x="24" y="3"/>
                    </a:lnTo>
                    <a:lnTo>
                      <a:pt x="24" y="3"/>
                    </a:lnTo>
                    <a:lnTo>
                      <a:pt x="23" y="3"/>
                    </a:lnTo>
                    <a:lnTo>
                      <a:pt x="20" y="4"/>
                    </a:lnTo>
                    <a:lnTo>
                      <a:pt x="18" y="9"/>
                    </a:lnTo>
                    <a:lnTo>
                      <a:pt x="17" y="16"/>
                    </a:lnTo>
                    <a:lnTo>
                      <a:pt x="14" y="22"/>
                    </a:lnTo>
                    <a:lnTo>
                      <a:pt x="10" y="27"/>
                    </a:lnTo>
                    <a:lnTo>
                      <a:pt x="5" y="32"/>
                    </a:lnTo>
                    <a:lnTo>
                      <a:pt x="0" y="35"/>
                    </a:lnTo>
                    <a:lnTo>
                      <a:pt x="0" y="36"/>
                    </a:lnTo>
                    <a:lnTo>
                      <a:pt x="0" y="36"/>
                    </a:lnTo>
                    <a:lnTo>
                      <a:pt x="0" y="36"/>
                    </a:lnTo>
                    <a:lnTo>
                      <a:pt x="1" y="37"/>
                    </a:lnTo>
                    <a:lnTo>
                      <a:pt x="4" y="36"/>
                    </a:lnTo>
                    <a:lnTo>
                      <a:pt x="7" y="39"/>
                    </a:lnTo>
                    <a:lnTo>
                      <a:pt x="11" y="45"/>
                    </a:lnTo>
                    <a:lnTo>
                      <a:pt x="13" y="49"/>
                    </a:lnTo>
                    <a:lnTo>
                      <a:pt x="14" y="49"/>
                    </a:lnTo>
                    <a:lnTo>
                      <a:pt x="15" y="47"/>
                    </a:lnTo>
                    <a:lnTo>
                      <a:pt x="13" y="50"/>
                    </a:lnTo>
                    <a:lnTo>
                      <a:pt x="14" y="52"/>
                    </a:lnTo>
                    <a:lnTo>
                      <a:pt x="15" y="53"/>
                    </a:lnTo>
                    <a:lnTo>
                      <a:pt x="17" y="56"/>
                    </a:lnTo>
                    <a:lnTo>
                      <a:pt x="28" y="56"/>
                    </a:lnTo>
                    <a:lnTo>
                      <a:pt x="31" y="56"/>
                    </a:lnTo>
                    <a:lnTo>
                      <a:pt x="33" y="56"/>
                    </a:lnTo>
                    <a:lnTo>
                      <a:pt x="34" y="56"/>
                    </a:lnTo>
                    <a:lnTo>
                      <a:pt x="34" y="56"/>
                    </a:lnTo>
                    <a:lnTo>
                      <a:pt x="36" y="56"/>
                    </a:lnTo>
                    <a:lnTo>
                      <a:pt x="36" y="55"/>
                    </a:lnTo>
                    <a:lnTo>
                      <a:pt x="36" y="53"/>
                    </a:lnTo>
                    <a:lnTo>
                      <a:pt x="38" y="53"/>
                    </a:lnTo>
                    <a:lnTo>
                      <a:pt x="40" y="52"/>
                    </a:lnTo>
                    <a:lnTo>
                      <a:pt x="41" y="52"/>
                    </a:lnTo>
                    <a:lnTo>
                      <a:pt x="43" y="52"/>
                    </a:lnTo>
                    <a:lnTo>
                      <a:pt x="46" y="53"/>
                    </a:lnTo>
                    <a:lnTo>
                      <a:pt x="53" y="56"/>
                    </a:lnTo>
                    <a:lnTo>
                      <a:pt x="54" y="58"/>
                    </a:lnTo>
                    <a:lnTo>
                      <a:pt x="60" y="56"/>
                    </a:lnTo>
                    <a:lnTo>
                      <a:pt x="61" y="58"/>
                    </a:lnTo>
                    <a:lnTo>
                      <a:pt x="64" y="59"/>
                    </a:lnTo>
                    <a:lnTo>
                      <a:pt x="63" y="60"/>
                    </a:lnTo>
                    <a:lnTo>
                      <a:pt x="60" y="62"/>
                    </a:lnTo>
                    <a:lnTo>
                      <a:pt x="57" y="62"/>
                    </a:lnTo>
                    <a:lnTo>
                      <a:pt x="54" y="62"/>
                    </a:lnTo>
                    <a:lnTo>
                      <a:pt x="53" y="62"/>
                    </a:lnTo>
                    <a:lnTo>
                      <a:pt x="43" y="58"/>
                    </a:lnTo>
                    <a:lnTo>
                      <a:pt x="41" y="58"/>
                    </a:lnTo>
                    <a:lnTo>
                      <a:pt x="40" y="58"/>
                    </a:lnTo>
                    <a:lnTo>
                      <a:pt x="40" y="58"/>
                    </a:lnTo>
                    <a:lnTo>
                      <a:pt x="38" y="59"/>
                    </a:lnTo>
                    <a:lnTo>
                      <a:pt x="37" y="60"/>
                    </a:lnTo>
                    <a:lnTo>
                      <a:pt x="36" y="60"/>
                    </a:lnTo>
                    <a:lnTo>
                      <a:pt x="33" y="60"/>
                    </a:lnTo>
                    <a:lnTo>
                      <a:pt x="31" y="60"/>
                    </a:lnTo>
                    <a:lnTo>
                      <a:pt x="30" y="62"/>
                    </a:lnTo>
                    <a:lnTo>
                      <a:pt x="30" y="63"/>
                    </a:lnTo>
                    <a:lnTo>
                      <a:pt x="28" y="65"/>
                    </a:lnTo>
                    <a:lnTo>
                      <a:pt x="27" y="65"/>
                    </a:lnTo>
                    <a:lnTo>
                      <a:pt x="17" y="63"/>
                    </a:lnTo>
                    <a:lnTo>
                      <a:pt x="15" y="65"/>
                    </a:lnTo>
                    <a:lnTo>
                      <a:pt x="13" y="66"/>
                    </a:lnTo>
                    <a:lnTo>
                      <a:pt x="13" y="70"/>
                    </a:lnTo>
                    <a:lnTo>
                      <a:pt x="13" y="73"/>
                    </a:lnTo>
                    <a:lnTo>
                      <a:pt x="14" y="75"/>
                    </a:lnTo>
                    <a:lnTo>
                      <a:pt x="14" y="73"/>
                    </a:lnTo>
                    <a:lnTo>
                      <a:pt x="15" y="73"/>
                    </a:lnTo>
                    <a:lnTo>
                      <a:pt x="17" y="72"/>
                    </a:lnTo>
                    <a:lnTo>
                      <a:pt x="18" y="75"/>
                    </a:lnTo>
                    <a:lnTo>
                      <a:pt x="15" y="75"/>
                    </a:lnTo>
                    <a:lnTo>
                      <a:pt x="14" y="75"/>
                    </a:lnTo>
                    <a:lnTo>
                      <a:pt x="13" y="76"/>
                    </a:lnTo>
                    <a:lnTo>
                      <a:pt x="14" y="79"/>
                    </a:lnTo>
                    <a:lnTo>
                      <a:pt x="17" y="78"/>
                    </a:lnTo>
                    <a:lnTo>
                      <a:pt x="21" y="7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04" name="Freeform 191">
                <a:extLst>
                  <a:ext uri="{FF2B5EF4-FFF2-40B4-BE49-F238E27FC236}">
                    <a16:creationId xmlns:a16="http://schemas.microsoft.com/office/drawing/2014/main" id="{EDBC3211-E00A-0E37-7EF9-F67BB9279B11}"/>
                  </a:ext>
                </a:extLst>
              </p:cNvPr>
              <p:cNvSpPr>
                <a:spLocks/>
              </p:cNvSpPr>
              <p:nvPr/>
            </p:nvSpPr>
            <p:spPr bwMode="auto">
              <a:xfrm>
                <a:off x="3253" y="2472"/>
                <a:ext cx="51" cy="14"/>
              </a:xfrm>
              <a:custGeom>
                <a:avLst/>
                <a:gdLst>
                  <a:gd name="T0" fmla="*/ 4 w 51"/>
                  <a:gd name="T1" fmla="*/ 11 h 14"/>
                  <a:gd name="T2" fmla="*/ 14 w 51"/>
                  <a:gd name="T3" fmla="*/ 13 h 14"/>
                  <a:gd name="T4" fmla="*/ 15 w 51"/>
                  <a:gd name="T5" fmla="*/ 13 h 14"/>
                  <a:gd name="T6" fmla="*/ 17 w 51"/>
                  <a:gd name="T7" fmla="*/ 11 h 14"/>
                  <a:gd name="T8" fmla="*/ 17 w 51"/>
                  <a:gd name="T9" fmla="*/ 10 h 14"/>
                  <a:gd name="T10" fmla="*/ 18 w 51"/>
                  <a:gd name="T11" fmla="*/ 8 h 14"/>
                  <a:gd name="T12" fmla="*/ 20 w 51"/>
                  <a:gd name="T13" fmla="*/ 8 h 14"/>
                  <a:gd name="T14" fmla="*/ 23 w 51"/>
                  <a:gd name="T15" fmla="*/ 8 h 14"/>
                  <a:gd name="T16" fmla="*/ 24 w 51"/>
                  <a:gd name="T17" fmla="*/ 8 h 14"/>
                  <a:gd name="T18" fmla="*/ 25 w 51"/>
                  <a:gd name="T19" fmla="*/ 7 h 14"/>
                  <a:gd name="T20" fmla="*/ 27 w 51"/>
                  <a:gd name="T21" fmla="*/ 6 h 14"/>
                  <a:gd name="T22" fmla="*/ 27 w 51"/>
                  <a:gd name="T23" fmla="*/ 6 h 14"/>
                  <a:gd name="T24" fmla="*/ 28 w 51"/>
                  <a:gd name="T25" fmla="*/ 6 h 14"/>
                  <a:gd name="T26" fmla="*/ 30 w 51"/>
                  <a:gd name="T27" fmla="*/ 6 h 14"/>
                  <a:gd name="T28" fmla="*/ 40 w 51"/>
                  <a:gd name="T29" fmla="*/ 10 h 14"/>
                  <a:gd name="T30" fmla="*/ 41 w 51"/>
                  <a:gd name="T31" fmla="*/ 10 h 14"/>
                  <a:gd name="T32" fmla="*/ 44 w 51"/>
                  <a:gd name="T33" fmla="*/ 10 h 14"/>
                  <a:gd name="T34" fmla="*/ 47 w 51"/>
                  <a:gd name="T35" fmla="*/ 10 h 14"/>
                  <a:gd name="T36" fmla="*/ 50 w 51"/>
                  <a:gd name="T37" fmla="*/ 8 h 14"/>
                  <a:gd name="T38" fmla="*/ 51 w 51"/>
                  <a:gd name="T39" fmla="*/ 7 h 14"/>
                  <a:gd name="T40" fmla="*/ 48 w 51"/>
                  <a:gd name="T41" fmla="*/ 6 h 14"/>
                  <a:gd name="T42" fmla="*/ 47 w 51"/>
                  <a:gd name="T43" fmla="*/ 4 h 14"/>
                  <a:gd name="T44" fmla="*/ 41 w 51"/>
                  <a:gd name="T45" fmla="*/ 6 h 14"/>
                  <a:gd name="T46" fmla="*/ 40 w 51"/>
                  <a:gd name="T47" fmla="*/ 4 h 14"/>
                  <a:gd name="T48" fmla="*/ 33 w 51"/>
                  <a:gd name="T49" fmla="*/ 1 h 14"/>
                  <a:gd name="T50" fmla="*/ 30 w 51"/>
                  <a:gd name="T51" fmla="*/ 0 h 14"/>
                  <a:gd name="T52" fmla="*/ 28 w 51"/>
                  <a:gd name="T53" fmla="*/ 0 h 14"/>
                  <a:gd name="T54" fmla="*/ 27 w 51"/>
                  <a:gd name="T55" fmla="*/ 0 h 14"/>
                  <a:gd name="T56" fmla="*/ 25 w 51"/>
                  <a:gd name="T57" fmla="*/ 1 h 14"/>
                  <a:gd name="T58" fmla="*/ 23 w 51"/>
                  <a:gd name="T59" fmla="*/ 1 h 14"/>
                  <a:gd name="T60" fmla="*/ 23 w 51"/>
                  <a:gd name="T61" fmla="*/ 3 h 14"/>
                  <a:gd name="T62" fmla="*/ 23 w 51"/>
                  <a:gd name="T63" fmla="*/ 4 h 14"/>
                  <a:gd name="T64" fmla="*/ 21 w 51"/>
                  <a:gd name="T65" fmla="*/ 4 h 14"/>
                  <a:gd name="T66" fmla="*/ 21 w 51"/>
                  <a:gd name="T67" fmla="*/ 4 h 14"/>
                  <a:gd name="T68" fmla="*/ 20 w 51"/>
                  <a:gd name="T69" fmla="*/ 4 h 14"/>
                  <a:gd name="T70" fmla="*/ 18 w 51"/>
                  <a:gd name="T71" fmla="*/ 4 h 14"/>
                  <a:gd name="T72" fmla="*/ 15 w 51"/>
                  <a:gd name="T73" fmla="*/ 4 h 14"/>
                  <a:gd name="T74" fmla="*/ 4 w 51"/>
                  <a:gd name="T75" fmla="*/ 4 h 14"/>
                  <a:gd name="T76" fmla="*/ 5 w 51"/>
                  <a:gd name="T77" fmla="*/ 8 h 14"/>
                  <a:gd name="T78" fmla="*/ 11 w 51"/>
                  <a:gd name="T79" fmla="*/ 7 h 14"/>
                  <a:gd name="T80" fmla="*/ 20 w 51"/>
                  <a:gd name="T81" fmla="*/ 6 h 14"/>
                  <a:gd name="T82" fmla="*/ 23 w 51"/>
                  <a:gd name="T83" fmla="*/ 7 h 14"/>
                  <a:gd name="T84" fmla="*/ 15 w 51"/>
                  <a:gd name="T85" fmla="*/ 7 h 14"/>
                  <a:gd name="T86" fmla="*/ 11 w 51"/>
                  <a:gd name="T87" fmla="*/ 8 h 14"/>
                  <a:gd name="T88" fmla="*/ 10 w 51"/>
                  <a:gd name="T89" fmla="*/ 10 h 14"/>
                  <a:gd name="T90" fmla="*/ 8 w 51"/>
                  <a:gd name="T91" fmla="*/ 10 h 14"/>
                  <a:gd name="T92" fmla="*/ 7 w 51"/>
                  <a:gd name="T93" fmla="*/ 10 h 14"/>
                  <a:gd name="T94" fmla="*/ 5 w 51"/>
                  <a:gd name="T95" fmla="*/ 10 h 14"/>
                  <a:gd name="T96" fmla="*/ 4 w 51"/>
                  <a:gd name="T97" fmla="*/ 10 h 14"/>
                  <a:gd name="T98" fmla="*/ 4 w 51"/>
                  <a:gd name="T99" fmla="*/ 8 h 14"/>
                  <a:gd name="T100" fmla="*/ 2 w 51"/>
                  <a:gd name="T101" fmla="*/ 7 h 14"/>
                  <a:gd name="T102" fmla="*/ 2 w 51"/>
                  <a:gd name="T103" fmla="*/ 7 h 14"/>
                  <a:gd name="T104" fmla="*/ 0 w 51"/>
                  <a:gd name="T105" fmla="*/ 7 h 14"/>
                  <a:gd name="T106" fmla="*/ 0 w 51"/>
                  <a:gd name="T107" fmla="*/ 8 h 14"/>
                  <a:gd name="T108" fmla="*/ 0 w 51"/>
                  <a:gd name="T109" fmla="*/ 14 h 14"/>
                  <a:gd name="T110" fmla="*/ 2 w 51"/>
                  <a:gd name="T111" fmla="*/ 13 h 14"/>
                  <a:gd name="T112" fmla="*/ 4 w 51"/>
                  <a:gd name="T113"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 h="14">
                    <a:moveTo>
                      <a:pt x="4" y="11"/>
                    </a:moveTo>
                    <a:lnTo>
                      <a:pt x="14" y="13"/>
                    </a:lnTo>
                    <a:lnTo>
                      <a:pt x="15" y="13"/>
                    </a:lnTo>
                    <a:lnTo>
                      <a:pt x="17" y="11"/>
                    </a:lnTo>
                    <a:lnTo>
                      <a:pt x="17" y="10"/>
                    </a:lnTo>
                    <a:lnTo>
                      <a:pt x="18" y="8"/>
                    </a:lnTo>
                    <a:lnTo>
                      <a:pt x="20" y="8"/>
                    </a:lnTo>
                    <a:lnTo>
                      <a:pt x="23" y="8"/>
                    </a:lnTo>
                    <a:lnTo>
                      <a:pt x="24" y="8"/>
                    </a:lnTo>
                    <a:lnTo>
                      <a:pt x="25" y="7"/>
                    </a:lnTo>
                    <a:lnTo>
                      <a:pt x="27" y="6"/>
                    </a:lnTo>
                    <a:lnTo>
                      <a:pt x="27" y="6"/>
                    </a:lnTo>
                    <a:lnTo>
                      <a:pt x="28" y="6"/>
                    </a:lnTo>
                    <a:lnTo>
                      <a:pt x="30" y="6"/>
                    </a:lnTo>
                    <a:lnTo>
                      <a:pt x="40" y="10"/>
                    </a:lnTo>
                    <a:lnTo>
                      <a:pt x="41" y="10"/>
                    </a:lnTo>
                    <a:lnTo>
                      <a:pt x="44" y="10"/>
                    </a:lnTo>
                    <a:lnTo>
                      <a:pt x="47" y="10"/>
                    </a:lnTo>
                    <a:lnTo>
                      <a:pt x="50" y="8"/>
                    </a:lnTo>
                    <a:lnTo>
                      <a:pt x="51" y="7"/>
                    </a:lnTo>
                    <a:lnTo>
                      <a:pt x="48" y="6"/>
                    </a:lnTo>
                    <a:lnTo>
                      <a:pt x="47" y="4"/>
                    </a:lnTo>
                    <a:lnTo>
                      <a:pt x="41" y="6"/>
                    </a:lnTo>
                    <a:lnTo>
                      <a:pt x="40" y="4"/>
                    </a:lnTo>
                    <a:lnTo>
                      <a:pt x="33" y="1"/>
                    </a:lnTo>
                    <a:lnTo>
                      <a:pt x="30" y="0"/>
                    </a:lnTo>
                    <a:lnTo>
                      <a:pt x="28" y="0"/>
                    </a:lnTo>
                    <a:lnTo>
                      <a:pt x="27" y="0"/>
                    </a:lnTo>
                    <a:lnTo>
                      <a:pt x="25" y="1"/>
                    </a:lnTo>
                    <a:lnTo>
                      <a:pt x="23" y="1"/>
                    </a:lnTo>
                    <a:lnTo>
                      <a:pt x="23" y="3"/>
                    </a:lnTo>
                    <a:lnTo>
                      <a:pt x="23" y="4"/>
                    </a:lnTo>
                    <a:lnTo>
                      <a:pt x="21" y="4"/>
                    </a:lnTo>
                    <a:lnTo>
                      <a:pt x="21" y="4"/>
                    </a:lnTo>
                    <a:lnTo>
                      <a:pt x="20" y="4"/>
                    </a:lnTo>
                    <a:lnTo>
                      <a:pt x="18" y="4"/>
                    </a:lnTo>
                    <a:lnTo>
                      <a:pt x="15" y="4"/>
                    </a:lnTo>
                    <a:lnTo>
                      <a:pt x="4" y="4"/>
                    </a:lnTo>
                    <a:lnTo>
                      <a:pt x="5" y="8"/>
                    </a:lnTo>
                    <a:lnTo>
                      <a:pt x="11" y="7"/>
                    </a:lnTo>
                    <a:lnTo>
                      <a:pt x="20" y="6"/>
                    </a:lnTo>
                    <a:lnTo>
                      <a:pt x="23" y="7"/>
                    </a:lnTo>
                    <a:lnTo>
                      <a:pt x="15" y="7"/>
                    </a:lnTo>
                    <a:lnTo>
                      <a:pt x="11" y="8"/>
                    </a:lnTo>
                    <a:lnTo>
                      <a:pt x="10" y="10"/>
                    </a:lnTo>
                    <a:lnTo>
                      <a:pt x="8" y="10"/>
                    </a:lnTo>
                    <a:lnTo>
                      <a:pt x="7" y="10"/>
                    </a:lnTo>
                    <a:lnTo>
                      <a:pt x="5" y="10"/>
                    </a:lnTo>
                    <a:lnTo>
                      <a:pt x="4" y="10"/>
                    </a:lnTo>
                    <a:lnTo>
                      <a:pt x="4" y="8"/>
                    </a:lnTo>
                    <a:lnTo>
                      <a:pt x="2" y="7"/>
                    </a:lnTo>
                    <a:lnTo>
                      <a:pt x="2" y="7"/>
                    </a:lnTo>
                    <a:lnTo>
                      <a:pt x="0" y="7"/>
                    </a:lnTo>
                    <a:lnTo>
                      <a:pt x="0" y="8"/>
                    </a:lnTo>
                    <a:lnTo>
                      <a:pt x="0" y="14"/>
                    </a:lnTo>
                    <a:lnTo>
                      <a:pt x="2" y="13"/>
                    </a:lnTo>
                    <a:lnTo>
                      <a:pt x="4" y="1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05" name="Freeform 192">
                <a:extLst>
                  <a:ext uri="{FF2B5EF4-FFF2-40B4-BE49-F238E27FC236}">
                    <a16:creationId xmlns:a16="http://schemas.microsoft.com/office/drawing/2014/main" id="{BAC1490E-B71D-6089-0CE2-351A443531FE}"/>
                  </a:ext>
                </a:extLst>
              </p:cNvPr>
              <p:cNvSpPr>
                <a:spLocks/>
              </p:cNvSpPr>
              <p:nvPr/>
            </p:nvSpPr>
            <p:spPr bwMode="auto">
              <a:xfrm>
                <a:off x="3698" y="2485"/>
                <a:ext cx="135" cy="202"/>
              </a:xfrm>
              <a:custGeom>
                <a:avLst/>
                <a:gdLst>
                  <a:gd name="T0" fmla="*/ 49 w 135"/>
                  <a:gd name="T1" fmla="*/ 192 h 202"/>
                  <a:gd name="T2" fmla="*/ 83 w 135"/>
                  <a:gd name="T3" fmla="*/ 195 h 202"/>
                  <a:gd name="T4" fmla="*/ 112 w 135"/>
                  <a:gd name="T5" fmla="*/ 197 h 202"/>
                  <a:gd name="T6" fmla="*/ 132 w 135"/>
                  <a:gd name="T7" fmla="*/ 202 h 202"/>
                  <a:gd name="T8" fmla="*/ 132 w 135"/>
                  <a:gd name="T9" fmla="*/ 199 h 202"/>
                  <a:gd name="T10" fmla="*/ 135 w 135"/>
                  <a:gd name="T11" fmla="*/ 192 h 202"/>
                  <a:gd name="T12" fmla="*/ 129 w 135"/>
                  <a:gd name="T13" fmla="*/ 178 h 202"/>
                  <a:gd name="T14" fmla="*/ 116 w 135"/>
                  <a:gd name="T15" fmla="*/ 161 h 202"/>
                  <a:gd name="T16" fmla="*/ 109 w 135"/>
                  <a:gd name="T17" fmla="*/ 151 h 202"/>
                  <a:gd name="T18" fmla="*/ 106 w 135"/>
                  <a:gd name="T19" fmla="*/ 133 h 202"/>
                  <a:gd name="T20" fmla="*/ 105 w 135"/>
                  <a:gd name="T21" fmla="*/ 126 h 202"/>
                  <a:gd name="T22" fmla="*/ 107 w 135"/>
                  <a:gd name="T23" fmla="*/ 122 h 202"/>
                  <a:gd name="T24" fmla="*/ 118 w 135"/>
                  <a:gd name="T25" fmla="*/ 106 h 202"/>
                  <a:gd name="T26" fmla="*/ 120 w 135"/>
                  <a:gd name="T27" fmla="*/ 92 h 202"/>
                  <a:gd name="T28" fmla="*/ 106 w 135"/>
                  <a:gd name="T29" fmla="*/ 73 h 202"/>
                  <a:gd name="T30" fmla="*/ 96 w 135"/>
                  <a:gd name="T31" fmla="*/ 62 h 202"/>
                  <a:gd name="T32" fmla="*/ 103 w 135"/>
                  <a:gd name="T33" fmla="*/ 56 h 202"/>
                  <a:gd name="T34" fmla="*/ 122 w 135"/>
                  <a:gd name="T35" fmla="*/ 53 h 202"/>
                  <a:gd name="T36" fmla="*/ 115 w 135"/>
                  <a:gd name="T37" fmla="*/ 37 h 202"/>
                  <a:gd name="T38" fmla="*/ 115 w 135"/>
                  <a:gd name="T39" fmla="*/ 21 h 202"/>
                  <a:gd name="T40" fmla="*/ 109 w 135"/>
                  <a:gd name="T41" fmla="*/ 8 h 202"/>
                  <a:gd name="T42" fmla="*/ 105 w 135"/>
                  <a:gd name="T43" fmla="*/ 4 h 202"/>
                  <a:gd name="T44" fmla="*/ 99 w 135"/>
                  <a:gd name="T45" fmla="*/ 0 h 202"/>
                  <a:gd name="T46" fmla="*/ 100 w 135"/>
                  <a:gd name="T47" fmla="*/ 13 h 202"/>
                  <a:gd name="T48" fmla="*/ 106 w 135"/>
                  <a:gd name="T49" fmla="*/ 20 h 202"/>
                  <a:gd name="T50" fmla="*/ 105 w 135"/>
                  <a:gd name="T51" fmla="*/ 30 h 202"/>
                  <a:gd name="T52" fmla="*/ 93 w 135"/>
                  <a:gd name="T53" fmla="*/ 36 h 202"/>
                  <a:gd name="T54" fmla="*/ 87 w 135"/>
                  <a:gd name="T55" fmla="*/ 44 h 202"/>
                  <a:gd name="T56" fmla="*/ 80 w 135"/>
                  <a:gd name="T57" fmla="*/ 63 h 202"/>
                  <a:gd name="T58" fmla="*/ 76 w 135"/>
                  <a:gd name="T59" fmla="*/ 73 h 202"/>
                  <a:gd name="T60" fmla="*/ 70 w 135"/>
                  <a:gd name="T61" fmla="*/ 80 h 202"/>
                  <a:gd name="T62" fmla="*/ 61 w 135"/>
                  <a:gd name="T63" fmla="*/ 96 h 202"/>
                  <a:gd name="T64" fmla="*/ 57 w 135"/>
                  <a:gd name="T65" fmla="*/ 106 h 202"/>
                  <a:gd name="T66" fmla="*/ 57 w 135"/>
                  <a:gd name="T67" fmla="*/ 108 h 202"/>
                  <a:gd name="T68" fmla="*/ 53 w 135"/>
                  <a:gd name="T69" fmla="*/ 113 h 202"/>
                  <a:gd name="T70" fmla="*/ 46 w 135"/>
                  <a:gd name="T71" fmla="*/ 119 h 202"/>
                  <a:gd name="T72" fmla="*/ 39 w 135"/>
                  <a:gd name="T73" fmla="*/ 109 h 202"/>
                  <a:gd name="T74" fmla="*/ 34 w 135"/>
                  <a:gd name="T75" fmla="*/ 110 h 202"/>
                  <a:gd name="T76" fmla="*/ 28 w 135"/>
                  <a:gd name="T77" fmla="*/ 110 h 202"/>
                  <a:gd name="T78" fmla="*/ 10 w 135"/>
                  <a:gd name="T79" fmla="*/ 126 h 202"/>
                  <a:gd name="T80" fmla="*/ 0 w 135"/>
                  <a:gd name="T81" fmla="*/ 149 h 202"/>
                  <a:gd name="T82" fmla="*/ 1 w 135"/>
                  <a:gd name="T83" fmla="*/ 151 h 202"/>
                  <a:gd name="T84" fmla="*/ 7 w 135"/>
                  <a:gd name="T85" fmla="*/ 154 h 202"/>
                  <a:gd name="T86" fmla="*/ 10 w 135"/>
                  <a:gd name="T87" fmla="*/ 161 h 202"/>
                  <a:gd name="T88" fmla="*/ 16 w 135"/>
                  <a:gd name="T89" fmla="*/ 164 h 202"/>
                  <a:gd name="T90" fmla="*/ 18 w 135"/>
                  <a:gd name="T91" fmla="*/ 162 h 202"/>
                  <a:gd name="T92" fmla="*/ 20 w 135"/>
                  <a:gd name="T93" fmla="*/ 164 h 202"/>
                  <a:gd name="T94" fmla="*/ 18 w 135"/>
                  <a:gd name="T95" fmla="*/ 165 h 202"/>
                  <a:gd name="T96" fmla="*/ 18 w 135"/>
                  <a:gd name="T97" fmla="*/ 168 h 202"/>
                  <a:gd name="T98" fmla="*/ 21 w 135"/>
                  <a:gd name="T99" fmla="*/ 174 h 202"/>
                  <a:gd name="T100" fmla="*/ 21 w 135"/>
                  <a:gd name="T101" fmla="*/ 19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5" h="202">
                    <a:moveTo>
                      <a:pt x="26" y="194"/>
                    </a:moveTo>
                    <a:lnTo>
                      <a:pt x="49" y="194"/>
                    </a:lnTo>
                    <a:lnTo>
                      <a:pt x="49" y="194"/>
                    </a:lnTo>
                    <a:lnTo>
                      <a:pt x="49" y="192"/>
                    </a:lnTo>
                    <a:lnTo>
                      <a:pt x="49" y="192"/>
                    </a:lnTo>
                    <a:lnTo>
                      <a:pt x="67" y="192"/>
                    </a:lnTo>
                    <a:lnTo>
                      <a:pt x="79" y="192"/>
                    </a:lnTo>
                    <a:lnTo>
                      <a:pt x="83" y="195"/>
                    </a:lnTo>
                    <a:lnTo>
                      <a:pt x="105" y="195"/>
                    </a:lnTo>
                    <a:lnTo>
                      <a:pt x="107" y="195"/>
                    </a:lnTo>
                    <a:lnTo>
                      <a:pt x="109" y="195"/>
                    </a:lnTo>
                    <a:lnTo>
                      <a:pt x="112" y="197"/>
                    </a:lnTo>
                    <a:lnTo>
                      <a:pt x="122" y="198"/>
                    </a:lnTo>
                    <a:lnTo>
                      <a:pt x="125" y="199"/>
                    </a:lnTo>
                    <a:lnTo>
                      <a:pt x="129" y="201"/>
                    </a:lnTo>
                    <a:lnTo>
                      <a:pt x="132" y="202"/>
                    </a:lnTo>
                    <a:lnTo>
                      <a:pt x="133" y="202"/>
                    </a:lnTo>
                    <a:lnTo>
                      <a:pt x="133" y="202"/>
                    </a:lnTo>
                    <a:lnTo>
                      <a:pt x="133" y="201"/>
                    </a:lnTo>
                    <a:lnTo>
                      <a:pt x="132" y="199"/>
                    </a:lnTo>
                    <a:lnTo>
                      <a:pt x="132" y="197"/>
                    </a:lnTo>
                    <a:lnTo>
                      <a:pt x="133" y="195"/>
                    </a:lnTo>
                    <a:lnTo>
                      <a:pt x="133" y="194"/>
                    </a:lnTo>
                    <a:lnTo>
                      <a:pt x="135" y="192"/>
                    </a:lnTo>
                    <a:lnTo>
                      <a:pt x="133" y="188"/>
                    </a:lnTo>
                    <a:lnTo>
                      <a:pt x="132" y="185"/>
                    </a:lnTo>
                    <a:lnTo>
                      <a:pt x="132" y="181"/>
                    </a:lnTo>
                    <a:lnTo>
                      <a:pt x="129" y="178"/>
                    </a:lnTo>
                    <a:lnTo>
                      <a:pt x="120" y="171"/>
                    </a:lnTo>
                    <a:lnTo>
                      <a:pt x="116" y="166"/>
                    </a:lnTo>
                    <a:lnTo>
                      <a:pt x="113" y="162"/>
                    </a:lnTo>
                    <a:lnTo>
                      <a:pt x="116" y="161"/>
                    </a:lnTo>
                    <a:lnTo>
                      <a:pt x="115" y="159"/>
                    </a:lnTo>
                    <a:lnTo>
                      <a:pt x="115" y="156"/>
                    </a:lnTo>
                    <a:lnTo>
                      <a:pt x="113" y="155"/>
                    </a:lnTo>
                    <a:lnTo>
                      <a:pt x="109" y="151"/>
                    </a:lnTo>
                    <a:lnTo>
                      <a:pt x="109" y="149"/>
                    </a:lnTo>
                    <a:lnTo>
                      <a:pt x="106" y="138"/>
                    </a:lnTo>
                    <a:lnTo>
                      <a:pt x="106" y="135"/>
                    </a:lnTo>
                    <a:lnTo>
                      <a:pt x="106" y="133"/>
                    </a:lnTo>
                    <a:lnTo>
                      <a:pt x="106" y="131"/>
                    </a:lnTo>
                    <a:lnTo>
                      <a:pt x="106" y="128"/>
                    </a:lnTo>
                    <a:lnTo>
                      <a:pt x="105" y="128"/>
                    </a:lnTo>
                    <a:lnTo>
                      <a:pt x="105" y="126"/>
                    </a:lnTo>
                    <a:lnTo>
                      <a:pt x="103" y="126"/>
                    </a:lnTo>
                    <a:lnTo>
                      <a:pt x="105" y="123"/>
                    </a:lnTo>
                    <a:lnTo>
                      <a:pt x="106" y="123"/>
                    </a:lnTo>
                    <a:lnTo>
                      <a:pt x="107" y="122"/>
                    </a:lnTo>
                    <a:lnTo>
                      <a:pt x="109" y="122"/>
                    </a:lnTo>
                    <a:lnTo>
                      <a:pt x="109" y="122"/>
                    </a:lnTo>
                    <a:lnTo>
                      <a:pt x="110" y="119"/>
                    </a:lnTo>
                    <a:lnTo>
                      <a:pt x="118" y="106"/>
                    </a:lnTo>
                    <a:lnTo>
                      <a:pt x="120" y="102"/>
                    </a:lnTo>
                    <a:lnTo>
                      <a:pt x="122" y="100"/>
                    </a:lnTo>
                    <a:lnTo>
                      <a:pt x="122" y="96"/>
                    </a:lnTo>
                    <a:lnTo>
                      <a:pt x="120" y="92"/>
                    </a:lnTo>
                    <a:lnTo>
                      <a:pt x="119" y="86"/>
                    </a:lnTo>
                    <a:lnTo>
                      <a:pt x="116" y="83"/>
                    </a:lnTo>
                    <a:lnTo>
                      <a:pt x="113" y="79"/>
                    </a:lnTo>
                    <a:lnTo>
                      <a:pt x="106" y="73"/>
                    </a:lnTo>
                    <a:lnTo>
                      <a:pt x="102" y="70"/>
                    </a:lnTo>
                    <a:lnTo>
                      <a:pt x="97" y="66"/>
                    </a:lnTo>
                    <a:lnTo>
                      <a:pt x="96" y="64"/>
                    </a:lnTo>
                    <a:lnTo>
                      <a:pt x="96" y="62"/>
                    </a:lnTo>
                    <a:lnTo>
                      <a:pt x="96" y="60"/>
                    </a:lnTo>
                    <a:lnTo>
                      <a:pt x="97" y="57"/>
                    </a:lnTo>
                    <a:lnTo>
                      <a:pt x="100" y="57"/>
                    </a:lnTo>
                    <a:lnTo>
                      <a:pt x="103" y="56"/>
                    </a:lnTo>
                    <a:lnTo>
                      <a:pt x="120" y="57"/>
                    </a:lnTo>
                    <a:lnTo>
                      <a:pt x="122" y="56"/>
                    </a:lnTo>
                    <a:lnTo>
                      <a:pt x="125" y="56"/>
                    </a:lnTo>
                    <a:lnTo>
                      <a:pt x="122" y="53"/>
                    </a:lnTo>
                    <a:lnTo>
                      <a:pt x="119" y="50"/>
                    </a:lnTo>
                    <a:lnTo>
                      <a:pt x="116" y="46"/>
                    </a:lnTo>
                    <a:lnTo>
                      <a:pt x="115" y="41"/>
                    </a:lnTo>
                    <a:lnTo>
                      <a:pt x="115" y="37"/>
                    </a:lnTo>
                    <a:lnTo>
                      <a:pt x="115" y="28"/>
                    </a:lnTo>
                    <a:lnTo>
                      <a:pt x="115" y="24"/>
                    </a:lnTo>
                    <a:lnTo>
                      <a:pt x="115" y="23"/>
                    </a:lnTo>
                    <a:lnTo>
                      <a:pt x="115" y="21"/>
                    </a:lnTo>
                    <a:lnTo>
                      <a:pt x="113" y="18"/>
                    </a:lnTo>
                    <a:lnTo>
                      <a:pt x="110" y="11"/>
                    </a:lnTo>
                    <a:lnTo>
                      <a:pt x="110" y="10"/>
                    </a:lnTo>
                    <a:lnTo>
                      <a:pt x="109" y="8"/>
                    </a:lnTo>
                    <a:lnTo>
                      <a:pt x="107" y="7"/>
                    </a:lnTo>
                    <a:lnTo>
                      <a:pt x="106" y="7"/>
                    </a:lnTo>
                    <a:lnTo>
                      <a:pt x="106" y="5"/>
                    </a:lnTo>
                    <a:lnTo>
                      <a:pt x="105" y="4"/>
                    </a:lnTo>
                    <a:lnTo>
                      <a:pt x="105" y="3"/>
                    </a:lnTo>
                    <a:lnTo>
                      <a:pt x="103" y="1"/>
                    </a:lnTo>
                    <a:lnTo>
                      <a:pt x="102" y="1"/>
                    </a:lnTo>
                    <a:lnTo>
                      <a:pt x="99" y="0"/>
                    </a:lnTo>
                    <a:lnTo>
                      <a:pt x="97" y="0"/>
                    </a:lnTo>
                    <a:lnTo>
                      <a:pt x="97" y="8"/>
                    </a:lnTo>
                    <a:lnTo>
                      <a:pt x="99" y="11"/>
                    </a:lnTo>
                    <a:lnTo>
                      <a:pt x="100" y="13"/>
                    </a:lnTo>
                    <a:lnTo>
                      <a:pt x="105" y="14"/>
                    </a:lnTo>
                    <a:lnTo>
                      <a:pt x="106" y="16"/>
                    </a:lnTo>
                    <a:lnTo>
                      <a:pt x="106" y="18"/>
                    </a:lnTo>
                    <a:lnTo>
                      <a:pt x="106" y="20"/>
                    </a:lnTo>
                    <a:lnTo>
                      <a:pt x="106" y="24"/>
                    </a:lnTo>
                    <a:lnTo>
                      <a:pt x="106" y="27"/>
                    </a:lnTo>
                    <a:lnTo>
                      <a:pt x="105" y="28"/>
                    </a:lnTo>
                    <a:lnTo>
                      <a:pt x="105" y="30"/>
                    </a:lnTo>
                    <a:lnTo>
                      <a:pt x="102" y="31"/>
                    </a:lnTo>
                    <a:lnTo>
                      <a:pt x="100" y="33"/>
                    </a:lnTo>
                    <a:lnTo>
                      <a:pt x="96" y="34"/>
                    </a:lnTo>
                    <a:lnTo>
                      <a:pt x="93" y="36"/>
                    </a:lnTo>
                    <a:lnTo>
                      <a:pt x="92" y="37"/>
                    </a:lnTo>
                    <a:lnTo>
                      <a:pt x="90" y="40"/>
                    </a:lnTo>
                    <a:lnTo>
                      <a:pt x="89" y="43"/>
                    </a:lnTo>
                    <a:lnTo>
                      <a:pt x="87" y="44"/>
                    </a:lnTo>
                    <a:lnTo>
                      <a:pt x="83" y="56"/>
                    </a:lnTo>
                    <a:lnTo>
                      <a:pt x="83" y="60"/>
                    </a:lnTo>
                    <a:lnTo>
                      <a:pt x="82" y="62"/>
                    </a:lnTo>
                    <a:lnTo>
                      <a:pt x="80" y="63"/>
                    </a:lnTo>
                    <a:lnTo>
                      <a:pt x="77" y="66"/>
                    </a:lnTo>
                    <a:lnTo>
                      <a:pt x="76" y="67"/>
                    </a:lnTo>
                    <a:lnTo>
                      <a:pt x="76" y="70"/>
                    </a:lnTo>
                    <a:lnTo>
                      <a:pt x="76" y="73"/>
                    </a:lnTo>
                    <a:lnTo>
                      <a:pt x="74" y="76"/>
                    </a:lnTo>
                    <a:lnTo>
                      <a:pt x="73" y="77"/>
                    </a:lnTo>
                    <a:lnTo>
                      <a:pt x="72" y="79"/>
                    </a:lnTo>
                    <a:lnTo>
                      <a:pt x="70" y="80"/>
                    </a:lnTo>
                    <a:lnTo>
                      <a:pt x="67" y="82"/>
                    </a:lnTo>
                    <a:lnTo>
                      <a:pt x="66" y="83"/>
                    </a:lnTo>
                    <a:lnTo>
                      <a:pt x="66" y="85"/>
                    </a:lnTo>
                    <a:lnTo>
                      <a:pt x="61" y="96"/>
                    </a:lnTo>
                    <a:lnTo>
                      <a:pt x="61" y="97"/>
                    </a:lnTo>
                    <a:lnTo>
                      <a:pt x="57" y="103"/>
                    </a:lnTo>
                    <a:lnTo>
                      <a:pt x="57" y="105"/>
                    </a:lnTo>
                    <a:lnTo>
                      <a:pt x="57" y="106"/>
                    </a:lnTo>
                    <a:lnTo>
                      <a:pt x="59" y="106"/>
                    </a:lnTo>
                    <a:lnTo>
                      <a:pt x="59" y="108"/>
                    </a:lnTo>
                    <a:lnTo>
                      <a:pt x="57" y="108"/>
                    </a:lnTo>
                    <a:lnTo>
                      <a:pt x="57" y="108"/>
                    </a:lnTo>
                    <a:lnTo>
                      <a:pt x="56" y="109"/>
                    </a:lnTo>
                    <a:lnTo>
                      <a:pt x="54" y="110"/>
                    </a:lnTo>
                    <a:lnTo>
                      <a:pt x="53" y="112"/>
                    </a:lnTo>
                    <a:lnTo>
                      <a:pt x="53" y="113"/>
                    </a:lnTo>
                    <a:lnTo>
                      <a:pt x="51" y="115"/>
                    </a:lnTo>
                    <a:lnTo>
                      <a:pt x="51" y="116"/>
                    </a:lnTo>
                    <a:lnTo>
                      <a:pt x="50" y="118"/>
                    </a:lnTo>
                    <a:lnTo>
                      <a:pt x="46" y="119"/>
                    </a:lnTo>
                    <a:lnTo>
                      <a:pt x="44" y="118"/>
                    </a:lnTo>
                    <a:lnTo>
                      <a:pt x="43" y="113"/>
                    </a:lnTo>
                    <a:lnTo>
                      <a:pt x="40" y="110"/>
                    </a:lnTo>
                    <a:lnTo>
                      <a:pt x="39" y="109"/>
                    </a:lnTo>
                    <a:lnTo>
                      <a:pt x="37" y="108"/>
                    </a:lnTo>
                    <a:lnTo>
                      <a:pt x="36" y="108"/>
                    </a:lnTo>
                    <a:lnTo>
                      <a:pt x="36" y="109"/>
                    </a:lnTo>
                    <a:lnTo>
                      <a:pt x="34" y="110"/>
                    </a:lnTo>
                    <a:lnTo>
                      <a:pt x="34" y="110"/>
                    </a:lnTo>
                    <a:lnTo>
                      <a:pt x="31" y="112"/>
                    </a:lnTo>
                    <a:lnTo>
                      <a:pt x="30" y="112"/>
                    </a:lnTo>
                    <a:lnTo>
                      <a:pt x="28" y="110"/>
                    </a:lnTo>
                    <a:lnTo>
                      <a:pt x="28" y="109"/>
                    </a:lnTo>
                    <a:lnTo>
                      <a:pt x="20" y="116"/>
                    </a:lnTo>
                    <a:lnTo>
                      <a:pt x="11" y="123"/>
                    </a:lnTo>
                    <a:lnTo>
                      <a:pt x="10" y="126"/>
                    </a:lnTo>
                    <a:lnTo>
                      <a:pt x="7" y="129"/>
                    </a:lnTo>
                    <a:lnTo>
                      <a:pt x="7" y="133"/>
                    </a:lnTo>
                    <a:lnTo>
                      <a:pt x="4" y="139"/>
                    </a:lnTo>
                    <a:lnTo>
                      <a:pt x="0" y="149"/>
                    </a:lnTo>
                    <a:lnTo>
                      <a:pt x="0" y="152"/>
                    </a:lnTo>
                    <a:lnTo>
                      <a:pt x="1" y="152"/>
                    </a:lnTo>
                    <a:lnTo>
                      <a:pt x="3" y="152"/>
                    </a:lnTo>
                    <a:lnTo>
                      <a:pt x="1" y="151"/>
                    </a:lnTo>
                    <a:lnTo>
                      <a:pt x="3" y="151"/>
                    </a:lnTo>
                    <a:lnTo>
                      <a:pt x="5" y="152"/>
                    </a:lnTo>
                    <a:lnTo>
                      <a:pt x="5" y="152"/>
                    </a:lnTo>
                    <a:lnTo>
                      <a:pt x="7" y="154"/>
                    </a:lnTo>
                    <a:lnTo>
                      <a:pt x="7" y="158"/>
                    </a:lnTo>
                    <a:lnTo>
                      <a:pt x="7" y="159"/>
                    </a:lnTo>
                    <a:lnTo>
                      <a:pt x="8" y="161"/>
                    </a:lnTo>
                    <a:lnTo>
                      <a:pt x="10" y="161"/>
                    </a:lnTo>
                    <a:lnTo>
                      <a:pt x="11" y="162"/>
                    </a:lnTo>
                    <a:lnTo>
                      <a:pt x="13" y="164"/>
                    </a:lnTo>
                    <a:lnTo>
                      <a:pt x="14" y="164"/>
                    </a:lnTo>
                    <a:lnTo>
                      <a:pt x="16" y="164"/>
                    </a:lnTo>
                    <a:lnTo>
                      <a:pt x="17" y="162"/>
                    </a:lnTo>
                    <a:lnTo>
                      <a:pt x="17" y="161"/>
                    </a:lnTo>
                    <a:lnTo>
                      <a:pt x="17" y="161"/>
                    </a:lnTo>
                    <a:lnTo>
                      <a:pt x="18" y="162"/>
                    </a:lnTo>
                    <a:lnTo>
                      <a:pt x="18" y="162"/>
                    </a:lnTo>
                    <a:lnTo>
                      <a:pt x="20" y="161"/>
                    </a:lnTo>
                    <a:lnTo>
                      <a:pt x="20" y="162"/>
                    </a:lnTo>
                    <a:lnTo>
                      <a:pt x="20" y="164"/>
                    </a:lnTo>
                    <a:lnTo>
                      <a:pt x="20" y="164"/>
                    </a:lnTo>
                    <a:lnTo>
                      <a:pt x="21" y="165"/>
                    </a:lnTo>
                    <a:lnTo>
                      <a:pt x="20" y="165"/>
                    </a:lnTo>
                    <a:lnTo>
                      <a:pt x="18" y="165"/>
                    </a:lnTo>
                    <a:lnTo>
                      <a:pt x="18" y="165"/>
                    </a:lnTo>
                    <a:lnTo>
                      <a:pt x="17" y="165"/>
                    </a:lnTo>
                    <a:lnTo>
                      <a:pt x="18" y="166"/>
                    </a:lnTo>
                    <a:lnTo>
                      <a:pt x="18" y="168"/>
                    </a:lnTo>
                    <a:lnTo>
                      <a:pt x="20" y="169"/>
                    </a:lnTo>
                    <a:lnTo>
                      <a:pt x="21" y="169"/>
                    </a:lnTo>
                    <a:lnTo>
                      <a:pt x="20" y="171"/>
                    </a:lnTo>
                    <a:lnTo>
                      <a:pt x="21" y="174"/>
                    </a:lnTo>
                    <a:lnTo>
                      <a:pt x="23" y="177"/>
                    </a:lnTo>
                    <a:lnTo>
                      <a:pt x="24" y="179"/>
                    </a:lnTo>
                    <a:lnTo>
                      <a:pt x="24" y="182"/>
                    </a:lnTo>
                    <a:lnTo>
                      <a:pt x="21" y="192"/>
                    </a:lnTo>
                    <a:lnTo>
                      <a:pt x="23" y="194"/>
                    </a:lnTo>
                    <a:lnTo>
                      <a:pt x="26" y="19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06" name="Freeform 193">
                <a:extLst>
                  <a:ext uri="{FF2B5EF4-FFF2-40B4-BE49-F238E27FC236}">
                    <a16:creationId xmlns:a16="http://schemas.microsoft.com/office/drawing/2014/main" id="{66095A34-89DA-4746-15AB-3879474F8BF7}"/>
                  </a:ext>
                </a:extLst>
              </p:cNvPr>
              <p:cNvSpPr>
                <a:spLocks noEditPoints="1"/>
              </p:cNvSpPr>
              <p:nvPr/>
            </p:nvSpPr>
            <p:spPr bwMode="auto">
              <a:xfrm>
                <a:off x="3396" y="2528"/>
                <a:ext cx="108" cy="113"/>
              </a:xfrm>
              <a:custGeom>
                <a:avLst/>
                <a:gdLst>
                  <a:gd name="T0" fmla="*/ 95 w 108"/>
                  <a:gd name="T1" fmla="*/ 99 h 113"/>
                  <a:gd name="T2" fmla="*/ 98 w 108"/>
                  <a:gd name="T3" fmla="*/ 99 h 113"/>
                  <a:gd name="T4" fmla="*/ 104 w 108"/>
                  <a:gd name="T5" fmla="*/ 95 h 113"/>
                  <a:gd name="T6" fmla="*/ 101 w 108"/>
                  <a:gd name="T7" fmla="*/ 90 h 113"/>
                  <a:gd name="T8" fmla="*/ 95 w 108"/>
                  <a:gd name="T9" fmla="*/ 79 h 113"/>
                  <a:gd name="T10" fmla="*/ 96 w 108"/>
                  <a:gd name="T11" fmla="*/ 66 h 113"/>
                  <a:gd name="T12" fmla="*/ 101 w 108"/>
                  <a:gd name="T13" fmla="*/ 54 h 113"/>
                  <a:gd name="T14" fmla="*/ 105 w 108"/>
                  <a:gd name="T15" fmla="*/ 47 h 113"/>
                  <a:gd name="T16" fmla="*/ 106 w 108"/>
                  <a:gd name="T17" fmla="*/ 44 h 113"/>
                  <a:gd name="T18" fmla="*/ 108 w 108"/>
                  <a:gd name="T19" fmla="*/ 42 h 113"/>
                  <a:gd name="T20" fmla="*/ 104 w 108"/>
                  <a:gd name="T21" fmla="*/ 31 h 113"/>
                  <a:gd name="T22" fmla="*/ 104 w 108"/>
                  <a:gd name="T23" fmla="*/ 21 h 113"/>
                  <a:gd name="T24" fmla="*/ 98 w 108"/>
                  <a:gd name="T25" fmla="*/ 17 h 113"/>
                  <a:gd name="T26" fmla="*/ 88 w 108"/>
                  <a:gd name="T27" fmla="*/ 14 h 113"/>
                  <a:gd name="T28" fmla="*/ 78 w 108"/>
                  <a:gd name="T29" fmla="*/ 17 h 113"/>
                  <a:gd name="T30" fmla="*/ 73 w 108"/>
                  <a:gd name="T31" fmla="*/ 19 h 113"/>
                  <a:gd name="T32" fmla="*/ 68 w 108"/>
                  <a:gd name="T33" fmla="*/ 17 h 113"/>
                  <a:gd name="T34" fmla="*/ 63 w 108"/>
                  <a:gd name="T35" fmla="*/ 13 h 113"/>
                  <a:gd name="T36" fmla="*/ 62 w 108"/>
                  <a:gd name="T37" fmla="*/ 8 h 113"/>
                  <a:gd name="T38" fmla="*/ 56 w 108"/>
                  <a:gd name="T39" fmla="*/ 7 h 113"/>
                  <a:gd name="T40" fmla="*/ 50 w 108"/>
                  <a:gd name="T41" fmla="*/ 6 h 113"/>
                  <a:gd name="T42" fmla="*/ 43 w 108"/>
                  <a:gd name="T43" fmla="*/ 8 h 113"/>
                  <a:gd name="T44" fmla="*/ 42 w 108"/>
                  <a:gd name="T45" fmla="*/ 7 h 113"/>
                  <a:gd name="T46" fmla="*/ 42 w 108"/>
                  <a:gd name="T47" fmla="*/ 1 h 113"/>
                  <a:gd name="T48" fmla="*/ 39 w 108"/>
                  <a:gd name="T49" fmla="*/ 1 h 113"/>
                  <a:gd name="T50" fmla="*/ 39 w 108"/>
                  <a:gd name="T51" fmla="*/ 3 h 113"/>
                  <a:gd name="T52" fmla="*/ 35 w 108"/>
                  <a:gd name="T53" fmla="*/ 1 h 113"/>
                  <a:gd name="T54" fmla="*/ 35 w 108"/>
                  <a:gd name="T55" fmla="*/ 4 h 113"/>
                  <a:gd name="T56" fmla="*/ 33 w 108"/>
                  <a:gd name="T57" fmla="*/ 6 h 113"/>
                  <a:gd name="T58" fmla="*/ 29 w 108"/>
                  <a:gd name="T59" fmla="*/ 7 h 113"/>
                  <a:gd name="T60" fmla="*/ 27 w 108"/>
                  <a:gd name="T61" fmla="*/ 10 h 113"/>
                  <a:gd name="T62" fmla="*/ 22 w 108"/>
                  <a:gd name="T63" fmla="*/ 6 h 113"/>
                  <a:gd name="T64" fmla="*/ 13 w 108"/>
                  <a:gd name="T65" fmla="*/ 8 h 113"/>
                  <a:gd name="T66" fmla="*/ 9 w 108"/>
                  <a:gd name="T67" fmla="*/ 13 h 113"/>
                  <a:gd name="T68" fmla="*/ 9 w 108"/>
                  <a:gd name="T69" fmla="*/ 21 h 113"/>
                  <a:gd name="T70" fmla="*/ 13 w 108"/>
                  <a:gd name="T71" fmla="*/ 26 h 113"/>
                  <a:gd name="T72" fmla="*/ 15 w 108"/>
                  <a:gd name="T73" fmla="*/ 29 h 113"/>
                  <a:gd name="T74" fmla="*/ 12 w 108"/>
                  <a:gd name="T75" fmla="*/ 33 h 113"/>
                  <a:gd name="T76" fmla="*/ 17 w 108"/>
                  <a:gd name="T77" fmla="*/ 39 h 113"/>
                  <a:gd name="T78" fmla="*/ 12 w 108"/>
                  <a:gd name="T79" fmla="*/ 40 h 113"/>
                  <a:gd name="T80" fmla="*/ 6 w 108"/>
                  <a:gd name="T81" fmla="*/ 43 h 113"/>
                  <a:gd name="T82" fmla="*/ 9 w 108"/>
                  <a:gd name="T83" fmla="*/ 46 h 113"/>
                  <a:gd name="T84" fmla="*/ 10 w 108"/>
                  <a:gd name="T85" fmla="*/ 47 h 113"/>
                  <a:gd name="T86" fmla="*/ 9 w 108"/>
                  <a:gd name="T87" fmla="*/ 53 h 113"/>
                  <a:gd name="T88" fmla="*/ 6 w 108"/>
                  <a:gd name="T89" fmla="*/ 56 h 113"/>
                  <a:gd name="T90" fmla="*/ 4 w 108"/>
                  <a:gd name="T91" fmla="*/ 62 h 113"/>
                  <a:gd name="T92" fmla="*/ 0 w 108"/>
                  <a:gd name="T93" fmla="*/ 75 h 113"/>
                  <a:gd name="T94" fmla="*/ 6 w 108"/>
                  <a:gd name="T95" fmla="*/ 77 h 113"/>
                  <a:gd name="T96" fmla="*/ 13 w 108"/>
                  <a:gd name="T97" fmla="*/ 80 h 113"/>
                  <a:gd name="T98" fmla="*/ 16 w 108"/>
                  <a:gd name="T99" fmla="*/ 85 h 113"/>
                  <a:gd name="T100" fmla="*/ 20 w 108"/>
                  <a:gd name="T101" fmla="*/ 89 h 113"/>
                  <a:gd name="T102" fmla="*/ 19 w 108"/>
                  <a:gd name="T103" fmla="*/ 102 h 113"/>
                  <a:gd name="T104" fmla="*/ 19 w 108"/>
                  <a:gd name="T105" fmla="*/ 113 h 113"/>
                  <a:gd name="T106" fmla="*/ 50 w 108"/>
                  <a:gd name="T107" fmla="*/ 100 h 113"/>
                  <a:gd name="T108" fmla="*/ 62 w 108"/>
                  <a:gd name="T109" fmla="*/ 99 h 113"/>
                  <a:gd name="T110" fmla="*/ 59 w 108"/>
                  <a:gd name="T111" fmla="*/ 98 h 113"/>
                  <a:gd name="T112" fmla="*/ 66 w 108"/>
                  <a:gd name="T113" fmla="*/ 99 h 113"/>
                  <a:gd name="T114" fmla="*/ 78 w 108"/>
                  <a:gd name="T115" fmla="*/ 96 h 113"/>
                  <a:gd name="T116" fmla="*/ 73 w 108"/>
                  <a:gd name="T117" fmla="*/ 96 h 113"/>
                  <a:gd name="T118" fmla="*/ 91 w 108"/>
                  <a:gd name="T119" fmla="*/ 99 h 113"/>
                  <a:gd name="T120" fmla="*/ 95 w 108"/>
                  <a:gd name="T121" fmla="*/ 96 h 113"/>
                  <a:gd name="T122" fmla="*/ 96 w 108"/>
                  <a:gd name="T123" fmla="*/ 96 h 113"/>
                  <a:gd name="T124" fmla="*/ 98 w 108"/>
                  <a:gd name="T12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 h="113">
                    <a:moveTo>
                      <a:pt x="98" y="99"/>
                    </a:moveTo>
                    <a:lnTo>
                      <a:pt x="96" y="100"/>
                    </a:lnTo>
                    <a:lnTo>
                      <a:pt x="95" y="99"/>
                    </a:lnTo>
                    <a:lnTo>
                      <a:pt x="95" y="99"/>
                    </a:lnTo>
                    <a:lnTo>
                      <a:pt x="96" y="99"/>
                    </a:lnTo>
                    <a:lnTo>
                      <a:pt x="98" y="99"/>
                    </a:lnTo>
                    <a:close/>
                    <a:moveTo>
                      <a:pt x="102" y="98"/>
                    </a:moveTo>
                    <a:lnTo>
                      <a:pt x="102" y="96"/>
                    </a:lnTo>
                    <a:lnTo>
                      <a:pt x="104" y="95"/>
                    </a:lnTo>
                    <a:lnTo>
                      <a:pt x="102" y="92"/>
                    </a:lnTo>
                    <a:lnTo>
                      <a:pt x="102" y="90"/>
                    </a:lnTo>
                    <a:lnTo>
                      <a:pt x="101" y="90"/>
                    </a:lnTo>
                    <a:lnTo>
                      <a:pt x="99" y="88"/>
                    </a:lnTo>
                    <a:lnTo>
                      <a:pt x="96" y="83"/>
                    </a:lnTo>
                    <a:lnTo>
                      <a:pt x="95" y="79"/>
                    </a:lnTo>
                    <a:lnTo>
                      <a:pt x="95" y="73"/>
                    </a:lnTo>
                    <a:lnTo>
                      <a:pt x="95" y="69"/>
                    </a:lnTo>
                    <a:lnTo>
                      <a:pt x="96" y="66"/>
                    </a:lnTo>
                    <a:lnTo>
                      <a:pt x="98" y="63"/>
                    </a:lnTo>
                    <a:lnTo>
                      <a:pt x="99" y="60"/>
                    </a:lnTo>
                    <a:lnTo>
                      <a:pt x="101" y="54"/>
                    </a:lnTo>
                    <a:lnTo>
                      <a:pt x="101" y="53"/>
                    </a:lnTo>
                    <a:lnTo>
                      <a:pt x="102" y="50"/>
                    </a:lnTo>
                    <a:lnTo>
                      <a:pt x="105" y="47"/>
                    </a:lnTo>
                    <a:lnTo>
                      <a:pt x="106" y="46"/>
                    </a:lnTo>
                    <a:lnTo>
                      <a:pt x="106" y="44"/>
                    </a:lnTo>
                    <a:lnTo>
                      <a:pt x="106" y="44"/>
                    </a:lnTo>
                    <a:lnTo>
                      <a:pt x="106" y="44"/>
                    </a:lnTo>
                    <a:lnTo>
                      <a:pt x="108" y="43"/>
                    </a:lnTo>
                    <a:lnTo>
                      <a:pt x="108" y="42"/>
                    </a:lnTo>
                    <a:lnTo>
                      <a:pt x="106" y="37"/>
                    </a:lnTo>
                    <a:lnTo>
                      <a:pt x="105" y="34"/>
                    </a:lnTo>
                    <a:lnTo>
                      <a:pt x="104" y="31"/>
                    </a:lnTo>
                    <a:lnTo>
                      <a:pt x="104" y="29"/>
                    </a:lnTo>
                    <a:lnTo>
                      <a:pt x="104" y="27"/>
                    </a:lnTo>
                    <a:lnTo>
                      <a:pt x="104" y="21"/>
                    </a:lnTo>
                    <a:lnTo>
                      <a:pt x="102" y="23"/>
                    </a:lnTo>
                    <a:lnTo>
                      <a:pt x="99" y="20"/>
                    </a:lnTo>
                    <a:lnTo>
                      <a:pt x="98" y="17"/>
                    </a:lnTo>
                    <a:lnTo>
                      <a:pt x="96" y="16"/>
                    </a:lnTo>
                    <a:lnTo>
                      <a:pt x="92" y="14"/>
                    </a:lnTo>
                    <a:lnTo>
                      <a:pt x="88" y="14"/>
                    </a:lnTo>
                    <a:lnTo>
                      <a:pt x="85" y="14"/>
                    </a:lnTo>
                    <a:lnTo>
                      <a:pt x="81" y="16"/>
                    </a:lnTo>
                    <a:lnTo>
                      <a:pt x="78" y="17"/>
                    </a:lnTo>
                    <a:lnTo>
                      <a:pt x="76" y="17"/>
                    </a:lnTo>
                    <a:lnTo>
                      <a:pt x="75" y="19"/>
                    </a:lnTo>
                    <a:lnTo>
                      <a:pt x="73" y="19"/>
                    </a:lnTo>
                    <a:lnTo>
                      <a:pt x="72" y="19"/>
                    </a:lnTo>
                    <a:lnTo>
                      <a:pt x="71" y="17"/>
                    </a:lnTo>
                    <a:lnTo>
                      <a:pt x="68" y="17"/>
                    </a:lnTo>
                    <a:lnTo>
                      <a:pt x="65" y="14"/>
                    </a:lnTo>
                    <a:lnTo>
                      <a:pt x="65" y="14"/>
                    </a:lnTo>
                    <a:lnTo>
                      <a:pt x="63" y="13"/>
                    </a:lnTo>
                    <a:lnTo>
                      <a:pt x="63" y="11"/>
                    </a:lnTo>
                    <a:lnTo>
                      <a:pt x="62" y="10"/>
                    </a:lnTo>
                    <a:lnTo>
                      <a:pt x="62" y="8"/>
                    </a:lnTo>
                    <a:lnTo>
                      <a:pt x="60" y="7"/>
                    </a:lnTo>
                    <a:lnTo>
                      <a:pt x="58" y="7"/>
                    </a:lnTo>
                    <a:lnTo>
                      <a:pt x="56" y="7"/>
                    </a:lnTo>
                    <a:lnTo>
                      <a:pt x="55" y="6"/>
                    </a:lnTo>
                    <a:lnTo>
                      <a:pt x="52" y="6"/>
                    </a:lnTo>
                    <a:lnTo>
                      <a:pt x="50" y="6"/>
                    </a:lnTo>
                    <a:lnTo>
                      <a:pt x="45" y="8"/>
                    </a:lnTo>
                    <a:lnTo>
                      <a:pt x="45" y="10"/>
                    </a:lnTo>
                    <a:lnTo>
                      <a:pt x="43" y="8"/>
                    </a:lnTo>
                    <a:lnTo>
                      <a:pt x="42" y="8"/>
                    </a:lnTo>
                    <a:lnTo>
                      <a:pt x="42" y="8"/>
                    </a:lnTo>
                    <a:lnTo>
                      <a:pt x="42" y="7"/>
                    </a:lnTo>
                    <a:lnTo>
                      <a:pt x="42" y="7"/>
                    </a:lnTo>
                    <a:lnTo>
                      <a:pt x="42" y="4"/>
                    </a:lnTo>
                    <a:lnTo>
                      <a:pt x="42" y="1"/>
                    </a:lnTo>
                    <a:lnTo>
                      <a:pt x="42" y="0"/>
                    </a:lnTo>
                    <a:lnTo>
                      <a:pt x="39" y="0"/>
                    </a:lnTo>
                    <a:lnTo>
                      <a:pt x="39" y="1"/>
                    </a:lnTo>
                    <a:lnTo>
                      <a:pt x="39" y="1"/>
                    </a:lnTo>
                    <a:lnTo>
                      <a:pt x="39" y="3"/>
                    </a:lnTo>
                    <a:lnTo>
                      <a:pt x="39" y="3"/>
                    </a:lnTo>
                    <a:lnTo>
                      <a:pt x="37" y="3"/>
                    </a:lnTo>
                    <a:lnTo>
                      <a:pt x="35" y="1"/>
                    </a:lnTo>
                    <a:lnTo>
                      <a:pt x="35" y="1"/>
                    </a:lnTo>
                    <a:lnTo>
                      <a:pt x="33" y="3"/>
                    </a:lnTo>
                    <a:lnTo>
                      <a:pt x="35" y="4"/>
                    </a:lnTo>
                    <a:lnTo>
                      <a:pt x="35" y="4"/>
                    </a:lnTo>
                    <a:lnTo>
                      <a:pt x="35" y="6"/>
                    </a:lnTo>
                    <a:lnTo>
                      <a:pt x="33" y="6"/>
                    </a:lnTo>
                    <a:lnTo>
                      <a:pt x="33" y="6"/>
                    </a:lnTo>
                    <a:lnTo>
                      <a:pt x="32" y="6"/>
                    </a:lnTo>
                    <a:lnTo>
                      <a:pt x="30" y="7"/>
                    </a:lnTo>
                    <a:lnTo>
                      <a:pt x="29" y="7"/>
                    </a:lnTo>
                    <a:lnTo>
                      <a:pt x="29" y="8"/>
                    </a:lnTo>
                    <a:lnTo>
                      <a:pt x="29" y="10"/>
                    </a:lnTo>
                    <a:lnTo>
                      <a:pt x="27" y="10"/>
                    </a:lnTo>
                    <a:lnTo>
                      <a:pt x="25" y="8"/>
                    </a:lnTo>
                    <a:lnTo>
                      <a:pt x="23" y="7"/>
                    </a:lnTo>
                    <a:lnTo>
                      <a:pt x="22" y="6"/>
                    </a:lnTo>
                    <a:lnTo>
                      <a:pt x="19" y="6"/>
                    </a:lnTo>
                    <a:lnTo>
                      <a:pt x="17" y="6"/>
                    </a:lnTo>
                    <a:lnTo>
                      <a:pt x="13" y="8"/>
                    </a:lnTo>
                    <a:lnTo>
                      <a:pt x="12" y="10"/>
                    </a:lnTo>
                    <a:lnTo>
                      <a:pt x="9" y="11"/>
                    </a:lnTo>
                    <a:lnTo>
                      <a:pt x="9" y="13"/>
                    </a:lnTo>
                    <a:lnTo>
                      <a:pt x="9" y="14"/>
                    </a:lnTo>
                    <a:lnTo>
                      <a:pt x="9" y="20"/>
                    </a:lnTo>
                    <a:lnTo>
                      <a:pt x="9" y="21"/>
                    </a:lnTo>
                    <a:lnTo>
                      <a:pt x="10" y="23"/>
                    </a:lnTo>
                    <a:lnTo>
                      <a:pt x="13" y="23"/>
                    </a:lnTo>
                    <a:lnTo>
                      <a:pt x="13" y="26"/>
                    </a:lnTo>
                    <a:lnTo>
                      <a:pt x="13" y="27"/>
                    </a:lnTo>
                    <a:lnTo>
                      <a:pt x="13" y="27"/>
                    </a:lnTo>
                    <a:lnTo>
                      <a:pt x="15" y="29"/>
                    </a:lnTo>
                    <a:lnTo>
                      <a:pt x="13" y="30"/>
                    </a:lnTo>
                    <a:lnTo>
                      <a:pt x="12" y="31"/>
                    </a:lnTo>
                    <a:lnTo>
                      <a:pt x="12" y="33"/>
                    </a:lnTo>
                    <a:lnTo>
                      <a:pt x="13" y="34"/>
                    </a:lnTo>
                    <a:lnTo>
                      <a:pt x="16" y="37"/>
                    </a:lnTo>
                    <a:lnTo>
                      <a:pt x="17" y="39"/>
                    </a:lnTo>
                    <a:lnTo>
                      <a:pt x="16" y="42"/>
                    </a:lnTo>
                    <a:lnTo>
                      <a:pt x="15" y="42"/>
                    </a:lnTo>
                    <a:lnTo>
                      <a:pt x="12" y="40"/>
                    </a:lnTo>
                    <a:lnTo>
                      <a:pt x="9" y="39"/>
                    </a:lnTo>
                    <a:lnTo>
                      <a:pt x="7" y="40"/>
                    </a:lnTo>
                    <a:lnTo>
                      <a:pt x="6" y="43"/>
                    </a:lnTo>
                    <a:lnTo>
                      <a:pt x="6" y="43"/>
                    </a:lnTo>
                    <a:lnTo>
                      <a:pt x="7" y="44"/>
                    </a:lnTo>
                    <a:lnTo>
                      <a:pt x="9" y="46"/>
                    </a:lnTo>
                    <a:lnTo>
                      <a:pt x="10" y="46"/>
                    </a:lnTo>
                    <a:lnTo>
                      <a:pt x="10" y="46"/>
                    </a:lnTo>
                    <a:lnTo>
                      <a:pt x="10" y="47"/>
                    </a:lnTo>
                    <a:lnTo>
                      <a:pt x="10" y="49"/>
                    </a:lnTo>
                    <a:lnTo>
                      <a:pt x="10" y="49"/>
                    </a:lnTo>
                    <a:lnTo>
                      <a:pt x="9" y="53"/>
                    </a:lnTo>
                    <a:lnTo>
                      <a:pt x="7" y="54"/>
                    </a:lnTo>
                    <a:lnTo>
                      <a:pt x="6" y="56"/>
                    </a:lnTo>
                    <a:lnTo>
                      <a:pt x="6" y="56"/>
                    </a:lnTo>
                    <a:lnTo>
                      <a:pt x="4" y="56"/>
                    </a:lnTo>
                    <a:lnTo>
                      <a:pt x="2" y="56"/>
                    </a:lnTo>
                    <a:lnTo>
                      <a:pt x="4" y="62"/>
                    </a:lnTo>
                    <a:lnTo>
                      <a:pt x="6" y="66"/>
                    </a:lnTo>
                    <a:lnTo>
                      <a:pt x="3" y="70"/>
                    </a:lnTo>
                    <a:lnTo>
                      <a:pt x="0" y="75"/>
                    </a:lnTo>
                    <a:lnTo>
                      <a:pt x="2" y="76"/>
                    </a:lnTo>
                    <a:lnTo>
                      <a:pt x="4" y="77"/>
                    </a:lnTo>
                    <a:lnTo>
                      <a:pt x="6" y="77"/>
                    </a:lnTo>
                    <a:lnTo>
                      <a:pt x="10" y="79"/>
                    </a:lnTo>
                    <a:lnTo>
                      <a:pt x="12" y="79"/>
                    </a:lnTo>
                    <a:lnTo>
                      <a:pt x="13" y="80"/>
                    </a:lnTo>
                    <a:lnTo>
                      <a:pt x="13" y="82"/>
                    </a:lnTo>
                    <a:lnTo>
                      <a:pt x="15" y="83"/>
                    </a:lnTo>
                    <a:lnTo>
                      <a:pt x="16" y="85"/>
                    </a:lnTo>
                    <a:lnTo>
                      <a:pt x="19" y="86"/>
                    </a:lnTo>
                    <a:lnTo>
                      <a:pt x="20" y="86"/>
                    </a:lnTo>
                    <a:lnTo>
                      <a:pt x="20" y="89"/>
                    </a:lnTo>
                    <a:lnTo>
                      <a:pt x="22" y="92"/>
                    </a:lnTo>
                    <a:lnTo>
                      <a:pt x="20" y="96"/>
                    </a:lnTo>
                    <a:lnTo>
                      <a:pt x="19" y="102"/>
                    </a:lnTo>
                    <a:lnTo>
                      <a:pt x="17" y="106"/>
                    </a:lnTo>
                    <a:lnTo>
                      <a:pt x="17" y="109"/>
                    </a:lnTo>
                    <a:lnTo>
                      <a:pt x="19" y="113"/>
                    </a:lnTo>
                    <a:lnTo>
                      <a:pt x="22" y="112"/>
                    </a:lnTo>
                    <a:lnTo>
                      <a:pt x="29" y="108"/>
                    </a:lnTo>
                    <a:lnTo>
                      <a:pt x="50" y="100"/>
                    </a:lnTo>
                    <a:lnTo>
                      <a:pt x="56" y="100"/>
                    </a:lnTo>
                    <a:lnTo>
                      <a:pt x="62" y="99"/>
                    </a:lnTo>
                    <a:lnTo>
                      <a:pt x="62" y="99"/>
                    </a:lnTo>
                    <a:lnTo>
                      <a:pt x="60" y="99"/>
                    </a:lnTo>
                    <a:lnTo>
                      <a:pt x="58" y="99"/>
                    </a:lnTo>
                    <a:lnTo>
                      <a:pt x="59" y="98"/>
                    </a:lnTo>
                    <a:lnTo>
                      <a:pt x="62" y="98"/>
                    </a:lnTo>
                    <a:lnTo>
                      <a:pt x="63" y="99"/>
                    </a:lnTo>
                    <a:lnTo>
                      <a:pt x="66" y="99"/>
                    </a:lnTo>
                    <a:lnTo>
                      <a:pt x="69" y="99"/>
                    </a:lnTo>
                    <a:lnTo>
                      <a:pt x="81" y="98"/>
                    </a:lnTo>
                    <a:lnTo>
                      <a:pt x="78" y="96"/>
                    </a:lnTo>
                    <a:lnTo>
                      <a:pt x="76" y="96"/>
                    </a:lnTo>
                    <a:lnTo>
                      <a:pt x="71" y="98"/>
                    </a:lnTo>
                    <a:lnTo>
                      <a:pt x="73" y="96"/>
                    </a:lnTo>
                    <a:lnTo>
                      <a:pt x="78" y="96"/>
                    </a:lnTo>
                    <a:lnTo>
                      <a:pt x="89" y="99"/>
                    </a:lnTo>
                    <a:lnTo>
                      <a:pt x="91" y="99"/>
                    </a:lnTo>
                    <a:lnTo>
                      <a:pt x="93" y="99"/>
                    </a:lnTo>
                    <a:lnTo>
                      <a:pt x="93" y="98"/>
                    </a:lnTo>
                    <a:lnTo>
                      <a:pt x="95" y="96"/>
                    </a:lnTo>
                    <a:lnTo>
                      <a:pt x="95" y="96"/>
                    </a:lnTo>
                    <a:lnTo>
                      <a:pt x="96" y="95"/>
                    </a:lnTo>
                    <a:lnTo>
                      <a:pt x="96" y="96"/>
                    </a:lnTo>
                    <a:lnTo>
                      <a:pt x="96" y="98"/>
                    </a:lnTo>
                    <a:lnTo>
                      <a:pt x="98" y="99"/>
                    </a:lnTo>
                    <a:lnTo>
                      <a:pt x="98" y="99"/>
                    </a:lnTo>
                    <a:lnTo>
                      <a:pt x="101" y="99"/>
                    </a:lnTo>
                    <a:lnTo>
                      <a:pt x="102" y="9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07" name="Freeform 194">
                <a:extLst>
                  <a:ext uri="{FF2B5EF4-FFF2-40B4-BE49-F238E27FC236}">
                    <a16:creationId xmlns:a16="http://schemas.microsoft.com/office/drawing/2014/main" id="{7A657D12-9360-5E31-84D1-427CF596E617}"/>
                  </a:ext>
                </a:extLst>
              </p:cNvPr>
              <p:cNvSpPr>
                <a:spLocks/>
              </p:cNvSpPr>
              <p:nvPr/>
            </p:nvSpPr>
            <p:spPr bwMode="auto">
              <a:xfrm>
                <a:off x="3561" y="2498"/>
                <a:ext cx="53" cy="110"/>
              </a:xfrm>
              <a:custGeom>
                <a:avLst/>
                <a:gdLst>
                  <a:gd name="T0" fmla="*/ 35 w 53"/>
                  <a:gd name="T1" fmla="*/ 80 h 110"/>
                  <a:gd name="T2" fmla="*/ 35 w 53"/>
                  <a:gd name="T3" fmla="*/ 64 h 110"/>
                  <a:gd name="T4" fmla="*/ 36 w 53"/>
                  <a:gd name="T5" fmla="*/ 60 h 110"/>
                  <a:gd name="T6" fmla="*/ 39 w 53"/>
                  <a:gd name="T7" fmla="*/ 59 h 110"/>
                  <a:gd name="T8" fmla="*/ 41 w 53"/>
                  <a:gd name="T9" fmla="*/ 57 h 110"/>
                  <a:gd name="T10" fmla="*/ 43 w 53"/>
                  <a:gd name="T11" fmla="*/ 51 h 110"/>
                  <a:gd name="T12" fmla="*/ 45 w 53"/>
                  <a:gd name="T13" fmla="*/ 46 h 110"/>
                  <a:gd name="T14" fmla="*/ 49 w 53"/>
                  <a:gd name="T15" fmla="*/ 44 h 110"/>
                  <a:gd name="T16" fmla="*/ 51 w 53"/>
                  <a:gd name="T17" fmla="*/ 41 h 110"/>
                  <a:gd name="T18" fmla="*/ 49 w 53"/>
                  <a:gd name="T19" fmla="*/ 38 h 110"/>
                  <a:gd name="T20" fmla="*/ 51 w 53"/>
                  <a:gd name="T21" fmla="*/ 36 h 110"/>
                  <a:gd name="T22" fmla="*/ 53 w 53"/>
                  <a:gd name="T23" fmla="*/ 34 h 110"/>
                  <a:gd name="T24" fmla="*/ 53 w 53"/>
                  <a:gd name="T25" fmla="*/ 27 h 110"/>
                  <a:gd name="T26" fmla="*/ 49 w 53"/>
                  <a:gd name="T27" fmla="*/ 17 h 110"/>
                  <a:gd name="T28" fmla="*/ 49 w 53"/>
                  <a:gd name="T29" fmla="*/ 11 h 110"/>
                  <a:gd name="T30" fmla="*/ 41 w 53"/>
                  <a:gd name="T31" fmla="*/ 3 h 110"/>
                  <a:gd name="T32" fmla="*/ 36 w 53"/>
                  <a:gd name="T33" fmla="*/ 0 h 110"/>
                  <a:gd name="T34" fmla="*/ 30 w 53"/>
                  <a:gd name="T35" fmla="*/ 3 h 110"/>
                  <a:gd name="T36" fmla="*/ 29 w 53"/>
                  <a:gd name="T37" fmla="*/ 4 h 110"/>
                  <a:gd name="T38" fmla="*/ 29 w 53"/>
                  <a:gd name="T39" fmla="*/ 8 h 110"/>
                  <a:gd name="T40" fmla="*/ 25 w 53"/>
                  <a:gd name="T41" fmla="*/ 14 h 110"/>
                  <a:gd name="T42" fmla="*/ 19 w 53"/>
                  <a:gd name="T43" fmla="*/ 17 h 110"/>
                  <a:gd name="T44" fmla="*/ 13 w 53"/>
                  <a:gd name="T45" fmla="*/ 17 h 110"/>
                  <a:gd name="T46" fmla="*/ 9 w 53"/>
                  <a:gd name="T47" fmla="*/ 18 h 110"/>
                  <a:gd name="T48" fmla="*/ 6 w 53"/>
                  <a:gd name="T49" fmla="*/ 23 h 110"/>
                  <a:gd name="T50" fmla="*/ 5 w 53"/>
                  <a:gd name="T51" fmla="*/ 24 h 110"/>
                  <a:gd name="T52" fmla="*/ 3 w 53"/>
                  <a:gd name="T53" fmla="*/ 24 h 110"/>
                  <a:gd name="T54" fmla="*/ 2 w 53"/>
                  <a:gd name="T55" fmla="*/ 27 h 110"/>
                  <a:gd name="T56" fmla="*/ 0 w 53"/>
                  <a:gd name="T57" fmla="*/ 31 h 110"/>
                  <a:gd name="T58" fmla="*/ 0 w 53"/>
                  <a:gd name="T59" fmla="*/ 36 h 110"/>
                  <a:gd name="T60" fmla="*/ 7 w 53"/>
                  <a:gd name="T61" fmla="*/ 41 h 110"/>
                  <a:gd name="T62" fmla="*/ 9 w 53"/>
                  <a:gd name="T63" fmla="*/ 44 h 110"/>
                  <a:gd name="T64" fmla="*/ 10 w 53"/>
                  <a:gd name="T65" fmla="*/ 51 h 110"/>
                  <a:gd name="T66" fmla="*/ 12 w 53"/>
                  <a:gd name="T67" fmla="*/ 56 h 110"/>
                  <a:gd name="T68" fmla="*/ 15 w 53"/>
                  <a:gd name="T69" fmla="*/ 61 h 110"/>
                  <a:gd name="T70" fmla="*/ 15 w 53"/>
                  <a:gd name="T71" fmla="*/ 95 h 110"/>
                  <a:gd name="T72" fmla="*/ 15 w 53"/>
                  <a:gd name="T73" fmla="*/ 97 h 110"/>
                  <a:gd name="T74" fmla="*/ 15 w 53"/>
                  <a:gd name="T75" fmla="*/ 103 h 110"/>
                  <a:gd name="T76" fmla="*/ 16 w 53"/>
                  <a:gd name="T77" fmla="*/ 106 h 110"/>
                  <a:gd name="T78" fmla="*/ 18 w 53"/>
                  <a:gd name="T79" fmla="*/ 107 h 110"/>
                  <a:gd name="T80" fmla="*/ 16 w 53"/>
                  <a:gd name="T81" fmla="*/ 109 h 110"/>
                  <a:gd name="T82" fmla="*/ 25 w 53"/>
                  <a:gd name="T83" fmla="*/ 109 h 110"/>
                  <a:gd name="T84" fmla="*/ 36 w 53"/>
                  <a:gd name="T85" fmla="*/ 9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110">
                    <a:moveTo>
                      <a:pt x="35" y="87"/>
                    </a:moveTo>
                    <a:lnTo>
                      <a:pt x="35" y="80"/>
                    </a:lnTo>
                    <a:lnTo>
                      <a:pt x="33" y="77"/>
                    </a:lnTo>
                    <a:lnTo>
                      <a:pt x="35" y="64"/>
                    </a:lnTo>
                    <a:lnTo>
                      <a:pt x="35" y="61"/>
                    </a:lnTo>
                    <a:lnTo>
                      <a:pt x="36" y="60"/>
                    </a:lnTo>
                    <a:lnTo>
                      <a:pt x="38" y="60"/>
                    </a:lnTo>
                    <a:lnTo>
                      <a:pt x="39" y="59"/>
                    </a:lnTo>
                    <a:lnTo>
                      <a:pt x="41" y="57"/>
                    </a:lnTo>
                    <a:lnTo>
                      <a:pt x="41" y="57"/>
                    </a:lnTo>
                    <a:lnTo>
                      <a:pt x="42" y="54"/>
                    </a:lnTo>
                    <a:lnTo>
                      <a:pt x="43" y="51"/>
                    </a:lnTo>
                    <a:lnTo>
                      <a:pt x="45" y="47"/>
                    </a:lnTo>
                    <a:lnTo>
                      <a:pt x="45" y="46"/>
                    </a:lnTo>
                    <a:lnTo>
                      <a:pt x="46" y="46"/>
                    </a:lnTo>
                    <a:lnTo>
                      <a:pt x="49" y="44"/>
                    </a:lnTo>
                    <a:lnTo>
                      <a:pt x="49" y="44"/>
                    </a:lnTo>
                    <a:lnTo>
                      <a:pt x="51" y="41"/>
                    </a:lnTo>
                    <a:lnTo>
                      <a:pt x="51" y="40"/>
                    </a:lnTo>
                    <a:lnTo>
                      <a:pt x="49" y="38"/>
                    </a:lnTo>
                    <a:lnTo>
                      <a:pt x="49" y="38"/>
                    </a:lnTo>
                    <a:lnTo>
                      <a:pt x="51" y="36"/>
                    </a:lnTo>
                    <a:lnTo>
                      <a:pt x="52" y="36"/>
                    </a:lnTo>
                    <a:lnTo>
                      <a:pt x="53" y="34"/>
                    </a:lnTo>
                    <a:lnTo>
                      <a:pt x="53" y="31"/>
                    </a:lnTo>
                    <a:lnTo>
                      <a:pt x="53" y="27"/>
                    </a:lnTo>
                    <a:lnTo>
                      <a:pt x="51" y="21"/>
                    </a:lnTo>
                    <a:lnTo>
                      <a:pt x="49" y="17"/>
                    </a:lnTo>
                    <a:lnTo>
                      <a:pt x="49" y="13"/>
                    </a:lnTo>
                    <a:lnTo>
                      <a:pt x="49" y="11"/>
                    </a:lnTo>
                    <a:lnTo>
                      <a:pt x="43" y="7"/>
                    </a:lnTo>
                    <a:lnTo>
                      <a:pt x="41" y="3"/>
                    </a:lnTo>
                    <a:lnTo>
                      <a:pt x="38" y="1"/>
                    </a:lnTo>
                    <a:lnTo>
                      <a:pt x="36" y="0"/>
                    </a:lnTo>
                    <a:lnTo>
                      <a:pt x="35" y="0"/>
                    </a:lnTo>
                    <a:lnTo>
                      <a:pt x="30" y="3"/>
                    </a:lnTo>
                    <a:lnTo>
                      <a:pt x="29" y="4"/>
                    </a:lnTo>
                    <a:lnTo>
                      <a:pt x="29" y="4"/>
                    </a:lnTo>
                    <a:lnTo>
                      <a:pt x="29" y="7"/>
                    </a:lnTo>
                    <a:lnTo>
                      <a:pt x="29" y="8"/>
                    </a:lnTo>
                    <a:lnTo>
                      <a:pt x="26" y="13"/>
                    </a:lnTo>
                    <a:lnTo>
                      <a:pt x="25" y="14"/>
                    </a:lnTo>
                    <a:lnTo>
                      <a:pt x="22" y="15"/>
                    </a:lnTo>
                    <a:lnTo>
                      <a:pt x="19" y="17"/>
                    </a:lnTo>
                    <a:lnTo>
                      <a:pt x="16" y="17"/>
                    </a:lnTo>
                    <a:lnTo>
                      <a:pt x="13" y="17"/>
                    </a:lnTo>
                    <a:lnTo>
                      <a:pt x="10" y="18"/>
                    </a:lnTo>
                    <a:lnTo>
                      <a:pt x="9" y="18"/>
                    </a:lnTo>
                    <a:lnTo>
                      <a:pt x="6" y="23"/>
                    </a:lnTo>
                    <a:lnTo>
                      <a:pt x="6" y="23"/>
                    </a:lnTo>
                    <a:lnTo>
                      <a:pt x="6" y="23"/>
                    </a:lnTo>
                    <a:lnTo>
                      <a:pt x="5" y="24"/>
                    </a:lnTo>
                    <a:lnTo>
                      <a:pt x="5" y="24"/>
                    </a:lnTo>
                    <a:lnTo>
                      <a:pt x="3" y="24"/>
                    </a:lnTo>
                    <a:lnTo>
                      <a:pt x="2" y="26"/>
                    </a:lnTo>
                    <a:lnTo>
                      <a:pt x="2" y="27"/>
                    </a:lnTo>
                    <a:lnTo>
                      <a:pt x="0" y="30"/>
                    </a:lnTo>
                    <a:lnTo>
                      <a:pt x="0" y="31"/>
                    </a:lnTo>
                    <a:lnTo>
                      <a:pt x="0" y="34"/>
                    </a:lnTo>
                    <a:lnTo>
                      <a:pt x="0" y="36"/>
                    </a:lnTo>
                    <a:lnTo>
                      <a:pt x="2" y="37"/>
                    </a:lnTo>
                    <a:lnTo>
                      <a:pt x="7" y="41"/>
                    </a:lnTo>
                    <a:lnTo>
                      <a:pt x="9" y="41"/>
                    </a:lnTo>
                    <a:lnTo>
                      <a:pt x="9" y="44"/>
                    </a:lnTo>
                    <a:lnTo>
                      <a:pt x="10" y="46"/>
                    </a:lnTo>
                    <a:lnTo>
                      <a:pt x="10" y="51"/>
                    </a:lnTo>
                    <a:lnTo>
                      <a:pt x="10" y="53"/>
                    </a:lnTo>
                    <a:lnTo>
                      <a:pt x="12" y="56"/>
                    </a:lnTo>
                    <a:lnTo>
                      <a:pt x="13" y="60"/>
                    </a:lnTo>
                    <a:lnTo>
                      <a:pt x="15" y="61"/>
                    </a:lnTo>
                    <a:lnTo>
                      <a:pt x="16" y="93"/>
                    </a:lnTo>
                    <a:lnTo>
                      <a:pt x="15" y="95"/>
                    </a:lnTo>
                    <a:lnTo>
                      <a:pt x="13" y="96"/>
                    </a:lnTo>
                    <a:lnTo>
                      <a:pt x="15" y="97"/>
                    </a:lnTo>
                    <a:lnTo>
                      <a:pt x="15" y="102"/>
                    </a:lnTo>
                    <a:lnTo>
                      <a:pt x="15" y="103"/>
                    </a:lnTo>
                    <a:lnTo>
                      <a:pt x="16" y="105"/>
                    </a:lnTo>
                    <a:lnTo>
                      <a:pt x="16" y="106"/>
                    </a:lnTo>
                    <a:lnTo>
                      <a:pt x="18" y="106"/>
                    </a:lnTo>
                    <a:lnTo>
                      <a:pt x="18" y="107"/>
                    </a:lnTo>
                    <a:lnTo>
                      <a:pt x="18" y="109"/>
                    </a:lnTo>
                    <a:lnTo>
                      <a:pt x="16" y="109"/>
                    </a:lnTo>
                    <a:lnTo>
                      <a:pt x="15" y="110"/>
                    </a:lnTo>
                    <a:lnTo>
                      <a:pt x="25" y="109"/>
                    </a:lnTo>
                    <a:lnTo>
                      <a:pt x="35" y="107"/>
                    </a:lnTo>
                    <a:lnTo>
                      <a:pt x="36" y="93"/>
                    </a:lnTo>
                    <a:lnTo>
                      <a:pt x="35" y="8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08" name="Freeform 195">
                <a:extLst>
                  <a:ext uri="{FF2B5EF4-FFF2-40B4-BE49-F238E27FC236}">
                    <a16:creationId xmlns:a16="http://schemas.microsoft.com/office/drawing/2014/main" id="{279559C2-B8A7-F60F-2A58-68D5BB84FADD}"/>
                  </a:ext>
                </a:extLst>
              </p:cNvPr>
              <p:cNvSpPr>
                <a:spLocks/>
              </p:cNvSpPr>
              <p:nvPr/>
            </p:nvSpPr>
            <p:spPr bwMode="auto">
              <a:xfrm>
                <a:off x="3491" y="2521"/>
                <a:ext cx="77" cy="113"/>
              </a:xfrm>
              <a:custGeom>
                <a:avLst/>
                <a:gdLst>
                  <a:gd name="T0" fmla="*/ 69 w 77"/>
                  <a:gd name="T1" fmla="*/ 82 h 113"/>
                  <a:gd name="T2" fmla="*/ 66 w 77"/>
                  <a:gd name="T3" fmla="*/ 76 h 113"/>
                  <a:gd name="T4" fmla="*/ 67 w 77"/>
                  <a:gd name="T5" fmla="*/ 69 h 113"/>
                  <a:gd name="T6" fmla="*/ 66 w 77"/>
                  <a:gd name="T7" fmla="*/ 67 h 113"/>
                  <a:gd name="T8" fmla="*/ 66 w 77"/>
                  <a:gd name="T9" fmla="*/ 66 h 113"/>
                  <a:gd name="T10" fmla="*/ 66 w 77"/>
                  <a:gd name="T11" fmla="*/ 63 h 113"/>
                  <a:gd name="T12" fmla="*/ 67 w 77"/>
                  <a:gd name="T13" fmla="*/ 57 h 113"/>
                  <a:gd name="T14" fmla="*/ 67 w 77"/>
                  <a:gd name="T15" fmla="*/ 51 h 113"/>
                  <a:gd name="T16" fmla="*/ 69 w 77"/>
                  <a:gd name="T17" fmla="*/ 50 h 113"/>
                  <a:gd name="T18" fmla="*/ 63 w 77"/>
                  <a:gd name="T19" fmla="*/ 41 h 113"/>
                  <a:gd name="T20" fmla="*/ 65 w 77"/>
                  <a:gd name="T21" fmla="*/ 38 h 113"/>
                  <a:gd name="T22" fmla="*/ 66 w 77"/>
                  <a:gd name="T23" fmla="*/ 31 h 113"/>
                  <a:gd name="T24" fmla="*/ 65 w 77"/>
                  <a:gd name="T25" fmla="*/ 30 h 113"/>
                  <a:gd name="T26" fmla="*/ 62 w 77"/>
                  <a:gd name="T27" fmla="*/ 30 h 113"/>
                  <a:gd name="T28" fmla="*/ 62 w 77"/>
                  <a:gd name="T29" fmla="*/ 27 h 113"/>
                  <a:gd name="T30" fmla="*/ 62 w 77"/>
                  <a:gd name="T31" fmla="*/ 24 h 113"/>
                  <a:gd name="T32" fmla="*/ 63 w 77"/>
                  <a:gd name="T33" fmla="*/ 17 h 113"/>
                  <a:gd name="T34" fmla="*/ 60 w 77"/>
                  <a:gd name="T35" fmla="*/ 13 h 113"/>
                  <a:gd name="T36" fmla="*/ 56 w 77"/>
                  <a:gd name="T37" fmla="*/ 5 h 113"/>
                  <a:gd name="T38" fmla="*/ 56 w 77"/>
                  <a:gd name="T39" fmla="*/ 0 h 113"/>
                  <a:gd name="T40" fmla="*/ 50 w 77"/>
                  <a:gd name="T41" fmla="*/ 0 h 113"/>
                  <a:gd name="T42" fmla="*/ 44 w 77"/>
                  <a:gd name="T43" fmla="*/ 3 h 113"/>
                  <a:gd name="T44" fmla="*/ 19 w 77"/>
                  <a:gd name="T45" fmla="*/ 3 h 113"/>
                  <a:gd name="T46" fmla="*/ 6 w 77"/>
                  <a:gd name="T47" fmla="*/ 4 h 113"/>
                  <a:gd name="T48" fmla="*/ 7 w 77"/>
                  <a:gd name="T49" fmla="*/ 15 h 113"/>
                  <a:gd name="T50" fmla="*/ 9 w 77"/>
                  <a:gd name="T51" fmla="*/ 34 h 113"/>
                  <a:gd name="T52" fmla="*/ 10 w 77"/>
                  <a:gd name="T53" fmla="*/ 41 h 113"/>
                  <a:gd name="T54" fmla="*/ 13 w 77"/>
                  <a:gd name="T55" fmla="*/ 50 h 113"/>
                  <a:gd name="T56" fmla="*/ 11 w 77"/>
                  <a:gd name="T57" fmla="*/ 51 h 113"/>
                  <a:gd name="T58" fmla="*/ 7 w 77"/>
                  <a:gd name="T59" fmla="*/ 57 h 113"/>
                  <a:gd name="T60" fmla="*/ 4 w 77"/>
                  <a:gd name="T61" fmla="*/ 67 h 113"/>
                  <a:gd name="T62" fmla="*/ 0 w 77"/>
                  <a:gd name="T63" fmla="*/ 76 h 113"/>
                  <a:gd name="T64" fmla="*/ 1 w 77"/>
                  <a:gd name="T65" fmla="*/ 90 h 113"/>
                  <a:gd name="T66" fmla="*/ 7 w 77"/>
                  <a:gd name="T67" fmla="*/ 97 h 113"/>
                  <a:gd name="T68" fmla="*/ 7 w 77"/>
                  <a:gd name="T69" fmla="*/ 103 h 113"/>
                  <a:gd name="T70" fmla="*/ 3 w 77"/>
                  <a:gd name="T71" fmla="*/ 106 h 113"/>
                  <a:gd name="T72" fmla="*/ 11 w 77"/>
                  <a:gd name="T73" fmla="*/ 109 h 113"/>
                  <a:gd name="T74" fmla="*/ 20 w 77"/>
                  <a:gd name="T75" fmla="*/ 113 h 113"/>
                  <a:gd name="T76" fmla="*/ 32 w 77"/>
                  <a:gd name="T77" fmla="*/ 107 h 113"/>
                  <a:gd name="T78" fmla="*/ 55 w 77"/>
                  <a:gd name="T79" fmla="*/ 97 h 113"/>
                  <a:gd name="T80" fmla="*/ 67 w 77"/>
                  <a:gd name="T81" fmla="*/ 96 h 113"/>
                  <a:gd name="T82" fmla="*/ 75 w 77"/>
                  <a:gd name="T83" fmla="*/ 90 h 113"/>
                  <a:gd name="T84" fmla="*/ 72 w 77"/>
                  <a:gd name="T85"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7" h="113">
                    <a:moveTo>
                      <a:pt x="72" y="84"/>
                    </a:moveTo>
                    <a:lnTo>
                      <a:pt x="70" y="83"/>
                    </a:lnTo>
                    <a:lnTo>
                      <a:pt x="69" y="82"/>
                    </a:lnTo>
                    <a:lnTo>
                      <a:pt x="67" y="80"/>
                    </a:lnTo>
                    <a:lnTo>
                      <a:pt x="67" y="77"/>
                    </a:lnTo>
                    <a:lnTo>
                      <a:pt x="66" y="76"/>
                    </a:lnTo>
                    <a:lnTo>
                      <a:pt x="66" y="76"/>
                    </a:lnTo>
                    <a:lnTo>
                      <a:pt x="67" y="70"/>
                    </a:lnTo>
                    <a:lnTo>
                      <a:pt x="67" y="69"/>
                    </a:lnTo>
                    <a:lnTo>
                      <a:pt x="67" y="69"/>
                    </a:lnTo>
                    <a:lnTo>
                      <a:pt x="67" y="67"/>
                    </a:lnTo>
                    <a:lnTo>
                      <a:pt x="66" y="67"/>
                    </a:lnTo>
                    <a:lnTo>
                      <a:pt x="66" y="66"/>
                    </a:lnTo>
                    <a:lnTo>
                      <a:pt x="66" y="66"/>
                    </a:lnTo>
                    <a:lnTo>
                      <a:pt x="66" y="66"/>
                    </a:lnTo>
                    <a:lnTo>
                      <a:pt x="66" y="64"/>
                    </a:lnTo>
                    <a:lnTo>
                      <a:pt x="66" y="64"/>
                    </a:lnTo>
                    <a:lnTo>
                      <a:pt x="66" y="63"/>
                    </a:lnTo>
                    <a:lnTo>
                      <a:pt x="66" y="60"/>
                    </a:lnTo>
                    <a:lnTo>
                      <a:pt x="67" y="59"/>
                    </a:lnTo>
                    <a:lnTo>
                      <a:pt x="67" y="57"/>
                    </a:lnTo>
                    <a:lnTo>
                      <a:pt x="67" y="54"/>
                    </a:lnTo>
                    <a:lnTo>
                      <a:pt x="67" y="51"/>
                    </a:lnTo>
                    <a:lnTo>
                      <a:pt x="67" y="51"/>
                    </a:lnTo>
                    <a:lnTo>
                      <a:pt x="67" y="51"/>
                    </a:lnTo>
                    <a:lnTo>
                      <a:pt x="69" y="50"/>
                    </a:lnTo>
                    <a:lnTo>
                      <a:pt x="69" y="50"/>
                    </a:lnTo>
                    <a:lnTo>
                      <a:pt x="67" y="47"/>
                    </a:lnTo>
                    <a:lnTo>
                      <a:pt x="65" y="44"/>
                    </a:lnTo>
                    <a:lnTo>
                      <a:pt x="63" y="41"/>
                    </a:lnTo>
                    <a:lnTo>
                      <a:pt x="63" y="41"/>
                    </a:lnTo>
                    <a:lnTo>
                      <a:pt x="65" y="40"/>
                    </a:lnTo>
                    <a:lnTo>
                      <a:pt x="65" y="38"/>
                    </a:lnTo>
                    <a:lnTo>
                      <a:pt x="65" y="38"/>
                    </a:lnTo>
                    <a:lnTo>
                      <a:pt x="65" y="34"/>
                    </a:lnTo>
                    <a:lnTo>
                      <a:pt x="66" y="31"/>
                    </a:lnTo>
                    <a:lnTo>
                      <a:pt x="66" y="30"/>
                    </a:lnTo>
                    <a:lnTo>
                      <a:pt x="65" y="30"/>
                    </a:lnTo>
                    <a:lnTo>
                      <a:pt x="65" y="30"/>
                    </a:lnTo>
                    <a:lnTo>
                      <a:pt x="63" y="30"/>
                    </a:lnTo>
                    <a:lnTo>
                      <a:pt x="62" y="30"/>
                    </a:lnTo>
                    <a:lnTo>
                      <a:pt x="62" y="30"/>
                    </a:lnTo>
                    <a:lnTo>
                      <a:pt x="62" y="28"/>
                    </a:lnTo>
                    <a:lnTo>
                      <a:pt x="60" y="28"/>
                    </a:lnTo>
                    <a:lnTo>
                      <a:pt x="62" y="27"/>
                    </a:lnTo>
                    <a:lnTo>
                      <a:pt x="63" y="27"/>
                    </a:lnTo>
                    <a:lnTo>
                      <a:pt x="62" y="26"/>
                    </a:lnTo>
                    <a:lnTo>
                      <a:pt x="62" y="24"/>
                    </a:lnTo>
                    <a:lnTo>
                      <a:pt x="62" y="23"/>
                    </a:lnTo>
                    <a:lnTo>
                      <a:pt x="63" y="21"/>
                    </a:lnTo>
                    <a:lnTo>
                      <a:pt x="63" y="17"/>
                    </a:lnTo>
                    <a:lnTo>
                      <a:pt x="63" y="15"/>
                    </a:lnTo>
                    <a:lnTo>
                      <a:pt x="62" y="14"/>
                    </a:lnTo>
                    <a:lnTo>
                      <a:pt x="60" y="13"/>
                    </a:lnTo>
                    <a:lnTo>
                      <a:pt x="56" y="10"/>
                    </a:lnTo>
                    <a:lnTo>
                      <a:pt x="55" y="7"/>
                    </a:lnTo>
                    <a:lnTo>
                      <a:pt x="56" y="5"/>
                    </a:lnTo>
                    <a:lnTo>
                      <a:pt x="56" y="4"/>
                    </a:lnTo>
                    <a:lnTo>
                      <a:pt x="56" y="1"/>
                    </a:lnTo>
                    <a:lnTo>
                      <a:pt x="56" y="0"/>
                    </a:lnTo>
                    <a:lnTo>
                      <a:pt x="53" y="0"/>
                    </a:lnTo>
                    <a:lnTo>
                      <a:pt x="52" y="0"/>
                    </a:lnTo>
                    <a:lnTo>
                      <a:pt x="50" y="0"/>
                    </a:lnTo>
                    <a:lnTo>
                      <a:pt x="47" y="3"/>
                    </a:lnTo>
                    <a:lnTo>
                      <a:pt x="46" y="3"/>
                    </a:lnTo>
                    <a:lnTo>
                      <a:pt x="44" y="3"/>
                    </a:lnTo>
                    <a:lnTo>
                      <a:pt x="43" y="3"/>
                    </a:lnTo>
                    <a:lnTo>
                      <a:pt x="36" y="1"/>
                    </a:lnTo>
                    <a:lnTo>
                      <a:pt x="19" y="3"/>
                    </a:lnTo>
                    <a:lnTo>
                      <a:pt x="9" y="1"/>
                    </a:lnTo>
                    <a:lnTo>
                      <a:pt x="7" y="3"/>
                    </a:lnTo>
                    <a:lnTo>
                      <a:pt x="6" y="4"/>
                    </a:lnTo>
                    <a:lnTo>
                      <a:pt x="6" y="7"/>
                    </a:lnTo>
                    <a:lnTo>
                      <a:pt x="7" y="11"/>
                    </a:lnTo>
                    <a:lnTo>
                      <a:pt x="7" y="15"/>
                    </a:lnTo>
                    <a:lnTo>
                      <a:pt x="9" y="24"/>
                    </a:lnTo>
                    <a:lnTo>
                      <a:pt x="9" y="28"/>
                    </a:lnTo>
                    <a:lnTo>
                      <a:pt x="9" y="34"/>
                    </a:lnTo>
                    <a:lnTo>
                      <a:pt x="9" y="36"/>
                    </a:lnTo>
                    <a:lnTo>
                      <a:pt x="9" y="38"/>
                    </a:lnTo>
                    <a:lnTo>
                      <a:pt x="10" y="41"/>
                    </a:lnTo>
                    <a:lnTo>
                      <a:pt x="11" y="44"/>
                    </a:lnTo>
                    <a:lnTo>
                      <a:pt x="13" y="49"/>
                    </a:lnTo>
                    <a:lnTo>
                      <a:pt x="13" y="50"/>
                    </a:lnTo>
                    <a:lnTo>
                      <a:pt x="11" y="51"/>
                    </a:lnTo>
                    <a:lnTo>
                      <a:pt x="11" y="51"/>
                    </a:lnTo>
                    <a:lnTo>
                      <a:pt x="11" y="51"/>
                    </a:lnTo>
                    <a:lnTo>
                      <a:pt x="11" y="53"/>
                    </a:lnTo>
                    <a:lnTo>
                      <a:pt x="10" y="54"/>
                    </a:lnTo>
                    <a:lnTo>
                      <a:pt x="7" y="57"/>
                    </a:lnTo>
                    <a:lnTo>
                      <a:pt x="6" y="60"/>
                    </a:lnTo>
                    <a:lnTo>
                      <a:pt x="6" y="61"/>
                    </a:lnTo>
                    <a:lnTo>
                      <a:pt x="4" y="67"/>
                    </a:lnTo>
                    <a:lnTo>
                      <a:pt x="3" y="70"/>
                    </a:lnTo>
                    <a:lnTo>
                      <a:pt x="1" y="73"/>
                    </a:lnTo>
                    <a:lnTo>
                      <a:pt x="0" y="76"/>
                    </a:lnTo>
                    <a:lnTo>
                      <a:pt x="0" y="80"/>
                    </a:lnTo>
                    <a:lnTo>
                      <a:pt x="0" y="86"/>
                    </a:lnTo>
                    <a:lnTo>
                      <a:pt x="1" y="90"/>
                    </a:lnTo>
                    <a:lnTo>
                      <a:pt x="4" y="95"/>
                    </a:lnTo>
                    <a:lnTo>
                      <a:pt x="6" y="97"/>
                    </a:lnTo>
                    <a:lnTo>
                      <a:pt x="7" y="97"/>
                    </a:lnTo>
                    <a:lnTo>
                      <a:pt x="7" y="99"/>
                    </a:lnTo>
                    <a:lnTo>
                      <a:pt x="9" y="102"/>
                    </a:lnTo>
                    <a:lnTo>
                      <a:pt x="7" y="103"/>
                    </a:lnTo>
                    <a:lnTo>
                      <a:pt x="7" y="105"/>
                    </a:lnTo>
                    <a:lnTo>
                      <a:pt x="6" y="106"/>
                    </a:lnTo>
                    <a:lnTo>
                      <a:pt x="3" y="106"/>
                    </a:lnTo>
                    <a:lnTo>
                      <a:pt x="3" y="106"/>
                    </a:lnTo>
                    <a:lnTo>
                      <a:pt x="1" y="107"/>
                    </a:lnTo>
                    <a:lnTo>
                      <a:pt x="11" y="109"/>
                    </a:lnTo>
                    <a:lnTo>
                      <a:pt x="14" y="110"/>
                    </a:lnTo>
                    <a:lnTo>
                      <a:pt x="19" y="112"/>
                    </a:lnTo>
                    <a:lnTo>
                      <a:pt x="20" y="113"/>
                    </a:lnTo>
                    <a:lnTo>
                      <a:pt x="23" y="112"/>
                    </a:lnTo>
                    <a:lnTo>
                      <a:pt x="30" y="107"/>
                    </a:lnTo>
                    <a:lnTo>
                      <a:pt x="32" y="107"/>
                    </a:lnTo>
                    <a:lnTo>
                      <a:pt x="40" y="105"/>
                    </a:lnTo>
                    <a:lnTo>
                      <a:pt x="46" y="103"/>
                    </a:lnTo>
                    <a:lnTo>
                      <a:pt x="55" y="97"/>
                    </a:lnTo>
                    <a:lnTo>
                      <a:pt x="60" y="96"/>
                    </a:lnTo>
                    <a:lnTo>
                      <a:pt x="63" y="95"/>
                    </a:lnTo>
                    <a:lnTo>
                      <a:pt x="67" y="96"/>
                    </a:lnTo>
                    <a:lnTo>
                      <a:pt x="70" y="95"/>
                    </a:lnTo>
                    <a:lnTo>
                      <a:pt x="72" y="95"/>
                    </a:lnTo>
                    <a:lnTo>
                      <a:pt x="75" y="90"/>
                    </a:lnTo>
                    <a:lnTo>
                      <a:pt x="77" y="89"/>
                    </a:lnTo>
                    <a:lnTo>
                      <a:pt x="76" y="87"/>
                    </a:lnTo>
                    <a:lnTo>
                      <a:pt x="72" y="8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09" name="Freeform 196">
                <a:extLst>
                  <a:ext uri="{FF2B5EF4-FFF2-40B4-BE49-F238E27FC236}">
                    <a16:creationId xmlns:a16="http://schemas.microsoft.com/office/drawing/2014/main" id="{4F1F302F-B992-FCD9-25E0-255C0CC44930}"/>
                  </a:ext>
                </a:extLst>
              </p:cNvPr>
              <p:cNvSpPr>
                <a:spLocks/>
              </p:cNvSpPr>
              <p:nvPr/>
            </p:nvSpPr>
            <p:spPr bwMode="auto">
              <a:xfrm>
                <a:off x="3546" y="2521"/>
                <a:ext cx="33" cy="89"/>
              </a:xfrm>
              <a:custGeom>
                <a:avLst/>
                <a:gdLst>
                  <a:gd name="T0" fmla="*/ 33 w 33"/>
                  <a:gd name="T1" fmla="*/ 84 h 89"/>
                  <a:gd name="T2" fmla="*/ 31 w 33"/>
                  <a:gd name="T3" fmla="*/ 83 h 89"/>
                  <a:gd name="T4" fmla="*/ 30 w 33"/>
                  <a:gd name="T5" fmla="*/ 80 h 89"/>
                  <a:gd name="T6" fmla="*/ 30 w 33"/>
                  <a:gd name="T7" fmla="*/ 74 h 89"/>
                  <a:gd name="T8" fmla="*/ 30 w 33"/>
                  <a:gd name="T9" fmla="*/ 72 h 89"/>
                  <a:gd name="T10" fmla="*/ 30 w 33"/>
                  <a:gd name="T11" fmla="*/ 38 h 89"/>
                  <a:gd name="T12" fmla="*/ 27 w 33"/>
                  <a:gd name="T13" fmla="*/ 33 h 89"/>
                  <a:gd name="T14" fmla="*/ 25 w 33"/>
                  <a:gd name="T15" fmla="*/ 28 h 89"/>
                  <a:gd name="T16" fmla="*/ 24 w 33"/>
                  <a:gd name="T17" fmla="*/ 21 h 89"/>
                  <a:gd name="T18" fmla="*/ 22 w 33"/>
                  <a:gd name="T19" fmla="*/ 18 h 89"/>
                  <a:gd name="T20" fmla="*/ 15 w 33"/>
                  <a:gd name="T21" fmla="*/ 13 h 89"/>
                  <a:gd name="T22" fmla="*/ 15 w 33"/>
                  <a:gd name="T23" fmla="*/ 8 h 89"/>
                  <a:gd name="T24" fmla="*/ 17 w 33"/>
                  <a:gd name="T25" fmla="*/ 4 h 89"/>
                  <a:gd name="T26" fmla="*/ 11 w 33"/>
                  <a:gd name="T27" fmla="*/ 3 h 89"/>
                  <a:gd name="T28" fmla="*/ 1 w 33"/>
                  <a:gd name="T29" fmla="*/ 0 h 89"/>
                  <a:gd name="T30" fmla="*/ 1 w 33"/>
                  <a:gd name="T31" fmla="*/ 4 h 89"/>
                  <a:gd name="T32" fmla="*/ 0 w 33"/>
                  <a:gd name="T33" fmla="*/ 7 h 89"/>
                  <a:gd name="T34" fmla="*/ 5 w 33"/>
                  <a:gd name="T35" fmla="*/ 13 h 89"/>
                  <a:gd name="T36" fmla="*/ 8 w 33"/>
                  <a:gd name="T37" fmla="*/ 15 h 89"/>
                  <a:gd name="T38" fmla="*/ 8 w 33"/>
                  <a:gd name="T39" fmla="*/ 21 h 89"/>
                  <a:gd name="T40" fmla="*/ 7 w 33"/>
                  <a:gd name="T41" fmla="*/ 24 h 89"/>
                  <a:gd name="T42" fmla="*/ 8 w 33"/>
                  <a:gd name="T43" fmla="*/ 27 h 89"/>
                  <a:gd name="T44" fmla="*/ 5 w 33"/>
                  <a:gd name="T45" fmla="*/ 28 h 89"/>
                  <a:gd name="T46" fmla="*/ 7 w 33"/>
                  <a:gd name="T47" fmla="*/ 30 h 89"/>
                  <a:gd name="T48" fmla="*/ 8 w 33"/>
                  <a:gd name="T49" fmla="*/ 30 h 89"/>
                  <a:gd name="T50" fmla="*/ 10 w 33"/>
                  <a:gd name="T51" fmla="*/ 30 h 89"/>
                  <a:gd name="T52" fmla="*/ 11 w 33"/>
                  <a:gd name="T53" fmla="*/ 31 h 89"/>
                  <a:gd name="T54" fmla="*/ 10 w 33"/>
                  <a:gd name="T55" fmla="*/ 38 h 89"/>
                  <a:gd name="T56" fmla="*/ 10 w 33"/>
                  <a:gd name="T57" fmla="*/ 40 h 89"/>
                  <a:gd name="T58" fmla="*/ 8 w 33"/>
                  <a:gd name="T59" fmla="*/ 41 h 89"/>
                  <a:gd name="T60" fmla="*/ 12 w 33"/>
                  <a:gd name="T61" fmla="*/ 47 h 89"/>
                  <a:gd name="T62" fmla="*/ 14 w 33"/>
                  <a:gd name="T63" fmla="*/ 50 h 89"/>
                  <a:gd name="T64" fmla="*/ 12 w 33"/>
                  <a:gd name="T65" fmla="*/ 51 h 89"/>
                  <a:gd name="T66" fmla="*/ 12 w 33"/>
                  <a:gd name="T67" fmla="*/ 54 h 89"/>
                  <a:gd name="T68" fmla="*/ 12 w 33"/>
                  <a:gd name="T69" fmla="*/ 59 h 89"/>
                  <a:gd name="T70" fmla="*/ 11 w 33"/>
                  <a:gd name="T71" fmla="*/ 63 h 89"/>
                  <a:gd name="T72" fmla="*/ 11 w 33"/>
                  <a:gd name="T73" fmla="*/ 64 h 89"/>
                  <a:gd name="T74" fmla="*/ 11 w 33"/>
                  <a:gd name="T75" fmla="*/ 66 h 89"/>
                  <a:gd name="T76" fmla="*/ 11 w 33"/>
                  <a:gd name="T77" fmla="*/ 67 h 89"/>
                  <a:gd name="T78" fmla="*/ 12 w 33"/>
                  <a:gd name="T79" fmla="*/ 69 h 89"/>
                  <a:gd name="T80" fmla="*/ 12 w 33"/>
                  <a:gd name="T81" fmla="*/ 70 h 89"/>
                  <a:gd name="T82" fmla="*/ 11 w 33"/>
                  <a:gd name="T83" fmla="*/ 76 h 89"/>
                  <a:gd name="T84" fmla="*/ 12 w 33"/>
                  <a:gd name="T85" fmla="*/ 80 h 89"/>
                  <a:gd name="T86" fmla="*/ 15 w 33"/>
                  <a:gd name="T87" fmla="*/ 83 h 89"/>
                  <a:gd name="T88" fmla="*/ 21 w 33"/>
                  <a:gd name="T89" fmla="*/ 87 h 89"/>
                  <a:gd name="T90" fmla="*/ 24 w 33"/>
                  <a:gd name="T91" fmla="*/ 89 h 89"/>
                  <a:gd name="T92" fmla="*/ 30 w 33"/>
                  <a:gd name="T93" fmla="*/ 87 h 89"/>
                  <a:gd name="T94" fmla="*/ 33 w 33"/>
                  <a:gd name="T95" fmla="*/ 8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 h="89">
                    <a:moveTo>
                      <a:pt x="33" y="86"/>
                    </a:moveTo>
                    <a:lnTo>
                      <a:pt x="33" y="84"/>
                    </a:lnTo>
                    <a:lnTo>
                      <a:pt x="33" y="83"/>
                    </a:lnTo>
                    <a:lnTo>
                      <a:pt x="31" y="83"/>
                    </a:lnTo>
                    <a:lnTo>
                      <a:pt x="31" y="82"/>
                    </a:lnTo>
                    <a:lnTo>
                      <a:pt x="30" y="80"/>
                    </a:lnTo>
                    <a:lnTo>
                      <a:pt x="30" y="79"/>
                    </a:lnTo>
                    <a:lnTo>
                      <a:pt x="30" y="74"/>
                    </a:lnTo>
                    <a:lnTo>
                      <a:pt x="28" y="73"/>
                    </a:lnTo>
                    <a:lnTo>
                      <a:pt x="30" y="72"/>
                    </a:lnTo>
                    <a:lnTo>
                      <a:pt x="31" y="70"/>
                    </a:lnTo>
                    <a:lnTo>
                      <a:pt x="30" y="38"/>
                    </a:lnTo>
                    <a:lnTo>
                      <a:pt x="28" y="37"/>
                    </a:lnTo>
                    <a:lnTo>
                      <a:pt x="27" y="33"/>
                    </a:lnTo>
                    <a:lnTo>
                      <a:pt x="25" y="30"/>
                    </a:lnTo>
                    <a:lnTo>
                      <a:pt x="25" y="28"/>
                    </a:lnTo>
                    <a:lnTo>
                      <a:pt x="25" y="23"/>
                    </a:lnTo>
                    <a:lnTo>
                      <a:pt x="24" y="21"/>
                    </a:lnTo>
                    <a:lnTo>
                      <a:pt x="24" y="18"/>
                    </a:lnTo>
                    <a:lnTo>
                      <a:pt x="22" y="18"/>
                    </a:lnTo>
                    <a:lnTo>
                      <a:pt x="17" y="14"/>
                    </a:lnTo>
                    <a:lnTo>
                      <a:pt x="15" y="13"/>
                    </a:lnTo>
                    <a:lnTo>
                      <a:pt x="15" y="11"/>
                    </a:lnTo>
                    <a:lnTo>
                      <a:pt x="15" y="8"/>
                    </a:lnTo>
                    <a:lnTo>
                      <a:pt x="15" y="7"/>
                    </a:lnTo>
                    <a:lnTo>
                      <a:pt x="17" y="4"/>
                    </a:lnTo>
                    <a:lnTo>
                      <a:pt x="17" y="3"/>
                    </a:lnTo>
                    <a:lnTo>
                      <a:pt x="11" y="3"/>
                    </a:lnTo>
                    <a:lnTo>
                      <a:pt x="10" y="3"/>
                    </a:lnTo>
                    <a:lnTo>
                      <a:pt x="1" y="0"/>
                    </a:lnTo>
                    <a:lnTo>
                      <a:pt x="1" y="1"/>
                    </a:lnTo>
                    <a:lnTo>
                      <a:pt x="1" y="4"/>
                    </a:lnTo>
                    <a:lnTo>
                      <a:pt x="1" y="5"/>
                    </a:lnTo>
                    <a:lnTo>
                      <a:pt x="0" y="7"/>
                    </a:lnTo>
                    <a:lnTo>
                      <a:pt x="1" y="10"/>
                    </a:lnTo>
                    <a:lnTo>
                      <a:pt x="5" y="13"/>
                    </a:lnTo>
                    <a:lnTo>
                      <a:pt x="7" y="14"/>
                    </a:lnTo>
                    <a:lnTo>
                      <a:pt x="8" y="15"/>
                    </a:lnTo>
                    <a:lnTo>
                      <a:pt x="8" y="17"/>
                    </a:lnTo>
                    <a:lnTo>
                      <a:pt x="8" y="21"/>
                    </a:lnTo>
                    <a:lnTo>
                      <a:pt x="7" y="23"/>
                    </a:lnTo>
                    <a:lnTo>
                      <a:pt x="7" y="24"/>
                    </a:lnTo>
                    <a:lnTo>
                      <a:pt x="7" y="26"/>
                    </a:lnTo>
                    <a:lnTo>
                      <a:pt x="8" y="27"/>
                    </a:lnTo>
                    <a:lnTo>
                      <a:pt x="7" y="27"/>
                    </a:lnTo>
                    <a:lnTo>
                      <a:pt x="5" y="28"/>
                    </a:lnTo>
                    <a:lnTo>
                      <a:pt x="7" y="28"/>
                    </a:lnTo>
                    <a:lnTo>
                      <a:pt x="7" y="30"/>
                    </a:lnTo>
                    <a:lnTo>
                      <a:pt x="7" y="30"/>
                    </a:lnTo>
                    <a:lnTo>
                      <a:pt x="8" y="30"/>
                    </a:lnTo>
                    <a:lnTo>
                      <a:pt x="10" y="30"/>
                    </a:lnTo>
                    <a:lnTo>
                      <a:pt x="10" y="30"/>
                    </a:lnTo>
                    <a:lnTo>
                      <a:pt x="11" y="30"/>
                    </a:lnTo>
                    <a:lnTo>
                      <a:pt x="11" y="31"/>
                    </a:lnTo>
                    <a:lnTo>
                      <a:pt x="10" y="34"/>
                    </a:lnTo>
                    <a:lnTo>
                      <a:pt x="10" y="38"/>
                    </a:lnTo>
                    <a:lnTo>
                      <a:pt x="10" y="38"/>
                    </a:lnTo>
                    <a:lnTo>
                      <a:pt x="10" y="40"/>
                    </a:lnTo>
                    <a:lnTo>
                      <a:pt x="8" y="41"/>
                    </a:lnTo>
                    <a:lnTo>
                      <a:pt x="8" y="41"/>
                    </a:lnTo>
                    <a:lnTo>
                      <a:pt x="10" y="44"/>
                    </a:lnTo>
                    <a:lnTo>
                      <a:pt x="12" y="47"/>
                    </a:lnTo>
                    <a:lnTo>
                      <a:pt x="14" y="50"/>
                    </a:lnTo>
                    <a:lnTo>
                      <a:pt x="14" y="50"/>
                    </a:lnTo>
                    <a:lnTo>
                      <a:pt x="12" y="51"/>
                    </a:lnTo>
                    <a:lnTo>
                      <a:pt x="12" y="51"/>
                    </a:lnTo>
                    <a:lnTo>
                      <a:pt x="12" y="51"/>
                    </a:lnTo>
                    <a:lnTo>
                      <a:pt x="12" y="54"/>
                    </a:lnTo>
                    <a:lnTo>
                      <a:pt x="12" y="57"/>
                    </a:lnTo>
                    <a:lnTo>
                      <a:pt x="12" y="59"/>
                    </a:lnTo>
                    <a:lnTo>
                      <a:pt x="11" y="60"/>
                    </a:lnTo>
                    <a:lnTo>
                      <a:pt x="11" y="63"/>
                    </a:lnTo>
                    <a:lnTo>
                      <a:pt x="11" y="64"/>
                    </a:lnTo>
                    <a:lnTo>
                      <a:pt x="11" y="64"/>
                    </a:lnTo>
                    <a:lnTo>
                      <a:pt x="11" y="66"/>
                    </a:lnTo>
                    <a:lnTo>
                      <a:pt x="11" y="66"/>
                    </a:lnTo>
                    <a:lnTo>
                      <a:pt x="11" y="66"/>
                    </a:lnTo>
                    <a:lnTo>
                      <a:pt x="11" y="67"/>
                    </a:lnTo>
                    <a:lnTo>
                      <a:pt x="12" y="67"/>
                    </a:lnTo>
                    <a:lnTo>
                      <a:pt x="12" y="69"/>
                    </a:lnTo>
                    <a:lnTo>
                      <a:pt x="12" y="69"/>
                    </a:lnTo>
                    <a:lnTo>
                      <a:pt x="12" y="70"/>
                    </a:lnTo>
                    <a:lnTo>
                      <a:pt x="11" y="76"/>
                    </a:lnTo>
                    <a:lnTo>
                      <a:pt x="11" y="76"/>
                    </a:lnTo>
                    <a:lnTo>
                      <a:pt x="12" y="77"/>
                    </a:lnTo>
                    <a:lnTo>
                      <a:pt x="12" y="80"/>
                    </a:lnTo>
                    <a:lnTo>
                      <a:pt x="14" y="82"/>
                    </a:lnTo>
                    <a:lnTo>
                      <a:pt x="15" y="83"/>
                    </a:lnTo>
                    <a:lnTo>
                      <a:pt x="17" y="84"/>
                    </a:lnTo>
                    <a:lnTo>
                      <a:pt x="21" y="87"/>
                    </a:lnTo>
                    <a:lnTo>
                      <a:pt x="22" y="89"/>
                    </a:lnTo>
                    <a:lnTo>
                      <a:pt x="24" y="89"/>
                    </a:lnTo>
                    <a:lnTo>
                      <a:pt x="27" y="87"/>
                    </a:lnTo>
                    <a:lnTo>
                      <a:pt x="30" y="87"/>
                    </a:lnTo>
                    <a:lnTo>
                      <a:pt x="31" y="86"/>
                    </a:lnTo>
                    <a:lnTo>
                      <a:pt x="33" y="8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10" name="Freeform 197">
                <a:extLst>
                  <a:ext uri="{FF2B5EF4-FFF2-40B4-BE49-F238E27FC236}">
                    <a16:creationId xmlns:a16="http://schemas.microsoft.com/office/drawing/2014/main" id="{2302E6C8-B160-A63C-340C-CB6ACAA0AA6A}"/>
                  </a:ext>
                </a:extLst>
              </p:cNvPr>
              <p:cNvSpPr>
                <a:spLocks/>
              </p:cNvSpPr>
              <p:nvPr/>
            </p:nvSpPr>
            <p:spPr bwMode="auto">
              <a:xfrm>
                <a:off x="3395" y="2026"/>
                <a:ext cx="363" cy="351"/>
              </a:xfrm>
              <a:custGeom>
                <a:avLst/>
                <a:gdLst>
                  <a:gd name="T0" fmla="*/ 206 w 253"/>
                  <a:gd name="T1" fmla="*/ 35 h 244"/>
                  <a:gd name="T2" fmla="*/ 208 w 253"/>
                  <a:gd name="T3" fmla="*/ 19 h 244"/>
                  <a:gd name="T4" fmla="*/ 208 w 253"/>
                  <a:gd name="T5" fmla="*/ 9 h 244"/>
                  <a:gd name="T6" fmla="*/ 208 w 253"/>
                  <a:gd name="T7" fmla="*/ 7 h 244"/>
                  <a:gd name="T8" fmla="*/ 203 w 253"/>
                  <a:gd name="T9" fmla="*/ 3 h 244"/>
                  <a:gd name="T10" fmla="*/ 191 w 253"/>
                  <a:gd name="T11" fmla="*/ 2 h 244"/>
                  <a:gd name="T12" fmla="*/ 181 w 253"/>
                  <a:gd name="T13" fmla="*/ 3 h 244"/>
                  <a:gd name="T14" fmla="*/ 170 w 253"/>
                  <a:gd name="T15" fmla="*/ 6 h 244"/>
                  <a:gd name="T16" fmla="*/ 157 w 253"/>
                  <a:gd name="T17" fmla="*/ 2 h 244"/>
                  <a:gd name="T18" fmla="*/ 140 w 253"/>
                  <a:gd name="T19" fmla="*/ 6 h 244"/>
                  <a:gd name="T20" fmla="*/ 118 w 253"/>
                  <a:gd name="T21" fmla="*/ 9 h 244"/>
                  <a:gd name="T22" fmla="*/ 107 w 253"/>
                  <a:gd name="T23" fmla="*/ 16 h 244"/>
                  <a:gd name="T24" fmla="*/ 94 w 253"/>
                  <a:gd name="T25" fmla="*/ 21 h 244"/>
                  <a:gd name="T26" fmla="*/ 80 w 253"/>
                  <a:gd name="T27" fmla="*/ 29 h 244"/>
                  <a:gd name="T28" fmla="*/ 84 w 253"/>
                  <a:gd name="T29" fmla="*/ 35 h 244"/>
                  <a:gd name="T30" fmla="*/ 85 w 253"/>
                  <a:gd name="T31" fmla="*/ 37 h 244"/>
                  <a:gd name="T32" fmla="*/ 86 w 253"/>
                  <a:gd name="T33" fmla="*/ 45 h 244"/>
                  <a:gd name="T34" fmla="*/ 86 w 253"/>
                  <a:gd name="T35" fmla="*/ 53 h 244"/>
                  <a:gd name="T36" fmla="*/ 88 w 253"/>
                  <a:gd name="T37" fmla="*/ 57 h 244"/>
                  <a:gd name="T38" fmla="*/ 93 w 253"/>
                  <a:gd name="T39" fmla="*/ 63 h 244"/>
                  <a:gd name="T40" fmla="*/ 93 w 253"/>
                  <a:gd name="T41" fmla="*/ 65 h 244"/>
                  <a:gd name="T42" fmla="*/ 91 w 253"/>
                  <a:gd name="T43" fmla="*/ 67 h 244"/>
                  <a:gd name="T44" fmla="*/ 90 w 253"/>
                  <a:gd name="T45" fmla="*/ 69 h 244"/>
                  <a:gd name="T46" fmla="*/ 83 w 253"/>
                  <a:gd name="T47" fmla="*/ 69 h 244"/>
                  <a:gd name="T48" fmla="*/ 72 w 253"/>
                  <a:gd name="T49" fmla="*/ 69 h 244"/>
                  <a:gd name="T50" fmla="*/ 70 w 253"/>
                  <a:gd name="T51" fmla="*/ 72 h 244"/>
                  <a:gd name="T52" fmla="*/ 60 w 253"/>
                  <a:gd name="T53" fmla="*/ 75 h 244"/>
                  <a:gd name="T54" fmla="*/ 60 w 253"/>
                  <a:gd name="T55" fmla="*/ 81 h 244"/>
                  <a:gd name="T56" fmla="*/ 62 w 253"/>
                  <a:gd name="T57" fmla="*/ 83 h 244"/>
                  <a:gd name="T58" fmla="*/ 46 w 253"/>
                  <a:gd name="T59" fmla="*/ 91 h 244"/>
                  <a:gd name="T60" fmla="*/ 26 w 253"/>
                  <a:gd name="T61" fmla="*/ 102 h 244"/>
                  <a:gd name="T62" fmla="*/ 13 w 253"/>
                  <a:gd name="T63" fmla="*/ 105 h 244"/>
                  <a:gd name="T64" fmla="*/ 47 w 253"/>
                  <a:gd name="T65" fmla="*/ 165 h 244"/>
                  <a:gd name="T66" fmla="*/ 121 w 253"/>
                  <a:gd name="T67" fmla="*/ 220 h 244"/>
                  <a:gd name="T68" fmla="*/ 126 w 253"/>
                  <a:gd name="T69" fmla="*/ 224 h 244"/>
                  <a:gd name="T70" fmla="*/ 132 w 253"/>
                  <a:gd name="T71" fmla="*/ 227 h 244"/>
                  <a:gd name="T72" fmla="*/ 139 w 253"/>
                  <a:gd name="T73" fmla="*/ 231 h 244"/>
                  <a:gd name="T74" fmla="*/ 146 w 253"/>
                  <a:gd name="T75" fmla="*/ 236 h 244"/>
                  <a:gd name="T76" fmla="*/ 145 w 253"/>
                  <a:gd name="T77" fmla="*/ 242 h 244"/>
                  <a:gd name="T78" fmla="*/ 174 w 253"/>
                  <a:gd name="T79" fmla="*/ 239 h 244"/>
                  <a:gd name="T80" fmla="*/ 253 w 253"/>
                  <a:gd name="T81" fmla="*/ 185 h 244"/>
                  <a:gd name="T82" fmla="*/ 238 w 253"/>
                  <a:gd name="T83" fmla="*/ 171 h 244"/>
                  <a:gd name="T84" fmla="*/ 232 w 253"/>
                  <a:gd name="T85" fmla="*/ 170 h 244"/>
                  <a:gd name="T86" fmla="*/ 222 w 253"/>
                  <a:gd name="T87" fmla="*/ 149 h 244"/>
                  <a:gd name="T88" fmla="*/ 226 w 253"/>
                  <a:gd name="T89" fmla="*/ 144 h 244"/>
                  <a:gd name="T90" fmla="*/ 226 w 253"/>
                  <a:gd name="T91" fmla="*/ 133 h 244"/>
                  <a:gd name="T92" fmla="*/ 227 w 253"/>
                  <a:gd name="T93" fmla="*/ 111 h 244"/>
                  <a:gd name="T94" fmla="*/ 224 w 253"/>
                  <a:gd name="T95" fmla="*/ 100 h 244"/>
                  <a:gd name="T96" fmla="*/ 222 w 253"/>
                  <a:gd name="T97" fmla="*/ 94 h 244"/>
                  <a:gd name="T98" fmla="*/ 210 w 253"/>
                  <a:gd name="T99" fmla="*/ 64 h 244"/>
                  <a:gd name="T100" fmla="*/ 206 w 253"/>
                  <a:gd name="T101" fmla="*/ 57 h 244"/>
                  <a:gd name="T102" fmla="*/ 199 w 253"/>
                  <a:gd name="T103" fmla="*/ 5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3" h="244">
                    <a:moveTo>
                      <a:pt x="199" y="42"/>
                    </a:moveTo>
                    <a:cubicBezTo>
                      <a:pt x="199" y="42"/>
                      <a:pt x="200" y="40"/>
                      <a:pt x="200" y="40"/>
                    </a:cubicBezTo>
                    <a:cubicBezTo>
                      <a:pt x="202" y="38"/>
                      <a:pt x="202" y="38"/>
                      <a:pt x="202" y="38"/>
                    </a:cubicBezTo>
                    <a:cubicBezTo>
                      <a:pt x="204" y="37"/>
                      <a:pt x="204" y="37"/>
                      <a:pt x="204" y="37"/>
                    </a:cubicBezTo>
                    <a:cubicBezTo>
                      <a:pt x="206" y="35"/>
                      <a:pt x="206" y="35"/>
                      <a:pt x="206" y="35"/>
                    </a:cubicBezTo>
                    <a:cubicBezTo>
                      <a:pt x="207" y="32"/>
                      <a:pt x="207" y="32"/>
                      <a:pt x="207" y="32"/>
                    </a:cubicBezTo>
                    <a:cubicBezTo>
                      <a:pt x="208" y="30"/>
                      <a:pt x="208" y="30"/>
                      <a:pt x="208" y="30"/>
                    </a:cubicBezTo>
                    <a:cubicBezTo>
                      <a:pt x="209" y="27"/>
                      <a:pt x="209" y="27"/>
                      <a:pt x="209" y="27"/>
                    </a:cubicBezTo>
                    <a:cubicBezTo>
                      <a:pt x="209" y="24"/>
                      <a:pt x="209" y="24"/>
                      <a:pt x="209" y="24"/>
                    </a:cubicBezTo>
                    <a:cubicBezTo>
                      <a:pt x="208" y="19"/>
                      <a:pt x="208" y="19"/>
                      <a:pt x="208" y="19"/>
                    </a:cubicBezTo>
                    <a:cubicBezTo>
                      <a:pt x="207" y="17"/>
                      <a:pt x="207" y="17"/>
                      <a:pt x="207" y="17"/>
                    </a:cubicBezTo>
                    <a:cubicBezTo>
                      <a:pt x="207" y="16"/>
                      <a:pt x="207" y="16"/>
                      <a:pt x="207" y="16"/>
                    </a:cubicBezTo>
                    <a:cubicBezTo>
                      <a:pt x="208" y="13"/>
                      <a:pt x="208" y="13"/>
                      <a:pt x="208" y="13"/>
                    </a:cubicBezTo>
                    <a:cubicBezTo>
                      <a:pt x="208" y="10"/>
                      <a:pt x="208" y="10"/>
                      <a:pt x="208" y="10"/>
                    </a:cubicBezTo>
                    <a:cubicBezTo>
                      <a:pt x="208" y="9"/>
                      <a:pt x="208" y="9"/>
                      <a:pt x="208" y="9"/>
                    </a:cubicBezTo>
                    <a:cubicBezTo>
                      <a:pt x="208" y="9"/>
                      <a:pt x="208" y="9"/>
                      <a:pt x="208" y="9"/>
                    </a:cubicBezTo>
                    <a:cubicBezTo>
                      <a:pt x="208" y="9"/>
                      <a:pt x="208" y="9"/>
                      <a:pt x="208" y="9"/>
                    </a:cubicBezTo>
                    <a:cubicBezTo>
                      <a:pt x="207" y="8"/>
                      <a:pt x="207" y="8"/>
                      <a:pt x="207" y="8"/>
                    </a:cubicBezTo>
                    <a:cubicBezTo>
                      <a:pt x="207" y="8"/>
                      <a:pt x="207" y="8"/>
                      <a:pt x="207" y="8"/>
                    </a:cubicBezTo>
                    <a:cubicBezTo>
                      <a:pt x="208" y="7"/>
                      <a:pt x="208" y="7"/>
                      <a:pt x="208" y="7"/>
                    </a:cubicBezTo>
                    <a:cubicBezTo>
                      <a:pt x="210" y="5"/>
                      <a:pt x="210" y="5"/>
                      <a:pt x="210" y="5"/>
                    </a:cubicBezTo>
                    <a:cubicBezTo>
                      <a:pt x="211" y="4"/>
                      <a:pt x="211" y="4"/>
                      <a:pt x="211" y="4"/>
                    </a:cubicBezTo>
                    <a:cubicBezTo>
                      <a:pt x="211" y="2"/>
                      <a:pt x="211" y="2"/>
                      <a:pt x="211" y="2"/>
                    </a:cubicBezTo>
                    <a:cubicBezTo>
                      <a:pt x="205" y="3"/>
                      <a:pt x="205" y="3"/>
                      <a:pt x="205" y="3"/>
                    </a:cubicBezTo>
                    <a:cubicBezTo>
                      <a:pt x="203" y="3"/>
                      <a:pt x="203" y="3"/>
                      <a:pt x="203" y="3"/>
                    </a:cubicBezTo>
                    <a:cubicBezTo>
                      <a:pt x="201" y="3"/>
                      <a:pt x="201" y="3"/>
                      <a:pt x="201" y="3"/>
                    </a:cubicBezTo>
                    <a:cubicBezTo>
                      <a:pt x="197" y="1"/>
                      <a:pt x="197" y="1"/>
                      <a:pt x="197" y="1"/>
                    </a:cubicBezTo>
                    <a:cubicBezTo>
                      <a:pt x="195" y="0"/>
                      <a:pt x="195" y="0"/>
                      <a:pt x="195" y="0"/>
                    </a:cubicBezTo>
                    <a:cubicBezTo>
                      <a:pt x="194" y="2"/>
                      <a:pt x="194" y="2"/>
                      <a:pt x="194" y="2"/>
                    </a:cubicBezTo>
                    <a:cubicBezTo>
                      <a:pt x="191" y="2"/>
                      <a:pt x="191" y="2"/>
                      <a:pt x="191" y="2"/>
                    </a:cubicBezTo>
                    <a:cubicBezTo>
                      <a:pt x="186" y="0"/>
                      <a:pt x="186" y="0"/>
                      <a:pt x="186" y="0"/>
                    </a:cubicBezTo>
                    <a:cubicBezTo>
                      <a:pt x="184" y="0"/>
                      <a:pt x="184" y="0"/>
                      <a:pt x="184" y="0"/>
                    </a:cubicBezTo>
                    <a:cubicBezTo>
                      <a:pt x="183" y="1"/>
                      <a:pt x="183" y="1"/>
                      <a:pt x="183" y="1"/>
                    </a:cubicBezTo>
                    <a:cubicBezTo>
                      <a:pt x="182" y="2"/>
                      <a:pt x="182" y="2"/>
                      <a:pt x="182" y="2"/>
                    </a:cubicBezTo>
                    <a:cubicBezTo>
                      <a:pt x="181" y="3"/>
                      <a:pt x="181" y="3"/>
                      <a:pt x="181" y="3"/>
                    </a:cubicBezTo>
                    <a:cubicBezTo>
                      <a:pt x="179" y="3"/>
                      <a:pt x="179" y="3"/>
                      <a:pt x="179" y="3"/>
                    </a:cubicBezTo>
                    <a:cubicBezTo>
                      <a:pt x="175" y="5"/>
                      <a:pt x="175" y="5"/>
                      <a:pt x="175" y="5"/>
                    </a:cubicBezTo>
                    <a:cubicBezTo>
                      <a:pt x="172" y="6"/>
                      <a:pt x="172" y="6"/>
                      <a:pt x="172" y="6"/>
                    </a:cubicBezTo>
                    <a:cubicBezTo>
                      <a:pt x="171" y="6"/>
                      <a:pt x="171" y="6"/>
                      <a:pt x="171" y="6"/>
                    </a:cubicBezTo>
                    <a:cubicBezTo>
                      <a:pt x="170" y="6"/>
                      <a:pt x="170" y="6"/>
                      <a:pt x="170" y="6"/>
                    </a:cubicBezTo>
                    <a:cubicBezTo>
                      <a:pt x="168" y="5"/>
                      <a:pt x="168" y="5"/>
                      <a:pt x="168" y="5"/>
                    </a:cubicBezTo>
                    <a:cubicBezTo>
                      <a:pt x="166" y="3"/>
                      <a:pt x="166" y="3"/>
                      <a:pt x="166" y="3"/>
                    </a:cubicBezTo>
                    <a:cubicBezTo>
                      <a:pt x="165" y="3"/>
                      <a:pt x="165" y="3"/>
                      <a:pt x="165" y="3"/>
                    </a:cubicBezTo>
                    <a:cubicBezTo>
                      <a:pt x="161" y="2"/>
                      <a:pt x="161" y="2"/>
                      <a:pt x="161" y="2"/>
                    </a:cubicBezTo>
                    <a:cubicBezTo>
                      <a:pt x="157" y="2"/>
                      <a:pt x="157" y="2"/>
                      <a:pt x="157" y="2"/>
                    </a:cubicBezTo>
                    <a:cubicBezTo>
                      <a:pt x="149" y="4"/>
                      <a:pt x="149" y="4"/>
                      <a:pt x="149" y="4"/>
                    </a:cubicBezTo>
                    <a:cubicBezTo>
                      <a:pt x="145" y="4"/>
                      <a:pt x="145" y="4"/>
                      <a:pt x="145" y="4"/>
                    </a:cubicBezTo>
                    <a:cubicBezTo>
                      <a:pt x="144" y="4"/>
                      <a:pt x="144" y="4"/>
                      <a:pt x="144" y="4"/>
                    </a:cubicBezTo>
                    <a:cubicBezTo>
                      <a:pt x="142" y="5"/>
                      <a:pt x="142" y="5"/>
                      <a:pt x="142" y="5"/>
                    </a:cubicBezTo>
                    <a:cubicBezTo>
                      <a:pt x="140" y="6"/>
                      <a:pt x="140" y="6"/>
                      <a:pt x="140" y="6"/>
                    </a:cubicBezTo>
                    <a:cubicBezTo>
                      <a:pt x="138" y="7"/>
                      <a:pt x="138" y="7"/>
                      <a:pt x="138" y="7"/>
                    </a:cubicBezTo>
                    <a:cubicBezTo>
                      <a:pt x="135" y="7"/>
                      <a:pt x="135" y="7"/>
                      <a:pt x="135" y="7"/>
                    </a:cubicBezTo>
                    <a:cubicBezTo>
                      <a:pt x="124" y="8"/>
                      <a:pt x="124" y="8"/>
                      <a:pt x="124" y="8"/>
                    </a:cubicBezTo>
                    <a:cubicBezTo>
                      <a:pt x="121" y="8"/>
                      <a:pt x="121" y="8"/>
                      <a:pt x="121" y="8"/>
                    </a:cubicBezTo>
                    <a:cubicBezTo>
                      <a:pt x="118" y="9"/>
                      <a:pt x="118" y="9"/>
                      <a:pt x="118" y="9"/>
                    </a:cubicBezTo>
                    <a:cubicBezTo>
                      <a:pt x="113" y="12"/>
                      <a:pt x="113" y="12"/>
                      <a:pt x="113" y="12"/>
                    </a:cubicBezTo>
                    <a:cubicBezTo>
                      <a:pt x="110" y="13"/>
                      <a:pt x="110" y="13"/>
                      <a:pt x="110" y="13"/>
                    </a:cubicBezTo>
                    <a:cubicBezTo>
                      <a:pt x="109" y="14"/>
                      <a:pt x="109" y="14"/>
                      <a:pt x="109" y="14"/>
                    </a:cubicBezTo>
                    <a:cubicBezTo>
                      <a:pt x="108" y="15"/>
                      <a:pt x="108" y="15"/>
                      <a:pt x="108" y="15"/>
                    </a:cubicBezTo>
                    <a:cubicBezTo>
                      <a:pt x="107" y="16"/>
                      <a:pt x="107" y="16"/>
                      <a:pt x="107" y="16"/>
                    </a:cubicBezTo>
                    <a:cubicBezTo>
                      <a:pt x="106" y="17"/>
                      <a:pt x="106" y="17"/>
                      <a:pt x="106" y="17"/>
                    </a:cubicBezTo>
                    <a:cubicBezTo>
                      <a:pt x="105" y="17"/>
                      <a:pt x="105" y="17"/>
                      <a:pt x="105" y="17"/>
                    </a:cubicBezTo>
                    <a:cubicBezTo>
                      <a:pt x="100" y="18"/>
                      <a:pt x="100" y="18"/>
                      <a:pt x="100" y="18"/>
                    </a:cubicBezTo>
                    <a:cubicBezTo>
                      <a:pt x="97" y="19"/>
                      <a:pt x="97" y="19"/>
                      <a:pt x="97" y="19"/>
                    </a:cubicBezTo>
                    <a:cubicBezTo>
                      <a:pt x="94" y="21"/>
                      <a:pt x="94" y="21"/>
                      <a:pt x="94" y="21"/>
                    </a:cubicBezTo>
                    <a:cubicBezTo>
                      <a:pt x="89" y="25"/>
                      <a:pt x="89" y="25"/>
                      <a:pt x="89" y="25"/>
                    </a:cubicBezTo>
                    <a:cubicBezTo>
                      <a:pt x="86" y="27"/>
                      <a:pt x="86" y="27"/>
                      <a:pt x="86" y="27"/>
                    </a:cubicBezTo>
                    <a:cubicBezTo>
                      <a:pt x="83" y="28"/>
                      <a:pt x="83" y="28"/>
                      <a:pt x="83" y="28"/>
                    </a:cubicBezTo>
                    <a:cubicBezTo>
                      <a:pt x="79" y="28"/>
                      <a:pt x="79" y="28"/>
                      <a:pt x="79" y="28"/>
                    </a:cubicBezTo>
                    <a:cubicBezTo>
                      <a:pt x="80" y="29"/>
                      <a:pt x="80" y="29"/>
                      <a:pt x="80" y="29"/>
                    </a:cubicBezTo>
                    <a:cubicBezTo>
                      <a:pt x="81" y="30"/>
                      <a:pt x="81" y="30"/>
                      <a:pt x="81" y="30"/>
                    </a:cubicBezTo>
                    <a:cubicBezTo>
                      <a:pt x="83" y="31"/>
                      <a:pt x="83" y="31"/>
                      <a:pt x="83" y="31"/>
                    </a:cubicBezTo>
                    <a:cubicBezTo>
                      <a:pt x="84" y="32"/>
                      <a:pt x="84" y="32"/>
                      <a:pt x="84" y="32"/>
                    </a:cubicBezTo>
                    <a:cubicBezTo>
                      <a:pt x="84" y="33"/>
                      <a:pt x="84" y="33"/>
                      <a:pt x="84" y="33"/>
                    </a:cubicBezTo>
                    <a:cubicBezTo>
                      <a:pt x="84" y="35"/>
                      <a:pt x="84" y="35"/>
                      <a:pt x="84" y="35"/>
                    </a:cubicBezTo>
                    <a:cubicBezTo>
                      <a:pt x="84" y="35"/>
                      <a:pt x="84" y="35"/>
                      <a:pt x="84" y="35"/>
                    </a:cubicBezTo>
                    <a:cubicBezTo>
                      <a:pt x="84" y="36"/>
                      <a:pt x="84" y="36"/>
                      <a:pt x="84" y="36"/>
                    </a:cubicBezTo>
                    <a:cubicBezTo>
                      <a:pt x="85" y="36"/>
                      <a:pt x="85" y="36"/>
                      <a:pt x="85" y="36"/>
                    </a:cubicBezTo>
                    <a:cubicBezTo>
                      <a:pt x="85" y="36"/>
                      <a:pt x="85" y="36"/>
                      <a:pt x="85" y="36"/>
                    </a:cubicBezTo>
                    <a:cubicBezTo>
                      <a:pt x="85" y="37"/>
                      <a:pt x="85" y="37"/>
                      <a:pt x="85" y="37"/>
                    </a:cubicBezTo>
                    <a:cubicBezTo>
                      <a:pt x="84" y="38"/>
                      <a:pt x="84" y="38"/>
                      <a:pt x="84" y="38"/>
                    </a:cubicBezTo>
                    <a:cubicBezTo>
                      <a:pt x="85" y="39"/>
                      <a:pt x="85" y="39"/>
                      <a:pt x="85" y="39"/>
                    </a:cubicBezTo>
                    <a:cubicBezTo>
                      <a:pt x="85" y="41"/>
                      <a:pt x="85" y="41"/>
                      <a:pt x="85" y="41"/>
                    </a:cubicBezTo>
                    <a:cubicBezTo>
                      <a:pt x="86" y="43"/>
                      <a:pt x="86" y="43"/>
                      <a:pt x="86" y="43"/>
                    </a:cubicBezTo>
                    <a:cubicBezTo>
                      <a:pt x="86" y="45"/>
                      <a:pt x="86" y="45"/>
                      <a:pt x="86" y="45"/>
                    </a:cubicBezTo>
                    <a:cubicBezTo>
                      <a:pt x="86" y="46"/>
                      <a:pt x="86" y="46"/>
                      <a:pt x="86" y="46"/>
                    </a:cubicBezTo>
                    <a:cubicBezTo>
                      <a:pt x="86" y="49"/>
                      <a:pt x="86" y="49"/>
                      <a:pt x="86" y="49"/>
                    </a:cubicBezTo>
                    <a:cubicBezTo>
                      <a:pt x="86" y="50"/>
                      <a:pt x="86" y="50"/>
                      <a:pt x="86" y="50"/>
                    </a:cubicBezTo>
                    <a:cubicBezTo>
                      <a:pt x="86" y="52"/>
                      <a:pt x="86" y="52"/>
                      <a:pt x="86" y="52"/>
                    </a:cubicBezTo>
                    <a:cubicBezTo>
                      <a:pt x="86" y="53"/>
                      <a:pt x="86" y="53"/>
                      <a:pt x="86" y="53"/>
                    </a:cubicBezTo>
                    <a:cubicBezTo>
                      <a:pt x="86" y="55"/>
                      <a:pt x="86" y="55"/>
                      <a:pt x="86" y="55"/>
                    </a:cubicBezTo>
                    <a:cubicBezTo>
                      <a:pt x="87" y="55"/>
                      <a:pt x="87" y="55"/>
                      <a:pt x="87" y="55"/>
                    </a:cubicBezTo>
                    <a:cubicBezTo>
                      <a:pt x="87" y="56"/>
                      <a:pt x="87" y="56"/>
                      <a:pt x="87" y="56"/>
                    </a:cubicBezTo>
                    <a:cubicBezTo>
                      <a:pt x="88" y="57"/>
                      <a:pt x="88" y="57"/>
                      <a:pt x="88" y="57"/>
                    </a:cubicBezTo>
                    <a:cubicBezTo>
                      <a:pt x="88" y="57"/>
                      <a:pt x="88" y="57"/>
                      <a:pt x="88" y="57"/>
                    </a:cubicBezTo>
                    <a:cubicBezTo>
                      <a:pt x="88" y="58"/>
                      <a:pt x="88" y="58"/>
                      <a:pt x="88" y="58"/>
                    </a:cubicBezTo>
                    <a:cubicBezTo>
                      <a:pt x="88" y="58"/>
                      <a:pt x="88" y="58"/>
                      <a:pt x="88" y="58"/>
                    </a:cubicBezTo>
                    <a:cubicBezTo>
                      <a:pt x="89" y="60"/>
                      <a:pt x="89" y="60"/>
                      <a:pt x="89" y="60"/>
                    </a:cubicBezTo>
                    <a:cubicBezTo>
                      <a:pt x="90" y="61"/>
                      <a:pt x="90" y="61"/>
                      <a:pt x="90" y="61"/>
                    </a:cubicBezTo>
                    <a:cubicBezTo>
                      <a:pt x="93" y="63"/>
                      <a:pt x="93" y="63"/>
                      <a:pt x="93" y="63"/>
                    </a:cubicBezTo>
                    <a:cubicBezTo>
                      <a:pt x="93" y="63"/>
                      <a:pt x="93" y="63"/>
                      <a:pt x="93" y="63"/>
                    </a:cubicBezTo>
                    <a:cubicBezTo>
                      <a:pt x="93" y="64"/>
                      <a:pt x="93" y="64"/>
                      <a:pt x="93" y="64"/>
                    </a:cubicBezTo>
                    <a:cubicBezTo>
                      <a:pt x="93" y="64"/>
                      <a:pt x="93" y="64"/>
                      <a:pt x="93" y="64"/>
                    </a:cubicBezTo>
                    <a:cubicBezTo>
                      <a:pt x="93" y="64"/>
                      <a:pt x="93" y="64"/>
                      <a:pt x="93" y="64"/>
                    </a:cubicBezTo>
                    <a:cubicBezTo>
                      <a:pt x="93" y="65"/>
                      <a:pt x="93" y="65"/>
                      <a:pt x="93" y="65"/>
                    </a:cubicBezTo>
                    <a:cubicBezTo>
                      <a:pt x="91" y="66"/>
                      <a:pt x="91" y="66"/>
                      <a:pt x="91" y="66"/>
                    </a:cubicBezTo>
                    <a:cubicBezTo>
                      <a:pt x="91" y="66"/>
                      <a:pt x="91" y="66"/>
                      <a:pt x="91" y="66"/>
                    </a:cubicBezTo>
                    <a:cubicBezTo>
                      <a:pt x="91" y="67"/>
                      <a:pt x="91" y="67"/>
                      <a:pt x="91" y="67"/>
                    </a:cubicBezTo>
                    <a:cubicBezTo>
                      <a:pt x="91" y="67"/>
                      <a:pt x="91" y="67"/>
                      <a:pt x="91" y="67"/>
                    </a:cubicBezTo>
                    <a:cubicBezTo>
                      <a:pt x="91" y="67"/>
                      <a:pt x="91" y="67"/>
                      <a:pt x="91" y="67"/>
                    </a:cubicBezTo>
                    <a:cubicBezTo>
                      <a:pt x="91" y="68"/>
                      <a:pt x="91" y="68"/>
                      <a:pt x="91" y="68"/>
                    </a:cubicBezTo>
                    <a:cubicBezTo>
                      <a:pt x="91" y="68"/>
                      <a:pt x="91" y="68"/>
                      <a:pt x="91" y="68"/>
                    </a:cubicBezTo>
                    <a:cubicBezTo>
                      <a:pt x="91" y="69"/>
                      <a:pt x="91" y="69"/>
                      <a:pt x="91" y="69"/>
                    </a:cubicBezTo>
                    <a:cubicBezTo>
                      <a:pt x="91" y="69"/>
                      <a:pt x="91" y="69"/>
                      <a:pt x="91" y="69"/>
                    </a:cubicBezTo>
                    <a:cubicBezTo>
                      <a:pt x="90" y="69"/>
                      <a:pt x="90" y="69"/>
                      <a:pt x="90" y="69"/>
                    </a:cubicBezTo>
                    <a:cubicBezTo>
                      <a:pt x="90" y="69"/>
                      <a:pt x="90" y="69"/>
                      <a:pt x="90" y="69"/>
                    </a:cubicBezTo>
                    <a:cubicBezTo>
                      <a:pt x="89" y="69"/>
                      <a:pt x="89" y="69"/>
                      <a:pt x="89" y="69"/>
                    </a:cubicBezTo>
                    <a:cubicBezTo>
                      <a:pt x="88" y="69"/>
                      <a:pt x="88" y="69"/>
                      <a:pt x="88" y="69"/>
                    </a:cubicBezTo>
                    <a:cubicBezTo>
                      <a:pt x="84" y="69"/>
                      <a:pt x="84" y="69"/>
                      <a:pt x="84" y="69"/>
                    </a:cubicBezTo>
                    <a:cubicBezTo>
                      <a:pt x="83" y="69"/>
                      <a:pt x="83" y="69"/>
                      <a:pt x="83" y="69"/>
                    </a:cubicBezTo>
                    <a:cubicBezTo>
                      <a:pt x="80" y="69"/>
                      <a:pt x="80" y="69"/>
                      <a:pt x="80" y="69"/>
                    </a:cubicBezTo>
                    <a:cubicBezTo>
                      <a:pt x="78" y="69"/>
                      <a:pt x="78" y="69"/>
                      <a:pt x="78" y="69"/>
                    </a:cubicBezTo>
                    <a:cubicBezTo>
                      <a:pt x="77" y="69"/>
                      <a:pt x="77" y="69"/>
                      <a:pt x="77" y="69"/>
                    </a:cubicBezTo>
                    <a:cubicBezTo>
                      <a:pt x="75" y="69"/>
                      <a:pt x="75" y="69"/>
                      <a:pt x="75" y="69"/>
                    </a:cubicBezTo>
                    <a:cubicBezTo>
                      <a:pt x="72" y="69"/>
                      <a:pt x="72" y="69"/>
                      <a:pt x="72" y="69"/>
                    </a:cubicBezTo>
                    <a:cubicBezTo>
                      <a:pt x="72" y="69"/>
                      <a:pt x="72" y="69"/>
                      <a:pt x="72" y="69"/>
                    </a:cubicBezTo>
                    <a:cubicBezTo>
                      <a:pt x="71" y="69"/>
                      <a:pt x="71" y="69"/>
                      <a:pt x="71" y="69"/>
                    </a:cubicBezTo>
                    <a:cubicBezTo>
                      <a:pt x="71" y="69"/>
                      <a:pt x="71" y="69"/>
                      <a:pt x="71" y="69"/>
                    </a:cubicBezTo>
                    <a:cubicBezTo>
                      <a:pt x="70" y="70"/>
                      <a:pt x="70" y="70"/>
                      <a:pt x="70" y="70"/>
                    </a:cubicBezTo>
                    <a:cubicBezTo>
                      <a:pt x="70" y="72"/>
                      <a:pt x="70" y="72"/>
                      <a:pt x="70" y="72"/>
                    </a:cubicBezTo>
                    <a:cubicBezTo>
                      <a:pt x="69" y="72"/>
                      <a:pt x="69" y="72"/>
                      <a:pt x="69" y="72"/>
                    </a:cubicBezTo>
                    <a:cubicBezTo>
                      <a:pt x="63" y="74"/>
                      <a:pt x="63" y="74"/>
                      <a:pt x="63" y="74"/>
                    </a:cubicBezTo>
                    <a:cubicBezTo>
                      <a:pt x="61" y="74"/>
                      <a:pt x="61" y="74"/>
                      <a:pt x="61" y="74"/>
                    </a:cubicBezTo>
                    <a:cubicBezTo>
                      <a:pt x="60" y="74"/>
                      <a:pt x="60" y="74"/>
                      <a:pt x="60" y="74"/>
                    </a:cubicBezTo>
                    <a:cubicBezTo>
                      <a:pt x="60" y="75"/>
                      <a:pt x="60" y="75"/>
                      <a:pt x="60" y="75"/>
                    </a:cubicBezTo>
                    <a:cubicBezTo>
                      <a:pt x="59" y="75"/>
                      <a:pt x="59" y="75"/>
                      <a:pt x="59" y="75"/>
                    </a:cubicBezTo>
                    <a:cubicBezTo>
                      <a:pt x="60" y="78"/>
                      <a:pt x="60" y="78"/>
                      <a:pt x="60" y="78"/>
                    </a:cubicBezTo>
                    <a:cubicBezTo>
                      <a:pt x="59" y="81"/>
                      <a:pt x="59" y="81"/>
                      <a:pt x="59" y="81"/>
                    </a:cubicBezTo>
                    <a:cubicBezTo>
                      <a:pt x="59" y="81"/>
                      <a:pt x="59" y="81"/>
                      <a:pt x="59" y="81"/>
                    </a:cubicBezTo>
                    <a:cubicBezTo>
                      <a:pt x="60" y="81"/>
                      <a:pt x="60" y="81"/>
                      <a:pt x="60" y="81"/>
                    </a:cubicBezTo>
                    <a:cubicBezTo>
                      <a:pt x="60" y="81"/>
                      <a:pt x="60" y="81"/>
                      <a:pt x="60" y="81"/>
                    </a:cubicBezTo>
                    <a:cubicBezTo>
                      <a:pt x="61" y="82"/>
                      <a:pt x="61" y="82"/>
                      <a:pt x="61" y="82"/>
                    </a:cubicBezTo>
                    <a:cubicBezTo>
                      <a:pt x="62" y="83"/>
                      <a:pt x="62" y="83"/>
                      <a:pt x="62" y="83"/>
                    </a:cubicBezTo>
                    <a:cubicBezTo>
                      <a:pt x="62" y="83"/>
                      <a:pt x="62" y="83"/>
                      <a:pt x="62" y="83"/>
                    </a:cubicBezTo>
                    <a:cubicBezTo>
                      <a:pt x="62" y="83"/>
                      <a:pt x="62" y="83"/>
                      <a:pt x="62" y="83"/>
                    </a:cubicBezTo>
                    <a:cubicBezTo>
                      <a:pt x="62" y="84"/>
                      <a:pt x="62" y="84"/>
                      <a:pt x="62" y="84"/>
                    </a:cubicBezTo>
                    <a:cubicBezTo>
                      <a:pt x="61" y="84"/>
                      <a:pt x="61" y="84"/>
                      <a:pt x="61" y="84"/>
                    </a:cubicBezTo>
                    <a:cubicBezTo>
                      <a:pt x="60" y="84"/>
                      <a:pt x="60" y="84"/>
                      <a:pt x="60" y="84"/>
                    </a:cubicBezTo>
                    <a:cubicBezTo>
                      <a:pt x="58" y="85"/>
                      <a:pt x="58" y="85"/>
                      <a:pt x="58" y="85"/>
                    </a:cubicBezTo>
                    <a:cubicBezTo>
                      <a:pt x="46" y="91"/>
                      <a:pt x="46" y="91"/>
                      <a:pt x="46" y="91"/>
                    </a:cubicBezTo>
                    <a:cubicBezTo>
                      <a:pt x="42" y="96"/>
                      <a:pt x="42" y="96"/>
                      <a:pt x="42" y="96"/>
                    </a:cubicBezTo>
                    <a:cubicBezTo>
                      <a:pt x="40" y="97"/>
                      <a:pt x="40" y="97"/>
                      <a:pt x="40" y="97"/>
                    </a:cubicBezTo>
                    <a:cubicBezTo>
                      <a:pt x="27" y="99"/>
                      <a:pt x="27" y="99"/>
                      <a:pt x="27" y="99"/>
                    </a:cubicBezTo>
                    <a:cubicBezTo>
                      <a:pt x="27" y="100"/>
                      <a:pt x="27" y="100"/>
                      <a:pt x="27" y="100"/>
                    </a:cubicBezTo>
                    <a:cubicBezTo>
                      <a:pt x="26" y="102"/>
                      <a:pt x="26" y="102"/>
                      <a:pt x="26" y="102"/>
                    </a:cubicBezTo>
                    <a:cubicBezTo>
                      <a:pt x="25" y="102"/>
                      <a:pt x="25" y="102"/>
                      <a:pt x="25" y="102"/>
                    </a:cubicBezTo>
                    <a:cubicBezTo>
                      <a:pt x="25" y="102"/>
                      <a:pt x="25" y="102"/>
                      <a:pt x="25" y="102"/>
                    </a:cubicBezTo>
                    <a:cubicBezTo>
                      <a:pt x="19" y="102"/>
                      <a:pt x="19" y="102"/>
                      <a:pt x="19" y="102"/>
                    </a:cubicBezTo>
                    <a:cubicBezTo>
                      <a:pt x="15" y="105"/>
                      <a:pt x="15" y="105"/>
                      <a:pt x="15" y="105"/>
                    </a:cubicBezTo>
                    <a:cubicBezTo>
                      <a:pt x="13" y="105"/>
                      <a:pt x="13" y="105"/>
                      <a:pt x="13" y="105"/>
                    </a:cubicBezTo>
                    <a:cubicBezTo>
                      <a:pt x="0" y="114"/>
                      <a:pt x="0" y="114"/>
                      <a:pt x="0" y="114"/>
                    </a:cubicBezTo>
                    <a:cubicBezTo>
                      <a:pt x="0" y="114"/>
                      <a:pt x="0" y="114"/>
                      <a:pt x="0" y="114"/>
                    </a:cubicBezTo>
                    <a:cubicBezTo>
                      <a:pt x="0" y="128"/>
                      <a:pt x="0" y="128"/>
                      <a:pt x="0" y="128"/>
                    </a:cubicBezTo>
                    <a:cubicBezTo>
                      <a:pt x="0" y="134"/>
                      <a:pt x="0" y="134"/>
                      <a:pt x="0" y="134"/>
                    </a:cubicBezTo>
                    <a:cubicBezTo>
                      <a:pt x="47" y="165"/>
                      <a:pt x="47" y="165"/>
                      <a:pt x="47" y="165"/>
                    </a:cubicBezTo>
                    <a:cubicBezTo>
                      <a:pt x="119" y="215"/>
                      <a:pt x="119" y="215"/>
                      <a:pt x="119" y="215"/>
                    </a:cubicBezTo>
                    <a:cubicBezTo>
                      <a:pt x="120" y="217"/>
                      <a:pt x="120" y="217"/>
                      <a:pt x="120" y="217"/>
                    </a:cubicBezTo>
                    <a:cubicBezTo>
                      <a:pt x="121" y="218"/>
                      <a:pt x="121" y="218"/>
                      <a:pt x="121" y="218"/>
                    </a:cubicBezTo>
                    <a:cubicBezTo>
                      <a:pt x="121" y="219"/>
                      <a:pt x="121" y="219"/>
                      <a:pt x="121" y="219"/>
                    </a:cubicBezTo>
                    <a:cubicBezTo>
                      <a:pt x="121" y="220"/>
                      <a:pt x="121" y="220"/>
                      <a:pt x="121" y="220"/>
                    </a:cubicBezTo>
                    <a:cubicBezTo>
                      <a:pt x="122" y="222"/>
                      <a:pt x="122" y="222"/>
                      <a:pt x="122" y="222"/>
                    </a:cubicBezTo>
                    <a:cubicBezTo>
                      <a:pt x="123" y="222"/>
                      <a:pt x="123" y="222"/>
                      <a:pt x="123" y="222"/>
                    </a:cubicBezTo>
                    <a:cubicBezTo>
                      <a:pt x="125" y="223"/>
                      <a:pt x="125" y="223"/>
                      <a:pt x="125" y="223"/>
                    </a:cubicBezTo>
                    <a:cubicBezTo>
                      <a:pt x="126" y="224"/>
                      <a:pt x="126" y="224"/>
                      <a:pt x="126" y="224"/>
                    </a:cubicBezTo>
                    <a:cubicBezTo>
                      <a:pt x="126" y="224"/>
                      <a:pt x="126" y="224"/>
                      <a:pt x="126" y="224"/>
                    </a:cubicBezTo>
                    <a:cubicBezTo>
                      <a:pt x="126" y="225"/>
                      <a:pt x="126" y="225"/>
                      <a:pt x="126" y="225"/>
                    </a:cubicBezTo>
                    <a:cubicBezTo>
                      <a:pt x="127" y="226"/>
                      <a:pt x="127" y="226"/>
                      <a:pt x="127" y="226"/>
                    </a:cubicBezTo>
                    <a:cubicBezTo>
                      <a:pt x="128" y="227"/>
                      <a:pt x="128" y="227"/>
                      <a:pt x="128" y="227"/>
                    </a:cubicBezTo>
                    <a:cubicBezTo>
                      <a:pt x="130" y="227"/>
                      <a:pt x="130" y="227"/>
                      <a:pt x="130" y="227"/>
                    </a:cubicBezTo>
                    <a:cubicBezTo>
                      <a:pt x="132" y="227"/>
                      <a:pt x="132" y="227"/>
                      <a:pt x="132" y="227"/>
                    </a:cubicBezTo>
                    <a:cubicBezTo>
                      <a:pt x="134" y="228"/>
                      <a:pt x="134" y="228"/>
                      <a:pt x="134" y="228"/>
                    </a:cubicBezTo>
                    <a:cubicBezTo>
                      <a:pt x="135" y="229"/>
                      <a:pt x="135" y="229"/>
                      <a:pt x="135" y="229"/>
                    </a:cubicBezTo>
                    <a:cubicBezTo>
                      <a:pt x="136" y="230"/>
                      <a:pt x="136" y="230"/>
                      <a:pt x="136" y="230"/>
                    </a:cubicBezTo>
                    <a:cubicBezTo>
                      <a:pt x="137" y="230"/>
                      <a:pt x="137" y="230"/>
                      <a:pt x="137" y="230"/>
                    </a:cubicBezTo>
                    <a:cubicBezTo>
                      <a:pt x="139" y="231"/>
                      <a:pt x="139" y="231"/>
                      <a:pt x="139" y="231"/>
                    </a:cubicBezTo>
                    <a:cubicBezTo>
                      <a:pt x="142" y="232"/>
                      <a:pt x="142" y="232"/>
                      <a:pt x="142" y="232"/>
                    </a:cubicBezTo>
                    <a:cubicBezTo>
                      <a:pt x="143" y="232"/>
                      <a:pt x="143" y="232"/>
                      <a:pt x="143" y="232"/>
                    </a:cubicBezTo>
                    <a:cubicBezTo>
                      <a:pt x="145" y="233"/>
                      <a:pt x="145" y="233"/>
                      <a:pt x="145" y="233"/>
                    </a:cubicBezTo>
                    <a:cubicBezTo>
                      <a:pt x="145" y="234"/>
                      <a:pt x="145" y="234"/>
                      <a:pt x="145" y="234"/>
                    </a:cubicBezTo>
                    <a:cubicBezTo>
                      <a:pt x="146" y="236"/>
                      <a:pt x="146" y="236"/>
                      <a:pt x="146" y="236"/>
                    </a:cubicBezTo>
                    <a:cubicBezTo>
                      <a:pt x="146" y="238"/>
                      <a:pt x="146" y="238"/>
                      <a:pt x="146" y="238"/>
                    </a:cubicBezTo>
                    <a:cubicBezTo>
                      <a:pt x="146" y="239"/>
                      <a:pt x="146" y="239"/>
                      <a:pt x="146" y="239"/>
                    </a:cubicBezTo>
                    <a:cubicBezTo>
                      <a:pt x="146" y="240"/>
                      <a:pt x="146" y="240"/>
                      <a:pt x="146" y="240"/>
                    </a:cubicBezTo>
                    <a:cubicBezTo>
                      <a:pt x="145" y="241"/>
                      <a:pt x="145" y="241"/>
                      <a:pt x="145" y="241"/>
                    </a:cubicBezTo>
                    <a:cubicBezTo>
                      <a:pt x="145" y="242"/>
                      <a:pt x="145" y="242"/>
                      <a:pt x="145" y="242"/>
                    </a:cubicBezTo>
                    <a:cubicBezTo>
                      <a:pt x="145" y="243"/>
                      <a:pt x="145" y="243"/>
                      <a:pt x="145" y="243"/>
                    </a:cubicBezTo>
                    <a:cubicBezTo>
                      <a:pt x="147" y="244"/>
                      <a:pt x="147" y="244"/>
                      <a:pt x="147" y="244"/>
                    </a:cubicBezTo>
                    <a:cubicBezTo>
                      <a:pt x="151" y="244"/>
                      <a:pt x="151" y="244"/>
                      <a:pt x="151" y="244"/>
                    </a:cubicBezTo>
                    <a:cubicBezTo>
                      <a:pt x="158" y="242"/>
                      <a:pt x="158" y="242"/>
                      <a:pt x="158" y="242"/>
                    </a:cubicBezTo>
                    <a:cubicBezTo>
                      <a:pt x="174" y="239"/>
                      <a:pt x="174" y="239"/>
                      <a:pt x="174" y="239"/>
                    </a:cubicBezTo>
                    <a:cubicBezTo>
                      <a:pt x="178" y="238"/>
                      <a:pt x="178" y="238"/>
                      <a:pt x="178" y="238"/>
                    </a:cubicBezTo>
                    <a:cubicBezTo>
                      <a:pt x="182" y="234"/>
                      <a:pt x="182" y="234"/>
                      <a:pt x="182" y="234"/>
                    </a:cubicBezTo>
                    <a:cubicBezTo>
                      <a:pt x="194" y="223"/>
                      <a:pt x="194" y="223"/>
                      <a:pt x="194" y="223"/>
                    </a:cubicBezTo>
                    <a:cubicBezTo>
                      <a:pt x="203" y="216"/>
                      <a:pt x="203" y="216"/>
                      <a:pt x="203" y="216"/>
                    </a:cubicBezTo>
                    <a:cubicBezTo>
                      <a:pt x="253" y="185"/>
                      <a:pt x="253" y="185"/>
                      <a:pt x="253" y="185"/>
                    </a:cubicBezTo>
                    <a:cubicBezTo>
                      <a:pt x="250" y="179"/>
                      <a:pt x="250" y="179"/>
                      <a:pt x="250" y="179"/>
                    </a:cubicBezTo>
                    <a:cubicBezTo>
                      <a:pt x="249" y="176"/>
                      <a:pt x="249" y="176"/>
                      <a:pt x="249" y="176"/>
                    </a:cubicBezTo>
                    <a:cubicBezTo>
                      <a:pt x="247" y="174"/>
                      <a:pt x="247" y="174"/>
                      <a:pt x="247" y="174"/>
                    </a:cubicBezTo>
                    <a:cubicBezTo>
                      <a:pt x="245" y="173"/>
                      <a:pt x="245" y="173"/>
                      <a:pt x="245" y="173"/>
                    </a:cubicBezTo>
                    <a:cubicBezTo>
                      <a:pt x="238" y="171"/>
                      <a:pt x="238" y="171"/>
                      <a:pt x="238" y="171"/>
                    </a:cubicBezTo>
                    <a:cubicBezTo>
                      <a:pt x="237" y="171"/>
                      <a:pt x="237" y="171"/>
                      <a:pt x="237" y="171"/>
                    </a:cubicBezTo>
                    <a:cubicBezTo>
                      <a:pt x="236" y="171"/>
                      <a:pt x="236" y="171"/>
                      <a:pt x="236" y="171"/>
                    </a:cubicBezTo>
                    <a:cubicBezTo>
                      <a:pt x="235" y="172"/>
                      <a:pt x="235" y="172"/>
                      <a:pt x="235" y="172"/>
                    </a:cubicBezTo>
                    <a:cubicBezTo>
                      <a:pt x="234" y="172"/>
                      <a:pt x="234" y="172"/>
                      <a:pt x="234" y="172"/>
                    </a:cubicBezTo>
                    <a:cubicBezTo>
                      <a:pt x="232" y="170"/>
                      <a:pt x="232" y="170"/>
                      <a:pt x="232" y="170"/>
                    </a:cubicBezTo>
                    <a:cubicBezTo>
                      <a:pt x="230" y="168"/>
                      <a:pt x="230" y="168"/>
                      <a:pt x="230" y="168"/>
                    </a:cubicBezTo>
                    <a:cubicBezTo>
                      <a:pt x="228" y="160"/>
                      <a:pt x="228" y="160"/>
                      <a:pt x="228" y="160"/>
                    </a:cubicBezTo>
                    <a:cubicBezTo>
                      <a:pt x="227" y="158"/>
                      <a:pt x="227" y="158"/>
                      <a:pt x="227" y="158"/>
                    </a:cubicBezTo>
                    <a:cubicBezTo>
                      <a:pt x="222" y="150"/>
                      <a:pt x="222" y="150"/>
                      <a:pt x="222" y="150"/>
                    </a:cubicBezTo>
                    <a:cubicBezTo>
                      <a:pt x="222" y="149"/>
                      <a:pt x="222" y="149"/>
                      <a:pt x="222" y="149"/>
                    </a:cubicBezTo>
                    <a:cubicBezTo>
                      <a:pt x="222" y="148"/>
                      <a:pt x="222" y="148"/>
                      <a:pt x="222" y="148"/>
                    </a:cubicBezTo>
                    <a:cubicBezTo>
                      <a:pt x="223" y="147"/>
                      <a:pt x="223" y="147"/>
                      <a:pt x="223" y="147"/>
                    </a:cubicBezTo>
                    <a:cubicBezTo>
                      <a:pt x="224" y="146"/>
                      <a:pt x="224" y="146"/>
                      <a:pt x="224" y="146"/>
                    </a:cubicBezTo>
                    <a:cubicBezTo>
                      <a:pt x="225" y="145"/>
                      <a:pt x="225" y="145"/>
                      <a:pt x="225" y="145"/>
                    </a:cubicBezTo>
                    <a:cubicBezTo>
                      <a:pt x="226" y="144"/>
                      <a:pt x="226" y="144"/>
                      <a:pt x="226" y="144"/>
                    </a:cubicBezTo>
                    <a:cubicBezTo>
                      <a:pt x="227" y="142"/>
                      <a:pt x="227" y="142"/>
                      <a:pt x="227" y="142"/>
                    </a:cubicBezTo>
                    <a:cubicBezTo>
                      <a:pt x="227" y="140"/>
                      <a:pt x="227" y="140"/>
                      <a:pt x="227" y="140"/>
                    </a:cubicBezTo>
                    <a:cubicBezTo>
                      <a:pt x="226" y="137"/>
                      <a:pt x="226" y="137"/>
                      <a:pt x="226" y="137"/>
                    </a:cubicBezTo>
                    <a:cubicBezTo>
                      <a:pt x="226" y="134"/>
                      <a:pt x="226" y="134"/>
                      <a:pt x="226" y="134"/>
                    </a:cubicBezTo>
                    <a:cubicBezTo>
                      <a:pt x="226" y="133"/>
                      <a:pt x="226" y="133"/>
                      <a:pt x="226" y="133"/>
                    </a:cubicBezTo>
                    <a:cubicBezTo>
                      <a:pt x="226" y="132"/>
                      <a:pt x="226" y="132"/>
                      <a:pt x="226" y="132"/>
                    </a:cubicBezTo>
                    <a:cubicBezTo>
                      <a:pt x="227" y="128"/>
                      <a:pt x="227" y="128"/>
                      <a:pt x="227" y="128"/>
                    </a:cubicBezTo>
                    <a:cubicBezTo>
                      <a:pt x="227" y="126"/>
                      <a:pt x="227" y="126"/>
                      <a:pt x="227" y="126"/>
                    </a:cubicBezTo>
                    <a:cubicBezTo>
                      <a:pt x="227" y="120"/>
                      <a:pt x="227" y="120"/>
                      <a:pt x="227" y="120"/>
                    </a:cubicBezTo>
                    <a:cubicBezTo>
                      <a:pt x="227" y="111"/>
                      <a:pt x="227" y="111"/>
                      <a:pt x="227" y="111"/>
                    </a:cubicBezTo>
                    <a:cubicBezTo>
                      <a:pt x="227" y="109"/>
                      <a:pt x="227" y="109"/>
                      <a:pt x="227" y="109"/>
                    </a:cubicBezTo>
                    <a:cubicBezTo>
                      <a:pt x="226" y="106"/>
                      <a:pt x="226" y="106"/>
                      <a:pt x="226" y="106"/>
                    </a:cubicBezTo>
                    <a:cubicBezTo>
                      <a:pt x="225" y="104"/>
                      <a:pt x="225" y="104"/>
                      <a:pt x="225" y="104"/>
                    </a:cubicBezTo>
                    <a:cubicBezTo>
                      <a:pt x="224" y="102"/>
                      <a:pt x="224" y="102"/>
                      <a:pt x="224" y="102"/>
                    </a:cubicBezTo>
                    <a:cubicBezTo>
                      <a:pt x="224" y="100"/>
                      <a:pt x="224" y="100"/>
                      <a:pt x="224" y="100"/>
                    </a:cubicBezTo>
                    <a:cubicBezTo>
                      <a:pt x="222" y="98"/>
                      <a:pt x="222" y="98"/>
                      <a:pt x="222" y="98"/>
                    </a:cubicBezTo>
                    <a:cubicBezTo>
                      <a:pt x="221" y="97"/>
                      <a:pt x="221" y="97"/>
                      <a:pt x="221" y="97"/>
                    </a:cubicBezTo>
                    <a:cubicBezTo>
                      <a:pt x="221" y="96"/>
                      <a:pt x="221" y="96"/>
                      <a:pt x="221" y="96"/>
                    </a:cubicBezTo>
                    <a:cubicBezTo>
                      <a:pt x="221" y="95"/>
                      <a:pt x="221" y="95"/>
                      <a:pt x="221" y="95"/>
                    </a:cubicBezTo>
                    <a:cubicBezTo>
                      <a:pt x="222" y="94"/>
                      <a:pt x="222" y="94"/>
                      <a:pt x="222" y="94"/>
                    </a:cubicBezTo>
                    <a:cubicBezTo>
                      <a:pt x="223" y="94"/>
                      <a:pt x="223" y="94"/>
                      <a:pt x="223" y="94"/>
                    </a:cubicBezTo>
                    <a:cubicBezTo>
                      <a:pt x="218" y="71"/>
                      <a:pt x="218" y="71"/>
                      <a:pt x="218" y="71"/>
                    </a:cubicBezTo>
                    <a:cubicBezTo>
                      <a:pt x="217" y="69"/>
                      <a:pt x="217" y="69"/>
                      <a:pt x="217" y="69"/>
                    </a:cubicBezTo>
                    <a:cubicBezTo>
                      <a:pt x="215" y="67"/>
                      <a:pt x="215" y="67"/>
                      <a:pt x="215" y="67"/>
                    </a:cubicBezTo>
                    <a:cubicBezTo>
                      <a:pt x="210" y="64"/>
                      <a:pt x="210" y="64"/>
                      <a:pt x="210" y="64"/>
                    </a:cubicBezTo>
                    <a:cubicBezTo>
                      <a:pt x="208" y="62"/>
                      <a:pt x="208" y="62"/>
                      <a:pt x="208" y="62"/>
                    </a:cubicBezTo>
                    <a:cubicBezTo>
                      <a:pt x="208" y="61"/>
                      <a:pt x="208" y="61"/>
                      <a:pt x="208" y="61"/>
                    </a:cubicBezTo>
                    <a:cubicBezTo>
                      <a:pt x="207" y="59"/>
                      <a:pt x="207" y="59"/>
                      <a:pt x="207" y="59"/>
                    </a:cubicBezTo>
                    <a:cubicBezTo>
                      <a:pt x="207" y="58"/>
                      <a:pt x="207" y="58"/>
                      <a:pt x="207" y="58"/>
                    </a:cubicBezTo>
                    <a:cubicBezTo>
                      <a:pt x="206" y="57"/>
                      <a:pt x="206" y="57"/>
                      <a:pt x="206" y="57"/>
                    </a:cubicBezTo>
                    <a:cubicBezTo>
                      <a:pt x="205" y="56"/>
                      <a:pt x="205" y="56"/>
                      <a:pt x="205" y="56"/>
                    </a:cubicBezTo>
                    <a:cubicBezTo>
                      <a:pt x="203" y="55"/>
                      <a:pt x="203" y="55"/>
                      <a:pt x="203" y="55"/>
                    </a:cubicBezTo>
                    <a:cubicBezTo>
                      <a:pt x="202" y="54"/>
                      <a:pt x="202" y="54"/>
                      <a:pt x="202" y="54"/>
                    </a:cubicBezTo>
                    <a:cubicBezTo>
                      <a:pt x="201" y="52"/>
                      <a:pt x="201" y="52"/>
                      <a:pt x="201" y="52"/>
                    </a:cubicBezTo>
                    <a:cubicBezTo>
                      <a:pt x="199" y="50"/>
                      <a:pt x="199" y="50"/>
                      <a:pt x="199" y="50"/>
                    </a:cubicBezTo>
                    <a:cubicBezTo>
                      <a:pt x="199" y="47"/>
                      <a:pt x="199" y="47"/>
                      <a:pt x="199" y="47"/>
                    </a:cubicBezTo>
                    <a:cubicBezTo>
                      <a:pt x="198" y="45"/>
                      <a:pt x="198" y="45"/>
                      <a:pt x="198" y="45"/>
                    </a:cubicBezTo>
                    <a:cubicBezTo>
                      <a:pt x="199" y="42"/>
                      <a:pt x="199" y="42"/>
                      <a:pt x="199" y="42"/>
                    </a:cubicBezTo>
                    <a:cubicBezTo>
                      <a:pt x="199" y="42"/>
                      <a:pt x="199" y="42"/>
                      <a:pt x="199" y="42"/>
                    </a:cubicBez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11" name="Freeform 198">
                <a:extLst>
                  <a:ext uri="{FF2B5EF4-FFF2-40B4-BE49-F238E27FC236}">
                    <a16:creationId xmlns:a16="http://schemas.microsoft.com/office/drawing/2014/main" id="{CFB26B3E-7D0A-C438-6267-8BEA77585DA6}"/>
                  </a:ext>
                </a:extLst>
              </p:cNvPr>
              <p:cNvSpPr>
                <a:spLocks/>
              </p:cNvSpPr>
              <p:nvPr/>
            </p:nvSpPr>
            <p:spPr bwMode="auto">
              <a:xfrm>
                <a:off x="3551" y="2292"/>
                <a:ext cx="277" cy="219"/>
              </a:xfrm>
              <a:custGeom>
                <a:avLst/>
                <a:gdLst>
                  <a:gd name="T0" fmla="*/ 99 w 277"/>
                  <a:gd name="T1" fmla="*/ 76 h 219"/>
                  <a:gd name="T2" fmla="*/ 71 w 277"/>
                  <a:gd name="T3" fmla="*/ 122 h 219"/>
                  <a:gd name="T4" fmla="*/ 65 w 277"/>
                  <a:gd name="T5" fmla="*/ 144 h 219"/>
                  <a:gd name="T6" fmla="*/ 62 w 277"/>
                  <a:gd name="T7" fmla="*/ 147 h 219"/>
                  <a:gd name="T8" fmla="*/ 58 w 277"/>
                  <a:gd name="T9" fmla="*/ 152 h 219"/>
                  <a:gd name="T10" fmla="*/ 19 w 277"/>
                  <a:gd name="T11" fmla="*/ 154 h 219"/>
                  <a:gd name="T12" fmla="*/ 13 w 277"/>
                  <a:gd name="T13" fmla="*/ 158 h 219"/>
                  <a:gd name="T14" fmla="*/ 3 w 277"/>
                  <a:gd name="T15" fmla="*/ 158 h 219"/>
                  <a:gd name="T16" fmla="*/ 0 w 277"/>
                  <a:gd name="T17" fmla="*/ 165 h 219"/>
                  <a:gd name="T18" fmla="*/ 2 w 277"/>
                  <a:gd name="T19" fmla="*/ 170 h 219"/>
                  <a:gd name="T20" fmla="*/ 5 w 277"/>
                  <a:gd name="T21" fmla="*/ 177 h 219"/>
                  <a:gd name="T22" fmla="*/ 7 w 277"/>
                  <a:gd name="T23" fmla="*/ 181 h 219"/>
                  <a:gd name="T24" fmla="*/ 17 w 277"/>
                  <a:gd name="T25" fmla="*/ 188 h 219"/>
                  <a:gd name="T26" fmla="*/ 15 w 277"/>
                  <a:gd name="T27" fmla="*/ 188 h 219"/>
                  <a:gd name="T28" fmla="*/ 15 w 277"/>
                  <a:gd name="T29" fmla="*/ 194 h 219"/>
                  <a:gd name="T30" fmla="*/ 26 w 277"/>
                  <a:gd name="T31" fmla="*/ 201 h 219"/>
                  <a:gd name="T32" fmla="*/ 32 w 277"/>
                  <a:gd name="T33" fmla="*/ 200 h 219"/>
                  <a:gd name="T34" fmla="*/ 35 w 277"/>
                  <a:gd name="T35" fmla="*/ 201 h 219"/>
                  <a:gd name="T36" fmla="*/ 35 w 277"/>
                  <a:gd name="T37" fmla="*/ 204 h 219"/>
                  <a:gd name="T38" fmla="*/ 33 w 277"/>
                  <a:gd name="T39" fmla="*/ 209 h 219"/>
                  <a:gd name="T40" fmla="*/ 39 w 277"/>
                  <a:gd name="T41" fmla="*/ 214 h 219"/>
                  <a:gd name="T42" fmla="*/ 39 w 277"/>
                  <a:gd name="T43" fmla="*/ 210 h 219"/>
                  <a:gd name="T44" fmla="*/ 46 w 277"/>
                  <a:gd name="T45" fmla="*/ 206 h 219"/>
                  <a:gd name="T46" fmla="*/ 53 w 277"/>
                  <a:gd name="T47" fmla="*/ 213 h 219"/>
                  <a:gd name="T48" fmla="*/ 61 w 277"/>
                  <a:gd name="T49" fmla="*/ 216 h 219"/>
                  <a:gd name="T50" fmla="*/ 66 w 277"/>
                  <a:gd name="T51" fmla="*/ 197 h 219"/>
                  <a:gd name="T52" fmla="*/ 71 w 277"/>
                  <a:gd name="T53" fmla="*/ 186 h 219"/>
                  <a:gd name="T54" fmla="*/ 78 w 277"/>
                  <a:gd name="T55" fmla="*/ 181 h 219"/>
                  <a:gd name="T56" fmla="*/ 86 w 277"/>
                  <a:gd name="T57" fmla="*/ 181 h 219"/>
                  <a:gd name="T58" fmla="*/ 96 w 277"/>
                  <a:gd name="T59" fmla="*/ 180 h 219"/>
                  <a:gd name="T60" fmla="*/ 111 w 277"/>
                  <a:gd name="T61" fmla="*/ 186 h 219"/>
                  <a:gd name="T62" fmla="*/ 125 w 277"/>
                  <a:gd name="T63" fmla="*/ 193 h 219"/>
                  <a:gd name="T64" fmla="*/ 141 w 277"/>
                  <a:gd name="T65" fmla="*/ 191 h 219"/>
                  <a:gd name="T66" fmla="*/ 154 w 277"/>
                  <a:gd name="T67" fmla="*/ 197 h 219"/>
                  <a:gd name="T68" fmla="*/ 164 w 277"/>
                  <a:gd name="T69" fmla="*/ 198 h 219"/>
                  <a:gd name="T70" fmla="*/ 170 w 277"/>
                  <a:gd name="T71" fmla="*/ 193 h 219"/>
                  <a:gd name="T72" fmla="*/ 184 w 277"/>
                  <a:gd name="T73" fmla="*/ 188 h 219"/>
                  <a:gd name="T74" fmla="*/ 201 w 277"/>
                  <a:gd name="T75" fmla="*/ 190 h 219"/>
                  <a:gd name="T76" fmla="*/ 216 w 277"/>
                  <a:gd name="T77" fmla="*/ 193 h 219"/>
                  <a:gd name="T78" fmla="*/ 236 w 277"/>
                  <a:gd name="T79" fmla="*/ 183 h 219"/>
                  <a:gd name="T80" fmla="*/ 234 w 277"/>
                  <a:gd name="T81" fmla="*/ 170 h 219"/>
                  <a:gd name="T82" fmla="*/ 267 w 277"/>
                  <a:gd name="T83" fmla="*/ 124 h 219"/>
                  <a:gd name="T84" fmla="*/ 273 w 277"/>
                  <a:gd name="T85" fmla="*/ 69 h 219"/>
                  <a:gd name="T86" fmla="*/ 277 w 277"/>
                  <a:gd name="T87" fmla="*/ 60 h 219"/>
                  <a:gd name="T88" fmla="*/ 275 w 277"/>
                  <a:gd name="T89" fmla="*/ 58 h 219"/>
                  <a:gd name="T90" fmla="*/ 270 w 277"/>
                  <a:gd name="T91" fmla="*/ 50 h 219"/>
                  <a:gd name="T92" fmla="*/ 270 w 277"/>
                  <a:gd name="T93" fmla="*/ 49 h 219"/>
                  <a:gd name="T94" fmla="*/ 265 w 277"/>
                  <a:gd name="T95" fmla="*/ 37 h 219"/>
                  <a:gd name="T96" fmla="*/ 250 w 277"/>
                  <a:gd name="T97" fmla="*/ 16 h 219"/>
                  <a:gd name="T98" fmla="*/ 236 w 277"/>
                  <a:gd name="T99" fmla="*/ 7 h 219"/>
                  <a:gd name="T100" fmla="*/ 135 w 277"/>
                  <a:gd name="T101" fmla="*/ 4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7" h="219">
                    <a:moveTo>
                      <a:pt x="122" y="55"/>
                    </a:moveTo>
                    <a:lnTo>
                      <a:pt x="105" y="71"/>
                    </a:lnTo>
                    <a:lnTo>
                      <a:pt x="99" y="76"/>
                    </a:lnTo>
                    <a:lnTo>
                      <a:pt x="94" y="78"/>
                    </a:lnTo>
                    <a:lnTo>
                      <a:pt x="71" y="82"/>
                    </a:lnTo>
                    <a:lnTo>
                      <a:pt x="71" y="122"/>
                    </a:lnTo>
                    <a:lnTo>
                      <a:pt x="71" y="127"/>
                    </a:lnTo>
                    <a:lnTo>
                      <a:pt x="69" y="131"/>
                    </a:lnTo>
                    <a:lnTo>
                      <a:pt x="65" y="144"/>
                    </a:lnTo>
                    <a:lnTo>
                      <a:pt x="65" y="145"/>
                    </a:lnTo>
                    <a:lnTo>
                      <a:pt x="63" y="145"/>
                    </a:lnTo>
                    <a:lnTo>
                      <a:pt x="62" y="147"/>
                    </a:lnTo>
                    <a:lnTo>
                      <a:pt x="61" y="148"/>
                    </a:lnTo>
                    <a:lnTo>
                      <a:pt x="59" y="150"/>
                    </a:lnTo>
                    <a:lnTo>
                      <a:pt x="58" y="152"/>
                    </a:lnTo>
                    <a:lnTo>
                      <a:pt x="51" y="151"/>
                    </a:lnTo>
                    <a:lnTo>
                      <a:pt x="22" y="152"/>
                    </a:lnTo>
                    <a:lnTo>
                      <a:pt x="19" y="154"/>
                    </a:lnTo>
                    <a:lnTo>
                      <a:pt x="17" y="155"/>
                    </a:lnTo>
                    <a:lnTo>
                      <a:pt x="15" y="158"/>
                    </a:lnTo>
                    <a:lnTo>
                      <a:pt x="13" y="158"/>
                    </a:lnTo>
                    <a:lnTo>
                      <a:pt x="10" y="160"/>
                    </a:lnTo>
                    <a:lnTo>
                      <a:pt x="6" y="158"/>
                    </a:lnTo>
                    <a:lnTo>
                      <a:pt x="3" y="158"/>
                    </a:lnTo>
                    <a:lnTo>
                      <a:pt x="0" y="160"/>
                    </a:lnTo>
                    <a:lnTo>
                      <a:pt x="0" y="163"/>
                    </a:lnTo>
                    <a:lnTo>
                      <a:pt x="0" y="165"/>
                    </a:lnTo>
                    <a:lnTo>
                      <a:pt x="0" y="167"/>
                    </a:lnTo>
                    <a:lnTo>
                      <a:pt x="0" y="170"/>
                    </a:lnTo>
                    <a:lnTo>
                      <a:pt x="2" y="170"/>
                    </a:lnTo>
                    <a:lnTo>
                      <a:pt x="3" y="173"/>
                    </a:lnTo>
                    <a:lnTo>
                      <a:pt x="3" y="173"/>
                    </a:lnTo>
                    <a:lnTo>
                      <a:pt x="5" y="177"/>
                    </a:lnTo>
                    <a:lnTo>
                      <a:pt x="5" y="178"/>
                    </a:lnTo>
                    <a:lnTo>
                      <a:pt x="6" y="180"/>
                    </a:lnTo>
                    <a:lnTo>
                      <a:pt x="7" y="181"/>
                    </a:lnTo>
                    <a:lnTo>
                      <a:pt x="13" y="184"/>
                    </a:lnTo>
                    <a:lnTo>
                      <a:pt x="16" y="187"/>
                    </a:lnTo>
                    <a:lnTo>
                      <a:pt x="17" y="188"/>
                    </a:lnTo>
                    <a:lnTo>
                      <a:pt x="16" y="188"/>
                    </a:lnTo>
                    <a:lnTo>
                      <a:pt x="16" y="188"/>
                    </a:lnTo>
                    <a:lnTo>
                      <a:pt x="15" y="188"/>
                    </a:lnTo>
                    <a:lnTo>
                      <a:pt x="13" y="188"/>
                    </a:lnTo>
                    <a:lnTo>
                      <a:pt x="13" y="191"/>
                    </a:lnTo>
                    <a:lnTo>
                      <a:pt x="15" y="194"/>
                    </a:lnTo>
                    <a:lnTo>
                      <a:pt x="22" y="200"/>
                    </a:lnTo>
                    <a:lnTo>
                      <a:pt x="25" y="201"/>
                    </a:lnTo>
                    <a:lnTo>
                      <a:pt x="26" y="201"/>
                    </a:lnTo>
                    <a:lnTo>
                      <a:pt x="28" y="201"/>
                    </a:lnTo>
                    <a:lnTo>
                      <a:pt x="30" y="200"/>
                    </a:lnTo>
                    <a:lnTo>
                      <a:pt x="32" y="200"/>
                    </a:lnTo>
                    <a:lnTo>
                      <a:pt x="33" y="200"/>
                    </a:lnTo>
                    <a:lnTo>
                      <a:pt x="33" y="200"/>
                    </a:lnTo>
                    <a:lnTo>
                      <a:pt x="35" y="201"/>
                    </a:lnTo>
                    <a:lnTo>
                      <a:pt x="35" y="203"/>
                    </a:lnTo>
                    <a:lnTo>
                      <a:pt x="36" y="204"/>
                    </a:lnTo>
                    <a:lnTo>
                      <a:pt x="35" y="204"/>
                    </a:lnTo>
                    <a:lnTo>
                      <a:pt x="35" y="206"/>
                    </a:lnTo>
                    <a:lnTo>
                      <a:pt x="33" y="206"/>
                    </a:lnTo>
                    <a:lnTo>
                      <a:pt x="33" y="209"/>
                    </a:lnTo>
                    <a:lnTo>
                      <a:pt x="35" y="210"/>
                    </a:lnTo>
                    <a:lnTo>
                      <a:pt x="36" y="213"/>
                    </a:lnTo>
                    <a:lnTo>
                      <a:pt x="39" y="214"/>
                    </a:lnTo>
                    <a:lnTo>
                      <a:pt x="39" y="213"/>
                    </a:lnTo>
                    <a:lnTo>
                      <a:pt x="39" y="210"/>
                    </a:lnTo>
                    <a:lnTo>
                      <a:pt x="39" y="210"/>
                    </a:lnTo>
                    <a:lnTo>
                      <a:pt x="40" y="209"/>
                    </a:lnTo>
                    <a:lnTo>
                      <a:pt x="45" y="206"/>
                    </a:lnTo>
                    <a:lnTo>
                      <a:pt x="46" y="206"/>
                    </a:lnTo>
                    <a:lnTo>
                      <a:pt x="48" y="207"/>
                    </a:lnTo>
                    <a:lnTo>
                      <a:pt x="51" y="209"/>
                    </a:lnTo>
                    <a:lnTo>
                      <a:pt x="53" y="213"/>
                    </a:lnTo>
                    <a:lnTo>
                      <a:pt x="59" y="217"/>
                    </a:lnTo>
                    <a:lnTo>
                      <a:pt x="59" y="219"/>
                    </a:lnTo>
                    <a:lnTo>
                      <a:pt x="61" y="216"/>
                    </a:lnTo>
                    <a:lnTo>
                      <a:pt x="61" y="206"/>
                    </a:lnTo>
                    <a:lnTo>
                      <a:pt x="62" y="203"/>
                    </a:lnTo>
                    <a:lnTo>
                      <a:pt x="66" y="197"/>
                    </a:lnTo>
                    <a:lnTo>
                      <a:pt x="68" y="194"/>
                    </a:lnTo>
                    <a:lnTo>
                      <a:pt x="69" y="188"/>
                    </a:lnTo>
                    <a:lnTo>
                      <a:pt x="71" y="186"/>
                    </a:lnTo>
                    <a:lnTo>
                      <a:pt x="72" y="184"/>
                    </a:lnTo>
                    <a:lnTo>
                      <a:pt x="75" y="183"/>
                    </a:lnTo>
                    <a:lnTo>
                      <a:pt x="78" y="181"/>
                    </a:lnTo>
                    <a:lnTo>
                      <a:pt x="81" y="181"/>
                    </a:lnTo>
                    <a:lnTo>
                      <a:pt x="84" y="181"/>
                    </a:lnTo>
                    <a:lnTo>
                      <a:pt x="86" y="181"/>
                    </a:lnTo>
                    <a:lnTo>
                      <a:pt x="91" y="180"/>
                    </a:lnTo>
                    <a:lnTo>
                      <a:pt x="94" y="180"/>
                    </a:lnTo>
                    <a:lnTo>
                      <a:pt x="96" y="180"/>
                    </a:lnTo>
                    <a:lnTo>
                      <a:pt x="101" y="181"/>
                    </a:lnTo>
                    <a:lnTo>
                      <a:pt x="107" y="183"/>
                    </a:lnTo>
                    <a:lnTo>
                      <a:pt x="111" y="186"/>
                    </a:lnTo>
                    <a:lnTo>
                      <a:pt x="118" y="193"/>
                    </a:lnTo>
                    <a:lnTo>
                      <a:pt x="122" y="194"/>
                    </a:lnTo>
                    <a:lnTo>
                      <a:pt x="125" y="193"/>
                    </a:lnTo>
                    <a:lnTo>
                      <a:pt x="131" y="190"/>
                    </a:lnTo>
                    <a:lnTo>
                      <a:pt x="137" y="190"/>
                    </a:lnTo>
                    <a:lnTo>
                      <a:pt x="141" y="191"/>
                    </a:lnTo>
                    <a:lnTo>
                      <a:pt x="145" y="194"/>
                    </a:lnTo>
                    <a:lnTo>
                      <a:pt x="151" y="197"/>
                    </a:lnTo>
                    <a:lnTo>
                      <a:pt x="154" y="197"/>
                    </a:lnTo>
                    <a:lnTo>
                      <a:pt x="157" y="198"/>
                    </a:lnTo>
                    <a:lnTo>
                      <a:pt x="161" y="198"/>
                    </a:lnTo>
                    <a:lnTo>
                      <a:pt x="164" y="198"/>
                    </a:lnTo>
                    <a:lnTo>
                      <a:pt x="167" y="197"/>
                    </a:lnTo>
                    <a:lnTo>
                      <a:pt x="168" y="196"/>
                    </a:lnTo>
                    <a:lnTo>
                      <a:pt x="170" y="193"/>
                    </a:lnTo>
                    <a:lnTo>
                      <a:pt x="173" y="191"/>
                    </a:lnTo>
                    <a:lnTo>
                      <a:pt x="178" y="190"/>
                    </a:lnTo>
                    <a:lnTo>
                      <a:pt x="184" y="188"/>
                    </a:lnTo>
                    <a:lnTo>
                      <a:pt x="190" y="188"/>
                    </a:lnTo>
                    <a:lnTo>
                      <a:pt x="197" y="188"/>
                    </a:lnTo>
                    <a:lnTo>
                      <a:pt x="201" y="190"/>
                    </a:lnTo>
                    <a:lnTo>
                      <a:pt x="207" y="191"/>
                    </a:lnTo>
                    <a:lnTo>
                      <a:pt x="211" y="193"/>
                    </a:lnTo>
                    <a:lnTo>
                      <a:pt x="216" y="193"/>
                    </a:lnTo>
                    <a:lnTo>
                      <a:pt x="226" y="186"/>
                    </a:lnTo>
                    <a:lnTo>
                      <a:pt x="230" y="183"/>
                    </a:lnTo>
                    <a:lnTo>
                      <a:pt x="236" y="183"/>
                    </a:lnTo>
                    <a:lnTo>
                      <a:pt x="234" y="174"/>
                    </a:lnTo>
                    <a:lnTo>
                      <a:pt x="233" y="171"/>
                    </a:lnTo>
                    <a:lnTo>
                      <a:pt x="234" y="170"/>
                    </a:lnTo>
                    <a:lnTo>
                      <a:pt x="246" y="150"/>
                    </a:lnTo>
                    <a:lnTo>
                      <a:pt x="265" y="128"/>
                    </a:lnTo>
                    <a:lnTo>
                      <a:pt x="267" y="124"/>
                    </a:lnTo>
                    <a:lnTo>
                      <a:pt x="269" y="119"/>
                    </a:lnTo>
                    <a:lnTo>
                      <a:pt x="273" y="71"/>
                    </a:lnTo>
                    <a:lnTo>
                      <a:pt x="273" y="69"/>
                    </a:lnTo>
                    <a:lnTo>
                      <a:pt x="275" y="66"/>
                    </a:lnTo>
                    <a:lnTo>
                      <a:pt x="276" y="63"/>
                    </a:lnTo>
                    <a:lnTo>
                      <a:pt x="277" y="60"/>
                    </a:lnTo>
                    <a:lnTo>
                      <a:pt x="276" y="59"/>
                    </a:lnTo>
                    <a:lnTo>
                      <a:pt x="276" y="58"/>
                    </a:lnTo>
                    <a:lnTo>
                      <a:pt x="275" y="58"/>
                    </a:lnTo>
                    <a:lnTo>
                      <a:pt x="272" y="53"/>
                    </a:lnTo>
                    <a:lnTo>
                      <a:pt x="270" y="52"/>
                    </a:lnTo>
                    <a:lnTo>
                      <a:pt x="270" y="50"/>
                    </a:lnTo>
                    <a:lnTo>
                      <a:pt x="270" y="50"/>
                    </a:lnTo>
                    <a:lnTo>
                      <a:pt x="270" y="49"/>
                    </a:lnTo>
                    <a:lnTo>
                      <a:pt x="270" y="49"/>
                    </a:lnTo>
                    <a:lnTo>
                      <a:pt x="270" y="46"/>
                    </a:lnTo>
                    <a:lnTo>
                      <a:pt x="266" y="40"/>
                    </a:lnTo>
                    <a:lnTo>
                      <a:pt x="265" y="37"/>
                    </a:lnTo>
                    <a:lnTo>
                      <a:pt x="263" y="36"/>
                    </a:lnTo>
                    <a:lnTo>
                      <a:pt x="260" y="10"/>
                    </a:lnTo>
                    <a:lnTo>
                      <a:pt x="250" y="16"/>
                    </a:lnTo>
                    <a:lnTo>
                      <a:pt x="247" y="17"/>
                    </a:lnTo>
                    <a:lnTo>
                      <a:pt x="244" y="16"/>
                    </a:lnTo>
                    <a:lnTo>
                      <a:pt x="236" y="7"/>
                    </a:lnTo>
                    <a:lnTo>
                      <a:pt x="230" y="4"/>
                    </a:lnTo>
                    <a:lnTo>
                      <a:pt x="207" y="0"/>
                    </a:lnTo>
                    <a:lnTo>
                      <a:pt x="135" y="45"/>
                    </a:lnTo>
                    <a:lnTo>
                      <a:pt x="122" y="5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12" name="Freeform 199">
                <a:extLst>
                  <a:ext uri="{FF2B5EF4-FFF2-40B4-BE49-F238E27FC236}">
                    <a16:creationId xmlns:a16="http://schemas.microsoft.com/office/drawing/2014/main" id="{CEA1C5E3-5D93-3244-30E7-4F5B5116E1F1}"/>
                  </a:ext>
                </a:extLst>
              </p:cNvPr>
              <p:cNvSpPr>
                <a:spLocks/>
              </p:cNvSpPr>
              <p:nvPr/>
            </p:nvSpPr>
            <p:spPr bwMode="auto">
              <a:xfrm>
                <a:off x="3784" y="2294"/>
                <a:ext cx="185" cy="291"/>
              </a:xfrm>
              <a:custGeom>
                <a:avLst/>
                <a:gdLst>
                  <a:gd name="T0" fmla="*/ 37 w 185"/>
                  <a:gd name="T1" fmla="*/ 47 h 291"/>
                  <a:gd name="T2" fmla="*/ 37 w 185"/>
                  <a:gd name="T3" fmla="*/ 50 h 291"/>
                  <a:gd name="T4" fmla="*/ 43 w 185"/>
                  <a:gd name="T5" fmla="*/ 57 h 291"/>
                  <a:gd name="T6" fmla="*/ 40 w 185"/>
                  <a:gd name="T7" fmla="*/ 67 h 291"/>
                  <a:gd name="T8" fmla="*/ 32 w 185"/>
                  <a:gd name="T9" fmla="*/ 126 h 291"/>
                  <a:gd name="T10" fmla="*/ 1 w 185"/>
                  <a:gd name="T11" fmla="*/ 172 h 291"/>
                  <a:gd name="T12" fmla="*/ 16 w 185"/>
                  <a:gd name="T13" fmla="*/ 192 h 291"/>
                  <a:gd name="T14" fmla="*/ 20 w 185"/>
                  <a:gd name="T15" fmla="*/ 196 h 291"/>
                  <a:gd name="T16" fmla="*/ 24 w 185"/>
                  <a:gd name="T17" fmla="*/ 201 h 291"/>
                  <a:gd name="T18" fmla="*/ 29 w 185"/>
                  <a:gd name="T19" fmla="*/ 214 h 291"/>
                  <a:gd name="T20" fmla="*/ 29 w 185"/>
                  <a:gd name="T21" fmla="*/ 232 h 291"/>
                  <a:gd name="T22" fmla="*/ 39 w 185"/>
                  <a:gd name="T23" fmla="*/ 247 h 291"/>
                  <a:gd name="T24" fmla="*/ 14 w 185"/>
                  <a:gd name="T25" fmla="*/ 248 h 291"/>
                  <a:gd name="T26" fmla="*/ 10 w 185"/>
                  <a:gd name="T27" fmla="*/ 255 h 291"/>
                  <a:gd name="T28" fmla="*/ 27 w 185"/>
                  <a:gd name="T29" fmla="*/ 270 h 291"/>
                  <a:gd name="T30" fmla="*/ 36 w 185"/>
                  <a:gd name="T31" fmla="*/ 287 h 291"/>
                  <a:gd name="T32" fmla="*/ 44 w 185"/>
                  <a:gd name="T33" fmla="*/ 290 h 291"/>
                  <a:gd name="T34" fmla="*/ 53 w 185"/>
                  <a:gd name="T35" fmla="*/ 286 h 291"/>
                  <a:gd name="T36" fmla="*/ 59 w 185"/>
                  <a:gd name="T37" fmla="*/ 290 h 291"/>
                  <a:gd name="T38" fmla="*/ 73 w 185"/>
                  <a:gd name="T39" fmla="*/ 284 h 291"/>
                  <a:gd name="T40" fmla="*/ 92 w 185"/>
                  <a:gd name="T41" fmla="*/ 280 h 291"/>
                  <a:gd name="T42" fmla="*/ 96 w 185"/>
                  <a:gd name="T43" fmla="*/ 268 h 291"/>
                  <a:gd name="T44" fmla="*/ 110 w 185"/>
                  <a:gd name="T45" fmla="*/ 264 h 291"/>
                  <a:gd name="T46" fmla="*/ 129 w 185"/>
                  <a:gd name="T47" fmla="*/ 257 h 291"/>
                  <a:gd name="T48" fmla="*/ 144 w 185"/>
                  <a:gd name="T49" fmla="*/ 242 h 291"/>
                  <a:gd name="T50" fmla="*/ 146 w 185"/>
                  <a:gd name="T51" fmla="*/ 235 h 291"/>
                  <a:gd name="T52" fmla="*/ 162 w 185"/>
                  <a:gd name="T53" fmla="*/ 230 h 291"/>
                  <a:gd name="T54" fmla="*/ 166 w 185"/>
                  <a:gd name="T55" fmla="*/ 222 h 291"/>
                  <a:gd name="T56" fmla="*/ 162 w 185"/>
                  <a:gd name="T57" fmla="*/ 219 h 291"/>
                  <a:gd name="T58" fmla="*/ 161 w 185"/>
                  <a:gd name="T59" fmla="*/ 211 h 291"/>
                  <a:gd name="T60" fmla="*/ 158 w 185"/>
                  <a:gd name="T61" fmla="*/ 202 h 291"/>
                  <a:gd name="T62" fmla="*/ 155 w 185"/>
                  <a:gd name="T63" fmla="*/ 198 h 291"/>
                  <a:gd name="T64" fmla="*/ 148 w 185"/>
                  <a:gd name="T65" fmla="*/ 198 h 291"/>
                  <a:gd name="T66" fmla="*/ 154 w 185"/>
                  <a:gd name="T67" fmla="*/ 188 h 291"/>
                  <a:gd name="T68" fmla="*/ 152 w 185"/>
                  <a:gd name="T69" fmla="*/ 178 h 291"/>
                  <a:gd name="T70" fmla="*/ 159 w 185"/>
                  <a:gd name="T71" fmla="*/ 172 h 291"/>
                  <a:gd name="T72" fmla="*/ 159 w 185"/>
                  <a:gd name="T73" fmla="*/ 163 h 291"/>
                  <a:gd name="T74" fmla="*/ 162 w 185"/>
                  <a:gd name="T75" fmla="*/ 161 h 291"/>
                  <a:gd name="T76" fmla="*/ 164 w 185"/>
                  <a:gd name="T77" fmla="*/ 156 h 291"/>
                  <a:gd name="T78" fmla="*/ 166 w 185"/>
                  <a:gd name="T79" fmla="*/ 146 h 291"/>
                  <a:gd name="T80" fmla="*/ 169 w 185"/>
                  <a:gd name="T81" fmla="*/ 145 h 291"/>
                  <a:gd name="T82" fmla="*/ 175 w 185"/>
                  <a:gd name="T83" fmla="*/ 143 h 291"/>
                  <a:gd name="T84" fmla="*/ 184 w 185"/>
                  <a:gd name="T85" fmla="*/ 143 h 291"/>
                  <a:gd name="T86" fmla="*/ 185 w 185"/>
                  <a:gd name="T87" fmla="*/ 143 h 291"/>
                  <a:gd name="T88" fmla="*/ 185 w 185"/>
                  <a:gd name="T89" fmla="*/ 123 h 291"/>
                  <a:gd name="T90" fmla="*/ 185 w 185"/>
                  <a:gd name="T91" fmla="*/ 94 h 291"/>
                  <a:gd name="T92" fmla="*/ 185 w 185"/>
                  <a:gd name="T93" fmla="*/ 74 h 291"/>
                  <a:gd name="T94" fmla="*/ 32 w 185"/>
                  <a:gd name="T95" fmla="*/ 3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5" h="291">
                    <a:moveTo>
                      <a:pt x="32" y="35"/>
                    </a:moveTo>
                    <a:lnTo>
                      <a:pt x="33" y="38"/>
                    </a:lnTo>
                    <a:lnTo>
                      <a:pt x="37" y="44"/>
                    </a:lnTo>
                    <a:lnTo>
                      <a:pt x="37" y="47"/>
                    </a:lnTo>
                    <a:lnTo>
                      <a:pt x="37" y="47"/>
                    </a:lnTo>
                    <a:lnTo>
                      <a:pt x="37" y="48"/>
                    </a:lnTo>
                    <a:lnTo>
                      <a:pt x="37" y="48"/>
                    </a:lnTo>
                    <a:lnTo>
                      <a:pt x="37" y="50"/>
                    </a:lnTo>
                    <a:lnTo>
                      <a:pt x="39" y="51"/>
                    </a:lnTo>
                    <a:lnTo>
                      <a:pt x="42" y="56"/>
                    </a:lnTo>
                    <a:lnTo>
                      <a:pt x="43" y="56"/>
                    </a:lnTo>
                    <a:lnTo>
                      <a:pt x="43" y="57"/>
                    </a:lnTo>
                    <a:lnTo>
                      <a:pt x="44" y="58"/>
                    </a:lnTo>
                    <a:lnTo>
                      <a:pt x="43" y="61"/>
                    </a:lnTo>
                    <a:lnTo>
                      <a:pt x="42" y="64"/>
                    </a:lnTo>
                    <a:lnTo>
                      <a:pt x="40" y="67"/>
                    </a:lnTo>
                    <a:lnTo>
                      <a:pt x="40" y="69"/>
                    </a:lnTo>
                    <a:lnTo>
                      <a:pt x="36" y="117"/>
                    </a:lnTo>
                    <a:lnTo>
                      <a:pt x="34" y="122"/>
                    </a:lnTo>
                    <a:lnTo>
                      <a:pt x="32" y="126"/>
                    </a:lnTo>
                    <a:lnTo>
                      <a:pt x="13" y="148"/>
                    </a:lnTo>
                    <a:lnTo>
                      <a:pt x="1" y="168"/>
                    </a:lnTo>
                    <a:lnTo>
                      <a:pt x="0" y="169"/>
                    </a:lnTo>
                    <a:lnTo>
                      <a:pt x="1" y="172"/>
                    </a:lnTo>
                    <a:lnTo>
                      <a:pt x="3" y="181"/>
                    </a:lnTo>
                    <a:lnTo>
                      <a:pt x="11" y="191"/>
                    </a:lnTo>
                    <a:lnTo>
                      <a:pt x="13" y="191"/>
                    </a:lnTo>
                    <a:lnTo>
                      <a:pt x="16" y="192"/>
                    </a:lnTo>
                    <a:lnTo>
                      <a:pt x="17" y="192"/>
                    </a:lnTo>
                    <a:lnTo>
                      <a:pt x="19" y="194"/>
                    </a:lnTo>
                    <a:lnTo>
                      <a:pt x="19" y="195"/>
                    </a:lnTo>
                    <a:lnTo>
                      <a:pt x="20" y="196"/>
                    </a:lnTo>
                    <a:lnTo>
                      <a:pt x="20" y="198"/>
                    </a:lnTo>
                    <a:lnTo>
                      <a:pt x="21" y="198"/>
                    </a:lnTo>
                    <a:lnTo>
                      <a:pt x="23" y="199"/>
                    </a:lnTo>
                    <a:lnTo>
                      <a:pt x="24" y="201"/>
                    </a:lnTo>
                    <a:lnTo>
                      <a:pt x="24" y="202"/>
                    </a:lnTo>
                    <a:lnTo>
                      <a:pt x="27" y="209"/>
                    </a:lnTo>
                    <a:lnTo>
                      <a:pt x="29" y="212"/>
                    </a:lnTo>
                    <a:lnTo>
                      <a:pt x="29" y="214"/>
                    </a:lnTo>
                    <a:lnTo>
                      <a:pt x="29" y="215"/>
                    </a:lnTo>
                    <a:lnTo>
                      <a:pt x="29" y="219"/>
                    </a:lnTo>
                    <a:lnTo>
                      <a:pt x="29" y="228"/>
                    </a:lnTo>
                    <a:lnTo>
                      <a:pt x="29" y="232"/>
                    </a:lnTo>
                    <a:lnTo>
                      <a:pt x="30" y="237"/>
                    </a:lnTo>
                    <a:lnTo>
                      <a:pt x="33" y="241"/>
                    </a:lnTo>
                    <a:lnTo>
                      <a:pt x="36" y="244"/>
                    </a:lnTo>
                    <a:lnTo>
                      <a:pt x="39" y="247"/>
                    </a:lnTo>
                    <a:lnTo>
                      <a:pt x="36" y="247"/>
                    </a:lnTo>
                    <a:lnTo>
                      <a:pt x="34" y="248"/>
                    </a:lnTo>
                    <a:lnTo>
                      <a:pt x="17" y="247"/>
                    </a:lnTo>
                    <a:lnTo>
                      <a:pt x="14" y="248"/>
                    </a:lnTo>
                    <a:lnTo>
                      <a:pt x="11" y="248"/>
                    </a:lnTo>
                    <a:lnTo>
                      <a:pt x="10" y="251"/>
                    </a:lnTo>
                    <a:lnTo>
                      <a:pt x="10" y="253"/>
                    </a:lnTo>
                    <a:lnTo>
                      <a:pt x="10" y="255"/>
                    </a:lnTo>
                    <a:lnTo>
                      <a:pt x="11" y="257"/>
                    </a:lnTo>
                    <a:lnTo>
                      <a:pt x="16" y="261"/>
                    </a:lnTo>
                    <a:lnTo>
                      <a:pt x="20" y="264"/>
                    </a:lnTo>
                    <a:lnTo>
                      <a:pt x="27" y="270"/>
                    </a:lnTo>
                    <a:lnTo>
                      <a:pt x="30" y="274"/>
                    </a:lnTo>
                    <a:lnTo>
                      <a:pt x="33" y="277"/>
                    </a:lnTo>
                    <a:lnTo>
                      <a:pt x="34" y="283"/>
                    </a:lnTo>
                    <a:lnTo>
                      <a:pt x="36" y="287"/>
                    </a:lnTo>
                    <a:lnTo>
                      <a:pt x="36" y="291"/>
                    </a:lnTo>
                    <a:lnTo>
                      <a:pt x="39" y="291"/>
                    </a:lnTo>
                    <a:lnTo>
                      <a:pt x="42" y="291"/>
                    </a:lnTo>
                    <a:lnTo>
                      <a:pt x="44" y="290"/>
                    </a:lnTo>
                    <a:lnTo>
                      <a:pt x="50" y="288"/>
                    </a:lnTo>
                    <a:lnTo>
                      <a:pt x="52" y="287"/>
                    </a:lnTo>
                    <a:lnTo>
                      <a:pt x="52" y="287"/>
                    </a:lnTo>
                    <a:lnTo>
                      <a:pt x="53" y="286"/>
                    </a:lnTo>
                    <a:lnTo>
                      <a:pt x="53" y="286"/>
                    </a:lnTo>
                    <a:lnTo>
                      <a:pt x="54" y="284"/>
                    </a:lnTo>
                    <a:lnTo>
                      <a:pt x="56" y="288"/>
                    </a:lnTo>
                    <a:lnTo>
                      <a:pt x="59" y="290"/>
                    </a:lnTo>
                    <a:lnTo>
                      <a:pt x="63" y="288"/>
                    </a:lnTo>
                    <a:lnTo>
                      <a:pt x="66" y="286"/>
                    </a:lnTo>
                    <a:lnTo>
                      <a:pt x="70" y="284"/>
                    </a:lnTo>
                    <a:lnTo>
                      <a:pt x="73" y="284"/>
                    </a:lnTo>
                    <a:lnTo>
                      <a:pt x="80" y="283"/>
                    </a:lnTo>
                    <a:lnTo>
                      <a:pt x="88" y="283"/>
                    </a:lnTo>
                    <a:lnTo>
                      <a:pt x="90" y="281"/>
                    </a:lnTo>
                    <a:lnTo>
                      <a:pt x="92" y="280"/>
                    </a:lnTo>
                    <a:lnTo>
                      <a:pt x="99" y="273"/>
                    </a:lnTo>
                    <a:lnTo>
                      <a:pt x="99" y="271"/>
                    </a:lnTo>
                    <a:lnTo>
                      <a:pt x="99" y="270"/>
                    </a:lnTo>
                    <a:lnTo>
                      <a:pt x="96" y="268"/>
                    </a:lnTo>
                    <a:lnTo>
                      <a:pt x="96" y="267"/>
                    </a:lnTo>
                    <a:lnTo>
                      <a:pt x="98" y="265"/>
                    </a:lnTo>
                    <a:lnTo>
                      <a:pt x="102" y="264"/>
                    </a:lnTo>
                    <a:lnTo>
                      <a:pt x="110" y="264"/>
                    </a:lnTo>
                    <a:lnTo>
                      <a:pt x="118" y="263"/>
                    </a:lnTo>
                    <a:lnTo>
                      <a:pt x="122" y="261"/>
                    </a:lnTo>
                    <a:lnTo>
                      <a:pt x="126" y="260"/>
                    </a:lnTo>
                    <a:lnTo>
                      <a:pt x="129" y="257"/>
                    </a:lnTo>
                    <a:lnTo>
                      <a:pt x="133" y="251"/>
                    </a:lnTo>
                    <a:lnTo>
                      <a:pt x="136" y="248"/>
                    </a:lnTo>
                    <a:lnTo>
                      <a:pt x="141" y="245"/>
                    </a:lnTo>
                    <a:lnTo>
                      <a:pt x="144" y="242"/>
                    </a:lnTo>
                    <a:lnTo>
                      <a:pt x="145" y="241"/>
                    </a:lnTo>
                    <a:lnTo>
                      <a:pt x="145" y="240"/>
                    </a:lnTo>
                    <a:lnTo>
                      <a:pt x="145" y="237"/>
                    </a:lnTo>
                    <a:lnTo>
                      <a:pt x="146" y="235"/>
                    </a:lnTo>
                    <a:lnTo>
                      <a:pt x="148" y="234"/>
                    </a:lnTo>
                    <a:lnTo>
                      <a:pt x="155" y="231"/>
                    </a:lnTo>
                    <a:lnTo>
                      <a:pt x="158" y="230"/>
                    </a:lnTo>
                    <a:lnTo>
                      <a:pt x="162" y="230"/>
                    </a:lnTo>
                    <a:lnTo>
                      <a:pt x="165" y="231"/>
                    </a:lnTo>
                    <a:lnTo>
                      <a:pt x="166" y="228"/>
                    </a:lnTo>
                    <a:lnTo>
                      <a:pt x="166" y="224"/>
                    </a:lnTo>
                    <a:lnTo>
                      <a:pt x="166" y="222"/>
                    </a:lnTo>
                    <a:lnTo>
                      <a:pt x="165" y="221"/>
                    </a:lnTo>
                    <a:lnTo>
                      <a:pt x="165" y="221"/>
                    </a:lnTo>
                    <a:lnTo>
                      <a:pt x="164" y="221"/>
                    </a:lnTo>
                    <a:lnTo>
                      <a:pt x="162" y="219"/>
                    </a:lnTo>
                    <a:lnTo>
                      <a:pt x="161" y="218"/>
                    </a:lnTo>
                    <a:lnTo>
                      <a:pt x="161" y="217"/>
                    </a:lnTo>
                    <a:lnTo>
                      <a:pt x="161" y="211"/>
                    </a:lnTo>
                    <a:lnTo>
                      <a:pt x="161" y="211"/>
                    </a:lnTo>
                    <a:lnTo>
                      <a:pt x="159" y="209"/>
                    </a:lnTo>
                    <a:lnTo>
                      <a:pt x="158" y="209"/>
                    </a:lnTo>
                    <a:lnTo>
                      <a:pt x="158" y="202"/>
                    </a:lnTo>
                    <a:lnTo>
                      <a:pt x="158" y="202"/>
                    </a:lnTo>
                    <a:lnTo>
                      <a:pt x="158" y="201"/>
                    </a:lnTo>
                    <a:lnTo>
                      <a:pt x="158" y="201"/>
                    </a:lnTo>
                    <a:lnTo>
                      <a:pt x="156" y="199"/>
                    </a:lnTo>
                    <a:lnTo>
                      <a:pt x="155" y="198"/>
                    </a:lnTo>
                    <a:lnTo>
                      <a:pt x="151" y="199"/>
                    </a:lnTo>
                    <a:lnTo>
                      <a:pt x="149" y="199"/>
                    </a:lnTo>
                    <a:lnTo>
                      <a:pt x="148" y="198"/>
                    </a:lnTo>
                    <a:lnTo>
                      <a:pt x="148" y="198"/>
                    </a:lnTo>
                    <a:lnTo>
                      <a:pt x="148" y="198"/>
                    </a:lnTo>
                    <a:lnTo>
                      <a:pt x="148" y="196"/>
                    </a:lnTo>
                    <a:lnTo>
                      <a:pt x="151" y="191"/>
                    </a:lnTo>
                    <a:lnTo>
                      <a:pt x="154" y="188"/>
                    </a:lnTo>
                    <a:lnTo>
                      <a:pt x="155" y="186"/>
                    </a:lnTo>
                    <a:lnTo>
                      <a:pt x="155" y="185"/>
                    </a:lnTo>
                    <a:lnTo>
                      <a:pt x="152" y="179"/>
                    </a:lnTo>
                    <a:lnTo>
                      <a:pt x="152" y="178"/>
                    </a:lnTo>
                    <a:lnTo>
                      <a:pt x="152" y="178"/>
                    </a:lnTo>
                    <a:lnTo>
                      <a:pt x="154" y="176"/>
                    </a:lnTo>
                    <a:lnTo>
                      <a:pt x="159" y="172"/>
                    </a:lnTo>
                    <a:lnTo>
                      <a:pt x="159" y="172"/>
                    </a:lnTo>
                    <a:lnTo>
                      <a:pt x="159" y="171"/>
                    </a:lnTo>
                    <a:lnTo>
                      <a:pt x="158" y="171"/>
                    </a:lnTo>
                    <a:lnTo>
                      <a:pt x="156" y="165"/>
                    </a:lnTo>
                    <a:lnTo>
                      <a:pt x="159" y="163"/>
                    </a:lnTo>
                    <a:lnTo>
                      <a:pt x="161" y="162"/>
                    </a:lnTo>
                    <a:lnTo>
                      <a:pt x="162" y="162"/>
                    </a:lnTo>
                    <a:lnTo>
                      <a:pt x="162" y="162"/>
                    </a:lnTo>
                    <a:lnTo>
                      <a:pt x="162" y="161"/>
                    </a:lnTo>
                    <a:lnTo>
                      <a:pt x="162" y="159"/>
                    </a:lnTo>
                    <a:lnTo>
                      <a:pt x="162" y="159"/>
                    </a:lnTo>
                    <a:lnTo>
                      <a:pt x="164" y="159"/>
                    </a:lnTo>
                    <a:lnTo>
                      <a:pt x="164" y="156"/>
                    </a:lnTo>
                    <a:lnTo>
                      <a:pt x="166" y="153"/>
                    </a:lnTo>
                    <a:lnTo>
                      <a:pt x="168" y="152"/>
                    </a:lnTo>
                    <a:lnTo>
                      <a:pt x="166" y="149"/>
                    </a:lnTo>
                    <a:lnTo>
                      <a:pt x="166" y="146"/>
                    </a:lnTo>
                    <a:lnTo>
                      <a:pt x="168" y="146"/>
                    </a:lnTo>
                    <a:lnTo>
                      <a:pt x="168" y="146"/>
                    </a:lnTo>
                    <a:lnTo>
                      <a:pt x="168" y="145"/>
                    </a:lnTo>
                    <a:lnTo>
                      <a:pt x="169" y="145"/>
                    </a:lnTo>
                    <a:lnTo>
                      <a:pt x="171" y="143"/>
                    </a:lnTo>
                    <a:lnTo>
                      <a:pt x="171" y="143"/>
                    </a:lnTo>
                    <a:lnTo>
                      <a:pt x="174" y="143"/>
                    </a:lnTo>
                    <a:lnTo>
                      <a:pt x="175" y="143"/>
                    </a:lnTo>
                    <a:lnTo>
                      <a:pt x="177" y="143"/>
                    </a:lnTo>
                    <a:lnTo>
                      <a:pt x="178" y="143"/>
                    </a:lnTo>
                    <a:lnTo>
                      <a:pt x="181" y="143"/>
                    </a:lnTo>
                    <a:lnTo>
                      <a:pt x="184" y="143"/>
                    </a:lnTo>
                    <a:lnTo>
                      <a:pt x="185" y="143"/>
                    </a:lnTo>
                    <a:lnTo>
                      <a:pt x="185" y="143"/>
                    </a:lnTo>
                    <a:lnTo>
                      <a:pt x="185" y="143"/>
                    </a:lnTo>
                    <a:lnTo>
                      <a:pt x="185" y="143"/>
                    </a:lnTo>
                    <a:lnTo>
                      <a:pt x="185" y="142"/>
                    </a:lnTo>
                    <a:lnTo>
                      <a:pt x="185" y="133"/>
                    </a:lnTo>
                    <a:lnTo>
                      <a:pt x="185" y="132"/>
                    </a:lnTo>
                    <a:lnTo>
                      <a:pt x="185" y="123"/>
                    </a:lnTo>
                    <a:lnTo>
                      <a:pt x="185" y="115"/>
                    </a:lnTo>
                    <a:lnTo>
                      <a:pt x="185" y="109"/>
                    </a:lnTo>
                    <a:lnTo>
                      <a:pt x="185" y="103"/>
                    </a:lnTo>
                    <a:lnTo>
                      <a:pt x="185" y="94"/>
                    </a:lnTo>
                    <a:lnTo>
                      <a:pt x="185" y="90"/>
                    </a:lnTo>
                    <a:lnTo>
                      <a:pt x="185" y="86"/>
                    </a:lnTo>
                    <a:lnTo>
                      <a:pt x="185" y="76"/>
                    </a:lnTo>
                    <a:lnTo>
                      <a:pt x="185" y="74"/>
                    </a:lnTo>
                    <a:lnTo>
                      <a:pt x="44" y="0"/>
                    </a:lnTo>
                    <a:lnTo>
                      <a:pt x="27" y="8"/>
                    </a:lnTo>
                    <a:lnTo>
                      <a:pt x="30" y="34"/>
                    </a:lnTo>
                    <a:lnTo>
                      <a:pt x="32" y="35"/>
                    </a:lnTo>
                    <a:lnTo>
                      <a:pt x="32" y="3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13" name="Freeform 200">
                <a:extLst>
                  <a:ext uri="{FF2B5EF4-FFF2-40B4-BE49-F238E27FC236}">
                    <a16:creationId xmlns:a16="http://schemas.microsoft.com/office/drawing/2014/main" id="{6A6B38AF-BC95-3D26-8C58-6736D455F126}"/>
                  </a:ext>
                </a:extLst>
              </p:cNvPr>
              <p:cNvSpPr>
                <a:spLocks/>
              </p:cNvSpPr>
              <p:nvPr/>
            </p:nvSpPr>
            <p:spPr bwMode="auto">
              <a:xfrm>
                <a:off x="3801" y="2524"/>
                <a:ext cx="228" cy="153"/>
              </a:xfrm>
              <a:custGeom>
                <a:avLst/>
                <a:gdLst>
                  <a:gd name="T0" fmla="*/ 129 w 228"/>
                  <a:gd name="T1" fmla="*/ 5 h 153"/>
                  <a:gd name="T2" fmla="*/ 127 w 228"/>
                  <a:gd name="T3" fmla="*/ 12 h 153"/>
                  <a:gd name="T4" fmla="*/ 112 w 228"/>
                  <a:gd name="T5" fmla="*/ 27 h 153"/>
                  <a:gd name="T6" fmla="*/ 93 w 228"/>
                  <a:gd name="T7" fmla="*/ 34 h 153"/>
                  <a:gd name="T8" fmla="*/ 79 w 228"/>
                  <a:gd name="T9" fmla="*/ 38 h 153"/>
                  <a:gd name="T10" fmla="*/ 75 w 228"/>
                  <a:gd name="T11" fmla="*/ 50 h 153"/>
                  <a:gd name="T12" fmla="*/ 56 w 228"/>
                  <a:gd name="T13" fmla="*/ 54 h 153"/>
                  <a:gd name="T14" fmla="*/ 42 w 228"/>
                  <a:gd name="T15" fmla="*/ 60 h 153"/>
                  <a:gd name="T16" fmla="*/ 36 w 228"/>
                  <a:gd name="T17" fmla="*/ 56 h 153"/>
                  <a:gd name="T18" fmla="*/ 27 w 228"/>
                  <a:gd name="T19" fmla="*/ 60 h 153"/>
                  <a:gd name="T20" fmla="*/ 17 w 228"/>
                  <a:gd name="T21" fmla="*/ 63 h 153"/>
                  <a:gd name="T22" fmla="*/ 6 w 228"/>
                  <a:gd name="T23" fmla="*/ 83 h 153"/>
                  <a:gd name="T24" fmla="*/ 0 w 228"/>
                  <a:gd name="T25" fmla="*/ 87 h 153"/>
                  <a:gd name="T26" fmla="*/ 3 w 228"/>
                  <a:gd name="T27" fmla="*/ 92 h 153"/>
                  <a:gd name="T28" fmla="*/ 6 w 228"/>
                  <a:gd name="T29" fmla="*/ 110 h 153"/>
                  <a:gd name="T30" fmla="*/ 12 w 228"/>
                  <a:gd name="T31" fmla="*/ 120 h 153"/>
                  <a:gd name="T32" fmla="*/ 17 w 228"/>
                  <a:gd name="T33" fmla="*/ 132 h 153"/>
                  <a:gd name="T34" fmla="*/ 30 w 228"/>
                  <a:gd name="T35" fmla="*/ 149 h 153"/>
                  <a:gd name="T36" fmla="*/ 36 w 228"/>
                  <a:gd name="T37" fmla="*/ 143 h 153"/>
                  <a:gd name="T38" fmla="*/ 42 w 228"/>
                  <a:gd name="T39" fmla="*/ 132 h 153"/>
                  <a:gd name="T40" fmla="*/ 65 w 228"/>
                  <a:gd name="T41" fmla="*/ 132 h 153"/>
                  <a:gd name="T42" fmla="*/ 73 w 228"/>
                  <a:gd name="T43" fmla="*/ 132 h 153"/>
                  <a:gd name="T44" fmla="*/ 78 w 228"/>
                  <a:gd name="T45" fmla="*/ 115 h 153"/>
                  <a:gd name="T46" fmla="*/ 96 w 228"/>
                  <a:gd name="T47" fmla="*/ 106 h 153"/>
                  <a:gd name="T48" fmla="*/ 109 w 228"/>
                  <a:gd name="T49" fmla="*/ 115 h 153"/>
                  <a:gd name="T50" fmla="*/ 132 w 228"/>
                  <a:gd name="T51" fmla="*/ 119 h 153"/>
                  <a:gd name="T52" fmla="*/ 142 w 228"/>
                  <a:gd name="T53" fmla="*/ 119 h 153"/>
                  <a:gd name="T54" fmla="*/ 155 w 228"/>
                  <a:gd name="T55" fmla="*/ 112 h 153"/>
                  <a:gd name="T56" fmla="*/ 178 w 228"/>
                  <a:gd name="T57" fmla="*/ 106 h 153"/>
                  <a:gd name="T58" fmla="*/ 190 w 228"/>
                  <a:gd name="T59" fmla="*/ 104 h 153"/>
                  <a:gd name="T60" fmla="*/ 198 w 228"/>
                  <a:gd name="T61" fmla="*/ 100 h 153"/>
                  <a:gd name="T62" fmla="*/ 217 w 228"/>
                  <a:gd name="T63" fmla="*/ 104 h 153"/>
                  <a:gd name="T64" fmla="*/ 226 w 228"/>
                  <a:gd name="T65" fmla="*/ 103 h 153"/>
                  <a:gd name="T66" fmla="*/ 227 w 228"/>
                  <a:gd name="T67" fmla="*/ 102 h 153"/>
                  <a:gd name="T68" fmla="*/ 226 w 228"/>
                  <a:gd name="T69" fmla="*/ 97 h 153"/>
                  <a:gd name="T70" fmla="*/ 226 w 228"/>
                  <a:gd name="T71" fmla="*/ 94 h 153"/>
                  <a:gd name="T72" fmla="*/ 223 w 228"/>
                  <a:gd name="T73" fmla="*/ 92 h 153"/>
                  <a:gd name="T74" fmla="*/ 217 w 228"/>
                  <a:gd name="T75" fmla="*/ 89 h 153"/>
                  <a:gd name="T76" fmla="*/ 214 w 228"/>
                  <a:gd name="T77" fmla="*/ 87 h 153"/>
                  <a:gd name="T78" fmla="*/ 213 w 228"/>
                  <a:gd name="T79" fmla="*/ 86 h 153"/>
                  <a:gd name="T80" fmla="*/ 210 w 228"/>
                  <a:gd name="T81" fmla="*/ 83 h 153"/>
                  <a:gd name="T82" fmla="*/ 210 w 228"/>
                  <a:gd name="T83" fmla="*/ 77 h 153"/>
                  <a:gd name="T84" fmla="*/ 206 w 228"/>
                  <a:gd name="T85" fmla="*/ 71 h 153"/>
                  <a:gd name="T86" fmla="*/ 201 w 228"/>
                  <a:gd name="T87" fmla="*/ 69 h 153"/>
                  <a:gd name="T88" fmla="*/ 193 w 228"/>
                  <a:gd name="T89" fmla="*/ 63 h 153"/>
                  <a:gd name="T90" fmla="*/ 190 w 228"/>
                  <a:gd name="T91" fmla="*/ 61 h 153"/>
                  <a:gd name="T92" fmla="*/ 190 w 228"/>
                  <a:gd name="T93" fmla="*/ 56 h 153"/>
                  <a:gd name="T94" fmla="*/ 183 w 228"/>
                  <a:gd name="T95" fmla="*/ 50 h 153"/>
                  <a:gd name="T96" fmla="*/ 174 w 228"/>
                  <a:gd name="T97" fmla="*/ 47 h 153"/>
                  <a:gd name="T98" fmla="*/ 172 w 228"/>
                  <a:gd name="T99" fmla="*/ 41 h 153"/>
                  <a:gd name="T100" fmla="*/ 171 w 228"/>
                  <a:gd name="T101" fmla="*/ 41 h 153"/>
                  <a:gd name="T102" fmla="*/ 162 w 228"/>
                  <a:gd name="T103" fmla="*/ 40 h 153"/>
                  <a:gd name="T104" fmla="*/ 161 w 228"/>
                  <a:gd name="T105" fmla="*/ 37 h 153"/>
                  <a:gd name="T106" fmla="*/ 160 w 228"/>
                  <a:gd name="T107" fmla="*/ 34 h 153"/>
                  <a:gd name="T108" fmla="*/ 162 w 228"/>
                  <a:gd name="T109" fmla="*/ 28 h 153"/>
                  <a:gd name="T110" fmla="*/ 162 w 228"/>
                  <a:gd name="T111" fmla="*/ 21 h 153"/>
                  <a:gd name="T112" fmla="*/ 161 w 228"/>
                  <a:gd name="T113" fmla="*/ 18 h 153"/>
                  <a:gd name="T114" fmla="*/ 158 w 228"/>
                  <a:gd name="T115" fmla="*/ 11 h 153"/>
                  <a:gd name="T116" fmla="*/ 148 w 228"/>
                  <a:gd name="T117" fmla="*/ 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8" h="153">
                    <a:moveTo>
                      <a:pt x="141" y="0"/>
                    </a:moveTo>
                    <a:lnTo>
                      <a:pt x="138" y="1"/>
                    </a:lnTo>
                    <a:lnTo>
                      <a:pt x="131" y="4"/>
                    </a:lnTo>
                    <a:lnTo>
                      <a:pt x="129" y="5"/>
                    </a:lnTo>
                    <a:lnTo>
                      <a:pt x="128" y="7"/>
                    </a:lnTo>
                    <a:lnTo>
                      <a:pt x="128" y="10"/>
                    </a:lnTo>
                    <a:lnTo>
                      <a:pt x="128" y="11"/>
                    </a:lnTo>
                    <a:lnTo>
                      <a:pt x="127" y="12"/>
                    </a:lnTo>
                    <a:lnTo>
                      <a:pt x="124" y="15"/>
                    </a:lnTo>
                    <a:lnTo>
                      <a:pt x="119" y="18"/>
                    </a:lnTo>
                    <a:lnTo>
                      <a:pt x="116" y="21"/>
                    </a:lnTo>
                    <a:lnTo>
                      <a:pt x="112" y="27"/>
                    </a:lnTo>
                    <a:lnTo>
                      <a:pt x="109" y="30"/>
                    </a:lnTo>
                    <a:lnTo>
                      <a:pt x="105" y="31"/>
                    </a:lnTo>
                    <a:lnTo>
                      <a:pt x="101" y="33"/>
                    </a:lnTo>
                    <a:lnTo>
                      <a:pt x="93" y="34"/>
                    </a:lnTo>
                    <a:lnTo>
                      <a:pt x="85" y="34"/>
                    </a:lnTo>
                    <a:lnTo>
                      <a:pt x="81" y="35"/>
                    </a:lnTo>
                    <a:lnTo>
                      <a:pt x="79" y="37"/>
                    </a:lnTo>
                    <a:lnTo>
                      <a:pt x="79" y="38"/>
                    </a:lnTo>
                    <a:lnTo>
                      <a:pt x="82" y="40"/>
                    </a:lnTo>
                    <a:lnTo>
                      <a:pt x="82" y="41"/>
                    </a:lnTo>
                    <a:lnTo>
                      <a:pt x="82" y="43"/>
                    </a:lnTo>
                    <a:lnTo>
                      <a:pt x="75" y="50"/>
                    </a:lnTo>
                    <a:lnTo>
                      <a:pt x="73" y="51"/>
                    </a:lnTo>
                    <a:lnTo>
                      <a:pt x="71" y="53"/>
                    </a:lnTo>
                    <a:lnTo>
                      <a:pt x="63" y="53"/>
                    </a:lnTo>
                    <a:lnTo>
                      <a:pt x="56" y="54"/>
                    </a:lnTo>
                    <a:lnTo>
                      <a:pt x="53" y="54"/>
                    </a:lnTo>
                    <a:lnTo>
                      <a:pt x="49" y="56"/>
                    </a:lnTo>
                    <a:lnTo>
                      <a:pt x="46" y="58"/>
                    </a:lnTo>
                    <a:lnTo>
                      <a:pt x="42" y="60"/>
                    </a:lnTo>
                    <a:lnTo>
                      <a:pt x="39" y="58"/>
                    </a:lnTo>
                    <a:lnTo>
                      <a:pt x="37" y="54"/>
                    </a:lnTo>
                    <a:lnTo>
                      <a:pt x="36" y="56"/>
                    </a:lnTo>
                    <a:lnTo>
                      <a:pt x="36" y="56"/>
                    </a:lnTo>
                    <a:lnTo>
                      <a:pt x="35" y="57"/>
                    </a:lnTo>
                    <a:lnTo>
                      <a:pt x="35" y="57"/>
                    </a:lnTo>
                    <a:lnTo>
                      <a:pt x="33" y="58"/>
                    </a:lnTo>
                    <a:lnTo>
                      <a:pt x="27" y="60"/>
                    </a:lnTo>
                    <a:lnTo>
                      <a:pt x="25" y="61"/>
                    </a:lnTo>
                    <a:lnTo>
                      <a:pt x="22" y="61"/>
                    </a:lnTo>
                    <a:lnTo>
                      <a:pt x="19" y="61"/>
                    </a:lnTo>
                    <a:lnTo>
                      <a:pt x="17" y="63"/>
                    </a:lnTo>
                    <a:lnTo>
                      <a:pt x="15" y="67"/>
                    </a:lnTo>
                    <a:lnTo>
                      <a:pt x="7" y="80"/>
                    </a:lnTo>
                    <a:lnTo>
                      <a:pt x="6" y="83"/>
                    </a:lnTo>
                    <a:lnTo>
                      <a:pt x="6" y="83"/>
                    </a:lnTo>
                    <a:lnTo>
                      <a:pt x="4" y="83"/>
                    </a:lnTo>
                    <a:lnTo>
                      <a:pt x="3" y="84"/>
                    </a:lnTo>
                    <a:lnTo>
                      <a:pt x="2" y="84"/>
                    </a:lnTo>
                    <a:lnTo>
                      <a:pt x="0" y="87"/>
                    </a:lnTo>
                    <a:lnTo>
                      <a:pt x="2" y="87"/>
                    </a:lnTo>
                    <a:lnTo>
                      <a:pt x="2" y="89"/>
                    </a:lnTo>
                    <a:lnTo>
                      <a:pt x="3" y="89"/>
                    </a:lnTo>
                    <a:lnTo>
                      <a:pt x="3" y="92"/>
                    </a:lnTo>
                    <a:lnTo>
                      <a:pt x="3" y="94"/>
                    </a:lnTo>
                    <a:lnTo>
                      <a:pt x="3" y="96"/>
                    </a:lnTo>
                    <a:lnTo>
                      <a:pt x="3" y="99"/>
                    </a:lnTo>
                    <a:lnTo>
                      <a:pt x="6" y="110"/>
                    </a:lnTo>
                    <a:lnTo>
                      <a:pt x="6" y="112"/>
                    </a:lnTo>
                    <a:lnTo>
                      <a:pt x="10" y="116"/>
                    </a:lnTo>
                    <a:lnTo>
                      <a:pt x="12" y="117"/>
                    </a:lnTo>
                    <a:lnTo>
                      <a:pt x="12" y="120"/>
                    </a:lnTo>
                    <a:lnTo>
                      <a:pt x="13" y="122"/>
                    </a:lnTo>
                    <a:lnTo>
                      <a:pt x="10" y="123"/>
                    </a:lnTo>
                    <a:lnTo>
                      <a:pt x="13" y="127"/>
                    </a:lnTo>
                    <a:lnTo>
                      <a:pt x="17" y="132"/>
                    </a:lnTo>
                    <a:lnTo>
                      <a:pt x="26" y="139"/>
                    </a:lnTo>
                    <a:lnTo>
                      <a:pt x="29" y="142"/>
                    </a:lnTo>
                    <a:lnTo>
                      <a:pt x="29" y="146"/>
                    </a:lnTo>
                    <a:lnTo>
                      <a:pt x="30" y="149"/>
                    </a:lnTo>
                    <a:lnTo>
                      <a:pt x="32" y="153"/>
                    </a:lnTo>
                    <a:lnTo>
                      <a:pt x="35" y="146"/>
                    </a:lnTo>
                    <a:lnTo>
                      <a:pt x="36" y="145"/>
                    </a:lnTo>
                    <a:lnTo>
                      <a:pt x="36" y="143"/>
                    </a:lnTo>
                    <a:lnTo>
                      <a:pt x="36" y="139"/>
                    </a:lnTo>
                    <a:lnTo>
                      <a:pt x="36" y="138"/>
                    </a:lnTo>
                    <a:lnTo>
                      <a:pt x="39" y="133"/>
                    </a:lnTo>
                    <a:lnTo>
                      <a:pt x="42" y="132"/>
                    </a:lnTo>
                    <a:lnTo>
                      <a:pt x="53" y="129"/>
                    </a:lnTo>
                    <a:lnTo>
                      <a:pt x="56" y="130"/>
                    </a:lnTo>
                    <a:lnTo>
                      <a:pt x="65" y="132"/>
                    </a:lnTo>
                    <a:lnTo>
                      <a:pt x="65" y="132"/>
                    </a:lnTo>
                    <a:lnTo>
                      <a:pt x="66" y="132"/>
                    </a:lnTo>
                    <a:lnTo>
                      <a:pt x="71" y="130"/>
                    </a:lnTo>
                    <a:lnTo>
                      <a:pt x="72" y="130"/>
                    </a:lnTo>
                    <a:lnTo>
                      <a:pt x="73" y="132"/>
                    </a:lnTo>
                    <a:lnTo>
                      <a:pt x="73" y="129"/>
                    </a:lnTo>
                    <a:lnTo>
                      <a:pt x="73" y="119"/>
                    </a:lnTo>
                    <a:lnTo>
                      <a:pt x="75" y="117"/>
                    </a:lnTo>
                    <a:lnTo>
                      <a:pt x="78" y="115"/>
                    </a:lnTo>
                    <a:lnTo>
                      <a:pt x="82" y="109"/>
                    </a:lnTo>
                    <a:lnTo>
                      <a:pt x="85" y="106"/>
                    </a:lnTo>
                    <a:lnTo>
                      <a:pt x="91" y="103"/>
                    </a:lnTo>
                    <a:lnTo>
                      <a:pt x="96" y="106"/>
                    </a:lnTo>
                    <a:lnTo>
                      <a:pt x="101" y="109"/>
                    </a:lnTo>
                    <a:lnTo>
                      <a:pt x="104" y="110"/>
                    </a:lnTo>
                    <a:lnTo>
                      <a:pt x="108" y="113"/>
                    </a:lnTo>
                    <a:lnTo>
                      <a:pt x="109" y="115"/>
                    </a:lnTo>
                    <a:lnTo>
                      <a:pt x="111" y="115"/>
                    </a:lnTo>
                    <a:lnTo>
                      <a:pt x="125" y="117"/>
                    </a:lnTo>
                    <a:lnTo>
                      <a:pt x="129" y="119"/>
                    </a:lnTo>
                    <a:lnTo>
                      <a:pt x="132" y="119"/>
                    </a:lnTo>
                    <a:lnTo>
                      <a:pt x="138" y="120"/>
                    </a:lnTo>
                    <a:lnTo>
                      <a:pt x="141" y="120"/>
                    </a:lnTo>
                    <a:lnTo>
                      <a:pt x="142" y="120"/>
                    </a:lnTo>
                    <a:lnTo>
                      <a:pt x="142" y="119"/>
                    </a:lnTo>
                    <a:lnTo>
                      <a:pt x="144" y="116"/>
                    </a:lnTo>
                    <a:lnTo>
                      <a:pt x="148" y="112"/>
                    </a:lnTo>
                    <a:lnTo>
                      <a:pt x="151" y="110"/>
                    </a:lnTo>
                    <a:lnTo>
                      <a:pt x="155" y="112"/>
                    </a:lnTo>
                    <a:lnTo>
                      <a:pt x="160" y="112"/>
                    </a:lnTo>
                    <a:lnTo>
                      <a:pt x="164" y="110"/>
                    </a:lnTo>
                    <a:lnTo>
                      <a:pt x="172" y="106"/>
                    </a:lnTo>
                    <a:lnTo>
                      <a:pt x="178" y="106"/>
                    </a:lnTo>
                    <a:lnTo>
                      <a:pt x="183" y="106"/>
                    </a:lnTo>
                    <a:lnTo>
                      <a:pt x="185" y="106"/>
                    </a:lnTo>
                    <a:lnTo>
                      <a:pt x="188" y="106"/>
                    </a:lnTo>
                    <a:lnTo>
                      <a:pt x="190" y="104"/>
                    </a:lnTo>
                    <a:lnTo>
                      <a:pt x="191" y="103"/>
                    </a:lnTo>
                    <a:lnTo>
                      <a:pt x="193" y="102"/>
                    </a:lnTo>
                    <a:lnTo>
                      <a:pt x="194" y="100"/>
                    </a:lnTo>
                    <a:lnTo>
                      <a:pt x="198" y="100"/>
                    </a:lnTo>
                    <a:lnTo>
                      <a:pt x="204" y="102"/>
                    </a:lnTo>
                    <a:lnTo>
                      <a:pt x="214" y="104"/>
                    </a:lnTo>
                    <a:lnTo>
                      <a:pt x="216" y="104"/>
                    </a:lnTo>
                    <a:lnTo>
                      <a:pt x="217" y="104"/>
                    </a:lnTo>
                    <a:lnTo>
                      <a:pt x="221" y="103"/>
                    </a:lnTo>
                    <a:lnTo>
                      <a:pt x="223" y="103"/>
                    </a:lnTo>
                    <a:lnTo>
                      <a:pt x="224" y="103"/>
                    </a:lnTo>
                    <a:lnTo>
                      <a:pt x="226" y="103"/>
                    </a:lnTo>
                    <a:lnTo>
                      <a:pt x="228" y="103"/>
                    </a:lnTo>
                    <a:lnTo>
                      <a:pt x="227" y="103"/>
                    </a:lnTo>
                    <a:lnTo>
                      <a:pt x="227" y="102"/>
                    </a:lnTo>
                    <a:lnTo>
                      <a:pt x="227" y="102"/>
                    </a:lnTo>
                    <a:lnTo>
                      <a:pt x="226" y="100"/>
                    </a:lnTo>
                    <a:lnTo>
                      <a:pt x="226" y="100"/>
                    </a:lnTo>
                    <a:lnTo>
                      <a:pt x="226" y="99"/>
                    </a:lnTo>
                    <a:lnTo>
                      <a:pt x="226" y="97"/>
                    </a:lnTo>
                    <a:lnTo>
                      <a:pt x="226" y="97"/>
                    </a:lnTo>
                    <a:lnTo>
                      <a:pt x="226" y="96"/>
                    </a:lnTo>
                    <a:lnTo>
                      <a:pt x="226" y="96"/>
                    </a:lnTo>
                    <a:lnTo>
                      <a:pt x="226" y="94"/>
                    </a:lnTo>
                    <a:lnTo>
                      <a:pt x="224" y="93"/>
                    </a:lnTo>
                    <a:lnTo>
                      <a:pt x="224" y="93"/>
                    </a:lnTo>
                    <a:lnTo>
                      <a:pt x="224" y="93"/>
                    </a:lnTo>
                    <a:lnTo>
                      <a:pt x="223" y="92"/>
                    </a:lnTo>
                    <a:lnTo>
                      <a:pt x="223" y="92"/>
                    </a:lnTo>
                    <a:lnTo>
                      <a:pt x="220" y="90"/>
                    </a:lnTo>
                    <a:lnTo>
                      <a:pt x="217" y="89"/>
                    </a:lnTo>
                    <a:lnTo>
                      <a:pt x="217" y="89"/>
                    </a:lnTo>
                    <a:lnTo>
                      <a:pt x="217" y="87"/>
                    </a:lnTo>
                    <a:lnTo>
                      <a:pt x="216" y="87"/>
                    </a:lnTo>
                    <a:lnTo>
                      <a:pt x="216" y="87"/>
                    </a:lnTo>
                    <a:lnTo>
                      <a:pt x="214" y="87"/>
                    </a:lnTo>
                    <a:lnTo>
                      <a:pt x="214" y="87"/>
                    </a:lnTo>
                    <a:lnTo>
                      <a:pt x="213" y="87"/>
                    </a:lnTo>
                    <a:lnTo>
                      <a:pt x="213" y="87"/>
                    </a:lnTo>
                    <a:lnTo>
                      <a:pt x="213" y="86"/>
                    </a:lnTo>
                    <a:lnTo>
                      <a:pt x="211" y="84"/>
                    </a:lnTo>
                    <a:lnTo>
                      <a:pt x="211" y="84"/>
                    </a:lnTo>
                    <a:lnTo>
                      <a:pt x="211" y="83"/>
                    </a:lnTo>
                    <a:lnTo>
                      <a:pt x="210" y="83"/>
                    </a:lnTo>
                    <a:lnTo>
                      <a:pt x="210" y="81"/>
                    </a:lnTo>
                    <a:lnTo>
                      <a:pt x="210" y="80"/>
                    </a:lnTo>
                    <a:lnTo>
                      <a:pt x="210" y="80"/>
                    </a:lnTo>
                    <a:lnTo>
                      <a:pt x="210" y="77"/>
                    </a:lnTo>
                    <a:lnTo>
                      <a:pt x="207" y="74"/>
                    </a:lnTo>
                    <a:lnTo>
                      <a:pt x="206" y="73"/>
                    </a:lnTo>
                    <a:lnTo>
                      <a:pt x="206" y="73"/>
                    </a:lnTo>
                    <a:lnTo>
                      <a:pt x="206" y="71"/>
                    </a:lnTo>
                    <a:lnTo>
                      <a:pt x="204" y="71"/>
                    </a:lnTo>
                    <a:lnTo>
                      <a:pt x="204" y="71"/>
                    </a:lnTo>
                    <a:lnTo>
                      <a:pt x="203" y="70"/>
                    </a:lnTo>
                    <a:lnTo>
                      <a:pt x="201" y="69"/>
                    </a:lnTo>
                    <a:lnTo>
                      <a:pt x="198" y="67"/>
                    </a:lnTo>
                    <a:lnTo>
                      <a:pt x="195" y="66"/>
                    </a:lnTo>
                    <a:lnTo>
                      <a:pt x="194" y="64"/>
                    </a:lnTo>
                    <a:lnTo>
                      <a:pt x="193" y="63"/>
                    </a:lnTo>
                    <a:lnTo>
                      <a:pt x="191" y="63"/>
                    </a:lnTo>
                    <a:lnTo>
                      <a:pt x="190" y="61"/>
                    </a:lnTo>
                    <a:lnTo>
                      <a:pt x="190" y="61"/>
                    </a:lnTo>
                    <a:lnTo>
                      <a:pt x="190" y="61"/>
                    </a:lnTo>
                    <a:lnTo>
                      <a:pt x="190" y="60"/>
                    </a:lnTo>
                    <a:lnTo>
                      <a:pt x="190" y="58"/>
                    </a:lnTo>
                    <a:lnTo>
                      <a:pt x="191" y="57"/>
                    </a:lnTo>
                    <a:lnTo>
                      <a:pt x="190" y="56"/>
                    </a:lnTo>
                    <a:lnTo>
                      <a:pt x="187" y="54"/>
                    </a:lnTo>
                    <a:lnTo>
                      <a:pt x="185" y="51"/>
                    </a:lnTo>
                    <a:lnTo>
                      <a:pt x="184" y="50"/>
                    </a:lnTo>
                    <a:lnTo>
                      <a:pt x="183" y="50"/>
                    </a:lnTo>
                    <a:lnTo>
                      <a:pt x="181" y="48"/>
                    </a:lnTo>
                    <a:lnTo>
                      <a:pt x="175" y="48"/>
                    </a:lnTo>
                    <a:lnTo>
                      <a:pt x="174" y="47"/>
                    </a:lnTo>
                    <a:lnTo>
                      <a:pt x="174" y="47"/>
                    </a:lnTo>
                    <a:lnTo>
                      <a:pt x="172" y="47"/>
                    </a:lnTo>
                    <a:lnTo>
                      <a:pt x="172" y="46"/>
                    </a:lnTo>
                    <a:lnTo>
                      <a:pt x="171" y="44"/>
                    </a:lnTo>
                    <a:lnTo>
                      <a:pt x="172" y="41"/>
                    </a:lnTo>
                    <a:lnTo>
                      <a:pt x="172" y="41"/>
                    </a:lnTo>
                    <a:lnTo>
                      <a:pt x="172" y="41"/>
                    </a:lnTo>
                    <a:lnTo>
                      <a:pt x="171" y="41"/>
                    </a:lnTo>
                    <a:lnTo>
                      <a:pt x="171" y="41"/>
                    </a:lnTo>
                    <a:lnTo>
                      <a:pt x="171" y="40"/>
                    </a:lnTo>
                    <a:lnTo>
                      <a:pt x="170" y="40"/>
                    </a:lnTo>
                    <a:lnTo>
                      <a:pt x="168" y="40"/>
                    </a:lnTo>
                    <a:lnTo>
                      <a:pt x="162" y="40"/>
                    </a:lnTo>
                    <a:lnTo>
                      <a:pt x="161" y="38"/>
                    </a:lnTo>
                    <a:lnTo>
                      <a:pt x="161" y="38"/>
                    </a:lnTo>
                    <a:lnTo>
                      <a:pt x="161" y="38"/>
                    </a:lnTo>
                    <a:lnTo>
                      <a:pt x="161" y="37"/>
                    </a:lnTo>
                    <a:lnTo>
                      <a:pt x="161" y="37"/>
                    </a:lnTo>
                    <a:lnTo>
                      <a:pt x="161" y="35"/>
                    </a:lnTo>
                    <a:lnTo>
                      <a:pt x="160" y="35"/>
                    </a:lnTo>
                    <a:lnTo>
                      <a:pt x="160" y="34"/>
                    </a:lnTo>
                    <a:lnTo>
                      <a:pt x="160" y="34"/>
                    </a:lnTo>
                    <a:lnTo>
                      <a:pt x="160" y="33"/>
                    </a:lnTo>
                    <a:lnTo>
                      <a:pt x="161" y="30"/>
                    </a:lnTo>
                    <a:lnTo>
                      <a:pt x="162" y="28"/>
                    </a:lnTo>
                    <a:lnTo>
                      <a:pt x="162" y="24"/>
                    </a:lnTo>
                    <a:lnTo>
                      <a:pt x="162" y="23"/>
                    </a:lnTo>
                    <a:lnTo>
                      <a:pt x="162" y="23"/>
                    </a:lnTo>
                    <a:lnTo>
                      <a:pt x="162" y="21"/>
                    </a:lnTo>
                    <a:lnTo>
                      <a:pt x="162" y="20"/>
                    </a:lnTo>
                    <a:lnTo>
                      <a:pt x="162" y="20"/>
                    </a:lnTo>
                    <a:lnTo>
                      <a:pt x="162" y="18"/>
                    </a:lnTo>
                    <a:lnTo>
                      <a:pt x="161" y="18"/>
                    </a:lnTo>
                    <a:lnTo>
                      <a:pt x="161" y="17"/>
                    </a:lnTo>
                    <a:lnTo>
                      <a:pt x="160" y="15"/>
                    </a:lnTo>
                    <a:lnTo>
                      <a:pt x="160" y="14"/>
                    </a:lnTo>
                    <a:lnTo>
                      <a:pt x="158" y="11"/>
                    </a:lnTo>
                    <a:lnTo>
                      <a:pt x="155" y="10"/>
                    </a:lnTo>
                    <a:lnTo>
                      <a:pt x="152" y="5"/>
                    </a:lnTo>
                    <a:lnTo>
                      <a:pt x="149" y="2"/>
                    </a:lnTo>
                    <a:lnTo>
                      <a:pt x="148" y="1"/>
                    </a:lnTo>
                    <a:lnTo>
                      <a:pt x="145" y="0"/>
                    </a:lnTo>
                    <a:lnTo>
                      <a:pt x="141"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14" name="Freeform 201">
                <a:extLst>
                  <a:ext uri="{FF2B5EF4-FFF2-40B4-BE49-F238E27FC236}">
                    <a16:creationId xmlns:a16="http://schemas.microsoft.com/office/drawing/2014/main" id="{B7B92679-0552-9160-BDE9-DDD17D8F12AC}"/>
                  </a:ext>
                </a:extLst>
              </p:cNvPr>
              <p:cNvSpPr>
                <a:spLocks noEditPoints="1"/>
              </p:cNvSpPr>
              <p:nvPr/>
            </p:nvSpPr>
            <p:spPr bwMode="auto">
              <a:xfrm>
                <a:off x="3102" y="2411"/>
                <a:ext cx="46" cy="42"/>
              </a:xfrm>
              <a:custGeom>
                <a:avLst/>
                <a:gdLst>
                  <a:gd name="T0" fmla="*/ 18 w 46"/>
                  <a:gd name="T1" fmla="*/ 39 h 42"/>
                  <a:gd name="T2" fmla="*/ 17 w 46"/>
                  <a:gd name="T3" fmla="*/ 42 h 42"/>
                  <a:gd name="T4" fmla="*/ 16 w 46"/>
                  <a:gd name="T5" fmla="*/ 42 h 42"/>
                  <a:gd name="T6" fmla="*/ 16 w 46"/>
                  <a:gd name="T7" fmla="*/ 39 h 42"/>
                  <a:gd name="T8" fmla="*/ 18 w 46"/>
                  <a:gd name="T9" fmla="*/ 9 h 42"/>
                  <a:gd name="T10" fmla="*/ 18 w 46"/>
                  <a:gd name="T11" fmla="*/ 12 h 42"/>
                  <a:gd name="T12" fmla="*/ 20 w 46"/>
                  <a:gd name="T13" fmla="*/ 10 h 42"/>
                  <a:gd name="T14" fmla="*/ 21 w 46"/>
                  <a:gd name="T15" fmla="*/ 9 h 42"/>
                  <a:gd name="T16" fmla="*/ 31 w 46"/>
                  <a:gd name="T17" fmla="*/ 36 h 42"/>
                  <a:gd name="T18" fmla="*/ 27 w 46"/>
                  <a:gd name="T19" fmla="*/ 38 h 42"/>
                  <a:gd name="T20" fmla="*/ 30 w 46"/>
                  <a:gd name="T21" fmla="*/ 41 h 42"/>
                  <a:gd name="T22" fmla="*/ 33 w 46"/>
                  <a:gd name="T23" fmla="*/ 39 h 42"/>
                  <a:gd name="T24" fmla="*/ 31 w 46"/>
                  <a:gd name="T25" fmla="*/ 36 h 42"/>
                  <a:gd name="T26" fmla="*/ 37 w 46"/>
                  <a:gd name="T27" fmla="*/ 36 h 42"/>
                  <a:gd name="T28" fmla="*/ 39 w 46"/>
                  <a:gd name="T29" fmla="*/ 35 h 42"/>
                  <a:gd name="T30" fmla="*/ 43 w 46"/>
                  <a:gd name="T31" fmla="*/ 18 h 42"/>
                  <a:gd name="T32" fmla="*/ 43 w 46"/>
                  <a:gd name="T33" fmla="*/ 19 h 42"/>
                  <a:gd name="T34" fmla="*/ 41 w 46"/>
                  <a:gd name="T35" fmla="*/ 21 h 42"/>
                  <a:gd name="T36" fmla="*/ 46 w 46"/>
                  <a:gd name="T37" fmla="*/ 21 h 42"/>
                  <a:gd name="T38" fmla="*/ 43 w 46"/>
                  <a:gd name="T39" fmla="*/ 18 h 42"/>
                  <a:gd name="T40" fmla="*/ 43 w 46"/>
                  <a:gd name="T41" fmla="*/ 9 h 42"/>
                  <a:gd name="T42" fmla="*/ 43 w 46"/>
                  <a:gd name="T43" fmla="*/ 8 h 42"/>
                  <a:gd name="T44" fmla="*/ 43 w 46"/>
                  <a:gd name="T45" fmla="*/ 6 h 42"/>
                  <a:gd name="T46" fmla="*/ 41 w 46"/>
                  <a:gd name="T47" fmla="*/ 6 h 42"/>
                  <a:gd name="T48" fmla="*/ 41 w 46"/>
                  <a:gd name="T49" fmla="*/ 8 h 42"/>
                  <a:gd name="T50" fmla="*/ 41 w 46"/>
                  <a:gd name="T51" fmla="*/ 9 h 42"/>
                  <a:gd name="T52" fmla="*/ 5 w 46"/>
                  <a:gd name="T53" fmla="*/ 0 h 42"/>
                  <a:gd name="T54" fmla="*/ 1 w 46"/>
                  <a:gd name="T55" fmla="*/ 0 h 42"/>
                  <a:gd name="T56" fmla="*/ 1 w 46"/>
                  <a:gd name="T57" fmla="*/ 3 h 42"/>
                  <a:gd name="T58" fmla="*/ 4 w 46"/>
                  <a:gd name="T59" fmla="*/ 3 h 42"/>
                  <a:gd name="T60" fmla="*/ 5 w 46"/>
                  <a:gd name="T61" fmla="*/ 0 h 42"/>
                  <a:gd name="T62" fmla="*/ 7 w 46"/>
                  <a:gd name="T63" fmla="*/ 6 h 42"/>
                  <a:gd name="T64" fmla="*/ 7 w 46"/>
                  <a:gd name="T65" fmla="*/ 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42">
                    <a:moveTo>
                      <a:pt x="17" y="39"/>
                    </a:moveTo>
                    <a:lnTo>
                      <a:pt x="18" y="39"/>
                    </a:lnTo>
                    <a:lnTo>
                      <a:pt x="18" y="42"/>
                    </a:lnTo>
                    <a:lnTo>
                      <a:pt x="17" y="42"/>
                    </a:lnTo>
                    <a:lnTo>
                      <a:pt x="16" y="42"/>
                    </a:lnTo>
                    <a:lnTo>
                      <a:pt x="16" y="42"/>
                    </a:lnTo>
                    <a:lnTo>
                      <a:pt x="14" y="41"/>
                    </a:lnTo>
                    <a:lnTo>
                      <a:pt x="16" y="39"/>
                    </a:lnTo>
                    <a:lnTo>
                      <a:pt x="17" y="39"/>
                    </a:lnTo>
                    <a:close/>
                    <a:moveTo>
                      <a:pt x="18" y="9"/>
                    </a:moveTo>
                    <a:lnTo>
                      <a:pt x="17" y="9"/>
                    </a:lnTo>
                    <a:lnTo>
                      <a:pt x="18" y="12"/>
                    </a:lnTo>
                    <a:lnTo>
                      <a:pt x="18" y="10"/>
                    </a:lnTo>
                    <a:lnTo>
                      <a:pt x="20" y="10"/>
                    </a:lnTo>
                    <a:lnTo>
                      <a:pt x="23" y="10"/>
                    </a:lnTo>
                    <a:lnTo>
                      <a:pt x="21" y="9"/>
                    </a:lnTo>
                    <a:lnTo>
                      <a:pt x="18" y="9"/>
                    </a:lnTo>
                    <a:close/>
                    <a:moveTo>
                      <a:pt x="31" y="36"/>
                    </a:moveTo>
                    <a:lnTo>
                      <a:pt x="28" y="33"/>
                    </a:lnTo>
                    <a:lnTo>
                      <a:pt x="27" y="38"/>
                    </a:lnTo>
                    <a:lnTo>
                      <a:pt x="28" y="41"/>
                    </a:lnTo>
                    <a:lnTo>
                      <a:pt x="30" y="41"/>
                    </a:lnTo>
                    <a:lnTo>
                      <a:pt x="33" y="41"/>
                    </a:lnTo>
                    <a:lnTo>
                      <a:pt x="33" y="39"/>
                    </a:lnTo>
                    <a:lnTo>
                      <a:pt x="33" y="38"/>
                    </a:lnTo>
                    <a:lnTo>
                      <a:pt x="31" y="36"/>
                    </a:lnTo>
                    <a:close/>
                    <a:moveTo>
                      <a:pt x="37" y="33"/>
                    </a:moveTo>
                    <a:lnTo>
                      <a:pt x="37" y="36"/>
                    </a:lnTo>
                    <a:lnTo>
                      <a:pt x="39" y="36"/>
                    </a:lnTo>
                    <a:lnTo>
                      <a:pt x="39" y="35"/>
                    </a:lnTo>
                    <a:lnTo>
                      <a:pt x="37" y="33"/>
                    </a:lnTo>
                    <a:close/>
                    <a:moveTo>
                      <a:pt x="43" y="18"/>
                    </a:moveTo>
                    <a:lnTo>
                      <a:pt x="43" y="18"/>
                    </a:lnTo>
                    <a:lnTo>
                      <a:pt x="43" y="19"/>
                    </a:lnTo>
                    <a:lnTo>
                      <a:pt x="41" y="19"/>
                    </a:lnTo>
                    <a:lnTo>
                      <a:pt x="41" y="21"/>
                    </a:lnTo>
                    <a:lnTo>
                      <a:pt x="44" y="22"/>
                    </a:lnTo>
                    <a:lnTo>
                      <a:pt x="46" y="21"/>
                    </a:lnTo>
                    <a:lnTo>
                      <a:pt x="46" y="18"/>
                    </a:lnTo>
                    <a:lnTo>
                      <a:pt x="43" y="18"/>
                    </a:lnTo>
                    <a:close/>
                    <a:moveTo>
                      <a:pt x="43" y="10"/>
                    </a:moveTo>
                    <a:lnTo>
                      <a:pt x="43" y="9"/>
                    </a:lnTo>
                    <a:lnTo>
                      <a:pt x="43" y="8"/>
                    </a:lnTo>
                    <a:lnTo>
                      <a:pt x="43" y="8"/>
                    </a:lnTo>
                    <a:lnTo>
                      <a:pt x="43" y="6"/>
                    </a:lnTo>
                    <a:lnTo>
                      <a:pt x="43" y="6"/>
                    </a:lnTo>
                    <a:lnTo>
                      <a:pt x="41" y="6"/>
                    </a:lnTo>
                    <a:lnTo>
                      <a:pt x="41" y="6"/>
                    </a:lnTo>
                    <a:lnTo>
                      <a:pt x="41" y="6"/>
                    </a:lnTo>
                    <a:lnTo>
                      <a:pt x="41" y="8"/>
                    </a:lnTo>
                    <a:lnTo>
                      <a:pt x="41" y="9"/>
                    </a:lnTo>
                    <a:lnTo>
                      <a:pt x="41" y="9"/>
                    </a:lnTo>
                    <a:lnTo>
                      <a:pt x="43" y="10"/>
                    </a:lnTo>
                    <a:close/>
                    <a:moveTo>
                      <a:pt x="5" y="0"/>
                    </a:moveTo>
                    <a:lnTo>
                      <a:pt x="4" y="0"/>
                    </a:lnTo>
                    <a:lnTo>
                      <a:pt x="1" y="0"/>
                    </a:lnTo>
                    <a:lnTo>
                      <a:pt x="0" y="2"/>
                    </a:lnTo>
                    <a:lnTo>
                      <a:pt x="1" y="3"/>
                    </a:lnTo>
                    <a:lnTo>
                      <a:pt x="3" y="5"/>
                    </a:lnTo>
                    <a:lnTo>
                      <a:pt x="4" y="3"/>
                    </a:lnTo>
                    <a:lnTo>
                      <a:pt x="5" y="2"/>
                    </a:lnTo>
                    <a:lnTo>
                      <a:pt x="5" y="0"/>
                    </a:lnTo>
                    <a:close/>
                    <a:moveTo>
                      <a:pt x="4" y="6"/>
                    </a:moveTo>
                    <a:lnTo>
                      <a:pt x="7" y="6"/>
                    </a:lnTo>
                    <a:lnTo>
                      <a:pt x="7" y="6"/>
                    </a:lnTo>
                    <a:lnTo>
                      <a:pt x="7" y="5"/>
                    </a:lnTo>
                    <a:lnTo>
                      <a:pt x="4" y="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15" name="Freeform 202">
                <a:extLst>
                  <a:ext uri="{FF2B5EF4-FFF2-40B4-BE49-F238E27FC236}">
                    <a16:creationId xmlns:a16="http://schemas.microsoft.com/office/drawing/2014/main" id="{DFB87792-CDE8-1D62-E21A-0BDBA6065715}"/>
                  </a:ext>
                </a:extLst>
              </p:cNvPr>
              <p:cNvSpPr>
                <a:spLocks/>
              </p:cNvSpPr>
              <p:nvPr/>
            </p:nvSpPr>
            <p:spPr bwMode="auto">
              <a:xfrm>
                <a:off x="4024" y="3244"/>
                <a:ext cx="40" cy="38"/>
              </a:xfrm>
              <a:custGeom>
                <a:avLst/>
                <a:gdLst>
                  <a:gd name="T0" fmla="*/ 37 w 40"/>
                  <a:gd name="T1" fmla="*/ 7 h 38"/>
                  <a:gd name="T2" fmla="*/ 27 w 40"/>
                  <a:gd name="T3" fmla="*/ 0 h 38"/>
                  <a:gd name="T4" fmla="*/ 26 w 40"/>
                  <a:gd name="T5" fmla="*/ 0 h 38"/>
                  <a:gd name="T6" fmla="*/ 23 w 40"/>
                  <a:gd name="T7" fmla="*/ 0 h 38"/>
                  <a:gd name="T8" fmla="*/ 17 w 40"/>
                  <a:gd name="T9" fmla="*/ 2 h 38"/>
                  <a:gd name="T10" fmla="*/ 13 w 40"/>
                  <a:gd name="T11" fmla="*/ 5 h 38"/>
                  <a:gd name="T12" fmla="*/ 11 w 40"/>
                  <a:gd name="T13" fmla="*/ 7 h 38"/>
                  <a:gd name="T14" fmla="*/ 8 w 40"/>
                  <a:gd name="T15" fmla="*/ 11 h 38"/>
                  <a:gd name="T16" fmla="*/ 5 w 40"/>
                  <a:gd name="T17" fmla="*/ 14 h 38"/>
                  <a:gd name="T18" fmla="*/ 4 w 40"/>
                  <a:gd name="T19" fmla="*/ 15 h 38"/>
                  <a:gd name="T20" fmla="*/ 3 w 40"/>
                  <a:gd name="T21" fmla="*/ 17 h 38"/>
                  <a:gd name="T22" fmla="*/ 1 w 40"/>
                  <a:gd name="T23" fmla="*/ 17 h 38"/>
                  <a:gd name="T24" fmla="*/ 0 w 40"/>
                  <a:gd name="T25" fmla="*/ 18 h 38"/>
                  <a:gd name="T26" fmla="*/ 0 w 40"/>
                  <a:gd name="T27" fmla="*/ 20 h 38"/>
                  <a:gd name="T28" fmla="*/ 1 w 40"/>
                  <a:gd name="T29" fmla="*/ 24 h 38"/>
                  <a:gd name="T30" fmla="*/ 4 w 40"/>
                  <a:gd name="T31" fmla="*/ 30 h 38"/>
                  <a:gd name="T32" fmla="*/ 7 w 40"/>
                  <a:gd name="T33" fmla="*/ 34 h 38"/>
                  <a:gd name="T34" fmla="*/ 11 w 40"/>
                  <a:gd name="T35" fmla="*/ 37 h 38"/>
                  <a:gd name="T36" fmla="*/ 16 w 40"/>
                  <a:gd name="T37" fmla="*/ 38 h 38"/>
                  <a:gd name="T38" fmla="*/ 17 w 40"/>
                  <a:gd name="T39" fmla="*/ 37 h 38"/>
                  <a:gd name="T40" fmla="*/ 20 w 40"/>
                  <a:gd name="T41" fmla="*/ 31 h 38"/>
                  <a:gd name="T42" fmla="*/ 23 w 40"/>
                  <a:gd name="T43" fmla="*/ 30 h 38"/>
                  <a:gd name="T44" fmla="*/ 24 w 40"/>
                  <a:gd name="T45" fmla="*/ 28 h 38"/>
                  <a:gd name="T46" fmla="*/ 30 w 40"/>
                  <a:gd name="T47" fmla="*/ 27 h 38"/>
                  <a:gd name="T48" fmla="*/ 33 w 40"/>
                  <a:gd name="T49" fmla="*/ 25 h 38"/>
                  <a:gd name="T50" fmla="*/ 34 w 40"/>
                  <a:gd name="T51" fmla="*/ 24 h 38"/>
                  <a:gd name="T52" fmla="*/ 39 w 40"/>
                  <a:gd name="T53" fmla="*/ 17 h 38"/>
                  <a:gd name="T54" fmla="*/ 40 w 40"/>
                  <a:gd name="T55" fmla="*/ 14 h 38"/>
                  <a:gd name="T56" fmla="*/ 40 w 40"/>
                  <a:gd name="T57" fmla="*/ 11 h 38"/>
                  <a:gd name="T58" fmla="*/ 39 w 40"/>
                  <a:gd name="T59" fmla="*/ 8 h 38"/>
                  <a:gd name="T60" fmla="*/ 37 w 40"/>
                  <a:gd name="T61"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 h="38">
                    <a:moveTo>
                      <a:pt x="37" y="7"/>
                    </a:moveTo>
                    <a:lnTo>
                      <a:pt x="27" y="0"/>
                    </a:lnTo>
                    <a:lnTo>
                      <a:pt x="26" y="0"/>
                    </a:lnTo>
                    <a:lnTo>
                      <a:pt x="23" y="0"/>
                    </a:lnTo>
                    <a:lnTo>
                      <a:pt x="17" y="2"/>
                    </a:lnTo>
                    <a:lnTo>
                      <a:pt x="13" y="5"/>
                    </a:lnTo>
                    <a:lnTo>
                      <a:pt x="11" y="7"/>
                    </a:lnTo>
                    <a:lnTo>
                      <a:pt x="8" y="11"/>
                    </a:lnTo>
                    <a:lnTo>
                      <a:pt x="5" y="14"/>
                    </a:lnTo>
                    <a:lnTo>
                      <a:pt x="4" y="15"/>
                    </a:lnTo>
                    <a:lnTo>
                      <a:pt x="3" y="17"/>
                    </a:lnTo>
                    <a:lnTo>
                      <a:pt x="1" y="17"/>
                    </a:lnTo>
                    <a:lnTo>
                      <a:pt x="0" y="18"/>
                    </a:lnTo>
                    <a:lnTo>
                      <a:pt x="0" y="20"/>
                    </a:lnTo>
                    <a:lnTo>
                      <a:pt x="1" y="24"/>
                    </a:lnTo>
                    <a:lnTo>
                      <a:pt x="4" y="30"/>
                    </a:lnTo>
                    <a:lnTo>
                      <a:pt x="7" y="34"/>
                    </a:lnTo>
                    <a:lnTo>
                      <a:pt x="11" y="37"/>
                    </a:lnTo>
                    <a:lnTo>
                      <a:pt x="16" y="38"/>
                    </a:lnTo>
                    <a:lnTo>
                      <a:pt x="17" y="37"/>
                    </a:lnTo>
                    <a:lnTo>
                      <a:pt x="20" y="31"/>
                    </a:lnTo>
                    <a:lnTo>
                      <a:pt x="23" y="30"/>
                    </a:lnTo>
                    <a:lnTo>
                      <a:pt x="24" y="28"/>
                    </a:lnTo>
                    <a:lnTo>
                      <a:pt x="30" y="27"/>
                    </a:lnTo>
                    <a:lnTo>
                      <a:pt x="33" y="25"/>
                    </a:lnTo>
                    <a:lnTo>
                      <a:pt x="34" y="24"/>
                    </a:lnTo>
                    <a:lnTo>
                      <a:pt x="39" y="17"/>
                    </a:lnTo>
                    <a:lnTo>
                      <a:pt x="40" y="14"/>
                    </a:lnTo>
                    <a:lnTo>
                      <a:pt x="40" y="11"/>
                    </a:lnTo>
                    <a:lnTo>
                      <a:pt x="39" y="8"/>
                    </a:lnTo>
                    <a:lnTo>
                      <a:pt x="37" y="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16" name="Freeform 203">
                <a:extLst>
                  <a:ext uri="{FF2B5EF4-FFF2-40B4-BE49-F238E27FC236}">
                    <a16:creationId xmlns:a16="http://schemas.microsoft.com/office/drawing/2014/main" id="{D9D64B78-D3E3-E773-4C1D-C2550ABEE2D7}"/>
                  </a:ext>
                </a:extLst>
              </p:cNvPr>
              <p:cNvSpPr>
                <a:spLocks noEditPoints="1"/>
              </p:cNvSpPr>
              <p:nvPr/>
            </p:nvSpPr>
            <p:spPr bwMode="auto">
              <a:xfrm>
                <a:off x="4121" y="2884"/>
                <a:ext cx="56" cy="140"/>
              </a:xfrm>
              <a:custGeom>
                <a:avLst/>
                <a:gdLst>
                  <a:gd name="T0" fmla="*/ 8 w 56"/>
                  <a:gd name="T1" fmla="*/ 0 h 140"/>
                  <a:gd name="T2" fmla="*/ 21 w 56"/>
                  <a:gd name="T3" fmla="*/ 5 h 140"/>
                  <a:gd name="T4" fmla="*/ 23 w 56"/>
                  <a:gd name="T5" fmla="*/ 3 h 140"/>
                  <a:gd name="T6" fmla="*/ 28 w 56"/>
                  <a:gd name="T7" fmla="*/ 3 h 140"/>
                  <a:gd name="T8" fmla="*/ 33 w 56"/>
                  <a:gd name="T9" fmla="*/ 10 h 140"/>
                  <a:gd name="T10" fmla="*/ 36 w 56"/>
                  <a:gd name="T11" fmla="*/ 22 h 140"/>
                  <a:gd name="T12" fmla="*/ 35 w 56"/>
                  <a:gd name="T13" fmla="*/ 28 h 140"/>
                  <a:gd name="T14" fmla="*/ 41 w 56"/>
                  <a:gd name="T15" fmla="*/ 36 h 140"/>
                  <a:gd name="T16" fmla="*/ 36 w 56"/>
                  <a:gd name="T17" fmla="*/ 39 h 140"/>
                  <a:gd name="T18" fmla="*/ 31 w 56"/>
                  <a:gd name="T19" fmla="*/ 51 h 140"/>
                  <a:gd name="T20" fmla="*/ 41 w 56"/>
                  <a:gd name="T21" fmla="*/ 75 h 140"/>
                  <a:gd name="T22" fmla="*/ 54 w 56"/>
                  <a:gd name="T23" fmla="*/ 89 h 140"/>
                  <a:gd name="T24" fmla="*/ 56 w 56"/>
                  <a:gd name="T25" fmla="*/ 99 h 140"/>
                  <a:gd name="T26" fmla="*/ 56 w 56"/>
                  <a:gd name="T27" fmla="*/ 117 h 140"/>
                  <a:gd name="T28" fmla="*/ 51 w 56"/>
                  <a:gd name="T29" fmla="*/ 121 h 140"/>
                  <a:gd name="T30" fmla="*/ 46 w 56"/>
                  <a:gd name="T31" fmla="*/ 125 h 140"/>
                  <a:gd name="T32" fmla="*/ 46 w 56"/>
                  <a:gd name="T33" fmla="*/ 135 h 140"/>
                  <a:gd name="T34" fmla="*/ 43 w 56"/>
                  <a:gd name="T35" fmla="*/ 140 h 140"/>
                  <a:gd name="T36" fmla="*/ 43 w 56"/>
                  <a:gd name="T37" fmla="*/ 135 h 140"/>
                  <a:gd name="T38" fmla="*/ 33 w 56"/>
                  <a:gd name="T39" fmla="*/ 124 h 140"/>
                  <a:gd name="T40" fmla="*/ 29 w 56"/>
                  <a:gd name="T41" fmla="*/ 117 h 140"/>
                  <a:gd name="T42" fmla="*/ 33 w 56"/>
                  <a:gd name="T43" fmla="*/ 107 h 140"/>
                  <a:gd name="T44" fmla="*/ 35 w 56"/>
                  <a:gd name="T45" fmla="*/ 99 h 140"/>
                  <a:gd name="T46" fmla="*/ 32 w 56"/>
                  <a:gd name="T47" fmla="*/ 91 h 140"/>
                  <a:gd name="T48" fmla="*/ 21 w 56"/>
                  <a:gd name="T49" fmla="*/ 92 h 140"/>
                  <a:gd name="T50" fmla="*/ 15 w 56"/>
                  <a:gd name="T51" fmla="*/ 91 h 140"/>
                  <a:gd name="T52" fmla="*/ 9 w 56"/>
                  <a:gd name="T53" fmla="*/ 82 h 140"/>
                  <a:gd name="T54" fmla="*/ 6 w 56"/>
                  <a:gd name="T55" fmla="*/ 82 h 140"/>
                  <a:gd name="T56" fmla="*/ 3 w 56"/>
                  <a:gd name="T57" fmla="*/ 78 h 140"/>
                  <a:gd name="T58" fmla="*/ 2 w 56"/>
                  <a:gd name="T59" fmla="*/ 75 h 140"/>
                  <a:gd name="T60" fmla="*/ 6 w 56"/>
                  <a:gd name="T61" fmla="*/ 69 h 140"/>
                  <a:gd name="T62" fmla="*/ 6 w 56"/>
                  <a:gd name="T63" fmla="*/ 61 h 140"/>
                  <a:gd name="T64" fmla="*/ 10 w 56"/>
                  <a:gd name="T65" fmla="*/ 56 h 140"/>
                  <a:gd name="T66" fmla="*/ 16 w 56"/>
                  <a:gd name="T67" fmla="*/ 52 h 140"/>
                  <a:gd name="T68" fmla="*/ 12 w 56"/>
                  <a:gd name="T69" fmla="*/ 48 h 140"/>
                  <a:gd name="T70" fmla="*/ 10 w 56"/>
                  <a:gd name="T71" fmla="*/ 38 h 140"/>
                  <a:gd name="T72" fmla="*/ 13 w 56"/>
                  <a:gd name="T73" fmla="*/ 33 h 140"/>
                  <a:gd name="T74" fmla="*/ 12 w 56"/>
                  <a:gd name="T75" fmla="*/ 29 h 140"/>
                  <a:gd name="T76" fmla="*/ 16 w 56"/>
                  <a:gd name="T77" fmla="*/ 23 h 140"/>
                  <a:gd name="T78" fmla="*/ 18 w 56"/>
                  <a:gd name="T79" fmla="*/ 19 h 140"/>
                  <a:gd name="T80" fmla="*/ 15 w 56"/>
                  <a:gd name="T81" fmla="*/ 13 h 140"/>
                  <a:gd name="T82" fmla="*/ 12 w 56"/>
                  <a:gd name="T83" fmla="*/ 10 h 140"/>
                  <a:gd name="T84" fmla="*/ 10 w 56"/>
                  <a:gd name="T85" fmla="*/ 3 h 140"/>
                  <a:gd name="T86" fmla="*/ 8 w 56"/>
                  <a:gd name="T87" fmla="*/ 3 h 140"/>
                  <a:gd name="T88" fmla="*/ 6 w 56"/>
                  <a:gd name="T89" fmla="*/ 2 h 140"/>
                  <a:gd name="T90" fmla="*/ 38 w 56"/>
                  <a:gd name="T91" fmla="*/ 48 h 140"/>
                  <a:gd name="T92" fmla="*/ 33 w 56"/>
                  <a:gd name="T93" fmla="*/ 46 h 140"/>
                  <a:gd name="T94" fmla="*/ 35 w 56"/>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140">
                    <a:moveTo>
                      <a:pt x="6" y="2"/>
                    </a:moveTo>
                    <a:lnTo>
                      <a:pt x="5" y="0"/>
                    </a:lnTo>
                    <a:lnTo>
                      <a:pt x="8" y="0"/>
                    </a:lnTo>
                    <a:lnTo>
                      <a:pt x="12" y="3"/>
                    </a:lnTo>
                    <a:lnTo>
                      <a:pt x="15" y="3"/>
                    </a:lnTo>
                    <a:lnTo>
                      <a:pt x="21" y="5"/>
                    </a:lnTo>
                    <a:lnTo>
                      <a:pt x="22" y="5"/>
                    </a:lnTo>
                    <a:lnTo>
                      <a:pt x="23" y="5"/>
                    </a:lnTo>
                    <a:lnTo>
                      <a:pt x="23" y="3"/>
                    </a:lnTo>
                    <a:lnTo>
                      <a:pt x="23" y="2"/>
                    </a:lnTo>
                    <a:lnTo>
                      <a:pt x="25" y="2"/>
                    </a:lnTo>
                    <a:lnTo>
                      <a:pt x="28" y="3"/>
                    </a:lnTo>
                    <a:lnTo>
                      <a:pt x="31" y="6"/>
                    </a:lnTo>
                    <a:lnTo>
                      <a:pt x="32" y="9"/>
                    </a:lnTo>
                    <a:lnTo>
                      <a:pt x="33" y="10"/>
                    </a:lnTo>
                    <a:lnTo>
                      <a:pt x="33" y="13"/>
                    </a:lnTo>
                    <a:lnTo>
                      <a:pt x="35" y="19"/>
                    </a:lnTo>
                    <a:lnTo>
                      <a:pt x="36" y="22"/>
                    </a:lnTo>
                    <a:lnTo>
                      <a:pt x="36" y="23"/>
                    </a:lnTo>
                    <a:lnTo>
                      <a:pt x="36" y="25"/>
                    </a:lnTo>
                    <a:lnTo>
                      <a:pt x="35" y="28"/>
                    </a:lnTo>
                    <a:lnTo>
                      <a:pt x="35" y="28"/>
                    </a:lnTo>
                    <a:lnTo>
                      <a:pt x="36" y="32"/>
                    </a:lnTo>
                    <a:lnTo>
                      <a:pt x="41" y="36"/>
                    </a:lnTo>
                    <a:lnTo>
                      <a:pt x="41" y="39"/>
                    </a:lnTo>
                    <a:lnTo>
                      <a:pt x="38" y="39"/>
                    </a:lnTo>
                    <a:lnTo>
                      <a:pt x="36" y="39"/>
                    </a:lnTo>
                    <a:lnTo>
                      <a:pt x="35" y="42"/>
                    </a:lnTo>
                    <a:lnTo>
                      <a:pt x="32" y="49"/>
                    </a:lnTo>
                    <a:lnTo>
                      <a:pt x="31" y="51"/>
                    </a:lnTo>
                    <a:lnTo>
                      <a:pt x="35" y="71"/>
                    </a:lnTo>
                    <a:lnTo>
                      <a:pt x="36" y="72"/>
                    </a:lnTo>
                    <a:lnTo>
                      <a:pt x="41" y="75"/>
                    </a:lnTo>
                    <a:lnTo>
                      <a:pt x="45" y="78"/>
                    </a:lnTo>
                    <a:lnTo>
                      <a:pt x="49" y="84"/>
                    </a:lnTo>
                    <a:lnTo>
                      <a:pt x="54" y="89"/>
                    </a:lnTo>
                    <a:lnTo>
                      <a:pt x="56" y="94"/>
                    </a:lnTo>
                    <a:lnTo>
                      <a:pt x="56" y="97"/>
                    </a:lnTo>
                    <a:lnTo>
                      <a:pt x="56" y="99"/>
                    </a:lnTo>
                    <a:lnTo>
                      <a:pt x="56" y="104"/>
                    </a:lnTo>
                    <a:lnTo>
                      <a:pt x="56" y="114"/>
                    </a:lnTo>
                    <a:lnTo>
                      <a:pt x="56" y="117"/>
                    </a:lnTo>
                    <a:lnTo>
                      <a:pt x="55" y="120"/>
                    </a:lnTo>
                    <a:lnTo>
                      <a:pt x="54" y="121"/>
                    </a:lnTo>
                    <a:lnTo>
                      <a:pt x="51" y="121"/>
                    </a:lnTo>
                    <a:lnTo>
                      <a:pt x="48" y="122"/>
                    </a:lnTo>
                    <a:lnTo>
                      <a:pt x="46" y="124"/>
                    </a:lnTo>
                    <a:lnTo>
                      <a:pt x="46" y="125"/>
                    </a:lnTo>
                    <a:lnTo>
                      <a:pt x="45" y="128"/>
                    </a:lnTo>
                    <a:lnTo>
                      <a:pt x="45" y="130"/>
                    </a:lnTo>
                    <a:lnTo>
                      <a:pt x="46" y="135"/>
                    </a:lnTo>
                    <a:lnTo>
                      <a:pt x="48" y="138"/>
                    </a:lnTo>
                    <a:lnTo>
                      <a:pt x="45" y="140"/>
                    </a:lnTo>
                    <a:lnTo>
                      <a:pt x="43" y="140"/>
                    </a:lnTo>
                    <a:lnTo>
                      <a:pt x="43" y="138"/>
                    </a:lnTo>
                    <a:lnTo>
                      <a:pt x="43" y="137"/>
                    </a:lnTo>
                    <a:lnTo>
                      <a:pt x="43" y="135"/>
                    </a:lnTo>
                    <a:lnTo>
                      <a:pt x="42" y="134"/>
                    </a:lnTo>
                    <a:lnTo>
                      <a:pt x="36" y="128"/>
                    </a:lnTo>
                    <a:lnTo>
                      <a:pt x="33" y="124"/>
                    </a:lnTo>
                    <a:lnTo>
                      <a:pt x="32" y="122"/>
                    </a:lnTo>
                    <a:lnTo>
                      <a:pt x="29" y="118"/>
                    </a:lnTo>
                    <a:lnTo>
                      <a:pt x="29" y="117"/>
                    </a:lnTo>
                    <a:lnTo>
                      <a:pt x="29" y="115"/>
                    </a:lnTo>
                    <a:lnTo>
                      <a:pt x="31" y="112"/>
                    </a:lnTo>
                    <a:lnTo>
                      <a:pt x="33" y="107"/>
                    </a:lnTo>
                    <a:lnTo>
                      <a:pt x="33" y="105"/>
                    </a:lnTo>
                    <a:lnTo>
                      <a:pt x="35" y="102"/>
                    </a:lnTo>
                    <a:lnTo>
                      <a:pt x="35" y="99"/>
                    </a:lnTo>
                    <a:lnTo>
                      <a:pt x="33" y="97"/>
                    </a:lnTo>
                    <a:lnTo>
                      <a:pt x="33" y="94"/>
                    </a:lnTo>
                    <a:lnTo>
                      <a:pt x="32" y="91"/>
                    </a:lnTo>
                    <a:lnTo>
                      <a:pt x="31" y="91"/>
                    </a:lnTo>
                    <a:lnTo>
                      <a:pt x="28" y="91"/>
                    </a:lnTo>
                    <a:lnTo>
                      <a:pt x="21" y="92"/>
                    </a:lnTo>
                    <a:lnTo>
                      <a:pt x="19" y="92"/>
                    </a:lnTo>
                    <a:lnTo>
                      <a:pt x="18" y="92"/>
                    </a:lnTo>
                    <a:lnTo>
                      <a:pt x="15" y="91"/>
                    </a:lnTo>
                    <a:lnTo>
                      <a:pt x="12" y="85"/>
                    </a:lnTo>
                    <a:lnTo>
                      <a:pt x="10" y="82"/>
                    </a:lnTo>
                    <a:lnTo>
                      <a:pt x="9" y="82"/>
                    </a:lnTo>
                    <a:lnTo>
                      <a:pt x="9" y="82"/>
                    </a:lnTo>
                    <a:lnTo>
                      <a:pt x="8" y="82"/>
                    </a:lnTo>
                    <a:lnTo>
                      <a:pt x="6" y="82"/>
                    </a:lnTo>
                    <a:lnTo>
                      <a:pt x="6" y="82"/>
                    </a:lnTo>
                    <a:lnTo>
                      <a:pt x="3" y="79"/>
                    </a:lnTo>
                    <a:lnTo>
                      <a:pt x="3" y="78"/>
                    </a:lnTo>
                    <a:lnTo>
                      <a:pt x="3" y="76"/>
                    </a:lnTo>
                    <a:lnTo>
                      <a:pt x="3" y="76"/>
                    </a:lnTo>
                    <a:lnTo>
                      <a:pt x="2" y="75"/>
                    </a:lnTo>
                    <a:lnTo>
                      <a:pt x="0" y="75"/>
                    </a:lnTo>
                    <a:lnTo>
                      <a:pt x="3" y="74"/>
                    </a:lnTo>
                    <a:lnTo>
                      <a:pt x="6" y="69"/>
                    </a:lnTo>
                    <a:lnTo>
                      <a:pt x="6" y="66"/>
                    </a:lnTo>
                    <a:lnTo>
                      <a:pt x="6" y="62"/>
                    </a:lnTo>
                    <a:lnTo>
                      <a:pt x="6" y="61"/>
                    </a:lnTo>
                    <a:lnTo>
                      <a:pt x="6" y="59"/>
                    </a:lnTo>
                    <a:lnTo>
                      <a:pt x="8" y="58"/>
                    </a:lnTo>
                    <a:lnTo>
                      <a:pt x="10" y="56"/>
                    </a:lnTo>
                    <a:lnTo>
                      <a:pt x="13" y="55"/>
                    </a:lnTo>
                    <a:lnTo>
                      <a:pt x="15" y="55"/>
                    </a:lnTo>
                    <a:lnTo>
                      <a:pt x="16" y="52"/>
                    </a:lnTo>
                    <a:lnTo>
                      <a:pt x="13" y="52"/>
                    </a:lnTo>
                    <a:lnTo>
                      <a:pt x="12" y="51"/>
                    </a:lnTo>
                    <a:lnTo>
                      <a:pt x="12" y="48"/>
                    </a:lnTo>
                    <a:lnTo>
                      <a:pt x="12" y="45"/>
                    </a:lnTo>
                    <a:lnTo>
                      <a:pt x="12" y="42"/>
                    </a:lnTo>
                    <a:lnTo>
                      <a:pt x="10" y="38"/>
                    </a:lnTo>
                    <a:lnTo>
                      <a:pt x="10" y="36"/>
                    </a:lnTo>
                    <a:lnTo>
                      <a:pt x="12" y="35"/>
                    </a:lnTo>
                    <a:lnTo>
                      <a:pt x="13" y="33"/>
                    </a:lnTo>
                    <a:lnTo>
                      <a:pt x="13" y="32"/>
                    </a:lnTo>
                    <a:lnTo>
                      <a:pt x="13" y="30"/>
                    </a:lnTo>
                    <a:lnTo>
                      <a:pt x="12" y="29"/>
                    </a:lnTo>
                    <a:lnTo>
                      <a:pt x="12" y="28"/>
                    </a:lnTo>
                    <a:lnTo>
                      <a:pt x="12" y="26"/>
                    </a:lnTo>
                    <a:lnTo>
                      <a:pt x="16" y="23"/>
                    </a:lnTo>
                    <a:lnTo>
                      <a:pt x="18" y="22"/>
                    </a:lnTo>
                    <a:lnTo>
                      <a:pt x="18" y="20"/>
                    </a:lnTo>
                    <a:lnTo>
                      <a:pt x="18" y="19"/>
                    </a:lnTo>
                    <a:lnTo>
                      <a:pt x="18" y="16"/>
                    </a:lnTo>
                    <a:lnTo>
                      <a:pt x="16" y="15"/>
                    </a:lnTo>
                    <a:lnTo>
                      <a:pt x="15" y="13"/>
                    </a:lnTo>
                    <a:lnTo>
                      <a:pt x="13" y="12"/>
                    </a:lnTo>
                    <a:lnTo>
                      <a:pt x="13" y="12"/>
                    </a:lnTo>
                    <a:lnTo>
                      <a:pt x="12" y="10"/>
                    </a:lnTo>
                    <a:lnTo>
                      <a:pt x="12" y="9"/>
                    </a:lnTo>
                    <a:lnTo>
                      <a:pt x="12" y="7"/>
                    </a:lnTo>
                    <a:lnTo>
                      <a:pt x="10" y="3"/>
                    </a:lnTo>
                    <a:lnTo>
                      <a:pt x="9" y="3"/>
                    </a:lnTo>
                    <a:lnTo>
                      <a:pt x="9" y="3"/>
                    </a:lnTo>
                    <a:lnTo>
                      <a:pt x="8" y="3"/>
                    </a:lnTo>
                    <a:lnTo>
                      <a:pt x="8" y="5"/>
                    </a:lnTo>
                    <a:lnTo>
                      <a:pt x="8" y="3"/>
                    </a:lnTo>
                    <a:lnTo>
                      <a:pt x="6" y="2"/>
                    </a:lnTo>
                    <a:close/>
                    <a:moveTo>
                      <a:pt x="36" y="48"/>
                    </a:moveTo>
                    <a:lnTo>
                      <a:pt x="36" y="48"/>
                    </a:lnTo>
                    <a:lnTo>
                      <a:pt x="38" y="48"/>
                    </a:lnTo>
                    <a:lnTo>
                      <a:pt x="36" y="46"/>
                    </a:lnTo>
                    <a:lnTo>
                      <a:pt x="36" y="48"/>
                    </a:lnTo>
                    <a:close/>
                    <a:moveTo>
                      <a:pt x="33" y="46"/>
                    </a:moveTo>
                    <a:lnTo>
                      <a:pt x="35" y="48"/>
                    </a:lnTo>
                    <a:lnTo>
                      <a:pt x="36" y="46"/>
                    </a:lnTo>
                    <a:lnTo>
                      <a:pt x="35" y="46"/>
                    </a:lnTo>
                    <a:lnTo>
                      <a:pt x="33" y="4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17" name="Freeform 204">
                <a:extLst>
                  <a:ext uri="{FF2B5EF4-FFF2-40B4-BE49-F238E27FC236}">
                    <a16:creationId xmlns:a16="http://schemas.microsoft.com/office/drawing/2014/main" id="{1AA6B88E-50CC-0017-7D3E-AD3FA4BDC6B5}"/>
                  </a:ext>
                </a:extLst>
              </p:cNvPr>
              <p:cNvSpPr>
                <a:spLocks noEditPoints="1"/>
              </p:cNvSpPr>
              <p:nvPr/>
            </p:nvSpPr>
            <p:spPr bwMode="auto">
              <a:xfrm>
                <a:off x="3248" y="2219"/>
                <a:ext cx="214" cy="236"/>
              </a:xfrm>
              <a:custGeom>
                <a:avLst/>
                <a:gdLst>
                  <a:gd name="T0" fmla="*/ 9 w 214"/>
                  <a:gd name="T1" fmla="*/ 207 h 236"/>
                  <a:gd name="T2" fmla="*/ 16 w 214"/>
                  <a:gd name="T3" fmla="*/ 188 h 236"/>
                  <a:gd name="T4" fmla="*/ 17 w 214"/>
                  <a:gd name="T5" fmla="*/ 174 h 236"/>
                  <a:gd name="T6" fmla="*/ 15 w 214"/>
                  <a:gd name="T7" fmla="*/ 158 h 236"/>
                  <a:gd name="T8" fmla="*/ 10 w 214"/>
                  <a:gd name="T9" fmla="*/ 154 h 236"/>
                  <a:gd name="T10" fmla="*/ 10 w 214"/>
                  <a:gd name="T11" fmla="*/ 151 h 236"/>
                  <a:gd name="T12" fmla="*/ 12 w 214"/>
                  <a:gd name="T13" fmla="*/ 149 h 236"/>
                  <a:gd name="T14" fmla="*/ 13 w 214"/>
                  <a:gd name="T15" fmla="*/ 142 h 236"/>
                  <a:gd name="T16" fmla="*/ 13 w 214"/>
                  <a:gd name="T17" fmla="*/ 133 h 236"/>
                  <a:gd name="T18" fmla="*/ 9 w 214"/>
                  <a:gd name="T19" fmla="*/ 126 h 236"/>
                  <a:gd name="T20" fmla="*/ 6 w 214"/>
                  <a:gd name="T21" fmla="*/ 125 h 236"/>
                  <a:gd name="T22" fmla="*/ 0 w 214"/>
                  <a:gd name="T23" fmla="*/ 123 h 236"/>
                  <a:gd name="T24" fmla="*/ 0 w 214"/>
                  <a:gd name="T25" fmla="*/ 121 h 236"/>
                  <a:gd name="T26" fmla="*/ 0 w 214"/>
                  <a:gd name="T27" fmla="*/ 115 h 236"/>
                  <a:gd name="T28" fmla="*/ 2 w 214"/>
                  <a:gd name="T29" fmla="*/ 115 h 236"/>
                  <a:gd name="T30" fmla="*/ 29 w 214"/>
                  <a:gd name="T31" fmla="*/ 115 h 236"/>
                  <a:gd name="T32" fmla="*/ 43 w 214"/>
                  <a:gd name="T33" fmla="*/ 115 h 236"/>
                  <a:gd name="T34" fmla="*/ 53 w 214"/>
                  <a:gd name="T35" fmla="*/ 115 h 236"/>
                  <a:gd name="T36" fmla="*/ 71 w 214"/>
                  <a:gd name="T37" fmla="*/ 115 h 236"/>
                  <a:gd name="T38" fmla="*/ 71 w 214"/>
                  <a:gd name="T39" fmla="*/ 106 h 236"/>
                  <a:gd name="T40" fmla="*/ 69 w 214"/>
                  <a:gd name="T41" fmla="*/ 93 h 236"/>
                  <a:gd name="T42" fmla="*/ 69 w 214"/>
                  <a:gd name="T43" fmla="*/ 90 h 236"/>
                  <a:gd name="T44" fmla="*/ 68 w 214"/>
                  <a:gd name="T45" fmla="*/ 86 h 236"/>
                  <a:gd name="T46" fmla="*/ 69 w 214"/>
                  <a:gd name="T47" fmla="*/ 85 h 236"/>
                  <a:gd name="T48" fmla="*/ 78 w 214"/>
                  <a:gd name="T49" fmla="*/ 77 h 236"/>
                  <a:gd name="T50" fmla="*/ 79 w 214"/>
                  <a:gd name="T51" fmla="*/ 77 h 236"/>
                  <a:gd name="T52" fmla="*/ 82 w 214"/>
                  <a:gd name="T53" fmla="*/ 76 h 236"/>
                  <a:gd name="T54" fmla="*/ 88 w 214"/>
                  <a:gd name="T55" fmla="*/ 73 h 236"/>
                  <a:gd name="T56" fmla="*/ 128 w 214"/>
                  <a:gd name="T57" fmla="*/ 24 h 236"/>
                  <a:gd name="T58" fmla="*/ 214 w 214"/>
                  <a:gd name="T59" fmla="*/ 44 h 236"/>
                  <a:gd name="T60" fmla="*/ 201 w 214"/>
                  <a:gd name="T61" fmla="*/ 201 h 236"/>
                  <a:gd name="T62" fmla="*/ 203 w 214"/>
                  <a:gd name="T63" fmla="*/ 205 h 236"/>
                  <a:gd name="T64" fmla="*/ 206 w 214"/>
                  <a:gd name="T65" fmla="*/ 208 h 236"/>
                  <a:gd name="T66" fmla="*/ 203 w 214"/>
                  <a:gd name="T67" fmla="*/ 223 h 236"/>
                  <a:gd name="T68" fmla="*/ 137 w 214"/>
                  <a:gd name="T69" fmla="*/ 223 h 236"/>
                  <a:gd name="T70" fmla="*/ 134 w 214"/>
                  <a:gd name="T71" fmla="*/ 221 h 236"/>
                  <a:gd name="T72" fmla="*/ 129 w 214"/>
                  <a:gd name="T73" fmla="*/ 224 h 236"/>
                  <a:gd name="T74" fmla="*/ 121 w 214"/>
                  <a:gd name="T75" fmla="*/ 224 h 236"/>
                  <a:gd name="T76" fmla="*/ 112 w 214"/>
                  <a:gd name="T77" fmla="*/ 224 h 236"/>
                  <a:gd name="T78" fmla="*/ 104 w 214"/>
                  <a:gd name="T79" fmla="*/ 227 h 236"/>
                  <a:gd name="T80" fmla="*/ 94 w 214"/>
                  <a:gd name="T81" fmla="*/ 223 h 236"/>
                  <a:gd name="T82" fmla="*/ 88 w 214"/>
                  <a:gd name="T83" fmla="*/ 236 h 236"/>
                  <a:gd name="T84" fmla="*/ 79 w 214"/>
                  <a:gd name="T85" fmla="*/ 231 h 236"/>
                  <a:gd name="T86" fmla="*/ 72 w 214"/>
                  <a:gd name="T87" fmla="*/ 224 h 236"/>
                  <a:gd name="T88" fmla="*/ 66 w 214"/>
                  <a:gd name="T89" fmla="*/ 215 h 236"/>
                  <a:gd name="T90" fmla="*/ 59 w 214"/>
                  <a:gd name="T91" fmla="*/ 211 h 236"/>
                  <a:gd name="T92" fmla="*/ 55 w 214"/>
                  <a:gd name="T93" fmla="*/ 210 h 236"/>
                  <a:gd name="T94" fmla="*/ 48 w 214"/>
                  <a:gd name="T95" fmla="*/ 202 h 236"/>
                  <a:gd name="T96" fmla="*/ 35 w 214"/>
                  <a:gd name="T97" fmla="*/ 201 h 236"/>
                  <a:gd name="T98" fmla="*/ 17 w 214"/>
                  <a:gd name="T99" fmla="*/ 204 h 236"/>
                  <a:gd name="T100" fmla="*/ 15 w 214"/>
                  <a:gd name="T101" fmla="*/ 204 h 236"/>
                  <a:gd name="T102" fmla="*/ 10 w 214"/>
                  <a:gd name="T103" fmla="*/ 210 h 236"/>
                  <a:gd name="T104" fmla="*/ 10 w 214"/>
                  <a:gd name="T105" fmla="*/ 146 h 236"/>
                  <a:gd name="T106" fmla="*/ 12 w 214"/>
                  <a:gd name="T107" fmla="*/ 144 h 236"/>
                  <a:gd name="T108" fmla="*/ 10 w 214"/>
                  <a:gd name="T109" fmla="*/ 144 h 236"/>
                  <a:gd name="T110" fmla="*/ 10 w 214"/>
                  <a:gd name="T111" fmla="*/ 14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4" h="236">
                    <a:moveTo>
                      <a:pt x="10" y="210"/>
                    </a:moveTo>
                    <a:lnTo>
                      <a:pt x="9" y="217"/>
                    </a:lnTo>
                    <a:lnTo>
                      <a:pt x="9" y="207"/>
                    </a:lnTo>
                    <a:lnTo>
                      <a:pt x="10" y="202"/>
                    </a:lnTo>
                    <a:lnTo>
                      <a:pt x="12" y="197"/>
                    </a:lnTo>
                    <a:lnTo>
                      <a:pt x="16" y="188"/>
                    </a:lnTo>
                    <a:lnTo>
                      <a:pt x="17" y="184"/>
                    </a:lnTo>
                    <a:lnTo>
                      <a:pt x="17" y="179"/>
                    </a:lnTo>
                    <a:lnTo>
                      <a:pt x="17" y="174"/>
                    </a:lnTo>
                    <a:lnTo>
                      <a:pt x="17" y="169"/>
                    </a:lnTo>
                    <a:lnTo>
                      <a:pt x="15" y="159"/>
                    </a:lnTo>
                    <a:lnTo>
                      <a:pt x="15" y="158"/>
                    </a:lnTo>
                    <a:lnTo>
                      <a:pt x="13" y="156"/>
                    </a:lnTo>
                    <a:lnTo>
                      <a:pt x="13" y="155"/>
                    </a:lnTo>
                    <a:lnTo>
                      <a:pt x="10" y="154"/>
                    </a:lnTo>
                    <a:lnTo>
                      <a:pt x="10" y="154"/>
                    </a:lnTo>
                    <a:lnTo>
                      <a:pt x="10" y="151"/>
                    </a:lnTo>
                    <a:lnTo>
                      <a:pt x="10" y="151"/>
                    </a:lnTo>
                    <a:lnTo>
                      <a:pt x="12" y="151"/>
                    </a:lnTo>
                    <a:lnTo>
                      <a:pt x="13" y="148"/>
                    </a:lnTo>
                    <a:lnTo>
                      <a:pt x="12" y="149"/>
                    </a:lnTo>
                    <a:lnTo>
                      <a:pt x="10" y="149"/>
                    </a:lnTo>
                    <a:lnTo>
                      <a:pt x="10" y="149"/>
                    </a:lnTo>
                    <a:lnTo>
                      <a:pt x="13" y="142"/>
                    </a:lnTo>
                    <a:lnTo>
                      <a:pt x="15" y="139"/>
                    </a:lnTo>
                    <a:lnTo>
                      <a:pt x="15" y="136"/>
                    </a:lnTo>
                    <a:lnTo>
                      <a:pt x="13" y="133"/>
                    </a:lnTo>
                    <a:lnTo>
                      <a:pt x="12" y="131"/>
                    </a:lnTo>
                    <a:lnTo>
                      <a:pt x="10" y="128"/>
                    </a:lnTo>
                    <a:lnTo>
                      <a:pt x="9" y="126"/>
                    </a:lnTo>
                    <a:lnTo>
                      <a:pt x="9" y="128"/>
                    </a:lnTo>
                    <a:lnTo>
                      <a:pt x="9" y="128"/>
                    </a:lnTo>
                    <a:lnTo>
                      <a:pt x="6" y="125"/>
                    </a:lnTo>
                    <a:lnTo>
                      <a:pt x="3" y="121"/>
                    </a:lnTo>
                    <a:lnTo>
                      <a:pt x="2" y="119"/>
                    </a:lnTo>
                    <a:lnTo>
                      <a:pt x="0" y="123"/>
                    </a:lnTo>
                    <a:lnTo>
                      <a:pt x="0" y="123"/>
                    </a:lnTo>
                    <a:lnTo>
                      <a:pt x="0" y="122"/>
                    </a:lnTo>
                    <a:lnTo>
                      <a:pt x="0" y="121"/>
                    </a:lnTo>
                    <a:lnTo>
                      <a:pt x="0" y="119"/>
                    </a:lnTo>
                    <a:lnTo>
                      <a:pt x="0" y="116"/>
                    </a:lnTo>
                    <a:lnTo>
                      <a:pt x="0" y="115"/>
                    </a:lnTo>
                    <a:lnTo>
                      <a:pt x="2" y="115"/>
                    </a:lnTo>
                    <a:lnTo>
                      <a:pt x="2" y="115"/>
                    </a:lnTo>
                    <a:lnTo>
                      <a:pt x="2" y="115"/>
                    </a:lnTo>
                    <a:lnTo>
                      <a:pt x="3" y="115"/>
                    </a:lnTo>
                    <a:lnTo>
                      <a:pt x="7" y="115"/>
                    </a:lnTo>
                    <a:lnTo>
                      <a:pt x="29" y="115"/>
                    </a:lnTo>
                    <a:lnTo>
                      <a:pt x="33" y="115"/>
                    </a:lnTo>
                    <a:lnTo>
                      <a:pt x="36" y="115"/>
                    </a:lnTo>
                    <a:lnTo>
                      <a:pt x="43" y="115"/>
                    </a:lnTo>
                    <a:lnTo>
                      <a:pt x="46" y="115"/>
                    </a:lnTo>
                    <a:lnTo>
                      <a:pt x="50" y="115"/>
                    </a:lnTo>
                    <a:lnTo>
                      <a:pt x="53" y="115"/>
                    </a:lnTo>
                    <a:lnTo>
                      <a:pt x="61" y="115"/>
                    </a:lnTo>
                    <a:lnTo>
                      <a:pt x="66" y="115"/>
                    </a:lnTo>
                    <a:lnTo>
                      <a:pt x="71" y="115"/>
                    </a:lnTo>
                    <a:lnTo>
                      <a:pt x="71" y="110"/>
                    </a:lnTo>
                    <a:lnTo>
                      <a:pt x="71" y="108"/>
                    </a:lnTo>
                    <a:lnTo>
                      <a:pt x="71" y="106"/>
                    </a:lnTo>
                    <a:lnTo>
                      <a:pt x="71" y="103"/>
                    </a:lnTo>
                    <a:lnTo>
                      <a:pt x="69" y="100"/>
                    </a:lnTo>
                    <a:lnTo>
                      <a:pt x="69" y="93"/>
                    </a:lnTo>
                    <a:lnTo>
                      <a:pt x="69" y="92"/>
                    </a:lnTo>
                    <a:lnTo>
                      <a:pt x="69" y="90"/>
                    </a:lnTo>
                    <a:lnTo>
                      <a:pt x="69" y="90"/>
                    </a:lnTo>
                    <a:lnTo>
                      <a:pt x="68" y="89"/>
                    </a:lnTo>
                    <a:lnTo>
                      <a:pt x="68" y="87"/>
                    </a:lnTo>
                    <a:lnTo>
                      <a:pt x="68" y="86"/>
                    </a:lnTo>
                    <a:lnTo>
                      <a:pt x="68" y="86"/>
                    </a:lnTo>
                    <a:lnTo>
                      <a:pt x="69" y="85"/>
                    </a:lnTo>
                    <a:lnTo>
                      <a:pt x="69" y="85"/>
                    </a:lnTo>
                    <a:lnTo>
                      <a:pt x="71" y="83"/>
                    </a:lnTo>
                    <a:lnTo>
                      <a:pt x="75" y="79"/>
                    </a:lnTo>
                    <a:lnTo>
                      <a:pt x="78" y="77"/>
                    </a:lnTo>
                    <a:lnTo>
                      <a:pt x="78" y="77"/>
                    </a:lnTo>
                    <a:lnTo>
                      <a:pt x="79" y="77"/>
                    </a:lnTo>
                    <a:lnTo>
                      <a:pt x="79" y="77"/>
                    </a:lnTo>
                    <a:lnTo>
                      <a:pt x="81" y="76"/>
                    </a:lnTo>
                    <a:lnTo>
                      <a:pt x="82" y="76"/>
                    </a:lnTo>
                    <a:lnTo>
                      <a:pt x="82" y="76"/>
                    </a:lnTo>
                    <a:lnTo>
                      <a:pt x="85" y="75"/>
                    </a:lnTo>
                    <a:lnTo>
                      <a:pt x="86" y="75"/>
                    </a:lnTo>
                    <a:lnTo>
                      <a:pt x="88" y="73"/>
                    </a:lnTo>
                    <a:lnTo>
                      <a:pt x="88" y="24"/>
                    </a:lnTo>
                    <a:lnTo>
                      <a:pt x="105" y="24"/>
                    </a:lnTo>
                    <a:lnTo>
                      <a:pt x="128" y="24"/>
                    </a:lnTo>
                    <a:lnTo>
                      <a:pt x="147" y="24"/>
                    </a:lnTo>
                    <a:lnTo>
                      <a:pt x="147" y="0"/>
                    </a:lnTo>
                    <a:lnTo>
                      <a:pt x="214" y="44"/>
                    </a:lnTo>
                    <a:lnTo>
                      <a:pt x="184" y="44"/>
                    </a:lnTo>
                    <a:lnTo>
                      <a:pt x="200" y="200"/>
                    </a:lnTo>
                    <a:lnTo>
                      <a:pt x="201" y="201"/>
                    </a:lnTo>
                    <a:lnTo>
                      <a:pt x="201" y="202"/>
                    </a:lnTo>
                    <a:lnTo>
                      <a:pt x="203" y="204"/>
                    </a:lnTo>
                    <a:lnTo>
                      <a:pt x="203" y="205"/>
                    </a:lnTo>
                    <a:lnTo>
                      <a:pt x="204" y="207"/>
                    </a:lnTo>
                    <a:lnTo>
                      <a:pt x="204" y="208"/>
                    </a:lnTo>
                    <a:lnTo>
                      <a:pt x="206" y="208"/>
                    </a:lnTo>
                    <a:lnTo>
                      <a:pt x="206" y="211"/>
                    </a:lnTo>
                    <a:lnTo>
                      <a:pt x="203" y="220"/>
                    </a:lnTo>
                    <a:lnTo>
                      <a:pt x="203" y="223"/>
                    </a:lnTo>
                    <a:lnTo>
                      <a:pt x="200" y="223"/>
                    </a:lnTo>
                    <a:lnTo>
                      <a:pt x="144" y="223"/>
                    </a:lnTo>
                    <a:lnTo>
                      <a:pt x="137" y="223"/>
                    </a:lnTo>
                    <a:lnTo>
                      <a:pt x="135" y="220"/>
                    </a:lnTo>
                    <a:lnTo>
                      <a:pt x="134" y="220"/>
                    </a:lnTo>
                    <a:lnTo>
                      <a:pt x="134" y="221"/>
                    </a:lnTo>
                    <a:lnTo>
                      <a:pt x="132" y="223"/>
                    </a:lnTo>
                    <a:lnTo>
                      <a:pt x="132" y="224"/>
                    </a:lnTo>
                    <a:lnTo>
                      <a:pt x="129" y="224"/>
                    </a:lnTo>
                    <a:lnTo>
                      <a:pt x="127" y="224"/>
                    </a:lnTo>
                    <a:lnTo>
                      <a:pt x="124" y="224"/>
                    </a:lnTo>
                    <a:lnTo>
                      <a:pt x="121" y="224"/>
                    </a:lnTo>
                    <a:lnTo>
                      <a:pt x="115" y="224"/>
                    </a:lnTo>
                    <a:lnTo>
                      <a:pt x="114" y="224"/>
                    </a:lnTo>
                    <a:lnTo>
                      <a:pt x="112" y="224"/>
                    </a:lnTo>
                    <a:lnTo>
                      <a:pt x="108" y="228"/>
                    </a:lnTo>
                    <a:lnTo>
                      <a:pt x="108" y="228"/>
                    </a:lnTo>
                    <a:lnTo>
                      <a:pt x="104" y="227"/>
                    </a:lnTo>
                    <a:lnTo>
                      <a:pt x="101" y="223"/>
                    </a:lnTo>
                    <a:lnTo>
                      <a:pt x="98" y="220"/>
                    </a:lnTo>
                    <a:lnTo>
                      <a:pt x="94" y="223"/>
                    </a:lnTo>
                    <a:lnTo>
                      <a:pt x="92" y="227"/>
                    </a:lnTo>
                    <a:lnTo>
                      <a:pt x="91" y="233"/>
                    </a:lnTo>
                    <a:lnTo>
                      <a:pt x="88" y="236"/>
                    </a:lnTo>
                    <a:lnTo>
                      <a:pt x="84" y="236"/>
                    </a:lnTo>
                    <a:lnTo>
                      <a:pt x="81" y="234"/>
                    </a:lnTo>
                    <a:lnTo>
                      <a:pt x="79" y="231"/>
                    </a:lnTo>
                    <a:lnTo>
                      <a:pt x="76" y="230"/>
                    </a:lnTo>
                    <a:lnTo>
                      <a:pt x="75" y="228"/>
                    </a:lnTo>
                    <a:lnTo>
                      <a:pt x="72" y="224"/>
                    </a:lnTo>
                    <a:lnTo>
                      <a:pt x="71" y="223"/>
                    </a:lnTo>
                    <a:lnTo>
                      <a:pt x="68" y="220"/>
                    </a:lnTo>
                    <a:lnTo>
                      <a:pt x="66" y="215"/>
                    </a:lnTo>
                    <a:lnTo>
                      <a:pt x="63" y="213"/>
                    </a:lnTo>
                    <a:lnTo>
                      <a:pt x="61" y="211"/>
                    </a:lnTo>
                    <a:lnTo>
                      <a:pt x="59" y="211"/>
                    </a:lnTo>
                    <a:lnTo>
                      <a:pt x="58" y="210"/>
                    </a:lnTo>
                    <a:lnTo>
                      <a:pt x="56" y="210"/>
                    </a:lnTo>
                    <a:lnTo>
                      <a:pt x="55" y="210"/>
                    </a:lnTo>
                    <a:lnTo>
                      <a:pt x="52" y="207"/>
                    </a:lnTo>
                    <a:lnTo>
                      <a:pt x="50" y="204"/>
                    </a:lnTo>
                    <a:lnTo>
                      <a:pt x="48" y="202"/>
                    </a:lnTo>
                    <a:lnTo>
                      <a:pt x="45" y="201"/>
                    </a:lnTo>
                    <a:lnTo>
                      <a:pt x="39" y="201"/>
                    </a:lnTo>
                    <a:lnTo>
                      <a:pt x="35" y="201"/>
                    </a:lnTo>
                    <a:lnTo>
                      <a:pt x="22" y="204"/>
                    </a:lnTo>
                    <a:lnTo>
                      <a:pt x="19" y="204"/>
                    </a:lnTo>
                    <a:lnTo>
                      <a:pt x="17" y="204"/>
                    </a:lnTo>
                    <a:lnTo>
                      <a:pt x="16" y="204"/>
                    </a:lnTo>
                    <a:lnTo>
                      <a:pt x="16" y="204"/>
                    </a:lnTo>
                    <a:lnTo>
                      <a:pt x="15" y="204"/>
                    </a:lnTo>
                    <a:lnTo>
                      <a:pt x="12" y="205"/>
                    </a:lnTo>
                    <a:lnTo>
                      <a:pt x="10" y="210"/>
                    </a:lnTo>
                    <a:lnTo>
                      <a:pt x="10" y="210"/>
                    </a:lnTo>
                    <a:close/>
                    <a:moveTo>
                      <a:pt x="10" y="145"/>
                    </a:moveTo>
                    <a:lnTo>
                      <a:pt x="10" y="146"/>
                    </a:lnTo>
                    <a:lnTo>
                      <a:pt x="10" y="146"/>
                    </a:lnTo>
                    <a:lnTo>
                      <a:pt x="12" y="145"/>
                    </a:lnTo>
                    <a:lnTo>
                      <a:pt x="12" y="145"/>
                    </a:lnTo>
                    <a:lnTo>
                      <a:pt x="12" y="144"/>
                    </a:lnTo>
                    <a:lnTo>
                      <a:pt x="12" y="142"/>
                    </a:lnTo>
                    <a:lnTo>
                      <a:pt x="12" y="142"/>
                    </a:lnTo>
                    <a:lnTo>
                      <a:pt x="10" y="144"/>
                    </a:lnTo>
                    <a:lnTo>
                      <a:pt x="10" y="144"/>
                    </a:lnTo>
                    <a:lnTo>
                      <a:pt x="10" y="145"/>
                    </a:lnTo>
                    <a:lnTo>
                      <a:pt x="10" y="145"/>
                    </a:lnTo>
                    <a:lnTo>
                      <a:pt x="10" y="14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18" name="Freeform 205">
                <a:extLst>
                  <a:ext uri="{FF2B5EF4-FFF2-40B4-BE49-F238E27FC236}">
                    <a16:creationId xmlns:a16="http://schemas.microsoft.com/office/drawing/2014/main" id="{CA7AC6E9-3D01-B4BF-B91A-C21B0F530B7B}"/>
                  </a:ext>
                </a:extLst>
              </p:cNvPr>
              <p:cNvSpPr>
                <a:spLocks noEditPoints="1"/>
              </p:cNvSpPr>
              <p:nvPr/>
            </p:nvSpPr>
            <p:spPr bwMode="auto">
              <a:xfrm>
                <a:off x="4187" y="2396"/>
                <a:ext cx="118" cy="102"/>
              </a:xfrm>
              <a:custGeom>
                <a:avLst/>
                <a:gdLst>
                  <a:gd name="T0" fmla="*/ 48 w 118"/>
                  <a:gd name="T1" fmla="*/ 20 h 102"/>
                  <a:gd name="T2" fmla="*/ 58 w 118"/>
                  <a:gd name="T3" fmla="*/ 50 h 102"/>
                  <a:gd name="T4" fmla="*/ 61 w 118"/>
                  <a:gd name="T5" fmla="*/ 47 h 102"/>
                  <a:gd name="T6" fmla="*/ 67 w 118"/>
                  <a:gd name="T7" fmla="*/ 53 h 102"/>
                  <a:gd name="T8" fmla="*/ 84 w 118"/>
                  <a:gd name="T9" fmla="*/ 61 h 102"/>
                  <a:gd name="T10" fmla="*/ 92 w 118"/>
                  <a:gd name="T11" fmla="*/ 73 h 102"/>
                  <a:gd name="T12" fmla="*/ 104 w 118"/>
                  <a:gd name="T13" fmla="*/ 80 h 102"/>
                  <a:gd name="T14" fmla="*/ 105 w 118"/>
                  <a:gd name="T15" fmla="*/ 86 h 102"/>
                  <a:gd name="T16" fmla="*/ 108 w 118"/>
                  <a:gd name="T17" fmla="*/ 87 h 102"/>
                  <a:gd name="T18" fmla="*/ 117 w 118"/>
                  <a:gd name="T19" fmla="*/ 93 h 102"/>
                  <a:gd name="T20" fmla="*/ 118 w 118"/>
                  <a:gd name="T21" fmla="*/ 96 h 102"/>
                  <a:gd name="T22" fmla="*/ 112 w 118"/>
                  <a:gd name="T23" fmla="*/ 100 h 102"/>
                  <a:gd name="T24" fmla="*/ 107 w 118"/>
                  <a:gd name="T25" fmla="*/ 100 h 102"/>
                  <a:gd name="T26" fmla="*/ 65 w 118"/>
                  <a:gd name="T27" fmla="*/ 64 h 102"/>
                  <a:gd name="T28" fmla="*/ 48 w 118"/>
                  <a:gd name="T29" fmla="*/ 63 h 102"/>
                  <a:gd name="T30" fmla="*/ 45 w 118"/>
                  <a:gd name="T31" fmla="*/ 63 h 102"/>
                  <a:gd name="T32" fmla="*/ 36 w 118"/>
                  <a:gd name="T33" fmla="*/ 64 h 102"/>
                  <a:gd name="T34" fmla="*/ 26 w 118"/>
                  <a:gd name="T35" fmla="*/ 57 h 102"/>
                  <a:gd name="T36" fmla="*/ 21 w 118"/>
                  <a:gd name="T37" fmla="*/ 69 h 102"/>
                  <a:gd name="T38" fmla="*/ 13 w 118"/>
                  <a:gd name="T39" fmla="*/ 66 h 102"/>
                  <a:gd name="T40" fmla="*/ 5 w 118"/>
                  <a:gd name="T41" fmla="*/ 67 h 102"/>
                  <a:gd name="T42" fmla="*/ 2 w 118"/>
                  <a:gd name="T43" fmla="*/ 56 h 102"/>
                  <a:gd name="T44" fmla="*/ 3 w 118"/>
                  <a:gd name="T45" fmla="*/ 48 h 102"/>
                  <a:gd name="T46" fmla="*/ 5 w 118"/>
                  <a:gd name="T47" fmla="*/ 41 h 102"/>
                  <a:gd name="T48" fmla="*/ 8 w 118"/>
                  <a:gd name="T49" fmla="*/ 38 h 102"/>
                  <a:gd name="T50" fmla="*/ 9 w 118"/>
                  <a:gd name="T51" fmla="*/ 27 h 102"/>
                  <a:gd name="T52" fmla="*/ 9 w 118"/>
                  <a:gd name="T53" fmla="*/ 24 h 102"/>
                  <a:gd name="T54" fmla="*/ 11 w 118"/>
                  <a:gd name="T55" fmla="*/ 20 h 102"/>
                  <a:gd name="T56" fmla="*/ 11 w 118"/>
                  <a:gd name="T57" fmla="*/ 17 h 102"/>
                  <a:gd name="T58" fmla="*/ 13 w 118"/>
                  <a:gd name="T59" fmla="*/ 17 h 102"/>
                  <a:gd name="T60" fmla="*/ 15 w 118"/>
                  <a:gd name="T61" fmla="*/ 17 h 102"/>
                  <a:gd name="T62" fmla="*/ 19 w 118"/>
                  <a:gd name="T63" fmla="*/ 15 h 102"/>
                  <a:gd name="T64" fmla="*/ 21 w 118"/>
                  <a:gd name="T65" fmla="*/ 13 h 102"/>
                  <a:gd name="T66" fmla="*/ 22 w 118"/>
                  <a:gd name="T67" fmla="*/ 11 h 102"/>
                  <a:gd name="T68" fmla="*/ 26 w 118"/>
                  <a:gd name="T69" fmla="*/ 10 h 102"/>
                  <a:gd name="T70" fmla="*/ 32 w 118"/>
                  <a:gd name="T71" fmla="*/ 8 h 102"/>
                  <a:gd name="T72" fmla="*/ 33 w 118"/>
                  <a:gd name="T73" fmla="*/ 7 h 102"/>
                  <a:gd name="T74" fmla="*/ 35 w 118"/>
                  <a:gd name="T75" fmla="*/ 4 h 102"/>
                  <a:gd name="T76" fmla="*/ 36 w 118"/>
                  <a:gd name="T77" fmla="*/ 2 h 102"/>
                  <a:gd name="T78" fmla="*/ 39 w 118"/>
                  <a:gd name="T79" fmla="*/ 0 h 102"/>
                  <a:gd name="T80" fmla="*/ 68 w 118"/>
                  <a:gd name="T81" fmla="*/ 44 h 102"/>
                  <a:gd name="T82" fmla="*/ 68 w 118"/>
                  <a:gd name="T83" fmla="*/ 43 h 102"/>
                  <a:gd name="T84" fmla="*/ 67 w 118"/>
                  <a:gd name="T85" fmla="*/ 41 h 102"/>
                  <a:gd name="T86" fmla="*/ 65 w 118"/>
                  <a:gd name="T87" fmla="*/ 38 h 102"/>
                  <a:gd name="T88" fmla="*/ 62 w 118"/>
                  <a:gd name="T89" fmla="*/ 41 h 102"/>
                  <a:gd name="T90" fmla="*/ 64 w 118"/>
                  <a:gd name="T91" fmla="*/ 43 h 102"/>
                  <a:gd name="T92" fmla="*/ 65 w 118"/>
                  <a:gd name="T93" fmla="*/ 36 h 102"/>
                  <a:gd name="T94" fmla="*/ 64 w 118"/>
                  <a:gd name="T95" fmla="*/ 3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8" h="102">
                    <a:moveTo>
                      <a:pt x="39" y="0"/>
                    </a:moveTo>
                    <a:lnTo>
                      <a:pt x="39" y="0"/>
                    </a:lnTo>
                    <a:lnTo>
                      <a:pt x="45" y="13"/>
                    </a:lnTo>
                    <a:lnTo>
                      <a:pt x="48" y="20"/>
                    </a:lnTo>
                    <a:lnTo>
                      <a:pt x="51" y="31"/>
                    </a:lnTo>
                    <a:lnTo>
                      <a:pt x="51" y="36"/>
                    </a:lnTo>
                    <a:lnTo>
                      <a:pt x="52" y="38"/>
                    </a:lnTo>
                    <a:lnTo>
                      <a:pt x="58" y="50"/>
                    </a:lnTo>
                    <a:lnTo>
                      <a:pt x="61" y="53"/>
                    </a:lnTo>
                    <a:lnTo>
                      <a:pt x="61" y="50"/>
                    </a:lnTo>
                    <a:lnTo>
                      <a:pt x="61" y="48"/>
                    </a:lnTo>
                    <a:lnTo>
                      <a:pt x="61" y="47"/>
                    </a:lnTo>
                    <a:lnTo>
                      <a:pt x="62" y="47"/>
                    </a:lnTo>
                    <a:lnTo>
                      <a:pt x="64" y="47"/>
                    </a:lnTo>
                    <a:lnTo>
                      <a:pt x="65" y="50"/>
                    </a:lnTo>
                    <a:lnTo>
                      <a:pt x="67" y="53"/>
                    </a:lnTo>
                    <a:lnTo>
                      <a:pt x="68" y="54"/>
                    </a:lnTo>
                    <a:lnTo>
                      <a:pt x="69" y="56"/>
                    </a:lnTo>
                    <a:lnTo>
                      <a:pt x="74" y="57"/>
                    </a:lnTo>
                    <a:lnTo>
                      <a:pt x="84" y="61"/>
                    </a:lnTo>
                    <a:lnTo>
                      <a:pt x="85" y="63"/>
                    </a:lnTo>
                    <a:lnTo>
                      <a:pt x="88" y="66"/>
                    </a:lnTo>
                    <a:lnTo>
                      <a:pt x="91" y="70"/>
                    </a:lnTo>
                    <a:lnTo>
                      <a:pt x="92" y="73"/>
                    </a:lnTo>
                    <a:lnTo>
                      <a:pt x="95" y="74"/>
                    </a:lnTo>
                    <a:lnTo>
                      <a:pt x="101" y="79"/>
                    </a:lnTo>
                    <a:lnTo>
                      <a:pt x="102" y="80"/>
                    </a:lnTo>
                    <a:lnTo>
                      <a:pt x="104" y="80"/>
                    </a:lnTo>
                    <a:lnTo>
                      <a:pt x="105" y="83"/>
                    </a:lnTo>
                    <a:lnTo>
                      <a:pt x="105" y="84"/>
                    </a:lnTo>
                    <a:lnTo>
                      <a:pt x="105" y="86"/>
                    </a:lnTo>
                    <a:lnTo>
                      <a:pt x="105" y="86"/>
                    </a:lnTo>
                    <a:lnTo>
                      <a:pt x="107" y="87"/>
                    </a:lnTo>
                    <a:lnTo>
                      <a:pt x="107" y="87"/>
                    </a:lnTo>
                    <a:lnTo>
                      <a:pt x="107" y="87"/>
                    </a:lnTo>
                    <a:lnTo>
                      <a:pt x="108" y="87"/>
                    </a:lnTo>
                    <a:lnTo>
                      <a:pt x="111" y="92"/>
                    </a:lnTo>
                    <a:lnTo>
                      <a:pt x="114" y="93"/>
                    </a:lnTo>
                    <a:lnTo>
                      <a:pt x="117" y="94"/>
                    </a:lnTo>
                    <a:lnTo>
                      <a:pt x="117" y="93"/>
                    </a:lnTo>
                    <a:lnTo>
                      <a:pt x="117" y="93"/>
                    </a:lnTo>
                    <a:lnTo>
                      <a:pt x="118" y="94"/>
                    </a:lnTo>
                    <a:lnTo>
                      <a:pt x="118" y="94"/>
                    </a:lnTo>
                    <a:lnTo>
                      <a:pt x="118" y="96"/>
                    </a:lnTo>
                    <a:lnTo>
                      <a:pt x="115" y="97"/>
                    </a:lnTo>
                    <a:lnTo>
                      <a:pt x="114" y="97"/>
                    </a:lnTo>
                    <a:lnTo>
                      <a:pt x="114" y="99"/>
                    </a:lnTo>
                    <a:lnTo>
                      <a:pt x="112" y="100"/>
                    </a:lnTo>
                    <a:lnTo>
                      <a:pt x="112" y="102"/>
                    </a:lnTo>
                    <a:lnTo>
                      <a:pt x="110" y="102"/>
                    </a:lnTo>
                    <a:lnTo>
                      <a:pt x="108" y="100"/>
                    </a:lnTo>
                    <a:lnTo>
                      <a:pt x="107" y="100"/>
                    </a:lnTo>
                    <a:lnTo>
                      <a:pt x="105" y="100"/>
                    </a:lnTo>
                    <a:lnTo>
                      <a:pt x="77" y="71"/>
                    </a:lnTo>
                    <a:lnTo>
                      <a:pt x="72" y="67"/>
                    </a:lnTo>
                    <a:lnTo>
                      <a:pt x="65" y="64"/>
                    </a:lnTo>
                    <a:lnTo>
                      <a:pt x="59" y="64"/>
                    </a:lnTo>
                    <a:lnTo>
                      <a:pt x="51" y="63"/>
                    </a:lnTo>
                    <a:lnTo>
                      <a:pt x="49" y="63"/>
                    </a:lnTo>
                    <a:lnTo>
                      <a:pt x="48" y="63"/>
                    </a:lnTo>
                    <a:lnTo>
                      <a:pt x="48" y="63"/>
                    </a:lnTo>
                    <a:lnTo>
                      <a:pt x="48" y="61"/>
                    </a:lnTo>
                    <a:lnTo>
                      <a:pt x="46" y="61"/>
                    </a:lnTo>
                    <a:lnTo>
                      <a:pt x="45" y="63"/>
                    </a:lnTo>
                    <a:lnTo>
                      <a:pt x="41" y="64"/>
                    </a:lnTo>
                    <a:lnTo>
                      <a:pt x="39" y="64"/>
                    </a:lnTo>
                    <a:lnTo>
                      <a:pt x="38" y="64"/>
                    </a:lnTo>
                    <a:lnTo>
                      <a:pt x="36" y="64"/>
                    </a:lnTo>
                    <a:lnTo>
                      <a:pt x="36" y="64"/>
                    </a:lnTo>
                    <a:lnTo>
                      <a:pt x="33" y="63"/>
                    </a:lnTo>
                    <a:lnTo>
                      <a:pt x="29" y="59"/>
                    </a:lnTo>
                    <a:lnTo>
                      <a:pt x="26" y="57"/>
                    </a:lnTo>
                    <a:lnTo>
                      <a:pt x="23" y="64"/>
                    </a:lnTo>
                    <a:lnTo>
                      <a:pt x="22" y="67"/>
                    </a:lnTo>
                    <a:lnTo>
                      <a:pt x="21" y="70"/>
                    </a:lnTo>
                    <a:lnTo>
                      <a:pt x="21" y="69"/>
                    </a:lnTo>
                    <a:lnTo>
                      <a:pt x="19" y="67"/>
                    </a:lnTo>
                    <a:lnTo>
                      <a:pt x="16" y="66"/>
                    </a:lnTo>
                    <a:lnTo>
                      <a:pt x="15" y="64"/>
                    </a:lnTo>
                    <a:lnTo>
                      <a:pt x="13" y="66"/>
                    </a:lnTo>
                    <a:lnTo>
                      <a:pt x="13" y="67"/>
                    </a:lnTo>
                    <a:lnTo>
                      <a:pt x="12" y="67"/>
                    </a:lnTo>
                    <a:lnTo>
                      <a:pt x="9" y="69"/>
                    </a:lnTo>
                    <a:lnTo>
                      <a:pt x="5" y="67"/>
                    </a:lnTo>
                    <a:lnTo>
                      <a:pt x="3" y="69"/>
                    </a:lnTo>
                    <a:lnTo>
                      <a:pt x="2" y="66"/>
                    </a:lnTo>
                    <a:lnTo>
                      <a:pt x="2" y="61"/>
                    </a:lnTo>
                    <a:lnTo>
                      <a:pt x="2" y="56"/>
                    </a:lnTo>
                    <a:lnTo>
                      <a:pt x="0" y="53"/>
                    </a:lnTo>
                    <a:lnTo>
                      <a:pt x="2" y="51"/>
                    </a:lnTo>
                    <a:lnTo>
                      <a:pt x="2" y="50"/>
                    </a:lnTo>
                    <a:lnTo>
                      <a:pt x="3" y="48"/>
                    </a:lnTo>
                    <a:lnTo>
                      <a:pt x="3" y="48"/>
                    </a:lnTo>
                    <a:lnTo>
                      <a:pt x="5" y="43"/>
                    </a:lnTo>
                    <a:lnTo>
                      <a:pt x="5" y="43"/>
                    </a:lnTo>
                    <a:lnTo>
                      <a:pt x="5" y="41"/>
                    </a:lnTo>
                    <a:lnTo>
                      <a:pt x="6" y="41"/>
                    </a:lnTo>
                    <a:lnTo>
                      <a:pt x="6" y="41"/>
                    </a:lnTo>
                    <a:lnTo>
                      <a:pt x="6" y="40"/>
                    </a:lnTo>
                    <a:lnTo>
                      <a:pt x="8" y="38"/>
                    </a:lnTo>
                    <a:lnTo>
                      <a:pt x="8" y="36"/>
                    </a:lnTo>
                    <a:lnTo>
                      <a:pt x="9" y="33"/>
                    </a:lnTo>
                    <a:lnTo>
                      <a:pt x="9" y="30"/>
                    </a:lnTo>
                    <a:lnTo>
                      <a:pt x="9" y="27"/>
                    </a:lnTo>
                    <a:lnTo>
                      <a:pt x="9" y="25"/>
                    </a:lnTo>
                    <a:lnTo>
                      <a:pt x="9" y="25"/>
                    </a:lnTo>
                    <a:lnTo>
                      <a:pt x="9" y="25"/>
                    </a:lnTo>
                    <a:lnTo>
                      <a:pt x="9" y="24"/>
                    </a:lnTo>
                    <a:lnTo>
                      <a:pt x="11" y="23"/>
                    </a:lnTo>
                    <a:lnTo>
                      <a:pt x="11" y="23"/>
                    </a:lnTo>
                    <a:lnTo>
                      <a:pt x="11" y="21"/>
                    </a:lnTo>
                    <a:lnTo>
                      <a:pt x="11" y="20"/>
                    </a:lnTo>
                    <a:lnTo>
                      <a:pt x="11" y="18"/>
                    </a:lnTo>
                    <a:lnTo>
                      <a:pt x="11" y="18"/>
                    </a:lnTo>
                    <a:lnTo>
                      <a:pt x="11" y="18"/>
                    </a:lnTo>
                    <a:lnTo>
                      <a:pt x="11" y="17"/>
                    </a:lnTo>
                    <a:lnTo>
                      <a:pt x="12" y="17"/>
                    </a:lnTo>
                    <a:lnTo>
                      <a:pt x="12" y="17"/>
                    </a:lnTo>
                    <a:lnTo>
                      <a:pt x="12" y="17"/>
                    </a:lnTo>
                    <a:lnTo>
                      <a:pt x="13" y="17"/>
                    </a:lnTo>
                    <a:lnTo>
                      <a:pt x="13" y="17"/>
                    </a:lnTo>
                    <a:lnTo>
                      <a:pt x="13" y="17"/>
                    </a:lnTo>
                    <a:lnTo>
                      <a:pt x="15" y="17"/>
                    </a:lnTo>
                    <a:lnTo>
                      <a:pt x="15" y="17"/>
                    </a:lnTo>
                    <a:lnTo>
                      <a:pt x="15" y="17"/>
                    </a:lnTo>
                    <a:lnTo>
                      <a:pt x="18" y="17"/>
                    </a:lnTo>
                    <a:lnTo>
                      <a:pt x="19" y="17"/>
                    </a:lnTo>
                    <a:lnTo>
                      <a:pt x="19" y="15"/>
                    </a:lnTo>
                    <a:lnTo>
                      <a:pt x="19" y="15"/>
                    </a:lnTo>
                    <a:lnTo>
                      <a:pt x="19" y="14"/>
                    </a:lnTo>
                    <a:lnTo>
                      <a:pt x="19" y="14"/>
                    </a:lnTo>
                    <a:lnTo>
                      <a:pt x="21" y="13"/>
                    </a:lnTo>
                    <a:lnTo>
                      <a:pt x="21" y="13"/>
                    </a:lnTo>
                    <a:lnTo>
                      <a:pt x="21" y="13"/>
                    </a:lnTo>
                    <a:lnTo>
                      <a:pt x="21" y="13"/>
                    </a:lnTo>
                    <a:lnTo>
                      <a:pt x="22" y="11"/>
                    </a:lnTo>
                    <a:lnTo>
                      <a:pt x="22" y="11"/>
                    </a:lnTo>
                    <a:lnTo>
                      <a:pt x="22" y="11"/>
                    </a:lnTo>
                    <a:lnTo>
                      <a:pt x="25" y="10"/>
                    </a:lnTo>
                    <a:lnTo>
                      <a:pt x="26" y="10"/>
                    </a:lnTo>
                    <a:lnTo>
                      <a:pt x="28" y="8"/>
                    </a:lnTo>
                    <a:lnTo>
                      <a:pt x="28" y="8"/>
                    </a:lnTo>
                    <a:lnTo>
                      <a:pt x="32" y="8"/>
                    </a:lnTo>
                    <a:lnTo>
                      <a:pt x="32" y="8"/>
                    </a:lnTo>
                    <a:lnTo>
                      <a:pt x="32" y="7"/>
                    </a:lnTo>
                    <a:lnTo>
                      <a:pt x="33" y="7"/>
                    </a:lnTo>
                    <a:lnTo>
                      <a:pt x="33" y="7"/>
                    </a:lnTo>
                    <a:lnTo>
                      <a:pt x="33" y="7"/>
                    </a:lnTo>
                    <a:lnTo>
                      <a:pt x="35" y="5"/>
                    </a:lnTo>
                    <a:lnTo>
                      <a:pt x="35" y="5"/>
                    </a:lnTo>
                    <a:lnTo>
                      <a:pt x="35" y="4"/>
                    </a:lnTo>
                    <a:lnTo>
                      <a:pt x="35" y="4"/>
                    </a:lnTo>
                    <a:lnTo>
                      <a:pt x="36" y="4"/>
                    </a:lnTo>
                    <a:lnTo>
                      <a:pt x="36" y="2"/>
                    </a:lnTo>
                    <a:lnTo>
                      <a:pt x="36" y="2"/>
                    </a:lnTo>
                    <a:lnTo>
                      <a:pt x="36" y="2"/>
                    </a:lnTo>
                    <a:lnTo>
                      <a:pt x="36" y="1"/>
                    </a:lnTo>
                    <a:lnTo>
                      <a:pt x="38" y="1"/>
                    </a:lnTo>
                    <a:lnTo>
                      <a:pt x="38" y="1"/>
                    </a:lnTo>
                    <a:lnTo>
                      <a:pt x="39" y="0"/>
                    </a:lnTo>
                    <a:close/>
                    <a:moveTo>
                      <a:pt x="64" y="43"/>
                    </a:moveTo>
                    <a:lnTo>
                      <a:pt x="64" y="41"/>
                    </a:lnTo>
                    <a:lnTo>
                      <a:pt x="65" y="43"/>
                    </a:lnTo>
                    <a:lnTo>
                      <a:pt x="68" y="44"/>
                    </a:lnTo>
                    <a:lnTo>
                      <a:pt x="71" y="44"/>
                    </a:lnTo>
                    <a:lnTo>
                      <a:pt x="68" y="41"/>
                    </a:lnTo>
                    <a:lnTo>
                      <a:pt x="68" y="41"/>
                    </a:lnTo>
                    <a:lnTo>
                      <a:pt x="68" y="43"/>
                    </a:lnTo>
                    <a:lnTo>
                      <a:pt x="68" y="43"/>
                    </a:lnTo>
                    <a:lnTo>
                      <a:pt x="68" y="43"/>
                    </a:lnTo>
                    <a:lnTo>
                      <a:pt x="68" y="43"/>
                    </a:lnTo>
                    <a:lnTo>
                      <a:pt x="67" y="41"/>
                    </a:lnTo>
                    <a:lnTo>
                      <a:pt x="67" y="41"/>
                    </a:lnTo>
                    <a:lnTo>
                      <a:pt x="65" y="40"/>
                    </a:lnTo>
                    <a:lnTo>
                      <a:pt x="65" y="40"/>
                    </a:lnTo>
                    <a:lnTo>
                      <a:pt x="65" y="38"/>
                    </a:lnTo>
                    <a:lnTo>
                      <a:pt x="64" y="38"/>
                    </a:lnTo>
                    <a:lnTo>
                      <a:pt x="64" y="38"/>
                    </a:lnTo>
                    <a:lnTo>
                      <a:pt x="64" y="40"/>
                    </a:lnTo>
                    <a:lnTo>
                      <a:pt x="62" y="41"/>
                    </a:lnTo>
                    <a:lnTo>
                      <a:pt x="64" y="41"/>
                    </a:lnTo>
                    <a:lnTo>
                      <a:pt x="65" y="41"/>
                    </a:lnTo>
                    <a:lnTo>
                      <a:pt x="65" y="43"/>
                    </a:lnTo>
                    <a:lnTo>
                      <a:pt x="64" y="43"/>
                    </a:lnTo>
                    <a:lnTo>
                      <a:pt x="64" y="43"/>
                    </a:lnTo>
                    <a:close/>
                    <a:moveTo>
                      <a:pt x="65" y="37"/>
                    </a:moveTo>
                    <a:lnTo>
                      <a:pt x="65" y="37"/>
                    </a:lnTo>
                    <a:lnTo>
                      <a:pt x="65" y="36"/>
                    </a:lnTo>
                    <a:lnTo>
                      <a:pt x="65" y="36"/>
                    </a:lnTo>
                    <a:lnTo>
                      <a:pt x="65" y="34"/>
                    </a:lnTo>
                    <a:lnTo>
                      <a:pt x="64" y="36"/>
                    </a:lnTo>
                    <a:lnTo>
                      <a:pt x="64" y="36"/>
                    </a:lnTo>
                    <a:lnTo>
                      <a:pt x="65" y="36"/>
                    </a:lnTo>
                    <a:lnTo>
                      <a:pt x="65" y="3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19" name="Freeform 206">
                <a:extLst>
                  <a:ext uri="{FF2B5EF4-FFF2-40B4-BE49-F238E27FC236}">
                    <a16:creationId xmlns:a16="http://schemas.microsoft.com/office/drawing/2014/main" id="{A51763A0-C97C-EDC7-7DE4-879660620F32}"/>
                  </a:ext>
                </a:extLst>
              </p:cNvPr>
              <p:cNvSpPr>
                <a:spLocks noEditPoints="1"/>
              </p:cNvSpPr>
              <p:nvPr/>
            </p:nvSpPr>
            <p:spPr bwMode="auto">
              <a:xfrm>
                <a:off x="4064" y="2735"/>
                <a:ext cx="195" cy="191"/>
              </a:xfrm>
              <a:custGeom>
                <a:avLst/>
                <a:gdLst>
                  <a:gd name="T0" fmla="*/ 167 w 195"/>
                  <a:gd name="T1" fmla="*/ 87 h 191"/>
                  <a:gd name="T2" fmla="*/ 171 w 195"/>
                  <a:gd name="T3" fmla="*/ 98 h 191"/>
                  <a:gd name="T4" fmla="*/ 174 w 195"/>
                  <a:gd name="T5" fmla="*/ 103 h 191"/>
                  <a:gd name="T6" fmla="*/ 178 w 195"/>
                  <a:gd name="T7" fmla="*/ 106 h 191"/>
                  <a:gd name="T8" fmla="*/ 175 w 195"/>
                  <a:gd name="T9" fmla="*/ 116 h 191"/>
                  <a:gd name="T10" fmla="*/ 175 w 195"/>
                  <a:gd name="T11" fmla="*/ 128 h 191"/>
                  <a:gd name="T12" fmla="*/ 179 w 195"/>
                  <a:gd name="T13" fmla="*/ 145 h 191"/>
                  <a:gd name="T14" fmla="*/ 182 w 195"/>
                  <a:gd name="T15" fmla="*/ 159 h 191"/>
                  <a:gd name="T16" fmla="*/ 194 w 195"/>
                  <a:gd name="T17" fmla="*/ 167 h 191"/>
                  <a:gd name="T18" fmla="*/ 177 w 195"/>
                  <a:gd name="T19" fmla="*/ 178 h 191"/>
                  <a:gd name="T20" fmla="*/ 161 w 195"/>
                  <a:gd name="T21" fmla="*/ 184 h 191"/>
                  <a:gd name="T22" fmla="*/ 149 w 195"/>
                  <a:gd name="T23" fmla="*/ 184 h 191"/>
                  <a:gd name="T24" fmla="*/ 145 w 195"/>
                  <a:gd name="T25" fmla="*/ 190 h 191"/>
                  <a:gd name="T26" fmla="*/ 132 w 195"/>
                  <a:gd name="T27" fmla="*/ 188 h 191"/>
                  <a:gd name="T28" fmla="*/ 118 w 195"/>
                  <a:gd name="T29" fmla="*/ 187 h 191"/>
                  <a:gd name="T30" fmla="*/ 112 w 195"/>
                  <a:gd name="T31" fmla="*/ 187 h 191"/>
                  <a:gd name="T32" fmla="*/ 98 w 195"/>
                  <a:gd name="T33" fmla="*/ 185 h 191"/>
                  <a:gd name="T34" fmla="*/ 93 w 195"/>
                  <a:gd name="T35" fmla="*/ 174 h 191"/>
                  <a:gd name="T36" fmla="*/ 90 w 195"/>
                  <a:gd name="T37" fmla="*/ 162 h 191"/>
                  <a:gd name="T38" fmla="*/ 85 w 195"/>
                  <a:gd name="T39" fmla="*/ 152 h 191"/>
                  <a:gd name="T40" fmla="*/ 80 w 195"/>
                  <a:gd name="T41" fmla="*/ 154 h 191"/>
                  <a:gd name="T42" fmla="*/ 69 w 195"/>
                  <a:gd name="T43" fmla="*/ 152 h 191"/>
                  <a:gd name="T44" fmla="*/ 53 w 195"/>
                  <a:gd name="T45" fmla="*/ 145 h 191"/>
                  <a:gd name="T46" fmla="*/ 39 w 195"/>
                  <a:gd name="T47" fmla="*/ 139 h 191"/>
                  <a:gd name="T48" fmla="*/ 37 w 195"/>
                  <a:gd name="T49" fmla="*/ 136 h 191"/>
                  <a:gd name="T50" fmla="*/ 34 w 195"/>
                  <a:gd name="T51" fmla="*/ 135 h 191"/>
                  <a:gd name="T52" fmla="*/ 26 w 195"/>
                  <a:gd name="T53" fmla="*/ 131 h 191"/>
                  <a:gd name="T54" fmla="*/ 13 w 195"/>
                  <a:gd name="T55" fmla="*/ 105 h 191"/>
                  <a:gd name="T56" fmla="*/ 3 w 195"/>
                  <a:gd name="T57" fmla="*/ 83 h 191"/>
                  <a:gd name="T58" fmla="*/ 0 w 195"/>
                  <a:gd name="T59" fmla="*/ 67 h 191"/>
                  <a:gd name="T60" fmla="*/ 9 w 195"/>
                  <a:gd name="T61" fmla="*/ 59 h 191"/>
                  <a:gd name="T62" fmla="*/ 26 w 195"/>
                  <a:gd name="T63" fmla="*/ 37 h 191"/>
                  <a:gd name="T64" fmla="*/ 20 w 195"/>
                  <a:gd name="T65" fmla="*/ 34 h 191"/>
                  <a:gd name="T66" fmla="*/ 20 w 195"/>
                  <a:gd name="T67" fmla="*/ 24 h 191"/>
                  <a:gd name="T68" fmla="*/ 26 w 195"/>
                  <a:gd name="T69" fmla="*/ 20 h 191"/>
                  <a:gd name="T70" fmla="*/ 23 w 195"/>
                  <a:gd name="T71" fmla="*/ 7 h 191"/>
                  <a:gd name="T72" fmla="*/ 23 w 195"/>
                  <a:gd name="T73" fmla="*/ 1 h 191"/>
                  <a:gd name="T74" fmla="*/ 83 w 195"/>
                  <a:gd name="T75" fmla="*/ 1 h 191"/>
                  <a:gd name="T76" fmla="*/ 103 w 195"/>
                  <a:gd name="T77" fmla="*/ 13 h 191"/>
                  <a:gd name="T78" fmla="*/ 118 w 195"/>
                  <a:gd name="T79" fmla="*/ 20 h 191"/>
                  <a:gd name="T80" fmla="*/ 139 w 195"/>
                  <a:gd name="T81" fmla="*/ 33 h 191"/>
                  <a:gd name="T82" fmla="*/ 145 w 195"/>
                  <a:gd name="T83" fmla="*/ 43 h 191"/>
                  <a:gd name="T84" fmla="*/ 155 w 195"/>
                  <a:gd name="T85" fmla="*/ 53 h 191"/>
                  <a:gd name="T86" fmla="*/ 174 w 195"/>
                  <a:gd name="T87" fmla="*/ 87 h 191"/>
                  <a:gd name="T88" fmla="*/ 175 w 195"/>
                  <a:gd name="T89" fmla="*/ 95 h 191"/>
                  <a:gd name="T90" fmla="*/ 177 w 195"/>
                  <a:gd name="T91" fmla="*/ 86 h 191"/>
                  <a:gd name="T92" fmla="*/ 185 w 195"/>
                  <a:gd name="T93" fmla="*/ 119 h 191"/>
                  <a:gd name="T94" fmla="*/ 182 w 195"/>
                  <a:gd name="T95" fmla="*/ 123 h 191"/>
                  <a:gd name="T96" fmla="*/ 184 w 195"/>
                  <a:gd name="T97" fmla="*/ 75 h 191"/>
                  <a:gd name="T98" fmla="*/ 182 w 195"/>
                  <a:gd name="T99" fmla="*/ 69 h 191"/>
                  <a:gd name="T100" fmla="*/ 181 w 195"/>
                  <a:gd name="T101" fmla="*/ 7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5" h="191">
                    <a:moveTo>
                      <a:pt x="167" y="60"/>
                    </a:moveTo>
                    <a:lnTo>
                      <a:pt x="174" y="66"/>
                    </a:lnTo>
                    <a:lnTo>
                      <a:pt x="171" y="73"/>
                    </a:lnTo>
                    <a:lnTo>
                      <a:pt x="167" y="87"/>
                    </a:lnTo>
                    <a:lnTo>
                      <a:pt x="167" y="90"/>
                    </a:lnTo>
                    <a:lnTo>
                      <a:pt x="167" y="95"/>
                    </a:lnTo>
                    <a:lnTo>
                      <a:pt x="168" y="96"/>
                    </a:lnTo>
                    <a:lnTo>
                      <a:pt x="171" y="98"/>
                    </a:lnTo>
                    <a:lnTo>
                      <a:pt x="172" y="99"/>
                    </a:lnTo>
                    <a:lnTo>
                      <a:pt x="172" y="100"/>
                    </a:lnTo>
                    <a:lnTo>
                      <a:pt x="174" y="102"/>
                    </a:lnTo>
                    <a:lnTo>
                      <a:pt x="174" y="103"/>
                    </a:lnTo>
                    <a:lnTo>
                      <a:pt x="175" y="103"/>
                    </a:lnTo>
                    <a:lnTo>
                      <a:pt x="177" y="103"/>
                    </a:lnTo>
                    <a:lnTo>
                      <a:pt x="178" y="103"/>
                    </a:lnTo>
                    <a:lnTo>
                      <a:pt x="178" y="106"/>
                    </a:lnTo>
                    <a:lnTo>
                      <a:pt x="178" y="108"/>
                    </a:lnTo>
                    <a:lnTo>
                      <a:pt x="175" y="112"/>
                    </a:lnTo>
                    <a:lnTo>
                      <a:pt x="175" y="113"/>
                    </a:lnTo>
                    <a:lnTo>
                      <a:pt x="175" y="116"/>
                    </a:lnTo>
                    <a:lnTo>
                      <a:pt x="174" y="121"/>
                    </a:lnTo>
                    <a:lnTo>
                      <a:pt x="177" y="121"/>
                    </a:lnTo>
                    <a:lnTo>
                      <a:pt x="177" y="122"/>
                    </a:lnTo>
                    <a:lnTo>
                      <a:pt x="175" y="128"/>
                    </a:lnTo>
                    <a:lnTo>
                      <a:pt x="175" y="132"/>
                    </a:lnTo>
                    <a:lnTo>
                      <a:pt x="175" y="133"/>
                    </a:lnTo>
                    <a:lnTo>
                      <a:pt x="178" y="139"/>
                    </a:lnTo>
                    <a:lnTo>
                      <a:pt x="179" y="145"/>
                    </a:lnTo>
                    <a:lnTo>
                      <a:pt x="181" y="148"/>
                    </a:lnTo>
                    <a:lnTo>
                      <a:pt x="182" y="154"/>
                    </a:lnTo>
                    <a:lnTo>
                      <a:pt x="182" y="156"/>
                    </a:lnTo>
                    <a:lnTo>
                      <a:pt x="182" y="159"/>
                    </a:lnTo>
                    <a:lnTo>
                      <a:pt x="184" y="159"/>
                    </a:lnTo>
                    <a:lnTo>
                      <a:pt x="185" y="161"/>
                    </a:lnTo>
                    <a:lnTo>
                      <a:pt x="192" y="165"/>
                    </a:lnTo>
                    <a:lnTo>
                      <a:pt x="194" y="167"/>
                    </a:lnTo>
                    <a:lnTo>
                      <a:pt x="195" y="168"/>
                    </a:lnTo>
                    <a:lnTo>
                      <a:pt x="190" y="172"/>
                    </a:lnTo>
                    <a:lnTo>
                      <a:pt x="184" y="175"/>
                    </a:lnTo>
                    <a:lnTo>
                      <a:pt x="177" y="178"/>
                    </a:lnTo>
                    <a:lnTo>
                      <a:pt x="168" y="181"/>
                    </a:lnTo>
                    <a:lnTo>
                      <a:pt x="165" y="182"/>
                    </a:lnTo>
                    <a:lnTo>
                      <a:pt x="161" y="184"/>
                    </a:lnTo>
                    <a:lnTo>
                      <a:pt x="161" y="184"/>
                    </a:lnTo>
                    <a:lnTo>
                      <a:pt x="155" y="182"/>
                    </a:lnTo>
                    <a:lnTo>
                      <a:pt x="152" y="182"/>
                    </a:lnTo>
                    <a:lnTo>
                      <a:pt x="151" y="182"/>
                    </a:lnTo>
                    <a:lnTo>
                      <a:pt x="149" y="184"/>
                    </a:lnTo>
                    <a:lnTo>
                      <a:pt x="149" y="184"/>
                    </a:lnTo>
                    <a:lnTo>
                      <a:pt x="149" y="185"/>
                    </a:lnTo>
                    <a:lnTo>
                      <a:pt x="148" y="187"/>
                    </a:lnTo>
                    <a:lnTo>
                      <a:pt x="145" y="190"/>
                    </a:lnTo>
                    <a:lnTo>
                      <a:pt x="142" y="190"/>
                    </a:lnTo>
                    <a:lnTo>
                      <a:pt x="139" y="190"/>
                    </a:lnTo>
                    <a:lnTo>
                      <a:pt x="135" y="188"/>
                    </a:lnTo>
                    <a:lnTo>
                      <a:pt x="132" y="188"/>
                    </a:lnTo>
                    <a:lnTo>
                      <a:pt x="125" y="191"/>
                    </a:lnTo>
                    <a:lnTo>
                      <a:pt x="122" y="190"/>
                    </a:lnTo>
                    <a:lnTo>
                      <a:pt x="121" y="190"/>
                    </a:lnTo>
                    <a:lnTo>
                      <a:pt x="118" y="187"/>
                    </a:lnTo>
                    <a:lnTo>
                      <a:pt x="116" y="187"/>
                    </a:lnTo>
                    <a:lnTo>
                      <a:pt x="115" y="185"/>
                    </a:lnTo>
                    <a:lnTo>
                      <a:pt x="113" y="187"/>
                    </a:lnTo>
                    <a:lnTo>
                      <a:pt x="112" y="187"/>
                    </a:lnTo>
                    <a:lnTo>
                      <a:pt x="111" y="188"/>
                    </a:lnTo>
                    <a:lnTo>
                      <a:pt x="108" y="188"/>
                    </a:lnTo>
                    <a:lnTo>
                      <a:pt x="98" y="188"/>
                    </a:lnTo>
                    <a:lnTo>
                      <a:pt x="98" y="185"/>
                    </a:lnTo>
                    <a:lnTo>
                      <a:pt x="93" y="181"/>
                    </a:lnTo>
                    <a:lnTo>
                      <a:pt x="92" y="177"/>
                    </a:lnTo>
                    <a:lnTo>
                      <a:pt x="92" y="177"/>
                    </a:lnTo>
                    <a:lnTo>
                      <a:pt x="93" y="174"/>
                    </a:lnTo>
                    <a:lnTo>
                      <a:pt x="93" y="172"/>
                    </a:lnTo>
                    <a:lnTo>
                      <a:pt x="93" y="171"/>
                    </a:lnTo>
                    <a:lnTo>
                      <a:pt x="92" y="168"/>
                    </a:lnTo>
                    <a:lnTo>
                      <a:pt x="90" y="162"/>
                    </a:lnTo>
                    <a:lnTo>
                      <a:pt x="90" y="159"/>
                    </a:lnTo>
                    <a:lnTo>
                      <a:pt x="89" y="158"/>
                    </a:lnTo>
                    <a:lnTo>
                      <a:pt x="88" y="155"/>
                    </a:lnTo>
                    <a:lnTo>
                      <a:pt x="85" y="152"/>
                    </a:lnTo>
                    <a:lnTo>
                      <a:pt x="82" y="151"/>
                    </a:lnTo>
                    <a:lnTo>
                      <a:pt x="80" y="151"/>
                    </a:lnTo>
                    <a:lnTo>
                      <a:pt x="80" y="152"/>
                    </a:lnTo>
                    <a:lnTo>
                      <a:pt x="80" y="154"/>
                    </a:lnTo>
                    <a:lnTo>
                      <a:pt x="79" y="154"/>
                    </a:lnTo>
                    <a:lnTo>
                      <a:pt x="78" y="154"/>
                    </a:lnTo>
                    <a:lnTo>
                      <a:pt x="72" y="152"/>
                    </a:lnTo>
                    <a:lnTo>
                      <a:pt x="69" y="152"/>
                    </a:lnTo>
                    <a:lnTo>
                      <a:pt x="65" y="149"/>
                    </a:lnTo>
                    <a:lnTo>
                      <a:pt x="62" y="149"/>
                    </a:lnTo>
                    <a:lnTo>
                      <a:pt x="59" y="148"/>
                    </a:lnTo>
                    <a:lnTo>
                      <a:pt x="53" y="145"/>
                    </a:lnTo>
                    <a:lnTo>
                      <a:pt x="47" y="144"/>
                    </a:lnTo>
                    <a:lnTo>
                      <a:pt x="46" y="142"/>
                    </a:lnTo>
                    <a:lnTo>
                      <a:pt x="42" y="139"/>
                    </a:lnTo>
                    <a:lnTo>
                      <a:pt x="39" y="139"/>
                    </a:lnTo>
                    <a:lnTo>
                      <a:pt x="39" y="138"/>
                    </a:lnTo>
                    <a:lnTo>
                      <a:pt x="37" y="138"/>
                    </a:lnTo>
                    <a:lnTo>
                      <a:pt x="37" y="136"/>
                    </a:lnTo>
                    <a:lnTo>
                      <a:pt x="37" y="136"/>
                    </a:lnTo>
                    <a:lnTo>
                      <a:pt x="36" y="135"/>
                    </a:lnTo>
                    <a:lnTo>
                      <a:pt x="36" y="135"/>
                    </a:lnTo>
                    <a:lnTo>
                      <a:pt x="34" y="135"/>
                    </a:lnTo>
                    <a:lnTo>
                      <a:pt x="34" y="135"/>
                    </a:lnTo>
                    <a:lnTo>
                      <a:pt x="33" y="135"/>
                    </a:lnTo>
                    <a:lnTo>
                      <a:pt x="30" y="133"/>
                    </a:lnTo>
                    <a:lnTo>
                      <a:pt x="27" y="132"/>
                    </a:lnTo>
                    <a:lnTo>
                      <a:pt x="26" y="131"/>
                    </a:lnTo>
                    <a:lnTo>
                      <a:pt x="24" y="128"/>
                    </a:lnTo>
                    <a:lnTo>
                      <a:pt x="20" y="118"/>
                    </a:lnTo>
                    <a:lnTo>
                      <a:pt x="16" y="109"/>
                    </a:lnTo>
                    <a:lnTo>
                      <a:pt x="13" y="105"/>
                    </a:lnTo>
                    <a:lnTo>
                      <a:pt x="6" y="99"/>
                    </a:lnTo>
                    <a:lnTo>
                      <a:pt x="4" y="95"/>
                    </a:lnTo>
                    <a:lnTo>
                      <a:pt x="3" y="90"/>
                    </a:lnTo>
                    <a:lnTo>
                      <a:pt x="3" y="83"/>
                    </a:lnTo>
                    <a:lnTo>
                      <a:pt x="3" y="79"/>
                    </a:lnTo>
                    <a:lnTo>
                      <a:pt x="0" y="72"/>
                    </a:lnTo>
                    <a:lnTo>
                      <a:pt x="0" y="70"/>
                    </a:lnTo>
                    <a:lnTo>
                      <a:pt x="0" y="67"/>
                    </a:lnTo>
                    <a:lnTo>
                      <a:pt x="0" y="63"/>
                    </a:lnTo>
                    <a:lnTo>
                      <a:pt x="0" y="62"/>
                    </a:lnTo>
                    <a:lnTo>
                      <a:pt x="6" y="60"/>
                    </a:lnTo>
                    <a:lnTo>
                      <a:pt x="9" y="59"/>
                    </a:lnTo>
                    <a:lnTo>
                      <a:pt x="11" y="56"/>
                    </a:lnTo>
                    <a:lnTo>
                      <a:pt x="23" y="41"/>
                    </a:lnTo>
                    <a:lnTo>
                      <a:pt x="24" y="39"/>
                    </a:lnTo>
                    <a:lnTo>
                      <a:pt x="26" y="37"/>
                    </a:lnTo>
                    <a:lnTo>
                      <a:pt x="24" y="36"/>
                    </a:lnTo>
                    <a:lnTo>
                      <a:pt x="24" y="36"/>
                    </a:lnTo>
                    <a:lnTo>
                      <a:pt x="21" y="34"/>
                    </a:lnTo>
                    <a:lnTo>
                      <a:pt x="20" y="34"/>
                    </a:lnTo>
                    <a:lnTo>
                      <a:pt x="19" y="31"/>
                    </a:lnTo>
                    <a:lnTo>
                      <a:pt x="19" y="30"/>
                    </a:lnTo>
                    <a:lnTo>
                      <a:pt x="20" y="27"/>
                    </a:lnTo>
                    <a:lnTo>
                      <a:pt x="20" y="24"/>
                    </a:lnTo>
                    <a:lnTo>
                      <a:pt x="24" y="24"/>
                    </a:lnTo>
                    <a:lnTo>
                      <a:pt x="26" y="24"/>
                    </a:lnTo>
                    <a:lnTo>
                      <a:pt x="26" y="21"/>
                    </a:lnTo>
                    <a:lnTo>
                      <a:pt x="26" y="20"/>
                    </a:lnTo>
                    <a:lnTo>
                      <a:pt x="26" y="16"/>
                    </a:lnTo>
                    <a:lnTo>
                      <a:pt x="24" y="11"/>
                    </a:lnTo>
                    <a:lnTo>
                      <a:pt x="24" y="8"/>
                    </a:lnTo>
                    <a:lnTo>
                      <a:pt x="23" y="7"/>
                    </a:lnTo>
                    <a:lnTo>
                      <a:pt x="20" y="4"/>
                    </a:lnTo>
                    <a:lnTo>
                      <a:pt x="20" y="3"/>
                    </a:lnTo>
                    <a:lnTo>
                      <a:pt x="20" y="1"/>
                    </a:lnTo>
                    <a:lnTo>
                      <a:pt x="23" y="1"/>
                    </a:lnTo>
                    <a:lnTo>
                      <a:pt x="29" y="0"/>
                    </a:lnTo>
                    <a:lnTo>
                      <a:pt x="32" y="0"/>
                    </a:lnTo>
                    <a:lnTo>
                      <a:pt x="79" y="0"/>
                    </a:lnTo>
                    <a:lnTo>
                      <a:pt x="83" y="1"/>
                    </a:lnTo>
                    <a:lnTo>
                      <a:pt x="86" y="3"/>
                    </a:lnTo>
                    <a:lnTo>
                      <a:pt x="92" y="6"/>
                    </a:lnTo>
                    <a:lnTo>
                      <a:pt x="102" y="13"/>
                    </a:lnTo>
                    <a:lnTo>
                      <a:pt x="103" y="13"/>
                    </a:lnTo>
                    <a:lnTo>
                      <a:pt x="106" y="14"/>
                    </a:lnTo>
                    <a:lnTo>
                      <a:pt x="111" y="17"/>
                    </a:lnTo>
                    <a:lnTo>
                      <a:pt x="113" y="18"/>
                    </a:lnTo>
                    <a:lnTo>
                      <a:pt x="118" y="20"/>
                    </a:lnTo>
                    <a:lnTo>
                      <a:pt x="125" y="24"/>
                    </a:lnTo>
                    <a:lnTo>
                      <a:pt x="132" y="29"/>
                    </a:lnTo>
                    <a:lnTo>
                      <a:pt x="136" y="31"/>
                    </a:lnTo>
                    <a:lnTo>
                      <a:pt x="139" y="33"/>
                    </a:lnTo>
                    <a:lnTo>
                      <a:pt x="144" y="36"/>
                    </a:lnTo>
                    <a:lnTo>
                      <a:pt x="146" y="37"/>
                    </a:lnTo>
                    <a:lnTo>
                      <a:pt x="146" y="40"/>
                    </a:lnTo>
                    <a:lnTo>
                      <a:pt x="145" y="43"/>
                    </a:lnTo>
                    <a:lnTo>
                      <a:pt x="145" y="44"/>
                    </a:lnTo>
                    <a:lnTo>
                      <a:pt x="146" y="46"/>
                    </a:lnTo>
                    <a:lnTo>
                      <a:pt x="149" y="49"/>
                    </a:lnTo>
                    <a:lnTo>
                      <a:pt x="155" y="53"/>
                    </a:lnTo>
                    <a:lnTo>
                      <a:pt x="167" y="60"/>
                    </a:lnTo>
                    <a:close/>
                    <a:moveTo>
                      <a:pt x="175" y="83"/>
                    </a:moveTo>
                    <a:lnTo>
                      <a:pt x="174" y="85"/>
                    </a:lnTo>
                    <a:lnTo>
                      <a:pt x="174" y="87"/>
                    </a:lnTo>
                    <a:lnTo>
                      <a:pt x="172" y="89"/>
                    </a:lnTo>
                    <a:lnTo>
                      <a:pt x="172" y="90"/>
                    </a:lnTo>
                    <a:lnTo>
                      <a:pt x="174" y="92"/>
                    </a:lnTo>
                    <a:lnTo>
                      <a:pt x="175" y="95"/>
                    </a:lnTo>
                    <a:lnTo>
                      <a:pt x="177" y="96"/>
                    </a:lnTo>
                    <a:lnTo>
                      <a:pt x="178" y="96"/>
                    </a:lnTo>
                    <a:lnTo>
                      <a:pt x="179" y="95"/>
                    </a:lnTo>
                    <a:lnTo>
                      <a:pt x="177" y="86"/>
                    </a:lnTo>
                    <a:lnTo>
                      <a:pt x="175" y="83"/>
                    </a:lnTo>
                    <a:close/>
                    <a:moveTo>
                      <a:pt x="182" y="123"/>
                    </a:moveTo>
                    <a:lnTo>
                      <a:pt x="184" y="122"/>
                    </a:lnTo>
                    <a:lnTo>
                      <a:pt x="185" y="119"/>
                    </a:lnTo>
                    <a:lnTo>
                      <a:pt x="185" y="118"/>
                    </a:lnTo>
                    <a:lnTo>
                      <a:pt x="184" y="119"/>
                    </a:lnTo>
                    <a:lnTo>
                      <a:pt x="179" y="123"/>
                    </a:lnTo>
                    <a:lnTo>
                      <a:pt x="182" y="123"/>
                    </a:lnTo>
                    <a:close/>
                    <a:moveTo>
                      <a:pt x="181" y="77"/>
                    </a:moveTo>
                    <a:lnTo>
                      <a:pt x="182" y="79"/>
                    </a:lnTo>
                    <a:lnTo>
                      <a:pt x="184" y="77"/>
                    </a:lnTo>
                    <a:lnTo>
                      <a:pt x="184" y="75"/>
                    </a:lnTo>
                    <a:lnTo>
                      <a:pt x="185" y="70"/>
                    </a:lnTo>
                    <a:lnTo>
                      <a:pt x="184" y="70"/>
                    </a:lnTo>
                    <a:lnTo>
                      <a:pt x="184" y="69"/>
                    </a:lnTo>
                    <a:lnTo>
                      <a:pt x="182" y="69"/>
                    </a:lnTo>
                    <a:lnTo>
                      <a:pt x="181" y="69"/>
                    </a:lnTo>
                    <a:lnTo>
                      <a:pt x="181" y="72"/>
                    </a:lnTo>
                    <a:lnTo>
                      <a:pt x="181" y="75"/>
                    </a:lnTo>
                    <a:lnTo>
                      <a:pt x="181" y="7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20" name="Freeform 207">
                <a:extLst>
                  <a:ext uri="{FF2B5EF4-FFF2-40B4-BE49-F238E27FC236}">
                    <a16:creationId xmlns:a16="http://schemas.microsoft.com/office/drawing/2014/main" id="{44AD5CF7-6920-1803-80BD-F33029800FF3}"/>
                  </a:ext>
                </a:extLst>
              </p:cNvPr>
              <p:cNvSpPr>
                <a:spLocks noEditPoints="1"/>
              </p:cNvSpPr>
              <p:nvPr/>
            </p:nvSpPr>
            <p:spPr bwMode="auto">
              <a:xfrm>
                <a:off x="4308" y="2919"/>
                <a:ext cx="23" cy="18"/>
              </a:xfrm>
              <a:custGeom>
                <a:avLst/>
                <a:gdLst>
                  <a:gd name="T0" fmla="*/ 0 w 23"/>
                  <a:gd name="T1" fmla="*/ 8 h 18"/>
                  <a:gd name="T2" fmla="*/ 0 w 23"/>
                  <a:gd name="T3" fmla="*/ 7 h 18"/>
                  <a:gd name="T4" fmla="*/ 0 w 23"/>
                  <a:gd name="T5" fmla="*/ 4 h 18"/>
                  <a:gd name="T6" fmla="*/ 0 w 23"/>
                  <a:gd name="T7" fmla="*/ 1 h 18"/>
                  <a:gd name="T8" fmla="*/ 0 w 23"/>
                  <a:gd name="T9" fmla="*/ 0 h 18"/>
                  <a:gd name="T10" fmla="*/ 2 w 23"/>
                  <a:gd name="T11" fmla="*/ 0 h 18"/>
                  <a:gd name="T12" fmla="*/ 2 w 23"/>
                  <a:gd name="T13" fmla="*/ 1 h 18"/>
                  <a:gd name="T14" fmla="*/ 2 w 23"/>
                  <a:gd name="T15" fmla="*/ 3 h 18"/>
                  <a:gd name="T16" fmla="*/ 3 w 23"/>
                  <a:gd name="T17" fmla="*/ 3 h 18"/>
                  <a:gd name="T18" fmla="*/ 4 w 23"/>
                  <a:gd name="T19" fmla="*/ 8 h 18"/>
                  <a:gd name="T20" fmla="*/ 4 w 23"/>
                  <a:gd name="T21" fmla="*/ 10 h 18"/>
                  <a:gd name="T22" fmla="*/ 3 w 23"/>
                  <a:gd name="T23" fmla="*/ 10 h 18"/>
                  <a:gd name="T24" fmla="*/ 2 w 23"/>
                  <a:gd name="T25" fmla="*/ 8 h 18"/>
                  <a:gd name="T26" fmla="*/ 0 w 23"/>
                  <a:gd name="T27" fmla="*/ 8 h 18"/>
                  <a:gd name="T28" fmla="*/ 22 w 23"/>
                  <a:gd name="T29" fmla="*/ 18 h 18"/>
                  <a:gd name="T30" fmla="*/ 22 w 23"/>
                  <a:gd name="T31" fmla="*/ 17 h 18"/>
                  <a:gd name="T32" fmla="*/ 23 w 23"/>
                  <a:gd name="T33" fmla="*/ 17 h 18"/>
                  <a:gd name="T34" fmla="*/ 23 w 23"/>
                  <a:gd name="T35" fmla="*/ 16 h 18"/>
                  <a:gd name="T36" fmla="*/ 23 w 23"/>
                  <a:gd name="T37" fmla="*/ 16 h 18"/>
                  <a:gd name="T38" fmla="*/ 22 w 23"/>
                  <a:gd name="T39" fmla="*/ 13 h 18"/>
                  <a:gd name="T40" fmla="*/ 20 w 23"/>
                  <a:gd name="T41" fmla="*/ 13 h 18"/>
                  <a:gd name="T42" fmla="*/ 19 w 23"/>
                  <a:gd name="T43" fmla="*/ 14 h 18"/>
                  <a:gd name="T44" fmla="*/ 17 w 23"/>
                  <a:gd name="T45" fmla="*/ 14 h 18"/>
                  <a:gd name="T46" fmla="*/ 19 w 23"/>
                  <a:gd name="T47" fmla="*/ 16 h 18"/>
                  <a:gd name="T48" fmla="*/ 20 w 23"/>
                  <a:gd name="T49" fmla="*/ 16 h 18"/>
                  <a:gd name="T50" fmla="*/ 22 w 23"/>
                  <a:gd name="T51" fmla="*/ 18 h 18"/>
                  <a:gd name="T52" fmla="*/ 9 w 23"/>
                  <a:gd name="T53" fmla="*/ 18 h 18"/>
                  <a:gd name="T54" fmla="*/ 10 w 23"/>
                  <a:gd name="T55" fmla="*/ 18 h 18"/>
                  <a:gd name="T56" fmla="*/ 10 w 23"/>
                  <a:gd name="T57" fmla="*/ 17 h 18"/>
                  <a:gd name="T58" fmla="*/ 9 w 23"/>
                  <a:gd name="T59" fmla="*/ 17 h 18"/>
                  <a:gd name="T60" fmla="*/ 7 w 23"/>
                  <a:gd name="T61" fmla="*/ 16 h 18"/>
                  <a:gd name="T62" fmla="*/ 7 w 23"/>
                  <a:gd name="T63" fmla="*/ 16 h 18"/>
                  <a:gd name="T64" fmla="*/ 7 w 23"/>
                  <a:gd name="T65" fmla="*/ 17 h 18"/>
                  <a:gd name="T66" fmla="*/ 9 w 23"/>
                  <a:gd name="T67" fmla="*/ 17 h 18"/>
                  <a:gd name="T68" fmla="*/ 9 w 23"/>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 h="18">
                    <a:moveTo>
                      <a:pt x="0" y="8"/>
                    </a:moveTo>
                    <a:lnTo>
                      <a:pt x="0" y="7"/>
                    </a:lnTo>
                    <a:lnTo>
                      <a:pt x="0" y="4"/>
                    </a:lnTo>
                    <a:lnTo>
                      <a:pt x="0" y="1"/>
                    </a:lnTo>
                    <a:lnTo>
                      <a:pt x="0" y="0"/>
                    </a:lnTo>
                    <a:lnTo>
                      <a:pt x="2" y="0"/>
                    </a:lnTo>
                    <a:lnTo>
                      <a:pt x="2" y="1"/>
                    </a:lnTo>
                    <a:lnTo>
                      <a:pt x="2" y="3"/>
                    </a:lnTo>
                    <a:lnTo>
                      <a:pt x="3" y="3"/>
                    </a:lnTo>
                    <a:lnTo>
                      <a:pt x="4" y="8"/>
                    </a:lnTo>
                    <a:lnTo>
                      <a:pt x="4" y="10"/>
                    </a:lnTo>
                    <a:lnTo>
                      <a:pt x="3" y="10"/>
                    </a:lnTo>
                    <a:lnTo>
                      <a:pt x="2" y="8"/>
                    </a:lnTo>
                    <a:lnTo>
                      <a:pt x="0" y="8"/>
                    </a:lnTo>
                    <a:close/>
                    <a:moveTo>
                      <a:pt x="22" y="18"/>
                    </a:moveTo>
                    <a:lnTo>
                      <a:pt x="22" y="17"/>
                    </a:lnTo>
                    <a:lnTo>
                      <a:pt x="23" y="17"/>
                    </a:lnTo>
                    <a:lnTo>
                      <a:pt x="23" y="16"/>
                    </a:lnTo>
                    <a:lnTo>
                      <a:pt x="23" y="16"/>
                    </a:lnTo>
                    <a:lnTo>
                      <a:pt x="22" y="13"/>
                    </a:lnTo>
                    <a:lnTo>
                      <a:pt x="20" y="13"/>
                    </a:lnTo>
                    <a:lnTo>
                      <a:pt x="19" y="14"/>
                    </a:lnTo>
                    <a:lnTo>
                      <a:pt x="17" y="14"/>
                    </a:lnTo>
                    <a:lnTo>
                      <a:pt x="19" y="16"/>
                    </a:lnTo>
                    <a:lnTo>
                      <a:pt x="20" y="16"/>
                    </a:lnTo>
                    <a:lnTo>
                      <a:pt x="22" y="18"/>
                    </a:lnTo>
                    <a:close/>
                    <a:moveTo>
                      <a:pt x="9" y="18"/>
                    </a:moveTo>
                    <a:lnTo>
                      <a:pt x="10" y="18"/>
                    </a:lnTo>
                    <a:lnTo>
                      <a:pt x="10" y="17"/>
                    </a:lnTo>
                    <a:lnTo>
                      <a:pt x="9" y="17"/>
                    </a:lnTo>
                    <a:lnTo>
                      <a:pt x="7" y="16"/>
                    </a:lnTo>
                    <a:lnTo>
                      <a:pt x="7" y="16"/>
                    </a:lnTo>
                    <a:lnTo>
                      <a:pt x="7" y="17"/>
                    </a:lnTo>
                    <a:lnTo>
                      <a:pt x="9" y="17"/>
                    </a:lnTo>
                    <a:lnTo>
                      <a:pt x="9" y="1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21" name="Freeform 208">
                <a:extLst>
                  <a:ext uri="{FF2B5EF4-FFF2-40B4-BE49-F238E27FC236}">
                    <a16:creationId xmlns:a16="http://schemas.microsoft.com/office/drawing/2014/main" id="{BB7F1294-8BD2-BB9A-AB46-AE3A06E051BF}"/>
                  </a:ext>
                </a:extLst>
              </p:cNvPr>
              <p:cNvSpPr>
                <a:spLocks noEditPoints="1"/>
              </p:cNvSpPr>
              <p:nvPr/>
            </p:nvSpPr>
            <p:spPr bwMode="auto">
              <a:xfrm>
                <a:off x="4143" y="2621"/>
                <a:ext cx="141" cy="180"/>
              </a:xfrm>
              <a:custGeom>
                <a:avLst/>
                <a:gdLst>
                  <a:gd name="T0" fmla="*/ 133 w 141"/>
                  <a:gd name="T1" fmla="*/ 128 h 180"/>
                  <a:gd name="T2" fmla="*/ 128 w 141"/>
                  <a:gd name="T3" fmla="*/ 131 h 180"/>
                  <a:gd name="T4" fmla="*/ 125 w 141"/>
                  <a:gd name="T5" fmla="*/ 131 h 180"/>
                  <a:gd name="T6" fmla="*/ 123 w 141"/>
                  <a:gd name="T7" fmla="*/ 132 h 180"/>
                  <a:gd name="T8" fmla="*/ 123 w 141"/>
                  <a:gd name="T9" fmla="*/ 137 h 180"/>
                  <a:gd name="T10" fmla="*/ 119 w 141"/>
                  <a:gd name="T11" fmla="*/ 141 h 180"/>
                  <a:gd name="T12" fmla="*/ 113 w 141"/>
                  <a:gd name="T13" fmla="*/ 143 h 180"/>
                  <a:gd name="T14" fmla="*/ 111 w 141"/>
                  <a:gd name="T15" fmla="*/ 148 h 180"/>
                  <a:gd name="T16" fmla="*/ 106 w 141"/>
                  <a:gd name="T17" fmla="*/ 158 h 180"/>
                  <a:gd name="T18" fmla="*/ 98 w 141"/>
                  <a:gd name="T19" fmla="*/ 176 h 180"/>
                  <a:gd name="T20" fmla="*/ 95 w 141"/>
                  <a:gd name="T21" fmla="*/ 180 h 180"/>
                  <a:gd name="T22" fmla="*/ 70 w 141"/>
                  <a:gd name="T23" fmla="*/ 163 h 180"/>
                  <a:gd name="T24" fmla="*/ 66 w 141"/>
                  <a:gd name="T25" fmla="*/ 157 h 180"/>
                  <a:gd name="T26" fmla="*/ 65 w 141"/>
                  <a:gd name="T27" fmla="*/ 150 h 180"/>
                  <a:gd name="T28" fmla="*/ 53 w 141"/>
                  <a:gd name="T29" fmla="*/ 143 h 180"/>
                  <a:gd name="T30" fmla="*/ 34 w 141"/>
                  <a:gd name="T31" fmla="*/ 132 h 180"/>
                  <a:gd name="T32" fmla="*/ 24 w 141"/>
                  <a:gd name="T33" fmla="*/ 127 h 180"/>
                  <a:gd name="T34" fmla="*/ 7 w 141"/>
                  <a:gd name="T35" fmla="*/ 117 h 180"/>
                  <a:gd name="T36" fmla="*/ 0 w 141"/>
                  <a:gd name="T37" fmla="*/ 108 h 180"/>
                  <a:gd name="T38" fmla="*/ 4 w 141"/>
                  <a:gd name="T39" fmla="*/ 89 h 180"/>
                  <a:gd name="T40" fmla="*/ 11 w 141"/>
                  <a:gd name="T41" fmla="*/ 79 h 180"/>
                  <a:gd name="T42" fmla="*/ 13 w 141"/>
                  <a:gd name="T43" fmla="*/ 76 h 180"/>
                  <a:gd name="T44" fmla="*/ 17 w 141"/>
                  <a:gd name="T45" fmla="*/ 74 h 180"/>
                  <a:gd name="T46" fmla="*/ 17 w 141"/>
                  <a:gd name="T47" fmla="*/ 71 h 180"/>
                  <a:gd name="T48" fmla="*/ 20 w 141"/>
                  <a:gd name="T49" fmla="*/ 65 h 180"/>
                  <a:gd name="T50" fmla="*/ 17 w 141"/>
                  <a:gd name="T51" fmla="*/ 51 h 180"/>
                  <a:gd name="T52" fmla="*/ 10 w 141"/>
                  <a:gd name="T53" fmla="*/ 41 h 180"/>
                  <a:gd name="T54" fmla="*/ 9 w 141"/>
                  <a:gd name="T55" fmla="*/ 32 h 180"/>
                  <a:gd name="T56" fmla="*/ 6 w 141"/>
                  <a:gd name="T57" fmla="*/ 30 h 180"/>
                  <a:gd name="T58" fmla="*/ 6 w 141"/>
                  <a:gd name="T59" fmla="*/ 29 h 180"/>
                  <a:gd name="T60" fmla="*/ 1 w 141"/>
                  <a:gd name="T61" fmla="*/ 22 h 180"/>
                  <a:gd name="T62" fmla="*/ 21 w 141"/>
                  <a:gd name="T63" fmla="*/ 3 h 180"/>
                  <a:gd name="T64" fmla="*/ 27 w 141"/>
                  <a:gd name="T65" fmla="*/ 2 h 180"/>
                  <a:gd name="T66" fmla="*/ 33 w 141"/>
                  <a:gd name="T67" fmla="*/ 5 h 180"/>
                  <a:gd name="T68" fmla="*/ 33 w 141"/>
                  <a:gd name="T69" fmla="*/ 12 h 180"/>
                  <a:gd name="T70" fmla="*/ 40 w 141"/>
                  <a:gd name="T71" fmla="*/ 18 h 180"/>
                  <a:gd name="T72" fmla="*/ 57 w 141"/>
                  <a:gd name="T73" fmla="*/ 22 h 180"/>
                  <a:gd name="T74" fmla="*/ 79 w 141"/>
                  <a:gd name="T75" fmla="*/ 33 h 180"/>
                  <a:gd name="T76" fmla="*/ 96 w 141"/>
                  <a:gd name="T77" fmla="*/ 36 h 180"/>
                  <a:gd name="T78" fmla="*/ 103 w 141"/>
                  <a:gd name="T79" fmla="*/ 32 h 180"/>
                  <a:gd name="T80" fmla="*/ 106 w 141"/>
                  <a:gd name="T81" fmla="*/ 28 h 180"/>
                  <a:gd name="T82" fmla="*/ 122 w 141"/>
                  <a:gd name="T83" fmla="*/ 22 h 180"/>
                  <a:gd name="T84" fmla="*/ 126 w 141"/>
                  <a:gd name="T85" fmla="*/ 26 h 180"/>
                  <a:gd name="T86" fmla="*/ 141 w 141"/>
                  <a:gd name="T87" fmla="*/ 26 h 180"/>
                  <a:gd name="T88" fmla="*/ 132 w 141"/>
                  <a:gd name="T89" fmla="*/ 41 h 180"/>
                  <a:gd name="T90" fmla="*/ 125 w 141"/>
                  <a:gd name="T91" fmla="*/ 46 h 180"/>
                  <a:gd name="T92" fmla="*/ 125 w 141"/>
                  <a:gd name="T93" fmla="*/ 48 h 180"/>
                  <a:gd name="T94" fmla="*/ 125 w 141"/>
                  <a:gd name="T95" fmla="*/ 76 h 180"/>
                  <a:gd name="T96" fmla="*/ 125 w 141"/>
                  <a:gd name="T97" fmla="*/ 105 h 180"/>
                  <a:gd name="T98" fmla="*/ 125 w 141"/>
                  <a:gd name="T99" fmla="*/ 111 h 180"/>
                  <a:gd name="T100" fmla="*/ 126 w 141"/>
                  <a:gd name="T101" fmla="*/ 114 h 180"/>
                  <a:gd name="T102" fmla="*/ 133 w 141"/>
                  <a:gd name="T103" fmla="*/ 122 h 180"/>
                  <a:gd name="T104" fmla="*/ 125 w 141"/>
                  <a:gd name="T105" fmla="*/ 135 h 180"/>
                  <a:gd name="T106" fmla="*/ 126 w 141"/>
                  <a:gd name="T10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1" h="180">
                    <a:moveTo>
                      <a:pt x="135" y="125"/>
                    </a:moveTo>
                    <a:lnTo>
                      <a:pt x="135" y="127"/>
                    </a:lnTo>
                    <a:lnTo>
                      <a:pt x="133" y="128"/>
                    </a:lnTo>
                    <a:lnTo>
                      <a:pt x="132" y="130"/>
                    </a:lnTo>
                    <a:lnTo>
                      <a:pt x="131" y="131"/>
                    </a:lnTo>
                    <a:lnTo>
                      <a:pt x="128" y="131"/>
                    </a:lnTo>
                    <a:lnTo>
                      <a:pt x="126" y="131"/>
                    </a:lnTo>
                    <a:lnTo>
                      <a:pt x="126" y="131"/>
                    </a:lnTo>
                    <a:lnTo>
                      <a:pt x="125" y="131"/>
                    </a:lnTo>
                    <a:lnTo>
                      <a:pt x="125" y="132"/>
                    </a:lnTo>
                    <a:lnTo>
                      <a:pt x="123" y="132"/>
                    </a:lnTo>
                    <a:lnTo>
                      <a:pt x="123" y="132"/>
                    </a:lnTo>
                    <a:lnTo>
                      <a:pt x="123" y="134"/>
                    </a:lnTo>
                    <a:lnTo>
                      <a:pt x="123" y="135"/>
                    </a:lnTo>
                    <a:lnTo>
                      <a:pt x="123" y="137"/>
                    </a:lnTo>
                    <a:lnTo>
                      <a:pt x="122" y="138"/>
                    </a:lnTo>
                    <a:lnTo>
                      <a:pt x="121" y="140"/>
                    </a:lnTo>
                    <a:lnTo>
                      <a:pt x="119" y="141"/>
                    </a:lnTo>
                    <a:lnTo>
                      <a:pt x="116" y="141"/>
                    </a:lnTo>
                    <a:lnTo>
                      <a:pt x="115" y="141"/>
                    </a:lnTo>
                    <a:lnTo>
                      <a:pt x="113" y="143"/>
                    </a:lnTo>
                    <a:lnTo>
                      <a:pt x="112" y="144"/>
                    </a:lnTo>
                    <a:lnTo>
                      <a:pt x="112" y="145"/>
                    </a:lnTo>
                    <a:lnTo>
                      <a:pt x="111" y="148"/>
                    </a:lnTo>
                    <a:lnTo>
                      <a:pt x="111" y="150"/>
                    </a:lnTo>
                    <a:lnTo>
                      <a:pt x="111" y="153"/>
                    </a:lnTo>
                    <a:lnTo>
                      <a:pt x="106" y="158"/>
                    </a:lnTo>
                    <a:lnTo>
                      <a:pt x="102" y="170"/>
                    </a:lnTo>
                    <a:lnTo>
                      <a:pt x="99" y="174"/>
                    </a:lnTo>
                    <a:lnTo>
                      <a:pt x="98" y="176"/>
                    </a:lnTo>
                    <a:lnTo>
                      <a:pt x="96" y="177"/>
                    </a:lnTo>
                    <a:lnTo>
                      <a:pt x="96" y="178"/>
                    </a:lnTo>
                    <a:lnTo>
                      <a:pt x="95" y="180"/>
                    </a:lnTo>
                    <a:lnTo>
                      <a:pt x="88" y="174"/>
                    </a:lnTo>
                    <a:lnTo>
                      <a:pt x="76" y="167"/>
                    </a:lnTo>
                    <a:lnTo>
                      <a:pt x="70" y="163"/>
                    </a:lnTo>
                    <a:lnTo>
                      <a:pt x="67" y="160"/>
                    </a:lnTo>
                    <a:lnTo>
                      <a:pt x="66" y="158"/>
                    </a:lnTo>
                    <a:lnTo>
                      <a:pt x="66" y="157"/>
                    </a:lnTo>
                    <a:lnTo>
                      <a:pt x="67" y="154"/>
                    </a:lnTo>
                    <a:lnTo>
                      <a:pt x="67" y="151"/>
                    </a:lnTo>
                    <a:lnTo>
                      <a:pt x="65" y="150"/>
                    </a:lnTo>
                    <a:lnTo>
                      <a:pt x="60" y="147"/>
                    </a:lnTo>
                    <a:lnTo>
                      <a:pt x="57" y="145"/>
                    </a:lnTo>
                    <a:lnTo>
                      <a:pt x="53" y="143"/>
                    </a:lnTo>
                    <a:lnTo>
                      <a:pt x="46" y="138"/>
                    </a:lnTo>
                    <a:lnTo>
                      <a:pt x="39" y="134"/>
                    </a:lnTo>
                    <a:lnTo>
                      <a:pt x="34" y="132"/>
                    </a:lnTo>
                    <a:lnTo>
                      <a:pt x="32" y="131"/>
                    </a:lnTo>
                    <a:lnTo>
                      <a:pt x="27" y="128"/>
                    </a:lnTo>
                    <a:lnTo>
                      <a:pt x="24" y="127"/>
                    </a:lnTo>
                    <a:lnTo>
                      <a:pt x="23" y="127"/>
                    </a:lnTo>
                    <a:lnTo>
                      <a:pt x="13" y="120"/>
                    </a:lnTo>
                    <a:lnTo>
                      <a:pt x="7" y="117"/>
                    </a:lnTo>
                    <a:lnTo>
                      <a:pt x="4" y="115"/>
                    </a:lnTo>
                    <a:lnTo>
                      <a:pt x="0" y="114"/>
                    </a:lnTo>
                    <a:lnTo>
                      <a:pt x="0" y="108"/>
                    </a:lnTo>
                    <a:lnTo>
                      <a:pt x="1" y="102"/>
                    </a:lnTo>
                    <a:lnTo>
                      <a:pt x="1" y="95"/>
                    </a:lnTo>
                    <a:lnTo>
                      <a:pt x="4" y="89"/>
                    </a:lnTo>
                    <a:lnTo>
                      <a:pt x="6" y="88"/>
                    </a:lnTo>
                    <a:lnTo>
                      <a:pt x="10" y="81"/>
                    </a:lnTo>
                    <a:lnTo>
                      <a:pt x="11" y="79"/>
                    </a:lnTo>
                    <a:lnTo>
                      <a:pt x="11" y="78"/>
                    </a:lnTo>
                    <a:lnTo>
                      <a:pt x="13" y="76"/>
                    </a:lnTo>
                    <a:lnTo>
                      <a:pt x="13" y="76"/>
                    </a:lnTo>
                    <a:lnTo>
                      <a:pt x="16" y="75"/>
                    </a:lnTo>
                    <a:lnTo>
                      <a:pt x="16" y="75"/>
                    </a:lnTo>
                    <a:lnTo>
                      <a:pt x="17" y="74"/>
                    </a:lnTo>
                    <a:lnTo>
                      <a:pt x="17" y="72"/>
                    </a:lnTo>
                    <a:lnTo>
                      <a:pt x="17" y="71"/>
                    </a:lnTo>
                    <a:lnTo>
                      <a:pt x="17" y="71"/>
                    </a:lnTo>
                    <a:lnTo>
                      <a:pt x="19" y="69"/>
                    </a:lnTo>
                    <a:lnTo>
                      <a:pt x="19" y="68"/>
                    </a:lnTo>
                    <a:lnTo>
                      <a:pt x="20" y="65"/>
                    </a:lnTo>
                    <a:lnTo>
                      <a:pt x="20" y="63"/>
                    </a:lnTo>
                    <a:lnTo>
                      <a:pt x="17" y="53"/>
                    </a:lnTo>
                    <a:lnTo>
                      <a:pt x="17" y="51"/>
                    </a:lnTo>
                    <a:lnTo>
                      <a:pt x="16" y="49"/>
                    </a:lnTo>
                    <a:lnTo>
                      <a:pt x="11" y="43"/>
                    </a:lnTo>
                    <a:lnTo>
                      <a:pt x="10" y="41"/>
                    </a:lnTo>
                    <a:lnTo>
                      <a:pt x="10" y="38"/>
                    </a:lnTo>
                    <a:lnTo>
                      <a:pt x="10" y="33"/>
                    </a:lnTo>
                    <a:lnTo>
                      <a:pt x="9" y="32"/>
                    </a:lnTo>
                    <a:lnTo>
                      <a:pt x="9" y="30"/>
                    </a:lnTo>
                    <a:lnTo>
                      <a:pt x="7" y="30"/>
                    </a:lnTo>
                    <a:lnTo>
                      <a:pt x="6" y="30"/>
                    </a:lnTo>
                    <a:lnTo>
                      <a:pt x="6" y="29"/>
                    </a:lnTo>
                    <a:lnTo>
                      <a:pt x="6" y="29"/>
                    </a:lnTo>
                    <a:lnTo>
                      <a:pt x="6" y="29"/>
                    </a:lnTo>
                    <a:lnTo>
                      <a:pt x="6" y="29"/>
                    </a:lnTo>
                    <a:lnTo>
                      <a:pt x="4" y="26"/>
                    </a:lnTo>
                    <a:lnTo>
                      <a:pt x="1" y="22"/>
                    </a:lnTo>
                    <a:lnTo>
                      <a:pt x="7" y="18"/>
                    </a:lnTo>
                    <a:lnTo>
                      <a:pt x="16" y="9"/>
                    </a:lnTo>
                    <a:lnTo>
                      <a:pt x="21" y="3"/>
                    </a:lnTo>
                    <a:lnTo>
                      <a:pt x="24" y="0"/>
                    </a:lnTo>
                    <a:lnTo>
                      <a:pt x="26" y="2"/>
                    </a:lnTo>
                    <a:lnTo>
                      <a:pt x="27" y="2"/>
                    </a:lnTo>
                    <a:lnTo>
                      <a:pt x="29" y="2"/>
                    </a:lnTo>
                    <a:lnTo>
                      <a:pt x="32" y="2"/>
                    </a:lnTo>
                    <a:lnTo>
                      <a:pt x="33" y="5"/>
                    </a:lnTo>
                    <a:lnTo>
                      <a:pt x="33" y="6"/>
                    </a:lnTo>
                    <a:lnTo>
                      <a:pt x="33" y="9"/>
                    </a:lnTo>
                    <a:lnTo>
                      <a:pt x="33" y="12"/>
                    </a:lnTo>
                    <a:lnTo>
                      <a:pt x="36" y="15"/>
                    </a:lnTo>
                    <a:lnTo>
                      <a:pt x="37" y="18"/>
                    </a:lnTo>
                    <a:lnTo>
                      <a:pt x="40" y="18"/>
                    </a:lnTo>
                    <a:lnTo>
                      <a:pt x="50" y="19"/>
                    </a:lnTo>
                    <a:lnTo>
                      <a:pt x="55" y="20"/>
                    </a:lnTo>
                    <a:lnTo>
                      <a:pt x="57" y="22"/>
                    </a:lnTo>
                    <a:lnTo>
                      <a:pt x="72" y="30"/>
                    </a:lnTo>
                    <a:lnTo>
                      <a:pt x="75" y="32"/>
                    </a:lnTo>
                    <a:lnTo>
                      <a:pt x="79" y="33"/>
                    </a:lnTo>
                    <a:lnTo>
                      <a:pt x="86" y="33"/>
                    </a:lnTo>
                    <a:lnTo>
                      <a:pt x="93" y="35"/>
                    </a:lnTo>
                    <a:lnTo>
                      <a:pt x="96" y="36"/>
                    </a:lnTo>
                    <a:lnTo>
                      <a:pt x="100" y="35"/>
                    </a:lnTo>
                    <a:lnTo>
                      <a:pt x="102" y="35"/>
                    </a:lnTo>
                    <a:lnTo>
                      <a:pt x="103" y="32"/>
                    </a:lnTo>
                    <a:lnTo>
                      <a:pt x="103" y="30"/>
                    </a:lnTo>
                    <a:lnTo>
                      <a:pt x="105" y="29"/>
                    </a:lnTo>
                    <a:lnTo>
                      <a:pt x="106" y="28"/>
                    </a:lnTo>
                    <a:lnTo>
                      <a:pt x="118" y="22"/>
                    </a:lnTo>
                    <a:lnTo>
                      <a:pt x="121" y="22"/>
                    </a:lnTo>
                    <a:lnTo>
                      <a:pt x="122" y="22"/>
                    </a:lnTo>
                    <a:lnTo>
                      <a:pt x="123" y="23"/>
                    </a:lnTo>
                    <a:lnTo>
                      <a:pt x="125" y="25"/>
                    </a:lnTo>
                    <a:lnTo>
                      <a:pt x="126" y="26"/>
                    </a:lnTo>
                    <a:lnTo>
                      <a:pt x="129" y="28"/>
                    </a:lnTo>
                    <a:lnTo>
                      <a:pt x="133" y="28"/>
                    </a:lnTo>
                    <a:lnTo>
                      <a:pt x="141" y="26"/>
                    </a:lnTo>
                    <a:lnTo>
                      <a:pt x="139" y="28"/>
                    </a:lnTo>
                    <a:lnTo>
                      <a:pt x="138" y="32"/>
                    </a:lnTo>
                    <a:lnTo>
                      <a:pt x="132" y="41"/>
                    </a:lnTo>
                    <a:lnTo>
                      <a:pt x="129" y="42"/>
                    </a:lnTo>
                    <a:lnTo>
                      <a:pt x="126" y="46"/>
                    </a:lnTo>
                    <a:lnTo>
                      <a:pt x="125" y="46"/>
                    </a:lnTo>
                    <a:lnTo>
                      <a:pt x="125" y="46"/>
                    </a:lnTo>
                    <a:lnTo>
                      <a:pt x="125" y="46"/>
                    </a:lnTo>
                    <a:lnTo>
                      <a:pt x="125" y="48"/>
                    </a:lnTo>
                    <a:lnTo>
                      <a:pt x="125" y="52"/>
                    </a:lnTo>
                    <a:lnTo>
                      <a:pt x="125" y="58"/>
                    </a:lnTo>
                    <a:lnTo>
                      <a:pt x="125" y="76"/>
                    </a:lnTo>
                    <a:lnTo>
                      <a:pt x="125" y="84"/>
                    </a:lnTo>
                    <a:lnTo>
                      <a:pt x="125" y="102"/>
                    </a:lnTo>
                    <a:lnTo>
                      <a:pt x="125" y="105"/>
                    </a:lnTo>
                    <a:lnTo>
                      <a:pt x="125" y="108"/>
                    </a:lnTo>
                    <a:lnTo>
                      <a:pt x="125" y="111"/>
                    </a:lnTo>
                    <a:lnTo>
                      <a:pt x="125" y="111"/>
                    </a:lnTo>
                    <a:lnTo>
                      <a:pt x="125" y="112"/>
                    </a:lnTo>
                    <a:lnTo>
                      <a:pt x="126" y="112"/>
                    </a:lnTo>
                    <a:lnTo>
                      <a:pt x="126" y="114"/>
                    </a:lnTo>
                    <a:lnTo>
                      <a:pt x="129" y="117"/>
                    </a:lnTo>
                    <a:lnTo>
                      <a:pt x="133" y="122"/>
                    </a:lnTo>
                    <a:lnTo>
                      <a:pt x="133" y="122"/>
                    </a:lnTo>
                    <a:lnTo>
                      <a:pt x="135" y="124"/>
                    </a:lnTo>
                    <a:lnTo>
                      <a:pt x="135" y="125"/>
                    </a:lnTo>
                    <a:close/>
                    <a:moveTo>
                      <a:pt x="125" y="135"/>
                    </a:moveTo>
                    <a:lnTo>
                      <a:pt x="128" y="134"/>
                    </a:lnTo>
                    <a:lnTo>
                      <a:pt x="128" y="132"/>
                    </a:lnTo>
                    <a:lnTo>
                      <a:pt x="126" y="132"/>
                    </a:lnTo>
                    <a:lnTo>
                      <a:pt x="125" y="13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22" name="Freeform 209">
                <a:extLst>
                  <a:ext uri="{FF2B5EF4-FFF2-40B4-BE49-F238E27FC236}">
                    <a16:creationId xmlns:a16="http://schemas.microsoft.com/office/drawing/2014/main" id="{C979D2B1-CBB1-F57F-81D2-49236482DE10}"/>
                  </a:ext>
                </a:extLst>
              </p:cNvPr>
              <p:cNvSpPr>
                <a:spLocks/>
              </p:cNvSpPr>
              <p:nvPr/>
            </p:nvSpPr>
            <p:spPr bwMode="auto">
              <a:xfrm>
                <a:off x="4555" y="3077"/>
                <a:ext cx="9" cy="10"/>
              </a:xfrm>
              <a:custGeom>
                <a:avLst/>
                <a:gdLst>
                  <a:gd name="T0" fmla="*/ 6 w 9"/>
                  <a:gd name="T1" fmla="*/ 0 h 10"/>
                  <a:gd name="T2" fmla="*/ 3 w 9"/>
                  <a:gd name="T3" fmla="*/ 1 h 10"/>
                  <a:gd name="T4" fmla="*/ 0 w 9"/>
                  <a:gd name="T5" fmla="*/ 8 h 10"/>
                  <a:gd name="T6" fmla="*/ 3 w 9"/>
                  <a:gd name="T7" fmla="*/ 10 h 10"/>
                  <a:gd name="T8" fmla="*/ 6 w 9"/>
                  <a:gd name="T9" fmla="*/ 8 h 10"/>
                  <a:gd name="T10" fmla="*/ 9 w 9"/>
                  <a:gd name="T11" fmla="*/ 6 h 10"/>
                  <a:gd name="T12" fmla="*/ 7 w 9"/>
                  <a:gd name="T13" fmla="*/ 3 h 10"/>
                  <a:gd name="T14" fmla="*/ 6 w 9"/>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6" y="0"/>
                    </a:moveTo>
                    <a:lnTo>
                      <a:pt x="3" y="1"/>
                    </a:lnTo>
                    <a:lnTo>
                      <a:pt x="0" y="8"/>
                    </a:lnTo>
                    <a:lnTo>
                      <a:pt x="3" y="10"/>
                    </a:lnTo>
                    <a:lnTo>
                      <a:pt x="6" y="8"/>
                    </a:lnTo>
                    <a:lnTo>
                      <a:pt x="9" y="6"/>
                    </a:lnTo>
                    <a:lnTo>
                      <a:pt x="7" y="3"/>
                    </a:lnTo>
                    <a:lnTo>
                      <a:pt x="6"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23" name="Freeform 210">
                <a:extLst>
                  <a:ext uri="{FF2B5EF4-FFF2-40B4-BE49-F238E27FC236}">
                    <a16:creationId xmlns:a16="http://schemas.microsoft.com/office/drawing/2014/main" id="{866C14DC-4FD7-AFD0-7642-AC1DDD0E0A56}"/>
                  </a:ext>
                </a:extLst>
              </p:cNvPr>
              <p:cNvSpPr>
                <a:spLocks noEditPoints="1"/>
              </p:cNvSpPr>
              <p:nvPr/>
            </p:nvSpPr>
            <p:spPr bwMode="auto">
              <a:xfrm>
                <a:off x="4308" y="2933"/>
                <a:ext cx="126" cy="250"/>
              </a:xfrm>
              <a:custGeom>
                <a:avLst/>
                <a:gdLst>
                  <a:gd name="T0" fmla="*/ 124 w 126"/>
                  <a:gd name="T1" fmla="*/ 68 h 250"/>
                  <a:gd name="T2" fmla="*/ 118 w 126"/>
                  <a:gd name="T3" fmla="*/ 62 h 250"/>
                  <a:gd name="T4" fmla="*/ 114 w 126"/>
                  <a:gd name="T5" fmla="*/ 61 h 250"/>
                  <a:gd name="T6" fmla="*/ 114 w 126"/>
                  <a:gd name="T7" fmla="*/ 68 h 250"/>
                  <a:gd name="T8" fmla="*/ 115 w 126"/>
                  <a:gd name="T9" fmla="*/ 78 h 250"/>
                  <a:gd name="T10" fmla="*/ 114 w 126"/>
                  <a:gd name="T11" fmla="*/ 85 h 250"/>
                  <a:gd name="T12" fmla="*/ 111 w 126"/>
                  <a:gd name="T13" fmla="*/ 88 h 250"/>
                  <a:gd name="T14" fmla="*/ 109 w 126"/>
                  <a:gd name="T15" fmla="*/ 95 h 250"/>
                  <a:gd name="T16" fmla="*/ 70 w 126"/>
                  <a:gd name="T17" fmla="*/ 232 h 250"/>
                  <a:gd name="T18" fmla="*/ 62 w 126"/>
                  <a:gd name="T19" fmla="*/ 242 h 250"/>
                  <a:gd name="T20" fmla="*/ 52 w 126"/>
                  <a:gd name="T21" fmla="*/ 243 h 250"/>
                  <a:gd name="T22" fmla="*/ 39 w 126"/>
                  <a:gd name="T23" fmla="*/ 250 h 250"/>
                  <a:gd name="T24" fmla="*/ 29 w 126"/>
                  <a:gd name="T25" fmla="*/ 247 h 250"/>
                  <a:gd name="T26" fmla="*/ 17 w 126"/>
                  <a:gd name="T27" fmla="*/ 242 h 250"/>
                  <a:gd name="T28" fmla="*/ 13 w 126"/>
                  <a:gd name="T29" fmla="*/ 236 h 250"/>
                  <a:gd name="T30" fmla="*/ 9 w 126"/>
                  <a:gd name="T31" fmla="*/ 227 h 250"/>
                  <a:gd name="T32" fmla="*/ 7 w 126"/>
                  <a:gd name="T33" fmla="*/ 220 h 250"/>
                  <a:gd name="T34" fmla="*/ 7 w 126"/>
                  <a:gd name="T35" fmla="*/ 209 h 250"/>
                  <a:gd name="T36" fmla="*/ 3 w 126"/>
                  <a:gd name="T37" fmla="*/ 198 h 250"/>
                  <a:gd name="T38" fmla="*/ 0 w 126"/>
                  <a:gd name="T39" fmla="*/ 190 h 250"/>
                  <a:gd name="T40" fmla="*/ 2 w 126"/>
                  <a:gd name="T41" fmla="*/ 180 h 250"/>
                  <a:gd name="T42" fmla="*/ 6 w 126"/>
                  <a:gd name="T43" fmla="*/ 168 h 250"/>
                  <a:gd name="T44" fmla="*/ 14 w 126"/>
                  <a:gd name="T45" fmla="*/ 157 h 250"/>
                  <a:gd name="T46" fmla="*/ 20 w 126"/>
                  <a:gd name="T47" fmla="*/ 142 h 250"/>
                  <a:gd name="T48" fmla="*/ 20 w 126"/>
                  <a:gd name="T49" fmla="*/ 134 h 250"/>
                  <a:gd name="T50" fmla="*/ 16 w 126"/>
                  <a:gd name="T51" fmla="*/ 118 h 250"/>
                  <a:gd name="T52" fmla="*/ 13 w 126"/>
                  <a:gd name="T53" fmla="*/ 96 h 250"/>
                  <a:gd name="T54" fmla="*/ 20 w 126"/>
                  <a:gd name="T55" fmla="*/ 84 h 250"/>
                  <a:gd name="T56" fmla="*/ 22 w 126"/>
                  <a:gd name="T57" fmla="*/ 75 h 250"/>
                  <a:gd name="T58" fmla="*/ 29 w 126"/>
                  <a:gd name="T59" fmla="*/ 73 h 250"/>
                  <a:gd name="T60" fmla="*/ 36 w 126"/>
                  <a:gd name="T61" fmla="*/ 69 h 250"/>
                  <a:gd name="T62" fmla="*/ 42 w 126"/>
                  <a:gd name="T63" fmla="*/ 69 h 250"/>
                  <a:gd name="T64" fmla="*/ 45 w 126"/>
                  <a:gd name="T65" fmla="*/ 66 h 250"/>
                  <a:gd name="T66" fmla="*/ 50 w 126"/>
                  <a:gd name="T67" fmla="*/ 65 h 250"/>
                  <a:gd name="T68" fmla="*/ 53 w 126"/>
                  <a:gd name="T69" fmla="*/ 68 h 250"/>
                  <a:gd name="T70" fmla="*/ 55 w 126"/>
                  <a:gd name="T71" fmla="*/ 63 h 250"/>
                  <a:gd name="T72" fmla="*/ 66 w 126"/>
                  <a:gd name="T73" fmla="*/ 61 h 250"/>
                  <a:gd name="T74" fmla="*/ 68 w 126"/>
                  <a:gd name="T75" fmla="*/ 56 h 250"/>
                  <a:gd name="T76" fmla="*/ 70 w 126"/>
                  <a:gd name="T77" fmla="*/ 50 h 250"/>
                  <a:gd name="T78" fmla="*/ 75 w 126"/>
                  <a:gd name="T79" fmla="*/ 48 h 250"/>
                  <a:gd name="T80" fmla="*/ 75 w 126"/>
                  <a:gd name="T81" fmla="*/ 52 h 250"/>
                  <a:gd name="T82" fmla="*/ 79 w 126"/>
                  <a:gd name="T83" fmla="*/ 45 h 250"/>
                  <a:gd name="T84" fmla="*/ 81 w 126"/>
                  <a:gd name="T85" fmla="*/ 40 h 250"/>
                  <a:gd name="T86" fmla="*/ 82 w 126"/>
                  <a:gd name="T87" fmla="*/ 33 h 250"/>
                  <a:gd name="T88" fmla="*/ 83 w 126"/>
                  <a:gd name="T89" fmla="*/ 27 h 250"/>
                  <a:gd name="T90" fmla="*/ 85 w 126"/>
                  <a:gd name="T91" fmla="*/ 27 h 250"/>
                  <a:gd name="T92" fmla="*/ 89 w 126"/>
                  <a:gd name="T93" fmla="*/ 27 h 250"/>
                  <a:gd name="T94" fmla="*/ 98 w 126"/>
                  <a:gd name="T95" fmla="*/ 19 h 250"/>
                  <a:gd name="T96" fmla="*/ 99 w 126"/>
                  <a:gd name="T97" fmla="*/ 12 h 250"/>
                  <a:gd name="T98" fmla="*/ 98 w 126"/>
                  <a:gd name="T99" fmla="*/ 6 h 250"/>
                  <a:gd name="T100" fmla="*/ 105 w 126"/>
                  <a:gd name="T101" fmla="*/ 0 h 250"/>
                  <a:gd name="T102" fmla="*/ 109 w 126"/>
                  <a:gd name="T103" fmla="*/ 4 h 250"/>
                  <a:gd name="T104" fmla="*/ 118 w 126"/>
                  <a:gd name="T105" fmla="*/ 17 h 250"/>
                  <a:gd name="T106" fmla="*/ 122 w 126"/>
                  <a:gd name="T107" fmla="*/ 43 h 250"/>
                  <a:gd name="T108" fmla="*/ 116 w 126"/>
                  <a:gd name="T109" fmla="*/ 86 h 250"/>
                  <a:gd name="T110" fmla="*/ 118 w 126"/>
                  <a:gd name="T111" fmla="*/ 86 h 250"/>
                  <a:gd name="T112" fmla="*/ 116 w 126"/>
                  <a:gd name="T113" fmla="*/ 86 h 250"/>
                  <a:gd name="T114" fmla="*/ 88 w 126"/>
                  <a:gd name="T115" fmla="*/ 19 h 250"/>
                  <a:gd name="T116" fmla="*/ 88 w 126"/>
                  <a:gd name="T117" fmla="*/ 22 h 250"/>
                  <a:gd name="T118" fmla="*/ 89 w 126"/>
                  <a:gd name="T119" fmla="*/ 22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250">
                    <a:moveTo>
                      <a:pt x="126" y="58"/>
                    </a:moveTo>
                    <a:lnTo>
                      <a:pt x="126" y="63"/>
                    </a:lnTo>
                    <a:lnTo>
                      <a:pt x="124" y="68"/>
                    </a:lnTo>
                    <a:lnTo>
                      <a:pt x="121" y="69"/>
                    </a:lnTo>
                    <a:lnTo>
                      <a:pt x="119" y="68"/>
                    </a:lnTo>
                    <a:lnTo>
                      <a:pt x="118" y="62"/>
                    </a:lnTo>
                    <a:lnTo>
                      <a:pt x="116" y="61"/>
                    </a:lnTo>
                    <a:lnTo>
                      <a:pt x="115" y="61"/>
                    </a:lnTo>
                    <a:lnTo>
                      <a:pt x="114" y="61"/>
                    </a:lnTo>
                    <a:lnTo>
                      <a:pt x="112" y="62"/>
                    </a:lnTo>
                    <a:lnTo>
                      <a:pt x="112" y="65"/>
                    </a:lnTo>
                    <a:lnTo>
                      <a:pt x="114" y="68"/>
                    </a:lnTo>
                    <a:lnTo>
                      <a:pt x="115" y="73"/>
                    </a:lnTo>
                    <a:lnTo>
                      <a:pt x="115" y="76"/>
                    </a:lnTo>
                    <a:lnTo>
                      <a:pt x="115" y="78"/>
                    </a:lnTo>
                    <a:lnTo>
                      <a:pt x="115" y="81"/>
                    </a:lnTo>
                    <a:lnTo>
                      <a:pt x="114" y="84"/>
                    </a:lnTo>
                    <a:lnTo>
                      <a:pt x="114" y="85"/>
                    </a:lnTo>
                    <a:lnTo>
                      <a:pt x="114" y="86"/>
                    </a:lnTo>
                    <a:lnTo>
                      <a:pt x="112" y="86"/>
                    </a:lnTo>
                    <a:lnTo>
                      <a:pt x="111" y="88"/>
                    </a:lnTo>
                    <a:lnTo>
                      <a:pt x="111" y="89"/>
                    </a:lnTo>
                    <a:lnTo>
                      <a:pt x="109" y="92"/>
                    </a:lnTo>
                    <a:lnTo>
                      <a:pt x="109" y="95"/>
                    </a:lnTo>
                    <a:lnTo>
                      <a:pt x="109" y="101"/>
                    </a:lnTo>
                    <a:lnTo>
                      <a:pt x="109" y="108"/>
                    </a:lnTo>
                    <a:lnTo>
                      <a:pt x="70" y="232"/>
                    </a:lnTo>
                    <a:lnTo>
                      <a:pt x="69" y="236"/>
                    </a:lnTo>
                    <a:lnTo>
                      <a:pt x="65" y="240"/>
                    </a:lnTo>
                    <a:lnTo>
                      <a:pt x="62" y="242"/>
                    </a:lnTo>
                    <a:lnTo>
                      <a:pt x="59" y="243"/>
                    </a:lnTo>
                    <a:lnTo>
                      <a:pt x="55" y="243"/>
                    </a:lnTo>
                    <a:lnTo>
                      <a:pt x="52" y="243"/>
                    </a:lnTo>
                    <a:lnTo>
                      <a:pt x="49" y="244"/>
                    </a:lnTo>
                    <a:lnTo>
                      <a:pt x="42" y="249"/>
                    </a:lnTo>
                    <a:lnTo>
                      <a:pt x="39" y="250"/>
                    </a:lnTo>
                    <a:lnTo>
                      <a:pt x="36" y="250"/>
                    </a:lnTo>
                    <a:lnTo>
                      <a:pt x="33" y="250"/>
                    </a:lnTo>
                    <a:lnTo>
                      <a:pt x="29" y="247"/>
                    </a:lnTo>
                    <a:lnTo>
                      <a:pt x="22" y="244"/>
                    </a:lnTo>
                    <a:lnTo>
                      <a:pt x="19" y="243"/>
                    </a:lnTo>
                    <a:lnTo>
                      <a:pt x="17" y="242"/>
                    </a:lnTo>
                    <a:lnTo>
                      <a:pt x="14" y="240"/>
                    </a:lnTo>
                    <a:lnTo>
                      <a:pt x="13" y="239"/>
                    </a:lnTo>
                    <a:lnTo>
                      <a:pt x="13" y="236"/>
                    </a:lnTo>
                    <a:lnTo>
                      <a:pt x="12" y="232"/>
                    </a:lnTo>
                    <a:lnTo>
                      <a:pt x="10" y="230"/>
                    </a:lnTo>
                    <a:lnTo>
                      <a:pt x="9" y="227"/>
                    </a:lnTo>
                    <a:lnTo>
                      <a:pt x="7" y="226"/>
                    </a:lnTo>
                    <a:lnTo>
                      <a:pt x="7" y="223"/>
                    </a:lnTo>
                    <a:lnTo>
                      <a:pt x="7" y="220"/>
                    </a:lnTo>
                    <a:lnTo>
                      <a:pt x="7" y="217"/>
                    </a:lnTo>
                    <a:lnTo>
                      <a:pt x="7" y="211"/>
                    </a:lnTo>
                    <a:lnTo>
                      <a:pt x="7" y="209"/>
                    </a:lnTo>
                    <a:lnTo>
                      <a:pt x="7" y="206"/>
                    </a:lnTo>
                    <a:lnTo>
                      <a:pt x="6" y="203"/>
                    </a:lnTo>
                    <a:lnTo>
                      <a:pt x="3" y="198"/>
                    </a:lnTo>
                    <a:lnTo>
                      <a:pt x="2" y="196"/>
                    </a:lnTo>
                    <a:lnTo>
                      <a:pt x="0" y="193"/>
                    </a:lnTo>
                    <a:lnTo>
                      <a:pt x="0" y="190"/>
                    </a:lnTo>
                    <a:lnTo>
                      <a:pt x="0" y="187"/>
                    </a:lnTo>
                    <a:lnTo>
                      <a:pt x="0" y="183"/>
                    </a:lnTo>
                    <a:lnTo>
                      <a:pt x="2" y="180"/>
                    </a:lnTo>
                    <a:lnTo>
                      <a:pt x="3" y="171"/>
                    </a:lnTo>
                    <a:lnTo>
                      <a:pt x="4" y="170"/>
                    </a:lnTo>
                    <a:lnTo>
                      <a:pt x="6" y="168"/>
                    </a:lnTo>
                    <a:lnTo>
                      <a:pt x="9" y="165"/>
                    </a:lnTo>
                    <a:lnTo>
                      <a:pt x="10" y="164"/>
                    </a:lnTo>
                    <a:lnTo>
                      <a:pt x="14" y="157"/>
                    </a:lnTo>
                    <a:lnTo>
                      <a:pt x="17" y="151"/>
                    </a:lnTo>
                    <a:lnTo>
                      <a:pt x="19" y="147"/>
                    </a:lnTo>
                    <a:lnTo>
                      <a:pt x="20" y="142"/>
                    </a:lnTo>
                    <a:lnTo>
                      <a:pt x="20" y="138"/>
                    </a:lnTo>
                    <a:lnTo>
                      <a:pt x="22" y="135"/>
                    </a:lnTo>
                    <a:lnTo>
                      <a:pt x="20" y="134"/>
                    </a:lnTo>
                    <a:lnTo>
                      <a:pt x="20" y="132"/>
                    </a:lnTo>
                    <a:lnTo>
                      <a:pt x="19" y="127"/>
                    </a:lnTo>
                    <a:lnTo>
                      <a:pt x="16" y="118"/>
                    </a:lnTo>
                    <a:lnTo>
                      <a:pt x="14" y="109"/>
                    </a:lnTo>
                    <a:lnTo>
                      <a:pt x="13" y="98"/>
                    </a:lnTo>
                    <a:lnTo>
                      <a:pt x="13" y="96"/>
                    </a:lnTo>
                    <a:lnTo>
                      <a:pt x="13" y="94"/>
                    </a:lnTo>
                    <a:lnTo>
                      <a:pt x="19" y="85"/>
                    </a:lnTo>
                    <a:lnTo>
                      <a:pt x="20" y="84"/>
                    </a:lnTo>
                    <a:lnTo>
                      <a:pt x="20" y="81"/>
                    </a:lnTo>
                    <a:lnTo>
                      <a:pt x="20" y="76"/>
                    </a:lnTo>
                    <a:lnTo>
                      <a:pt x="22" y="75"/>
                    </a:lnTo>
                    <a:lnTo>
                      <a:pt x="22" y="73"/>
                    </a:lnTo>
                    <a:lnTo>
                      <a:pt x="23" y="73"/>
                    </a:lnTo>
                    <a:lnTo>
                      <a:pt x="29" y="73"/>
                    </a:lnTo>
                    <a:lnTo>
                      <a:pt x="30" y="72"/>
                    </a:lnTo>
                    <a:lnTo>
                      <a:pt x="35" y="71"/>
                    </a:lnTo>
                    <a:lnTo>
                      <a:pt x="36" y="69"/>
                    </a:lnTo>
                    <a:lnTo>
                      <a:pt x="37" y="71"/>
                    </a:lnTo>
                    <a:lnTo>
                      <a:pt x="40" y="71"/>
                    </a:lnTo>
                    <a:lnTo>
                      <a:pt x="42" y="69"/>
                    </a:lnTo>
                    <a:lnTo>
                      <a:pt x="42" y="69"/>
                    </a:lnTo>
                    <a:lnTo>
                      <a:pt x="43" y="68"/>
                    </a:lnTo>
                    <a:lnTo>
                      <a:pt x="45" y="66"/>
                    </a:lnTo>
                    <a:lnTo>
                      <a:pt x="46" y="66"/>
                    </a:lnTo>
                    <a:lnTo>
                      <a:pt x="47" y="66"/>
                    </a:lnTo>
                    <a:lnTo>
                      <a:pt x="50" y="65"/>
                    </a:lnTo>
                    <a:lnTo>
                      <a:pt x="52" y="65"/>
                    </a:lnTo>
                    <a:lnTo>
                      <a:pt x="53" y="66"/>
                    </a:lnTo>
                    <a:lnTo>
                      <a:pt x="53" y="68"/>
                    </a:lnTo>
                    <a:lnTo>
                      <a:pt x="55" y="68"/>
                    </a:lnTo>
                    <a:lnTo>
                      <a:pt x="56" y="68"/>
                    </a:lnTo>
                    <a:lnTo>
                      <a:pt x="55" y="63"/>
                    </a:lnTo>
                    <a:lnTo>
                      <a:pt x="59" y="59"/>
                    </a:lnTo>
                    <a:lnTo>
                      <a:pt x="65" y="56"/>
                    </a:lnTo>
                    <a:lnTo>
                      <a:pt x="66" y="61"/>
                    </a:lnTo>
                    <a:lnTo>
                      <a:pt x="68" y="59"/>
                    </a:lnTo>
                    <a:lnTo>
                      <a:pt x="68" y="58"/>
                    </a:lnTo>
                    <a:lnTo>
                      <a:pt x="68" y="56"/>
                    </a:lnTo>
                    <a:lnTo>
                      <a:pt x="68" y="55"/>
                    </a:lnTo>
                    <a:lnTo>
                      <a:pt x="69" y="53"/>
                    </a:lnTo>
                    <a:lnTo>
                      <a:pt x="70" y="50"/>
                    </a:lnTo>
                    <a:lnTo>
                      <a:pt x="73" y="48"/>
                    </a:lnTo>
                    <a:lnTo>
                      <a:pt x="75" y="46"/>
                    </a:lnTo>
                    <a:lnTo>
                      <a:pt x="75" y="48"/>
                    </a:lnTo>
                    <a:lnTo>
                      <a:pt x="73" y="50"/>
                    </a:lnTo>
                    <a:lnTo>
                      <a:pt x="73" y="52"/>
                    </a:lnTo>
                    <a:lnTo>
                      <a:pt x="75" y="52"/>
                    </a:lnTo>
                    <a:lnTo>
                      <a:pt x="78" y="49"/>
                    </a:lnTo>
                    <a:lnTo>
                      <a:pt x="78" y="48"/>
                    </a:lnTo>
                    <a:lnTo>
                      <a:pt x="79" y="45"/>
                    </a:lnTo>
                    <a:lnTo>
                      <a:pt x="83" y="46"/>
                    </a:lnTo>
                    <a:lnTo>
                      <a:pt x="81" y="43"/>
                    </a:lnTo>
                    <a:lnTo>
                      <a:pt x="81" y="40"/>
                    </a:lnTo>
                    <a:lnTo>
                      <a:pt x="82" y="38"/>
                    </a:lnTo>
                    <a:lnTo>
                      <a:pt x="83" y="35"/>
                    </a:lnTo>
                    <a:lnTo>
                      <a:pt x="82" y="33"/>
                    </a:lnTo>
                    <a:lnTo>
                      <a:pt x="82" y="30"/>
                    </a:lnTo>
                    <a:lnTo>
                      <a:pt x="82" y="29"/>
                    </a:lnTo>
                    <a:lnTo>
                      <a:pt x="83" y="27"/>
                    </a:lnTo>
                    <a:lnTo>
                      <a:pt x="85" y="26"/>
                    </a:lnTo>
                    <a:lnTo>
                      <a:pt x="85" y="27"/>
                    </a:lnTo>
                    <a:lnTo>
                      <a:pt x="85" y="27"/>
                    </a:lnTo>
                    <a:lnTo>
                      <a:pt x="86" y="27"/>
                    </a:lnTo>
                    <a:lnTo>
                      <a:pt x="88" y="27"/>
                    </a:lnTo>
                    <a:lnTo>
                      <a:pt x="89" y="27"/>
                    </a:lnTo>
                    <a:lnTo>
                      <a:pt x="91" y="25"/>
                    </a:lnTo>
                    <a:lnTo>
                      <a:pt x="96" y="20"/>
                    </a:lnTo>
                    <a:lnTo>
                      <a:pt x="98" y="19"/>
                    </a:lnTo>
                    <a:lnTo>
                      <a:pt x="99" y="15"/>
                    </a:lnTo>
                    <a:lnTo>
                      <a:pt x="99" y="13"/>
                    </a:lnTo>
                    <a:lnTo>
                      <a:pt x="99" y="12"/>
                    </a:lnTo>
                    <a:lnTo>
                      <a:pt x="98" y="6"/>
                    </a:lnTo>
                    <a:lnTo>
                      <a:pt x="98" y="6"/>
                    </a:lnTo>
                    <a:lnTo>
                      <a:pt x="98" y="6"/>
                    </a:lnTo>
                    <a:lnTo>
                      <a:pt x="99" y="6"/>
                    </a:lnTo>
                    <a:lnTo>
                      <a:pt x="102" y="2"/>
                    </a:lnTo>
                    <a:lnTo>
                      <a:pt x="105" y="0"/>
                    </a:lnTo>
                    <a:lnTo>
                      <a:pt x="106" y="0"/>
                    </a:lnTo>
                    <a:lnTo>
                      <a:pt x="108" y="2"/>
                    </a:lnTo>
                    <a:lnTo>
                      <a:pt x="109" y="4"/>
                    </a:lnTo>
                    <a:lnTo>
                      <a:pt x="112" y="9"/>
                    </a:lnTo>
                    <a:lnTo>
                      <a:pt x="116" y="15"/>
                    </a:lnTo>
                    <a:lnTo>
                      <a:pt x="118" y="17"/>
                    </a:lnTo>
                    <a:lnTo>
                      <a:pt x="121" y="30"/>
                    </a:lnTo>
                    <a:lnTo>
                      <a:pt x="122" y="35"/>
                    </a:lnTo>
                    <a:lnTo>
                      <a:pt x="122" y="43"/>
                    </a:lnTo>
                    <a:lnTo>
                      <a:pt x="122" y="46"/>
                    </a:lnTo>
                    <a:lnTo>
                      <a:pt x="126" y="58"/>
                    </a:lnTo>
                    <a:close/>
                    <a:moveTo>
                      <a:pt x="116" y="86"/>
                    </a:moveTo>
                    <a:lnTo>
                      <a:pt x="116" y="88"/>
                    </a:lnTo>
                    <a:lnTo>
                      <a:pt x="115" y="89"/>
                    </a:lnTo>
                    <a:lnTo>
                      <a:pt x="118" y="86"/>
                    </a:lnTo>
                    <a:lnTo>
                      <a:pt x="119" y="82"/>
                    </a:lnTo>
                    <a:lnTo>
                      <a:pt x="118" y="84"/>
                    </a:lnTo>
                    <a:lnTo>
                      <a:pt x="116" y="86"/>
                    </a:lnTo>
                    <a:close/>
                    <a:moveTo>
                      <a:pt x="89" y="20"/>
                    </a:moveTo>
                    <a:lnTo>
                      <a:pt x="89" y="19"/>
                    </a:lnTo>
                    <a:lnTo>
                      <a:pt x="88" y="19"/>
                    </a:lnTo>
                    <a:lnTo>
                      <a:pt x="86" y="20"/>
                    </a:lnTo>
                    <a:lnTo>
                      <a:pt x="86" y="22"/>
                    </a:lnTo>
                    <a:lnTo>
                      <a:pt x="88" y="22"/>
                    </a:lnTo>
                    <a:lnTo>
                      <a:pt x="88" y="23"/>
                    </a:lnTo>
                    <a:lnTo>
                      <a:pt x="89" y="23"/>
                    </a:lnTo>
                    <a:lnTo>
                      <a:pt x="89" y="22"/>
                    </a:lnTo>
                    <a:lnTo>
                      <a:pt x="89" y="20"/>
                    </a:lnTo>
                    <a:lnTo>
                      <a:pt x="89" y="2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24" name="Freeform 211">
                <a:extLst>
                  <a:ext uri="{FF2B5EF4-FFF2-40B4-BE49-F238E27FC236}">
                    <a16:creationId xmlns:a16="http://schemas.microsoft.com/office/drawing/2014/main" id="{D0FF0ACE-467D-3ACE-5AA6-FE9AE9AF633F}"/>
                  </a:ext>
                </a:extLst>
              </p:cNvPr>
              <p:cNvSpPr>
                <a:spLocks/>
              </p:cNvSpPr>
              <p:nvPr/>
            </p:nvSpPr>
            <p:spPr bwMode="auto">
              <a:xfrm>
                <a:off x="4519" y="3094"/>
                <a:ext cx="10" cy="9"/>
              </a:xfrm>
              <a:custGeom>
                <a:avLst/>
                <a:gdLst>
                  <a:gd name="T0" fmla="*/ 5 w 10"/>
                  <a:gd name="T1" fmla="*/ 0 h 9"/>
                  <a:gd name="T2" fmla="*/ 2 w 10"/>
                  <a:gd name="T3" fmla="*/ 0 h 9"/>
                  <a:gd name="T4" fmla="*/ 0 w 10"/>
                  <a:gd name="T5" fmla="*/ 3 h 9"/>
                  <a:gd name="T6" fmla="*/ 2 w 10"/>
                  <a:gd name="T7" fmla="*/ 6 h 9"/>
                  <a:gd name="T8" fmla="*/ 6 w 10"/>
                  <a:gd name="T9" fmla="*/ 9 h 9"/>
                  <a:gd name="T10" fmla="*/ 9 w 10"/>
                  <a:gd name="T11" fmla="*/ 9 h 9"/>
                  <a:gd name="T12" fmla="*/ 10 w 10"/>
                  <a:gd name="T13" fmla="*/ 4 h 9"/>
                  <a:gd name="T14" fmla="*/ 9 w 10"/>
                  <a:gd name="T15" fmla="*/ 2 h 9"/>
                  <a:gd name="T16" fmla="*/ 5 w 10"/>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9">
                    <a:moveTo>
                      <a:pt x="5" y="0"/>
                    </a:moveTo>
                    <a:lnTo>
                      <a:pt x="2" y="0"/>
                    </a:lnTo>
                    <a:lnTo>
                      <a:pt x="0" y="3"/>
                    </a:lnTo>
                    <a:lnTo>
                      <a:pt x="2" y="6"/>
                    </a:lnTo>
                    <a:lnTo>
                      <a:pt x="6" y="9"/>
                    </a:lnTo>
                    <a:lnTo>
                      <a:pt x="9" y="9"/>
                    </a:lnTo>
                    <a:lnTo>
                      <a:pt x="10" y="4"/>
                    </a:lnTo>
                    <a:lnTo>
                      <a:pt x="9" y="2"/>
                    </a:lnTo>
                    <a:lnTo>
                      <a:pt x="5"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25" name="Freeform 212">
                <a:extLst>
                  <a:ext uri="{FF2B5EF4-FFF2-40B4-BE49-F238E27FC236}">
                    <a16:creationId xmlns:a16="http://schemas.microsoft.com/office/drawing/2014/main" id="{5131BDE6-8AF5-F998-C643-E32FD090F963}"/>
                  </a:ext>
                </a:extLst>
              </p:cNvPr>
              <p:cNvSpPr>
                <a:spLocks noEditPoints="1"/>
              </p:cNvSpPr>
              <p:nvPr/>
            </p:nvSpPr>
            <p:spPr bwMode="auto">
              <a:xfrm>
                <a:off x="3314" y="2541"/>
                <a:ext cx="52" cy="54"/>
              </a:xfrm>
              <a:custGeom>
                <a:avLst/>
                <a:gdLst>
                  <a:gd name="T0" fmla="*/ 30 w 52"/>
                  <a:gd name="T1" fmla="*/ 54 h 54"/>
                  <a:gd name="T2" fmla="*/ 25 w 52"/>
                  <a:gd name="T3" fmla="*/ 50 h 54"/>
                  <a:gd name="T4" fmla="*/ 15 w 52"/>
                  <a:gd name="T5" fmla="*/ 46 h 54"/>
                  <a:gd name="T6" fmla="*/ 15 w 52"/>
                  <a:gd name="T7" fmla="*/ 40 h 54"/>
                  <a:gd name="T8" fmla="*/ 10 w 52"/>
                  <a:gd name="T9" fmla="*/ 40 h 54"/>
                  <a:gd name="T10" fmla="*/ 7 w 52"/>
                  <a:gd name="T11" fmla="*/ 39 h 54"/>
                  <a:gd name="T12" fmla="*/ 6 w 52"/>
                  <a:gd name="T13" fmla="*/ 34 h 54"/>
                  <a:gd name="T14" fmla="*/ 5 w 52"/>
                  <a:gd name="T15" fmla="*/ 33 h 54"/>
                  <a:gd name="T16" fmla="*/ 3 w 52"/>
                  <a:gd name="T17" fmla="*/ 31 h 54"/>
                  <a:gd name="T18" fmla="*/ 2 w 52"/>
                  <a:gd name="T19" fmla="*/ 30 h 54"/>
                  <a:gd name="T20" fmla="*/ 0 w 52"/>
                  <a:gd name="T21" fmla="*/ 29 h 54"/>
                  <a:gd name="T22" fmla="*/ 0 w 52"/>
                  <a:gd name="T23" fmla="*/ 27 h 54"/>
                  <a:gd name="T24" fmla="*/ 2 w 52"/>
                  <a:gd name="T25" fmla="*/ 27 h 54"/>
                  <a:gd name="T26" fmla="*/ 3 w 52"/>
                  <a:gd name="T27" fmla="*/ 27 h 54"/>
                  <a:gd name="T28" fmla="*/ 3 w 52"/>
                  <a:gd name="T29" fmla="*/ 29 h 54"/>
                  <a:gd name="T30" fmla="*/ 5 w 52"/>
                  <a:gd name="T31" fmla="*/ 27 h 54"/>
                  <a:gd name="T32" fmla="*/ 6 w 52"/>
                  <a:gd name="T33" fmla="*/ 26 h 54"/>
                  <a:gd name="T34" fmla="*/ 6 w 52"/>
                  <a:gd name="T35" fmla="*/ 24 h 54"/>
                  <a:gd name="T36" fmla="*/ 6 w 52"/>
                  <a:gd name="T37" fmla="*/ 24 h 54"/>
                  <a:gd name="T38" fmla="*/ 2 w 52"/>
                  <a:gd name="T39" fmla="*/ 24 h 54"/>
                  <a:gd name="T40" fmla="*/ 0 w 52"/>
                  <a:gd name="T41" fmla="*/ 23 h 54"/>
                  <a:gd name="T42" fmla="*/ 2 w 52"/>
                  <a:gd name="T43" fmla="*/ 20 h 54"/>
                  <a:gd name="T44" fmla="*/ 3 w 52"/>
                  <a:gd name="T45" fmla="*/ 20 h 54"/>
                  <a:gd name="T46" fmla="*/ 0 w 52"/>
                  <a:gd name="T47" fmla="*/ 18 h 54"/>
                  <a:gd name="T48" fmla="*/ 2 w 52"/>
                  <a:gd name="T49" fmla="*/ 17 h 54"/>
                  <a:gd name="T50" fmla="*/ 5 w 52"/>
                  <a:gd name="T51" fmla="*/ 14 h 54"/>
                  <a:gd name="T52" fmla="*/ 6 w 52"/>
                  <a:gd name="T53" fmla="*/ 13 h 54"/>
                  <a:gd name="T54" fmla="*/ 9 w 52"/>
                  <a:gd name="T55" fmla="*/ 11 h 54"/>
                  <a:gd name="T56" fmla="*/ 10 w 52"/>
                  <a:gd name="T57" fmla="*/ 8 h 54"/>
                  <a:gd name="T58" fmla="*/ 13 w 52"/>
                  <a:gd name="T59" fmla="*/ 3 h 54"/>
                  <a:gd name="T60" fmla="*/ 18 w 52"/>
                  <a:gd name="T61" fmla="*/ 1 h 54"/>
                  <a:gd name="T62" fmla="*/ 20 w 52"/>
                  <a:gd name="T63" fmla="*/ 1 h 54"/>
                  <a:gd name="T64" fmla="*/ 23 w 52"/>
                  <a:gd name="T65" fmla="*/ 1 h 54"/>
                  <a:gd name="T66" fmla="*/ 25 w 52"/>
                  <a:gd name="T67" fmla="*/ 1 h 54"/>
                  <a:gd name="T68" fmla="*/ 25 w 52"/>
                  <a:gd name="T69" fmla="*/ 0 h 54"/>
                  <a:gd name="T70" fmla="*/ 28 w 52"/>
                  <a:gd name="T71" fmla="*/ 0 h 54"/>
                  <a:gd name="T72" fmla="*/ 33 w 52"/>
                  <a:gd name="T73" fmla="*/ 0 h 54"/>
                  <a:gd name="T74" fmla="*/ 38 w 52"/>
                  <a:gd name="T75" fmla="*/ 3 h 54"/>
                  <a:gd name="T76" fmla="*/ 45 w 52"/>
                  <a:gd name="T77" fmla="*/ 10 h 54"/>
                  <a:gd name="T78" fmla="*/ 46 w 52"/>
                  <a:gd name="T79" fmla="*/ 13 h 54"/>
                  <a:gd name="T80" fmla="*/ 45 w 52"/>
                  <a:gd name="T81" fmla="*/ 16 h 54"/>
                  <a:gd name="T82" fmla="*/ 46 w 52"/>
                  <a:gd name="T83" fmla="*/ 17 h 54"/>
                  <a:gd name="T84" fmla="*/ 48 w 52"/>
                  <a:gd name="T85" fmla="*/ 18 h 54"/>
                  <a:gd name="T86" fmla="*/ 48 w 52"/>
                  <a:gd name="T87" fmla="*/ 20 h 54"/>
                  <a:gd name="T88" fmla="*/ 48 w 52"/>
                  <a:gd name="T89" fmla="*/ 24 h 54"/>
                  <a:gd name="T90" fmla="*/ 48 w 52"/>
                  <a:gd name="T91" fmla="*/ 30 h 54"/>
                  <a:gd name="T92" fmla="*/ 52 w 52"/>
                  <a:gd name="T93" fmla="*/ 27 h 54"/>
                  <a:gd name="T94" fmla="*/ 52 w 52"/>
                  <a:gd name="T95" fmla="*/ 30 h 54"/>
                  <a:gd name="T96" fmla="*/ 51 w 52"/>
                  <a:gd name="T97" fmla="*/ 31 h 54"/>
                  <a:gd name="T98" fmla="*/ 49 w 52"/>
                  <a:gd name="T99" fmla="*/ 33 h 54"/>
                  <a:gd name="T100" fmla="*/ 46 w 52"/>
                  <a:gd name="T101" fmla="*/ 39 h 54"/>
                  <a:gd name="T102" fmla="*/ 43 w 52"/>
                  <a:gd name="T103" fmla="*/ 43 h 54"/>
                  <a:gd name="T104" fmla="*/ 36 w 52"/>
                  <a:gd name="T105" fmla="*/ 49 h 54"/>
                  <a:gd name="T106" fmla="*/ 10 w 52"/>
                  <a:gd name="T107" fmla="*/ 41 h 54"/>
                  <a:gd name="T108" fmla="*/ 6 w 52"/>
                  <a:gd name="T109" fmla="*/ 43 h 54"/>
                  <a:gd name="T110" fmla="*/ 12 w 52"/>
                  <a:gd name="T111" fmla="*/ 44 h 54"/>
                  <a:gd name="T112" fmla="*/ 13 w 52"/>
                  <a:gd name="T113" fmla="*/ 44 h 54"/>
                  <a:gd name="T114" fmla="*/ 13 w 52"/>
                  <a:gd name="T115" fmla="*/ 44 h 54"/>
                  <a:gd name="T116" fmla="*/ 10 w 52"/>
                  <a:gd name="T11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 h="54">
                    <a:moveTo>
                      <a:pt x="33" y="53"/>
                    </a:moveTo>
                    <a:lnTo>
                      <a:pt x="30" y="54"/>
                    </a:lnTo>
                    <a:lnTo>
                      <a:pt x="29" y="53"/>
                    </a:lnTo>
                    <a:lnTo>
                      <a:pt x="25" y="50"/>
                    </a:lnTo>
                    <a:lnTo>
                      <a:pt x="15" y="46"/>
                    </a:lnTo>
                    <a:lnTo>
                      <a:pt x="15" y="46"/>
                    </a:lnTo>
                    <a:lnTo>
                      <a:pt x="15" y="41"/>
                    </a:lnTo>
                    <a:lnTo>
                      <a:pt x="15" y="40"/>
                    </a:lnTo>
                    <a:lnTo>
                      <a:pt x="12" y="40"/>
                    </a:lnTo>
                    <a:lnTo>
                      <a:pt x="10" y="40"/>
                    </a:lnTo>
                    <a:lnTo>
                      <a:pt x="9" y="40"/>
                    </a:lnTo>
                    <a:lnTo>
                      <a:pt x="7" y="39"/>
                    </a:lnTo>
                    <a:lnTo>
                      <a:pt x="7" y="37"/>
                    </a:lnTo>
                    <a:lnTo>
                      <a:pt x="6" y="34"/>
                    </a:lnTo>
                    <a:lnTo>
                      <a:pt x="6" y="34"/>
                    </a:lnTo>
                    <a:lnTo>
                      <a:pt x="5" y="33"/>
                    </a:lnTo>
                    <a:lnTo>
                      <a:pt x="5" y="33"/>
                    </a:lnTo>
                    <a:lnTo>
                      <a:pt x="3" y="31"/>
                    </a:lnTo>
                    <a:lnTo>
                      <a:pt x="3" y="31"/>
                    </a:lnTo>
                    <a:lnTo>
                      <a:pt x="2" y="30"/>
                    </a:lnTo>
                    <a:lnTo>
                      <a:pt x="0" y="29"/>
                    </a:lnTo>
                    <a:lnTo>
                      <a:pt x="0" y="29"/>
                    </a:lnTo>
                    <a:lnTo>
                      <a:pt x="0" y="27"/>
                    </a:lnTo>
                    <a:lnTo>
                      <a:pt x="0" y="27"/>
                    </a:lnTo>
                    <a:lnTo>
                      <a:pt x="2" y="27"/>
                    </a:lnTo>
                    <a:lnTo>
                      <a:pt x="2" y="27"/>
                    </a:lnTo>
                    <a:lnTo>
                      <a:pt x="2" y="27"/>
                    </a:lnTo>
                    <a:lnTo>
                      <a:pt x="3" y="27"/>
                    </a:lnTo>
                    <a:lnTo>
                      <a:pt x="3" y="27"/>
                    </a:lnTo>
                    <a:lnTo>
                      <a:pt x="3" y="29"/>
                    </a:lnTo>
                    <a:lnTo>
                      <a:pt x="3" y="27"/>
                    </a:lnTo>
                    <a:lnTo>
                      <a:pt x="5" y="27"/>
                    </a:lnTo>
                    <a:lnTo>
                      <a:pt x="5" y="26"/>
                    </a:lnTo>
                    <a:lnTo>
                      <a:pt x="6" y="26"/>
                    </a:lnTo>
                    <a:lnTo>
                      <a:pt x="6" y="26"/>
                    </a:lnTo>
                    <a:lnTo>
                      <a:pt x="6" y="24"/>
                    </a:lnTo>
                    <a:lnTo>
                      <a:pt x="6" y="24"/>
                    </a:lnTo>
                    <a:lnTo>
                      <a:pt x="6" y="24"/>
                    </a:lnTo>
                    <a:lnTo>
                      <a:pt x="3" y="24"/>
                    </a:lnTo>
                    <a:lnTo>
                      <a:pt x="2" y="24"/>
                    </a:lnTo>
                    <a:lnTo>
                      <a:pt x="2" y="24"/>
                    </a:lnTo>
                    <a:lnTo>
                      <a:pt x="0" y="23"/>
                    </a:lnTo>
                    <a:lnTo>
                      <a:pt x="2" y="21"/>
                    </a:lnTo>
                    <a:lnTo>
                      <a:pt x="2" y="20"/>
                    </a:lnTo>
                    <a:lnTo>
                      <a:pt x="3" y="20"/>
                    </a:lnTo>
                    <a:lnTo>
                      <a:pt x="3" y="20"/>
                    </a:lnTo>
                    <a:lnTo>
                      <a:pt x="2" y="18"/>
                    </a:lnTo>
                    <a:lnTo>
                      <a:pt x="0" y="18"/>
                    </a:lnTo>
                    <a:lnTo>
                      <a:pt x="0" y="17"/>
                    </a:lnTo>
                    <a:lnTo>
                      <a:pt x="2" y="17"/>
                    </a:lnTo>
                    <a:lnTo>
                      <a:pt x="3" y="16"/>
                    </a:lnTo>
                    <a:lnTo>
                      <a:pt x="5" y="14"/>
                    </a:lnTo>
                    <a:lnTo>
                      <a:pt x="6" y="13"/>
                    </a:lnTo>
                    <a:lnTo>
                      <a:pt x="6" y="13"/>
                    </a:lnTo>
                    <a:lnTo>
                      <a:pt x="7" y="11"/>
                    </a:lnTo>
                    <a:lnTo>
                      <a:pt x="9" y="11"/>
                    </a:lnTo>
                    <a:lnTo>
                      <a:pt x="10" y="10"/>
                    </a:lnTo>
                    <a:lnTo>
                      <a:pt x="10" y="8"/>
                    </a:lnTo>
                    <a:lnTo>
                      <a:pt x="13" y="4"/>
                    </a:lnTo>
                    <a:lnTo>
                      <a:pt x="13" y="3"/>
                    </a:lnTo>
                    <a:lnTo>
                      <a:pt x="15" y="1"/>
                    </a:lnTo>
                    <a:lnTo>
                      <a:pt x="18" y="1"/>
                    </a:lnTo>
                    <a:lnTo>
                      <a:pt x="19" y="1"/>
                    </a:lnTo>
                    <a:lnTo>
                      <a:pt x="20" y="1"/>
                    </a:lnTo>
                    <a:lnTo>
                      <a:pt x="22" y="1"/>
                    </a:lnTo>
                    <a:lnTo>
                      <a:pt x="23" y="1"/>
                    </a:lnTo>
                    <a:lnTo>
                      <a:pt x="25" y="1"/>
                    </a:lnTo>
                    <a:lnTo>
                      <a:pt x="25" y="1"/>
                    </a:lnTo>
                    <a:lnTo>
                      <a:pt x="25" y="0"/>
                    </a:lnTo>
                    <a:lnTo>
                      <a:pt x="25" y="0"/>
                    </a:lnTo>
                    <a:lnTo>
                      <a:pt x="25" y="0"/>
                    </a:lnTo>
                    <a:lnTo>
                      <a:pt x="28" y="0"/>
                    </a:lnTo>
                    <a:lnTo>
                      <a:pt x="30" y="0"/>
                    </a:lnTo>
                    <a:lnTo>
                      <a:pt x="33" y="0"/>
                    </a:lnTo>
                    <a:lnTo>
                      <a:pt x="36" y="1"/>
                    </a:lnTo>
                    <a:lnTo>
                      <a:pt x="38" y="3"/>
                    </a:lnTo>
                    <a:lnTo>
                      <a:pt x="42" y="7"/>
                    </a:lnTo>
                    <a:lnTo>
                      <a:pt x="45" y="10"/>
                    </a:lnTo>
                    <a:lnTo>
                      <a:pt x="46" y="13"/>
                    </a:lnTo>
                    <a:lnTo>
                      <a:pt x="46" y="13"/>
                    </a:lnTo>
                    <a:lnTo>
                      <a:pt x="45" y="16"/>
                    </a:lnTo>
                    <a:lnTo>
                      <a:pt x="45" y="16"/>
                    </a:lnTo>
                    <a:lnTo>
                      <a:pt x="45" y="16"/>
                    </a:lnTo>
                    <a:lnTo>
                      <a:pt x="46" y="17"/>
                    </a:lnTo>
                    <a:lnTo>
                      <a:pt x="46" y="17"/>
                    </a:lnTo>
                    <a:lnTo>
                      <a:pt x="48" y="18"/>
                    </a:lnTo>
                    <a:lnTo>
                      <a:pt x="46" y="20"/>
                    </a:lnTo>
                    <a:lnTo>
                      <a:pt x="48" y="20"/>
                    </a:lnTo>
                    <a:lnTo>
                      <a:pt x="48" y="23"/>
                    </a:lnTo>
                    <a:lnTo>
                      <a:pt x="48" y="24"/>
                    </a:lnTo>
                    <a:lnTo>
                      <a:pt x="45" y="30"/>
                    </a:lnTo>
                    <a:lnTo>
                      <a:pt x="48" y="30"/>
                    </a:lnTo>
                    <a:lnTo>
                      <a:pt x="51" y="27"/>
                    </a:lnTo>
                    <a:lnTo>
                      <a:pt x="52" y="27"/>
                    </a:lnTo>
                    <a:lnTo>
                      <a:pt x="52" y="29"/>
                    </a:lnTo>
                    <a:lnTo>
                      <a:pt x="52" y="30"/>
                    </a:lnTo>
                    <a:lnTo>
                      <a:pt x="52" y="31"/>
                    </a:lnTo>
                    <a:lnTo>
                      <a:pt x="51" y="31"/>
                    </a:lnTo>
                    <a:lnTo>
                      <a:pt x="49" y="33"/>
                    </a:lnTo>
                    <a:lnTo>
                      <a:pt x="49" y="33"/>
                    </a:lnTo>
                    <a:lnTo>
                      <a:pt x="48" y="34"/>
                    </a:lnTo>
                    <a:lnTo>
                      <a:pt x="46" y="39"/>
                    </a:lnTo>
                    <a:lnTo>
                      <a:pt x="45" y="40"/>
                    </a:lnTo>
                    <a:lnTo>
                      <a:pt x="43" y="43"/>
                    </a:lnTo>
                    <a:lnTo>
                      <a:pt x="38" y="47"/>
                    </a:lnTo>
                    <a:lnTo>
                      <a:pt x="36" y="49"/>
                    </a:lnTo>
                    <a:lnTo>
                      <a:pt x="33" y="53"/>
                    </a:lnTo>
                    <a:close/>
                    <a:moveTo>
                      <a:pt x="10" y="41"/>
                    </a:moveTo>
                    <a:lnTo>
                      <a:pt x="7" y="41"/>
                    </a:lnTo>
                    <a:lnTo>
                      <a:pt x="6" y="43"/>
                    </a:lnTo>
                    <a:lnTo>
                      <a:pt x="9" y="44"/>
                    </a:lnTo>
                    <a:lnTo>
                      <a:pt x="12" y="44"/>
                    </a:lnTo>
                    <a:lnTo>
                      <a:pt x="13" y="46"/>
                    </a:lnTo>
                    <a:lnTo>
                      <a:pt x="13" y="44"/>
                    </a:lnTo>
                    <a:lnTo>
                      <a:pt x="13" y="44"/>
                    </a:lnTo>
                    <a:lnTo>
                      <a:pt x="13" y="44"/>
                    </a:lnTo>
                    <a:lnTo>
                      <a:pt x="12" y="41"/>
                    </a:lnTo>
                    <a:lnTo>
                      <a:pt x="10" y="4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26" name="Freeform 213">
                <a:extLst>
                  <a:ext uri="{FF2B5EF4-FFF2-40B4-BE49-F238E27FC236}">
                    <a16:creationId xmlns:a16="http://schemas.microsoft.com/office/drawing/2014/main" id="{19CAB922-DDBF-2502-4B0A-13AAA64E43E1}"/>
                  </a:ext>
                </a:extLst>
              </p:cNvPr>
              <p:cNvSpPr>
                <a:spLocks noEditPoints="1"/>
              </p:cNvSpPr>
              <p:nvPr/>
            </p:nvSpPr>
            <p:spPr bwMode="auto">
              <a:xfrm>
                <a:off x="3228" y="2180"/>
                <a:ext cx="83" cy="32"/>
              </a:xfrm>
              <a:custGeom>
                <a:avLst/>
                <a:gdLst>
                  <a:gd name="T0" fmla="*/ 76 w 83"/>
                  <a:gd name="T1" fmla="*/ 13 h 32"/>
                  <a:gd name="T2" fmla="*/ 69 w 83"/>
                  <a:gd name="T3" fmla="*/ 22 h 32"/>
                  <a:gd name="T4" fmla="*/ 69 w 83"/>
                  <a:gd name="T5" fmla="*/ 20 h 32"/>
                  <a:gd name="T6" fmla="*/ 75 w 83"/>
                  <a:gd name="T7" fmla="*/ 9 h 32"/>
                  <a:gd name="T8" fmla="*/ 81 w 83"/>
                  <a:gd name="T9" fmla="*/ 6 h 32"/>
                  <a:gd name="T10" fmla="*/ 82 w 83"/>
                  <a:gd name="T11" fmla="*/ 3 h 32"/>
                  <a:gd name="T12" fmla="*/ 83 w 83"/>
                  <a:gd name="T13" fmla="*/ 0 h 32"/>
                  <a:gd name="T14" fmla="*/ 79 w 83"/>
                  <a:gd name="T15" fmla="*/ 1 h 32"/>
                  <a:gd name="T16" fmla="*/ 76 w 83"/>
                  <a:gd name="T17" fmla="*/ 6 h 32"/>
                  <a:gd name="T18" fmla="*/ 78 w 83"/>
                  <a:gd name="T19" fmla="*/ 7 h 32"/>
                  <a:gd name="T20" fmla="*/ 7 w 83"/>
                  <a:gd name="T21" fmla="*/ 7 h 32"/>
                  <a:gd name="T22" fmla="*/ 6 w 83"/>
                  <a:gd name="T23" fmla="*/ 7 h 32"/>
                  <a:gd name="T24" fmla="*/ 3 w 83"/>
                  <a:gd name="T25" fmla="*/ 9 h 32"/>
                  <a:gd name="T26" fmla="*/ 4 w 83"/>
                  <a:gd name="T27" fmla="*/ 13 h 32"/>
                  <a:gd name="T28" fmla="*/ 7 w 83"/>
                  <a:gd name="T29" fmla="*/ 13 h 32"/>
                  <a:gd name="T30" fmla="*/ 7 w 83"/>
                  <a:gd name="T31" fmla="*/ 10 h 32"/>
                  <a:gd name="T32" fmla="*/ 7 w 83"/>
                  <a:gd name="T33" fmla="*/ 7 h 32"/>
                  <a:gd name="T34" fmla="*/ 0 w 83"/>
                  <a:gd name="T35" fmla="*/ 29 h 32"/>
                  <a:gd name="T36" fmla="*/ 2 w 83"/>
                  <a:gd name="T37" fmla="*/ 30 h 32"/>
                  <a:gd name="T38" fmla="*/ 3 w 83"/>
                  <a:gd name="T39" fmla="*/ 32 h 32"/>
                  <a:gd name="T40" fmla="*/ 4 w 83"/>
                  <a:gd name="T41" fmla="*/ 27 h 32"/>
                  <a:gd name="T42" fmla="*/ 43 w 83"/>
                  <a:gd name="T43" fmla="*/ 23 h 32"/>
                  <a:gd name="T44" fmla="*/ 43 w 83"/>
                  <a:gd name="T45" fmla="*/ 27 h 32"/>
                  <a:gd name="T46" fmla="*/ 49 w 83"/>
                  <a:gd name="T47" fmla="*/ 27 h 32"/>
                  <a:gd name="T48" fmla="*/ 48 w 83"/>
                  <a:gd name="T49" fmla="*/ 22 h 32"/>
                  <a:gd name="T50" fmla="*/ 43 w 83"/>
                  <a:gd name="T51" fmla="*/ 23 h 32"/>
                  <a:gd name="T52" fmla="*/ 16 w 83"/>
                  <a:gd name="T53" fmla="*/ 22 h 32"/>
                  <a:gd name="T54" fmla="*/ 16 w 83"/>
                  <a:gd name="T55" fmla="*/ 23 h 32"/>
                  <a:gd name="T56" fmla="*/ 19 w 83"/>
                  <a:gd name="T57" fmla="*/ 23 h 32"/>
                  <a:gd name="T58" fmla="*/ 17 w 83"/>
                  <a:gd name="T59" fmla="*/ 20 h 32"/>
                  <a:gd name="T60" fmla="*/ 27 w 83"/>
                  <a:gd name="T61" fmla="*/ 23 h 32"/>
                  <a:gd name="T62" fmla="*/ 30 w 83"/>
                  <a:gd name="T63" fmla="*/ 22 h 32"/>
                  <a:gd name="T64" fmla="*/ 32 w 83"/>
                  <a:gd name="T65" fmla="*/ 19 h 32"/>
                  <a:gd name="T66" fmla="*/ 33 w 83"/>
                  <a:gd name="T67" fmla="*/ 17 h 32"/>
                  <a:gd name="T68" fmla="*/ 36 w 83"/>
                  <a:gd name="T69" fmla="*/ 13 h 32"/>
                  <a:gd name="T70" fmla="*/ 33 w 83"/>
                  <a:gd name="T71" fmla="*/ 13 h 32"/>
                  <a:gd name="T72" fmla="*/ 27 w 83"/>
                  <a:gd name="T73" fmla="*/ 16 h 32"/>
                  <a:gd name="T74" fmla="*/ 22 w 83"/>
                  <a:gd name="T75" fmla="*/ 17 h 32"/>
                  <a:gd name="T76" fmla="*/ 27 w 83"/>
                  <a:gd name="T77"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32">
                    <a:moveTo>
                      <a:pt x="75" y="9"/>
                    </a:moveTo>
                    <a:lnTo>
                      <a:pt x="76" y="13"/>
                    </a:lnTo>
                    <a:lnTo>
                      <a:pt x="73" y="19"/>
                    </a:lnTo>
                    <a:lnTo>
                      <a:pt x="69" y="22"/>
                    </a:lnTo>
                    <a:lnTo>
                      <a:pt x="65" y="22"/>
                    </a:lnTo>
                    <a:lnTo>
                      <a:pt x="69" y="20"/>
                    </a:lnTo>
                    <a:lnTo>
                      <a:pt x="72" y="12"/>
                    </a:lnTo>
                    <a:lnTo>
                      <a:pt x="75" y="9"/>
                    </a:lnTo>
                    <a:close/>
                    <a:moveTo>
                      <a:pt x="79" y="6"/>
                    </a:moveTo>
                    <a:lnTo>
                      <a:pt x="81" y="6"/>
                    </a:lnTo>
                    <a:lnTo>
                      <a:pt x="82" y="4"/>
                    </a:lnTo>
                    <a:lnTo>
                      <a:pt x="82" y="3"/>
                    </a:lnTo>
                    <a:lnTo>
                      <a:pt x="83" y="3"/>
                    </a:lnTo>
                    <a:lnTo>
                      <a:pt x="83" y="0"/>
                    </a:lnTo>
                    <a:lnTo>
                      <a:pt x="82" y="1"/>
                    </a:lnTo>
                    <a:lnTo>
                      <a:pt x="79" y="1"/>
                    </a:lnTo>
                    <a:lnTo>
                      <a:pt x="76" y="4"/>
                    </a:lnTo>
                    <a:lnTo>
                      <a:pt x="76" y="6"/>
                    </a:lnTo>
                    <a:lnTo>
                      <a:pt x="76" y="7"/>
                    </a:lnTo>
                    <a:lnTo>
                      <a:pt x="78" y="7"/>
                    </a:lnTo>
                    <a:lnTo>
                      <a:pt x="79" y="6"/>
                    </a:lnTo>
                    <a:close/>
                    <a:moveTo>
                      <a:pt x="7" y="7"/>
                    </a:moveTo>
                    <a:lnTo>
                      <a:pt x="6" y="7"/>
                    </a:lnTo>
                    <a:lnTo>
                      <a:pt x="6" y="7"/>
                    </a:lnTo>
                    <a:lnTo>
                      <a:pt x="4" y="7"/>
                    </a:lnTo>
                    <a:lnTo>
                      <a:pt x="3" y="9"/>
                    </a:lnTo>
                    <a:lnTo>
                      <a:pt x="3" y="10"/>
                    </a:lnTo>
                    <a:lnTo>
                      <a:pt x="4" y="13"/>
                    </a:lnTo>
                    <a:lnTo>
                      <a:pt x="6" y="14"/>
                    </a:lnTo>
                    <a:lnTo>
                      <a:pt x="7" y="13"/>
                    </a:lnTo>
                    <a:lnTo>
                      <a:pt x="7" y="12"/>
                    </a:lnTo>
                    <a:lnTo>
                      <a:pt x="7" y="10"/>
                    </a:lnTo>
                    <a:lnTo>
                      <a:pt x="7" y="9"/>
                    </a:lnTo>
                    <a:lnTo>
                      <a:pt x="7" y="7"/>
                    </a:lnTo>
                    <a:close/>
                    <a:moveTo>
                      <a:pt x="2" y="29"/>
                    </a:moveTo>
                    <a:lnTo>
                      <a:pt x="0" y="29"/>
                    </a:lnTo>
                    <a:lnTo>
                      <a:pt x="0" y="29"/>
                    </a:lnTo>
                    <a:lnTo>
                      <a:pt x="2" y="30"/>
                    </a:lnTo>
                    <a:lnTo>
                      <a:pt x="3" y="30"/>
                    </a:lnTo>
                    <a:lnTo>
                      <a:pt x="3" y="32"/>
                    </a:lnTo>
                    <a:lnTo>
                      <a:pt x="4" y="29"/>
                    </a:lnTo>
                    <a:lnTo>
                      <a:pt x="4" y="27"/>
                    </a:lnTo>
                    <a:lnTo>
                      <a:pt x="2" y="29"/>
                    </a:lnTo>
                    <a:close/>
                    <a:moveTo>
                      <a:pt x="43" y="23"/>
                    </a:moveTo>
                    <a:lnTo>
                      <a:pt x="42" y="24"/>
                    </a:lnTo>
                    <a:lnTo>
                      <a:pt x="43" y="27"/>
                    </a:lnTo>
                    <a:lnTo>
                      <a:pt x="46" y="29"/>
                    </a:lnTo>
                    <a:lnTo>
                      <a:pt x="49" y="27"/>
                    </a:lnTo>
                    <a:lnTo>
                      <a:pt x="49" y="24"/>
                    </a:lnTo>
                    <a:lnTo>
                      <a:pt x="48" y="22"/>
                    </a:lnTo>
                    <a:lnTo>
                      <a:pt x="45" y="20"/>
                    </a:lnTo>
                    <a:lnTo>
                      <a:pt x="43" y="23"/>
                    </a:lnTo>
                    <a:close/>
                    <a:moveTo>
                      <a:pt x="16" y="20"/>
                    </a:moveTo>
                    <a:lnTo>
                      <a:pt x="16" y="22"/>
                    </a:lnTo>
                    <a:lnTo>
                      <a:pt x="14" y="23"/>
                    </a:lnTo>
                    <a:lnTo>
                      <a:pt x="16" y="23"/>
                    </a:lnTo>
                    <a:lnTo>
                      <a:pt x="17" y="23"/>
                    </a:lnTo>
                    <a:lnTo>
                      <a:pt x="19" y="23"/>
                    </a:lnTo>
                    <a:lnTo>
                      <a:pt x="19" y="22"/>
                    </a:lnTo>
                    <a:lnTo>
                      <a:pt x="17" y="20"/>
                    </a:lnTo>
                    <a:lnTo>
                      <a:pt x="16" y="20"/>
                    </a:lnTo>
                    <a:close/>
                    <a:moveTo>
                      <a:pt x="27" y="23"/>
                    </a:moveTo>
                    <a:lnTo>
                      <a:pt x="29" y="23"/>
                    </a:lnTo>
                    <a:lnTo>
                      <a:pt x="30" y="22"/>
                    </a:lnTo>
                    <a:lnTo>
                      <a:pt x="30" y="20"/>
                    </a:lnTo>
                    <a:lnTo>
                      <a:pt x="32" y="19"/>
                    </a:lnTo>
                    <a:lnTo>
                      <a:pt x="32" y="19"/>
                    </a:lnTo>
                    <a:lnTo>
                      <a:pt x="33" y="17"/>
                    </a:lnTo>
                    <a:lnTo>
                      <a:pt x="33" y="16"/>
                    </a:lnTo>
                    <a:lnTo>
                      <a:pt x="36" y="13"/>
                    </a:lnTo>
                    <a:lnTo>
                      <a:pt x="35" y="13"/>
                    </a:lnTo>
                    <a:lnTo>
                      <a:pt x="33" y="13"/>
                    </a:lnTo>
                    <a:lnTo>
                      <a:pt x="29" y="16"/>
                    </a:lnTo>
                    <a:lnTo>
                      <a:pt x="27" y="16"/>
                    </a:lnTo>
                    <a:lnTo>
                      <a:pt x="25" y="17"/>
                    </a:lnTo>
                    <a:lnTo>
                      <a:pt x="22" y="17"/>
                    </a:lnTo>
                    <a:lnTo>
                      <a:pt x="25" y="22"/>
                    </a:lnTo>
                    <a:lnTo>
                      <a:pt x="27" y="2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27" name="Freeform 214">
                <a:extLst>
                  <a:ext uri="{FF2B5EF4-FFF2-40B4-BE49-F238E27FC236}">
                    <a16:creationId xmlns:a16="http://schemas.microsoft.com/office/drawing/2014/main" id="{4C7DBECB-E59A-589E-AD4C-7D4076BA9A0D}"/>
                  </a:ext>
                </a:extLst>
              </p:cNvPr>
              <p:cNvSpPr>
                <a:spLocks noEditPoints="1"/>
              </p:cNvSpPr>
              <p:nvPr/>
            </p:nvSpPr>
            <p:spPr bwMode="auto">
              <a:xfrm>
                <a:off x="3254" y="2492"/>
                <a:ext cx="53" cy="32"/>
              </a:xfrm>
              <a:custGeom>
                <a:avLst/>
                <a:gdLst>
                  <a:gd name="T0" fmla="*/ 29 w 53"/>
                  <a:gd name="T1" fmla="*/ 32 h 32"/>
                  <a:gd name="T2" fmla="*/ 29 w 53"/>
                  <a:gd name="T3" fmla="*/ 30 h 32"/>
                  <a:gd name="T4" fmla="*/ 29 w 53"/>
                  <a:gd name="T5" fmla="*/ 29 h 32"/>
                  <a:gd name="T6" fmla="*/ 26 w 53"/>
                  <a:gd name="T7" fmla="*/ 30 h 32"/>
                  <a:gd name="T8" fmla="*/ 26 w 53"/>
                  <a:gd name="T9" fmla="*/ 29 h 32"/>
                  <a:gd name="T10" fmla="*/ 23 w 53"/>
                  <a:gd name="T11" fmla="*/ 26 h 32"/>
                  <a:gd name="T12" fmla="*/ 23 w 53"/>
                  <a:gd name="T13" fmla="*/ 24 h 32"/>
                  <a:gd name="T14" fmla="*/ 22 w 53"/>
                  <a:gd name="T15" fmla="*/ 23 h 32"/>
                  <a:gd name="T16" fmla="*/ 24 w 53"/>
                  <a:gd name="T17" fmla="*/ 21 h 32"/>
                  <a:gd name="T18" fmla="*/ 29 w 53"/>
                  <a:gd name="T19" fmla="*/ 20 h 32"/>
                  <a:gd name="T20" fmla="*/ 24 w 53"/>
                  <a:gd name="T21" fmla="*/ 19 h 32"/>
                  <a:gd name="T22" fmla="*/ 22 w 53"/>
                  <a:gd name="T23" fmla="*/ 17 h 32"/>
                  <a:gd name="T24" fmla="*/ 27 w 53"/>
                  <a:gd name="T25" fmla="*/ 14 h 32"/>
                  <a:gd name="T26" fmla="*/ 27 w 53"/>
                  <a:gd name="T27" fmla="*/ 14 h 32"/>
                  <a:gd name="T28" fmla="*/ 22 w 53"/>
                  <a:gd name="T29" fmla="*/ 14 h 32"/>
                  <a:gd name="T30" fmla="*/ 17 w 53"/>
                  <a:gd name="T31" fmla="*/ 16 h 32"/>
                  <a:gd name="T32" fmla="*/ 13 w 53"/>
                  <a:gd name="T33" fmla="*/ 17 h 32"/>
                  <a:gd name="T34" fmla="*/ 13 w 53"/>
                  <a:gd name="T35" fmla="*/ 14 h 32"/>
                  <a:gd name="T36" fmla="*/ 9 w 53"/>
                  <a:gd name="T37" fmla="*/ 14 h 32"/>
                  <a:gd name="T38" fmla="*/ 7 w 53"/>
                  <a:gd name="T39" fmla="*/ 11 h 32"/>
                  <a:gd name="T40" fmla="*/ 7 w 53"/>
                  <a:gd name="T41" fmla="*/ 9 h 32"/>
                  <a:gd name="T42" fmla="*/ 4 w 53"/>
                  <a:gd name="T43" fmla="*/ 9 h 32"/>
                  <a:gd name="T44" fmla="*/ 0 w 53"/>
                  <a:gd name="T45" fmla="*/ 7 h 32"/>
                  <a:gd name="T46" fmla="*/ 7 w 53"/>
                  <a:gd name="T47" fmla="*/ 6 h 32"/>
                  <a:gd name="T48" fmla="*/ 20 w 53"/>
                  <a:gd name="T49" fmla="*/ 3 h 32"/>
                  <a:gd name="T50" fmla="*/ 30 w 53"/>
                  <a:gd name="T51" fmla="*/ 0 h 32"/>
                  <a:gd name="T52" fmla="*/ 52 w 53"/>
                  <a:gd name="T53" fmla="*/ 1 h 32"/>
                  <a:gd name="T54" fmla="*/ 53 w 53"/>
                  <a:gd name="T55" fmla="*/ 4 h 32"/>
                  <a:gd name="T56" fmla="*/ 53 w 53"/>
                  <a:gd name="T57" fmla="*/ 7 h 32"/>
                  <a:gd name="T58" fmla="*/ 49 w 53"/>
                  <a:gd name="T59" fmla="*/ 9 h 32"/>
                  <a:gd name="T60" fmla="*/ 49 w 53"/>
                  <a:gd name="T61" fmla="*/ 10 h 32"/>
                  <a:gd name="T62" fmla="*/ 52 w 53"/>
                  <a:gd name="T63" fmla="*/ 14 h 32"/>
                  <a:gd name="T64" fmla="*/ 50 w 53"/>
                  <a:gd name="T65" fmla="*/ 19 h 32"/>
                  <a:gd name="T66" fmla="*/ 44 w 53"/>
                  <a:gd name="T67" fmla="*/ 19 h 32"/>
                  <a:gd name="T68" fmla="*/ 42 w 53"/>
                  <a:gd name="T69" fmla="*/ 20 h 32"/>
                  <a:gd name="T70" fmla="*/ 34 w 53"/>
                  <a:gd name="T71" fmla="*/ 23 h 32"/>
                  <a:gd name="T72" fmla="*/ 32 w 53"/>
                  <a:gd name="T73" fmla="*/ 26 h 32"/>
                  <a:gd name="T74" fmla="*/ 13 w 53"/>
                  <a:gd name="T75" fmla="*/ 27 h 32"/>
                  <a:gd name="T76" fmla="*/ 13 w 53"/>
                  <a:gd name="T77" fmla="*/ 29 h 32"/>
                  <a:gd name="T78" fmla="*/ 13 w 53"/>
                  <a:gd name="T79" fmla="*/ 30 h 32"/>
                  <a:gd name="T80" fmla="*/ 14 w 53"/>
                  <a:gd name="T81" fmla="*/ 29 h 32"/>
                  <a:gd name="T82" fmla="*/ 17 w 53"/>
                  <a:gd name="T83" fmla="*/ 26 h 32"/>
                  <a:gd name="T84" fmla="*/ 16 w 53"/>
                  <a:gd name="T85" fmla="*/ 27 h 32"/>
                  <a:gd name="T86" fmla="*/ 17 w 53"/>
                  <a:gd name="T87" fmla="*/ 27 h 32"/>
                  <a:gd name="T88" fmla="*/ 17 w 53"/>
                  <a:gd name="T89" fmla="*/ 26 h 32"/>
                  <a:gd name="T90" fmla="*/ 20 w 53"/>
                  <a:gd name="T91" fmla="*/ 20 h 32"/>
                  <a:gd name="T92" fmla="*/ 19 w 53"/>
                  <a:gd name="T93" fmla="*/ 21 h 32"/>
                  <a:gd name="T94" fmla="*/ 20 w 53"/>
                  <a:gd name="T95" fmla="*/ 21 h 32"/>
                  <a:gd name="T96" fmla="*/ 22 w 53"/>
                  <a:gd name="T97" fmla="*/ 20 h 32"/>
                  <a:gd name="T98" fmla="*/ 20 w 53"/>
                  <a:gd name="T99" fmla="*/ 20 h 32"/>
                  <a:gd name="T100" fmla="*/ 13 w 53"/>
                  <a:gd name="T101" fmla="*/ 20 h 32"/>
                  <a:gd name="T102" fmla="*/ 13 w 53"/>
                  <a:gd name="T103" fmla="*/ 23 h 32"/>
                  <a:gd name="T104" fmla="*/ 13 w 53"/>
                  <a:gd name="T105" fmla="*/ 14 h 32"/>
                  <a:gd name="T106" fmla="*/ 11 w 53"/>
                  <a:gd name="T107" fmla="*/ 14 h 32"/>
                  <a:gd name="T108" fmla="*/ 10 w 53"/>
                  <a:gd name="T109" fmla="*/ 16 h 32"/>
                  <a:gd name="T110" fmla="*/ 10 w 53"/>
                  <a:gd name="T111" fmla="*/ 17 h 32"/>
                  <a:gd name="T112" fmla="*/ 11 w 53"/>
                  <a:gd name="T113" fmla="*/ 17 h 32"/>
                  <a:gd name="T114" fmla="*/ 13 w 53"/>
                  <a:gd name="T115" fmla="*/ 14 h 32"/>
                  <a:gd name="T116" fmla="*/ 9 w 53"/>
                  <a:gd name="T117" fmla="*/ 29 h 32"/>
                  <a:gd name="T118" fmla="*/ 9 w 53"/>
                  <a:gd name="T119" fmla="*/ 30 h 32"/>
                  <a:gd name="T120" fmla="*/ 11 w 53"/>
                  <a:gd name="T121" fmla="*/ 29 h 32"/>
                  <a:gd name="T122" fmla="*/ 10 w 53"/>
                  <a:gd name="T123" fmla="*/ 2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 h="32">
                    <a:moveTo>
                      <a:pt x="30" y="30"/>
                    </a:moveTo>
                    <a:lnTo>
                      <a:pt x="29" y="32"/>
                    </a:lnTo>
                    <a:lnTo>
                      <a:pt x="29" y="32"/>
                    </a:lnTo>
                    <a:lnTo>
                      <a:pt x="29" y="30"/>
                    </a:lnTo>
                    <a:lnTo>
                      <a:pt x="29" y="29"/>
                    </a:lnTo>
                    <a:lnTo>
                      <a:pt x="29" y="29"/>
                    </a:lnTo>
                    <a:lnTo>
                      <a:pt x="29" y="29"/>
                    </a:lnTo>
                    <a:lnTo>
                      <a:pt x="26" y="30"/>
                    </a:lnTo>
                    <a:lnTo>
                      <a:pt x="26" y="30"/>
                    </a:lnTo>
                    <a:lnTo>
                      <a:pt x="26" y="29"/>
                    </a:lnTo>
                    <a:lnTo>
                      <a:pt x="24" y="27"/>
                    </a:lnTo>
                    <a:lnTo>
                      <a:pt x="23" y="26"/>
                    </a:lnTo>
                    <a:lnTo>
                      <a:pt x="23" y="24"/>
                    </a:lnTo>
                    <a:lnTo>
                      <a:pt x="23" y="24"/>
                    </a:lnTo>
                    <a:lnTo>
                      <a:pt x="22" y="23"/>
                    </a:lnTo>
                    <a:lnTo>
                      <a:pt x="22" y="23"/>
                    </a:lnTo>
                    <a:lnTo>
                      <a:pt x="23" y="21"/>
                    </a:lnTo>
                    <a:lnTo>
                      <a:pt x="24" y="21"/>
                    </a:lnTo>
                    <a:lnTo>
                      <a:pt x="26" y="20"/>
                    </a:lnTo>
                    <a:lnTo>
                      <a:pt x="29" y="20"/>
                    </a:lnTo>
                    <a:lnTo>
                      <a:pt x="26" y="19"/>
                    </a:lnTo>
                    <a:lnTo>
                      <a:pt x="24" y="19"/>
                    </a:lnTo>
                    <a:lnTo>
                      <a:pt x="22" y="19"/>
                    </a:lnTo>
                    <a:lnTo>
                      <a:pt x="22" y="17"/>
                    </a:lnTo>
                    <a:lnTo>
                      <a:pt x="23" y="16"/>
                    </a:lnTo>
                    <a:lnTo>
                      <a:pt x="27" y="14"/>
                    </a:lnTo>
                    <a:lnTo>
                      <a:pt x="29" y="13"/>
                    </a:lnTo>
                    <a:lnTo>
                      <a:pt x="27" y="14"/>
                    </a:lnTo>
                    <a:lnTo>
                      <a:pt x="23" y="14"/>
                    </a:lnTo>
                    <a:lnTo>
                      <a:pt x="22" y="14"/>
                    </a:lnTo>
                    <a:lnTo>
                      <a:pt x="19" y="16"/>
                    </a:lnTo>
                    <a:lnTo>
                      <a:pt x="17" y="16"/>
                    </a:lnTo>
                    <a:lnTo>
                      <a:pt x="16" y="17"/>
                    </a:lnTo>
                    <a:lnTo>
                      <a:pt x="13" y="17"/>
                    </a:lnTo>
                    <a:lnTo>
                      <a:pt x="14" y="14"/>
                    </a:lnTo>
                    <a:lnTo>
                      <a:pt x="13" y="14"/>
                    </a:lnTo>
                    <a:lnTo>
                      <a:pt x="11" y="14"/>
                    </a:lnTo>
                    <a:lnTo>
                      <a:pt x="9" y="14"/>
                    </a:lnTo>
                    <a:lnTo>
                      <a:pt x="7" y="13"/>
                    </a:lnTo>
                    <a:lnTo>
                      <a:pt x="7" y="11"/>
                    </a:lnTo>
                    <a:lnTo>
                      <a:pt x="7" y="10"/>
                    </a:lnTo>
                    <a:lnTo>
                      <a:pt x="7" y="9"/>
                    </a:lnTo>
                    <a:lnTo>
                      <a:pt x="6" y="9"/>
                    </a:lnTo>
                    <a:lnTo>
                      <a:pt x="4" y="9"/>
                    </a:lnTo>
                    <a:lnTo>
                      <a:pt x="1" y="7"/>
                    </a:lnTo>
                    <a:lnTo>
                      <a:pt x="0" y="7"/>
                    </a:lnTo>
                    <a:lnTo>
                      <a:pt x="3" y="6"/>
                    </a:lnTo>
                    <a:lnTo>
                      <a:pt x="7" y="6"/>
                    </a:lnTo>
                    <a:lnTo>
                      <a:pt x="17" y="4"/>
                    </a:lnTo>
                    <a:lnTo>
                      <a:pt x="20" y="3"/>
                    </a:lnTo>
                    <a:lnTo>
                      <a:pt x="23" y="1"/>
                    </a:lnTo>
                    <a:lnTo>
                      <a:pt x="30" y="0"/>
                    </a:lnTo>
                    <a:lnTo>
                      <a:pt x="37" y="0"/>
                    </a:lnTo>
                    <a:lnTo>
                      <a:pt x="52" y="1"/>
                    </a:lnTo>
                    <a:lnTo>
                      <a:pt x="52" y="3"/>
                    </a:lnTo>
                    <a:lnTo>
                      <a:pt x="53" y="4"/>
                    </a:lnTo>
                    <a:lnTo>
                      <a:pt x="53" y="6"/>
                    </a:lnTo>
                    <a:lnTo>
                      <a:pt x="53" y="7"/>
                    </a:lnTo>
                    <a:lnTo>
                      <a:pt x="52" y="9"/>
                    </a:lnTo>
                    <a:lnTo>
                      <a:pt x="49" y="9"/>
                    </a:lnTo>
                    <a:lnTo>
                      <a:pt x="49" y="9"/>
                    </a:lnTo>
                    <a:lnTo>
                      <a:pt x="49" y="10"/>
                    </a:lnTo>
                    <a:lnTo>
                      <a:pt x="50" y="11"/>
                    </a:lnTo>
                    <a:lnTo>
                      <a:pt x="52" y="14"/>
                    </a:lnTo>
                    <a:lnTo>
                      <a:pt x="52" y="17"/>
                    </a:lnTo>
                    <a:lnTo>
                      <a:pt x="50" y="19"/>
                    </a:lnTo>
                    <a:lnTo>
                      <a:pt x="49" y="19"/>
                    </a:lnTo>
                    <a:lnTo>
                      <a:pt x="44" y="19"/>
                    </a:lnTo>
                    <a:lnTo>
                      <a:pt x="43" y="20"/>
                    </a:lnTo>
                    <a:lnTo>
                      <a:pt x="42" y="20"/>
                    </a:lnTo>
                    <a:lnTo>
                      <a:pt x="36" y="23"/>
                    </a:lnTo>
                    <a:lnTo>
                      <a:pt x="34" y="23"/>
                    </a:lnTo>
                    <a:lnTo>
                      <a:pt x="33" y="24"/>
                    </a:lnTo>
                    <a:lnTo>
                      <a:pt x="32" y="26"/>
                    </a:lnTo>
                    <a:lnTo>
                      <a:pt x="30" y="30"/>
                    </a:lnTo>
                    <a:close/>
                    <a:moveTo>
                      <a:pt x="13" y="27"/>
                    </a:moveTo>
                    <a:lnTo>
                      <a:pt x="13" y="29"/>
                    </a:lnTo>
                    <a:lnTo>
                      <a:pt x="13" y="29"/>
                    </a:lnTo>
                    <a:lnTo>
                      <a:pt x="13" y="30"/>
                    </a:lnTo>
                    <a:lnTo>
                      <a:pt x="13" y="30"/>
                    </a:lnTo>
                    <a:lnTo>
                      <a:pt x="14" y="29"/>
                    </a:lnTo>
                    <a:lnTo>
                      <a:pt x="14" y="29"/>
                    </a:lnTo>
                    <a:lnTo>
                      <a:pt x="13" y="27"/>
                    </a:lnTo>
                    <a:close/>
                    <a:moveTo>
                      <a:pt x="17" y="26"/>
                    </a:moveTo>
                    <a:lnTo>
                      <a:pt x="16" y="27"/>
                    </a:lnTo>
                    <a:lnTo>
                      <a:pt x="16" y="27"/>
                    </a:lnTo>
                    <a:lnTo>
                      <a:pt x="17" y="27"/>
                    </a:lnTo>
                    <a:lnTo>
                      <a:pt x="17" y="27"/>
                    </a:lnTo>
                    <a:lnTo>
                      <a:pt x="17" y="26"/>
                    </a:lnTo>
                    <a:lnTo>
                      <a:pt x="17" y="26"/>
                    </a:lnTo>
                    <a:lnTo>
                      <a:pt x="17" y="26"/>
                    </a:lnTo>
                    <a:close/>
                    <a:moveTo>
                      <a:pt x="20" y="20"/>
                    </a:moveTo>
                    <a:lnTo>
                      <a:pt x="19" y="20"/>
                    </a:lnTo>
                    <a:lnTo>
                      <a:pt x="19" y="21"/>
                    </a:lnTo>
                    <a:lnTo>
                      <a:pt x="20" y="21"/>
                    </a:lnTo>
                    <a:lnTo>
                      <a:pt x="20" y="21"/>
                    </a:lnTo>
                    <a:lnTo>
                      <a:pt x="22" y="20"/>
                    </a:lnTo>
                    <a:lnTo>
                      <a:pt x="22" y="20"/>
                    </a:lnTo>
                    <a:lnTo>
                      <a:pt x="20" y="20"/>
                    </a:lnTo>
                    <a:lnTo>
                      <a:pt x="20" y="20"/>
                    </a:lnTo>
                    <a:close/>
                    <a:moveTo>
                      <a:pt x="14" y="21"/>
                    </a:moveTo>
                    <a:lnTo>
                      <a:pt x="13" y="20"/>
                    </a:lnTo>
                    <a:lnTo>
                      <a:pt x="11" y="23"/>
                    </a:lnTo>
                    <a:lnTo>
                      <a:pt x="13" y="23"/>
                    </a:lnTo>
                    <a:lnTo>
                      <a:pt x="14" y="21"/>
                    </a:lnTo>
                    <a:close/>
                    <a:moveTo>
                      <a:pt x="13" y="14"/>
                    </a:moveTo>
                    <a:lnTo>
                      <a:pt x="11" y="14"/>
                    </a:lnTo>
                    <a:lnTo>
                      <a:pt x="11" y="14"/>
                    </a:lnTo>
                    <a:lnTo>
                      <a:pt x="10" y="14"/>
                    </a:lnTo>
                    <a:lnTo>
                      <a:pt x="10" y="16"/>
                    </a:lnTo>
                    <a:lnTo>
                      <a:pt x="10" y="16"/>
                    </a:lnTo>
                    <a:lnTo>
                      <a:pt x="10" y="17"/>
                    </a:lnTo>
                    <a:lnTo>
                      <a:pt x="10" y="17"/>
                    </a:lnTo>
                    <a:lnTo>
                      <a:pt x="11" y="17"/>
                    </a:lnTo>
                    <a:lnTo>
                      <a:pt x="11" y="17"/>
                    </a:lnTo>
                    <a:lnTo>
                      <a:pt x="13" y="14"/>
                    </a:lnTo>
                    <a:close/>
                    <a:moveTo>
                      <a:pt x="9" y="29"/>
                    </a:moveTo>
                    <a:lnTo>
                      <a:pt x="9" y="29"/>
                    </a:lnTo>
                    <a:lnTo>
                      <a:pt x="9" y="30"/>
                    </a:lnTo>
                    <a:lnTo>
                      <a:pt x="9" y="30"/>
                    </a:lnTo>
                    <a:lnTo>
                      <a:pt x="10" y="30"/>
                    </a:lnTo>
                    <a:lnTo>
                      <a:pt x="11" y="29"/>
                    </a:lnTo>
                    <a:lnTo>
                      <a:pt x="11" y="27"/>
                    </a:lnTo>
                    <a:lnTo>
                      <a:pt x="10" y="27"/>
                    </a:lnTo>
                    <a:lnTo>
                      <a:pt x="9" y="2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28" name="Freeform 215">
                <a:extLst>
                  <a:ext uri="{FF2B5EF4-FFF2-40B4-BE49-F238E27FC236}">
                    <a16:creationId xmlns:a16="http://schemas.microsoft.com/office/drawing/2014/main" id="{32D1BD6A-2BF2-AA1B-AE74-3ACF57627AE1}"/>
                  </a:ext>
                </a:extLst>
              </p:cNvPr>
              <p:cNvSpPr>
                <a:spLocks noEditPoints="1"/>
              </p:cNvSpPr>
              <p:nvPr/>
            </p:nvSpPr>
            <p:spPr bwMode="auto">
              <a:xfrm>
                <a:off x="3594" y="2472"/>
                <a:ext cx="210" cy="169"/>
              </a:xfrm>
              <a:custGeom>
                <a:avLst/>
                <a:gdLst>
                  <a:gd name="T0" fmla="*/ 101 w 210"/>
                  <a:gd name="T1" fmla="*/ 161 h 169"/>
                  <a:gd name="T2" fmla="*/ 98 w 210"/>
                  <a:gd name="T3" fmla="*/ 165 h 169"/>
                  <a:gd name="T4" fmla="*/ 85 w 210"/>
                  <a:gd name="T5" fmla="*/ 165 h 169"/>
                  <a:gd name="T6" fmla="*/ 79 w 210"/>
                  <a:gd name="T7" fmla="*/ 164 h 169"/>
                  <a:gd name="T8" fmla="*/ 75 w 210"/>
                  <a:gd name="T9" fmla="*/ 168 h 169"/>
                  <a:gd name="T10" fmla="*/ 72 w 210"/>
                  <a:gd name="T11" fmla="*/ 164 h 169"/>
                  <a:gd name="T12" fmla="*/ 72 w 210"/>
                  <a:gd name="T13" fmla="*/ 169 h 169"/>
                  <a:gd name="T14" fmla="*/ 68 w 210"/>
                  <a:gd name="T15" fmla="*/ 169 h 169"/>
                  <a:gd name="T16" fmla="*/ 62 w 210"/>
                  <a:gd name="T17" fmla="*/ 169 h 169"/>
                  <a:gd name="T18" fmla="*/ 53 w 210"/>
                  <a:gd name="T19" fmla="*/ 165 h 169"/>
                  <a:gd name="T20" fmla="*/ 49 w 210"/>
                  <a:gd name="T21" fmla="*/ 155 h 169"/>
                  <a:gd name="T22" fmla="*/ 48 w 210"/>
                  <a:gd name="T23" fmla="*/ 152 h 169"/>
                  <a:gd name="T24" fmla="*/ 48 w 210"/>
                  <a:gd name="T25" fmla="*/ 151 h 169"/>
                  <a:gd name="T26" fmla="*/ 46 w 210"/>
                  <a:gd name="T27" fmla="*/ 148 h 169"/>
                  <a:gd name="T28" fmla="*/ 48 w 210"/>
                  <a:gd name="T29" fmla="*/ 146 h 169"/>
                  <a:gd name="T30" fmla="*/ 45 w 210"/>
                  <a:gd name="T31" fmla="*/ 146 h 169"/>
                  <a:gd name="T32" fmla="*/ 35 w 210"/>
                  <a:gd name="T33" fmla="*/ 136 h 169"/>
                  <a:gd name="T34" fmla="*/ 15 w 210"/>
                  <a:gd name="T35" fmla="*/ 132 h 169"/>
                  <a:gd name="T36" fmla="*/ 16 w 210"/>
                  <a:gd name="T37" fmla="*/ 131 h 169"/>
                  <a:gd name="T38" fmla="*/ 12 w 210"/>
                  <a:gd name="T39" fmla="*/ 133 h 169"/>
                  <a:gd name="T40" fmla="*/ 2 w 210"/>
                  <a:gd name="T41" fmla="*/ 113 h 169"/>
                  <a:gd name="T42" fmla="*/ 2 w 210"/>
                  <a:gd name="T43" fmla="*/ 87 h 169"/>
                  <a:gd name="T44" fmla="*/ 8 w 210"/>
                  <a:gd name="T45" fmla="*/ 83 h 169"/>
                  <a:gd name="T46" fmla="*/ 12 w 210"/>
                  <a:gd name="T47" fmla="*/ 73 h 169"/>
                  <a:gd name="T48" fmla="*/ 16 w 210"/>
                  <a:gd name="T49" fmla="*/ 70 h 169"/>
                  <a:gd name="T50" fmla="*/ 16 w 210"/>
                  <a:gd name="T51" fmla="*/ 64 h 169"/>
                  <a:gd name="T52" fmla="*/ 20 w 210"/>
                  <a:gd name="T53" fmla="*/ 57 h 169"/>
                  <a:gd name="T54" fmla="*/ 16 w 210"/>
                  <a:gd name="T55" fmla="*/ 39 h 169"/>
                  <a:gd name="T56" fmla="*/ 23 w 210"/>
                  <a:gd name="T57" fmla="*/ 17 h 169"/>
                  <a:gd name="T58" fmla="*/ 29 w 210"/>
                  <a:gd name="T59" fmla="*/ 4 h 169"/>
                  <a:gd name="T60" fmla="*/ 41 w 210"/>
                  <a:gd name="T61" fmla="*/ 1 h 169"/>
                  <a:gd name="T62" fmla="*/ 53 w 210"/>
                  <a:gd name="T63" fmla="*/ 0 h 169"/>
                  <a:gd name="T64" fmla="*/ 75 w 210"/>
                  <a:gd name="T65" fmla="*/ 13 h 169"/>
                  <a:gd name="T66" fmla="*/ 94 w 210"/>
                  <a:gd name="T67" fmla="*/ 10 h 169"/>
                  <a:gd name="T68" fmla="*/ 111 w 210"/>
                  <a:gd name="T69" fmla="*/ 17 h 169"/>
                  <a:gd name="T70" fmla="*/ 124 w 210"/>
                  <a:gd name="T71" fmla="*/ 17 h 169"/>
                  <a:gd name="T72" fmla="*/ 135 w 210"/>
                  <a:gd name="T73" fmla="*/ 10 h 169"/>
                  <a:gd name="T74" fmla="*/ 158 w 210"/>
                  <a:gd name="T75" fmla="*/ 10 h 169"/>
                  <a:gd name="T76" fmla="*/ 183 w 210"/>
                  <a:gd name="T77" fmla="*/ 6 h 169"/>
                  <a:gd name="T78" fmla="*/ 201 w 210"/>
                  <a:gd name="T79" fmla="*/ 21 h 169"/>
                  <a:gd name="T80" fmla="*/ 210 w 210"/>
                  <a:gd name="T81" fmla="*/ 29 h 169"/>
                  <a:gd name="T82" fmla="*/ 210 w 210"/>
                  <a:gd name="T83" fmla="*/ 40 h 169"/>
                  <a:gd name="T84" fmla="*/ 204 w 210"/>
                  <a:gd name="T85" fmla="*/ 46 h 169"/>
                  <a:gd name="T86" fmla="*/ 194 w 210"/>
                  <a:gd name="T87" fmla="*/ 53 h 169"/>
                  <a:gd name="T88" fmla="*/ 187 w 210"/>
                  <a:gd name="T89" fmla="*/ 73 h 169"/>
                  <a:gd name="T90" fmla="*/ 180 w 210"/>
                  <a:gd name="T91" fmla="*/ 80 h 169"/>
                  <a:gd name="T92" fmla="*/ 177 w 210"/>
                  <a:gd name="T93" fmla="*/ 90 h 169"/>
                  <a:gd name="T94" fmla="*/ 170 w 210"/>
                  <a:gd name="T95" fmla="*/ 96 h 169"/>
                  <a:gd name="T96" fmla="*/ 161 w 210"/>
                  <a:gd name="T97" fmla="*/ 116 h 169"/>
                  <a:gd name="T98" fmla="*/ 163 w 210"/>
                  <a:gd name="T99" fmla="*/ 121 h 169"/>
                  <a:gd name="T100" fmla="*/ 158 w 210"/>
                  <a:gd name="T101" fmla="*/ 123 h 169"/>
                  <a:gd name="T102" fmla="*/ 155 w 210"/>
                  <a:gd name="T103" fmla="*/ 129 h 169"/>
                  <a:gd name="T104" fmla="*/ 147 w 210"/>
                  <a:gd name="T105" fmla="*/ 126 h 169"/>
                  <a:gd name="T106" fmla="*/ 140 w 210"/>
                  <a:gd name="T107" fmla="*/ 121 h 169"/>
                  <a:gd name="T108" fmla="*/ 135 w 210"/>
                  <a:gd name="T109" fmla="*/ 125 h 169"/>
                  <a:gd name="T110" fmla="*/ 124 w 210"/>
                  <a:gd name="T111" fmla="*/ 129 h 169"/>
                  <a:gd name="T112" fmla="*/ 111 w 210"/>
                  <a:gd name="T113" fmla="*/ 146 h 169"/>
                  <a:gd name="T114" fmla="*/ 79 w 210"/>
                  <a:gd name="T115" fmla="*/ 168 h 169"/>
                  <a:gd name="T116" fmla="*/ 82 w 210"/>
                  <a:gd name="T117" fmla="*/ 16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169">
                    <a:moveTo>
                      <a:pt x="108" y="152"/>
                    </a:moveTo>
                    <a:lnTo>
                      <a:pt x="104" y="162"/>
                    </a:lnTo>
                    <a:lnTo>
                      <a:pt x="102" y="162"/>
                    </a:lnTo>
                    <a:lnTo>
                      <a:pt x="101" y="161"/>
                    </a:lnTo>
                    <a:lnTo>
                      <a:pt x="98" y="159"/>
                    </a:lnTo>
                    <a:lnTo>
                      <a:pt x="99" y="162"/>
                    </a:lnTo>
                    <a:lnTo>
                      <a:pt x="99" y="164"/>
                    </a:lnTo>
                    <a:lnTo>
                      <a:pt x="98" y="165"/>
                    </a:lnTo>
                    <a:lnTo>
                      <a:pt x="89" y="167"/>
                    </a:lnTo>
                    <a:lnTo>
                      <a:pt x="88" y="165"/>
                    </a:lnTo>
                    <a:lnTo>
                      <a:pt x="87" y="164"/>
                    </a:lnTo>
                    <a:lnTo>
                      <a:pt x="85" y="165"/>
                    </a:lnTo>
                    <a:lnTo>
                      <a:pt x="82" y="165"/>
                    </a:lnTo>
                    <a:lnTo>
                      <a:pt x="79" y="164"/>
                    </a:lnTo>
                    <a:lnTo>
                      <a:pt x="78" y="162"/>
                    </a:lnTo>
                    <a:lnTo>
                      <a:pt x="79" y="164"/>
                    </a:lnTo>
                    <a:lnTo>
                      <a:pt x="79" y="167"/>
                    </a:lnTo>
                    <a:lnTo>
                      <a:pt x="78" y="168"/>
                    </a:lnTo>
                    <a:lnTo>
                      <a:pt x="76" y="168"/>
                    </a:lnTo>
                    <a:lnTo>
                      <a:pt x="75" y="168"/>
                    </a:lnTo>
                    <a:lnTo>
                      <a:pt x="74" y="165"/>
                    </a:lnTo>
                    <a:lnTo>
                      <a:pt x="74" y="164"/>
                    </a:lnTo>
                    <a:lnTo>
                      <a:pt x="72" y="162"/>
                    </a:lnTo>
                    <a:lnTo>
                      <a:pt x="72" y="164"/>
                    </a:lnTo>
                    <a:lnTo>
                      <a:pt x="74" y="165"/>
                    </a:lnTo>
                    <a:lnTo>
                      <a:pt x="74" y="167"/>
                    </a:lnTo>
                    <a:lnTo>
                      <a:pt x="74" y="168"/>
                    </a:lnTo>
                    <a:lnTo>
                      <a:pt x="72" y="169"/>
                    </a:lnTo>
                    <a:lnTo>
                      <a:pt x="71" y="169"/>
                    </a:lnTo>
                    <a:lnTo>
                      <a:pt x="69" y="168"/>
                    </a:lnTo>
                    <a:lnTo>
                      <a:pt x="69" y="167"/>
                    </a:lnTo>
                    <a:lnTo>
                      <a:pt x="68" y="169"/>
                    </a:lnTo>
                    <a:lnTo>
                      <a:pt x="66" y="169"/>
                    </a:lnTo>
                    <a:lnTo>
                      <a:pt x="64" y="169"/>
                    </a:lnTo>
                    <a:lnTo>
                      <a:pt x="64" y="168"/>
                    </a:lnTo>
                    <a:lnTo>
                      <a:pt x="62" y="169"/>
                    </a:lnTo>
                    <a:lnTo>
                      <a:pt x="61" y="169"/>
                    </a:lnTo>
                    <a:lnTo>
                      <a:pt x="58" y="169"/>
                    </a:lnTo>
                    <a:lnTo>
                      <a:pt x="55" y="167"/>
                    </a:lnTo>
                    <a:lnTo>
                      <a:pt x="53" y="165"/>
                    </a:lnTo>
                    <a:lnTo>
                      <a:pt x="51" y="162"/>
                    </a:lnTo>
                    <a:lnTo>
                      <a:pt x="49" y="159"/>
                    </a:lnTo>
                    <a:lnTo>
                      <a:pt x="48" y="155"/>
                    </a:lnTo>
                    <a:lnTo>
                      <a:pt x="49" y="155"/>
                    </a:lnTo>
                    <a:lnTo>
                      <a:pt x="49" y="155"/>
                    </a:lnTo>
                    <a:lnTo>
                      <a:pt x="49" y="155"/>
                    </a:lnTo>
                    <a:lnTo>
                      <a:pt x="48" y="154"/>
                    </a:lnTo>
                    <a:lnTo>
                      <a:pt x="48" y="152"/>
                    </a:lnTo>
                    <a:lnTo>
                      <a:pt x="51" y="151"/>
                    </a:lnTo>
                    <a:lnTo>
                      <a:pt x="51" y="149"/>
                    </a:lnTo>
                    <a:lnTo>
                      <a:pt x="49" y="149"/>
                    </a:lnTo>
                    <a:lnTo>
                      <a:pt x="48" y="151"/>
                    </a:lnTo>
                    <a:lnTo>
                      <a:pt x="46" y="149"/>
                    </a:lnTo>
                    <a:lnTo>
                      <a:pt x="45" y="148"/>
                    </a:lnTo>
                    <a:lnTo>
                      <a:pt x="45" y="148"/>
                    </a:lnTo>
                    <a:lnTo>
                      <a:pt x="46" y="148"/>
                    </a:lnTo>
                    <a:lnTo>
                      <a:pt x="48" y="146"/>
                    </a:lnTo>
                    <a:lnTo>
                      <a:pt x="49" y="146"/>
                    </a:lnTo>
                    <a:lnTo>
                      <a:pt x="48" y="146"/>
                    </a:lnTo>
                    <a:lnTo>
                      <a:pt x="48" y="146"/>
                    </a:lnTo>
                    <a:lnTo>
                      <a:pt x="48" y="146"/>
                    </a:lnTo>
                    <a:lnTo>
                      <a:pt x="48" y="145"/>
                    </a:lnTo>
                    <a:lnTo>
                      <a:pt x="46" y="146"/>
                    </a:lnTo>
                    <a:lnTo>
                      <a:pt x="45" y="146"/>
                    </a:lnTo>
                    <a:lnTo>
                      <a:pt x="43" y="144"/>
                    </a:lnTo>
                    <a:lnTo>
                      <a:pt x="41" y="142"/>
                    </a:lnTo>
                    <a:lnTo>
                      <a:pt x="38" y="138"/>
                    </a:lnTo>
                    <a:lnTo>
                      <a:pt x="35" y="136"/>
                    </a:lnTo>
                    <a:lnTo>
                      <a:pt x="30" y="133"/>
                    </a:lnTo>
                    <a:lnTo>
                      <a:pt x="25" y="133"/>
                    </a:lnTo>
                    <a:lnTo>
                      <a:pt x="19" y="133"/>
                    </a:lnTo>
                    <a:lnTo>
                      <a:pt x="15" y="132"/>
                    </a:lnTo>
                    <a:lnTo>
                      <a:pt x="19" y="129"/>
                    </a:lnTo>
                    <a:lnTo>
                      <a:pt x="19" y="129"/>
                    </a:lnTo>
                    <a:lnTo>
                      <a:pt x="18" y="129"/>
                    </a:lnTo>
                    <a:lnTo>
                      <a:pt x="16" y="131"/>
                    </a:lnTo>
                    <a:lnTo>
                      <a:pt x="15" y="131"/>
                    </a:lnTo>
                    <a:lnTo>
                      <a:pt x="15" y="131"/>
                    </a:lnTo>
                    <a:lnTo>
                      <a:pt x="13" y="132"/>
                    </a:lnTo>
                    <a:lnTo>
                      <a:pt x="12" y="133"/>
                    </a:lnTo>
                    <a:lnTo>
                      <a:pt x="9" y="133"/>
                    </a:lnTo>
                    <a:lnTo>
                      <a:pt x="2" y="133"/>
                    </a:lnTo>
                    <a:lnTo>
                      <a:pt x="3" y="119"/>
                    </a:lnTo>
                    <a:lnTo>
                      <a:pt x="2" y="113"/>
                    </a:lnTo>
                    <a:lnTo>
                      <a:pt x="2" y="106"/>
                    </a:lnTo>
                    <a:lnTo>
                      <a:pt x="0" y="103"/>
                    </a:lnTo>
                    <a:lnTo>
                      <a:pt x="2" y="90"/>
                    </a:lnTo>
                    <a:lnTo>
                      <a:pt x="2" y="87"/>
                    </a:lnTo>
                    <a:lnTo>
                      <a:pt x="3" y="86"/>
                    </a:lnTo>
                    <a:lnTo>
                      <a:pt x="5" y="86"/>
                    </a:lnTo>
                    <a:lnTo>
                      <a:pt x="6" y="85"/>
                    </a:lnTo>
                    <a:lnTo>
                      <a:pt x="8" y="83"/>
                    </a:lnTo>
                    <a:lnTo>
                      <a:pt x="8" y="83"/>
                    </a:lnTo>
                    <a:lnTo>
                      <a:pt x="9" y="80"/>
                    </a:lnTo>
                    <a:lnTo>
                      <a:pt x="10" y="77"/>
                    </a:lnTo>
                    <a:lnTo>
                      <a:pt x="12" y="73"/>
                    </a:lnTo>
                    <a:lnTo>
                      <a:pt x="12" y="72"/>
                    </a:lnTo>
                    <a:lnTo>
                      <a:pt x="13" y="72"/>
                    </a:lnTo>
                    <a:lnTo>
                      <a:pt x="16" y="70"/>
                    </a:lnTo>
                    <a:lnTo>
                      <a:pt x="16" y="70"/>
                    </a:lnTo>
                    <a:lnTo>
                      <a:pt x="18" y="67"/>
                    </a:lnTo>
                    <a:lnTo>
                      <a:pt x="18" y="66"/>
                    </a:lnTo>
                    <a:lnTo>
                      <a:pt x="16" y="64"/>
                    </a:lnTo>
                    <a:lnTo>
                      <a:pt x="16" y="64"/>
                    </a:lnTo>
                    <a:lnTo>
                      <a:pt x="18" y="62"/>
                    </a:lnTo>
                    <a:lnTo>
                      <a:pt x="19" y="62"/>
                    </a:lnTo>
                    <a:lnTo>
                      <a:pt x="20" y="60"/>
                    </a:lnTo>
                    <a:lnTo>
                      <a:pt x="20" y="57"/>
                    </a:lnTo>
                    <a:lnTo>
                      <a:pt x="20" y="53"/>
                    </a:lnTo>
                    <a:lnTo>
                      <a:pt x="18" y="47"/>
                    </a:lnTo>
                    <a:lnTo>
                      <a:pt x="16" y="43"/>
                    </a:lnTo>
                    <a:lnTo>
                      <a:pt x="16" y="39"/>
                    </a:lnTo>
                    <a:lnTo>
                      <a:pt x="18" y="36"/>
                    </a:lnTo>
                    <a:lnTo>
                      <a:pt x="18" y="26"/>
                    </a:lnTo>
                    <a:lnTo>
                      <a:pt x="19" y="23"/>
                    </a:lnTo>
                    <a:lnTo>
                      <a:pt x="23" y="17"/>
                    </a:lnTo>
                    <a:lnTo>
                      <a:pt x="25" y="14"/>
                    </a:lnTo>
                    <a:lnTo>
                      <a:pt x="26" y="8"/>
                    </a:lnTo>
                    <a:lnTo>
                      <a:pt x="28" y="6"/>
                    </a:lnTo>
                    <a:lnTo>
                      <a:pt x="29" y="4"/>
                    </a:lnTo>
                    <a:lnTo>
                      <a:pt x="32" y="3"/>
                    </a:lnTo>
                    <a:lnTo>
                      <a:pt x="35" y="1"/>
                    </a:lnTo>
                    <a:lnTo>
                      <a:pt x="38" y="1"/>
                    </a:lnTo>
                    <a:lnTo>
                      <a:pt x="41" y="1"/>
                    </a:lnTo>
                    <a:lnTo>
                      <a:pt x="43" y="1"/>
                    </a:lnTo>
                    <a:lnTo>
                      <a:pt x="48" y="0"/>
                    </a:lnTo>
                    <a:lnTo>
                      <a:pt x="51" y="0"/>
                    </a:lnTo>
                    <a:lnTo>
                      <a:pt x="53" y="0"/>
                    </a:lnTo>
                    <a:lnTo>
                      <a:pt x="58" y="1"/>
                    </a:lnTo>
                    <a:lnTo>
                      <a:pt x="64" y="3"/>
                    </a:lnTo>
                    <a:lnTo>
                      <a:pt x="68" y="6"/>
                    </a:lnTo>
                    <a:lnTo>
                      <a:pt x="75" y="13"/>
                    </a:lnTo>
                    <a:lnTo>
                      <a:pt x="79" y="14"/>
                    </a:lnTo>
                    <a:lnTo>
                      <a:pt x="82" y="13"/>
                    </a:lnTo>
                    <a:lnTo>
                      <a:pt x="88" y="10"/>
                    </a:lnTo>
                    <a:lnTo>
                      <a:pt x="94" y="10"/>
                    </a:lnTo>
                    <a:lnTo>
                      <a:pt x="98" y="11"/>
                    </a:lnTo>
                    <a:lnTo>
                      <a:pt x="102" y="14"/>
                    </a:lnTo>
                    <a:lnTo>
                      <a:pt x="108" y="17"/>
                    </a:lnTo>
                    <a:lnTo>
                      <a:pt x="111" y="17"/>
                    </a:lnTo>
                    <a:lnTo>
                      <a:pt x="114" y="18"/>
                    </a:lnTo>
                    <a:lnTo>
                      <a:pt x="118" y="18"/>
                    </a:lnTo>
                    <a:lnTo>
                      <a:pt x="121" y="18"/>
                    </a:lnTo>
                    <a:lnTo>
                      <a:pt x="124" y="17"/>
                    </a:lnTo>
                    <a:lnTo>
                      <a:pt x="125" y="16"/>
                    </a:lnTo>
                    <a:lnTo>
                      <a:pt x="127" y="13"/>
                    </a:lnTo>
                    <a:lnTo>
                      <a:pt x="130" y="11"/>
                    </a:lnTo>
                    <a:lnTo>
                      <a:pt x="135" y="10"/>
                    </a:lnTo>
                    <a:lnTo>
                      <a:pt x="141" y="8"/>
                    </a:lnTo>
                    <a:lnTo>
                      <a:pt x="147" y="8"/>
                    </a:lnTo>
                    <a:lnTo>
                      <a:pt x="154" y="8"/>
                    </a:lnTo>
                    <a:lnTo>
                      <a:pt x="158" y="10"/>
                    </a:lnTo>
                    <a:lnTo>
                      <a:pt x="164" y="11"/>
                    </a:lnTo>
                    <a:lnTo>
                      <a:pt x="168" y="13"/>
                    </a:lnTo>
                    <a:lnTo>
                      <a:pt x="173" y="13"/>
                    </a:lnTo>
                    <a:lnTo>
                      <a:pt x="183" y="6"/>
                    </a:lnTo>
                    <a:lnTo>
                      <a:pt x="187" y="3"/>
                    </a:lnTo>
                    <a:lnTo>
                      <a:pt x="193" y="3"/>
                    </a:lnTo>
                    <a:lnTo>
                      <a:pt x="201" y="13"/>
                    </a:lnTo>
                    <a:lnTo>
                      <a:pt x="201" y="21"/>
                    </a:lnTo>
                    <a:lnTo>
                      <a:pt x="203" y="24"/>
                    </a:lnTo>
                    <a:lnTo>
                      <a:pt x="204" y="26"/>
                    </a:lnTo>
                    <a:lnTo>
                      <a:pt x="209" y="27"/>
                    </a:lnTo>
                    <a:lnTo>
                      <a:pt x="210" y="29"/>
                    </a:lnTo>
                    <a:lnTo>
                      <a:pt x="210" y="31"/>
                    </a:lnTo>
                    <a:lnTo>
                      <a:pt x="210" y="33"/>
                    </a:lnTo>
                    <a:lnTo>
                      <a:pt x="210" y="37"/>
                    </a:lnTo>
                    <a:lnTo>
                      <a:pt x="210" y="40"/>
                    </a:lnTo>
                    <a:lnTo>
                      <a:pt x="209" y="41"/>
                    </a:lnTo>
                    <a:lnTo>
                      <a:pt x="209" y="43"/>
                    </a:lnTo>
                    <a:lnTo>
                      <a:pt x="206" y="44"/>
                    </a:lnTo>
                    <a:lnTo>
                      <a:pt x="204" y="46"/>
                    </a:lnTo>
                    <a:lnTo>
                      <a:pt x="200" y="47"/>
                    </a:lnTo>
                    <a:lnTo>
                      <a:pt x="197" y="49"/>
                    </a:lnTo>
                    <a:lnTo>
                      <a:pt x="196" y="50"/>
                    </a:lnTo>
                    <a:lnTo>
                      <a:pt x="194" y="53"/>
                    </a:lnTo>
                    <a:lnTo>
                      <a:pt x="193" y="56"/>
                    </a:lnTo>
                    <a:lnTo>
                      <a:pt x="191" y="57"/>
                    </a:lnTo>
                    <a:lnTo>
                      <a:pt x="187" y="69"/>
                    </a:lnTo>
                    <a:lnTo>
                      <a:pt x="187" y="73"/>
                    </a:lnTo>
                    <a:lnTo>
                      <a:pt x="186" y="75"/>
                    </a:lnTo>
                    <a:lnTo>
                      <a:pt x="184" y="76"/>
                    </a:lnTo>
                    <a:lnTo>
                      <a:pt x="181" y="79"/>
                    </a:lnTo>
                    <a:lnTo>
                      <a:pt x="180" y="80"/>
                    </a:lnTo>
                    <a:lnTo>
                      <a:pt x="180" y="83"/>
                    </a:lnTo>
                    <a:lnTo>
                      <a:pt x="180" y="86"/>
                    </a:lnTo>
                    <a:lnTo>
                      <a:pt x="178" y="89"/>
                    </a:lnTo>
                    <a:lnTo>
                      <a:pt x="177" y="90"/>
                    </a:lnTo>
                    <a:lnTo>
                      <a:pt x="176" y="92"/>
                    </a:lnTo>
                    <a:lnTo>
                      <a:pt x="174" y="93"/>
                    </a:lnTo>
                    <a:lnTo>
                      <a:pt x="171" y="95"/>
                    </a:lnTo>
                    <a:lnTo>
                      <a:pt x="170" y="96"/>
                    </a:lnTo>
                    <a:lnTo>
                      <a:pt x="170" y="98"/>
                    </a:lnTo>
                    <a:lnTo>
                      <a:pt x="165" y="109"/>
                    </a:lnTo>
                    <a:lnTo>
                      <a:pt x="165" y="110"/>
                    </a:lnTo>
                    <a:lnTo>
                      <a:pt x="161" y="116"/>
                    </a:lnTo>
                    <a:lnTo>
                      <a:pt x="161" y="118"/>
                    </a:lnTo>
                    <a:lnTo>
                      <a:pt x="161" y="119"/>
                    </a:lnTo>
                    <a:lnTo>
                      <a:pt x="163" y="119"/>
                    </a:lnTo>
                    <a:lnTo>
                      <a:pt x="163" y="121"/>
                    </a:lnTo>
                    <a:lnTo>
                      <a:pt x="161" y="121"/>
                    </a:lnTo>
                    <a:lnTo>
                      <a:pt x="161" y="121"/>
                    </a:lnTo>
                    <a:lnTo>
                      <a:pt x="160" y="122"/>
                    </a:lnTo>
                    <a:lnTo>
                      <a:pt x="158" y="123"/>
                    </a:lnTo>
                    <a:lnTo>
                      <a:pt x="157" y="125"/>
                    </a:lnTo>
                    <a:lnTo>
                      <a:pt x="157" y="126"/>
                    </a:lnTo>
                    <a:lnTo>
                      <a:pt x="155" y="128"/>
                    </a:lnTo>
                    <a:lnTo>
                      <a:pt x="155" y="129"/>
                    </a:lnTo>
                    <a:lnTo>
                      <a:pt x="154" y="131"/>
                    </a:lnTo>
                    <a:lnTo>
                      <a:pt x="150" y="132"/>
                    </a:lnTo>
                    <a:lnTo>
                      <a:pt x="148" y="131"/>
                    </a:lnTo>
                    <a:lnTo>
                      <a:pt x="147" y="126"/>
                    </a:lnTo>
                    <a:lnTo>
                      <a:pt x="144" y="123"/>
                    </a:lnTo>
                    <a:lnTo>
                      <a:pt x="143" y="122"/>
                    </a:lnTo>
                    <a:lnTo>
                      <a:pt x="141" y="121"/>
                    </a:lnTo>
                    <a:lnTo>
                      <a:pt x="140" y="121"/>
                    </a:lnTo>
                    <a:lnTo>
                      <a:pt x="140" y="122"/>
                    </a:lnTo>
                    <a:lnTo>
                      <a:pt x="138" y="123"/>
                    </a:lnTo>
                    <a:lnTo>
                      <a:pt x="138" y="123"/>
                    </a:lnTo>
                    <a:lnTo>
                      <a:pt x="135" y="125"/>
                    </a:lnTo>
                    <a:lnTo>
                      <a:pt x="134" y="125"/>
                    </a:lnTo>
                    <a:lnTo>
                      <a:pt x="132" y="123"/>
                    </a:lnTo>
                    <a:lnTo>
                      <a:pt x="132" y="122"/>
                    </a:lnTo>
                    <a:lnTo>
                      <a:pt x="124" y="129"/>
                    </a:lnTo>
                    <a:lnTo>
                      <a:pt x="115" y="136"/>
                    </a:lnTo>
                    <a:lnTo>
                      <a:pt x="114" y="139"/>
                    </a:lnTo>
                    <a:lnTo>
                      <a:pt x="111" y="142"/>
                    </a:lnTo>
                    <a:lnTo>
                      <a:pt x="111" y="146"/>
                    </a:lnTo>
                    <a:lnTo>
                      <a:pt x="108" y="152"/>
                    </a:lnTo>
                    <a:close/>
                    <a:moveTo>
                      <a:pt x="81" y="167"/>
                    </a:moveTo>
                    <a:lnTo>
                      <a:pt x="79" y="167"/>
                    </a:lnTo>
                    <a:lnTo>
                      <a:pt x="79" y="168"/>
                    </a:lnTo>
                    <a:lnTo>
                      <a:pt x="81" y="168"/>
                    </a:lnTo>
                    <a:lnTo>
                      <a:pt x="81" y="168"/>
                    </a:lnTo>
                    <a:lnTo>
                      <a:pt x="82" y="168"/>
                    </a:lnTo>
                    <a:lnTo>
                      <a:pt x="82" y="167"/>
                    </a:lnTo>
                    <a:lnTo>
                      <a:pt x="81" y="167"/>
                    </a:lnTo>
                    <a:lnTo>
                      <a:pt x="81" y="16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29" name="Freeform 216">
                <a:extLst>
                  <a:ext uri="{FF2B5EF4-FFF2-40B4-BE49-F238E27FC236}">
                    <a16:creationId xmlns:a16="http://schemas.microsoft.com/office/drawing/2014/main" id="{A65DB557-E7C1-8E72-A187-062D63799E62}"/>
                  </a:ext>
                </a:extLst>
              </p:cNvPr>
              <p:cNvSpPr>
                <a:spLocks/>
              </p:cNvSpPr>
              <p:nvPr/>
            </p:nvSpPr>
            <p:spPr bwMode="auto">
              <a:xfrm>
                <a:off x="3316" y="2051"/>
                <a:ext cx="212" cy="159"/>
              </a:xfrm>
              <a:custGeom>
                <a:avLst/>
                <a:gdLst>
                  <a:gd name="T0" fmla="*/ 212 w 212"/>
                  <a:gd name="T1" fmla="*/ 66 h 159"/>
                  <a:gd name="T2" fmla="*/ 205 w 212"/>
                  <a:gd name="T3" fmla="*/ 59 h 159"/>
                  <a:gd name="T4" fmla="*/ 205 w 212"/>
                  <a:gd name="T5" fmla="*/ 57 h 159"/>
                  <a:gd name="T6" fmla="*/ 202 w 212"/>
                  <a:gd name="T7" fmla="*/ 54 h 159"/>
                  <a:gd name="T8" fmla="*/ 202 w 212"/>
                  <a:gd name="T9" fmla="*/ 47 h 159"/>
                  <a:gd name="T10" fmla="*/ 202 w 212"/>
                  <a:gd name="T11" fmla="*/ 40 h 159"/>
                  <a:gd name="T12" fmla="*/ 201 w 212"/>
                  <a:gd name="T13" fmla="*/ 31 h 159"/>
                  <a:gd name="T14" fmla="*/ 201 w 212"/>
                  <a:gd name="T15" fmla="*/ 27 h 159"/>
                  <a:gd name="T16" fmla="*/ 199 w 212"/>
                  <a:gd name="T17" fmla="*/ 26 h 159"/>
                  <a:gd name="T18" fmla="*/ 199 w 212"/>
                  <a:gd name="T19" fmla="*/ 21 h 159"/>
                  <a:gd name="T20" fmla="*/ 194 w 212"/>
                  <a:gd name="T21" fmla="*/ 17 h 159"/>
                  <a:gd name="T22" fmla="*/ 181 w 212"/>
                  <a:gd name="T23" fmla="*/ 13 h 159"/>
                  <a:gd name="T24" fmla="*/ 175 w 212"/>
                  <a:gd name="T25" fmla="*/ 13 h 159"/>
                  <a:gd name="T26" fmla="*/ 163 w 212"/>
                  <a:gd name="T27" fmla="*/ 13 h 159"/>
                  <a:gd name="T28" fmla="*/ 156 w 212"/>
                  <a:gd name="T29" fmla="*/ 14 h 159"/>
                  <a:gd name="T30" fmla="*/ 138 w 212"/>
                  <a:gd name="T31" fmla="*/ 4 h 159"/>
                  <a:gd name="T32" fmla="*/ 133 w 212"/>
                  <a:gd name="T33" fmla="*/ 0 h 159"/>
                  <a:gd name="T34" fmla="*/ 126 w 212"/>
                  <a:gd name="T35" fmla="*/ 4 h 159"/>
                  <a:gd name="T36" fmla="*/ 119 w 212"/>
                  <a:gd name="T37" fmla="*/ 24 h 159"/>
                  <a:gd name="T38" fmla="*/ 109 w 212"/>
                  <a:gd name="T39" fmla="*/ 38 h 159"/>
                  <a:gd name="T40" fmla="*/ 84 w 212"/>
                  <a:gd name="T41" fmla="*/ 51 h 159"/>
                  <a:gd name="T42" fmla="*/ 70 w 212"/>
                  <a:gd name="T43" fmla="*/ 64 h 159"/>
                  <a:gd name="T44" fmla="*/ 66 w 212"/>
                  <a:gd name="T45" fmla="*/ 76 h 159"/>
                  <a:gd name="T46" fmla="*/ 59 w 212"/>
                  <a:gd name="T47" fmla="*/ 93 h 159"/>
                  <a:gd name="T48" fmla="*/ 60 w 212"/>
                  <a:gd name="T49" fmla="*/ 103 h 159"/>
                  <a:gd name="T50" fmla="*/ 61 w 212"/>
                  <a:gd name="T51" fmla="*/ 109 h 159"/>
                  <a:gd name="T52" fmla="*/ 51 w 212"/>
                  <a:gd name="T53" fmla="*/ 126 h 159"/>
                  <a:gd name="T54" fmla="*/ 23 w 212"/>
                  <a:gd name="T55" fmla="*/ 149 h 159"/>
                  <a:gd name="T56" fmla="*/ 7 w 212"/>
                  <a:gd name="T57" fmla="*/ 153 h 159"/>
                  <a:gd name="T58" fmla="*/ 3 w 212"/>
                  <a:gd name="T59" fmla="*/ 155 h 159"/>
                  <a:gd name="T60" fmla="*/ 79 w 212"/>
                  <a:gd name="T61" fmla="*/ 159 h 159"/>
                  <a:gd name="T62" fmla="*/ 79 w 212"/>
                  <a:gd name="T63" fmla="*/ 139 h 159"/>
                  <a:gd name="T64" fmla="*/ 106 w 212"/>
                  <a:gd name="T65" fmla="*/ 122 h 159"/>
                  <a:gd name="T66" fmla="*/ 115 w 212"/>
                  <a:gd name="T67" fmla="*/ 122 h 159"/>
                  <a:gd name="T68" fmla="*/ 117 w 212"/>
                  <a:gd name="T69" fmla="*/ 118 h 159"/>
                  <a:gd name="T70" fmla="*/ 145 w 212"/>
                  <a:gd name="T71" fmla="*/ 106 h 159"/>
                  <a:gd name="T72" fmla="*/ 166 w 212"/>
                  <a:gd name="T73" fmla="*/ 96 h 159"/>
                  <a:gd name="T74" fmla="*/ 168 w 212"/>
                  <a:gd name="T75" fmla="*/ 95 h 159"/>
                  <a:gd name="T76" fmla="*/ 165 w 212"/>
                  <a:gd name="T77" fmla="*/ 92 h 159"/>
                  <a:gd name="T78" fmla="*/ 163 w 212"/>
                  <a:gd name="T79" fmla="*/ 92 h 159"/>
                  <a:gd name="T80" fmla="*/ 165 w 212"/>
                  <a:gd name="T81" fmla="*/ 83 h 159"/>
                  <a:gd name="T82" fmla="*/ 169 w 212"/>
                  <a:gd name="T83" fmla="*/ 82 h 159"/>
                  <a:gd name="T84" fmla="*/ 179 w 212"/>
                  <a:gd name="T85" fmla="*/ 76 h 159"/>
                  <a:gd name="T86" fmla="*/ 182 w 212"/>
                  <a:gd name="T87" fmla="*/ 74 h 159"/>
                  <a:gd name="T88" fmla="*/ 189 w 212"/>
                  <a:gd name="T89" fmla="*/ 74 h 159"/>
                  <a:gd name="T90" fmla="*/ 198 w 212"/>
                  <a:gd name="T91" fmla="*/ 74 h 159"/>
                  <a:gd name="T92" fmla="*/ 207 w 212"/>
                  <a:gd name="T93" fmla="*/ 74 h 159"/>
                  <a:gd name="T94" fmla="*/ 209 w 212"/>
                  <a:gd name="T95" fmla="*/ 74 h 159"/>
                  <a:gd name="T96" fmla="*/ 209 w 212"/>
                  <a:gd name="T97" fmla="*/ 73 h 159"/>
                  <a:gd name="T98" fmla="*/ 209 w 212"/>
                  <a:gd name="T99" fmla="*/ 72 h 159"/>
                  <a:gd name="T100" fmla="*/ 212 w 212"/>
                  <a:gd name="T101" fmla="*/ 69 h 159"/>
                  <a:gd name="T102" fmla="*/ 212 w 212"/>
                  <a:gd name="T103" fmla="*/ 6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 h="159">
                    <a:moveTo>
                      <a:pt x="212" y="67"/>
                    </a:moveTo>
                    <a:lnTo>
                      <a:pt x="212" y="66"/>
                    </a:lnTo>
                    <a:lnTo>
                      <a:pt x="212" y="66"/>
                    </a:lnTo>
                    <a:lnTo>
                      <a:pt x="208" y="63"/>
                    </a:lnTo>
                    <a:lnTo>
                      <a:pt x="207" y="61"/>
                    </a:lnTo>
                    <a:lnTo>
                      <a:pt x="205" y="59"/>
                    </a:lnTo>
                    <a:lnTo>
                      <a:pt x="205" y="59"/>
                    </a:lnTo>
                    <a:lnTo>
                      <a:pt x="205" y="57"/>
                    </a:lnTo>
                    <a:lnTo>
                      <a:pt x="205" y="57"/>
                    </a:lnTo>
                    <a:lnTo>
                      <a:pt x="204" y="56"/>
                    </a:lnTo>
                    <a:lnTo>
                      <a:pt x="204" y="54"/>
                    </a:lnTo>
                    <a:lnTo>
                      <a:pt x="202" y="54"/>
                    </a:lnTo>
                    <a:lnTo>
                      <a:pt x="202" y="51"/>
                    </a:lnTo>
                    <a:lnTo>
                      <a:pt x="202" y="50"/>
                    </a:lnTo>
                    <a:lnTo>
                      <a:pt x="202" y="47"/>
                    </a:lnTo>
                    <a:lnTo>
                      <a:pt x="202" y="46"/>
                    </a:lnTo>
                    <a:lnTo>
                      <a:pt x="202" y="41"/>
                    </a:lnTo>
                    <a:lnTo>
                      <a:pt x="202" y="40"/>
                    </a:lnTo>
                    <a:lnTo>
                      <a:pt x="202" y="37"/>
                    </a:lnTo>
                    <a:lnTo>
                      <a:pt x="201" y="34"/>
                    </a:lnTo>
                    <a:lnTo>
                      <a:pt x="201" y="31"/>
                    </a:lnTo>
                    <a:lnTo>
                      <a:pt x="199" y="30"/>
                    </a:lnTo>
                    <a:lnTo>
                      <a:pt x="201" y="28"/>
                    </a:lnTo>
                    <a:lnTo>
                      <a:pt x="201" y="27"/>
                    </a:lnTo>
                    <a:lnTo>
                      <a:pt x="201" y="27"/>
                    </a:lnTo>
                    <a:lnTo>
                      <a:pt x="199" y="27"/>
                    </a:lnTo>
                    <a:lnTo>
                      <a:pt x="199" y="26"/>
                    </a:lnTo>
                    <a:lnTo>
                      <a:pt x="199" y="26"/>
                    </a:lnTo>
                    <a:lnTo>
                      <a:pt x="199" y="23"/>
                    </a:lnTo>
                    <a:lnTo>
                      <a:pt x="199" y="21"/>
                    </a:lnTo>
                    <a:lnTo>
                      <a:pt x="198" y="20"/>
                    </a:lnTo>
                    <a:lnTo>
                      <a:pt x="195" y="18"/>
                    </a:lnTo>
                    <a:lnTo>
                      <a:pt x="194" y="17"/>
                    </a:lnTo>
                    <a:lnTo>
                      <a:pt x="192" y="15"/>
                    </a:lnTo>
                    <a:lnTo>
                      <a:pt x="184" y="14"/>
                    </a:lnTo>
                    <a:lnTo>
                      <a:pt x="181" y="13"/>
                    </a:lnTo>
                    <a:lnTo>
                      <a:pt x="179" y="10"/>
                    </a:lnTo>
                    <a:lnTo>
                      <a:pt x="176" y="11"/>
                    </a:lnTo>
                    <a:lnTo>
                      <a:pt x="175" y="13"/>
                    </a:lnTo>
                    <a:lnTo>
                      <a:pt x="172" y="13"/>
                    </a:lnTo>
                    <a:lnTo>
                      <a:pt x="168" y="13"/>
                    </a:lnTo>
                    <a:lnTo>
                      <a:pt x="163" y="13"/>
                    </a:lnTo>
                    <a:lnTo>
                      <a:pt x="162" y="13"/>
                    </a:lnTo>
                    <a:lnTo>
                      <a:pt x="158" y="14"/>
                    </a:lnTo>
                    <a:lnTo>
                      <a:pt x="156" y="14"/>
                    </a:lnTo>
                    <a:lnTo>
                      <a:pt x="151" y="13"/>
                    </a:lnTo>
                    <a:lnTo>
                      <a:pt x="143" y="8"/>
                    </a:lnTo>
                    <a:lnTo>
                      <a:pt x="138" y="4"/>
                    </a:lnTo>
                    <a:lnTo>
                      <a:pt x="139" y="0"/>
                    </a:lnTo>
                    <a:lnTo>
                      <a:pt x="136" y="0"/>
                    </a:lnTo>
                    <a:lnTo>
                      <a:pt x="133" y="0"/>
                    </a:lnTo>
                    <a:lnTo>
                      <a:pt x="130" y="0"/>
                    </a:lnTo>
                    <a:lnTo>
                      <a:pt x="128" y="1"/>
                    </a:lnTo>
                    <a:lnTo>
                      <a:pt x="126" y="4"/>
                    </a:lnTo>
                    <a:lnTo>
                      <a:pt x="125" y="7"/>
                    </a:lnTo>
                    <a:lnTo>
                      <a:pt x="123" y="13"/>
                    </a:lnTo>
                    <a:lnTo>
                      <a:pt x="119" y="24"/>
                    </a:lnTo>
                    <a:lnTo>
                      <a:pt x="116" y="30"/>
                    </a:lnTo>
                    <a:lnTo>
                      <a:pt x="113" y="34"/>
                    </a:lnTo>
                    <a:lnTo>
                      <a:pt x="109" y="38"/>
                    </a:lnTo>
                    <a:lnTo>
                      <a:pt x="105" y="41"/>
                    </a:lnTo>
                    <a:lnTo>
                      <a:pt x="89" y="49"/>
                    </a:lnTo>
                    <a:lnTo>
                      <a:pt x="84" y="51"/>
                    </a:lnTo>
                    <a:lnTo>
                      <a:pt x="80" y="54"/>
                    </a:lnTo>
                    <a:lnTo>
                      <a:pt x="72" y="63"/>
                    </a:lnTo>
                    <a:lnTo>
                      <a:pt x="70" y="64"/>
                    </a:lnTo>
                    <a:lnTo>
                      <a:pt x="69" y="67"/>
                    </a:lnTo>
                    <a:lnTo>
                      <a:pt x="67" y="73"/>
                    </a:lnTo>
                    <a:lnTo>
                      <a:pt x="66" y="76"/>
                    </a:lnTo>
                    <a:lnTo>
                      <a:pt x="61" y="83"/>
                    </a:lnTo>
                    <a:lnTo>
                      <a:pt x="59" y="89"/>
                    </a:lnTo>
                    <a:lnTo>
                      <a:pt x="59" y="93"/>
                    </a:lnTo>
                    <a:lnTo>
                      <a:pt x="59" y="100"/>
                    </a:lnTo>
                    <a:lnTo>
                      <a:pt x="59" y="102"/>
                    </a:lnTo>
                    <a:lnTo>
                      <a:pt x="60" y="103"/>
                    </a:lnTo>
                    <a:lnTo>
                      <a:pt x="61" y="106"/>
                    </a:lnTo>
                    <a:lnTo>
                      <a:pt x="61" y="106"/>
                    </a:lnTo>
                    <a:lnTo>
                      <a:pt x="61" y="109"/>
                    </a:lnTo>
                    <a:lnTo>
                      <a:pt x="61" y="112"/>
                    </a:lnTo>
                    <a:lnTo>
                      <a:pt x="60" y="115"/>
                    </a:lnTo>
                    <a:lnTo>
                      <a:pt x="51" y="126"/>
                    </a:lnTo>
                    <a:lnTo>
                      <a:pt x="49" y="130"/>
                    </a:lnTo>
                    <a:lnTo>
                      <a:pt x="28" y="146"/>
                    </a:lnTo>
                    <a:lnTo>
                      <a:pt x="23" y="149"/>
                    </a:lnTo>
                    <a:lnTo>
                      <a:pt x="17" y="152"/>
                    </a:lnTo>
                    <a:lnTo>
                      <a:pt x="11" y="153"/>
                    </a:lnTo>
                    <a:lnTo>
                      <a:pt x="7" y="153"/>
                    </a:lnTo>
                    <a:lnTo>
                      <a:pt x="5" y="153"/>
                    </a:lnTo>
                    <a:lnTo>
                      <a:pt x="4" y="155"/>
                    </a:lnTo>
                    <a:lnTo>
                      <a:pt x="3" y="155"/>
                    </a:lnTo>
                    <a:lnTo>
                      <a:pt x="1" y="159"/>
                    </a:lnTo>
                    <a:lnTo>
                      <a:pt x="0" y="159"/>
                    </a:lnTo>
                    <a:lnTo>
                      <a:pt x="79" y="159"/>
                    </a:lnTo>
                    <a:lnTo>
                      <a:pt x="79" y="159"/>
                    </a:lnTo>
                    <a:lnTo>
                      <a:pt x="79" y="139"/>
                    </a:lnTo>
                    <a:lnTo>
                      <a:pt x="79" y="139"/>
                    </a:lnTo>
                    <a:lnTo>
                      <a:pt x="97" y="126"/>
                    </a:lnTo>
                    <a:lnTo>
                      <a:pt x="100" y="126"/>
                    </a:lnTo>
                    <a:lnTo>
                      <a:pt x="106" y="122"/>
                    </a:lnTo>
                    <a:lnTo>
                      <a:pt x="106" y="122"/>
                    </a:lnTo>
                    <a:lnTo>
                      <a:pt x="115" y="122"/>
                    </a:lnTo>
                    <a:lnTo>
                      <a:pt x="115" y="122"/>
                    </a:lnTo>
                    <a:lnTo>
                      <a:pt x="116" y="122"/>
                    </a:lnTo>
                    <a:lnTo>
                      <a:pt x="117" y="119"/>
                    </a:lnTo>
                    <a:lnTo>
                      <a:pt x="117" y="118"/>
                    </a:lnTo>
                    <a:lnTo>
                      <a:pt x="136" y="115"/>
                    </a:lnTo>
                    <a:lnTo>
                      <a:pt x="139" y="113"/>
                    </a:lnTo>
                    <a:lnTo>
                      <a:pt x="145" y="106"/>
                    </a:lnTo>
                    <a:lnTo>
                      <a:pt x="162" y="97"/>
                    </a:lnTo>
                    <a:lnTo>
                      <a:pt x="165" y="96"/>
                    </a:lnTo>
                    <a:lnTo>
                      <a:pt x="166" y="96"/>
                    </a:lnTo>
                    <a:lnTo>
                      <a:pt x="168" y="96"/>
                    </a:lnTo>
                    <a:lnTo>
                      <a:pt x="168" y="95"/>
                    </a:lnTo>
                    <a:lnTo>
                      <a:pt x="168" y="95"/>
                    </a:lnTo>
                    <a:lnTo>
                      <a:pt x="168" y="95"/>
                    </a:lnTo>
                    <a:lnTo>
                      <a:pt x="166" y="93"/>
                    </a:lnTo>
                    <a:lnTo>
                      <a:pt x="165" y="92"/>
                    </a:lnTo>
                    <a:lnTo>
                      <a:pt x="165" y="92"/>
                    </a:lnTo>
                    <a:lnTo>
                      <a:pt x="163" y="92"/>
                    </a:lnTo>
                    <a:lnTo>
                      <a:pt x="163" y="92"/>
                    </a:lnTo>
                    <a:lnTo>
                      <a:pt x="165" y="87"/>
                    </a:lnTo>
                    <a:lnTo>
                      <a:pt x="163" y="83"/>
                    </a:lnTo>
                    <a:lnTo>
                      <a:pt x="165" y="83"/>
                    </a:lnTo>
                    <a:lnTo>
                      <a:pt x="165" y="82"/>
                    </a:lnTo>
                    <a:lnTo>
                      <a:pt x="166" y="82"/>
                    </a:lnTo>
                    <a:lnTo>
                      <a:pt x="169" y="82"/>
                    </a:lnTo>
                    <a:lnTo>
                      <a:pt x="178" y="79"/>
                    </a:lnTo>
                    <a:lnTo>
                      <a:pt x="179" y="79"/>
                    </a:lnTo>
                    <a:lnTo>
                      <a:pt x="179" y="76"/>
                    </a:lnTo>
                    <a:lnTo>
                      <a:pt x="181" y="74"/>
                    </a:lnTo>
                    <a:lnTo>
                      <a:pt x="181" y="74"/>
                    </a:lnTo>
                    <a:lnTo>
                      <a:pt x="182" y="74"/>
                    </a:lnTo>
                    <a:lnTo>
                      <a:pt x="182" y="74"/>
                    </a:lnTo>
                    <a:lnTo>
                      <a:pt x="186" y="74"/>
                    </a:lnTo>
                    <a:lnTo>
                      <a:pt x="189" y="74"/>
                    </a:lnTo>
                    <a:lnTo>
                      <a:pt x="191" y="74"/>
                    </a:lnTo>
                    <a:lnTo>
                      <a:pt x="194" y="74"/>
                    </a:lnTo>
                    <a:lnTo>
                      <a:pt x="198" y="74"/>
                    </a:lnTo>
                    <a:lnTo>
                      <a:pt x="199" y="74"/>
                    </a:lnTo>
                    <a:lnTo>
                      <a:pt x="205" y="74"/>
                    </a:lnTo>
                    <a:lnTo>
                      <a:pt x="207" y="74"/>
                    </a:lnTo>
                    <a:lnTo>
                      <a:pt x="208" y="74"/>
                    </a:lnTo>
                    <a:lnTo>
                      <a:pt x="208" y="74"/>
                    </a:lnTo>
                    <a:lnTo>
                      <a:pt x="209" y="74"/>
                    </a:lnTo>
                    <a:lnTo>
                      <a:pt x="209" y="74"/>
                    </a:lnTo>
                    <a:lnTo>
                      <a:pt x="209" y="73"/>
                    </a:lnTo>
                    <a:lnTo>
                      <a:pt x="209" y="73"/>
                    </a:lnTo>
                    <a:lnTo>
                      <a:pt x="209" y="72"/>
                    </a:lnTo>
                    <a:lnTo>
                      <a:pt x="209" y="72"/>
                    </a:lnTo>
                    <a:lnTo>
                      <a:pt x="209" y="72"/>
                    </a:lnTo>
                    <a:lnTo>
                      <a:pt x="209" y="70"/>
                    </a:lnTo>
                    <a:lnTo>
                      <a:pt x="209" y="70"/>
                    </a:lnTo>
                    <a:lnTo>
                      <a:pt x="212" y="69"/>
                    </a:lnTo>
                    <a:lnTo>
                      <a:pt x="212" y="67"/>
                    </a:lnTo>
                    <a:lnTo>
                      <a:pt x="212" y="67"/>
                    </a:lnTo>
                    <a:lnTo>
                      <a:pt x="212" y="67"/>
                    </a:lnTo>
                    <a:lnTo>
                      <a:pt x="212" y="67"/>
                    </a:lnTo>
                    <a:lnTo>
                      <a:pt x="212" y="6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30" name="Freeform 217">
                <a:extLst>
                  <a:ext uri="{FF2B5EF4-FFF2-40B4-BE49-F238E27FC236}">
                    <a16:creationId xmlns:a16="http://schemas.microsoft.com/office/drawing/2014/main" id="{6C9362CF-AA46-36F7-FD09-7D147BA0F6AD}"/>
                  </a:ext>
                </a:extLst>
              </p:cNvPr>
              <p:cNvSpPr>
                <a:spLocks/>
              </p:cNvSpPr>
              <p:nvPr/>
            </p:nvSpPr>
            <p:spPr bwMode="auto">
              <a:xfrm>
                <a:off x="3247" y="2210"/>
                <a:ext cx="148" cy="132"/>
              </a:xfrm>
              <a:custGeom>
                <a:avLst/>
                <a:gdLst>
                  <a:gd name="T0" fmla="*/ 148 w 148"/>
                  <a:gd name="T1" fmla="*/ 9 h 132"/>
                  <a:gd name="T2" fmla="*/ 148 w 148"/>
                  <a:gd name="T3" fmla="*/ 0 h 132"/>
                  <a:gd name="T4" fmla="*/ 66 w 148"/>
                  <a:gd name="T5" fmla="*/ 12 h 132"/>
                  <a:gd name="T6" fmla="*/ 59 w 148"/>
                  <a:gd name="T7" fmla="*/ 22 h 132"/>
                  <a:gd name="T8" fmla="*/ 51 w 148"/>
                  <a:gd name="T9" fmla="*/ 26 h 132"/>
                  <a:gd name="T10" fmla="*/ 47 w 148"/>
                  <a:gd name="T11" fmla="*/ 30 h 132"/>
                  <a:gd name="T12" fmla="*/ 40 w 148"/>
                  <a:gd name="T13" fmla="*/ 46 h 132"/>
                  <a:gd name="T14" fmla="*/ 39 w 148"/>
                  <a:gd name="T15" fmla="*/ 55 h 132"/>
                  <a:gd name="T16" fmla="*/ 37 w 148"/>
                  <a:gd name="T17" fmla="*/ 61 h 132"/>
                  <a:gd name="T18" fmla="*/ 23 w 148"/>
                  <a:gd name="T19" fmla="*/ 73 h 132"/>
                  <a:gd name="T20" fmla="*/ 20 w 148"/>
                  <a:gd name="T21" fmla="*/ 79 h 132"/>
                  <a:gd name="T22" fmla="*/ 23 w 148"/>
                  <a:gd name="T23" fmla="*/ 78 h 132"/>
                  <a:gd name="T24" fmla="*/ 18 w 148"/>
                  <a:gd name="T25" fmla="*/ 85 h 132"/>
                  <a:gd name="T26" fmla="*/ 14 w 148"/>
                  <a:gd name="T27" fmla="*/ 95 h 132"/>
                  <a:gd name="T28" fmla="*/ 11 w 148"/>
                  <a:gd name="T29" fmla="*/ 102 h 132"/>
                  <a:gd name="T30" fmla="*/ 7 w 148"/>
                  <a:gd name="T31" fmla="*/ 107 h 132"/>
                  <a:gd name="T32" fmla="*/ 4 w 148"/>
                  <a:gd name="T33" fmla="*/ 109 h 132"/>
                  <a:gd name="T34" fmla="*/ 0 w 148"/>
                  <a:gd name="T35" fmla="*/ 125 h 132"/>
                  <a:gd name="T36" fmla="*/ 1 w 148"/>
                  <a:gd name="T37" fmla="*/ 132 h 132"/>
                  <a:gd name="T38" fmla="*/ 1 w 148"/>
                  <a:gd name="T39" fmla="*/ 131 h 132"/>
                  <a:gd name="T40" fmla="*/ 1 w 148"/>
                  <a:gd name="T41" fmla="*/ 128 h 132"/>
                  <a:gd name="T42" fmla="*/ 1 w 148"/>
                  <a:gd name="T43" fmla="*/ 124 h 132"/>
                  <a:gd name="T44" fmla="*/ 3 w 148"/>
                  <a:gd name="T45" fmla="*/ 124 h 132"/>
                  <a:gd name="T46" fmla="*/ 4 w 148"/>
                  <a:gd name="T47" fmla="*/ 124 h 132"/>
                  <a:gd name="T48" fmla="*/ 30 w 148"/>
                  <a:gd name="T49" fmla="*/ 124 h 132"/>
                  <a:gd name="T50" fmla="*/ 37 w 148"/>
                  <a:gd name="T51" fmla="*/ 124 h 132"/>
                  <a:gd name="T52" fmla="*/ 47 w 148"/>
                  <a:gd name="T53" fmla="*/ 124 h 132"/>
                  <a:gd name="T54" fmla="*/ 54 w 148"/>
                  <a:gd name="T55" fmla="*/ 124 h 132"/>
                  <a:gd name="T56" fmla="*/ 67 w 148"/>
                  <a:gd name="T57" fmla="*/ 124 h 132"/>
                  <a:gd name="T58" fmla="*/ 72 w 148"/>
                  <a:gd name="T59" fmla="*/ 119 h 132"/>
                  <a:gd name="T60" fmla="*/ 72 w 148"/>
                  <a:gd name="T61" fmla="*/ 115 h 132"/>
                  <a:gd name="T62" fmla="*/ 70 w 148"/>
                  <a:gd name="T63" fmla="*/ 109 h 132"/>
                  <a:gd name="T64" fmla="*/ 70 w 148"/>
                  <a:gd name="T65" fmla="*/ 101 h 132"/>
                  <a:gd name="T66" fmla="*/ 70 w 148"/>
                  <a:gd name="T67" fmla="*/ 99 h 132"/>
                  <a:gd name="T68" fmla="*/ 69 w 148"/>
                  <a:gd name="T69" fmla="*/ 96 h 132"/>
                  <a:gd name="T70" fmla="*/ 69 w 148"/>
                  <a:gd name="T71" fmla="*/ 95 h 132"/>
                  <a:gd name="T72" fmla="*/ 70 w 148"/>
                  <a:gd name="T73" fmla="*/ 94 h 132"/>
                  <a:gd name="T74" fmla="*/ 76 w 148"/>
                  <a:gd name="T75" fmla="*/ 88 h 132"/>
                  <a:gd name="T76" fmla="*/ 79 w 148"/>
                  <a:gd name="T77" fmla="*/ 86 h 132"/>
                  <a:gd name="T78" fmla="*/ 80 w 148"/>
                  <a:gd name="T79" fmla="*/ 86 h 132"/>
                  <a:gd name="T80" fmla="*/ 83 w 148"/>
                  <a:gd name="T81" fmla="*/ 85 h 132"/>
                  <a:gd name="T82" fmla="*/ 86 w 148"/>
                  <a:gd name="T83" fmla="*/ 84 h 132"/>
                  <a:gd name="T84" fmla="*/ 89 w 148"/>
                  <a:gd name="T85" fmla="*/ 82 h 132"/>
                  <a:gd name="T86" fmla="*/ 106 w 148"/>
                  <a:gd name="T87" fmla="*/ 33 h 132"/>
                  <a:gd name="T88" fmla="*/ 148 w 148"/>
                  <a:gd name="T89" fmla="*/ 33 h 132"/>
                  <a:gd name="T90" fmla="*/ 148 w 148"/>
                  <a:gd name="T91" fmla="*/ 2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8" h="132">
                    <a:moveTo>
                      <a:pt x="148" y="26"/>
                    </a:moveTo>
                    <a:lnTo>
                      <a:pt x="148" y="9"/>
                    </a:lnTo>
                    <a:lnTo>
                      <a:pt x="148" y="9"/>
                    </a:lnTo>
                    <a:lnTo>
                      <a:pt x="148" y="0"/>
                    </a:lnTo>
                    <a:lnTo>
                      <a:pt x="69" y="0"/>
                    </a:lnTo>
                    <a:lnTo>
                      <a:pt x="66" y="12"/>
                    </a:lnTo>
                    <a:lnTo>
                      <a:pt x="63" y="17"/>
                    </a:lnTo>
                    <a:lnTo>
                      <a:pt x="59" y="22"/>
                    </a:lnTo>
                    <a:lnTo>
                      <a:pt x="57" y="23"/>
                    </a:lnTo>
                    <a:lnTo>
                      <a:pt x="51" y="26"/>
                    </a:lnTo>
                    <a:lnTo>
                      <a:pt x="49" y="28"/>
                    </a:lnTo>
                    <a:lnTo>
                      <a:pt x="47" y="30"/>
                    </a:lnTo>
                    <a:lnTo>
                      <a:pt x="46" y="32"/>
                    </a:lnTo>
                    <a:lnTo>
                      <a:pt x="40" y="46"/>
                    </a:lnTo>
                    <a:lnTo>
                      <a:pt x="40" y="49"/>
                    </a:lnTo>
                    <a:lnTo>
                      <a:pt x="39" y="55"/>
                    </a:lnTo>
                    <a:lnTo>
                      <a:pt x="39" y="58"/>
                    </a:lnTo>
                    <a:lnTo>
                      <a:pt x="37" y="61"/>
                    </a:lnTo>
                    <a:lnTo>
                      <a:pt x="27" y="71"/>
                    </a:lnTo>
                    <a:lnTo>
                      <a:pt x="23" y="73"/>
                    </a:lnTo>
                    <a:lnTo>
                      <a:pt x="21" y="76"/>
                    </a:lnTo>
                    <a:lnTo>
                      <a:pt x="20" y="79"/>
                    </a:lnTo>
                    <a:lnTo>
                      <a:pt x="23" y="75"/>
                    </a:lnTo>
                    <a:lnTo>
                      <a:pt x="23" y="78"/>
                    </a:lnTo>
                    <a:lnTo>
                      <a:pt x="20" y="82"/>
                    </a:lnTo>
                    <a:lnTo>
                      <a:pt x="18" y="85"/>
                    </a:lnTo>
                    <a:lnTo>
                      <a:pt x="16" y="88"/>
                    </a:lnTo>
                    <a:lnTo>
                      <a:pt x="14" y="95"/>
                    </a:lnTo>
                    <a:lnTo>
                      <a:pt x="13" y="99"/>
                    </a:lnTo>
                    <a:lnTo>
                      <a:pt x="11" y="102"/>
                    </a:lnTo>
                    <a:lnTo>
                      <a:pt x="10" y="104"/>
                    </a:lnTo>
                    <a:lnTo>
                      <a:pt x="7" y="107"/>
                    </a:lnTo>
                    <a:lnTo>
                      <a:pt x="6" y="108"/>
                    </a:lnTo>
                    <a:lnTo>
                      <a:pt x="4" y="109"/>
                    </a:lnTo>
                    <a:lnTo>
                      <a:pt x="3" y="112"/>
                    </a:lnTo>
                    <a:lnTo>
                      <a:pt x="0" y="125"/>
                    </a:lnTo>
                    <a:lnTo>
                      <a:pt x="0" y="130"/>
                    </a:lnTo>
                    <a:lnTo>
                      <a:pt x="1" y="132"/>
                    </a:lnTo>
                    <a:lnTo>
                      <a:pt x="1" y="132"/>
                    </a:lnTo>
                    <a:lnTo>
                      <a:pt x="1" y="131"/>
                    </a:lnTo>
                    <a:lnTo>
                      <a:pt x="1" y="130"/>
                    </a:lnTo>
                    <a:lnTo>
                      <a:pt x="1" y="128"/>
                    </a:lnTo>
                    <a:lnTo>
                      <a:pt x="1" y="125"/>
                    </a:lnTo>
                    <a:lnTo>
                      <a:pt x="1" y="124"/>
                    </a:lnTo>
                    <a:lnTo>
                      <a:pt x="3" y="124"/>
                    </a:lnTo>
                    <a:lnTo>
                      <a:pt x="3" y="124"/>
                    </a:lnTo>
                    <a:lnTo>
                      <a:pt x="3" y="124"/>
                    </a:lnTo>
                    <a:lnTo>
                      <a:pt x="4" y="124"/>
                    </a:lnTo>
                    <a:lnTo>
                      <a:pt x="8" y="124"/>
                    </a:lnTo>
                    <a:lnTo>
                      <a:pt x="30" y="124"/>
                    </a:lnTo>
                    <a:lnTo>
                      <a:pt x="34" y="124"/>
                    </a:lnTo>
                    <a:lnTo>
                      <a:pt x="37" y="124"/>
                    </a:lnTo>
                    <a:lnTo>
                      <a:pt x="44" y="124"/>
                    </a:lnTo>
                    <a:lnTo>
                      <a:pt x="47" y="124"/>
                    </a:lnTo>
                    <a:lnTo>
                      <a:pt x="51" y="124"/>
                    </a:lnTo>
                    <a:lnTo>
                      <a:pt x="54" y="124"/>
                    </a:lnTo>
                    <a:lnTo>
                      <a:pt x="62" y="124"/>
                    </a:lnTo>
                    <a:lnTo>
                      <a:pt x="67" y="124"/>
                    </a:lnTo>
                    <a:lnTo>
                      <a:pt x="72" y="124"/>
                    </a:lnTo>
                    <a:lnTo>
                      <a:pt x="72" y="119"/>
                    </a:lnTo>
                    <a:lnTo>
                      <a:pt x="72" y="117"/>
                    </a:lnTo>
                    <a:lnTo>
                      <a:pt x="72" y="115"/>
                    </a:lnTo>
                    <a:lnTo>
                      <a:pt x="72" y="112"/>
                    </a:lnTo>
                    <a:lnTo>
                      <a:pt x="70" y="109"/>
                    </a:lnTo>
                    <a:lnTo>
                      <a:pt x="70" y="102"/>
                    </a:lnTo>
                    <a:lnTo>
                      <a:pt x="70" y="101"/>
                    </a:lnTo>
                    <a:lnTo>
                      <a:pt x="70" y="99"/>
                    </a:lnTo>
                    <a:lnTo>
                      <a:pt x="70" y="99"/>
                    </a:lnTo>
                    <a:lnTo>
                      <a:pt x="69" y="98"/>
                    </a:lnTo>
                    <a:lnTo>
                      <a:pt x="69" y="96"/>
                    </a:lnTo>
                    <a:lnTo>
                      <a:pt x="69" y="95"/>
                    </a:lnTo>
                    <a:lnTo>
                      <a:pt x="69" y="95"/>
                    </a:lnTo>
                    <a:lnTo>
                      <a:pt x="70" y="94"/>
                    </a:lnTo>
                    <a:lnTo>
                      <a:pt x="70" y="94"/>
                    </a:lnTo>
                    <a:lnTo>
                      <a:pt x="72" y="92"/>
                    </a:lnTo>
                    <a:lnTo>
                      <a:pt x="76" y="88"/>
                    </a:lnTo>
                    <a:lnTo>
                      <a:pt x="79" y="86"/>
                    </a:lnTo>
                    <a:lnTo>
                      <a:pt x="79" y="86"/>
                    </a:lnTo>
                    <a:lnTo>
                      <a:pt x="80" y="86"/>
                    </a:lnTo>
                    <a:lnTo>
                      <a:pt x="80" y="86"/>
                    </a:lnTo>
                    <a:lnTo>
                      <a:pt x="82" y="85"/>
                    </a:lnTo>
                    <a:lnTo>
                      <a:pt x="83" y="85"/>
                    </a:lnTo>
                    <a:lnTo>
                      <a:pt x="83" y="85"/>
                    </a:lnTo>
                    <a:lnTo>
                      <a:pt x="86" y="84"/>
                    </a:lnTo>
                    <a:lnTo>
                      <a:pt x="87" y="84"/>
                    </a:lnTo>
                    <a:lnTo>
                      <a:pt x="89" y="82"/>
                    </a:lnTo>
                    <a:lnTo>
                      <a:pt x="89" y="33"/>
                    </a:lnTo>
                    <a:lnTo>
                      <a:pt x="106" y="33"/>
                    </a:lnTo>
                    <a:lnTo>
                      <a:pt x="129" y="33"/>
                    </a:lnTo>
                    <a:lnTo>
                      <a:pt x="148" y="33"/>
                    </a:lnTo>
                    <a:lnTo>
                      <a:pt x="148" y="26"/>
                    </a:lnTo>
                    <a:lnTo>
                      <a:pt x="148" y="2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31" name="Freeform 218">
                <a:extLst>
                  <a:ext uri="{FF2B5EF4-FFF2-40B4-BE49-F238E27FC236}">
                    <a16:creationId xmlns:a16="http://schemas.microsoft.com/office/drawing/2014/main" id="{6E0E60CC-6F71-BA49-99F8-78893E754CE7}"/>
                  </a:ext>
                </a:extLst>
              </p:cNvPr>
              <p:cNvSpPr>
                <a:spLocks/>
              </p:cNvSpPr>
              <p:nvPr/>
            </p:nvSpPr>
            <p:spPr bwMode="auto">
              <a:xfrm>
                <a:off x="4127" y="2453"/>
                <a:ext cx="264" cy="204"/>
              </a:xfrm>
              <a:custGeom>
                <a:avLst/>
                <a:gdLst>
                  <a:gd name="T0" fmla="*/ 218 w 264"/>
                  <a:gd name="T1" fmla="*/ 114 h 204"/>
                  <a:gd name="T2" fmla="*/ 191 w 264"/>
                  <a:gd name="T3" fmla="*/ 104 h 204"/>
                  <a:gd name="T4" fmla="*/ 185 w 264"/>
                  <a:gd name="T5" fmla="*/ 99 h 204"/>
                  <a:gd name="T6" fmla="*/ 181 w 264"/>
                  <a:gd name="T7" fmla="*/ 94 h 204"/>
                  <a:gd name="T8" fmla="*/ 178 w 264"/>
                  <a:gd name="T9" fmla="*/ 89 h 204"/>
                  <a:gd name="T10" fmla="*/ 174 w 264"/>
                  <a:gd name="T11" fmla="*/ 83 h 204"/>
                  <a:gd name="T12" fmla="*/ 171 w 264"/>
                  <a:gd name="T13" fmla="*/ 78 h 204"/>
                  <a:gd name="T14" fmla="*/ 174 w 264"/>
                  <a:gd name="T15" fmla="*/ 72 h 204"/>
                  <a:gd name="T16" fmla="*/ 175 w 264"/>
                  <a:gd name="T17" fmla="*/ 71 h 204"/>
                  <a:gd name="T18" fmla="*/ 160 w 264"/>
                  <a:gd name="T19" fmla="*/ 71 h 204"/>
                  <a:gd name="T20" fmla="*/ 155 w 264"/>
                  <a:gd name="T21" fmla="*/ 60 h 204"/>
                  <a:gd name="T22" fmla="*/ 119 w 264"/>
                  <a:gd name="T23" fmla="*/ 7 h 204"/>
                  <a:gd name="T24" fmla="*/ 106 w 264"/>
                  <a:gd name="T25" fmla="*/ 4 h 204"/>
                  <a:gd name="T26" fmla="*/ 96 w 264"/>
                  <a:gd name="T27" fmla="*/ 7 h 204"/>
                  <a:gd name="T28" fmla="*/ 81 w 264"/>
                  <a:gd name="T29" fmla="*/ 13 h 204"/>
                  <a:gd name="T30" fmla="*/ 73 w 264"/>
                  <a:gd name="T31" fmla="*/ 10 h 204"/>
                  <a:gd name="T32" fmla="*/ 62 w 264"/>
                  <a:gd name="T33" fmla="*/ 16 h 204"/>
                  <a:gd name="T34" fmla="*/ 59 w 264"/>
                  <a:gd name="T35" fmla="*/ 25 h 204"/>
                  <a:gd name="T36" fmla="*/ 56 w 264"/>
                  <a:gd name="T37" fmla="*/ 35 h 204"/>
                  <a:gd name="T38" fmla="*/ 56 w 264"/>
                  <a:gd name="T39" fmla="*/ 39 h 204"/>
                  <a:gd name="T40" fmla="*/ 49 w 264"/>
                  <a:gd name="T41" fmla="*/ 40 h 204"/>
                  <a:gd name="T42" fmla="*/ 40 w 264"/>
                  <a:gd name="T43" fmla="*/ 52 h 204"/>
                  <a:gd name="T44" fmla="*/ 35 w 264"/>
                  <a:gd name="T45" fmla="*/ 66 h 204"/>
                  <a:gd name="T46" fmla="*/ 33 w 264"/>
                  <a:gd name="T47" fmla="*/ 73 h 204"/>
                  <a:gd name="T48" fmla="*/ 26 w 264"/>
                  <a:gd name="T49" fmla="*/ 73 h 204"/>
                  <a:gd name="T50" fmla="*/ 23 w 264"/>
                  <a:gd name="T51" fmla="*/ 85 h 204"/>
                  <a:gd name="T52" fmla="*/ 20 w 264"/>
                  <a:gd name="T53" fmla="*/ 94 h 204"/>
                  <a:gd name="T54" fmla="*/ 20 w 264"/>
                  <a:gd name="T55" fmla="*/ 108 h 204"/>
                  <a:gd name="T56" fmla="*/ 19 w 264"/>
                  <a:gd name="T57" fmla="*/ 115 h 204"/>
                  <a:gd name="T58" fmla="*/ 16 w 264"/>
                  <a:gd name="T59" fmla="*/ 115 h 204"/>
                  <a:gd name="T60" fmla="*/ 6 w 264"/>
                  <a:gd name="T61" fmla="*/ 117 h 204"/>
                  <a:gd name="T62" fmla="*/ 0 w 264"/>
                  <a:gd name="T63" fmla="*/ 125 h 204"/>
                  <a:gd name="T64" fmla="*/ 3 w 264"/>
                  <a:gd name="T65" fmla="*/ 127 h 204"/>
                  <a:gd name="T66" fmla="*/ 12 w 264"/>
                  <a:gd name="T67" fmla="*/ 129 h 204"/>
                  <a:gd name="T68" fmla="*/ 17 w 264"/>
                  <a:gd name="T69" fmla="*/ 134 h 204"/>
                  <a:gd name="T70" fmla="*/ 19 w 264"/>
                  <a:gd name="T71" fmla="*/ 137 h 204"/>
                  <a:gd name="T72" fmla="*/ 26 w 264"/>
                  <a:gd name="T73" fmla="*/ 142 h 204"/>
                  <a:gd name="T74" fmla="*/ 29 w 264"/>
                  <a:gd name="T75" fmla="*/ 145 h 204"/>
                  <a:gd name="T76" fmla="*/ 35 w 264"/>
                  <a:gd name="T77" fmla="*/ 157 h 204"/>
                  <a:gd name="T78" fmla="*/ 36 w 264"/>
                  <a:gd name="T79" fmla="*/ 163 h 204"/>
                  <a:gd name="T80" fmla="*/ 42 w 264"/>
                  <a:gd name="T81" fmla="*/ 170 h 204"/>
                  <a:gd name="T82" fmla="*/ 49 w 264"/>
                  <a:gd name="T83" fmla="*/ 177 h 204"/>
                  <a:gd name="T84" fmla="*/ 71 w 264"/>
                  <a:gd name="T85" fmla="*/ 188 h 204"/>
                  <a:gd name="T86" fmla="*/ 109 w 264"/>
                  <a:gd name="T87" fmla="*/ 203 h 204"/>
                  <a:gd name="T88" fmla="*/ 121 w 264"/>
                  <a:gd name="T89" fmla="*/ 197 h 204"/>
                  <a:gd name="T90" fmla="*/ 141 w 264"/>
                  <a:gd name="T91" fmla="*/ 193 h 204"/>
                  <a:gd name="T92" fmla="*/ 158 w 264"/>
                  <a:gd name="T93" fmla="*/ 194 h 204"/>
                  <a:gd name="T94" fmla="*/ 161 w 264"/>
                  <a:gd name="T95" fmla="*/ 191 h 204"/>
                  <a:gd name="T96" fmla="*/ 170 w 264"/>
                  <a:gd name="T97" fmla="*/ 190 h 204"/>
                  <a:gd name="T98" fmla="*/ 175 w 264"/>
                  <a:gd name="T99" fmla="*/ 187 h 204"/>
                  <a:gd name="T100" fmla="*/ 177 w 264"/>
                  <a:gd name="T101" fmla="*/ 184 h 204"/>
                  <a:gd name="T102" fmla="*/ 191 w 264"/>
                  <a:gd name="T103" fmla="*/ 178 h 204"/>
                  <a:gd name="T104" fmla="*/ 208 w 264"/>
                  <a:gd name="T105" fmla="*/ 178 h 204"/>
                  <a:gd name="T106" fmla="*/ 230 w 264"/>
                  <a:gd name="T107" fmla="*/ 158 h 204"/>
                  <a:gd name="T108" fmla="*/ 257 w 264"/>
                  <a:gd name="T109" fmla="*/ 12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4" h="204">
                    <a:moveTo>
                      <a:pt x="247" y="124"/>
                    </a:moveTo>
                    <a:lnTo>
                      <a:pt x="246" y="122"/>
                    </a:lnTo>
                    <a:lnTo>
                      <a:pt x="234" y="119"/>
                    </a:lnTo>
                    <a:lnTo>
                      <a:pt x="231" y="118"/>
                    </a:lnTo>
                    <a:lnTo>
                      <a:pt x="224" y="115"/>
                    </a:lnTo>
                    <a:lnTo>
                      <a:pt x="218" y="114"/>
                    </a:lnTo>
                    <a:lnTo>
                      <a:pt x="216" y="112"/>
                    </a:lnTo>
                    <a:lnTo>
                      <a:pt x="210" y="111"/>
                    </a:lnTo>
                    <a:lnTo>
                      <a:pt x="197" y="106"/>
                    </a:lnTo>
                    <a:lnTo>
                      <a:pt x="195" y="106"/>
                    </a:lnTo>
                    <a:lnTo>
                      <a:pt x="194" y="105"/>
                    </a:lnTo>
                    <a:lnTo>
                      <a:pt x="191" y="104"/>
                    </a:lnTo>
                    <a:lnTo>
                      <a:pt x="187" y="99"/>
                    </a:lnTo>
                    <a:lnTo>
                      <a:pt x="187" y="99"/>
                    </a:lnTo>
                    <a:lnTo>
                      <a:pt x="187" y="99"/>
                    </a:lnTo>
                    <a:lnTo>
                      <a:pt x="187" y="99"/>
                    </a:lnTo>
                    <a:lnTo>
                      <a:pt x="187" y="99"/>
                    </a:lnTo>
                    <a:lnTo>
                      <a:pt x="185" y="99"/>
                    </a:lnTo>
                    <a:lnTo>
                      <a:pt x="185" y="99"/>
                    </a:lnTo>
                    <a:lnTo>
                      <a:pt x="185" y="98"/>
                    </a:lnTo>
                    <a:lnTo>
                      <a:pt x="184" y="98"/>
                    </a:lnTo>
                    <a:lnTo>
                      <a:pt x="184" y="96"/>
                    </a:lnTo>
                    <a:lnTo>
                      <a:pt x="183" y="96"/>
                    </a:lnTo>
                    <a:lnTo>
                      <a:pt x="181" y="94"/>
                    </a:lnTo>
                    <a:lnTo>
                      <a:pt x="180" y="91"/>
                    </a:lnTo>
                    <a:lnTo>
                      <a:pt x="180" y="91"/>
                    </a:lnTo>
                    <a:lnTo>
                      <a:pt x="180" y="89"/>
                    </a:lnTo>
                    <a:lnTo>
                      <a:pt x="180" y="89"/>
                    </a:lnTo>
                    <a:lnTo>
                      <a:pt x="178" y="89"/>
                    </a:lnTo>
                    <a:lnTo>
                      <a:pt x="178" y="89"/>
                    </a:lnTo>
                    <a:lnTo>
                      <a:pt x="177" y="88"/>
                    </a:lnTo>
                    <a:lnTo>
                      <a:pt x="177" y="88"/>
                    </a:lnTo>
                    <a:lnTo>
                      <a:pt x="175" y="86"/>
                    </a:lnTo>
                    <a:lnTo>
                      <a:pt x="175" y="85"/>
                    </a:lnTo>
                    <a:lnTo>
                      <a:pt x="174" y="85"/>
                    </a:lnTo>
                    <a:lnTo>
                      <a:pt x="174" y="83"/>
                    </a:lnTo>
                    <a:lnTo>
                      <a:pt x="174" y="83"/>
                    </a:lnTo>
                    <a:lnTo>
                      <a:pt x="174" y="83"/>
                    </a:lnTo>
                    <a:lnTo>
                      <a:pt x="172" y="82"/>
                    </a:lnTo>
                    <a:lnTo>
                      <a:pt x="172" y="81"/>
                    </a:lnTo>
                    <a:lnTo>
                      <a:pt x="172" y="79"/>
                    </a:lnTo>
                    <a:lnTo>
                      <a:pt x="171" y="78"/>
                    </a:lnTo>
                    <a:lnTo>
                      <a:pt x="171" y="78"/>
                    </a:lnTo>
                    <a:lnTo>
                      <a:pt x="171" y="78"/>
                    </a:lnTo>
                    <a:lnTo>
                      <a:pt x="171" y="78"/>
                    </a:lnTo>
                    <a:lnTo>
                      <a:pt x="171" y="76"/>
                    </a:lnTo>
                    <a:lnTo>
                      <a:pt x="172" y="75"/>
                    </a:lnTo>
                    <a:lnTo>
                      <a:pt x="174" y="72"/>
                    </a:lnTo>
                    <a:lnTo>
                      <a:pt x="174" y="71"/>
                    </a:lnTo>
                    <a:lnTo>
                      <a:pt x="175" y="71"/>
                    </a:lnTo>
                    <a:lnTo>
                      <a:pt x="175" y="71"/>
                    </a:lnTo>
                    <a:lnTo>
                      <a:pt x="175" y="71"/>
                    </a:lnTo>
                    <a:lnTo>
                      <a:pt x="175" y="71"/>
                    </a:lnTo>
                    <a:lnTo>
                      <a:pt x="175" y="71"/>
                    </a:lnTo>
                    <a:lnTo>
                      <a:pt x="174" y="69"/>
                    </a:lnTo>
                    <a:lnTo>
                      <a:pt x="172" y="69"/>
                    </a:lnTo>
                    <a:lnTo>
                      <a:pt x="172" y="69"/>
                    </a:lnTo>
                    <a:lnTo>
                      <a:pt x="171" y="69"/>
                    </a:lnTo>
                    <a:lnTo>
                      <a:pt x="170" y="69"/>
                    </a:lnTo>
                    <a:lnTo>
                      <a:pt x="160" y="71"/>
                    </a:lnTo>
                    <a:lnTo>
                      <a:pt x="158" y="71"/>
                    </a:lnTo>
                    <a:lnTo>
                      <a:pt x="157" y="71"/>
                    </a:lnTo>
                    <a:lnTo>
                      <a:pt x="155" y="69"/>
                    </a:lnTo>
                    <a:lnTo>
                      <a:pt x="155" y="69"/>
                    </a:lnTo>
                    <a:lnTo>
                      <a:pt x="155" y="66"/>
                    </a:lnTo>
                    <a:lnTo>
                      <a:pt x="155" y="60"/>
                    </a:lnTo>
                    <a:lnTo>
                      <a:pt x="158" y="55"/>
                    </a:lnTo>
                    <a:lnTo>
                      <a:pt x="165" y="43"/>
                    </a:lnTo>
                    <a:lnTo>
                      <a:pt x="137" y="14"/>
                    </a:lnTo>
                    <a:lnTo>
                      <a:pt x="132" y="10"/>
                    </a:lnTo>
                    <a:lnTo>
                      <a:pt x="125" y="7"/>
                    </a:lnTo>
                    <a:lnTo>
                      <a:pt x="119" y="7"/>
                    </a:lnTo>
                    <a:lnTo>
                      <a:pt x="111" y="6"/>
                    </a:lnTo>
                    <a:lnTo>
                      <a:pt x="109" y="6"/>
                    </a:lnTo>
                    <a:lnTo>
                      <a:pt x="108" y="6"/>
                    </a:lnTo>
                    <a:lnTo>
                      <a:pt x="108" y="6"/>
                    </a:lnTo>
                    <a:lnTo>
                      <a:pt x="108" y="4"/>
                    </a:lnTo>
                    <a:lnTo>
                      <a:pt x="106" y="4"/>
                    </a:lnTo>
                    <a:lnTo>
                      <a:pt x="105" y="6"/>
                    </a:lnTo>
                    <a:lnTo>
                      <a:pt x="101" y="7"/>
                    </a:lnTo>
                    <a:lnTo>
                      <a:pt x="99" y="7"/>
                    </a:lnTo>
                    <a:lnTo>
                      <a:pt x="98" y="7"/>
                    </a:lnTo>
                    <a:lnTo>
                      <a:pt x="96" y="7"/>
                    </a:lnTo>
                    <a:lnTo>
                      <a:pt x="96" y="7"/>
                    </a:lnTo>
                    <a:lnTo>
                      <a:pt x="93" y="6"/>
                    </a:lnTo>
                    <a:lnTo>
                      <a:pt x="89" y="2"/>
                    </a:lnTo>
                    <a:lnTo>
                      <a:pt x="86" y="0"/>
                    </a:lnTo>
                    <a:lnTo>
                      <a:pt x="83" y="7"/>
                    </a:lnTo>
                    <a:lnTo>
                      <a:pt x="82" y="10"/>
                    </a:lnTo>
                    <a:lnTo>
                      <a:pt x="81" y="13"/>
                    </a:lnTo>
                    <a:lnTo>
                      <a:pt x="81" y="12"/>
                    </a:lnTo>
                    <a:lnTo>
                      <a:pt x="79" y="10"/>
                    </a:lnTo>
                    <a:lnTo>
                      <a:pt x="76" y="9"/>
                    </a:lnTo>
                    <a:lnTo>
                      <a:pt x="75" y="7"/>
                    </a:lnTo>
                    <a:lnTo>
                      <a:pt x="73" y="9"/>
                    </a:lnTo>
                    <a:lnTo>
                      <a:pt x="73" y="10"/>
                    </a:lnTo>
                    <a:lnTo>
                      <a:pt x="72" y="10"/>
                    </a:lnTo>
                    <a:lnTo>
                      <a:pt x="69" y="12"/>
                    </a:lnTo>
                    <a:lnTo>
                      <a:pt x="65" y="10"/>
                    </a:lnTo>
                    <a:lnTo>
                      <a:pt x="63" y="12"/>
                    </a:lnTo>
                    <a:lnTo>
                      <a:pt x="62" y="14"/>
                    </a:lnTo>
                    <a:lnTo>
                      <a:pt x="62" y="16"/>
                    </a:lnTo>
                    <a:lnTo>
                      <a:pt x="62" y="17"/>
                    </a:lnTo>
                    <a:lnTo>
                      <a:pt x="62" y="19"/>
                    </a:lnTo>
                    <a:lnTo>
                      <a:pt x="60" y="20"/>
                    </a:lnTo>
                    <a:lnTo>
                      <a:pt x="60" y="22"/>
                    </a:lnTo>
                    <a:lnTo>
                      <a:pt x="60" y="23"/>
                    </a:lnTo>
                    <a:lnTo>
                      <a:pt x="59" y="25"/>
                    </a:lnTo>
                    <a:lnTo>
                      <a:pt x="59" y="26"/>
                    </a:lnTo>
                    <a:lnTo>
                      <a:pt x="58" y="27"/>
                    </a:lnTo>
                    <a:lnTo>
                      <a:pt x="58" y="29"/>
                    </a:lnTo>
                    <a:lnTo>
                      <a:pt x="56" y="32"/>
                    </a:lnTo>
                    <a:lnTo>
                      <a:pt x="56" y="33"/>
                    </a:lnTo>
                    <a:lnTo>
                      <a:pt x="56" y="35"/>
                    </a:lnTo>
                    <a:lnTo>
                      <a:pt x="56" y="36"/>
                    </a:lnTo>
                    <a:lnTo>
                      <a:pt x="56" y="37"/>
                    </a:lnTo>
                    <a:lnTo>
                      <a:pt x="56" y="37"/>
                    </a:lnTo>
                    <a:lnTo>
                      <a:pt x="56" y="37"/>
                    </a:lnTo>
                    <a:lnTo>
                      <a:pt x="56" y="37"/>
                    </a:lnTo>
                    <a:lnTo>
                      <a:pt x="56" y="39"/>
                    </a:lnTo>
                    <a:lnTo>
                      <a:pt x="56" y="39"/>
                    </a:lnTo>
                    <a:lnTo>
                      <a:pt x="56" y="39"/>
                    </a:lnTo>
                    <a:lnTo>
                      <a:pt x="55" y="39"/>
                    </a:lnTo>
                    <a:lnTo>
                      <a:pt x="53" y="39"/>
                    </a:lnTo>
                    <a:lnTo>
                      <a:pt x="50" y="39"/>
                    </a:lnTo>
                    <a:lnTo>
                      <a:pt x="49" y="40"/>
                    </a:lnTo>
                    <a:lnTo>
                      <a:pt x="48" y="42"/>
                    </a:lnTo>
                    <a:lnTo>
                      <a:pt x="46" y="43"/>
                    </a:lnTo>
                    <a:lnTo>
                      <a:pt x="45" y="45"/>
                    </a:lnTo>
                    <a:lnTo>
                      <a:pt x="42" y="49"/>
                    </a:lnTo>
                    <a:lnTo>
                      <a:pt x="42" y="50"/>
                    </a:lnTo>
                    <a:lnTo>
                      <a:pt x="40" y="52"/>
                    </a:lnTo>
                    <a:lnTo>
                      <a:pt x="39" y="55"/>
                    </a:lnTo>
                    <a:lnTo>
                      <a:pt x="37" y="56"/>
                    </a:lnTo>
                    <a:lnTo>
                      <a:pt x="37" y="58"/>
                    </a:lnTo>
                    <a:lnTo>
                      <a:pt x="36" y="60"/>
                    </a:lnTo>
                    <a:lnTo>
                      <a:pt x="36" y="65"/>
                    </a:lnTo>
                    <a:lnTo>
                      <a:pt x="35" y="66"/>
                    </a:lnTo>
                    <a:lnTo>
                      <a:pt x="36" y="66"/>
                    </a:lnTo>
                    <a:lnTo>
                      <a:pt x="35" y="69"/>
                    </a:lnTo>
                    <a:lnTo>
                      <a:pt x="35" y="71"/>
                    </a:lnTo>
                    <a:lnTo>
                      <a:pt x="35" y="72"/>
                    </a:lnTo>
                    <a:lnTo>
                      <a:pt x="35" y="73"/>
                    </a:lnTo>
                    <a:lnTo>
                      <a:pt x="33" y="73"/>
                    </a:lnTo>
                    <a:lnTo>
                      <a:pt x="33" y="73"/>
                    </a:lnTo>
                    <a:lnTo>
                      <a:pt x="33" y="75"/>
                    </a:lnTo>
                    <a:lnTo>
                      <a:pt x="30" y="73"/>
                    </a:lnTo>
                    <a:lnTo>
                      <a:pt x="29" y="73"/>
                    </a:lnTo>
                    <a:lnTo>
                      <a:pt x="29" y="72"/>
                    </a:lnTo>
                    <a:lnTo>
                      <a:pt x="26" y="73"/>
                    </a:lnTo>
                    <a:lnTo>
                      <a:pt x="25" y="75"/>
                    </a:lnTo>
                    <a:lnTo>
                      <a:pt x="23" y="78"/>
                    </a:lnTo>
                    <a:lnTo>
                      <a:pt x="23" y="81"/>
                    </a:lnTo>
                    <a:lnTo>
                      <a:pt x="25" y="83"/>
                    </a:lnTo>
                    <a:lnTo>
                      <a:pt x="23" y="85"/>
                    </a:lnTo>
                    <a:lnTo>
                      <a:pt x="23" y="85"/>
                    </a:lnTo>
                    <a:lnTo>
                      <a:pt x="23" y="86"/>
                    </a:lnTo>
                    <a:lnTo>
                      <a:pt x="23" y="88"/>
                    </a:lnTo>
                    <a:lnTo>
                      <a:pt x="22" y="89"/>
                    </a:lnTo>
                    <a:lnTo>
                      <a:pt x="20" y="92"/>
                    </a:lnTo>
                    <a:lnTo>
                      <a:pt x="20" y="92"/>
                    </a:lnTo>
                    <a:lnTo>
                      <a:pt x="20" y="94"/>
                    </a:lnTo>
                    <a:lnTo>
                      <a:pt x="20" y="96"/>
                    </a:lnTo>
                    <a:lnTo>
                      <a:pt x="20" y="96"/>
                    </a:lnTo>
                    <a:lnTo>
                      <a:pt x="20" y="98"/>
                    </a:lnTo>
                    <a:lnTo>
                      <a:pt x="20" y="99"/>
                    </a:lnTo>
                    <a:lnTo>
                      <a:pt x="20" y="104"/>
                    </a:lnTo>
                    <a:lnTo>
                      <a:pt x="20" y="108"/>
                    </a:lnTo>
                    <a:lnTo>
                      <a:pt x="20" y="109"/>
                    </a:lnTo>
                    <a:lnTo>
                      <a:pt x="20" y="111"/>
                    </a:lnTo>
                    <a:lnTo>
                      <a:pt x="20" y="112"/>
                    </a:lnTo>
                    <a:lnTo>
                      <a:pt x="20" y="112"/>
                    </a:lnTo>
                    <a:lnTo>
                      <a:pt x="20" y="114"/>
                    </a:lnTo>
                    <a:lnTo>
                      <a:pt x="19" y="115"/>
                    </a:lnTo>
                    <a:lnTo>
                      <a:pt x="19" y="115"/>
                    </a:lnTo>
                    <a:lnTo>
                      <a:pt x="17" y="115"/>
                    </a:lnTo>
                    <a:lnTo>
                      <a:pt x="17" y="115"/>
                    </a:lnTo>
                    <a:lnTo>
                      <a:pt x="16" y="115"/>
                    </a:lnTo>
                    <a:lnTo>
                      <a:pt x="16" y="115"/>
                    </a:lnTo>
                    <a:lnTo>
                      <a:pt x="16" y="115"/>
                    </a:lnTo>
                    <a:lnTo>
                      <a:pt x="15" y="115"/>
                    </a:lnTo>
                    <a:lnTo>
                      <a:pt x="9" y="115"/>
                    </a:lnTo>
                    <a:lnTo>
                      <a:pt x="7" y="115"/>
                    </a:lnTo>
                    <a:lnTo>
                      <a:pt x="7" y="115"/>
                    </a:lnTo>
                    <a:lnTo>
                      <a:pt x="6" y="115"/>
                    </a:lnTo>
                    <a:lnTo>
                      <a:pt x="6" y="117"/>
                    </a:lnTo>
                    <a:lnTo>
                      <a:pt x="4" y="117"/>
                    </a:lnTo>
                    <a:lnTo>
                      <a:pt x="4" y="118"/>
                    </a:lnTo>
                    <a:lnTo>
                      <a:pt x="3" y="122"/>
                    </a:lnTo>
                    <a:lnTo>
                      <a:pt x="2" y="124"/>
                    </a:lnTo>
                    <a:lnTo>
                      <a:pt x="0" y="125"/>
                    </a:lnTo>
                    <a:lnTo>
                      <a:pt x="0" y="125"/>
                    </a:lnTo>
                    <a:lnTo>
                      <a:pt x="0" y="125"/>
                    </a:lnTo>
                    <a:lnTo>
                      <a:pt x="2" y="125"/>
                    </a:lnTo>
                    <a:lnTo>
                      <a:pt x="2" y="127"/>
                    </a:lnTo>
                    <a:lnTo>
                      <a:pt x="2" y="127"/>
                    </a:lnTo>
                    <a:lnTo>
                      <a:pt x="3" y="127"/>
                    </a:lnTo>
                    <a:lnTo>
                      <a:pt x="3" y="127"/>
                    </a:lnTo>
                    <a:lnTo>
                      <a:pt x="4" y="128"/>
                    </a:lnTo>
                    <a:lnTo>
                      <a:pt x="4" y="128"/>
                    </a:lnTo>
                    <a:lnTo>
                      <a:pt x="6" y="128"/>
                    </a:lnTo>
                    <a:lnTo>
                      <a:pt x="6" y="128"/>
                    </a:lnTo>
                    <a:lnTo>
                      <a:pt x="12" y="129"/>
                    </a:lnTo>
                    <a:lnTo>
                      <a:pt x="12" y="129"/>
                    </a:lnTo>
                    <a:lnTo>
                      <a:pt x="13" y="129"/>
                    </a:lnTo>
                    <a:lnTo>
                      <a:pt x="15" y="129"/>
                    </a:lnTo>
                    <a:lnTo>
                      <a:pt x="15" y="131"/>
                    </a:lnTo>
                    <a:lnTo>
                      <a:pt x="16" y="132"/>
                    </a:lnTo>
                    <a:lnTo>
                      <a:pt x="17" y="132"/>
                    </a:lnTo>
                    <a:lnTo>
                      <a:pt x="17" y="134"/>
                    </a:lnTo>
                    <a:lnTo>
                      <a:pt x="19" y="134"/>
                    </a:lnTo>
                    <a:lnTo>
                      <a:pt x="19" y="135"/>
                    </a:lnTo>
                    <a:lnTo>
                      <a:pt x="19" y="135"/>
                    </a:lnTo>
                    <a:lnTo>
                      <a:pt x="19" y="135"/>
                    </a:lnTo>
                    <a:lnTo>
                      <a:pt x="19" y="137"/>
                    </a:lnTo>
                    <a:lnTo>
                      <a:pt x="19" y="137"/>
                    </a:lnTo>
                    <a:lnTo>
                      <a:pt x="22" y="140"/>
                    </a:lnTo>
                    <a:lnTo>
                      <a:pt x="23" y="141"/>
                    </a:lnTo>
                    <a:lnTo>
                      <a:pt x="23" y="141"/>
                    </a:lnTo>
                    <a:lnTo>
                      <a:pt x="25" y="141"/>
                    </a:lnTo>
                    <a:lnTo>
                      <a:pt x="25" y="142"/>
                    </a:lnTo>
                    <a:lnTo>
                      <a:pt x="26" y="142"/>
                    </a:lnTo>
                    <a:lnTo>
                      <a:pt x="27" y="142"/>
                    </a:lnTo>
                    <a:lnTo>
                      <a:pt x="27" y="144"/>
                    </a:lnTo>
                    <a:lnTo>
                      <a:pt x="27" y="144"/>
                    </a:lnTo>
                    <a:lnTo>
                      <a:pt x="29" y="145"/>
                    </a:lnTo>
                    <a:lnTo>
                      <a:pt x="29" y="145"/>
                    </a:lnTo>
                    <a:lnTo>
                      <a:pt x="29" y="145"/>
                    </a:lnTo>
                    <a:lnTo>
                      <a:pt x="30" y="147"/>
                    </a:lnTo>
                    <a:lnTo>
                      <a:pt x="30" y="147"/>
                    </a:lnTo>
                    <a:lnTo>
                      <a:pt x="32" y="148"/>
                    </a:lnTo>
                    <a:lnTo>
                      <a:pt x="33" y="155"/>
                    </a:lnTo>
                    <a:lnTo>
                      <a:pt x="35" y="155"/>
                    </a:lnTo>
                    <a:lnTo>
                      <a:pt x="35" y="157"/>
                    </a:lnTo>
                    <a:lnTo>
                      <a:pt x="35" y="158"/>
                    </a:lnTo>
                    <a:lnTo>
                      <a:pt x="35" y="158"/>
                    </a:lnTo>
                    <a:lnTo>
                      <a:pt x="36" y="160"/>
                    </a:lnTo>
                    <a:lnTo>
                      <a:pt x="36" y="160"/>
                    </a:lnTo>
                    <a:lnTo>
                      <a:pt x="36" y="161"/>
                    </a:lnTo>
                    <a:lnTo>
                      <a:pt x="36" y="163"/>
                    </a:lnTo>
                    <a:lnTo>
                      <a:pt x="37" y="164"/>
                    </a:lnTo>
                    <a:lnTo>
                      <a:pt x="37" y="165"/>
                    </a:lnTo>
                    <a:lnTo>
                      <a:pt x="39" y="167"/>
                    </a:lnTo>
                    <a:lnTo>
                      <a:pt x="40" y="167"/>
                    </a:lnTo>
                    <a:lnTo>
                      <a:pt x="40" y="168"/>
                    </a:lnTo>
                    <a:lnTo>
                      <a:pt x="42" y="170"/>
                    </a:lnTo>
                    <a:lnTo>
                      <a:pt x="43" y="170"/>
                    </a:lnTo>
                    <a:lnTo>
                      <a:pt x="45" y="170"/>
                    </a:lnTo>
                    <a:lnTo>
                      <a:pt x="48" y="170"/>
                    </a:lnTo>
                    <a:lnTo>
                      <a:pt x="49" y="173"/>
                    </a:lnTo>
                    <a:lnTo>
                      <a:pt x="49" y="174"/>
                    </a:lnTo>
                    <a:lnTo>
                      <a:pt x="49" y="177"/>
                    </a:lnTo>
                    <a:lnTo>
                      <a:pt x="49" y="180"/>
                    </a:lnTo>
                    <a:lnTo>
                      <a:pt x="52" y="183"/>
                    </a:lnTo>
                    <a:lnTo>
                      <a:pt x="53" y="186"/>
                    </a:lnTo>
                    <a:lnTo>
                      <a:pt x="56" y="186"/>
                    </a:lnTo>
                    <a:lnTo>
                      <a:pt x="66" y="187"/>
                    </a:lnTo>
                    <a:lnTo>
                      <a:pt x="71" y="188"/>
                    </a:lnTo>
                    <a:lnTo>
                      <a:pt x="73" y="190"/>
                    </a:lnTo>
                    <a:lnTo>
                      <a:pt x="88" y="198"/>
                    </a:lnTo>
                    <a:lnTo>
                      <a:pt x="91" y="200"/>
                    </a:lnTo>
                    <a:lnTo>
                      <a:pt x="95" y="201"/>
                    </a:lnTo>
                    <a:lnTo>
                      <a:pt x="102" y="201"/>
                    </a:lnTo>
                    <a:lnTo>
                      <a:pt x="109" y="203"/>
                    </a:lnTo>
                    <a:lnTo>
                      <a:pt x="112" y="204"/>
                    </a:lnTo>
                    <a:lnTo>
                      <a:pt x="116" y="203"/>
                    </a:lnTo>
                    <a:lnTo>
                      <a:pt x="118" y="203"/>
                    </a:lnTo>
                    <a:lnTo>
                      <a:pt x="119" y="200"/>
                    </a:lnTo>
                    <a:lnTo>
                      <a:pt x="119" y="198"/>
                    </a:lnTo>
                    <a:lnTo>
                      <a:pt x="121" y="197"/>
                    </a:lnTo>
                    <a:lnTo>
                      <a:pt x="122" y="196"/>
                    </a:lnTo>
                    <a:lnTo>
                      <a:pt x="134" y="190"/>
                    </a:lnTo>
                    <a:lnTo>
                      <a:pt x="137" y="190"/>
                    </a:lnTo>
                    <a:lnTo>
                      <a:pt x="138" y="190"/>
                    </a:lnTo>
                    <a:lnTo>
                      <a:pt x="139" y="191"/>
                    </a:lnTo>
                    <a:lnTo>
                      <a:pt x="141" y="193"/>
                    </a:lnTo>
                    <a:lnTo>
                      <a:pt x="142" y="194"/>
                    </a:lnTo>
                    <a:lnTo>
                      <a:pt x="145" y="196"/>
                    </a:lnTo>
                    <a:lnTo>
                      <a:pt x="149" y="196"/>
                    </a:lnTo>
                    <a:lnTo>
                      <a:pt x="157" y="194"/>
                    </a:lnTo>
                    <a:lnTo>
                      <a:pt x="157" y="194"/>
                    </a:lnTo>
                    <a:lnTo>
                      <a:pt x="158" y="194"/>
                    </a:lnTo>
                    <a:lnTo>
                      <a:pt x="158" y="193"/>
                    </a:lnTo>
                    <a:lnTo>
                      <a:pt x="158" y="193"/>
                    </a:lnTo>
                    <a:lnTo>
                      <a:pt x="158" y="193"/>
                    </a:lnTo>
                    <a:lnTo>
                      <a:pt x="160" y="193"/>
                    </a:lnTo>
                    <a:lnTo>
                      <a:pt x="160" y="191"/>
                    </a:lnTo>
                    <a:lnTo>
                      <a:pt x="161" y="191"/>
                    </a:lnTo>
                    <a:lnTo>
                      <a:pt x="161" y="191"/>
                    </a:lnTo>
                    <a:lnTo>
                      <a:pt x="162" y="191"/>
                    </a:lnTo>
                    <a:lnTo>
                      <a:pt x="162" y="191"/>
                    </a:lnTo>
                    <a:lnTo>
                      <a:pt x="164" y="191"/>
                    </a:lnTo>
                    <a:lnTo>
                      <a:pt x="164" y="190"/>
                    </a:lnTo>
                    <a:lnTo>
                      <a:pt x="170" y="190"/>
                    </a:lnTo>
                    <a:lnTo>
                      <a:pt x="172" y="190"/>
                    </a:lnTo>
                    <a:lnTo>
                      <a:pt x="174" y="188"/>
                    </a:lnTo>
                    <a:lnTo>
                      <a:pt x="174" y="188"/>
                    </a:lnTo>
                    <a:lnTo>
                      <a:pt x="175" y="188"/>
                    </a:lnTo>
                    <a:lnTo>
                      <a:pt x="175" y="187"/>
                    </a:lnTo>
                    <a:lnTo>
                      <a:pt x="175" y="187"/>
                    </a:lnTo>
                    <a:lnTo>
                      <a:pt x="175" y="187"/>
                    </a:lnTo>
                    <a:lnTo>
                      <a:pt x="175" y="186"/>
                    </a:lnTo>
                    <a:lnTo>
                      <a:pt x="177" y="186"/>
                    </a:lnTo>
                    <a:lnTo>
                      <a:pt x="177" y="184"/>
                    </a:lnTo>
                    <a:lnTo>
                      <a:pt x="177" y="184"/>
                    </a:lnTo>
                    <a:lnTo>
                      <a:pt x="177" y="184"/>
                    </a:lnTo>
                    <a:lnTo>
                      <a:pt x="177" y="184"/>
                    </a:lnTo>
                    <a:lnTo>
                      <a:pt x="178" y="184"/>
                    </a:lnTo>
                    <a:lnTo>
                      <a:pt x="180" y="183"/>
                    </a:lnTo>
                    <a:lnTo>
                      <a:pt x="183" y="181"/>
                    </a:lnTo>
                    <a:lnTo>
                      <a:pt x="187" y="180"/>
                    </a:lnTo>
                    <a:lnTo>
                      <a:pt x="191" y="178"/>
                    </a:lnTo>
                    <a:lnTo>
                      <a:pt x="193" y="178"/>
                    </a:lnTo>
                    <a:lnTo>
                      <a:pt x="193" y="178"/>
                    </a:lnTo>
                    <a:lnTo>
                      <a:pt x="194" y="177"/>
                    </a:lnTo>
                    <a:lnTo>
                      <a:pt x="198" y="177"/>
                    </a:lnTo>
                    <a:lnTo>
                      <a:pt x="203" y="178"/>
                    </a:lnTo>
                    <a:lnTo>
                      <a:pt x="208" y="178"/>
                    </a:lnTo>
                    <a:lnTo>
                      <a:pt x="210" y="178"/>
                    </a:lnTo>
                    <a:lnTo>
                      <a:pt x="210" y="178"/>
                    </a:lnTo>
                    <a:lnTo>
                      <a:pt x="211" y="177"/>
                    </a:lnTo>
                    <a:lnTo>
                      <a:pt x="213" y="177"/>
                    </a:lnTo>
                    <a:lnTo>
                      <a:pt x="217" y="171"/>
                    </a:lnTo>
                    <a:lnTo>
                      <a:pt x="230" y="158"/>
                    </a:lnTo>
                    <a:lnTo>
                      <a:pt x="237" y="150"/>
                    </a:lnTo>
                    <a:lnTo>
                      <a:pt x="239" y="148"/>
                    </a:lnTo>
                    <a:lnTo>
                      <a:pt x="244" y="144"/>
                    </a:lnTo>
                    <a:lnTo>
                      <a:pt x="247" y="141"/>
                    </a:lnTo>
                    <a:lnTo>
                      <a:pt x="253" y="135"/>
                    </a:lnTo>
                    <a:lnTo>
                      <a:pt x="257" y="129"/>
                    </a:lnTo>
                    <a:lnTo>
                      <a:pt x="264" y="124"/>
                    </a:lnTo>
                    <a:lnTo>
                      <a:pt x="247" y="12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32" name="Freeform 219">
                <a:extLst>
                  <a:ext uri="{FF2B5EF4-FFF2-40B4-BE49-F238E27FC236}">
                    <a16:creationId xmlns:a16="http://schemas.microsoft.com/office/drawing/2014/main" id="{D1FFCCAD-E234-C5B6-BCF6-49365934BA0C}"/>
                  </a:ext>
                </a:extLst>
              </p:cNvPr>
              <p:cNvSpPr>
                <a:spLocks/>
              </p:cNvSpPr>
              <p:nvPr/>
            </p:nvSpPr>
            <p:spPr bwMode="auto">
              <a:xfrm>
                <a:off x="3932" y="2317"/>
                <a:ext cx="294" cy="235"/>
              </a:xfrm>
              <a:custGeom>
                <a:avLst/>
                <a:gdLst>
                  <a:gd name="T0" fmla="*/ 286 w 294"/>
                  <a:gd name="T1" fmla="*/ 73 h 235"/>
                  <a:gd name="T2" fmla="*/ 271 w 294"/>
                  <a:gd name="T3" fmla="*/ 53 h 235"/>
                  <a:gd name="T4" fmla="*/ 270 w 294"/>
                  <a:gd name="T5" fmla="*/ 20 h 235"/>
                  <a:gd name="T6" fmla="*/ 258 w 294"/>
                  <a:gd name="T7" fmla="*/ 4 h 235"/>
                  <a:gd name="T8" fmla="*/ 212 w 294"/>
                  <a:gd name="T9" fmla="*/ 4 h 235"/>
                  <a:gd name="T10" fmla="*/ 168 w 294"/>
                  <a:gd name="T11" fmla="*/ 0 h 235"/>
                  <a:gd name="T12" fmla="*/ 166 w 294"/>
                  <a:gd name="T13" fmla="*/ 1 h 235"/>
                  <a:gd name="T14" fmla="*/ 153 w 294"/>
                  <a:gd name="T15" fmla="*/ 4 h 235"/>
                  <a:gd name="T16" fmla="*/ 126 w 294"/>
                  <a:gd name="T17" fmla="*/ 4 h 235"/>
                  <a:gd name="T18" fmla="*/ 106 w 294"/>
                  <a:gd name="T19" fmla="*/ 4 h 235"/>
                  <a:gd name="T20" fmla="*/ 80 w 294"/>
                  <a:gd name="T21" fmla="*/ 4 h 235"/>
                  <a:gd name="T22" fmla="*/ 54 w 294"/>
                  <a:gd name="T23" fmla="*/ 11 h 235"/>
                  <a:gd name="T24" fmla="*/ 37 w 294"/>
                  <a:gd name="T25" fmla="*/ 63 h 235"/>
                  <a:gd name="T26" fmla="*/ 37 w 294"/>
                  <a:gd name="T27" fmla="*/ 109 h 235"/>
                  <a:gd name="T28" fmla="*/ 36 w 294"/>
                  <a:gd name="T29" fmla="*/ 120 h 235"/>
                  <a:gd name="T30" fmla="*/ 23 w 294"/>
                  <a:gd name="T31" fmla="*/ 120 h 235"/>
                  <a:gd name="T32" fmla="*/ 20 w 294"/>
                  <a:gd name="T33" fmla="*/ 129 h 235"/>
                  <a:gd name="T34" fmla="*/ 14 w 294"/>
                  <a:gd name="T35" fmla="*/ 139 h 235"/>
                  <a:gd name="T36" fmla="*/ 11 w 294"/>
                  <a:gd name="T37" fmla="*/ 149 h 235"/>
                  <a:gd name="T38" fmla="*/ 7 w 294"/>
                  <a:gd name="T39" fmla="*/ 163 h 235"/>
                  <a:gd name="T40" fmla="*/ 1 w 294"/>
                  <a:gd name="T41" fmla="*/ 176 h 235"/>
                  <a:gd name="T42" fmla="*/ 10 w 294"/>
                  <a:gd name="T43" fmla="*/ 179 h 235"/>
                  <a:gd name="T44" fmla="*/ 14 w 294"/>
                  <a:gd name="T45" fmla="*/ 196 h 235"/>
                  <a:gd name="T46" fmla="*/ 17 w 294"/>
                  <a:gd name="T47" fmla="*/ 208 h 235"/>
                  <a:gd name="T48" fmla="*/ 30 w 294"/>
                  <a:gd name="T49" fmla="*/ 224 h 235"/>
                  <a:gd name="T50" fmla="*/ 31 w 294"/>
                  <a:gd name="T51" fmla="*/ 230 h 235"/>
                  <a:gd name="T52" fmla="*/ 54 w 294"/>
                  <a:gd name="T53" fmla="*/ 224 h 235"/>
                  <a:gd name="T54" fmla="*/ 66 w 294"/>
                  <a:gd name="T55" fmla="*/ 215 h 235"/>
                  <a:gd name="T56" fmla="*/ 77 w 294"/>
                  <a:gd name="T57" fmla="*/ 225 h 235"/>
                  <a:gd name="T58" fmla="*/ 106 w 294"/>
                  <a:gd name="T59" fmla="*/ 231 h 235"/>
                  <a:gd name="T60" fmla="*/ 125 w 294"/>
                  <a:gd name="T61" fmla="*/ 231 h 235"/>
                  <a:gd name="T62" fmla="*/ 136 w 294"/>
                  <a:gd name="T63" fmla="*/ 225 h 235"/>
                  <a:gd name="T64" fmla="*/ 158 w 294"/>
                  <a:gd name="T65" fmla="*/ 227 h 235"/>
                  <a:gd name="T66" fmla="*/ 185 w 294"/>
                  <a:gd name="T67" fmla="*/ 204 h 235"/>
                  <a:gd name="T68" fmla="*/ 191 w 294"/>
                  <a:gd name="T69" fmla="*/ 182 h 235"/>
                  <a:gd name="T70" fmla="*/ 198 w 294"/>
                  <a:gd name="T71" fmla="*/ 209 h 235"/>
                  <a:gd name="T72" fmla="*/ 212 w 294"/>
                  <a:gd name="T73" fmla="*/ 221 h 235"/>
                  <a:gd name="T74" fmla="*/ 215 w 294"/>
                  <a:gd name="T75" fmla="*/ 228 h 235"/>
                  <a:gd name="T76" fmla="*/ 218 w 294"/>
                  <a:gd name="T77" fmla="*/ 217 h 235"/>
                  <a:gd name="T78" fmla="*/ 228 w 294"/>
                  <a:gd name="T79" fmla="*/ 211 h 235"/>
                  <a:gd name="T80" fmla="*/ 231 w 294"/>
                  <a:gd name="T81" fmla="*/ 202 h 235"/>
                  <a:gd name="T82" fmla="*/ 235 w 294"/>
                  <a:gd name="T83" fmla="*/ 188 h 235"/>
                  <a:gd name="T84" fmla="*/ 245 w 294"/>
                  <a:gd name="T85" fmla="*/ 175 h 235"/>
                  <a:gd name="T86" fmla="*/ 251 w 294"/>
                  <a:gd name="T87" fmla="*/ 173 h 235"/>
                  <a:gd name="T88" fmla="*/ 253 w 294"/>
                  <a:gd name="T89" fmla="*/ 165 h 235"/>
                  <a:gd name="T90" fmla="*/ 257 w 294"/>
                  <a:gd name="T91" fmla="*/ 155 h 235"/>
                  <a:gd name="T92" fmla="*/ 257 w 294"/>
                  <a:gd name="T93" fmla="*/ 135 h 235"/>
                  <a:gd name="T94" fmla="*/ 260 w 294"/>
                  <a:gd name="T95" fmla="*/ 122 h 235"/>
                  <a:gd name="T96" fmla="*/ 264 w 294"/>
                  <a:gd name="T97" fmla="*/ 112 h 235"/>
                  <a:gd name="T98" fmla="*/ 266 w 294"/>
                  <a:gd name="T99" fmla="*/ 102 h 235"/>
                  <a:gd name="T100" fmla="*/ 266 w 294"/>
                  <a:gd name="T101" fmla="*/ 96 h 235"/>
                  <a:gd name="T102" fmla="*/ 270 w 294"/>
                  <a:gd name="T103" fmla="*/ 96 h 235"/>
                  <a:gd name="T104" fmla="*/ 274 w 294"/>
                  <a:gd name="T105" fmla="*/ 93 h 235"/>
                  <a:gd name="T106" fmla="*/ 277 w 294"/>
                  <a:gd name="T107" fmla="*/ 90 h 235"/>
                  <a:gd name="T108" fmla="*/ 287 w 294"/>
                  <a:gd name="T109" fmla="*/ 87 h 235"/>
                  <a:gd name="T110" fmla="*/ 290 w 294"/>
                  <a:gd name="T111" fmla="*/ 83 h 235"/>
                  <a:gd name="T112" fmla="*/ 293 w 294"/>
                  <a:gd name="T113" fmla="*/ 8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4" h="235">
                    <a:moveTo>
                      <a:pt x="293" y="77"/>
                    </a:moveTo>
                    <a:lnTo>
                      <a:pt x="291" y="76"/>
                    </a:lnTo>
                    <a:lnTo>
                      <a:pt x="288" y="73"/>
                    </a:lnTo>
                    <a:lnTo>
                      <a:pt x="288" y="73"/>
                    </a:lnTo>
                    <a:lnTo>
                      <a:pt x="287" y="73"/>
                    </a:lnTo>
                    <a:lnTo>
                      <a:pt x="287" y="73"/>
                    </a:lnTo>
                    <a:lnTo>
                      <a:pt x="286" y="73"/>
                    </a:lnTo>
                    <a:lnTo>
                      <a:pt x="286" y="71"/>
                    </a:lnTo>
                    <a:lnTo>
                      <a:pt x="283" y="69"/>
                    </a:lnTo>
                    <a:lnTo>
                      <a:pt x="280" y="66"/>
                    </a:lnTo>
                    <a:lnTo>
                      <a:pt x="277" y="64"/>
                    </a:lnTo>
                    <a:lnTo>
                      <a:pt x="274" y="61"/>
                    </a:lnTo>
                    <a:lnTo>
                      <a:pt x="273" y="58"/>
                    </a:lnTo>
                    <a:lnTo>
                      <a:pt x="271" y="53"/>
                    </a:lnTo>
                    <a:lnTo>
                      <a:pt x="270" y="38"/>
                    </a:lnTo>
                    <a:lnTo>
                      <a:pt x="270" y="28"/>
                    </a:lnTo>
                    <a:lnTo>
                      <a:pt x="268" y="23"/>
                    </a:lnTo>
                    <a:lnTo>
                      <a:pt x="268" y="21"/>
                    </a:lnTo>
                    <a:lnTo>
                      <a:pt x="270" y="21"/>
                    </a:lnTo>
                    <a:lnTo>
                      <a:pt x="271" y="21"/>
                    </a:lnTo>
                    <a:lnTo>
                      <a:pt x="270" y="20"/>
                    </a:lnTo>
                    <a:lnTo>
                      <a:pt x="270" y="18"/>
                    </a:lnTo>
                    <a:lnTo>
                      <a:pt x="267" y="15"/>
                    </a:lnTo>
                    <a:lnTo>
                      <a:pt x="266" y="12"/>
                    </a:lnTo>
                    <a:lnTo>
                      <a:pt x="264" y="10"/>
                    </a:lnTo>
                    <a:lnTo>
                      <a:pt x="264" y="7"/>
                    </a:lnTo>
                    <a:lnTo>
                      <a:pt x="264" y="4"/>
                    </a:lnTo>
                    <a:lnTo>
                      <a:pt x="258" y="4"/>
                    </a:lnTo>
                    <a:lnTo>
                      <a:pt x="253" y="4"/>
                    </a:lnTo>
                    <a:lnTo>
                      <a:pt x="250" y="4"/>
                    </a:lnTo>
                    <a:lnTo>
                      <a:pt x="241" y="4"/>
                    </a:lnTo>
                    <a:lnTo>
                      <a:pt x="235" y="4"/>
                    </a:lnTo>
                    <a:lnTo>
                      <a:pt x="232" y="4"/>
                    </a:lnTo>
                    <a:lnTo>
                      <a:pt x="221" y="4"/>
                    </a:lnTo>
                    <a:lnTo>
                      <a:pt x="212" y="4"/>
                    </a:lnTo>
                    <a:lnTo>
                      <a:pt x="192" y="4"/>
                    </a:lnTo>
                    <a:lnTo>
                      <a:pt x="184" y="4"/>
                    </a:lnTo>
                    <a:lnTo>
                      <a:pt x="178" y="4"/>
                    </a:lnTo>
                    <a:lnTo>
                      <a:pt x="168" y="4"/>
                    </a:lnTo>
                    <a:lnTo>
                      <a:pt x="169" y="1"/>
                    </a:lnTo>
                    <a:lnTo>
                      <a:pt x="169" y="0"/>
                    </a:lnTo>
                    <a:lnTo>
                      <a:pt x="168" y="0"/>
                    </a:lnTo>
                    <a:lnTo>
                      <a:pt x="168" y="0"/>
                    </a:lnTo>
                    <a:lnTo>
                      <a:pt x="168" y="0"/>
                    </a:lnTo>
                    <a:lnTo>
                      <a:pt x="168" y="0"/>
                    </a:lnTo>
                    <a:lnTo>
                      <a:pt x="168" y="0"/>
                    </a:lnTo>
                    <a:lnTo>
                      <a:pt x="166" y="0"/>
                    </a:lnTo>
                    <a:lnTo>
                      <a:pt x="166" y="1"/>
                    </a:lnTo>
                    <a:lnTo>
                      <a:pt x="166" y="1"/>
                    </a:lnTo>
                    <a:lnTo>
                      <a:pt x="166" y="2"/>
                    </a:lnTo>
                    <a:lnTo>
                      <a:pt x="165" y="4"/>
                    </a:lnTo>
                    <a:lnTo>
                      <a:pt x="165" y="4"/>
                    </a:lnTo>
                    <a:lnTo>
                      <a:pt x="162" y="4"/>
                    </a:lnTo>
                    <a:lnTo>
                      <a:pt x="159" y="4"/>
                    </a:lnTo>
                    <a:lnTo>
                      <a:pt x="158" y="4"/>
                    </a:lnTo>
                    <a:lnTo>
                      <a:pt x="153" y="4"/>
                    </a:lnTo>
                    <a:lnTo>
                      <a:pt x="152" y="4"/>
                    </a:lnTo>
                    <a:lnTo>
                      <a:pt x="149" y="4"/>
                    </a:lnTo>
                    <a:lnTo>
                      <a:pt x="142" y="4"/>
                    </a:lnTo>
                    <a:lnTo>
                      <a:pt x="135" y="4"/>
                    </a:lnTo>
                    <a:lnTo>
                      <a:pt x="133" y="4"/>
                    </a:lnTo>
                    <a:lnTo>
                      <a:pt x="131" y="4"/>
                    </a:lnTo>
                    <a:lnTo>
                      <a:pt x="126" y="4"/>
                    </a:lnTo>
                    <a:lnTo>
                      <a:pt x="126" y="4"/>
                    </a:lnTo>
                    <a:lnTo>
                      <a:pt x="123" y="4"/>
                    </a:lnTo>
                    <a:lnTo>
                      <a:pt x="120" y="4"/>
                    </a:lnTo>
                    <a:lnTo>
                      <a:pt x="118" y="4"/>
                    </a:lnTo>
                    <a:lnTo>
                      <a:pt x="115" y="4"/>
                    </a:lnTo>
                    <a:lnTo>
                      <a:pt x="109" y="4"/>
                    </a:lnTo>
                    <a:lnTo>
                      <a:pt x="106" y="4"/>
                    </a:lnTo>
                    <a:lnTo>
                      <a:pt x="103" y="4"/>
                    </a:lnTo>
                    <a:lnTo>
                      <a:pt x="102" y="4"/>
                    </a:lnTo>
                    <a:lnTo>
                      <a:pt x="99" y="4"/>
                    </a:lnTo>
                    <a:lnTo>
                      <a:pt x="89" y="4"/>
                    </a:lnTo>
                    <a:lnTo>
                      <a:pt x="85" y="4"/>
                    </a:lnTo>
                    <a:lnTo>
                      <a:pt x="82" y="4"/>
                    </a:lnTo>
                    <a:lnTo>
                      <a:pt x="80" y="4"/>
                    </a:lnTo>
                    <a:lnTo>
                      <a:pt x="72" y="4"/>
                    </a:lnTo>
                    <a:lnTo>
                      <a:pt x="66" y="4"/>
                    </a:lnTo>
                    <a:lnTo>
                      <a:pt x="63" y="4"/>
                    </a:lnTo>
                    <a:lnTo>
                      <a:pt x="60" y="4"/>
                    </a:lnTo>
                    <a:lnTo>
                      <a:pt x="57" y="4"/>
                    </a:lnTo>
                    <a:lnTo>
                      <a:pt x="54" y="4"/>
                    </a:lnTo>
                    <a:lnTo>
                      <a:pt x="54" y="11"/>
                    </a:lnTo>
                    <a:lnTo>
                      <a:pt x="54" y="18"/>
                    </a:lnTo>
                    <a:lnTo>
                      <a:pt x="54" y="41"/>
                    </a:lnTo>
                    <a:lnTo>
                      <a:pt x="54" y="41"/>
                    </a:lnTo>
                    <a:lnTo>
                      <a:pt x="37" y="41"/>
                    </a:lnTo>
                    <a:lnTo>
                      <a:pt x="37" y="51"/>
                    </a:lnTo>
                    <a:lnTo>
                      <a:pt x="37" y="53"/>
                    </a:lnTo>
                    <a:lnTo>
                      <a:pt x="37" y="63"/>
                    </a:lnTo>
                    <a:lnTo>
                      <a:pt x="37" y="67"/>
                    </a:lnTo>
                    <a:lnTo>
                      <a:pt x="37" y="71"/>
                    </a:lnTo>
                    <a:lnTo>
                      <a:pt x="37" y="80"/>
                    </a:lnTo>
                    <a:lnTo>
                      <a:pt x="37" y="86"/>
                    </a:lnTo>
                    <a:lnTo>
                      <a:pt x="37" y="92"/>
                    </a:lnTo>
                    <a:lnTo>
                      <a:pt x="37" y="100"/>
                    </a:lnTo>
                    <a:lnTo>
                      <a:pt x="37" y="109"/>
                    </a:lnTo>
                    <a:lnTo>
                      <a:pt x="37" y="110"/>
                    </a:lnTo>
                    <a:lnTo>
                      <a:pt x="37" y="119"/>
                    </a:lnTo>
                    <a:lnTo>
                      <a:pt x="37" y="120"/>
                    </a:lnTo>
                    <a:lnTo>
                      <a:pt x="37" y="120"/>
                    </a:lnTo>
                    <a:lnTo>
                      <a:pt x="37" y="120"/>
                    </a:lnTo>
                    <a:lnTo>
                      <a:pt x="37" y="120"/>
                    </a:lnTo>
                    <a:lnTo>
                      <a:pt x="36" y="120"/>
                    </a:lnTo>
                    <a:lnTo>
                      <a:pt x="33" y="120"/>
                    </a:lnTo>
                    <a:lnTo>
                      <a:pt x="30" y="120"/>
                    </a:lnTo>
                    <a:lnTo>
                      <a:pt x="29" y="120"/>
                    </a:lnTo>
                    <a:lnTo>
                      <a:pt x="27" y="120"/>
                    </a:lnTo>
                    <a:lnTo>
                      <a:pt x="26" y="120"/>
                    </a:lnTo>
                    <a:lnTo>
                      <a:pt x="23" y="120"/>
                    </a:lnTo>
                    <a:lnTo>
                      <a:pt x="23" y="120"/>
                    </a:lnTo>
                    <a:lnTo>
                      <a:pt x="21" y="122"/>
                    </a:lnTo>
                    <a:lnTo>
                      <a:pt x="20" y="122"/>
                    </a:lnTo>
                    <a:lnTo>
                      <a:pt x="20" y="123"/>
                    </a:lnTo>
                    <a:lnTo>
                      <a:pt x="20" y="123"/>
                    </a:lnTo>
                    <a:lnTo>
                      <a:pt x="18" y="123"/>
                    </a:lnTo>
                    <a:lnTo>
                      <a:pt x="18" y="126"/>
                    </a:lnTo>
                    <a:lnTo>
                      <a:pt x="20" y="129"/>
                    </a:lnTo>
                    <a:lnTo>
                      <a:pt x="18" y="130"/>
                    </a:lnTo>
                    <a:lnTo>
                      <a:pt x="16" y="133"/>
                    </a:lnTo>
                    <a:lnTo>
                      <a:pt x="16" y="136"/>
                    </a:lnTo>
                    <a:lnTo>
                      <a:pt x="14" y="136"/>
                    </a:lnTo>
                    <a:lnTo>
                      <a:pt x="14" y="136"/>
                    </a:lnTo>
                    <a:lnTo>
                      <a:pt x="14" y="138"/>
                    </a:lnTo>
                    <a:lnTo>
                      <a:pt x="14" y="139"/>
                    </a:lnTo>
                    <a:lnTo>
                      <a:pt x="14" y="139"/>
                    </a:lnTo>
                    <a:lnTo>
                      <a:pt x="13" y="139"/>
                    </a:lnTo>
                    <a:lnTo>
                      <a:pt x="11" y="140"/>
                    </a:lnTo>
                    <a:lnTo>
                      <a:pt x="8" y="142"/>
                    </a:lnTo>
                    <a:lnTo>
                      <a:pt x="10" y="148"/>
                    </a:lnTo>
                    <a:lnTo>
                      <a:pt x="11" y="148"/>
                    </a:lnTo>
                    <a:lnTo>
                      <a:pt x="11" y="149"/>
                    </a:lnTo>
                    <a:lnTo>
                      <a:pt x="11" y="149"/>
                    </a:lnTo>
                    <a:lnTo>
                      <a:pt x="6" y="153"/>
                    </a:lnTo>
                    <a:lnTo>
                      <a:pt x="4" y="155"/>
                    </a:lnTo>
                    <a:lnTo>
                      <a:pt x="4" y="155"/>
                    </a:lnTo>
                    <a:lnTo>
                      <a:pt x="4" y="156"/>
                    </a:lnTo>
                    <a:lnTo>
                      <a:pt x="7" y="162"/>
                    </a:lnTo>
                    <a:lnTo>
                      <a:pt x="7" y="163"/>
                    </a:lnTo>
                    <a:lnTo>
                      <a:pt x="6" y="165"/>
                    </a:lnTo>
                    <a:lnTo>
                      <a:pt x="3" y="168"/>
                    </a:lnTo>
                    <a:lnTo>
                      <a:pt x="0" y="173"/>
                    </a:lnTo>
                    <a:lnTo>
                      <a:pt x="0" y="175"/>
                    </a:lnTo>
                    <a:lnTo>
                      <a:pt x="0" y="175"/>
                    </a:lnTo>
                    <a:lnTo>
                      <a:pt x="0" y="175"/>
                    </a:lnTo>
                    <a:lnTo>
                      <a:pt x="1" y="176"/>
                    </a:lnTo>
                    <a:lnTo>
                      <a:pt x="3" y="176"/>
                    </a:lnTo>
                    <a:lnTo>
                      <a:pt x="7" y="175"/>
                    </a:lnTo>
                    <a:lnTo>
                      <a:pt x="8" y="176"/>
                    </a:lnTo>
                    <a:lnTo>
                      <a:pt x="10" y="178"/>
                    </a:lnTo>
                    <a:lnTo>
                      <a:pt x="10" y="178"/>
                    </a:lnTo>
                    <a:lnTo>
                      <a:pt x="10" y="179"/>
                    </a:lnTo>
                    <a:lnTo>
                      <a:pt x="10" y="179"/>
                    </a:lnTo>
                    <a:lnTo>
                      <a:pt x="10" y="186"/>
                    </a:lnTo>
                    <a:lnTo>
                      <a:pt x="11" y="186"/>
                    </a:lnTo>
                    <a:lnTo>
                      <a:pt x="13" y="188"/>
                    </a:lnTo>
                    <a:lnTo>
                      <a:pt x="13" y="188"/>
                    </a:lnTo>
                    <a:lnTo>
                      <a:pt x="13" y="194"/>
                    </a:lnTo>
                    <a:lnTo>
                      <a:pt x="13" y="195"/>
                    </a:lnTo>
                    <a:lnTo>
                      <a:pt x="14" y="196"/>
                    </a:lnTo>
                    <a:lnTo>
                      <a:pt x="16" y="198"/>
                    </a:lnTo>
                    <a:lnTo>
                      <a:pt x="17" y="198"/>
                    </a:lnTo>
                    <a:lnTo>
                      <a:pt x="17" y="198"/>
                    </a:lnTo>
                    <a:lnTo>
                      <a:pt x="18" y="199"/>
                    </a:lnTo>
                    <a:lnTo>
                      <a:pt x="18" y="201"/>
                    </a:lnTo>
                    <a:lnTo>
                      <a:pt x="18" y="205"/>
                    </a:lnTo>
                    <a:lnTo>
                      <a:pt x="17" y="208"/>
                    </a:lnTo>
                    <a:lnTo>
                      <a:pt x="18" y="209"/>
                    </a:lnTo>
                    <a:lnTo>
                      <a:pt x="21" y="212"/>
                    </a:lnTo>
                    <a:lnTo>
                      <a:pt x="24" y="217"/>
                    </a:lnTo>
                    <a:lnTo>
                      <a:pt x="27" y="218"/>
                    </a:lnTo>
                    <a:lnTo>
                      <a:pt x="29" y="221"/>
                    </a:lnTo>
                    <a:lnTo>
                      <a:pt x="29" y="222"/>
                    </a:lnTo>
                    <a:lnTo>
                      <a:pt x="30" y="224"/>
                    </a:lnTo>
                    <a:lnTo>
                      <a:pt x="30" y="225"/>
                    </a:lnTo>
                    <a:lnTo>
                      <a:pt x="31" y="225"/>
                    </a:lnTo>
                    <a:lnTo>
                      <a:pt x="31" y="227"/>
                    </a:lnTo>
                    <a:lnTo>
                      <a:pt x="31" y="227"/>
                    </a:lnTo>
                    <a:lnTo>
                      <a:pt x="31" y="228"/>
                    </a:lnTo>
                    <a:lnTo>
                      <a:pt x="31" y="230"/>
                    </a:lnTo>
                    <a:lnTo>
                      <a:pt x="31" y="230"/>
                    </a:lnTo>
                    <a:lnTo>
                      <a:pt x="36" y="230"/>
                    </a:lnTo>
                    <a:lnTo>
                      <a:pt x="41" y="228"/>
                    </a:lnTo>
                    <a:lnTo>
                      <a:pt x="46" y="227"/>
                    </a:lnTo>
                    <a:lnTo>
                      <a:pt x="49" y="227"/>
                    </a:lnTo>
                    <a:lnTo>
                      <a:pt x="52" y="227"/>
                    </a:lnTo>
                    <a:lnTo>
                      <a:pt x="53" y="225"/>
                    </a:lnTo>
                    <a:lnTo>
                      <a:pt x="54" y="224"/>
                    </a:lnTo>
                    <a:lnTo>
                      <a:pt x="54" y="221"/>
                    </a:lnTo>
                    <a:lnTo>
                      <a:pt x="56" y="219"/>
                    </a:lnTo>
                    <a:lnTo>
                      <a:pt x="56" y="218"/>
                    </a:lnTo>
                    <a:lnTo>
                      <a:pt x="57" y="218"/>
                    </a:lnTo>
                    <a:lnTo>
                      <a:pt x="59" y="217"/>
                    </a:lnTo>
                    <a:lnTo>
                      <a:pt x="60" y="217"/>
                    </a:lnTo>
                    <a:lnTo>
                      <a:pt x="66" y="215"/>
                    </a:lnTo>
                    <a:lnTo>
                      <a:pt x="67" y="215"/>
                    </a:lnTo>
                    <a:lnTo>
                      <a:pt x="69" y="215"/>
                    </a:lnTo>
                    <a:lnTo>
                      <a:pt x="70" y="217"/>
                    </a:lnTo>
                    <a:lnTo>
                      <a:pt x="70" y="217"/>
                    </a:lnTo>
                    <a:lnTo>
                      <a:pt x="72" y="219"/>
                    </a:lnTo>
                    <a:lnTo>
                      <a:pt x="73" y="221"/>
                    </a:lnTo>
                    <a:lnTo>
                      <a:pt x="77" y="225"/>
                    </a:lnTo>
                    <a:lnTo>
                      <a:pt x="82" y="231"/>
                    </a:lnTo>
                    <a:lnTo>
                      <a:pt x="85" y="231"/>
                    </a:lnTo>
                    <a:lnTo>
                      <a:pt x="92" y="230"/>
                    </a:lnTo>
                    <a:lnTo>
                      <a:pt x="95" y="230"/>
                    </a:lnTo>
                    <a:lnTo>
                      <a:pt x="99" y="230"/>
                    </a:lnTo>
                    <a:lnTo>
                      <a:pt x="103" y="230"/>
                    </a:lnTo>
                    <a:lnTo>
                      <a:pt x="106" y="231"/>
                    </a:lnTo>
                    <a:lnTo>
                      <a:pt x="108" y="232"/>
                    </a:lnTo>
                    <a:lnTo>
                      <a:pt x="109" y="234"/>
                    </a:lnTo>
                    <a:lnTo>
                      <a:pt x="109" y="234"/>
                    </a:lnTo>
                    <a:lnTo>
                      <a:pt x="112" y="234"/>
                    </a:lnTo>
                    <a:lnTo>
                      <a:pt x="123" y="235"/>
                    </a:lnTo>
                    <a:lnTo>
                      <a:pt x="123" y="232"/>
                    </a:lnTo>
                    <a:lnTo>
                      <a:pt x="125" y="231"/>
                    </a:lnTo>
                    <a:lnTo>
                      <a:pt x="126" y="230"/>
                    </a:lnTo>
                    <a:lnTo>
                      <a:pt x="129" y="228"/>
                    </a:lnTo>
                    <a:lnTo>
                      <a:pt x="131" y="228"/>
                    </a:lnTo>
                    <a:lnTo>
                      <a:pt x="132" y="228"/>
                    </a:lnTo>
                    <a:lnTo>
                      <a:pt x="133" y="227"/>
                    </a:lnTo>
                    <a:lnTo>
                      <a:pt x="135" y="227"/>
                    </a:lnTo>
                    <a:lnTo>
                      <a:pt x="136" y="225"/>
                    </a:lnTo>
                    <a:lnTo>
                      <a:pt x="136" y="222"/>
                    </a:lnTo>
                    <a:lnTo>
                      <a:pt x="138" y="221"/>
                    </a:lnTo>
                    <a:lnTo>
                      <a:pt x="141" y="218"/>
                    </a:lnTo>
                    <a:lnTo>
                      <a:pt x="145" y="218"/>
                    </a:lnTo>
                    <a:lnTo>
                      <a:pt x="148" y="221"/>
                    </a:lnTo>
                    <a:lnTo>
                      <a:pt x="156" y="227"/>
                    </a:lnTo>
                    <a:lnTo>
                      <a:pt x="158" y="227"/>
                    </a:lnTo>
                    <a:lnTo>
                      <a:pt x="161" y="227"/>
                    </a:lnTo>
                    <a:lnTo>
                      <a:pt x="166" y="224"/>
                    </a:lnTo>
                    <a:lnTo>
                      <a:pt x="172" y="219"/>
                    </a:lnTo>
                    <a:lnTo>
                      <a:pt x="176" y="214"/>
                    </a:lnTo>
                    <a:lnTo>
                      <a:pt x="181" y="208"/>
                    </a:lnTo>
                    <a:lnTo>
                      <a:pt x="184" y="205"/>
                    </a:lnTo>
                    <a:lnTo>
                      <a:pt x="185" y="204"/>
                    </a:lnTo>
                    <a:lnTo>
                      <a:pt x="185" y="202"/>
                    </a:lnTo>
                    <a:lnTo>
                      <a:pt x="184" y="192"/>
                    </a:lnTo>
                    <a:lnTo>
                      <a:pt x="182" y="191"/>
                    </a:lnTo>
                    <a:lnTo>
                      <a:pt x="179" y="186"/>
                    </a:lnTo>
                    <a:lnTo>
                      <a:pt x="192" y="186"/>
                    </a:lnTo>
                    <a:lnTo>
                      <a:pt x="191" y="185"/>
                    </a:lnTo>
                    <a:lnTo>
                      <a:pt x="191" y="182"/>
                    </a:lnTo>
                    <a:lnTo>
                      <a:pt x="199" y="184"/>
                    </a:lnTo>
                    <a:lnTo>
                      <a:pt x="198" y="194"/>
                    </a:lnTo>
                    <a:lnTo>
                      <a:pt x="198" y="196"/>
                    </a:lnTo>
                    <a:lnTo>
                      <a:pt x="198" y="205"/>
                    </a:lnTo>
                    <a:lnTo>
                      <a:pt x="199" y="208"/>
                    </a:lnTo>
                    <a:lnTo>
                      <a:pt x="199" y="208"/>
                    </a:lnTo>
                    <a:lnTo>
                      <a:pt x="198" y="209"/>
                    </a:lnTo>
                    <a:lnTo>
                      <a:pt x="198" y="209"/>
                    </a:lnTo>
                    <a:lnTo>
                      <a:pt x="199" y="209"/>
                    </a:lnTo>
                    <a:lnTo>
                      <a:pt x="202" y="211"/>
                    </a:lnTo>
                    <a:lnTo>
                      <a:pt x="202" y="211"/>
                    </a:lnTo>
                    <a:lnTo>
                      <a:pt x="207" y="214"/>
                    </a:lnTo>
                    <a:lnTo>
                      <a:pt x="210" y="217"/>
                    </a:lnTo>
                    <a:lnTo>
                      <a:pt x="212" y="221"/>
                    </a:lnTo>
                    <a:lnTo>
                      <a:pt x="212" y="224"/>
                    </a:lnTo>
                    <a:lnTo>
                      <a:pt x="211" y="230"/>
                    </a:lnTo>
                    <a:lnTo>
                      <a:pt x="212" y="232"/>
                    </a:lnTo>
                    <a:lnTo>
                      <a:pt x="215" y="232"/>
                    </a:lnTo>
                    <a:lnTo>
                      <a:pt x="215" y="230"/>
                    </a:lnTo>
                    <a:lnTo>
                      <a:pt x="215" y="228"/>
                    </a:lnTo>
                    <a:lnTo>
                      <a:pt x="215" y="228"/>
                    </a:lnTo>
                    <a:lnTo>
                      <a:pt x="217" y="225"/>
                    </a:lnTo>
                    <a:lnTo>
                      <a:pt x="218" y="224"/>
                    </a:lnTo>
                    <a:lnTo>
                      <a:pt x="218" y="222"/>
                    </a:lnTo>
                    <a:lnTo>
                      <a:pt x="218" y="221"/>
                    </a:lnTo>
                    <a:lnTo>
                      <a:pt x="218" y="221"/>
                    </a:lnTo>
                    <a:lnTo>
                      <a:pt x="220" y="219"/>
                    </a:lnTo>
                    <a:lnTo>
                      <a:pt x="218" y="217"/>
                    </a:lnTo>
                    <a:lnTo>
                      <a:pt x="218" y="214"/>
                    </a:lnTo>
                    <a:lnTo>
                      <a:pt x="220" y="211"/>
                    </a:lnTo>
                    <a:lnTo>
                      <a:pt x="221" y="209"/>
                    </a:lnTo>
                    <a:lnTo>
                      <a:pt x="224" y="208"/>
                    </a:lnTo>
                    <a:lnTo>
                      <a:pt x="224" y="209"/>
                    </a:lnTo>
                    <a:lnTo>
                      <a:pt x="225" y="209"/>
                    </a:lnTo>
                    <a:lnTo>
                      <a:pt x="228" y="211"/>
                    </a:lnTo>
                    <a:lnTo>
                      <a:pt x="228" y="209"/>
                    </a:lnTo>
                    <a:lnTo>
                      <a:pt x="228" y="209"/>
                    </a:lnTo>
                    <a:lnTo>
                      <a:pt x="230" y="209"/>
                    </a:lnTo>
                    <a:lnTo>
                      <a:pt x="230" y="208"/>
                    </a:lnTo>
                    <a:lnTo>
                      <a:pt x="230" y="207"/>
                    </a:lnTo>
                    <a:lnTo>
                      <a:pt x="230" y="205"/>
                    </a:lnTo>
                    <a:lnTo>
                      <a:pt x="231" y="202"/>
                    </a:lnTo>
                    <a:lnTo>
                      <a:pt x="230" y="202"/>
                    </a:lnTo>
                    <a:lnTo>
                      <a:pt x="231" y="201"/>
                    </a:lnTo>
                    <a:lnTo>
                      <a:pt x="231" y="196"/>
                    </a:lnTo>
                    <a:lnTo>
                      <a:pt x="232" y="194"/>
                    </a:lnTo>
                    <a:lnTo>
                      <a:pt x="232" y="192"/>
                    </a:lnTo>
                    <a:lnTo>
                      <a:pt x="234" y="191"/>
                    </a:lnTo>
                    <a:lnTo>
                      <a:pt x="235" y="188"/>
                    </a:lnTo>
                    <a:lnTo>
                      <a:pt x="237" y="186"/>
                    </a:lnTo>
                    <a:lnTo>
                      <a:pt x="237" y="185"/>
                    </a:lnTo>
                    <a:lnTo>
                      <a:pt x="240" y="181"/>
                    </a:lnTo>
                    <a:lnTo>
                      <a:pt x="241" y="179"/>
                    </a:lnTo>
                    <a:lnTo>
                      <a:pt x="243" y="178"/>
                    </a:lnTo>
                    <a:lnTo>
                      <a:pt x="244" y="176"/>
                    </a:lnTo>
                    <a:lnTo>
                      <a:pt x="245" y="175"/>
                    </a:lnTo>
                    <a:lnTo>
                      <a:pt x="248" y="175"/>
                    </a:lnTo>
                    <a:lnTo>
                      <a:pt x="250" y="175"/>
                    </a:lnTo>
                    <a:lnTo>
                      <a:pt x="251" y="175"/>
                    </a:lnTo>
                    <a:lnTo>
                      <a:pt x="251" y="175"/>
                    </a:lnTo>
                    <a:lnTo>
                      <a:pt x="251" y="175"/>
                    </a:lnTo>
                    <a:lnTo>
                      <a:pt x="251" y="173"/>
                    </a:lnTo>
                    <a:lnTo>
                      <a:pt x="251" y="173"/>
                    </a:lnTo>
                    <a:lnTo>
                      <a:pt x="251" y="173"/>
                    </a:lnTo>
                    <a:lnTo>
                      <a:pt x="251" y="173"/>
                    </a:lnTo>
                    <a:lnTo>
                      <a:pt x="251" y="172"/>
                    </a:lnTo>
                    <a:lnTo>
                      <a:pt x="251" y="171"/>
                    </a:lnTo>
                    <a:lnTo>
                      <a:pt x="251" y="169"/>
                    </a:lnTo>
                    <a:lnTo>
                      <a:pt x="251" y="168"/>
                    </a:lnTo>
                    <a:lnTo>
                      <a:pt x="253" y="165"/>
                    </a:lnTo>
                    <a:lnTo>
                      <a:pt x="253" y="163"/>
                    </a:lnTo>
                    <a:lnTo>
                      <a:pt x="254" y="162"/>
                    </a:lnTo>
                    <a:lnTo>
                      <a:pt x="254" y="161"/>
                    </a:lnTo>
                    <a:lnTo>
                      <a:pt x="255" y="159"/>
                    </a:lnTo>
                    <a:lnTo>
                      <a:pt x="255" y="158"/>
                    </a:lnTo>
                    <a:lnTo>
                      <a:pt x="255" y="156"/>
                    </a:lnTo>
                    <a:lnTo>
                      <a:pt x="257" y="155"/>
                    </a:lnTo>
                    <a:lnTo>
                      <a:pt x="257" y="153"/>
                    </a:lnTo>
                    <a:lnTo>
                      <a:pt x="257" y="152"/>
                    </a:lnTo>
                    <a:lnTo>
                      <a:pt x="257" y="150"/>
                    </a:lnTo>
                    <a:lnTo>
                      <a:pt x="258" y="148"/>
                    </a:lnTo>
                    <a:lnTo>
                      <a:pt x="257" y="145"/>
                    </a:lnTo>
                    <a:lnTo>
                      <a:pt x="257" y="140"/>
                    </a:lnTo>
                    <a:lnTo>
                      <a:pt x="257" y="135"/>
                    </a:lnTo>
                    <a:lnTo>
                      <a:pt x="255" y="132"/>
                    </a:lnTo>
                    <a:lnTo>
                      <a:pt x="257" y="130"/>
                    </a:lnTo>
                    <a:lnTo>
                      <a:pt x="257" y="129"/>
                    </a:lnTo>
                    <a:lnTo>
                      <a:pt x="258" y="127"/>
                    </a:lnTo>
                    <a:lnTo>
                      <a:pt x="258" y="127"/>
                    </a:lnTo>
                    <a:lnTo>
                      <a:pt x="260" y="122"/>
                    </a:lnTo>
                    <a:lnTo>
                      <a:pt x="260" y="122"/>
                    </a:lnTo>
                    <a:lnTo>
                      <a:pt x="260" y="120"/>
                    </a:lnTo>
                    <a:lnTo>
                      <a:pt x="261" y="120"/>
                    </a:lnTo>
                    <a:lnTo>
                      <a:pt x="261" y="120"/>
                    </a:lnTo>
                    <a:lnTo>
                      <a:pt x="261" y="119"/>
                    </a:lnTo>
                    <a:lnTo>
                      <a:pt x="263" y="117"/>
                    </a:lnTo>
                    <a:lnTo>
                      <a:pt x="263" y="115"/>
                    </a:lnTo>
                    <a:lnTo>
                      <a:pt x="264" y="112"/>
                    </a:lnTo>
                    <a:lnTo>
                      <a:pt x="264" y="109"/>
                    </a:lnTo>
                    <a:lnTo>
                      <a:pt x="264" y="106"/>
                    </a:lnTo>
                    <a:lnTo>
                      <a:pt x="264" y="104"/>
                    </a:lnTo>
                    <a:lnTo>
                      <a:pt x="264" y="104"/>
                    </a:lnTo>
                    <a:lnTo>
                      <a:pt x="264" y="104"/>
                    </a:lnTo>
                    <a:lnTo>
                      <a:pt x="264" y="103"/>
                    </a:lnTo>
                    <a:lnTo>
                      <a:pt x="266" y="102"/>
                    </a:lnTo>
                    <a:lnTo>
                      <a:pt x="266" y="102"/>
                    </a:lnTo>
                    <a:lnTo>
                      <a:pt x="266" y="100"/>
                    </a:lnTo>
                    <a:lnTo>
                      <a:pt x="266" y="99"/>
                    </a:lnTo>
                    <a:lnTo>
                      <a:pt x="266" y="97"/>
                    </a:lnTo>
                    <a:lnTo>
                      <a:pt x="266" y="97"/>
                    </a:lnTo>
                    <a:lnTo>
                      <a:pt x="266" y="97"/>
                    </a:lnTo>
                    <a:lnTo>
                      <a:pt x="266" y="96"/>
                    </a:lnTo>
                    <a:lnTo>
                      <a:pt x="267" y="96"/>
                    </a:lnTo>
                    <a:lnTo>
                      <a:pt x="267" y="96"/>
                    </a:lnTo>
                    <a:lnTo>
                      <a:pt x="267" y="96"/>
                    </a:lnTo>
                    <a:lnTo>
                      <a:pt x="268" y="96"/>
                    </a:lnTo>
                    <a:lnTo>
                      <a:pt x="268" y="96"/>
                    </a:lnTo>
                    <a:lnTo>
                      <a:pt x="268" y="96"/>
                    </a:lnTo>
                    <a:lnTo>
                      <a:pt x="270" y="96"/>
                    </a:lnTo>
                    <a:lnTo>
                      <a:pt x="270" y="96"/>
                    </a:lnTo>
                    <a:lnTo>
                      <a:pt x="270" y="96"/>
                    </a:lnTo>
                    <a:lnTo>
                      <a:pt x="273" y="96"/>
                    </a:lnTo>
                    <a:lnTo>
                      <a:pt x="274" y="96"/>
                    </a:lnTo>
                    <a:lnTo>
                      <a:pt x="274" y="94"/>
                    </a:lnTo>
                    <a:lnTo>
                      <a:pt x="274" y="94"/>
                    </a:lnTo>
                    <a:lnTo>
                      <a:pt x="274" y="93"/>
                    </a:lnTo>
                    <a:lnTo>
                      <a:pt x="274" y="93"/>
                    </a:lnTo>
                    <a:lnTo>
                      <a:pt x="276" y="92"/>
                    </a:lnTo>
                    <a:lnTo>
                      <a:pt x="276" y="92"/>
                    </a:lnTo>
                    <a:lnTo>
                      <a:pt x="276" y="92"/>
                    </a:lnTo>
                    <a:lnTo>
                      <a:pt x="276" y="92"/>
                    </a:lnTo>
                    <a:lnTo>
                      <a:pt x="277" y="90"/>
                    </a:lnTo>
                    <a:lnTo>
                      <a:pt x="277" y="90"/>
                    </a:lnTo>
                    <a:lnTo>
                      <a:pt x="277" y="90"/>
                    </a:lnTo>
                    <a:lnTo>
                      <a:pt x="280" y="89"/>
                    </a:lnTo>
                    <a:lnTo>
                      <a:pt x="281" y="89"/>
                    </a:lnTo>
                    <a:lnTo>
                      <a:pt x="283" y="87"/>
                    </a:lnTo>
                    <a:lnTo>
                      <a:pt x="283" y="87"/>
                    </a:lnTo>
                    <a:lnTo>
                      <a:pt x="287" y="87"/>
                    </a:lnTo>
                    <a:lnTo>
                      <a:pt x="287" y="87"/>
                    </a:lnTo>
                    <a:lnTo>
                      <a:pt x="287" y="86"/>
                    </a:lnTo>
                    <a:lnTo>
                      <a:pt x="288" y="86"/>
                    </a:lnTo>
                    <a:lnTo>
                      <a:pt x="288" y="86"/>
                    </a:lnTo>
                    <a:lnTo>
                      <a:pt x="288" y="86"/>
                    </a:lnTo>
                    <a:lnTo>
                      <a:pt x="290" y="84"/>
                    </a:lnTo>
                    <a:lnTo>
                      <a:pt x="290" y="84"/>
                    </a:lnTo>
                    <a:lnTo>
                      <a:pt x="290" y="83"/>
                    </a:lnTo>
                    <a:lnTo>
                      <a:pt x="290" y="83"/>
                    </a:lnTo>
                    <a:lnTo>
                      <a:pt x="291" y="83"/>
                    </a:lnTo>
                    <a:lnTo>
                      <a:pt x="291" y="81"/>
                    </a:lnTo>
                    <a:lnTo>
                      <a:pt x="291" y="81"/>
                    </a:lnTo>
                    <a:lnTo>
                      <a:pt x="291" y="81"/>
                    </a:lnTo>
                    <a:lnTo>
                      <a:pt x="291" y="80"/>
                    </a:lnTo>
                    <a:lnTo>
                      <a:pt x="293" y="80"/>
                    </a:lnTo>
                    <a:lnTo>
                      <a:pt x="293" y="80"/>
                    </a:lnTo>
                    <a:lnTo>
                      <a:pt x="294" y="79"/>
                    </a:lnTo>
                    <a:lnTo>
                      <a:pt x="294" y="79"/>
                    </a:lnTo>
                    <a:lnTo>
                      <a:pt x="293" y="7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33" name="Freeform 220">
                <a:extLst>
                  <a:ext uri="{FF2B5EF4-FFF2-40B4-BE49-F238E27FC236}">
                    <a16:creationId xmlns:a16="http://schemas.microsoft.com/office/drawing/2014/main" id="{04293065-E47D-6C68-A291-C98348503BED}"/>
                  </a:ext>
                </a:extLst>
              </p:cNvPr>
              <p:cNvSpPr>
                <a:spLocks/>
              </p:cNvSpPr>
              <p:nvPr/>
            </p:nvSpPr>
            <p:spPr bwMode="auto">
              <a:xfrm>
                <a:off x="3961" y="2499"/>
                <a:ext cx="206" cy="157"/>
              </a:xfrm>
              <a:custGeom>
                <a:avLst/>
                <a:gdLst>
                  <a:gd name="T0" fmla="*/ 202 w 206"/>
                  <a:gd name="T1" fmla="*/ 115 h 157"/>
                  <a:gd name="T2" fmla="*/ 201 w 206"/>
                  <a:gd name="T3" fmla="*/ 109 h 157"/>
                  <a:gd name="T4" fmla="*/ 195 w 206"/>
                  <a:gd name="T5" fmla="*/ 99 h 157"/>
                  <a:gd name="T6" fmla="*/ 191 w 206"/>
                  <a:gd name="T7" fmla="*/ 96 h 157"/>
                  <a:gd name="T8" fmla="*/ 185 w 206"/>
                  <a:gd name="T9" fmla="*/ 91 h 157"/>
                  <a:gd name="T10" fmla="*/ 183 w 206"/>
                  <a:gd name="T11" fmla="*/ 86 h 157"/>
                  <a:gd name="T12" fmla="*/ 178 w 206"/>
                  <a:gd name="T13" fmla="*/ 83 h 157"/>
                  <a:gd name="T14" fmla="*/ 169 w 206"/>
                  <a:gd name="T15" fmla="*/ 81 h 157"/>
                  <a:gd name="T16" fmla="*/ 166 w 206"/>
                  <a:gd name="T17" fmla="*/ 79 h 157"/>
                  <a:gd name="T18" fmla="*/ 172 w 206"/>
                  <a:gd name="T19" fmla="*/ 69 h 157"/>
                  <a:gd name="T20" fmla="*/ 182 w 206"/>
                  <a:gd name="T21" fmla="*/ 69 h 157"/>
                  <a:gd name="T22" fmla="*/ 186 w 206"/>
                  <a:gd name="T23" fmla="*/ 66 h 157"/>
                  <a:gd name="T24" fmla="*/ 186 w 206"/>
                  <a:gd name="T25" fmla="*/ 53 h 157"/>
                  <a:gd name="T26" fmla="*/ 183 w 206"/>
                  <a:gd name="T27" fmla="*/ 42 h 157"/>
                  <a:gd name="T28" fmla="*/ 170 w 206"/>
                  <a:gd name="T29" fmla="*/ 27 h 157"/>
                  <a:gd name="T30" fmla="*/ 169 w 206"/>
                  <a:gd name="T31" fmla="*/ 14 h 157"/>
                  <a:gd name="T32" fmla="*/ 150 w 206"/>
                  <a:gd name="T33" fmla="*/ 4 h 157"/>
                  <a:gd name="T34" fmla="*/ 152 w 206"/>
                  <a:gd name="T35" fmla="*/ 26 h 157"/>
                  <a:gd name="T36" fmla="*/ 127 w 206"/>
                  <a:gd name="T37" fmla="*/ 45 h 157"/>
                  <a:gd name="T38" fmla="*/ 107 w 206"/>
                  <a:gd name="T39" fmla="*/ 43 h 157"/>
                  <a:gd name="T40" fmla="*/ 97 w 206"/>
                  <a:gd name="T41" fmla="*/ 48 h 157"/>
                  <a:gd name="T42" fmla="*/ 80 w 206"/>
                  <a:gd name="T43" fmla="*/ 52 h 157"/>
                  <a:gd name="T44" fmla="*/ 63 w 206"/>
                  <a:gd name="T45" fmla="*/ 48 h 157"/>
                  <a:gd name="T46" fmla="*/ 41 w 206"/>
                  <a:gd name="T47" fmla="*/ 35 h 157"/>
                  <a:gd name="T48" fmla="*/ 30 w 206"/>
                  <a:gd name="T49" fmla="*/ 35 h 157"/>
                  <a:gd name="T50" fmla="*/ 24 w 206"/>
                  <a:gd name="T51" fmla="*/ 43 h 157"/>
                  <a:gd name="T52" fmla="*/ 2 w 206"/>
                  <a:gd name="T53" fmla="*/ 48 h 157"/>
                  <a:gd name="T54" fmla="*/ 0 w 206"/>
                  <a:gd name="T55" fmla="*/ 59 h 157"/>
                  <a:gd name="T56" fmla="*/ 1 w 206"/>
                  <a:gd name="T57" fmla="*/ 63 h 157"/>
                  <a:gd name="T58" fmla="*/ 11 w 206"/>
                  <a:gd name="T59" fmla="*/ 66 h 157"/>
                  <a:gd name="T60" fmla="*/ 12 w 206"/>
                  <a:gd name="T61" fmla="*/ 71 h 157"/>
                  <a:gd name="T62" fmla="*/ 23 w 206"/>
                  <a:gd name="T63" fmla="*/ 75 h 157"/>
                  <a:gd name="T64" fmla="*/ 30 w 206"/>
                  <a:gd name="T65" fmla="*/ 83 h 157"/>
                  <a:gd name="T66" fmla="*/ 33 w 206"/>
                  <a:gd name="T67" fmla="*/ 88 h 157"/>
                  <a:gd name="T68" fmla="*/ 44 w 206"/>
                  <a:gd name="T69" fmla="*/ 96 h 157"/>
                  <a:gd name="T70" fmla="*/ 50 w 206"/>
                  <a:gd name="T71" fmla="*/ 102 h 157"/>
                  <a:gd name="T72" fmla="*/ 51 w 206"/>
                  <a:gd name="T73" fmla="*/ 109 h 157"/>
                  <a:gd name="T74" fmla="*/ 54 w 206"/>
                  <a:gd name="T75" fmla="*/ 112 h 157"/>
                  <a:gd name="T76" fmla="*/ 60 w 206"/>
                  <a:gd name="T77" fmla="*/ 115 h 157"/>
                  <a:gd name="T78" fmla="*/ 66 w 206"/>
                  <a:gd name="T79" fmla="*/ 119 h 157"/>
                  <a:gd name="T80" fmla="*/ 66 w 206"/>
                  <a:gd name="T81" fmla="*/ 125 h 157"/>
                  <a:gd name="T82" fmla="*/ 68 w 206"/>
                  <a:gd name="T83" fmla="*/ 129 h 157"/>
                  <a:gd name="T84" fmla="*/ 76 w 206"/>
                  <a:gd name="T85" fmla="*/ 137 h 157"/>
                  <a:gd name="T86" fmla="*/ 81 w 206"/>
                  <a:gd name="T87" fmla="*/ 141 h 157"/>
                  <a:gd name="T88" fmla="*/ 91 w 206"/>
                  <a:gd name="T89" fmla="*/ 140 h 157"/>
                  <a:gd name="T90" fmla="*/ 102 w 206"/>
                  <a:gd name="T91" fmla="*/ 141 h 157"/>
                  <a:gd name="T92" fmla="*/ 106 w 206"/>
                  <a:gd name="T93" fmla="*/ 137 h 157"/>
                  <a:gd name="T94" fmla="*/ 117 w 206"/>
                  <a:gd name="T95" fmla="*/ 148 h 157"/>
                  <a:gd name="T96" fmla="*/ 123 w 206"/>
                  <a:gd name="T97" fmla="*/ 152 h 157"/>
                  <a:gd name="T98" fmla="*/ 124 w 206"/>
                  <a:gd name="T99" fmla="*/ 155 h 157"/>
                  <a:gd name="T100" fmla="*/ 129 w 206"/>
                  <a:gd name="T101" fmla="*/ 157 h 157"/>
                  <a:gd name="T102" fmla="*/ 136 w 206"/>
                  <a:gd name="T103" fmla="*/ 152 h 157"/>
                  <a:gd name="T104" fmla="*/ 140 w 206"/>
                  <a:gd name="T105" fmla="*/ 154 h 157"/>
                  <a:gd name="T106" fmla="*/ 146 w 206"/>
                  <a:gd name="T107" fmla="*/ 152 h 157"/>
                  <a:gd name="T108" fmla="*/ 149 w 206"/>
                  <a:gd name="T109" fmla="*/ 155 h 157"/>
                  <a:gd name="T110" fmla="*/ 152 w 206"/>
                  <a:gd name="T111" fmla="*/ 157 h 157"/>
                  <a:gd name="T112" fmla="*/ 163 w 206"/>
                  <a:gd name="T113" fmla="*/ 152 h 157"/>
                  <a:gd name="T114" fmla="*/ 170 w 206"/>
                  <a:gd name="T115" fmla="*/ 152 h 157"/>
                  <a:gd name="T116" fmla="*/ 176 w 206"/>
                  <a:gd name="T117" fmla="*/ 152 h 157"/>
                  <a:gd name="T118" fmla="*/ 206 w 206"/>
                  <a:gd name="T119" fmla="*/ 122 h 157"/>
                  <a:gd name="T120" fmla="*/ 206 w 206"/>
                  <a:gd name="T121" fmla="*/ 121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6" h="157">
                    <a:moveTo>
                      <a:pt x="206" y="121"/>
                    </a:moveTo>
                    <a:lnTo>
                      <a:pt x="205" y="121"/>
                    </a:lnTo>
                    <a:lnTo>
                      <a:pt x="203" y="119"/>
                    </a:lnTo>
                    <a:lnTo>
                      <a:pt x="203" y="118"/>
                    </a:lnTo>
                    <a:lnTo>
                      <a:pt x="202" y="117"/>
                    </a:lnTo>
                    <a:lnTo>
                      <a:pt x="202" y="115"/>
                    </a:lnTo>
                    <a:lnTo>
                      <a:pt x="202" y="114"/>
                    </a:lnTo>
                    <a:lnTo>
                      <a:pt x="202" y="114"/>
                    </a:lnTo>
                    <a:lnTo>
                      <a:pt x="201" y="112"/>
                    </a:lnTo>
                    <a:lnTo>
                      <a:pt x="201" y="112"/>
                    </a:lnTo>
                    <a:lnTo>
                      <a:pt x="201" y="111"/>
                    </a:lnTo>
                    <a:lnTo>
                      <a:pt x="201" y="109"/>
                    </a:lnTo>
                    <a:lnTo>
                      <a:pt x="199" y="109"/>
                    </a:lnTo>
                    <a:lnTo>
                      <a:pt x="198" y="102"/>
                    </a:lnTo>
                    <a:lnTo>
                      <a:pt x="196" y="101"/>
                    </a:lnTo>
                    <a:lnTo>
                      <a:pt x="196" y="101"/>
                    </a:lnTo>
                    <a:lnTo>
                      <a:pt x="195" y="99"/>
                    </a:lnTo>
                    <a:lnTo>
                      <a:pt x="195" y="99"/>
                    </a:lnTo>
                    <a:lnTo>
                      <a:pt x="195" y="99"/>
                    </a:lnTo>
                    <a:lnTo>
                      <a:pt x="193" y="98"/>
                    </a:lnTo>
                    <a:lnTo>
                      <a:pt x="193" y="98"/>
                    </a:lnTo>
                    <a:lnTo>
                      <a:pt x="193" y="96"/>
                    </a:lnTo>
                    <a:lnTo>
                      <a:pt x="192" y="96"/>
                    </a:lnTo>
                    <a:lnTo>
                      <a:pt x="191" y="96"/>
                    </a:lnTo>
                    <a:lnTo>
                      <a:pt x="191" y="95"/>
                    </a:lnTo>
                    <a:lnTo>
                      <a:pt x="189" y="95"/>
                    </a:lnTo>
                    <a:lnTo>
                      <a:pt x="189" y="95"/>
                    </a:lnTo>
                    <a:lnTo>
                      <a:pt x="188" y="94"/>
                    </a:lnTo>
                    <a:lnTo>
                      <a:pt x="185" y="91"/>
                    </a:lnTo>
                    <a:lnTo>
                      <a:pt x="185" y="91"/>
                    </a:lnTo>
                    <a:lnTo>
                      <a:pt x="185" y="89"/>
                    </a:lnTo>
                    <a:lnTo>
                      <a:pt x="185" y="89"/>
                    </a:lnTo>
                    <a:lnTo>
                      <a:pt x="185" y="89"/>
                    </a:lnTo>
                    <a:lnTo>
                      <a:pt x="185" y="88"/>
                    </a:lnTo>
                    <a:lnTo>
                      <a:pt x="183" y="88"/>
                    </a:lnTo>
                    <a:lnTo>
                      <a:pt x="183" y="86"/>
                    </a:lnTo>
                    <a:lnTo>
                      <a:pt x="182" y="86"/>
                    </a:lnTo>
                    <a:lnTo>
                      <a:pt x="181" y="85"/>
                    </a:lnTo>
                    <a:lnTo>
                      <a:pt x="181" y="83"/>
                    </a:lnTo>
                    <a:lnTo>
                      <a:pt x="179" y="83"/>
                    </a:lnTo>
                    <a:lnTo>
                      <a:pt x="178" y="83"/>
                    </a:lnTo>
                    <a:lnTo>
                      <a:pt x="178" y="83"/>
                    </a:lnTo>
                    <a:lnTo>
                      <a:pt x="172" y="82"/>
                    </a:lnTo>
                    <a:lnTo>
                      <a:pt x="172" y="82"/>
                    </a:lnTo>
                    <a:lnTo>
                      <a:pt x="170" y="82"/>
                    </a:lnTo>
                    <a:lnTo>
                      <a:pt x="170" y="82"/>
                    </a:lnTo>
                    <a:lnTo>
                      <a:pt x="169" y="81"/>
                    </a:lnTo>
                    <a:lnTo>
                      <a:pt x="169" y="81"/>
                    </a:lnTo>
                    <a:lnTo>
                      <a:pt x="168" y="81"/>
                    </a:lnTo>
                    <a:lnTo>
                      <a:pt x="168" y="81"/>
                    </a:lnTo>
                    <a:lnTo>
                      <a:pt x="168" y="79"/>
                    </a:lnTo>
                    <a:lnTo>
                      <a:pt x="166" y="79"/>
                    </a:lnTo>
                    <a:lnTo>
                      <a:pt x="166" y="79"/>
                    </a:lnTo>
                    <a:lnTo>
                      <a:pt x="166" y="79"/>
                    </a:lnTo>
                    <a:lnTo>
                      <a:pt x="168" y="78"/>
                    </a:lnTo>
                    <a:lnTo>
                      <a:pt x="169" y="76"/>
                    </a:lnTo>
                    <a:lnTo>
                      <a:pt x="170" y="72"/>
                    </a:lnTo>
                    <a:lnTo>
                      <a:pt x="170" y="71"/>
                    </a:lnTo>
                    <a:lnTo>
                      <a:pt x="172" y="71"/>
                    </a:lnTo>
                    <a:lnTo>
                      <a:pt x="172" y="69"/>
                    </a:lnTo>
                    <a:lnTo>
                      <a:pt x="173" y="69"/>
                    </a:lnTo>
                    <a:lnTo>
                      <a:pt x="173" y="69"/>
                    </a:lnTo>
                    <a:lnTo>
                      <a:pt x="175" y="69"/>
                    </a:lnTo>
                    <a:lnTo>
                      <a:pt x="181" y="69"/>
                    </a:lnTo>
                    <a:lnTo>
                      <a:pt x="182" y="69"/>
                    </a:lnTo>
                    <a:lnTo>
                      <a:pt x="182" y="69"/>
                    </a:lnTo>
                    <a:lnTo>
                      <a:pt x="183" y="69"/>
                    </a:lnTo>
                    <a:lnTo>
                      <a:pt x="183" y="69"/>
                    </a:lnTo>
                    <a:lnTo>
                      <a:pt x="185" y="69"/>
                    </a:lnTo>
                    <a:lnTo>
                      <a:pt x="185" y="69"/>
                    </a:lnTo>
                    <a:lnTo>
                      <a:pt x="186" y="68"/>
                    </a:lnTo>
                    <a:lnTo>
                      <a:pt x="186" y="66"/>
                    </a:lnTo>
                    <a:lnTo>
                      <a:pt x="186" y="66"/>
                    </a:lnTo>
                    <a:lnTo>
                      <a:pt x="186" y="65"/>
                    </a:lnTo>
                    <a:lnTo>
                      <a:pt x="186" y="63"/>
                    </a:lnTo>
                    <a:lnTo>
                      <a:pt x="186" y="62"/>
                    </a:lnTo>
                    <a:lnTo>
                      <a:pt x="186" y="58"/>
                    </a:lnTo>
                    <a:lnTo>
                      <a:pt x="186" y="53"/>
                    </a:lnTo>
                    <a:lnTo>
                      <a:pt x="186" y="52"/>
                    </a:lnTo>
                    <a:lnTo>
                      <a:pt x="186" y="50"/>
                    </a:lnTo>
                    <a:lnTo>
                      <a:pt x="186" y="50"/>
                    </a:lnTo>
                    <a:lnTo>
                      <a:pt x="183" y="50"/>
                    </a:lnTo>
                    <a:lnTo>
                      <a:pt x="182" y="48"/>
                    </a:lnTo>
                    <a:lnTo>
                      <a:pt x="183" y="42"/>
                    </a:lnTo>
                    <a:lnTo>
                      <a:pt x="183" y="39"/>
                    </a:lnTo>
                    <a:lnTo>
                      <a:pt x="181" y="35"/>
                    </a:lnTo>
                    <a:lnTo>
                      <a:pt x="178" y="32"/>
                    </a:lnTo>
                    <a:lnTo>
                      <a:pt x="173" y="29"/>
                    </a:lnTo>
                    <a:lnTo>
                      <a:pt x="173" y="29"/>
                    </a:lnTo>
                    <a:lnTo>
                      <a:pt x="170" y="27"/>
                    </a:lnTo>
                    <a:lnTo>
                      <a:pt x="169" y="27"/>
                    </a:lnTo>
                    <a:lnTo>
                      <a:pt x="169" y="27"/>
                    </a:lnTo>
                    <a:lnTo>
                      <a:pt x="170" y="26"/>
                    </a:lnTo>
                    <a:lnTo>
                      <a:pt x="170" y="26"/>
                    </a:lnTo>
                    <a:lnTo>
                      <a:pt x="169" y="23"/>
                    </a:lnTo>
                    <a:lnTo>
                      <a:pt x="169" y="14"/>
                    </a:lnTo>
                    <a:lnTo>
                      <a:pt x="169" y="12"/>
                    </a:lnTo>
                    <a:lnTo>
                      <a:pt x="170" y="2"/>
                    </a:lnTo>
                    <a:lnTo>
                      <a:pt x="162" y="0"/>
                    </a:lnTo>
                    <a:lnTo>
                      <a:pt x="162" y="3"/>
                    </a:lnTo>
                    <a:lnTo>
                      <a:pt x="163" y="4"/>
                    </a:lnTo>
                    <a:lnTo>
                      <a:pt x="150" y="4"/>
                    </a:lnTo>
                    <a:lnTo>
                      <a:pt x="153" y="9"/>
                    </a:lnTo>
                    <a:lnTo>
                      <a:pt x="155" y="10"/>
                    </a:lnTo>
                    <a:lnTo>
                      <a:pt x="156" y="20"/>
                    </a:lnTo>
                    <a:lnTo>
                      <a:pt x="156" y="22"/>
                    </a:lnTo>
                    <a:lnTo>
                      <a:pt x="155" y="23"/>
                    </a:lnTo>
                    <a:lnTo>
                      <a:pt x="152" y="26"/>
                    </a:lnTo>
                    <a:lnTo>
                      <a:pt x="147" y="32"/>
                    </a:lnTo>
                    <a:lnTo>
                      <a:pt x="143" y="37"/>
                    </a:lnTo>
                    <a:lnTo>
                      <a:pt x="137" y="42"/>
                    </a:lnTo>
                    <a:lnTo>
                      <a:pt x="132" y="45"/>
                    </a:lnTo>
                    <a:lnTo>
                      <a:pt x="129" y="45"/>
                    </a:lnTo>
                    <a:lnTo>
                      <a:pt x="127" y="45"/>
                    </a:lnTo>
                    <a:lnTo>
                      <a:pt x="119" y="39"/>
                    </a:lnTo>
                    <a:lnTo>
                      <a:pt x="116" y="36"/>
                    </a:lnTo>
                    <a:lnTo>
                      <a:pt x="112" y="36"/>
                    </a:lnTo>
                    <a:lnTo>
                      <a:pt x="109" y="39"/>
                    </a:lnTo>
                    <a:lnTo>
                      <a:pt x="107" y="40"/>
                    </a:lnTo>
                    <a:lnTo>
                      <a:pt x="107" y="43"/>
                    </a:lnTo>
                    <a:lnTo>
                      <a:pt x="106" y="45"/>
                    </a:lnTo>
                    <a:lnTo>
                      <a:pt x="104" y="45"/>
                    </a:lnTo>
                    <a:lnTo>
                      <a:pt x="103" y="46"/>
                    </a:lnTo>
                    <a:lnTo>
                      <a:pt x="102" y="46"/>
                    </a:lnTo>
                    <a:lnTo>
                      <a:pt x="100" y="46"/>
                    </a:lnTo>
                    <a:lnTo>
                      <a:pt x="97" y="48"/>
                    </a:lnTo>
                    <a:lnTo>
                      <a:pt x="96" y="49"/>
                    </a:lnTo>
                    <a:lnTo>
                      <a:pt x="94" y="50"/>
                    </a:lnTo>
                    <a:lnTo>
                      <a:pt x="94" y="53"/>
                    </a:lnTo>
                    <a:lnTo>
                      <a:pt x="83" y="52"/>
                    </a:lnTo>
                    <a:lnTo>
                      <a:pt x="80" y="52"/>
                    </a:lnTo>
                    <a:lnTo>
                      <a:pt x="80" y="52"/>
                    </a:lnTo>
                    <a:lnTo>
                      <a:pt x="79" y="50"/>
                    </a:lnTo>
                    <a:lnTo>
                      <a:pt x="77" y="49"/>
                    </a:lnTo>
                    <a:lnTo>
                      <a:pt x="74" y="48"/>
                    </a:lnTo>
                    <a:lnTo>
                      <a:pt x="70" y="48"/>
                    </a:lnTo>
                    <a:lnTo>
                      <a:pt x="66" y="48"/>
                    </a:lnTo>
                    <a:lnTo>
                      <a:pt x="63" y="48"/>
                    </a:lnTo>
                    <a:lnTo>
                      <a:pt x="56" y="49"/>
                    </a:lnTo>
                    <a:lnTo>
                      <a:pt x="53" y="49"/>
                    </a:lnTo>
                    <a:lnTo>
                      <a:pt x="48" y="43"/>
                    </a:lnTo>
                    <a:lnTo>
                      <a:pt x="44" y="39"/>
                    </a:lnTo>
                    <a:lnTo>
                      <a:pt x="43" y="37"/>
                    </a:lnTo>
                    <a:lnTo>
                      <a:pt x="41" y="35"/>
                    </a:lnTo>
                    <a:lnTo>
                      <a:pt x="41" y="35"/>
                    </a:lnTo>
                    <a:lnTo>
                      <a:pt x="40" y="33"/>
                    </a:lnTo>
                    <a:lnTo>
                      <a:pt x="38" y="33"/>
                    </a:lnTo>
                    <a:lnTo>
                      <a:pt x="37" y="33"/>
                    </a:lnTo>
                    <a:lnTo>
                      <a:pt x="31" y="35"/>
                    </a:lnTo>
                    <a:lnTo>
                      <a:pt x="30" y="35"/>
                    </a:lnTo>
                    <a:lnTo>
                      <a:pt x="28" y="36"/>
                    </a:lnTo>
                    <a:lnTo>
                      <a:pt x="27" y="36"/>
                    </a:lnTo>
                    <a:lnTo>
                      <a:pt x="27" y="37"/>
                    </a:lnTo>
                    <a:lnTo>
                      <a:pt x="25" y="39"/>
                    </a:lnTo>
                    <a:lnTo>
                      <a:pt x="25" y="42"/>
                    </a:lnTo>
                    <a:lnTo>
                      <a:pt x="24" y="43"/>
                    </a:lnTo>
                    <a:lnTo>
                      <a:pt x="23" y="45"/>
                    </a:lnTo>
                    <a:lnTo>
                      <a:pt x="20" y="45"/>
                    </a:lnTo>
                    <a:lnTo>
                      <a:pt x="17" y="45"/>
                    </a:lnTo>
                    <a:lnTo>
                      <a:pt x="12" y="46"/>
                    </a:lnTo>
                    <a:lnTo>
                      <a:pt x="7" y="48"/>
                    </a:lnTo>
                    <a:lnTo>
                      <a:pt x="2" y="48"/>
                    </a:lnTo>
                    <a:lnTo>
                      <a:pt x="2" y="49"/>
                    </a:lnTo>
                    <a:lnTo>
                      <a:pt x="2" y="53"/>
                    </a:lnTo>
                    <a:lnTo>
                      <a:pt x="1" y="55"/>
                    </a:lnTo>
                    <a:lnTo>
                      <a:pt x="0" y="58"/>
                    </a:lnTo>
                    <a:lnTo>
                      <a:pt x="0" y="59"/>
                    </a:lnTo>
                    <a:lnTo>
                      <a:pt x="0" y="59"/>
                    </a:lnTo>
                    <a:lnTo>
                      <a:pt x="0" y="60"/>
                    </a:lnTo>
                    <a:lnTo>
                      <a:pt x="1" y="60"/>
                    </a:lnTo>
                    <a:lnTo>
                      <a:pt x="1" y="62"/>
                    </a:lnTo>
                    <a:lnTo>
                      <a:pt x="1" y="62"/>
                    </a:lnTo>
                    <a:lnTo>
                      <a:pt x="1" y="63"/>
                    </a:lnTo>
                    <a:lnTo>
                      <a:pt x="1" y="63"/>
                    </a:lnTo>
                    <a:lnTo>
                      <a:pt x="1" y="63"/>
                    </a:lnTo>
                    <a:lnTo>
                      <a:pt x="2" y="65"/>
                    </a:lnTo>
                    <a:lnTo>
                      <a:pt x="8" y="65"/>
                    </a:lnTo>
                    <a:lnTo>
                      <a:pt x="10" y="65"/>
                    </a:lnTo>
                    <a:lnTo>
                      <a:pt x="11" y="65"/>
                    </a:lnTo>
                    <a:lnTo>
                      <a:pt x="11" y="66"/>
                    </a:lnTo>
                    <a:lnTo>
                      <a:pt x="11" y="66"/>
                    </a:lnTo>
                    <a:lnTo>
                      <a:pt x="12" y="66"/>
                    </a:lnTo>
                    <a:lnTo>
                      <a:pt x="12" y="66"/>
                    </a:lnTo>
                    <a:lnTo>
                      <a:pt x="12" y="66"/>
                    </a:lnTo>
                    <a:lnTo>
                      <a:pt x="11" y="69"/>
                    </a:lnTo>
                    <a:lnTo>
                      <a:pt x="12" y="71"/>
                    </a:lnTo>
                    <a:lnTo>
                      <a:pt x="12" y="72"/>
                    </a:lnTo>
                    <a:lnTo>
                      <a:pt x="14" y="72"/>
                    </a:lnTo>
                    <a:lnTo>
                      <a:pt x="14" y="72"/>
                    </a:lnTo>
                    <a:lnTo>
                      <a:pt x="15" y="73"/>
                    </a:lnTo>
                    <a:lnTo>
                      <a:pt x="21" y="73"/>
                    </a:lnTo>
                    <a:lnTo>
                      <a:pt x="23" y="75"/>
                    </a:lnTo>
                    <a:lnTo>
                      <a:pt x="24" y="75"/>
                    </a:lnTo>
                    <a:lnTo>
                      <a:pt x="25" y="76"/>
                    </a:lnTo>
                    <a:lnTo>
                      <a:pt x="27" y="79"/>
                    </a:lnTo>
                    <a:lnTo>
                      <a:pt x="30" y="81"/>
                    </a:lnTo>
                    <a:lnTo>
                      <a:pt x="31" y="82"/>
                    </a:lnTo>
                    <a:lnTo>
                      <a:pt x="30" y="83"/>
                    </a:lnTo>
                    <a:lnTo>
                      <a:pt x="30" y="85"/>
                    </a:lnTo>
                    <a:lnTo>
                      <a:pt x="30" y="86"/>
                    </a:lnTo>
                    <a:lnTo>
                      <a:pt x="30" y="86"/>
                    </a:lnTo>
                    <a:lnTo>
                      <a:pt x="30" y="86"/>
                    </a:lnTo>
                    <a:lnTo>
                      <a:pt x="31" y="88"/>
                    </a:lnTo>
                    <a:lnTo>
                      <a:pt x="33" y="88"/>
                    </a:lnTo>
                    <a:lnTo>
                      <a:pt x="34" y="89"/>
                    </a:lnTo>
                    <a:lnTo>
                      <a:pt x="35" y="91"/>
                    </a:lnTo>
                    <a:lnTo>
                      <a:pt x="38" y="92"/>
                    </a:lnTo>
                    <a:lnTo>
                      <a:pt x="41" y="94"/>
                    </a:lnTo>
                    <a:lnTo>
                      <a:pt x="43" y="95"/>
                    </a:lnTo>
                    <a:lnTo>
                      <a:pt x="44" y="96"/>
                    </a:lnTo>
                    <a:lnTo>
                      <a:pt x="44" y="96"/>
                    </a:lnTo>
                    <a:lnTo>
                      <a:pt x="46" y="96"/>
                    </a:lnTo>
                    <a:lnTo>
                      <a:pt x="46" y="98"/>
                    </a:lnTo>
                    <a:lnTo>
                      <a:pt x="46" y="98"/>
                    </a:lnTo>
                    <a:lnTo>
                      <a:pt x="47" y="99"/>
                    </a:lnTo>
                    <a:lnTo>
                      <a:pt x="50" y="102"/>
                    </a:lnTo>
                    <a:lnTo>
                      <a:pt x="50" y="105"/>
                    </a:lnTo>
                    <a:lnTo>
                      <a:pt x="50" y="105"/>
                    </a:lnTo>
                    <a:lnTo>
                      <a:pt x="50" y="106"/>
                    </a:lnTo>
                    <a:lnTo>
                      <a:pt x="50" y="108"/>
                    </a:lnTo>
                    <a:lnTo>
                      <a:pt x="51" y="108"/>
                    </a:lnTo>
                    <a:lnTo>
                      <a:pt x="51" y="109"/>
                    </a:lnTo>
                    <a:lnTo>
                      <a:pt x="51" y="109"/>
                    </a:lnTo>
                    <a:lnTo>
                      <a:pt x="53" y="111"/>
                    </a:lnTo>
                    <a:lnTo>
                      <a:pt x="53" y="112"/>
                    </a:lnTo>
                    <a:lnTo>
                      <a:pt x="53" y="112"/>
                    </a:lnTo>
                    <a:lnTo>
                      <a:pt x="54" y="112"/>
                    </a:lnTo>
                    <a:lnTo>
                      <a:pt x="54" y="112"/>
                    </a:lnTo>
                    <a:lnTo>
                      <a:pt x="56" y="112"/>
                    </a:lnTo>
                    <a:lnTo>
                      <a:pt x="56" y="112"/>
                    </a:lnTo>
                    <a:lnTo>
                      <a:pt x="57" y="112"/>
                    </a:lnTo>
                    <a:lnTo>
                      <a:pt x="57" y="114"/>
                    </a:lnTo>
                    <a:lnTo>
                      <a:pt x="57" y="114"/>
                    </a:lnTo>
                    <a:lnTo>
                      <a:pt x="60" y="115"/>
                    </a:lnTo>
                    <a:lnTo>
                      <a:pt x="63" y="117"/>
                    </a:lnTo>
                    <a:lnTo>
                      <a:pt x="63" y="117"/>
                    </a:lnTo>
                    <a:lnTo>
                      <a:pt x="64" y="118"/>
                    </a:lnTo>
                    <a:lnTo>
                      <a:pt x="64" y="118"/>
                    </a:lnTo>
                    <a:lnTo>
                      <a:pt x="64" y="118"/>
                    </a:lnTo>
                    <a:lnTo>
                      <a:pt x="66" y="119"/>
                    </a:lnTo>
                    <a:lnTo>
                      <a:pt x="66" y="121"/>
                    </a:lnTo>
                    <a:lnTo>
                      <a:pt x="66" y="121"/>
                    </a:lnTo>
                    <a:lnTo>
                      <a:pt x="66" y="122"/>
                    </a:lnTo>
                    <a:lnTo>
                      <a:pt x="66" y="122"/>
                    </a:lnTo>
                    <a:lnTo>
                      <a:pt x="66" y="124"/>
                    </a:lnTo>
                    <a:lnTo>
                      <a:pt x="66" y="125"/>
                    </a:lnTo>
                    <a:lnTo>
                      <a:pt x="66" y="125"/>
                    </a:lnTo>
                    <a:lnTo>
                      <a:pt x="67" y="127"/>
                    </a:lnTo>
                    <a:lnTo>
                      <a:pt x="67" y="127"/>
                    </a:lnTo>
                    <a:lnTo>
                      <a:pt x="67" y="128"/>
                    </a:lnTo>
                    <a:lnTo>
                      <a:pt x="68" y="128"/>
                    </a:lnTo>
                    <a:lnTo>
                      <a:pt x="68" y="129"/>
                    </a:lnTo>
                    <a:lnTo>
                      <a:pt x="70" y="131"/>
                    </a:lnTo>
                    <a:lnTo>
                      <a:pt x="71" y="132"/>
                    </a:lnTo>
                    <a:lnTo>
                      <a:pt x="73" y="134"/>
                    </a:lnTo>
                    <a:lnTo>
                      <a:pt x="74" y="134"/>
                    </a:lnTo>
                    <a:lnTo>
                      <a:pt x="74" y="135"/>
                    </a:lnTo>
                    <a:lnTo>
                      <a:pt x="76" y="137"/>
                    </a:lnTo>
                    <a:lnTo>
                      <a:pt x="76" y="137"/>
                    </a:lnTo>
                    <a:lnTo>
                      <a:pt x="76" y="138"/>
                    </a:lnTo>
                    <a:lnTo>
                      <a:pt x="79" y="138"/>
                    </a:lnTo>
                    <a:lnTo>
                      <a:pt x="79" y="140"/>
                    </a:lnTo>
                    <a:lnTo>
                      <a:pt x="80" y="141"/>
                    </a:lnTo>
                    <a:lnTo>
                      <a:pt x="81" y="141"/>
                    </a:lnTo>
                    <a:lnTo>
                      <a:pt x="81" y="141"/>
                    </a:lnTo>
                    <a:lnTo>
                      <a:pt x="83" y="142"/>
                    </a:lnTo>
                    <a:lnTo>
                      <a:pt x="83" y="142"/>
                    </a:lnTo>
                    <a:lnTo>
                      <a:pt x="83" y="142"/>
                    </a:lnTo>
                    <a:lnTo>
                      <a:pt x="86" y="142"/>
                    </a:lnTo>
                    <a:lnTo>
                      <a:pt x="91" y="140"/>
                    </a:lnTo>
                    <a:lnTo>
                      <a:pt x="94" y="140"/>
                    </a:lnTo>
                    <a:lnTo>
                      <a:pt x="96" y="140"/>
                    </a:lnTo>
                    <a:lnTo>
                      <a:pt x="97" y="141"/>
                    </a:lnTo>
                    <a:lnTo>
                      <a:pt x="99" y="141"/>
                    </a:lnTo>
                    <a:lnTo>
                      <a:pt x="100" y="141"/>
                    </a:lnTo>
                    <a:lnTo>
                      <a:pt x="102" y="141"/>
                    </a:lnTo>
                    <a:lnTo>
                      <a:pt x="103" y="140"/>
                    </a:lnTo>
                    <a:lnTo>
                      <a:pt x="103" y="140"/>
                    </a:lnTo>
                    <a:lnTo>
                      <a:pt x="104" y="138"/>
                    </a:lnTo>
                    <a:lnTo>
                      <a:pt x="104" y="138"/>
                    </a:lnTo>
                    <a:lnTo>
                      <a:pt x="106" y="137"/>
                    </a:lnTo>
                    <a:lnTo>
                      <a:pt x="106" y="137"/>
                    </a:lnTo>
                    <a:lnTo>
                      <a:pt x="107" y="138"/>
                    </a:lnTo>
                    <a:lnTo>
                      <a:pt x="107" y="138"/>
                    </a:lnTo>
                    <a:lnTo>
                      <a:pt x="112" y="141"/>
                    </a:lnTo>
                    <a:lnTo>
                      <a:pt x="112" y="142"/>
                    </a:lnTo>
                    <a:lnTo>
                      <a:pt x="114" y="145"/>
                    </a:lnTo>
                    <a:lnTo>
                      <a:pt x="117" y="148"/>
                    </a:lnTo>
                    <a:lnTo>
                      <a:pt x="122" y="150"/>
                    </a:lnTo>
                    <a:lnTo>
                      <a:pt x="122" y="151"/>
                    </a:lnTo>
                    <a:lnTo>
                      <a:pt x="123" y="151"/>
                    </a:lnTo>
                    <a:lnTo>
                      <a:pt x="123" y="151"/>
                    </a:lnTo>
                    <a:lnTo>
                      <a:pt x="123" y="152"/>
                    </a:lnTo>
                    <a:lnTo>
                      <a:pt x="123" y="152"/>
                    </a:lnTo>
                    <a:lnTo>
                      <a:pt x="123" y="154"/>
                    </a:lnTo>
                    <a:lnTo>
                      <a:pt x="124" y="154"/>
                    </a:lnTo>
                    <a:lnTo>
                      <a:pt x="124" y="154"/>
                    </a:lnTo>
                    <a:lnTo>
                      <a:pt x="124" y="154"/>
                    </a:lnTo>
                    <a:lnTo>
                      <a:pt x="124" y="155"/>
                    </a:lnTo>
                    <a:lnTo>
                      <a:pt x="124" y="155"/>
                    </a:lnTo>
                    <a:lnTo>
                      <a:pt x="126" y="154"/>
                    </a:lnTo>
                    <a:lnTo>
                      <a:pt x="126" y="154"/>
                    </a:lnTo>
                    <a:lnTo>
                      <a:pt x="127" y="155"/>
                    </a:lnTo>
                    <a:lnTo>
                      <a:pt x="127" y="155"/>
                    </a:lnTo>
                    <a:lnTo>
                      <a:pt x="127" y="155"/>
                    </a:lnTo>
                    <a:lnTo>
                      <a:pt x="129" y="157"/>
                    </a:lnTo>
                    <a:lnTo>
                      <a:pt x="129" y="157"/>
                    </a:lnTo>
                    <a:lnTo>
                      <a:pt x="129" y="157"/>
                    </a:lnTo>
                    <a:lnTo>
                      <a:pt x="130" y="155"/>
                    </a:lnTo>
                    <a:lnTo>
                      <a:pt x="130" y="154"/>
                    </a:lnTo>
                    <a:lnTo>
                      <a:pt x="135" y="152"/>
                    </a:lnTo>
                    <a:lnTo>
                      <a:pt x="136" y="152"/>
                    </a:lnTo>
                    <a:lnTo>
                      <a:pt x="136" y="152"/>
                    </a:lnTo>
                    <a:lnTo>
                      <a:pt x="137" y="152"/>
                    </a:lnTo>
                    <a:lnTo>
                      <a:pt x="139" y="154"/>
                    </a:lnTo>
                    <a:lnTo>
                      <a:pt x="139" y="154"/>
                    </a:lnTo>
                    <a:lnTo>
                      <a:pt x="140" y="154"/>
                    </a:lnTo>
                    <a:lnTo>
                      <a:pt x="140" y="154"/>
                    </a:lnTo>
                    <a:lnTo>
                      <a:pt x="142" y="154"/>
                    </a:lnTo>
                    <a:lnTo>
                      <a:pt x="143" y="154"/>
                    </a:lnTo>
                    <a:lnTo>
                      <a:pt x="145" y="152"/>
                    </a:lnTo>
                    <a:lnTo>
                      <a:pt x="145" y="152"/>
                    </a:lnTo>
                    <a:lnTo>
                      <a:pt x="146" y="152"/>
                    </a:lnTo>
                    <a:lnTo>
                      <a:pt x="146" y="152"/>
                    </a:lnTo>
                    <a:lnTo>
                      <a:pt x="147" y="152"/>
                    </a:lnTo>
                    <a:lnTo>
                      <a:pt x="147" y="154"/>
                    </a:lnTo>
                    <a:lnTo>
                      <a:pt x="147" y="154"/>
                    </a:lnTo>
                    <a:lnTo>
                      <a:pt x="147" y="155"/>
                    </a:lnTo>
                    <a:lnTo>
                      <a:pt x="149" y="155"/>
                    </a:lnTo>
                    <a:lnTo>
                      <a:pt x="149" y="155"/>
                    </a:lnTo>
                    <a:lnTo>
                      <a:pt x="150" y="155"/>
                    </a:lnTo>
                    <a:lnTo>
                      <a:pt x="150" y="157"/>
                    </a:lnTo>
                    <a:lnTo>
                      <a:pt x="150" y="157"/>
                    </a:lnTo>
                    <a:lnTo>
                      <a:pt x="152" y="157"/>
                    </a:lnTo>
                    <a:lnTo>
                      <a:pt x="152" y="157"/>
                    </a:lnTo>
                    <a:lnTo>
                      <a:pt x="152" y="157"/>
                    </a:lnTo>
                    <a:lnTo>
                      <a:pt x="152" y="155"/>
                    </a:lnTo>
                    <a:lnTo>
                      <a:pt x="152" y="155"/>
                    </a:lnTo>
                    <a:lnTo>
                      <a:pt x="153" y="155"/>
                    </a:lnTo>
                    <a:lnTo>
                      <a:pt x="156" y="154"/>
                    </a:lnTo>
                    <a:lnTo>
                      <a:pt x="158" y="152"/>
                    </a:lnTo>
                    <a:lnTo>
                      <a:pt x="163" y="152"/>
                    </a:lnTo>
                    <a:lnTo>
                      <a:pt x="165" y="151"/>
                    </a:lnTo>
                    <a:lnTo>
                      <a:pt x="166" y="150"/>
                    </a:lnTo>
                    <a:lnTo>
                      <a:pt x="168" y="151"/>
                    </a:lnTo>
                    <a:lnTo>
                      <a:pt x="169" y="151"/>
                    </a:lnTo>
                    <a:lnTo>
                      <a:pt x="170" y="152"/>
                    </a:lnTo>
                    <a:lnTo>
                      <a:pt x="170" y="152"/>
                    </a:lnTo>
                    <a:lnTo>
                      <a:pt x="172" y="152"/>
                    </a:lnTo>
                    <a:lnTo>
                      <a:pt x="173" y="152"/>
                    </a:lnTo>
                    <a:lnTo>
                      <a:pt x="175" y="152"/>
                    </a:lnTo>
                    <a:lnTo>
                      <a:pt x="175" y="152"/>
                    </a:lnTo>
                    <a:lnTo>
                      <a:pt x="176" y="152"/>
                    </a:lnTo>
                    <a:lnTo>
                      <a:pt x="176" y="152"/>
                    </a:lnTo>
                    <a:lnTo>
                      <a:pt x="181" y="148"/>
                    </a:lnTo>
                    <a:lnTo>
                      <a:pt x="183" y="144"/>
                    </a:lnTo>
                    <a:lnTo>
                      <a:pt x="189" y="140"/>
                    </a:lnTo>
                    <a:lnTo>
                      <a:pt x="198" y="131"/>
                    </a:lnTo>
                    <a:lnTo>
                      <a:pt x="203" y="125"/>
                    </a:lnTo>
                    <a:lnTo>
                      <a:pt x="206" y="122"/>
                    </a:lnTo>
                    <a:lnTo>
                      <a:pt x="206" y="121"/>
                    </a:lnTo>
                    <a:lnTo>
                      <a:pt x="206" y="121"/>
                    </a:lnTo>
                    <a:lnTo>
                      <a:pt x="206" y="121"/>
                    </a:lnTo>
                    <a:lnTo>
                      <a:pt x="206" y="121"/>
                    </a:lnTo>
                    <a:lnTo>
                      <a:pt x="206" y="121"/>
                    </a:lnTo>
                    <a:lnTo>
                      <a:pt x="206" y="12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34" name="Freeform 221">
                <a:extLst>
                  <a:ext uri="{FF2B5EF4-FFF2-40B4-BE49-F238E27FC236}">
                    <a16:creationId xmlns:a16="http://schemas.microsoft.com/office/drawing/2014/main" id="{FB7BE17E-3AD6-B4C5-84BF-DB28D02F3E37}"/>
                  </a:ext>
                </a:extLst>
              </p:cNvPr>
              <p:cNvSpPr>
                <a:spLocks/>
              </p:cNvSpPr>
              <p:nvPr/>
            </p:nvSpPr>
            <p:spPr bwMode="auto">
              <a:xfrm>
                <a:off x="4268" y="2506"/>
                <a:ext cx="184" cy="242"/>
              </a:xfrm>
              <a:custGeom>
                <a:avLst/>
                <a:gdLst>
                  <a:gd name="T0" fmla="*/ 179 w 184"/>
                  <a:gd name="T1" fmla="*/ 25 h 242"/>
                  <a:gd name="T2" fmla="*/ 177 w 184"/>
                  <a:gd name="T3" fmla="*/ 26 h 242"/>
                  <a:gd name="T4" fmla="*/ 178 w 184"/>
                  <a:gd name="T5" fmla="*/ 12 h 242"/>
                  <a:gd name="T6" fmla="*/ 164 w 184"/>
                  <a:gd name="T7" fmla="*/ 5 h 242"/>
                  <a:gd name="T8" fmla="*/ 143 w 184"/>
                  <a:gd name="T9" fmla="*/ 12 h 242"/>
                  <a:gd name="T10" fmla="*/ 131 w 184"/>
                  <a:gd name="T11" fmla="*/ 12 h 242"/>
                  <a:gd name="T12" fmla="*/ 110 w 184"/>
                  <a:gd name="T13" fmla="*/ 15 h 242"/>
                  <a:gd name="T14" fmla="*/ 86 w 184"/>
                  <a:gd name="T15" fmla="*/ 20 h 242"/>
                  <a:gd name="T16" fmla="*/ 69 w 184"/>
                  <a:gd name="T17" fmla="*/ 28 h 242"/>
                  <a:gd name="T18" fmla="*/ 39 w 184"/>
                  <a:gd name="T19" fmla="*/ 9 h 242"/>
                  <a:gd name="T20" fmla="*/ 34 w 184"/>
                  <a:gd name="T21" fmla="*/ 18 h 242"/>
                  <a:gd name="T22" fmla="*/ 33 w 184"/>
                  <a:gd name="T23" fmla="*/ 19 h 242"/>
                  <a:gd name="T24" fmla="*/ 30 w 184"/>
                  <a:gd name="T25" fmla="*/ 25 h 242"/>
                  <a:gd name="T26" fmla="*/ 31 w 184"/>
                  <a:gd name="T27" fmla="*/ 28 h 242"/>
                  <a:gd name="T28" fmla="*/ 33 w 184"/>
                  <a:gd name="T29" fmla="*/ 30 h 242"/>
                  <a:gd name="T30" fmla="*/ 36 w 184"/>
                  <a:gd name="T31" fmla="*/ 35 h 242"/>
                  <a:gd name="T32" fmla="*/ 39 w 184"/>
                  <a:gd name="T33" fmla="*/ 36 h 242"/>
                  <a:gd name="T34" fmla="*/ 40 w 184"/>
                  <a:gd name="T35" fmla="*/ 41 h 242"/>
                  <a:gd name="T36" fmla="*/ 44 w 184"/>
                  <a:gd name="T37" fmla="*/ 45 h 242"/>
                  <a:gd name="T38" fmla="*/ 46 w 184"/>
                  <a:gd name="T39" fmla="*/ 46 h 242"/>
                  <a:gd name="T40" fmla="*/ 50 w 184"/>
                  <a:gd name="T41" fmla="*/ 51 h 242"/>
                  <a:gd name="T42" fmla="*/ 69 w 184"/>
                  <a:gd name="T43" fmla="*/ 58 h 242"/>
                  <a:gd name="T44" fmla="*/ 90 w 184"/>
                  <a:gd name="T45" fmla="*/ 65 h 242"/>
                  <a:gd name="T46" fmla="*/ 123 w 184"/>
                  <a:gd name="T47" fmla="*/ 71 h 242"/>
                  <a:gd name="T48" fmla="*/ 103 w 184"/>
                  <a:gd name="T49" fmla="*/ 91 h 242"/>
                  <a:gd name="T50" fmla="*/ 76 w 184"/>
                  <a:gd name="T51" fmla="*/ 118 h 242"/>
                  <a:gd name="T52" fmla="*/ 69 w 184"/>
                  <a:gd name="T53" fmla="*/ 125 h 242"/>
                  <a:gd name="T54" fmla="*/ 53 w 184"/>
                  <a:gd name="T55" fmla="*/ 124 h 242"/>
                  <a:gd name="T56" fmla="*/ 46 w 184"/>
                  <a:gd name="T57" fmla="*/ 127 h 242"/>
                  <a:gd name="T58" fmla="*/ 36 w 184"/>
                  <a:gd name="T59" fmla="*/ 131 h 242"/>
                  <a:gd name="T60" fmla="*/ 36 w 184"/>
                  <a:gd name="T61" fmla="*/ 133 h 242"/>
                  <a:gd name="T62" fmla="*/ 34 w 184"/>
                  <a:gd name="T63" fmla="*/ 134 h 242"/>
                  <a:gd name="T64" fmla="*/ 31 w 184"/>
                  <a:gd name="T65" fmla="*/ 137 h 242"/>
                  <a:gd name="T66" fmla="*/ 21 w 184"/>
                  <a:gd name="T67" fmla="*/ 138 h 242"/>
                  <a:gd name="T68" fmla="*/ 19 w 184"/>
                  <a:gd name="T69" fmla="*/ 138 h 242"/>
                  <a:gd name="T70" fmla="*/ 17 w 184"/>
                  <a:gd name="T71" fmla="*/ 140 h 242"/>
                  <a:gd name="T72" fmla="*/ 14 w 184"/>
                  <a:gd name="T73" fmla="*/ 143 h 242"/>
                  <a:gd name="T74" fmla="*/ 1 w 184"/>
                  <a:gd name="T75" fmla="*/ 161 h 242"/>
                  <a:gd name="T76" fmla="*/ 0 w 184"/>
                  <a:gd name="T77" fmla="*/ 163 h 242"/>
                  <a:gd name="T78" fmla="*/ 0 w 184"/>
                  <a:gd name="T79" fmla="*/ 199 h 242"/>
                  <a:gd name="T80" fmla="*/ 0 w 184"/>
                  <a:gd name="T81" fmla="*/ 226 h 242"/>
                  <a:gd name="T82" fmla="*/ 1 w 184"/>
                  <a:gd name="T83" fmla="*/ 229 h 242"/>
                  <a:gd name="T84" fmla="*/ 10 w 184"/>
                  <a:gd name="T85" fmla="*/ 239 h 242"/>
                  <a:gd name="T86" fmla="*/ 17 w 184"/>
                  <a:gd name="T87" fmla="*/ 232 h 242"/>
                  <a:gd name="T88" fmla="*/ 83 w 184"/>
                  <a:gd name="T89" fmla="*/ 171 h 242"/>
                  <a:gd name="T90" fmla="*/ 136 w 184"/>
                  <a:gd name="T91" fmla="*/ 112 h 242"/>
                  <a:gd name="T92" fmla="*/ 156 w 184"/>
                  <a:gd name="T93" fmla="*/ 71 h 242"/>
                  <a:gd name="T94" fmla="*/ 175 w 184"/>
                  <a:gd name="T95" fmla="*/ 32 h 242"/>
                  <a:gd name="T96" fmla="*/ 182 w 184"/>
                  <a:gd name="T97" fmla="*/ 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4" h="242">
                    <a:moveTo>
                      <a:pt x="182" y="26"/>
                    </a:moveTo>
                    <a:lnTo>
                      <a:pt x="182" y="26"/>
                    </a:lnTo>
                    <a:lnTo>
                      <a:pt x="181" y="25"/>
                    </a:lnTo>
                    <a:lnTo>
                      <a:pt x="179" y="25"/>
                    </a:lnTo>
                    <a:lnTo>
                      <a:pt x="179" y="26"/>
                    </a:lnTo>
                    <a:lnTo>
                      <a:pt x="179" y="26"/>
                    </a:lnTo>
                    <a:lnTo>
                      <a:pt x="178" y="26"/>
                    </a:lnTo>
                    <a:lnTo>
                      <a:pt x="177" y="26"/>
                    </a:lnTo>
                    <a:lnTo>
                      <a:pt x="178" y="25"/>
                    </a:lnTo>
                    <a:lnTo>
                      <a:pt x="179" y="22"/>
                    </a:lnTo>
                    <a:lnTo>
                      <a:pt x="178" y="16"/>
                    </a:lnTo>
                    <a:lnTo>
                      <a:pt x="178" y="12"/>
                    </a:lnTo>
                    <a:lnTo>
                      <a:pt x="181" y="2"/>
                    </a:lnTo>
                    <a:lnTo>
                      <a:pt x="174" y="0"/>
                    </a:lnTo>
                    <a:lnTo>
                      <a:pt x="171" y="0"/>
                    </a:lnTo>
                    <a:lnTo>
                      <a:pt x="164" y="5"/>
                    </a:lnTo>
                    <a:lnTo>
                      <a:pt x="161" y="6"/>
                    </a:lnTo>
                    <a:lnTo>
                      <a:pt x="152" y="9"/>
                    </a:lnTo>
                    <a:lnTo>
                      <a:pt x="146" y="12"/>
                    </a:lnTo>
                    <a:lnTo>
                      <a:pt x="143" y="12"/>
                    </a:lnTo>
                    <a:lnTo>
                      <a:pt x="139" y="12"/>
                    </a:lnTo>
                    <a:lnTo>
                      <a:pt x="135" y="12"/>
                    </a:lnTo>
                    <a:lnTo>
                      <a:pt x="133" y="12"/>
                    </a:lnTo>
                    <a:lnTo>
                      <a:pt x="131" y="12"/>
                    </a:lnTo>
                    <a:lnTo>
                      <a:pt x="125" y="15"/>
                    </a:lnTo>
                    <a:lnTo>
                      <a:pt x="121" y="15"/>
                    </a:lnTo>
                    <a:lnTo>
                      <a:pt x="113" y="15"/>
                    </a:lnTo>
                    <a:lnTo>
                      <a:pt x="110" y="15"/>
                    </a:lnTo>
                    <a:lnTo>
                      <a:pt x="100" y="20"/>
                    </a:lnTo>
                    <a:lnTo>
                      <a:pt x="98" y="22"/>
                    </a:lnTo>
                    <a:lnTo>
                      <a:pt x="93" y="22"/>
                    </a:lnTo>
                    <a:lnTo>
                      <a:pt x="86" y="20"/>
                    </a:lnTo>
                    <a:lnTo>
                      <a:pt x="83" y="20"/>
                    </a:lnTo>
                    <a:lnTo>
                      <a:pt x="79" y="22"/>
                    </a:lnTo>
                    <a:lnTo>
                      <a:pt x="73" y="26"/>
                    </a:lnTo>
                    <a:lnTo>
                      <a:pt x="69" y="28"/>
                    </a:lnTo>
                    <a:lnTo>
                      <a:pt x="59" y="26"/>
                    </a:lnTo>
                    <a:lnTo>
                      <a:pt x="52" y="22"/>
                    </a:lnTo>
                    <a:lnTo>
                      <a:pt x="40" y="7"/>
                    </a:lnTo>
                    <a:lnTo>
                      <a:pt x="39" y="9"/>
                    </a:lnTo>
                    <a:lnTo>
                      <a:pt x="36" y="13"/>
                    </a:lnTo>
                    <a:lnTo>
                      <a:pt x="34" y="18"/>
                    </a:lnTo>
                    <a:lnTo>
                      <a:pt x="34" y="18"/>
                    </a:lnTo>
                    <a:lnTo>
                      <a:pt x="34" y="18"/>
                    </a:lnTo>
                    <a:lnTo>
                      <a:pt x="34" y="18"/>
                    </a:lnTo>
                    <a:lnTo>
                      <a:pt x="34" y="18"/>
                    </a:lnTo>
                    <a:lnTo>
                      <a:pt x="33" y="18"/>
                    </a:lnTo>
                    <a:lnTo>
                      <a:pt x="33" y="19"/>
                    </a:lnTo>
                    <a:lnTo>
                      <a:pt x="31" y="22"/>
                    </a:lnTo>
                    <a:lnTo>
                      <a:pt x="30" y="23"/>
                    </a:lnTo>
                    <a:lnTo>
                      <a:pt x="30" y="25"/>
                    </a:lnTo>
                    <a:lnTo>
                      <a:pt x="30" y="25"/>
                    </a:lnTo>
                    <a:lnTo>
                      <a:pt x="30" y="25"/>
                    </a:lnTo>
                    <a:lnTo>
                      <a:pt x="30" y="25"/>
                    </a:lnTo>
                    <a:lnTo>
                      <a:pt x="31" y="26"/>
                    </a:lnTo>
                    <a:lnTo>
                      <a:pt x="31" y="28"/>
                    </a:lnTo>
                    <a:lnTo>
                      <a:pt x="31" y="29"/>
                    </a:lnTo>
                    <a:lnTo>
                      <a:pt x="33" y="30"/>
                    </a:lnTo>
                    <a:lnTo>
                      <a:pt x="33" y="30"/>
                    </a:lnTo>
                    <a:lnTo>
                      <a:pt x="33" y="30"/>
                    </a:lnTo>
                    <a:lnTo>
                      <a:pt x="33" y="32"/>
                    </a:lnTo>
                    <a:lnTo>
                      <a:pt x="34" y="32"/>
                    </a:lnTo>
                    <a:lnTo>
                      <a:pt x="34" y="33"/>
                    </a:lnTo>
                    <a:lnTo>
                      <a:pt x="36" y="35"/>
                    </a:lnTo>
                    <a:lnTo>
                      <a:pt x="36" y="35"/>
                    </a:lnTo>
                    <a:lnTo>
                      <a:pt x="37" y="36"/>
                    </a:lnTo>
                    <a:lnTo>
                      <a:pt x="37" y="36"/>
                    </a:lnTo>
                    <a:lnTo>
                      <a:pt x="39" y="36"/>
                    </a:lnTo>
                    <a:lnTo>
                      <a:pt x="39" y="36"/>
                    </a:lnTo>
                    <a:lnTo>
                      <a:pt x="39" y="38"/>
                    </a:lnTo>
                    <a:lnTo>
                      <a:pt x="39" y="38"/>
                    </a:lnTo>
                    <a:lnTo>
                      <a:pt x="40" y="41"/>
                    </a:lnTo>
                    <a:lnTo>
                      <a:pt x="42" y="43"/>
                    </a:lnTo>
                    <a:lnTo>
                      <a:pt x="43" y="43"/>
                    </a:lnTo>
                    <a:lnTo>
                      <a:pt x="43" y="45"/>
                    </a:lnTo>
                    <a:lnTo>
                      <a:pt x="44" y="45"/>
                    </a:lnTo>
                    <a:lnTo>
                      <a:pt x="44" y="46"/>
                    </a:lnTo>
                    <a:lnTo>
                      <a:pt x="44" y="46"/>
                    </a:lnTo>
                    <a:lnTo>
                      <a:pt x="46" y="46"/>
                    </a:lnTo>
                    <a:lnTo>
                      <a:pt x="46" y="46"/>
                    </a:lnTo>
                    <a:lnTo>
                      <a:pt x="46" y="46"/>
                    </a:lnTo>
                    <a:lnTo>
                      <a:pt x="46" y="46"/>
                    </a:lnTo>
                    <a:lnTo>
                      <a:pt x="46" y="46"/>
                    </a:lnTo>
                    <a:lnTo>
                      <a:pt x="50" y="51"/>
                    </a:lnTo>
                    <a:lnTo>
                      <a:pt x="53" y="52"/>
                    </a:lnTo>
                    <a:lnTo>
                      <a:pt x="54" y="53"/>
                    </a:lnTo>
                    <a:lnTo>
                      <a:pt x="56" y="53"/>
                    </a:lnTo>
                    <a:lnTo>
                      <a:pt x="69" y="58"/>
                    </a:lnTo>
                    <a:lnTo>
                      <a:pt x="75" y="59"/>
                    </a:lnTo>
                    <a:lnTo>
                      <a:pt x="77" y="61"/>
                    </a:lnTo>
                    <a:lnTo>
                      <a:pt x="83" y="62"/>
                    </a:lnTo>
                    <a:lnTo>
                      <a:pt x="90" y="65"/>
                    </a:lnTo>
                    <a:lnTo>
                      <a:pt x="93" y="66"/>
                    </a:lnTo>
                    <a:lnTo>
                      <a:pt x="105" y="69"/>
                    </a:lnTo>
                    <a:lnTo>
                      <a:pt x="106" y="71"/>
                    </a:lnTo>
                    <a:lnTo>
                      <a:pt x="123" y="71"/>
                    </a:lnTo>
                    <a:lnTo>
                      <a:pt x="116" y="76"/>
                    </a:lnTo>
                    <a:lnTo>
                      <a:pt x="112" y="82"/>
                    </a:lnTo>
                    <a:lnTo>
                      <a:pt x="106" y="88"/>
                    </a:lnTo>
                    <a:lnTo>
                      <a:pt x="103" y="91"/>
                    </a:lnTo>
                    <a:lnTo>
                      <a:pt x="98" y="95"/>
                    </a:lnTo>
                    <a:lnTo>
                      <a:pt x="96" y="97"/>
                    </a:lnTo>
                    <a:lnTo>
                      <a:pt x="89" y="105"/>
                    </a:lnTo>
                    <a:lnTo>
                      <a:pt x="76" y="118"/>
                    </a:lnTo>
                    <a:lnTo>
                      <a:pt x="72" y="124"/>
                    </a:lnTo>
                    <a:lnTo>
                      <a:pt x="70" y="124"/>
                    </a:lnTo>
                    <a:lnTo>
                      <a:pt x="69" y="125"/>
                    </a:lnTo>
                    <a:lnTo>
                      <a:pt x="69" y="125"/>
                    </a:lnTo>
                    <a:lnTo>
                      <a:pt x="67" y="125"/>
                    </a:lnTo>
                    <a:lnTo>
                      <a:pt x="62" y="125"/>
                    </a:lnTo>
                    <a:lnTo>
                      <a:pt x="57" y="124"/>
                    </a:lnTo>
                    <a:lnTo>
                      <a:pt x="53" y="124"/>
                    </a:lnTo>
                    <a:lnTo>
                      <a:pt x="52" y="125"/>
                    </a:lnTo>
                    <a:lnTo>
                      <a:pt x="52" y="125"/>
                    </a:lnTo>
                    <a:lnTo>
                      <a:pt x="50" y="125"/>
                    </a:lnTo>
                    <a:lnTo>
                      <a:pt x="46" y="127"/>
                    </a:lnTo>
                    <a:lnTo>
                      <a:pt x="42" y="128"/>
                    </a:lnTo>
                    <a:lnTo>
                      <a:pt x="39" y="130"/>
                    </a:lnTo>
                    <a:lnTo>
                      <a:pt x="37" y="131"/>
                    </a:lnTo>
                    <a:lnTo>
                      <a:pt x="36" y="131"/>
                    </a:lnTo>
                    <a:lnTo>
                      <a:pt x="36" y="131"/>
                    </a:lnTo>
                    <a:lnTo>
                      <a:pt x="36" y="131"/>
                    </a:lnTo>
                    <a:lnTo>
                      <a:pt x="36" y="131"/>
                    </a:lnTo>
                    <a:lnTo>
                      <a:pt x="36" y="133"/>
                    </a:lnTo>
                    <a:lnTo>
                      <a:pt x="34" y="133"/>
                    </a:lnTo>
                    <a:lnTo>
                      <a:pt x="34" y="134"/>
                    </a:lnTo>
                    <a:lnTo>
                      <a:pt x="34" y="134"/>
                    </a:lnTo>
                    <a:lnTo>
                      <a:pt x="34" y="134"/>
                    </a:lnTo>
                    <a:lnTo>
                      <a:pt x="34" y="135"/>
                    </a:lnTo>
                    <a:lnTo>
                      <a:pt x="33" y="135"/>
                    </a:lnTo>
                    <a:lnTo>
                      <a:pt x="33" y="135"/>
                    </a:lnTo>
                    <a:lnTo>
                      <a:pt x="31" y="137"/>
                    </a:lnTo>
                    <a:lnTo>
                      <a:pt x="29" y="137"/>
                    </a:lnTo>
                    <a:lnTo>
                      <a:pt x="23" y="137"/>
                    </a:lnTo>
                    <a:lnTo>
                      <a:pt x="23" y="138"/>
                    </a:lnTo>
                    <a:lnTo>
                      <a:pt x="21" y="138"/>
                    </a:lnTo>
                    <a:lnTo>
                      <a:pt x="21" y="138"/>
                    </a:lnTo>
                    <a:lnTo>
                      <a:pt x="20" y="138"/>
                    </a:lnTo>
                    <a:lnTo>
                      <a:pt x="20" y="138"/>
                    </a:lnTo>
                    <a:lnTo>
                      <a:pt x="19" y="138"/>
                    </a:lnTo>
                    <a:lnTo>
                      <a:pt x="19" y="140"/>
                    </a:lnTo>
                    <a:lnTo>
                      <a:pt x="17" y="140"/>
                    </a:lnTo>
                    <a:lnTo>
                      <a:pt x="17" y="140"/>
                    </a:lnTo>
                    <a:lnTo>
                      <a:pt x="17" y="140"/>
                    </a:lnTo>
                    <a:lnTo>
                      <a:pt x="17" y="141"/>
                    </a:lnTo>
                    <a:lnTo>
                      <a:pt x="16" y="141"/>
                    </a:lnTo>
                    <a:lnTo>
                      <a:pt x="16" y="141"/>
                    </a:lnTo>
                    <a:lnTo>
                      <a:pt x="14" y="143"/>
                    </a:lnTo>
                    <a:lnTo>
                      <a:pt x="13" y="147"/>
                    </a:lnTo>
                    <a:lnTo>
                      <a:pt x="7" y="156"/>
                    </a:lnTo>
                    <a:lnTo>
                      <a:pt x="4" y="157"/>
                    </a:lnTo>
                    <a:lnTo>
                      <a:pt x="1" y="161"/>
                    </a:lnTo>
                    <a:lnTo>
                      <a:pt x="0" y="161"/>
                    </a:lnTo>
                    <a:lnTo>
                      <a:pt x="0" y="161"/>
                    </a:lnTo>
                    <a:lnTo>
                      <a:pt x="0" y="161"/>
                    </a:lnTo>
                    <a:lnTo>
                      <a:pt x="0" y="163"/>
                    </a:lnTo>
                    <a:lnTo>
                      <a:pt x="0" y="167"/>
                    </a:lnTo>
                    <a:lnTo>
                      <a:pt x="0" y="173"/>
                    </a:lnTo>
                    <a:lnTo>
                      <a:pt x="0" y="191"/>
                    </a:lnTo>
                    <a:lnTo>
                      <a:pt x="0" y="199"/>
                    </a:lnTo>
                    <a:lnTo>
                      <a:pt x="0" y="217"/>
                    </a:lnTo>
                    <a:lnTo>
                      <a:pt x="0" y="220"/>
                    </a:lnTo>
                    <a:lnTo>
                      <a:pt x="0" y="223"/>
                    </a:lnTo>
                    <a:lnTo>
                      <a:pt x="0" y="226"/>
                    </a:lnTo>
                    <a:lnTo>
                      <a:pt x="0" y="226"/>
                    </a:lnTo>
                    <a:lnTo>
                      <a:pt x="0" y="227"/>
                    </a:lnTo>
                    <a:lnTo>
                      <a:pt x="1" y="227"/>
                    </a:lnTo>
                    <a:lnTo>
                      <a:pt x="1" y="229"/>
                    </a:lnTo>
                    <a:lnTo>
                      <a:pt x="4" y="232"/>
                    </a:lnTo>
                    <a:lnTo>
                      <a:pt x="8" y="237"/>
                    </a:lnTo>
                    <a:lnTo>
                      <a:pt x="8" y="237"/>
                    </a:lnTo>
                    <a:lnTo>
                      <a:pt x="10" y="239"/>
                    </a:lnTo>
                    <a:lnTo>
                      <a:pt x="10" y="240"/>
                    </a:lnTo>
                    <a:lnTo>
                      <a:pt x="10" y="242"/>
                    </a:lnTo>
                    <a:lnTo>
                      <a:pt x="11" y="239"/>
                    </a:lnTo>
                    <a:lnTo>
                      <a:pt x="17" y="232"/>
                    </a:lnTo>
                    <a:lnTo>
                      <a:pt x="19" y="229"/>
                    </a:lnTo>
                    <a:lnTo>
                      <a:pt x="49" y="196"/>
                    </a:lnTo>
                    <a:lnTo>
                      <a:pt x="66" y="181"/>
                    </a:lnTo>
                    <a:lnTo>
                      <a:pt x="83" y="171"/>
                    </a:lnTo>
                    <a:lnTo>
                      <a:pt x="89" y="168"/>
                    </a:lnTo>
                    <a:lnTo>
                      <a:pt x="100" y="158"/>
                    </a:lnTo>
                    <a:lnTo>
                      <a:pt x="119" y="135"/>
                    </a:lnTo>
                    <a:lnTo>
                      <a:pt x="136" y="112"/>
                    </a:lnTo>
                    <a:lnTo>
                      <a:pt x="141" y="105"/>
                    </a:lnTo>
                    <a:lnTo>
                      <a:pt x="145" y="92"/>
                    </a:lnTo>
                    <a:lnTo>
                      <a:pt x="152" y="81"/>
                    </a:lnTo>
                    <a:lnTo>
                      <a:pt x="156" y="71"/>
                    </a:lnTo>
                    <a:lnTo>
                      <a:pt x="161" y="65"/>
                    </a:lnTo>
                    <a:lnTo>
                      <a:pt x="172" y="46"/>
                    </a:lnTo>
                    <a:lnTo>
                      <a:pt x="174" y="43"/>
                    </a:lnTo>
                    <a:lnTo>
                      <a:pt x="175" y="32"/>
                    </a:lnTo>
                    <a:lnTo>
                      <a:pt x="177" y="29"/>
                    </a:lnTo>
                    <a:lnTo>
                      <a:pt x="179" y="28"/>
                    </a:lnTo>
                    <a:lnTo>
                      <a:pt x="184" y="28"/>
                    </a:lnTo>
                    <a:lnTo>
                      <a:pt x="182" y="2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35" name="Freeform 222">
                <a:extLst>
                  <a:ext uri="{FF2B5EF4-FFF2-40B4-BE49-F238E27FC236}">
                    <a16:creationId xmlns:a16="http://schemas.microsoft.com/office/drawing/2014/main" id="{A22904F6-A9A3-2A74-90FA-A11F0788A65D}"/>
                  </a:ext>
                </a:extLst>
              </p:cNvPr>
              <p:cNvSpPr>
                <a:spLocks noEditPoints="1"/>
              </p:cNvSpPr>
              <p:nvPr/>
            </p:nvSpPr>
            <p:spPr bwMode="auto">
              <a:xfrm>
                <a:off x="3662" y="2687"/>
                <a:ext cx="16" cy="29"/>
              </a:xfrm>
              <a:custGeom>
                <a:avLst/>
                <a:gdLst>
                  <a:gd name="T0" fmla="*/ 4 w 16"/>
                  <a:gd name="T1" fmla="*/ 25 h 29"/>
                  <a:gd name="T2" fmla="*/ 4 w 16"/>
                  <a:gd name="T3" fmla="*/ 26 h 29"/>
                  <a:gd name="T4" fmla="*/ 3 w 16"/>
                  <a:gd name="T5" fmla="*/ 28 h 29"/>
                  <a:gd name="T6" fmla="*/ 1 w 16"/>
                  <a:gd name="T7" fmla="*/ 29 h 29"/>
                  <a:gd name="T8" fmla="*/ 0 w 16"/>
                  <a:gd name="T9" fmla="*/ 29 h 29"/>
                  <a:gd name="T10" fmla="*/ 0 w 16"/>
                  <a:gd name="T11" fmla="*/ 26 h 29"/>
                  <a:gd name="T12" fmla="*/ 0 w 16"/>
                  <a:gd name="T13" fmla="*/ 25 h 29"/>
                  <a:gd name="T14" fmla="*/ 3 w 16"/>
                  <a:gd name="T15" fmla="*/ 23 h 29"/>
                  <a:gd name="T16" fmla="*/ 4 w 16"/>
                  <a:gd name="T17" fmla="*/ 25 h 29"/>
                  <a:gd name="T18" fmla="*/ 14 w 16"/>
                  <a:gd name="T19" fmla="*/ 2 h 29"/>
                  <a:gd name="T20" fmla="*/ 16 w 16"/>
                  <a:gd name="T21" fmla="*/ 3 h 29"/>
                  <a:gd name="T22" fmla="*/ 16 w 16"/>
                  <a:gd name="T23" fmla="*/ 2 h 29"/>
                  <a:gd name="T24" fmla="*/ 16 w 16"/>
                  <a:gd name="T25" fmla="*/ 0 h 29"/>
                  <a:gd name="T26" fmla="*/ 14 w 16"/>
                  <a:gd name="T27"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9">
                    <a:moveTo>
                      <a:pt x="4" y="25"/>
                    </a:moveTo>
                    <a:lnTo>
                      <a:pt x="4" y="26"/>
                    </a:lnTo>
                    <a:lnTo>
                      <a:pt x="3" y="28"/>
                    </a:lnTo>
                    <a:lnTo>
                      <a:pt x="1" y="29"/>
                    </a:lnTo>
                    <a:lnTo>
                      <a:pt x="0" y="29"/>
                    </a:lnTo>
                    <a:lnTo>
                      <a:pt x="0" y="26"/>
                    </a:lnTo>
                    <a:lnTo>
                      <a:pt x="0" y="25"/>
                    </a:lnTo>
                    <a:lnTo>
                      <a:pt x="3" y="23"/>
                    </a:lnTo>
                    <a:lnTo>
                      <a:pt x="4" y="25"/>
                    </a:lnTo>
                    <a:close/>
                    <a:moveTo>
                      <a:pt x="14" y="2"/>
                    </a:moveTo>
                    <a:lnTo>
                      <a:pt x="16" y="3"/>
                    </a:lnTo>
                    <a:lnTo>
                      <a:pt x="16" y="2"/>
                    </a:lnTo>
                    <a:lnTo>
                      <a:pt x="16" y="0"/>
                    </a:lnTo>
                    <a:lnTo>
                      <a:pt x="14"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36" name="Freeform 223">
                <a:extLst>
                  <a:ext uri="{FF2B5EF4-FFF2-40B4-BE49-F238E27FC236}">
                    <a16:creationId xmlns:a16="http://schemas.microsoft.com/office/drawing/2014/main" id="{DECDEC31-BB23-C9BB-8DD7-1193B5F33653}"/>
                  </a:ext>
                </a:extLst>
              </p:cNvPr>
              <p:cNvSpPr>
                <a:spLocks/>
              </p:cNvSpPr>
              <p:nvPr/>
            </p:nvSpPr>
            <p:spPr bwMode="auto">
              <a:xfrm>
                <a:off x="3446" y="3002"/>
                <a:ext cx="2" cy="2"/>
              </a:xfrm>
              <a:custGeom>
                <a:avLst/>
                <a:gdLst>
                  <a:gd name="T0" fmla="*/ 0 w 2"/>
                  <a:gd name="T1" fmla="*/ 2 h 2"/>
                  <a:gd name="T2" fmla="*/ 2 w 2"/>
                  <a:gd name="T3" fmla="*/ 0 h 2"/>
                  <a:gd name="T4" fmla="*/ 2 w 2"/>
                  <a:gd name="T5" fmla="*/ 0 h 2"/>
                  <a:gd name="T6" fmla="*/ 0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2" y="0"/>
                    </a:lnTo>
                    <a:lnTo>
                      <a:pt x="2" y="0"/>
                    </a:lnTo>
                    <a:lnTo>
                      <a:pt x="0" y="0"/>
                    </a:lnTo>
                    <a:lnTo>
                      <a:pt x="0"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37" name="Freeform 224">
                <a:extLst>
                  <a:ext uri="{FF2B5EF4-FFF2-40B4-BE49-F238E27FC236}">
                    <a16:creationId xmlns:a16="http://schemas.microsoft.com/office/drawing/2014/main" id="{47E08E4F-3F81-F553-2B73-7D056B7407EE}"/>
                  </a:ext>
                </a:extLst>
              </p:cNvPr>
              <p:cNvSpPr>
                <a:spLocks/>
              </p:cNvSpPr>
              <p:nvPr/>
            </p:nvSpPr>
            <p:spPr bwMode="auto">
              <a:xfrm>
                <a:off x="3294" y="2857"/>
                <a:ext cx="2" cy="1"/>
              </a:xfrm>
              <a:custGeom>
                <a:avLst/>
                <a:gdLst>
                  <a:gd name="T0" fmla="*/ 0 w 2"/>
                  <a:gd name="T1" fmla="*/ 0 h 1"/>
                  <a:gd name="T2" fmla="*/ 0 w 2"/>
                  <a:gd name="T3" fmla="*/ 1 h 1"/>
                  <a:gd name="T4" fmla="*/ 0 w 2"/>
                  <a:gd name="T5" fmla="*/ 1 h 1"/>
                  <a:gd name="T6" fmla="*/ 2 w 2"/>
                  <a:gd name="T7" fmla="*/ 1 h 1"/>
                  <a:gd name="T8" fmla="*/ 2 w 2"/>
                  <a:gd name="T9" fmla="*/ 1 h 1"/>
                  <a:gd name="T10" fmla="*/ 2 w 2"/>
                  <a:gd name="T11" fmla="*/ 0 h 1"/>
                  <a:gd name="T12" fmla="*/ 0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0"/>
                    </a:moveTo>
                    <a:lnTo>
                      <a:pt x="0" y="1"/>
                    </a:lnTo>
                    <a:lnTo>
                      <a:pt x="0" y="1"/>
                    </a:lnTo>
                    <a:lnTo>
                      <a:pt x="2" y="1"/>
                    </a:lnTo>
                    <a:lnTo>
                      <a:pt x="2" y="1"/>
                    </a:lnTo>
                    <a:lnTo>
                      <a:pt x="2" y="0"/>
                    </a:lnTo>
                    <a:lnTo>
                      <a:pt x="0"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38" name="Freeform 225">
                <a:extLst>
                  <a:ext uri="{FF2B5EF4-FFF2-40B4-BE49-F238E27FC236}">
                    <a16:creationId xmlns:a16="http://schemas.microsoft.com/office/drawing/2014/main" id="{ABF31DCE-6C65-7731-17CD-771349CBCCD7}"/>
                  </a:ext>
                </a:extLst>
              </p:cNvPr>
              <p:cNvSpPr>
                <a:spLocks/>
              </p:cNvSpPr>
              <p:nvPr/>
            </p:nvSpPr>
            <p:spPr bwMode="auto">
              <a:xfrm>
                <a:off x="4456" y="3612"/>
                <a:ext cx="3" cy="2"/>
              </a:xfrm>
              <a:custGeom>
                <a:avLst/>
                <a:gdLst>
                  <a:gd name="T0" fmla="*/ 1 w 3"/>
                  <a:gd name="T1" fmla="*/ 0 h 2"/>
                  <a:gd name="T2" fmla="*/ 1 w 3"/>
                  <a:gd name="T3" fmla="*/ 0 h 2"/>
                  <a:gd name="T4" fmla="*/ 0 w 3"/>
                  <a:gd name="T5" fmla="*/ 1 h 2"/>
                  <a:gd name="T6" fmla="*/ 0 w 3"/>
                  <a:gd name="T7" fmla="*/ 1 h 2"/>
                  <a:gd name="T8" fmla="*/ 1 w 3"/>
                  <a:gd name="T9" fmla="*/ 2 h 2"/>
                  <a:gd name="T10" fmla="*/ 1 w 3"/>
                  <a:gd name="T11" fmla="*/ 2 h 2"/>
                  <a:gd name="T12" fmla="*/ 3 w 3"/>
                  <a:gd name="T13" fmla="*/ 2 h 2"/>
                  <a:gd name="T14" fmla="*/ 3 w 3"/>
                  <a:gd name="T15" fmla="*/ 1 h 2"/>
                  <a:gd name="T16" fmla="*/ 1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1" y="0"/>
                    </a:moveTo>
                    <a:lnTo>
                      <a:pt x="1" y="0"/>
                    </a:lnTo>
                    <a:lnTo>
                      <a:pt x="0" y="1"/>
                    </a:lnTo>
                    <a:lnTo>
                      <a:pt x="0" y="1"/>
                    </a:lnTo>
                    <a:lnTo>
                      <a:pt x="1" y="2"/>
                    </a:lnTo>
                    <a:lnTo>
                      <a:pt x="1" y="2"/>
                    </a:lnTo>
                    <a:lnTo>
                      <a:pt x="3" y="2"/>
                    </a:lnTo>
                    <a:lnTo>
                      <a:pt x="3" y="1"/>
                    </a:lnTo>
                    <a:lnTo>
                      <a:pt x="1"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39" name="Freeform 226">
                <a:extLst>
                  <a:ext uri="{FF2B5EF4-FFF2-40B4-BE49-F238E27FC236}">
                    <a16:creationId xmlns:a16="http://schemas.microsoft.com/office/drawing/2014/main" id="{AC7492DC-5284-F91F-6779-1ADD22318E34}"/>
                  </a:ext>
                </a:extLst>
              </p:cNvPr>
              <p:cNvSpPr>
                <a:spLocks noEditPoints="1"/>
              </p:cNvSpPr>
              <p:nvPr/>
            </p:nvSpPr>
            <p:spPr bwMode="auto">
              <a:xfrm>
                <a:off x="3696" y="2651"/>
                <a:ext cx="51" cy="49"/>
              </a:xfrm>
              <a:custGeom>
                <a:avLst/>
                <a:gdLst>
                  <a:gd name="T0" fmla="*/ 22 w 51"/>
                  <a:gd name="T1" fmla="*/ 48 h 49"/>
                  <a:gd name="T2" fmla="*/ 20 w 51"/>
                  <a:gd name="T3" fmla="*/ 48 h 49"/>
                  <a:gd name="T4" fmla="*/ 19 w 51"/>
                  <a:gd name="T5" fmla="*/ 48 h 49"/>
                  <a:gd name="T6" fmla="*/ 18 w 51"/>
                  <a:gd name="T7" fmla="*/ 46 h 49"/>
                  <a:gd name="T8" fmla="*/ 18 w 51"/>
                  <a:gd name="T9" fmla="*/ 46 h 49"/>
                  <a:gd name="T10" fmla="*/ 18 w 51"/>
                  <a:gd name="T11" fmla="*/ 45 h 49"/>
                  <a:gd name="T12" fmla="*/ 18 w 51"/>
                  <a:gd name="T13" fmla="*/ 44 h 49"/>
                  <a:gd name="T14" fmla="*/ 18 w 51"/>
                  <a:gd name="T15" fmla="*/ 42 h 49"/>
                  <a:gd name="T16" fmla="*/ 20 w 51"/>
                  <a:gd name="T17" fmla="*/ 39 h 49"/>
                  <a:gd name="T18" fmla="*/ 22 w 51"/>
                  <a:gd name="T19" fmla="*/ 36 h 49"/>
                  <a:gd name="T20" fmla="*/ 23 w 51"/>
                  <a:gd name="T21" fmla="*/ 33 h 49"/>
                  <a:gd name="T22" fmla="*/ 23 w 51"/>
                  <a:gd name="T23" fmla="*/ 26 h 49"/>
                  <a:gd name="T24" fmla="*/ 25 w 51"/>
                  <a:gd name="T25" fmla="*/ 28 h 49"/>
                  <a:gd name="T26" fmla="*/ 28 w 51"/>
                  <a:gd name="T27" fmla="*/ 28 h 49"/>
                  <a:gd name="T28" fmla="*/ 51 w 51"/>
                  <a:gd name="T29" fmla="*/ 28 h 49"/>
                  <a:gd name="T30" fmla="*/ 51 w 51"/>
                  <a:gd name="T31" fmla="*/ 49 h 49"/>
                  <a:gd name="T32" fmla="*/ 28 w 51"/>
                  <a:gd name="T33" fmla="*/ 49 h 49"/>
                  <a:gd name="T34" fmla="*/ 26 w 51"/>
                  <a:gd name="T35" fmla="*/ 49 h 49"/>
                  <a:gd name="T36" fmla="*/ 25 w 51"/>
                  <a:gd name="T37" fmla="*/ 49 h 49"/>
                  <a:gd name="T38" fmla="*/ 23 w 51"/>
                  <a:gd name="T39" fmla="*/ 49 h 49"/>
                  <a:gd name="T40" fmla="*/ 22 w 51"/>
                  <a:gd name="T41" fmla="*/ 48 h 49"/>
                  <a:gd name="T42" fmla="*/ 22 w 51"/>
                  <a:gd name="T43" fmla="*/ 48 h 49"/>
                  <a:gd name="T44" fmla="*/ 9 w 51"/>
                  <a:gd name="T45" fmla="*/ 5 h 49"/>
                  <a:gd name="T46" fmla="*/ 9 w 51"/>
                  <a:gd name="T47" fmla="*/ 2 h 49"/>
                  <a:gd name="T48" fmla="*/ 7 w 51"/>
                  <a:gd name="T49" fmla="*/ 0 h 49"/>
                  <a:gd name="T50" fmla="*/ 6 w 51"/>
                  <a:gd name="T51" fmla="*/ 0 h 49"/>
                  <a:gd name="T52" fmla="*/ 5 w 51"/>
                  <a:gd name="T53" fmla="*/ 0 h 49"/>
                  <a:gd name="T54" fmla="*/ 3 w 51"/>
                  <a:gd name="T55" fmla="*/ 2 h 49"/>
                  <a:gd name="T56" fmla="*/ 3 w 51"/>
                  <a:gd name="T57" fmla="*/ 2 h 49"/>
                  <a:gd name="T58" fmla="*/ 2 w 51"/>
                  <a:gd name="T59" fmla="*/ 5 h 49"/>
                  <a:gd name="T60" fmla="*/ 2 w 51"/>
                  <a:gd name="T61" fmla="*/ 5 h 49"/>
                  <a:gd name="T62" fmla="*/ 2 w 51"/>
                  <a:gd name="T63" fmla="*/ 6 h 49"/>
                  <a:gd name="T64" fmla="*/ 0 w 51"/>
                  <a:gd name="T65" fmla="*/ 6 h 49"/>
                  <a:gd name="T66" fmla="*/ 0 w 51"/>
                  <a:gd name="T67" fmla="*/ 6 h 49"/>
                  <a:gd name="T68" fmla="*/ 0 w 51"/>
                  <a:gd name="T69" fmla="*/ 8 h 49"/>
                  <a:gd name="T70" fmla="*/ 3 w 51"/>
                  <a:gd name="T71" fmla="*/ 11 h 49"/>
                  <a:gd name="T72" fmla="*/ 6 w 51"/>
                  <a:gd name="T73" fmla="*/ 8 h 49"/>
                  <a:gd name="T74" fmla="*/ 9 w 51"/>
                  <a:gd name="T75" fmla="*/ 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49">
                    <a:moveTo>
                      <a:pt x="22" y="48"/>
                    </a:moveTo>
                    <a:lnTo>
                      <a:pt x="20" y="48"/>
                    </a:lnTo>
                    <a:lnTo>
                      <a:pt x="19" y="48"/>
                    </a:lnTo>
                    <a:lnTo>
                      <a:pt x="18" y="46"/>
                    </a:lnTo>
                    <a:lnTo>
                      <a:pt x="18" y="46"/>
                    </a:lnTo>
                    <a:lnTo>
                      <a:pt x="18" y="45"/>
                    </a:lnTo>
                    <a:lnTo>
                      <a:pt x="18" y="44"/>
                    </a:lnTo>
                    <a:lnTo>
                      <a:pt x="18" y="42"/>
                    </a:lnTo>
                    <a:lnTo>
                      <a:pt x="20" y="39"/>
                    </a:lnTo>
                    <a:lnTo>
                      <a:pt x="22" y="36"/>
                    </a:lnTo>
                    <a:lnTo>
                      <a:pt x="23" y="33"/>
                    </a:lnTo>
                    <a:lnTo>
                      <a:pt x="23" y="26"/>
                    </a:lnTo>
                    <a:lnTo>
                      <a:pt x="25" y="28"/>
                    </a:lnTo>
                    <a:lnTo>
                      <a:pt x="28" y="28"/>
                    </a:lnTo>
                    <a:lnTo>
                      <a:pt x="51" y="28"/>
                    </a:lnTo>
                    <a:lnTo>
                      <a:pt x="51" y="49"/>
                    </a:lnTo>
                    <a:lnTo>
                      <a:pt x="28" y="49"/>
                    </a:lnTo>
                    <a:lnTo>
                      <a:pt x="26" y="49"/>
                    </a:lnTo>
                    <a:lnTo>
                      <a:pt x="25" y="49"/>
                    </a:lnTo>
                    <a:lnTo>
                      <a:pt x="23" y="49"/>
                    </a:lnTo>
                    <a:lnTo>
                      <a:pt x="22" y="48"/>
                    </a:lnTo>
                    <a:lnTo>
                      <a:pt x="22" y="48"/>
                    </a:lnTo>
                    <a:close/>
                    <a:moveTo>
                      <a:pt x="9" y="5"/>
                    </a:moveTo>
                    <a:lnTo>
                      <a:pt x="9" y="2"/>
                    </a:lnTo>
                    <a:lnTo>
                      <a:pt x="7" y="0"/>
                    </a:lnTo>
                    <a:lnTo>
                      <a:pt x="6" y="0"/>
                    </a:lnTo>
                    <a:lnTo>
                      <a:pt x="5" y="0"/>
                    </a:lnTo>
                    <a:lnTo>
                      <a:pt x="3" y="2"/>
                    </a:lnTo>
                    <a:lnTo>
                      <a:pt x="3" y="2"/>
                    </a:lnTo>
                    <a:lnTo>
                      <a:pt x="2" y="5"/>
                    </a:lnTo>
                    <a:lnTo>
                      <a:pt x="2" y="5"/>
                    </a:lnTo>
                    <a:lnTo>
                      <a:pt x="2" y="6"/>
                    </a:lnTo>
                    <a:lnTo>
                      <a:pt x="0" y="6"/>
                    </a:lnTo>
                    <a:lnTo>
                      <a:pt x="0" y="6"/>
                    </a:lnTo>
                    <a:lnTo>
                      <a:pt x="0" y="8"/>
                    </a:lnTo>
                    <a:lnTo>
                      <a:pt x="3" y="11"/>
                    </a:lnTo>
                    <a:lnTo>
                      <a:pt x="6" y="8"/>
                    </a:lnTo>
                    <a:lnTo>
                      <a:pt x="9" y="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40" name="Freeform 227">
                <a:extLst>
                  <a:ext uri="{FF2B5EF4-FFF2-40B4-BE49-F238E27FC236}">
                    <a16:creationId xmlns:a16="http://schemas.microsoft.com/office/drawing/2014/main" id="{6F446093-D280-ACC1-74A3-9DE3C571FF3A}"/>
                  </a:ext>
                </a:extLst>
              </p:cNvPr>
              <p:cNvSpPr>
                <a:spLocks/>
              </p:cNvSpPr>
              <p:nvPr/>
            </p:nvSpPr>
            <p:spPr bwMode="auto">
              <a:xfrm>
                <a:off x="4209" y="3623"/>
                <a:ext cx="4" cy="3"/>
              </a:xfrm>
              <a:custGeom>
                <a:avLst/>
                <a:gdLst>
                  <a:gd name="T0" fmla="*/ 3 w 4"/>
                  <a:gd name="T1" fmla="*/ 0 h 3"/>
                  <a:gd name="T2" fmla="*/ 1 w 4"/>
                  <a:gd name="T3" fmla="*/ 0 h 3"/>
                  <a:gd name="T4" fmla="*/ 0 w 4"/>
                  <a:gd name="T5" fmla="*/ 1 h 3"/>
                  <a:gd name="T6" fmla="*/ 0 w 4"/>
                  <a:gd name="T7" fmla="*/ 3 h 3"/>
                  <a:gd name="T8" fmla="*/ 1 w 4"/>
                  <a:gd name="T9" fmla="*/ 3 h 3"/>
                  <a:gd name="T10" fmla="*/ 4 w 4"/>
                  <a:gd name="T11" fmla="*/ 3 h 3"/>
                  <a:gd name="T12" fmla="*/ 4 w 4"/>
                  <a:gd name="T13" fmla="*/ 1 h 3"/>
                  <a:gd name="T14" fmla="*/ 4 w 4"/>
                  <a:gd name="T15" fmla="*/ 0 h 3"/>
                  <a:gd name="T16" fmla="*/ 3 w 4"/>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3" y="0"/>
                    </a:moveTo>
                    <a:lnTo>
                      <a:pt x="1" y="0"/>
                    </a:lnTo>
                    <a:lnTo>
                      <a:pt x="0" y="1"/>
                    </a:lnTo>
                    <a:lnTo>
                      <a:pt x="0" y="3"/>
                    </a:lnTo>
                    <a:lnTo>
                      <a:pt x="1" y="3"/>
                    </a:lnTo>
                    <a:lnTo>
                      <a:pt x="4" y="3"/>
                    </a:lnTo>
                    <a:lnTo>
                      <a:pt x="4" y="1"/>
                    </a:lnTo>
                    <a:lnTo>
                      <a:pt x="4" y="0"/>
                    </a:lnTo>
                    <a:lnTo>
                      <a:pt x="3"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41" name="Freeform 228">
                <a:extLst>
                  <a:ext uri="{FF2B5EF4-FFF2-40B4-BE49-F238E27FC236}">
                    <a16:creationId xmlns:a16="http://schemas.microsoft.com/office/drawing/2014/main" id="{BA1F53E2-E126-931C-9B87-EEA8246181EE}"/>
                  </a:ext>
                </a:extLst>
              </p:cNvPr>
              <p:cNvSpPr>
                <a:spLocks/>
              </p:cNvSpPr>
              <p:nvPr/>
            </p:nvSpPr>
            <p:spPr bwMode="auto">
              <a:xfrm>
                <a:off x="4522" y="2798"/>
                <a:ext cx="2" cy="4"/>
              </a:xfrm>
              <a:custGeom>
                <a:avLst/>
                <a:gdLst>
                  <a:gd name="T0" fmla="*/ 2 w 2"/>
                  <a:gd name="T1" fmla="*/ 3 h 4"/>
                  <a:gd name="T2" fmla="*/ 2 w 2"/>
                  <a:gd name="T3" fmla="*/ 1 h 4"/>
                  <a:gd name="T4" fmla="*/ 2 w 2"/>
                  <a:gd name="T5" fmla="*/ 1 h 4"/>
                  <a:gd name="T6" fmla="*/ 0 w 2"/>
                  <a:gd name="T7" fmla="*/ 0 h 4"/>
                  <a:gd name="T8" fmla="*/ 0 w 2"/>
                  <a:gd name="T9" fmla="*/ 1 h 4"/>
                  <a:gd name="T10" fmla="*/ 2 w 2"/>
                  <a:gd name="T11" fmla="*/ 4 h 4"/>
                  <a:gd name="T12" fmla="*/ 2 w 2"/>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3"/>
                    </a:moveTo>
                    <a:lnTo>
                      <a:pt x="2" y="1"/>
                    </a:lnTo>
                    <a:lnTo>
                      <a:pt x="2" y="1"/>
                    </a:lnTo>
                    <a:lnTo>
                      <a:pt x="0" y="0"/>
                    </a:lnTo>
                    <a:lnTo>
                      <a:pt x="0" y="1"/>
                    </a:lnTo>
                    <a:lnTo>
                      <a:pt x="2" y="4"/>
                    </a:lnTo>
                    <a:lnTo>
                      <a:pt x="2" y="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42" name="Freeform 229">
                <a:extLst>
                  <a:ext uri="{FF2B5EF4-FFF2-40B4-BE49-F238E27FC236}">
                    <a16:creationId xmlns:a16="http://schemas.microsoft.com/office/drawing/2014/main" id="{8D2A1508-3596-897B-400E-3A813A6E4FDE}"/>
                  </a:ext>
                </a:extLst>
              </p:cNvPr>
              <p:cNvSpPr>
                <a:spLocks noEditPoints="1"/>
              </p:cNvSpPr>
              <p:nvPr/>
            </p:nvSpPr>
            <p:spPr bwMode="auto">
              <a:xfrm>
                <a:off x="3679" y="2020"/>
                <a:ext cx="70" cy="141"/>
              </a:xfrm>
              <a:custGeom>
                <a:avLst/>
                <a:gdLst>
                  <a:gd name="T0" fmla="*/ 24 w 70"/>
                  <a:gd name="T1" fmla="*/ 6 h 141"/>
                  <a:gd name="T2" fmla="*/ 42 w 70"/>
                  <a:gd name="T3" fmla="*/ 2 h 141"/>
                  <a:gd name="T4" fmla="*/ 42 w 70"/>
                  <a:gd name="T5" fmla="*/ 5 h 141"/>
                  <a:gd name="T6" fmla="*/ 42 w 70"/>
                  <a:gd name="T7" fmla="*/ 3 h 141"/>
                  <a:gd name="T8" fmla="*/ 47 w 70"/>
                  <a:gd name="T9" fmla="*/ 5 h 141"/>
                  <a:gd name="T10" fmla="*/ 50 w 70"/>
                  <a:gd name="T11" fmla="*/ 12 h 141"/>
                  <a:gd name="T12" fmla="*/ 55 w 70"/>
                  <a:gd name="T13" fmla="*/ 11 h 141"/>
                  <a:gd name="T14" fmla="*/ 62 w 70"/>
                  <a:gd name="T15" fmla="*/ 8 h 141"/>
                  <a:gd name="T16" fmla="*/ 63 w 70"/>
                  <a:gd name="T17" fmla="*/ 11 h 141"/>
                  <a:gd name="T18" fmla="*/ 58 w 70"/>
                  <a:gd name="T19" fmla="*/ 18 h 141"/>
                  <a:gd name="T20" fmla="*/ 53 w 70"/>
                  <a:gd name="T21" fmla="*/ 22 h 141"/>
                  <a:gd name="T22" fmla="*/ 53 w 70"/>
                  <a:gd name="T23" fmla="*/ 29 h 141"/>
                  <a:gd name="T24" fmla="*/ 62 w 70"/>
                  <a:gd name="T25" fmla="*/ 36 h 141"/>
                  <a:gd name="T26" fmla="*/ 63 w 70"/>
                  <a:gd name="T27" fmla="*/ 44 h 141"/>
                  <a:gd name="T28" fmla="*/ 59 w 70"/>
                  <a:gd name="T29" fmla="*/ 52 h 141"/>
                  <a:gd name="T30" fmla="*/ 46 w 70"/>
                  <a:gd name="T31" fmla="*/ 67 h 141"/>
                  <a:gd name="T32" fmla="*/ 58 w 70"/>
                  <a:gd name="T33" fmla="*/ 74 h 141"/>
                  <a:gd name="T34" fmla="*/ 60 w 70"/>
                  <a:gd name="T35" fmla="*/ 78 h 141"/>
                  <a:gd name="T36" fmla="*/ 65 w 70"/>
                  <a:gd name="T37" fmla="*/ 81 h 141"/>
                  <a:gd name="T38" fmla="*/ 68 w 70"/>
                  <a:gd name="T39" fmla="*/ 84 h 141"/>
                  <a:gd name="T40" fmla="*/ 70 w 70"/>
                  <a:gd name="T41" fmla="*/ 92 h 141"/>
                  <a:gd name="T42" fmla="*/ 70 w 70"/>
                  <a:gd name="T43" fmla="*/ 100 h 141"/>
                  <a:gd name="T44" fmla="*/ 55 w 70"/>
                  <a:gd name="T45" fmla="*/ 111 h 141"/>
                  <a:gd name="T46" fmla="*/ 49 w 70"/>
                  <a:gd name="T47" fmla="*/ 114 h 141"/>
                  <a:gd name="T48" fmla="*/ 46 w 70"/>
                  <a:gd name="T49" fmla="*/ 120 h 141"/>
                  <a:gd name="T50" fmla="*/ 47 w 70"/>
                  <a:gd name="T51" fmla="*/ 133 h 141"/>
                  <a:gd name="T52" fmla="*/ 36 w 70"/>
                  <a:gd name="T53" fmla="*/ 141 h 141"/>
                  <a:gd name="T54" fmla="*/ 24 w 70"/>
                  <a:gd name="T55" fmla="*/ 103 h 141"/>
                  <a:gd name="T56" fmla="*/ 14 w 70"/>
                  <a:gd name="T57" fmla="*/ 94 h 141"/>
                  <a:gd name="T58" fmla="*/ 12 w 70"/>
                  <a:gd name="T59" fmla="*/ 88 h 141"/>
                  <a:gd name="T60" fmla="*/ 6 w 70"/>
                  <a:gd name="T61" fmla="*/ 84 h 141"/>
                  <a:gd name="T62" fmla="*/ 2 w 70"/>
                  <a:gd name="T63" fmla="*/ 74 h 141"/>
                  <a:gd name="T64" fmla="*/ 3 w 70"/>
                  <a:gd name="T65" fmla="*/ 64 h 141"/>
                  <a:gd name="T66" fmla="*/ 12 w 70"/>
                  <a:gd name="T67" fmla="*/ 57 h 141"/>
                  <a:gd name="T68" fmla="*/ 16 w 70"/>
                  <a:gd name="T69" fmla="*/ 45 h 141"/>
                  <a:gd name="T70" fmla="*/ 13 w 70"/>
                  <a:gd name="T71" fmla="*/ 31 h 141"/>
                  <a:gd name="T72" fmla="*/ 14 w 70"/>
                  <a:gd name="T73" fmla="*/ 21 h 141"/>
                  <a:gd name="T74" fmla="*/ 14 w 70"/>
                  <a:gd name="T75" fmla="*/ 19 h 141"/>
                  <a:gd name="T76" fmla="*/ 14 w 70"/>
                  <a:gd name="T77" fmla="*/ 16 h 141"/>
                  <a:gd name="T78" fmla="*/ 59 w 70"/>
                  <a:gd name="T79" fmla="*/ 71 h 141"/>
                  <a:gd name="T80" fmla="*/ 59 w 70"/>
                  <a:gd name="T81" fmla="*/ 74 h 141"/>
                  <a:gd name="T82" fmla="*/ 63 w 70"/>
                  <a:gd name="T83" fmla="*/ 72 h 141"/>
                  <a:gd name="T84" fmla="*/ 66 w 70"/>
                  <a:gd name="T85" fmla="*/ 54 h 141"/>
                  <a:gd name="T86" fmla="*/ 66 w 70"/>
                  <a:gd name="T87" fmla="*/ 52 h 141"/>
                  <a:gd name="T88" fmla="*/ 65 w 70"/>
                  <a:gd name="T89" fmla="*/ 55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0" h="141">
                    <a:moveTo>
                      <a:pt x="19" y="12"/>
                    </a:moveTo>
                    <a:lnTo>
                      <a:pt x="19" y="9"/>
                    </a:lnTo>
                    <a:lnTo>
                      <a:pt x="24" y="6"/>
                    </a:lnTo>
                    <a:lnTo>
                      <a:pt x="30" y="3"/>
                    </a:lnTo>
                    <a:lnTo>
                      <a:pt x="36" y="0"/>
                    </a:lnTo>
                    <a:lnTo>
                      <a:pt x="42" y="2"/>
                    </a:lnTo>
                    <a:lnTo>
                      <a:pt x="40" y="3"/>
                    </a:lnTo>
                    <a:lnTo>
                      <a:pt x="40" y="3"/>
                    </a:lnTo>
                    <a:lnTo>
                      <a:pt x="42" y="5"/>
                    </a:lnTo>
                    <a:lnTo>
                      <a:pt x="42" y="5"/>
                    </a:lnTo>
                    <a:lnTo>
                      <a:pt x="42" y="3"/>
                    </a:lnTo>
                    <a:lnTo>
                      <a:pt x="42" y="3"/>
                    </a:lnTo>
                    <a:lnTo>
                      <a:pt x="42" y="3"/>
                    </a:lnTo>
                    <a:lnTo>
                      <a:pt x="46" y="3"/>
                    </a:lnTo>
                    <a:lnTo>
                      <a:pt x="47" y="5"/>
                    </a:lnTo>
                    <a:lnTo>
                      <a:pt x="49" y="9"/>
                    </a:lnTo>
                    <a:lnTo>
                      <a:pt x="50" y="12"/>
                    </a:lnTo>
                    <a:lnTo>
                      <a:pt x="50" y="12"/>
                    </a:lnTo>
                    <a:lnTo>
                      <a:pt x="52" y="12"/>
                    </a:lnTo>
                    <a:lnTo>
                      <a:pt x="53" y="12"/>
                    </a:lnTo>
                    <a:lnTo>
                      <a:pt x="55" y="11"/>
                    </a:lnTo>
                    <a:lnTo>
                      <a:pt x="59" y="8"/>
                    </a:lnTo>
                    <a:lnTo>
                      <a:pt x="60" y="8"/>
                    </a:lnTo>
                    <a:lnTo>
                      <a:pt x="62" y="8"/>
                    </a:lnTo>
                    <a:lnTo>
                      <a:pt x="63" y="8"/>
                    </a:lnTo>
                    <a:lnTo>
                      <a:pt x="63" y="8"/>
                    </a:lnTo>
                    <a:lnTo>
                      <a:pt x="63" y="11"/>
                    </a:lnTo>
                    <a:lnTo>
                      <a:pt x="63" y="11"/>
                    </a:lnTo>
                    <a:lnTo>
                      <a:pt x="62" y="13"/>
                    </a:lnTo>
                    <a:lnTo>
                      <a:pt x="58" y="18"/>
                    </a:lnTo>
                    <a:lnTo>
                      <a:pt x="58" y="19"/>
                    </a:lnTo>
                    <a:lnTo>
                      <a:pt x="55" y="21"/>
                    </a:lnTo>
                    <a:lnTo>
                      <a:pt x="53" y="22"/>
                    </a:lnTo>
                    <a:lnTo>
                      <a:pt x="53" y="23"/>
                    </a:lnTo>
                    <a:lnTo>
                      <a:pt x="53" y="26"/>
                    </a:lnTo>
                    <a:lnTo>
                      <a:pt x="53" y="29"/>
                    </a:lnTo>
                    <a:lnTo>
                      <a:pt x="56" y="31"/>
                    </a:lnTo>
                    <a:lnTo>
                      <a:pt x="60" y="35"/>
                    </a:lnTo>
                    <a:lnTo>
                      <a:pt x="62" y="36"/>
                    </a:lnTo>
                    <a:lnTo>
                      <a:pt x="63" y="39"/>
                    </a:lnTo>
                    <a:lnTo>
                      <a:pt x="63" y="42"/>
                    </a:lnTo>
                    <a:lnTo>
                      <a:pt x="63" y="44"/>
                    </a:lnTo>
                    <a:lnTo>
                      <a:pt x="63" y="45"/>
                    </a:lnTo>
                    <a:lnTo>
                      <a:pt x="62" y="45"/>
                    </a:lnTo>
                    <a:lnTo>
                      <a:pt x="59" y="52"/>
                    </a:lnTo>
                    <a:lnTo>
                      <a:pt x="56" y="55"/>
                    </a:lnTo>
                    <a:lnTo>
                      <a:pt x="49" y="61"/>
                    </a:lnTo>
                    <a:lnTo>
                      <a:pt x="46" y="67"/>
                    </a:lnTo>
                    <a:lnTo>
                      <a:pt x="47" y="71"/>
                    </a:lnTo>
                    <a:lnTo>
                      <a:pt x="52" y="74"/>
                    </a:lnTo>
                    <a:lnTo>
                      <a:pt x="58" y="74"/>
                    </a:lnTo>
                    <a:lnTo>
                      <a:pt x="58" y="77"/>
                    </a:lnTo>
                    <a:lnTo>
                      <a:pt x="58" y="78"/>
                    </a:lnTo>
                    <a:lnTo>
                      <a:pt x="60" y="78"/>
                    </a:lnTo>
                    <a:lnTo>
                      <a:pt x="62" y="75"/>
                    </a:lnTo>
                    <a:lnTo>
                      <a:pt x="63" y="77"/>
                    </a:lnTo>
                    <a:lnTo>
                      <a:pt x="65" y="81"/>
                    </a:lnTo>
                    <a:lnTo>
                      <a:pt x="66" y="82"/>
                    </a:lnTo>
                    <a:lnTo>
                      <a:pt x="66" y="84"/>
                    </a:lnTo>
                    <a:lnTo>
                      <a:pt x="68" y="84"/>
                    </a:lnTo>
                    <a:lnTo>
                      <a:pt x="69" y="84"/>
                    </a:lnTo>
                    <a:lnTo>
                      <a:pt x="70" y="85"/>
                    </a:lnTo>
                    <a:lnTo>
                      <a:pt x="70" y="92"/>
                    </a:lnTo>
                    <a:lnTo>
                      <a:pt x="70" y="95"/>
                    </a:lnTo>
                    <a:lnTo>
                      <a:pt x="70" y="98"/>
                    </a:lnTo>
                    <a:lnTo>
                      <a:pt x="70" y="100"/>
                    </a:lnTo>
                    <a:lnTo>
                      <a:pt x="59" y="107"/>
                    </a:lnTo>
                    <a:lnTo>
                      <a:pt x="56" y="108"/>
                    </a:lnTo>
                    <a:lnTo>
                      <a:pt x="55" y="111"/>
                    </a:lnTo>
                    <a:lnTo>
                      <a:pt x="53" y="113"/>
                    </a:lnTo>
                    <a:lnTo>
                      <a:pt x="50" y="113"/>
                    </a:lnTo>
                    <a:lnTo>
                      <a:pt x="49" y="114"/>
                    </a:lnTo>
                    <a:lnTo>
                      <a:pt x="47" y="114"/>
                    </a:lnTo>
                    <a:lnTo>
                      <a:pt x="47" y="117"/>
                    </a:lnTo>
                    <a:lnTo>
                      <a:pt x="46" y="120"/>
                    </a:lnTo>
                    <a:lnTo>
                      <a:pt x="49" y="126"/>
                    </a:lnTo>
                    <a:lnTo>
                      <a:pt x="49" y="128"/>
                    </a:lnTo>
                    <a:lnTo>
                      <a:pt x="47" y="133"/>
                    </a:lnTo>
                    <a:lnTo>
                      <a:pt x="45" y="136"/>
                    </a:lnTo>
                    <a:lnTo>
                      <a:pt x="40" y="138"/>
                    </a:lnTo>
                    <a:lnTo>
                      <a:pt x="36" y="141"/>
                    </a:lnTo>
                    <a:lnTo>
                      <a:pt x="29" y="108"/>
                    </a:lnTo>
                    <a:lnTo>
                      <a:pt x="27" y="105"/>
                    </a:lnTo>
                    <a:lnTo>
                      <a:pt x="24" y="103"/>
                    </a:lnTo>
                    <a:lnTo>
                      <a:pt x="17" y="98"/>
                    </a:lnTo>
                    <a:lnTo>
                      <a:pt x="14" y="95"/>
                    </a:lnTo>
                    <a:lnTo>
                      <a:pt x="14" y="94"/>
                    </a:lnTo>
                    <a:lnTo>
                      <a:pt x="13" y="91"/>
                    </a:lnTo>
                    <a:lnTo>
                      <a:pt x="13" y="90"/>
                    </a:lnTo>
                    <a:lnTo>
                      <a:pt x="12" y="88"/>
                    </a:lnTo>
                    <a:lnTo>
                      <a:pt x="10" y="87"/>
                    </a:lnTo>
                    <a:lnTo>
                      <a:pt x="7" y="85"/>
                    </a:lnTo>
                    <a:lnTo>
                      <a:pt x="6" y="84"/>
                    </a:lnTo>
                    <a:lnTo>
                      <a:pt x="4" y="81"/>
                    </a:lnTo>
                    <a:lnTo>
                      <a:pt x="2" y="78"/>
                    </a:lnTo>
                    <a:lnTo>
                      <a:pt x="2" y="74"/>
                    </a:lnTo>
                    <a:lnTo>
                      <a:pt x="0" y="71"/>
                    </a:lnTo>
                    <a:lnTo>
                      <a:pt x="2" y="67"/>
                    </a:lnTo>
                    <a:lnTo>
                      <a:pt x="3" y="64"/>
                    </a:lnTo>
                    <a:lnTo>
                      <a:pt x="6" y="61"/>
                    </a:lnTo>
                    <a:lnTo>
                      <a:pt x="9" y="59"/>
                    </a:lnTo>
                    <a:lnTo>
                      <a:pt x="12" y="57"/>
                    </a:lnTo>
                    <a:lnTo>
                      <a:pt x="13" y="52"/>
                    </a:lnTo>
                    <a:lnTo>
                      <a:pt x="14" y="49"/>
                    </a:lnTo>
                    <a:lnTo>
                      <a:pt x="16" y="45"/>
                    </a:lnTo>
                    <a:lnTo>
                      <a:pt x="16" y="41"/>
                    </a:lnTo>
                    <a:lnTo>
                      <a:pt x="14" y="34"/>
                    </a:lnTo>
                    <a:lnTo>
                      <a:pt x="13" y="31"/>
                    </a:lnTo>
                    <a:lnTo>
                      <a:pt x="13" y="29"/>
                    </a:lnTo>
                    <a:lnTo>
                      <a:pt x="14" y="25"/>
                    </a:lnTo>
                    <a:lnTo>
                      <a:pt x="14" y="21"/>
                    </a:lnTo>
                    <a:lnTo>
                      <a:pt x="14" y="19"/>
                    </a:lnTo>
                    <a:lnTo>
                      <a:pt x="14" y="19"/>
                    </a:lnTo>
                    <a:lnTo>
                      <a:pt x="14" y="19"/>
                    </a:lnTo>
                    <a:lnTo>
                      <a:pt x="13" y="18"/>
                    </a:lnTo>
                    <a:lnTo>
                      <a:pt x="13" y="18"/>
                    </a:lnTo>
                    <a:lnTo>
                      <a:pt x="14" y="16"/>
                    </a:lnTo>
                    <a:lnTo>
                      <a:pt x="17" y="13"/>
                    </a:lnTo>
                    <a:lnTo>
                      <a:pt x="19" y="12"/>
                    </a:lnTo>
                    <a:close/>
                    <a:moveTo>
                      <a:pt x="59" y="71"/>
                    </a:moveTo>
                    <a:lnTo>
                      <a:pt x="58" y="71"/>
                    </a:lnTo>
                    <a:lnTo>
                      <a:pt x="58" y="74"/>
                    </a:lnTo>
                    <a:lnTo>
                      <a:pt x="59" y="74"/>
                    </a:lnTo>
                    <a:lnTo>
                      <a:pt x="60" y="74"/>
                    </a:lnTo>
                    <a:lnTo>
                      <a:pt x="62" y="74"/>
                    </a:lnTo>
                    <a:lnTo>
                      <a:pt x="63" y="72"/>
                    </a:lnTo>
                    <a:lnTo>
                      <a:pt x="60" y="71"/>
                    </a:lnTo>
                    <a:lnTo>
                      <a:pt x="59" y="71"/>
                    </a:lnTo>
                    <a:close/>
                    <a:moveTo>
                      <a:pt x="66" y="54"/>
                    </a:moveTo>
                    <a:lnTo>
                      <a:pt x="66" y="54"/>
                    </a:lnTo>
                    <a:lnTo>
                      <a:pt x="68" y="52"/>
                    </a:lnTo>
                    <a:lnTo>
                      <a:pt x="66" y="52"/>
                    </a:lnTo>
                    <a:lnTo>
                      <a:pt x="65" y="52"/>
                    </a:lnTo>
                    <a:lnTo>
                      <a:pt x="65" y="54"/>
                    </a:lnTo>
                    <a:lnTo>
                      <a:pt x="65" y="55"/>
                    </a:lnTo>
                    <a:lnTo>
                      <a:pt x="65" y="54"/>
                    </a:lnTo>
                    <a:lnTo>
                      <a:pt x="66" y="5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43" name="Freeform 230">
                <a:extLst>
                  <a:ext uri="{FF2B5EF4-FFF2-40B4-BE49-F238E27FC236}">
                    <a16:creationId xmlns:a16="http://schemas.microsoft.com/office/drawing/2014/main" id="{2BD472B6-13A0-695E-1967-8DE4F07E9956}"/>
                  </a:ext>
                </a:extLst>
              </p:cNvPr>
              <p:cNvSpPr>
                <a:spLocks/>
              </p:cNvSpPr>
              <p:nvPr/>
            </p:nvSpPr>
            <p:spPr bwMode="auto">
              <a:xfrm>
                <a:off x="4340" y="2942"/>
                <a:ext cx="3" cy="6"/>
              </a:xfrm>
              <a:custGeom>
                <a:avLst/>
                <a:gdLst>
                  <a:gd name="T0" fmla="*/ 1 w 3"/>
                  <a:gd name="T1" fmla="*/ 6 h 6"/>
                  <a:gd name="T2" fmla="*/ 3 w 3"/>
                  <a:gd name="T3" fmla="*/ 6 h 6"/>
                  <a:gd name="T4" fmla="*/ 3 w 3"/>
                  <a:gd name="T5" fmla="*/ 1 h 6"/>
                  <a:gd name="T6" fmla="*/ 3 w 3"/>
                  <a:gd name="T7" fmla="*/ 1 h 6"/>
                  <a:gd name="T8" fmla="*/ 1 w 3"/>
                  <a:gd name="T9" fmla="*/ 1 h 6"/>
                  <a:gd name="T10" fmla="*/ 1 w 3"/>
                  <a:gd name="T11" fmla="*/ 1 h 6"/>
                  <a:gd name="T12" fmla="*/ 0 w 3"/>
                  <a:gd name="T13" fmla="*/ 0 h 6"/>
                  <a:gd name="T14" fmla="*/ 0 w 3"/>
                  <a:gd name="T15" fmla="*/ 1 h 6"/>
                  <a:gd name="T16" fmla="*/ 0 w 3"/>
                  <a:gd name="T17" fmla="*/ 3 h 6"/>
                  <a:gd name="T18" fmla="*/ 0 w 3"/>
                  <a:gd name="T19" fmla="*/ 4 h 6"/>
                  <a:gd name="T20" fmla="*/ 1 w 3"/>
                  <a:gd name="T21" fmla="*/ 6 h 6"/>
                  <a:gd name="T22" fmla="*/ 1 w 3"/>
                  <a:gd name="T2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1" y="6"/>
                    </a:moveTo>
                    <a:lnTo>
                      <a:pt x="3" y="6"/>
                    </a:lnTo>
                    <a:lnTo>
                      <a:pt x="3" y="1"/>
                    </a:lnTo>
                    <a:lnTo>
                      <a:pt x="3" y="1"/>
                    </a:lnTo>
                    <a:lnTo>
                      <a:pt x="1" y="1"/>
                    </a:lnTo>
                    <a:lnTo>
                      <a:pt x="1" y="1"/>
                    </a:lnTo>
                    <a:lnTo>
                      <a:pt x="0" y="0"/>
                    </a:lnTo>
                    <a:lnTo>
                      <a:pt x="0" y="1"/>
                    </a:lnTo>
                    <a:lnTo>
                      <a:pt x="0" y="3"/>
                    </a:lnTo>
                    <a:lnTo>
                      <a:pt x="0" y="4"/>
                    </a:lnTo>
                    <a:lnTo>
                      <a:pt x="1" y="6"/>
                    </a:lnTo>
                    <a:lnTo>
                      <a:pt x="1" y="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44" name="Freeform 231">
                <a:extLst>
                  <a:ext uri="{FF2B5EF4-FFF2-40B4-BE49-F238E27FC236}">
                    <a16:creationId xmlns:a16="http://schemas.microsoft.com/office/drawing/2014/main" id="{0FAF5048-29C1-F924-DADB-5BCEB0CA090A}"/>
                  </a:ext>
                </a:extLst>
              </p:cNvPr>
              <p:cNvSpPr>
                <a:spLocks/>
              </p:cNvSpPr>
              <p:nvPr/>
            </p:nvSpPr>
            <p:spPr bwMode="auto">
              <a:xfrm>
                <a:off x="4068" y="2643"/>
                <a:ext cx="95" cy="100"/>
              </a:xfrm>
              <a:custGeom>
                <a:avLst/>
                <a:gdLst>
                  <a:gd name="T0" fmla="*/ 68 w 95"/>
                  <a:gd name="T1" fmla="*/ 8 h 100"/>
                  <a:gd name="T2" fmla="*/ 65 w 95"/>
                  <a:gd name="T3" fmla="*/ 8 h 100"/>
                  <a:gd name="T4" fmla="*/ 62 w 95"/>
                  <a:gd name="T5" fmla="*/ 7 h 100"/>
                  <a:gd name="T6" fmla="*/ 58 w 95"/>
                  <a:gd name="T7" fmla="*/ 7 h 100"/>
                  <a:gd name="T8" fmla="*/ 49 w 95"/>
                  <a:gd name="T9" fmla="*/ 10 h 100"/>
                  <a:gd name="T10" fmla="*/ 45 w 95"/>
                  <a:gd name="T11" fmla="*/ 11 h 100"/>
                  <a:gd name="T12" fmla="*/ 45 w 95"/>
                  <a:gd name="T13" fmla="*/ 13 h 100"/>
                  <a:gd name="T14" fmla="*/ 43 w 95"/>
                  <a:gd name="T15" fmla="*/ 11 h 100"/>
                  <a:gd name="T16" fmla="*/ 40 w 95"/>
                  <a:gd name="T17" fmla="*/ 11 h 100"/>
                  <a:gd name="T18" fmla="*/ 40 w 95"/>
                  <a:gd name="T19" fmla="*/ 8 h 100"/>
                  <a:gd name="T20" fmla="*/ 38 w 95"/>
                  <a:gd name="T21" fmla="*/ 8 h 100"/>
                  <a:gd name="T22" fmla="*/ 35 w 95"/>
                  <a:gd name="T23" fmla="*/ 10 h 100"/>
                  <a:gd name="T24" fmla="*/ 32 w 95"/>
                  <a:gd name="T25" fmla="*/ 10 h 100"/>
                  <a:gd name="T26" fmla="*/ 29 w 95"/>
                  <a:gd name="T27" fmla="*/ 8 h 100"/>
                  <a:gd name="T28" fmla="*/ 23 w 95"/>
                  <a:gd name="T29" fmla="*/ 10 h 100"/>
                  <a:gd name="T30" fmla="*/ 22 w 95"/>
                  <a:gd name="T31" fmla="*/ 13 h 100"/>
                  <a:gd name="T32" fmla="*/ 22 w 95"/>
                  <a:gd name="T33" fmla="*/ 23 h 100"/>
                  <a:gd name="T34" fmla="*/ 22 w 95"/>
                  <a:gd name="T35" fmla="*/ 26 h 100"/>
                  <a:gd name="T36" fmla="*/ 20 w 95"/>
                  <a:gd name="T37" fmla="*/ 31 h 100"/>
                  <a:gd name="T38" fmla="*/ 26 w 95"/>
                  <a:gd name="T39" fmla="*/ 34 h 100"/>
                  <a:gd name="T40" fmla="*/ 29 w 95"/>
                  <a:gd name="T41" fmla="*/ 37 h 100"/>
                  <a:gd name="T42" fmla="*/ 7 w 95"/>
                  <a:gd name="T43" fmla="*/ 60 h 100"/>
                  <a:gd name="T44" fmla="*/ 6 w 95"/>
                  <a:gd name="T45" fmla="*/ 64 h 100"/>
                  <a:gd name="T46" fmla="*/ 3 w 95"/>
                  <a:gd name="T47" fmla="*/ 73 h 100"/>
                  <a:gd name="T48" fmla="*/ 0 w 95"/>
                  <a:gd name="T49" fmla="*/ 99 h 100"/>
                  <a:gd name="T50" fmla="*/ 3 w 95"/>
                  <a:gd name="T51" fmla="*/ 99 h 100"/>
                  <a:gd name="T52" fmla="*/ 5 w 95"/>
                  <a:gd name="T53" fmla="*/ 99 h 100"/>
                  <a:gd name="T54" fmla="*/ 7 w 95"/>
                  <a:gd name="T55" fmla="*/ 99 h 100"/>
                  <a:gd name="T56" fmla="*/ 12 w 95"/>
                  <a:gd name="T57" fmla="*/ 95 h 100"/>
                  <a:gd name="T58" fmla="*/ 19 w 95"/>
                  <a:gd name="T59" fmla="*/ 93 h 100"/>
                  <a:gd name="T60" fmla="*/ 75 w 95"/>
                  <a:gd name="T61" fmla="*/ 92 h 100"/>
                  <a:gd name="T62" fmla="*/ 76 w 95"/>
                  <a:gd name="T63" fmla="*/ 73 h 100"/>
                  <a:gd name="T64" fmla="*/ 85 w 95"/>
                  <a:gd name="T65" fmla="*/ 59 h 100"/>
                  <a:gd name="T66" fmla="*/ 88 w 95"/>
                  <a:gd name="T67" fmla="*/ 54 h 100"/>
                  <a:gd name="T68" fmla="*/ 91 w 95"/>
                  <a:gd name="T69" fmla="*/ 53 h 100"/>
                  <a:gd name="T70" fmla="*/ 92 w 95"/>
                  <a:gd name="T71" fmla="*/ 49 h 100"/>
                  <a:gd name="T72" fmla="*/ 94 w 95"/>
                  <a:gd name="T73" fmla="*/ 46 h 100"/>
                  <a:gd name="T74" fmla="*/ 92 w 95"/>
                  <a:gd name="T75" fmla="*/ 31 h 100"/>
                  <a:gd name="T76" fmla="*/ 86 w 95"/>
                  <a:gd name="T77" fmla="*/ 21 h 100"/>
                  <a:gd name="T78" fmla="*/ 85 w 95"/>
                  <a:gd name="T79" fmla="*/ 11 h 100"/>
                  <a:gd name="T80" fmla="*/ 82 w 95"/>
                  <a:gd name="T81" fmla="*/ 8 h 100"/>
                  <a:gd name="T82" fmla="*/ 81 w 95"/>
                  <a:gd name="T83" fmla="*/ 7 h 100"/>
                  <a:gd name="T84" fmla="*/ 79 w 95"/>
                  <a:gd name="T85" fmla="*/ 4 h 100"/>
                  <a:gd name="T86" fmla="*/ 69 w 95"/>
                  <a:gd name="T87" fmla="*/ 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100">
                    <a:moveTo>
                      <a:pt x="69" y="8"/>
                    </a:moveTo>
                    <a:lnTo>
                      <a:pt x="69" y="8"/>
                    </a:lnTo>
                    <a:lnTo>
                      <a:pt x="68" y="8"/>
                    </a:lnTo>
                    <a:lnTo>
                      <a:pt x="68" y="8"/>
                    </a:lnTo>
                    <a:lnTo>
                      <a:pt x="66" y="8"/>
                    </a:lnTo>
                    <a:lnTo>
                      <a:pt x="65" y="8"/>
                    </a:lnTo>
                    <a:lnTo>
                      <a:pt x="63" y="8"/>
                    </a:lnTo>
                    <a:lnTo>
                      <a:pt x="63" y="8"/>
                    </a:lnTo>
                    <a:lnTo>
                      <a:pt x="62" y="7"/>
                    </a:lnTo>
                    <a:lnTo>
                      <a:pt x="61" y="7"/>
                    </a:lnTo>
                    <a:lnTo>
                      <a:pt x="59" y="6"/>
                    </a:lnTo>
                    <a:lnTo>
                      <a:pt x="58" y="7"/>
                    </a:lnTo>
                    <a:lnTo>
                      <a:pt x="56" y="8"/>
                    </a:lnTo>
                    <a:lnTo>
                      <a:pt x="51" y="8"/>
                    </a:lnTo>
                    <a:lnTo>
                      <a:pt x="49" y="10"/>
                    </a:lnTo>
                    <a:lnTo>
                      <a:pt x="46" y="11"/>
                    </a:lnTo>
                    <a:lnTo>
                      <a:pt x="45" y="11"/>
                    </a:lnTo>
                    <a:lnTo>
                      <a:pt x="45" y="11"/>
                    </a:lnTo>
                    <a:lnTo>
                      <a:pt x="45" y="13"/>
                    </a:lnTo>
                    <a:lnTo>
                      <a:pt x="45" y="13"/>
                    </a:lnTo>
                    <a:lnTo>
                      <a:pt x="45" y="13"/>
                    </a:lnTo>
                    <a:lnTo>
                      <a:pt x="43" y="13"/>
                    </a:lnTo>
                    <a:lnTo>
                      <a:pt x="43" y="13"/>
                    </a:lnTo>
                    <a:lnTo>
                      <a:pt x="43" y="11"/>
                    </a:lnTo>
                    <a:lnTo>
                      <a:pt x="42" y="11"/>
                    </a:lnTo>
                    <a:lnTo>
                      <a:pt x="42" y="11"/>
                    </a:lnTo>
                    <a:lnTo>
                      <a:pt x="40" y="11"/>
                    </a:lnTo>
                    <a:lnTo>
                      <a:pt x="40" y="10"/>
                    </a:lnTo>
                    <a:lnTo>
                      <a:pt x="40" y="10"/>
                    </a:lnTo>
                    <a:lnTo>
                      <a:pt x="40" y="8"/>
                    </a:lnTo>
                    <a:lnTo>
                      <a:pt x="39" y="8"/>
                    </a:lnTo>
                    <a:lnTo>
                      <a:pt x="39" y="8"/>
                    </a:lnTo>
                    <a:lnTo>
                      <a:pt x="38" y="8"/>
                    </a:lnTo>
                    <a:lnTo>
                      <a:pt x="38" y="8"/>
                    </a:lnTo>
                    <a:lnTo>
                      <a:pt x="36" y="10"/>
                    </a:lnTo>
                    <a:lnTo>
                      <a:pt x="35" y="10"/>
                    </a:lnTo>
                    <a:lnTo>
                      <a:pt x="33" y="10"/>
                    </a:lnTo>
                    <a:lnTo>
                      <a:pt x="33" y="10"/>
                    </a:lnTo>
                    <a:lnTo>
                      <a:pt x="32" y="10"/>
                    </a:lnTo>
                    <a:lnTo>
                      <a:pt x="32" y="10"/>
                    </a:lnTo>
                    <a:lnTo>
                      <a:pt x="30" y="8"/>
                    </a:lnTo>
                    <a:lnTo>
                      <a:pt x="29" y="8"/>
                    </a:lnTo>
                    <a:lnTo>
                      <a:pt x="29" y="8"/>
                    </a:lnTo>
                    <a:lnTo>
                      <a:pt x="28" y="8"/>
                    </a:lnTo>
                    <a:lnTo>
                      <a:pt x="23" y="10"/>
                    </a:lnTo>
                    <a:lnTo>
                      <a:pt x="23" y="11"/>
                    </a:lnTo>
                    <a:lnTo>
                      <a:pt x="22" y="13"/>
                    </a:lnTo>
                    <a:lnTo>
                      <a:pt x="22" y="13"/>
                    </a:lnTo>
                    <a:lnTo>
                      <a:pt x="22" y="14"/>
                    </a:lnTo>
                    <a:lnTo>
                      <a:pt x="20" y="21"/>
                    </a:lnTo>
                    <a:lnTo>
                      <a:pt x="22" y="23"/>
                    </a:lnTo>
                    <a:lnTo>
                      <a:pt x="22" y="24"/>
                    </a:lnTo>
                    <a:lnTo>
                      <a:pt x="22" y="24"/>
                    </a:lnTo>
                    <a:lnTo>
                      <a:pt x="22" y="26"/>
                    </a:lnTo>
                    <a:lnTo>
                      <a:pt x="20" y="27"/>
                    </a:lnTo>
                    <a:lnTo>
                      <a:pt x="20" y="30"/>
                    </a:lnTo>
                    <a:lnTo>
                      <a:pt x="20" y="31"/>
                    </a:lnTo>
                    <a:lnTo>
                      <a:pt x="20" y="31"/>
                    </a:lnTo>
                    <a:lnTo>
                      <a:pt x="25" y="33"/>
                    </a:lnTo>
                    <a:lnTo>
                      <a:pt x="26" y="34"/>
                    </a:lnTo>
                    <a:lnTo>
                      <a:pt x="28" y="36"/>
                    </a:lnTo>
                    <a:lnTo>
                      <a:pt x="29" y="36"/>
                    </a:lnTo>
                    <a:lnTo>
                      <a:pt x="29" y="37"/>
                    </a:lnTo>
                    <a:lnTo>
                      <a:pt x="29" y="39"/>
                    </a:lnTo>
                    <a:lnTo>
                      <a:pt x="26" y="44"/>
                    </a:lnTo>
                    <a:lnTo>
                      <a:pt x="7" y="60"/>
                    </a:lnTo>
                    <a:lnTo>
                      <a:pt x="6" y="60"/>
                    </a:lnTo>
                    <a:lnTo>
                      <a:pt x="6" y="62"/>
                    </a:lnTo>
                    <a:lnTo>
                      <a:pt x="6" y="64"/>
                    </a:lnTo>
                    <a:lnTo>
                      <a:pt x="6" y="66"/>
                    </a:lnTo>
                    <a:lnTo>
                      <a:pt x="5" y="69"/>
                    </a:lnTo>
                    <a:lnTo>
                      <a:pt x="3" y="73"/>
                    </a:lnTo>
                    <a:lnTo>
                      <a:pt x="2" y="76"/>
                    </a:lnTo>
                    <a:lnTo>
                      <a:pt x="0" y="87"/>
                    </a:lnTo>
                    <a:lnTo>
                      <a:pt x="0" y="99"/>
                    </a:lnTo>
                    <a:lnTo>
                      <a:pt x="2" y="99"/>
                    </a:lnTo>
                    <a:lnTo>
                      <a:pt x="2" y="99"/>
                    </a:lnTo>
                    <a:lnTo>
                      <a:pt x="3" y="99"/>
                    </a:lnTo>
                    <a:lnTo>
                      <a:pt x="3" y="99"/>
                    </a:lnTo>
                    <a:lnTo>
                      <a:pt x="5" y="99"/>
                    </a:lnTo>
                    <a:lnTo>
                      <a:pt x="5" y="99"/>
                    </a:lnTo>
                    <a:lnTo>
                      <a:pt x="6" y="99"/>
                    </a:lnTo>
                    <a:lnTo>
                      <a:pt x="6" y="100"/>
                    </a:lnTo>
                    <a:lnTo>
                      <a:pt x="7" y="99"/>
                    </a:lnTo>
                    <a:lnTo>
                      <a:pt x="9" y="99"/>
                    </a:lnTo>
                    <a:lnTo>
                      <a:pt x="10" y="98"/>
                    </a:lnTo>
                    <a:lnTo>
                      <a:pt x="12" y="95"/>
                    </a:lnTo>
                    <a:lnTo>
                      <a:pt x="13" y="93"/>
                    </a:lnTo>
                    <a:lnTo>
                      <a:pt x="16" y="93"/>
                    </a:lnTo>
                    <a:lnTo>
                      <a:pt x="19" y="93"/>
                    </a:lnTo>
                    <a:lnTo>
                      <a:pt x="25" y="92"/>
                    </a:lnTo>
                    <a:lnTo>
                      <a:pt x="28" y="92"/>
                    </a:lnTo>
                    <a:lnTo>
                      <a:pt x="75" y="92"/>
                    </a:lnTo>
                    <a:lnTo>
                      <a:pt x="75" y="86"/>
                    </a:lnTo>
                    <a:lnTo>
                      <a:pt x="76" y="80"/>
                    </a:lnTo>
                    <a:lnTo>
                      <a:pt x="76" y="73"/>
                    </a:lnTo>
                    <a:lnTo>
                      <a:pt x="79" y="67"/>
                    </a:lnTo>
                    <a:lnTo>
                      <a:pt x="81" y="66"/>
                    </a:lnTo>
                    <a:lnTo>
                      <a:pt x="85" y="59"/>
                    </a:lnTo>
                    <a:lnTo>
                      <a:pt x="86" y="57"/>
                    </a:lnTo>
                    <a:lnTo>
                      <a:pt x="86" y="56"/>
                    </a:lnTo>
                    <a:lnTo>
                      <a:pt x="88" y="54"/>
                    </a:lnTo>
                    <a:lnTo>
                      <a:pt x="88" y="54"/>
                    </a:lnTo>
                    <a:lnTo>
                      <a:pt x="91" y="53"/>
                    </a:lnTo>
                    <a:lnTo>
                      <a:pt x="91" y="53"/>
                    </a:lnTo>
                    <a:lnTo>
                      <a:pt x="92" y="52"/>
                    </a:lnTo>
                    <a:lnTo>
                      <a:pt x="92" y="50"/>
                    </a:lnTo>
                    <a:lnTo>
                      <a:pt x="92" y="49"/>
                    </a:lnTo>
                    <a:lnTo>
                      <a:pt x="92" y="49"/>
                    </a:lnTo>
                    <a:lnTo>
                      <a:pt x="94" y="47"/>
                    </a:lnTo>
                    <a:lnTo>
                      <a:pt x="94" y="46"/>
                    </a:lnTo>
                    <a:lnTo>
                      <a:pt x="95" y="43"/>
                    </a:lnTo>
                    <a:lnTo>
                      <a:pt x="95" y="41"/>
                    </a:lnTo>
                    <a:lnTo>
                      <a:pt x="92" y="31"/>
                    </a:lnTo>
                    <a:lnTo>
                      <a:pt x="92" y="29"/>
                    </a:lnTo>
                    <a:lnTo>
                      <a:pt x="91" y="27"/>
                    </a:lnTo>
                    <a:lnTo>
                      <a:pt x="86" y="21"/>
                    </a:lnTo>
                    <a:lnTo>
                      <a:pt x="85" y="19"/>
                    </a:lnTo>
                    <a:lnTo>
                      <a:pt x="85" y="16"/>
                    </a:lnTo>
                    <a:lnTo>
                      <a:pt x="85" y="11"/>
                    </a:lnTo>
                    <a:lnTo>
                      <a:pt x="84" y="10"/>
                    </a:lnTo>
                    <a:lnTo>
                      <a:pt x="84" y="8"/>
                    </a:lnTo>
                    <a:lnTo>
                      <a:pt x="82" y="8"/>
                    </a:lnTo>
                    <a:lnTo>
                      <a:pt x="81" y="8"/>
                    </a:lnTo>
                    <a:lnTo>
                      <a:pt x="81" y="7"/>
                    </a:lnTo>
                    <a:lnTo>
                      <a:pt x="81" y="7"/>
                    </a:lnTo>
                    <a:lnTo>
                      <a:pt x="81" y="7"/>
                    </a:lnTo>
                    <a:lnTo>
                      <a:pt x="81" y="7"/>
                    </a:lnTo>
                    <a:lnTo>
                      <a:pt x="79" y="4"/>
                    </a:lnTo>
                    <a:lnTo>
                      <a:pt x="76" y="0"/>
                    </a:lnTo>
                    <a:lnTo>
                      <a:pt x="74" y="4"/>
                    </a:lnTo>
                    <a:lnTo>
                      <a:pt x="69" y="8"/>
                    </a:lnTo>
                    <a:lnTo>
                      <a:pt x="69" y="8"/>
                    </a:lnTo>
                    <a:lnTo>
                      <a:pt x="69" y="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45" name="Freeform 232">
                <a:extLst>
                  <a:ext uri="{FF2B5EF4-FFF2-40B4-BE49-F238E27FC236}">
                    <a16:creationId xmlns:a16="http://schemas.microsoft.com/office/drawing/2014/main" id="{1178A2C1-D853-BF9F-1369-AA600AB1C9ED}"/>
                  </a:ext>
                </a:extLst>
              </p:cNvPr>
              <p:cNvSpPr>
                <a:spLocks/>
              </p:cNvSpPr>
              <p:nvPr/>
            </p:nvSpPr>
            <p:spPr bwMode="auto">
              <a:xfrm>
                <a:off x="4055" y="2736"/>
                <a:ext cx="35" cy="32"/>
              </a:xfrm>
              <a:custGeom>
                <a:avLst/>
                <a:gdLst>
                  <a:gd name="T0" fmla="*/ 25 w 35"/>
                  <a:gd name="T1" fmla="*/ 2 h 32"/>
                  <a:gd name="T2" fmla="*/ 23 w 35"/>
                  <a:gd name="T3" fmla="*/ 5 h 32"/>
                  <a:gd name="T4" fmla="*/ 22 w 35"/>
                  <a:gd name="T5" fmla="*/ 6 h 32"/>
                  <a:gd name="T6" fmla="*/ 20 w 35"/>
                  <a:gd name="T7" fmla="*/ 6 h 32"/>
                  <a:gd name="T8" fmla="*/ 19 w 35"/>
                  <a:gd name="T9" fmla="*/ 7 h 32"/>
                  <a:gd name="T10" fmla="*/ 19 w 35"/>
                  <a:gd name="T11" fmla="*/ 6 h 32"/>
                  <a:gd name="T12" fmla="*/ 18 w 35"/>
                  <a:gd name="T13" fmla="*/ 6 h 32"/>
                  <a:gd name="T14" fmla="*/ 18 w 35"/>
                  <a:gd name="T15" fmla="*/ 6 h 32"/>
                  <a:gd name="T16" fmla="*/ 16 w 35"/>
                  <a:gd name="T17" fmla="*/ 6 h 32"/>
                  <a:gd name="T18" fmla="*/ 16 w 35"/>
                  <a:gd name="T19" fmla="*/ 6 h 32"/>
                  <a:gd name="T20" fmla="*/ 15 w 35"/>
                  <a:gd name="T21" fmla="*/ 6 h 32"/>
                  <a:gd name="T22" fmla="*/ 15 w 35"/>
                  <a:gd name="T23" fmla="*/ 6 h 32"/>
                  <a:gd name="T24" fmla="*/ 13 w 35"/>
                  <a:gd name="T25" fmla="*/ 6 h 32"/>
                  <a:gd name="T26" fmla="*/ 9 w 35"/>
                  <a:gd name="T27" fmla="*/ 9 h 32"/>
                  <a:gd name="T28" fmla="*/ 8 w 35"/>
                  <a:gd name="T29" fmla="*/ 10 h 32"/>
                  <a:gd name="T30" fmla="*/ 6 w 35"/>
                  <a:gd name="T31" fmla="*/ 12 h 32"/>
                  <a:gd name="T32" fmla="*/ 5 w 35"/>
                  <a:gd name="T33" fmla="*/ 15 h 32"/>
                  <a:gd name="T34" fmla="*/ 6 w 35"/>
                  <a:gd name="T35" fmla="*/ 16 h 32"/>
                  <a:gd name="T36" fmla="*/ 5 w 35"/>
                  <a:gd name="T37" fmla="*/ 19 h 32"/>
                  <a:gd name="T38" fmla="*/ 0 w 35"/>
                  <a:gd name="T39" fmla="*/ 25 h 32"/>
                  <a:gd name="T40" fmla="*/ 0 w 35"/>
                  <a:gd name="T41" fmla="*/ 28 h 32"/>
                  <a:gd name="T42" fmla="*/ 3 w 35"/>
                  <a:gd name="T43" fmla="*/ 29 h 32"/>
                  <a:gd name="T44" fmla="*/ 3 w 35"/>
                  <a:gd name="T45" fmla="*/ 28 h 32"/>
                  <a:gd name="T46" fmla="*/ 6 w 35"/>
                  <a:gd name="T47" fmla="*/ 28 h 32"/>
                  <a:gd name="T48" fmla="*/ 9 w 35"/>
                  <a:gd name="T49" fmla="*/ 30 h 32"/>
                  <a:gd name="T50" fmla="*/ 12 w 35"/>
                  <a:gd name="T51" fmla="*/ 32 h 32"/>
                  <a:gd name="T52" fmla="*/ 13 w 35"/>
                  <a:gd name="T53" fmla="*/ 30 h 32"/>
                  <a:gd name="T54" fmla="*/ 16 w 35"/>
                  <a:gd name="T55" fmla="*/ 30 h 32"/>
                  <a:gd name="T56" fmla="*/ 18 w 35"/>
                  <a:gd name="T57" fmla="*/ 29 h 32"/>
                  <a:gd name="T58" fmla="*/ 19 w 35"/>
                  <a:gd name="T59" fmla="*/ 28 h 32"/>
                  <a:gd name="T60" fmla="*/ 19 w 35"/>
                  <a:gd name="T61" fmla="*/ 23 h 32"/>
                  <a:gd name="T62" fmla="*/ 19 w 35"/>
                  <a:gd name="T63" fmla="*/ 23 h 32"/>
                  <a:gd name="T64" fmla="*/ 19 w 35"/>
                  <a:gd name="T65" fmla="*/ 23 h 32"/>
                  <a:gd name="T66" fmla="*/ 22 w 35"/>
                  <a:gd name="T67" fmla="*/ 23 h 32"/>
                  <a:gd name="T68" fmla="*/ 22 w 35"/>
                  <a:gd name="T69" fmla="*/ 25 h 32"/>
                  <a:gd name="T70" fmla="*/ 25 w 35"/>
                  <a:gd name="T71" fmla="*/ 23 h 32"/>
                  <a:gd name="T72" fmla="*/ 26 w 35"/>
                  <a:gd name="T73" fmla="*/ 23 h 32"/>
                  <a:gd name="T74" fmla="*/ 28 w 35"/>
                  <a:gd name="T75" fmla="*/ 23 h 32"/>
                  <a:gd name="T76" fmla="*/ 29 w 35"/>
                  <a:gd name="T77" fmla="*/ 23 h 32"/>
                  <a:gd name="T78" fmla="*/ 33 w 35"/>
                  <a:gd name="T79" fmla="*/ 23 h 32"/>
                  <a:gd name="T80" fmla="*/ 35 w 35"/>
                  <a:gd name="T81" fmla="*/ 23 h 32"/>
                  <a:gd name="T82" fmla="*/ 35 w 35"/>
                  <a:gd name="T83" fmla="*/ 20 h 32"/>
                  <a:gd name="T84" fmla="*/ 35 w 35"/>
                  <a:gd name="T85" fmla="*/ 19 h 32"/>
                  <a:gd name="T86" fmla="*/ 35 w 35"/>
                  <a:gd name="T87" fmla="*/ 15 h 32"/>
                  <a:gd name="T88" fmla="*/ 33 w 35"/>
                  <a:gd name="T89" fmla="*/ 10 h 32"/>
                  <a:gd name="T90" fmla="*/ 33 w 35"/>
                  <a:gd name="T91" fmla="*/ 7 h 32"/>
                  <a:gd name="T92" fmla="*/ 32 w 35"/>
                  <a:gd name="T93" fmla="*/ 6 h 32"/>
                  <a:gd name="T94" fmla="*/ 29 w 35"/>
                  <a:gd name="T95" fmla="*/ 3 h 32"/>
                  <a:gd name="T96" fmla="*/ 29 w 35"/>
                  <a:gd name="T97" fmla="*/ 2 h 32"/>
                  <a:gd name="T98" fmla="*/ 29 w 35"/>
                  <a:gd name="T99" fmla="*/ 0 h 32"/>
                  <a:gd name="T100" fmla="*/ 26 w 35"/>
                  <a:gd name="T101" fmla="*/ 0 h 32"/>
                  <a:gd name="T102" fmla="*/ 25 w 35"/>
                  <a:gd name="T103"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 h="32">
                    <a:moveTo>
                      <a:pt x="25" y="2"/>
                    </a:moveTo>
                    <a:lnTo>
                      <a:pt x="23" y="5"/>
                    </a:lnTo>
                    <a:lnTo>
                      <a:pt x="22" y="6"/>
                    </a:lnTo>
                    <a:lnTo>
                      <a:pt x="20" y="6"/>
                    </a:lnTo>
                    <a:lnTo>
                      <a:pt x="19" y="7"/>
                    </a:lnTo>
                    <a:lnTo>
                      <a:pt x="19" y="6"/>
                    </a:lnTo>
                    <a:lnTo>
                      <a:pt x="18" y="6"/>
                    </a:lnTo>
                    <a:lnTo>
                      <a:pt x="18" y="6"/>
                    </a:lnTo>
                    <a:lnTo>
                      <a:pt x="16" y="6"/>
                    </a:lnTo>
                    <a:lnTo>
                      <a:pt x="16" y="6"/>
                    </a:lnTo>
                    <a:lnTo>
                      <a:pt x="15" y="6"/>
                    </a:lnTo>
                    <a:lnTo>
                      <a:pt x="15" y="6"/>
                    </a:lnTo>
                    <a:lnTo>
                      <a:pt x="13" y="6"/>
                    </a:lnTo>
                    <a:lnTo>
                      <a:pt x="9" y="9"/>
                    </a:lnTo>
                    <a:lnTo>
                      <a:pt x="8" y="10"/>
                    </a:lnTo>
                    <a:lnTo>
                      <a:pt x="6" y="12"/>
                    </a:lnTo>
                    <a:lnTo>
                      <a:pt x="5" y="15"/>
                    </a:lnTo>
                    <a:lnTo>
                      <a:pt x="6" y="16"/>
                    </a:lnTo>
                    <a:lnTo>
                      <a:pt x="5" y="19"/>
                    </a:lnTo>
                    <a:lnTo>
                      <a:pt x="0" y="25"/>
                    </a:lnTo>
                    <a:lnTo>
                      <a:pt x="0" y="28"/>
                    </a:lnTo>
                    <a:lnTo>
                      <a:pt x="3" y="29"/>
                    </a:lnTo>
                    <a:lnTo>
                      <a:pt x="3" y="28"/>
                    </a:lnTo>
                    <a:lnTo>
                      <a:pt x="6" y="28"/>
                    </a:lnTo>
                    <a:lnTo>
                      <a:pt x="9" y="30"/>
                    </a:lnTo>
                    <a:lnTo>
                      <a:pt x="12" y="32"/>
                    </a:lnTo>
                    <a:lnTo>
                      <a:pt x="13" y="30"/>
                    </a:lnTo>
                    <a:lnTo>
                      <a:pt x="16" y="30"/>
                    </a:lnTo>
                    <a:lnTo>
                      <a:pt x="18" y="29"/>
                    </a:lnTo>
                    <a:lnTo>
                      <a:pt x="19" y="28"/>
                    </a:lnTo>
                    <a:lnTo>
                      <a:pt x="19" y="23"/>
                    </a:lnTo>
                    <a:lnTo>
                      <a:pt x="19" y="23"/>
                    </a:lnTo>
                    <a:lnTo>
                      <a:pt x="19" y="23"/>
                    </a:lnTo>
                    <a:lnTo>
                      <a:pt x="22" y="23"/>
                    </a:lnTo>
                    <a:lnTo>
                      <a:pt x="22" y="25"/>
                    </a:lnTo>
                    <a:lnTo>
                      <a:pt x="25" y="23"/>
                    </a:lnTo>
                    <a:lnTo>
                      <a:pt x="26" y="23"/>
                    </a:lnTo>
                    <a:lnTo>
                      <a:pt x="28" y="23"/>
                    </a:lnTo>
                    <a:lnTo>
                      <a:pt x="29" y="23"/>
                    </a:lnTo>
                    <a:lnTo>
                      <a:pt x="33" y="23"/>
                    </a:lnTo>
                    <a:lnTo>
                      <a:pt x="35" y="23"/>
                    </a:lnTo>
                    <a:lnTo>
                      <a:pt x="35" y="20"/>
                    </a:lnTo>
                    <a:lnTo>
                      <a:pt x="35" y="19"/>
                    </a:lnTo>
                    <a:lnTo>
                      <a:pt x="35" y="15"/>
                    </a:lnTo>
                    <a:lnTo>
                      <a:pt x="33" y="10"/>
                    </a:lnTo>
                    <a:lnTo>
                      <a:pt x="33" y="7"/>
                    </a:lnTo>
                    <a:lnTo>
                      <a:pt x="32" y="6"/>
                    </a:lnTo>
                    <a:lnTo>
                      <a:pt x="29" y="3"/>
                    </a:lnTo>
                    <a:lnTo>
                      <a:pt x="29" y="2"/>
                    </a:lnTo>
                    <a:lnTo>
                      <a:pt x="29" y="0"/>
                    </a:lnTo>
                    <a:lnTo>
                      <a:pt x="26" y="0"/>
                    </a:lnTo>
                    <a:lnTo>
                      <a:pt x="25"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46" name="Freeform 233">
                <a:extLst>
                  <a:ext uri="{FF2B5EF4-FFF2-40B4-BE49-F238E27FC236}">
                    <a16:creationId xmlns:a16="http://schemas.microsoft.com/office/drawing/2014/main" id="{D2A7C4B2-BEDC-1C21-60B5-8585307CDAE6}"/>
                  </a:ext>
                </a:extLst>
              </p:cNvPr>
              <p:cNvSpPr>
                <a:spLocks/>
              </p:cNvSpPr>
              <p:nvPr/>
            </p:nvSpPr>
            <p:spPr bwMode="auto">
              <a:xfrm>
                <a:off x="3244" y="2111"/>
                <a:ext cx="10" cy="4"/>
              </a:xfrm>
              <a:custGeom>
                <a:avLst/>
                <a:gdLst>
                  <a:gd name="T0" fmla="*/ 4 w 10"/>
                  <a:gd name="T1" fmla="*/ 4 h 4"/>
                  <a:gd name="T2" fmla="*/ 1 w 10"/>
                  <a:gd name="T3" fmla="*/ 3 h 4"/>
                  <a:gd name="T4" fmla="*/ 0 w 10"/>
                  <a:gd name="T5" fmla="*/ 1 h 4"/>
                  <a:gd name="T6" fmla="*/ 1 w 10"/>
                  <a:gd name="T7" fmla="*/ 0 h 4"/>
                  <a:gd name="T8" fmla="*/ 4 w 10"/>
                  <a:gd name="T9" fmla="*/ 0 h 4"/>
                  <a:gd name="T10" fmla="*/ 10 w 10"/>
                  <a:gd name="T11" fmla="*/ 1 h 4"/>
                  <a:gd name="T12" fmla="*/ 7 w 10"/>
                  <a:gd name="T13" fmla="*/ 3 h 4"/>
                  <a:gd name="T14" fmla="*/ 4 w 10"/>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
                    <a:moveTo>
                      <a:pt x="4" y="4"/>
                    </a:moveTo>
                    <a:lnTo>
                      <a:pt x="1" y="3"/>
                    </a:lnTo>
                    <a:lnTo>
                      <a:pt x="0" y="1"/>
                    </a:lnTo>
                    <a:lnTo>
                      <a:pt x="1" y="0"/>
                    </a:lnTo>
                    <a:lnTo>
                      <a:pt x="4" y="0"/>
                    </a:lnTo>
                    <a:lnTo>
                      <a:pt x="10" y="1"/>
                    </a:lnTo>
                    <a:lnTo>
                      <a:pt x="7" y="3"/>
                    </a:lnTo>
                    <a:lnTo>
                      <a:pt x="4" y="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grpSp>
        <p:grpSp>
          <p:nvGrpSpPr>
            <p:cNvPr id="13" name="Grupo 3">
              <a:extLst>
                <a:ext uri="{FF2B5EF4-FFF2-40B4-BE49-F238E27FC236}">
                  <a16:creationId xmlns:a16="http://schemas.microsoft.com/office/drawing/2014/main" id="{5A0FC4D7-0A70-B04E-207A-9507CF37B499}"/>
                </a:ext>
              </a:extLst>
            </p:cNvPr>
            <p:cNvGrpSpPr/>
            <p:nvPr/>
          </p:nvGrpSpPr>
          <p:grpSpPr>
            <a:xfrm>
              <a:off x="9798370" y="3913852"/>
              <a:ext cx="1728052" cy="1499170"/>
              <a:chOff x="8498789" y="3923007"/>
              <a:chExt cx="1965061" cy="1704787"/>
            </a:xfrm>
            <a:grpFill/>
          </p:grpSpPr>
          <p:sp>
            <p:nvSpPr>
              <p:cNvPr id="265" name="Freeform 260">
                <a:extLst>
                  <a:ext uri="{FF2B5EF4-FFF2-40B4-BE49-F238E27FC236}">
                    <a16:creationId xmlns:a16="http://schemas.microsoft.com/office/drawing/2014/main" id="{A67008D8-F388-324E-F5E8-5E035D4C731B}"/>
                  </a:ext>
                </a:extLst>
              </p:cNvPr>
              <p:cNvSpPr>
                <a:spLocks noEditPoints="1"/>
              </p:cNvSpPr>
              <p:nvPr/>
            </p:nvSpPr>
            <p:spPr bwMode="auto">
              <a:xfrm>
                <a:off x="9798707" y="4634419"/>
                <a:ext cx="104109" cy="67961"/>
              </a:xfrm>
              <a:custGeom>
                <a:avLst/>
                <a:gdLst>
                  <a:gd name="T0" fmla="*/ 46 w 72"/>
                  <a:gd name="T1" fmla="*/ 5 h 47"/>
                  <a:gd name="T2" fmla="*/ 45 w 72"/>
                  <a:gd name="T3" fmla="*/ 8 h 47"/>
                  <a:gd name="T4" fmla="*/ 43 w 72"/>
                  <a:gd name="T5" fmla="*/ 10 h 47"/>
                  <a:gd name="T6" fmla="*/ 45 w 72"/>
                  <a:gd name="T7" fmla="*/ 7 h 47"/>
                  <a:gd name="T8" fmla="*/ 45 w 72"/>
                  <a:gd name="T9" fmla="*/ 4 h 47"/>
                  <a:gd name="T10" fmla="*/ 46 w 72"/>
                  <a:gd name="T11" fmla="*/ 5 h 47"/>
                  <a:gd name="T12" fmla="*/ 59 w 72"/>
                  <a:gd name="T13" fmla="*/ 46 h 47"/>
                  <a:gd name="T14" fmla="*/ 62 w 72"/>
                  <a:gd name="T15" fmla="*/ 47 h 47"/>
                  <a:gd name="T16" fmla="*/ 60 w 72"/>
                  <a:gd name="T17" fmla="*/ 44 h 47"/>
                  <a:gd name="T18" fmla="*/ 53 w 72"/>
                  <a:gd name="T19" fmla="*/ 14 h 47"/>
                  <a:gd name="T20" fmla="*/ 56 w 72"/>
                  <a:gd name="T21" fmla="*/ 18 h 47"/>
                  <a:gd name="T22" fmla="*/ 59 w 72"/>
                  <a:gd name="T23" fmla="*/ 16 h 47"/>
                  <a:gd name="T24" fmla="*/ 58 w 72"/>
                  <a:gd name="T25" fmla="*/ 10 h 47"/>
                  <a:gd name="T26" fmla="*/ 55 w 72"/>
                  <a:gd name="T27" fmla="*/ 10 h 47"/>
                  <a:gd name="T28" fmla="*/ 53 w 72"/>
                  <a:gd name="T29" fmla="*/ 11 h 47"/>
                  <a:gd name="T30" fmla="*/ 55 w 72"/>
                  <a:gd name="T31" fmla="*/ 13 h 47"/>
                  <a:gd name="T32" fmla="*/ 53 w 72"/>
                  <a:gd name="T33" fmla="*/ 14 h 47"/>
                  <a:gd name="T34" fmla="*/ 48 w 72"/>
                  <a:gd name="T35" fmla="*/ 41 h 47"/>
                  <a:gd name="T36" fmla="*/ 52 w 72"/>
                  <a:gd name="T37" fmla="*/ 40 h 47"/>
                  <a:gd name="T38" fmla="*/ 49 w 72"/>
                  <a:gd name="T39" fmla="*/ 34 h 47"/>
                  <a:gd name="T40" fmla="*/ 30 w 72"/>
                  <a:gd name="T41" fmla="*/ 21 h 47"/>
                  <a:gd name="T42" fmla="*/ 25 w 72"/>
                  <a:gd name="T43" fmla="*/ 17 h 47"/>
                  <a:gd name="T44" fmla="*/ 22 w 72"/>
                  <a:gd name="T45" fmla="*/ 13 h 47"/>
                  <a:gd name="T46" fmla="*/ 10 w 72"/>
                  <a:gd name="T47" fmla="*/ 4 h 47"/>
                  <a:gd name="T48" fmla="*/ 4 w 72"/>
                  <a:gd name="T49" fmla="*/ 1 h 47"/>
                  <a:gd name="T50" fmla="*/ 0 w 72"/>
                  <a:gd name="T51" fmla="*/ 0 h 47"/>
                  <a:gd name="T52" fmla="*/ 0 w 72"/>
                  <a:gd name="T53" fmla="*/ 0 h 47"/>
                  <a:gd name="T54" fmla="*/ 0 w 72"/>
                  <a:gd name="T55" fmla="*/ 1 h 47"/>
                  <a:gd name="T56" fmla="*/ 4 w 72"/>
                  <a:gd name="T57" fmla="*/ 8 h 47"/>
                  <a:gd name="T58" fmla="*/ 16 w 72"/>
                  <a:gd name="T59" fmla="*/ 21 h 47"/>
                  <a:gd name="T60" fmla="*/ 36 w 72"/>
                  <a:gd name="T61" fmla="*/ 36 h 47"/>
                  <a:gd name="T62" fmla="*/ 40 w 72"/>
                  <a:gd name="T63" fmla="*/ 39 h 47"/>
                  <a:gd name="T64" fmla="*/ 46 w 72"/>
                  <a:gd name="T65" fmla="*/ 41 h 47"/>
                  <a:gd name="T66" fmla="*/ 72 w 72"/>
                  <a:gd name="T67" fmla="*/ 26 h 47"/>
                  <a:gd name="T68" fmla="*/ 71 w 72"/>
                  <a:gd name="T69" fmla="*/ 24 h 47"/>
                  <a:gd name="T70" fmla="*/ 69 w 72"/>
                  <a:gd name="T71" fmla="*/ 23 h 47"/>
                  <a:gd name="T72" fmla="*/ 69 w 72"/>
                  <a:gd name="T73" fmla="*/ 23 h 47"/>
                  <a:gd name="T74" fmla="*/ 66 w 72"/>
                  <a:gd name="T75" fmla="*/ 23 h 47"/>
                  <a:gd name="T76" fmla="*/ 68 w 72"/>
                  <a:gd name="T77" fmla="*/ 27 h 47"/>
                  <a:gd name="T78" fmla="*/ 71 w 72"/>
                  <a:gd name="T79" fmla="*/ 2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47">
                    <a:moveTo>
                      <a:pt x="46" y="5"/>
                    </a:moveTo>
                    <a:lnTo>
                      <a:pt x="46" y="5"/>
                    </a:lnTo>
                    <a:lnTo>
                      <a:pt x="45" y="7"/>
                    </a:lnTo>
                    <a:lnTo>
                      <a:pt x="45" y="8"/>
                    </a:lnTo>
                    <a:lnTo>
                      <a:pt x="45" y="10"/>
                    </a:lnTo>
                    <a:lnTo>
                      <a:pt x="43" y="10"/>
                    </a:lnTo>
                    <a:lnTo>
                      <a:pt x="43" y="8"/>
                    </a:lnTo>
                    <a:lnTo>
                      <a:pt x="45" y="7"/>
                    </a:lnTo>
                    <a:lnTo>
                      <a:pt x="45" y="5"/>
                    </a:lnTo>
                    <a:lnTo>
                      <a:pt x="45" y="4"/>
                    </a:lnTo>
                    <a:lnTo>
                      <a:pt x="45" y="5"/>
                    </a:lnTo>
                    <a:lnTo>
                      <a:pt x="46" y="5"/>
                    </a:lnTo>
                    <a:lnTo>
                      <a:pt x="46" y="5"/>
                    </a:lnTo>
                    <a:close/>
                    <a:moveTo>
                      <a:pt x="59" y="46"/>
                    </a:moveTo>
                    <a:lnTo>
                      <a:pt x="60" y="47"/>
                    </a:lnTo>
                    <a:lnTo>
                      <a:pt x="62" y="47"/>
                    </a:lnTo>
                    <a:lnTo>
                      <a:pt x="60" y="46"/>
                    </a:lnTo>
                    <a:lnTo>
                      <a:pt x="60" y="44"/>
                    </a:lnTo>
                    <a:lnTo>
                      <a:pt x="59" y="46"/>
                    </a:lnTo>
                    <a:close/>
                    <a:moveTo>
                      <a:pt x="53" y="14"/>
                    </a:moveTo>
                    <a:lnTo>
                      <a:pt x="55" y="17"/>
                    </a:lnTo>
                    <a:lnTo>
                      <a:pt x="56" y="18"/>
                    </a:lnTo>
                    <a:lnTo>
                      <a:pt x="59" y="18"/>
                    </a:lnTo>
                    <a:lnTo>
                      <a:pt x="59" y="16"/>
                    </a:lnTo>
                    <a:lnTo>
                      <a:pt x="58" y="11"/>
                    </a:lnTo>
                    <a:lnTo>
                      <a:pt x="58" y="10"/>
                    </a:lnTo>
                    <a:lnTo>
                      <a:pt x="56" y="10"/>
                    </a:lnTo>
                    <a:lnTo>
                      <a:pt x="55" y="10"/>
                    </a:lnTo>
                    <a:lnTo>
                      <a:pt x="53" y="10"/>
                    </a:lnTo>
                    <a:lnTo>
                      <a:pt x="53" y="11"/>
                    </a:lnTo>
                    <a:lnTo>
                      <a:pt x="55" y="11"/>
                    </a:lnTo>
                    <a:lnTo>
                      <a:pt x="55" y="13"/>
                    </a:lnTo>
                    <a:lnTo>
                      <a:pt x="55" y="14"/>
                    </a:lnTo>
                    <a:lnTo>
                      <a:pt x="53" y="14"/>
                    </a:lnTo>
                    <a:close/>
                    <a:moveTo>
                      <a:pt x="46" y="41"/>
                    </a:moveTo>
                    <a:lnTo>
                      <a:pt x="48" y="41"/>
                    </a:lnTo>
                    <a:lnTo>
                      <a:pt x="50" y="41"/>
                    </a:lnTo>
                    <a:lnTo>
                      <a:pt x="52" y="40"/>
                    </a:lnTo>
                    <a:lnTo>
                      <a:pt x="50" y="37"/>
                    </a:lnTo>
                    <a:lnTo>
                      <a:pt x="49" y="34"/>
                    </a:lnTo>
                    <a:lnTo>
                      <a:pt x="36" y="26"/>
                    </a:lnTo>
                    <a:lnTo>
                      <a:pt x="30" y="21"/>
                    </a:lnTo>
                    <a:lnTo>
                      <a:pt x="27" y="20"/>
                    </a:lnTo>
                    <a:lnTo>
                      <a:pt x="25" y="17"/>
                    </a:lnTo>
                    <a:lnTo>
                      <a:pt x="23" y="16"/>
                    </a:lnTo>
                    <a:lnTo>
                      <a:pt x="22" y="13"/>
                    </a:lnTo>
                    <a:lnTo>
                      <a:pt x="14" y="8"/>
                    </a:lnTo>
                    <a:lnTo>
                      <a:pt x="10" y="4"/>
                    </a:lnTo>
                    <a:lnTo>
                      <a:pt x="9" y="3"/>
                    </a:lnTo>
                    <a:lnTo>
                      <a:pt x="4" y="1"/>
                    </a:lnTo>
                    <a:lnTo>
                      <a:pt x="3" y="1"/>
                    </a:lnTo>
                    <a:lnTo>
                      <a:pt x="0" y="0"/>
                    </a:lnTo>
                    <a:lnTo>
                      <a:pt x="0" y="0"/>
                    </a:lnTo>
                    <a:lnTo>
                      <a:pt x="0" y="0"/>
                    </a:lnTo>
                    <a:lnTo>
                      <a:pt x="0" y="1"/>
                    </a:lnTo>
                    <a:lnTo>
                      <a:pt x="0" y="1"/>
                    </a:lnTo>
                    <a:lnTo>
                      <a:pt x="2" y="3"/>
                    </a:lnTo>
                    <a:lnTo>
                      <a:pt x="4" y="8"/>
                    </a:lnTo>
                    <a:lnTo>
                      <a:pt x="6" y="10"/>
                    </a:lnTo>
                    <a:lnTo>
                      <a:pt x="16" y="21"/>
                    </a:lnTo>
                    <a:lnTo>
                      <a:pt x="19" y="24"/>
                    </a:lnTo>
                    <a:lnTo>
                      <a:pt x="36" y="36"/>
                    </a:lnTo>
                    <a:lnTo>
                      <a:pt x="39" y="37"/>
                    </a:lnTo>
                    <a:lnTo>
                      <a:pt x="40" y="39"/>
                    </a:lnTo>
                    <a:lnTo>
                      <a:pt x="43" y="40"/>
                    </a:lnTo>
                    <a:lnTo>
                      <a:pt x="46" y="41"/>
                    </a:lnTo>
                    <a:close/>
                    <a:moveTo>
                      <a:pt x="72" y="27"/>
                    </a:moveTo>
                    <a:lnTo>
                      <a:pt x="72" y="26"/>
                    </a:lnTo>
                    <a:lnTo>
                      <a:pt x="72" y="24"/>
                    </a:lnTo>
                    <a:lnTo>
                      <a:pt x="71" y="24"/>
                    </a:lnTo>
                    <a:lnTo>
                      <a:pt x="71" y="24"/>
                    </a:lnTo>
                    <a:lnTo>
                      <a:pt x="69" y="23"/>
                    </a:lnTo>
                    <a:lnTo>
                      <a:pt x="69" y="23"/>
                    </a:lnTo>
                    <a:lnTo>
                      <a:pt x="69" y="23"/>
                    </a:lnTo>
                    <a:lnTo>
                      <a:pt x="68" y="23"/>
                    </a:lnTo>
                    <a:lnTo>
                      <a:pt x="66" y="23"/>
                    </a:lnTo>
                    <a:lnTo>
                      <a:pt x="68" y="26"/>
                    </a:lnTo>
                    <a:lnTo>
                      <a:pt x="68" y="27"/>
                    </a:lnTo>
                    <a:lnTo>
                      <a:pt x="69" y="27"/>
                    </a:lnTo>
                    <a:lnTo>
                      <a:pt x="71" y="27"/>
                    </a:lnTo>
                    <a:lnTo>
                      <a:pt x="72" y="2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66" name="Freeform 261">
                <a:extLst>
                  <a:ext uri="{FF2B5EF4-FFF2-40B4-BE49-F238E27FC236}">
                    <a16:creationId xmlns:a16="http://schemas.microsoft.com/office/drawing/2014/main" id="{45F1D982-C1B8-2422-AE6B-0C7239F0665F}"/>
                  </a:ext>
                </a:extLst>
              </p:cNvPr>
              <p:cNvSpPr>
                <a:spLocks noEditPoints="1"/>
              </p:cNvSpPr>
              <p:nvPr/>
            </p:nvSpPr>
            <p:spPr bwMode="auto">
              <a:xfrm>
                <a:off x="9860884" y="4463796"/>
                <a:ext cx="88204" cy="172070"/>
              </a:xfrm>
              <a:custGeom>
                <a:avLst/>
                <a:gdLst>
                  <a:gd name="T0" fmla="*/ 17 w 61"/>
                  <a:gd name="T1" fmla="*/ 1 h 119"/>
                  <a:gd name="T2" fmla="*/ 15 w 61"/>
                  <a:gd name="T3" fmla="*/ 39 h 119"/>
                  <a:gd name="T4" fmla="*/ 13 w 61"/>
                  <a:gd name="T5" fmla="*/ 39 h 119"/>
                  <a:gd name="T6" fmla="*/ 13 w 61"/>
                  <a:gd name="T7" fmla="*/ 43 h 119"/>
                  <a:gd name="T8" fmla="*/ 16 w 61"/>
                  <a:gd name="T9" fmla="*/ 46 h 119"/>
                  <a:gd name="T10" fmla="*/ 19 w 61"/>
                  <a:gd name="T11" fmla="*/ 52 h 119"/>
                  <a:gd name="T12" fmla="*/ 23 w 61"/>
                  <a:gd name="T13" fmla="*/ 50 h 119"/>
                  <a:gd name="T14" fmla="*/ 23 w 61"/>
                  <a:gd name="T15" fmla="*/ 47 h 119"/>
                  <a:gd name="T16" fmla="*/ 16 w 61"/>
                  <a:gd name="T17" fmla="*/ 42 h 119"/>
                  <a:gd name="T18" fmla="*/ 17 w 61"/>
                  <a:gd name="T19" fmla="*/ 10 h 119"/>
                  <a:gd name="T20" fmla="*/ 19 w 61"/>
                  <a:gd name="T21" fmla="*/ 7 h 119"/>
                  <a:gd name="T22" fmla="*/ 16 w 61"/>
                  <a:gd name="T23" fmla="*/ 9 h 119"/>
                  <a:gd name="T24" fmla="*/ 58 w 61"/>
                  <a:gd name="T25" fmla="*/ 119 h 119"/>
                  <a:gd name="T26" fmla="*/ 58 w 61"/>
                  <a:gd name="T27" fmla="*/ 118 h 119"/>
                  <a:gd name="T28" fmla="*/ 45 w 61"/>
                  <a:gd name="T29" fmla="*/ 90 h 119"/>
                  <a:gd name="T30" fmla="*/ 46 w 61"/>
                  <a:gd name="T31" fmla="*/ 95 h 119"/>
                  <a:gd name="T32" fmla="*/ 49 w 61"/>
                  <a:gd name="T33" fmla="*/ 93 h 119"/>
                  <a:gd name="T34" fmla="*/ 49 w 61"/>
                  <a:gd name="T35" fmla="*/ 92 h 119"/>
                  <a:gd name="T36" fmla="*/ 50 w 61"/>
                  <a:gd name="T37" fmla="*/ 108 h 119"/>
                  <a:gd name="T38" fmla="*/ 52 w 61"/>
                  <a:gd name="T39" fmla="*/ 105 h 119"/>
                  <a:gd name="T40" fmla="*/ 49 w 61"/>
                  <a:gd name="T41" fmla="*/ 103 h 119"/>
                  <a:gd name="T42" fmla="*/ 12 w 61"/>
                  <a:gd name="T43" fmla="*/ 36 h 119"/>
                  <a:gd name="T44" fmla="*/ 13 w 61"/>
                  <a:gd name="T45" fmla="*/ 36 h 119"/>
                  <a:gd name="T46" fmla="*/ 12 w 61"/>
                  <a:gd name="T47" fmla="*/ 34 h 119"/>
                  <a:gd name="T48" fmla="*/ 26 w 61"/>
                  <a:gd name="T49" fmla="*/ 44 h 119"/>
                  <a:gd name="T50" fmla="*/ 30 w 61"/>
                  <a:gd name="T51" fmla="*/ 47 h 119"/>
                  <a:gd name="T52" fmla="*/ 29 w 61"/>
                  <a:gd name="T53" fmla="*/ 43 h 119"/>
                  <a:gd name="T54" fmla="*/ 26 w 61"/>
                  <a:gd name="T55" fmla="*/ 44 h 119"/>
                  <a:gd name="T56" fmla="*/ 36 w 61"/>
                  <a:gd name="T57" fmla="*/ 73 h 119"/>
                  <a:gd name="T58" fmla="*/ 33 w 61"/>
                  <a:gd name="T59" fmla="*/ 69 h 119"/>
                  <a:gd name="T60" fmla="*/ 30 w 61"/>
                  <a:gd name="T61" fmla="*/ 72 h 119"/>
                  <a:gd name="T62" fmla="*/ 32 w 61"/>
                  <a:gd name="T63" fmla="*/ 73 h 119"/>
                  <a:gd name="T64" fmla="*/ 32 w 61"/>
                  <a:gd name="T65" fmla="*/ 53 h 119"/>
                  <a:gd name="T66" fmla="*/ 29 w 61"/>
                  <a:gd name="T67" fmla="*/ 55 h 119"/>
                  <a:gd name="T68" fmla="*/ 35 w 61"/>
                  <a:gd name="T69" fmla="*/ 56 h 119"/>
                  <a:gd name="T70" fmla="*/ 26 w 61"/>
                  <a:gd name="T71" fmla="*/ 27 h 119"/>
                  <a:gd name="T72" fmla="*/ 22 w 61"/>
                  <a:gd name="T73" fmla="*/ 30 h 119"/>
                  <a:gd name="T74" fmla="*/ 25 w 61"/>
                  <a:gd name="T75" fmla="*/ 32 h 119"/>
                  <a:gd name="T76" fmla="*/ 3 w 61"/>
                  <a:gd name="T77" fmla="*/ 17 h 119"/>
                  <a:gd name="T78" fmla="*/ 0 w 61"/>
                  <a:gd name="T79" fmla="*/ 17 h 119"/>
                  <a:gd name="T80" fmla="*/ 2 w 61"/>
                  <a:gd name="T81" fmla="*/ 23 h 119"/>
                  <a:gd name="T82" fmla="*/ 5 w 61"/>
                  <a:gd name="T83" fmla="*/ 33 h 119"/>
                  <a:gd name="T84" fmla="*/ 6 w 61"/>
                  <a:gd name="T85" fmla="*/ 33 h 119"/>
                  <a:gd name="T86" fmla="*/ 12 w 61"/>
                  <a:gd name="T87" fmla="*/ 33 h 119"/>
                  <a:gd name="T88" fmla="*/ 10 w 61"/>
                  <a:gd name="T89" fmla="*/ 23 h 119"/>
                  <a:gd name="T90" fmla="*/ 7 w 61"/>
                  <a:gd name="T91" fmla="*/ 24 h 119"/>
                  <a:gd name="T92" fmla="*/ 5 w 61"/>
                  <a:gd name="T93" fmla="*/ 23 h 119"/>
                  <a:gd name="T94" fmla="*/ 30 w 61"/>
                  <a:gd name="T95" fmla="*/ 26 h 119"/>
                  <a:gd name="T96" fmla="*/ 29 w 61"/>
                  <a:gd name="T97" fmla="*/ 26 h 119"/>
                  <a:gd name="T98" fmla="*/ 30 w 61"/>
                  <a:gd name="T99" fmla="*/ 29 h 119"/>
                  <a:gd name="T100" fmla="*/ 29 w 61"/>
                  <a:gd name="T101" fmla="*/ 33 h 119"/>
                  <a:gd name="T102" fmla="*/ 32 w 61"/>
                  <a:gd name="T103" fmla="*/ 39 h 119"/>
                  <a:gd name="T104" fmla="*/ 29 w 61"/>
                  <a:gd name="T105" fmla="*/ 3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1" h="119">
                    <a:moveTo>
                      <a:pt x="16" y="0"/>
                    </a:moveTo>
                    <a:lnTo>
                      <a:pt x="19" y="0"/>
                    </a:lnTo>
                    <a:lnTo>
                      <a:pt x="17" y="1"/>
                    </a:lnTo>
                    <a:lnTo>
                      <a:pt x="16" y="3"/>
                    </a:lnTo>
                    <a:lnTo>
                      <a:pt x="16" y="0"/>
                    </a:lnTo>
                    <a:close/>
                    <a:moveTo>
                      <a:pt x="15" y="39"/>
                    </a:moveTo>
                    <a:lnTo>
                      <a:pt x="13" y="39"/>
                    </a:lnTo>
                    <a:lnTo>
                      <a:pt x="13" y="39"/>
                    </a:lnTo>
                    <a:lnTo>
                      <a:pt x="13" y="39"/>
                    </a:lnTo>
                    <a:lnTo>
                      <a:pt x="12" y="40"/>
                    </a:lnTo>
                    <a:lnTo>
                      <a:pt x="12" y="43"/>
                    </a:lnTo>
                    <a:lnTo>
                      <a:pt x="13" y="43"/>
                    </a:lnTo>
                    <a:lnTo>
                      <a:pt x="13" y="43"/>
                    </a:lnTo>
                    <a:lnTo>
                      <a:pt x="15" y="43"/>
                    </a:lnTo>
                    <a:lnTo>
                      <a:pt x="16" y="46"/>
                    </a:lnTo>
                    <a:lnTo>
                      <a:pt x="16" y="47"/>
                    </a:lnTo>
                    <a:lnTo>
                      <a:pt x="17" y="50"/>
                    </a:lnTo>
                    <a:lnTo>
                      <a:pt x="19" y="52"/>
                    </a:lnTo>
                    <a:lnTo>
                      <a:pt x="20" y="52"/>
                    </a:lnTo>
                    <a:lnTo>
                      <a:pt x="22" y="50"/>
                    </a:lnTo>
                    <a:lnTo>
                      <a:pt x="23" y="50"/>
                    </a:lnTo>
                    <a:lnTo>
                      <a:pt x="23" y="49"/>
                    </a:lnTo>
                    <a:lnTo>
                      <a:pt x="23" y="49"/>
                    </a:lnTo>
                    <a:lnTo>
                      <a:pt x="23" y="47"/>
                    </a:lnTo>
                    <a:lnTo>
                      <a:pt x="22" y="46"/>
                    </a:lnTo>
                    <a:lnTo>
                      <a:pt x="17" y="43"/>
                    </a:lnTo>
                    <a:lnTo>
                      <a:pt x="16" y="42"/>
                    </a:lnTo>
                    <a:lnTo>
                      <a:pt x="15" y="39"/>
                    </a:lnTo>
                    <a:close/>
                    <a:moveTo>
                      <a:pt x="17" y="10"/>
                    </a:moveTo>
                    <a:lnTo>
                      <a:pt x="17" y="10"/>
                    </a:lnTo>
                    <a:lnTo>
                      <a:pt x="19" y="9"/>
                    </a:lnTo>
                    <a:lnTo>
                      <a:pt x="19" y="9"/>
                    </a:lnTo>
                    <a:lnTo>
                      <a:pt x="19" y="7"/>
                    </a:lnTo>
                    <a:lnTo>
                      <a:pt x="17" y="7"/>
                    </a:lnTo>
                    <a:lnTo>
                      <a:pt x="16" y="9"/>
                    </a:lnTo>
                    <a:lnTo>
                      <a:pt x="16" y="9"/>
                    </a:lnTo>
                    <a:lnTo>
                      <a:pt x="17" y="10"/>
                    </a:lnTo>
                    <a:close/>
                    <a:moveTo>
                      <a:pt x="58" y="118"/>
                    </a:moveTo>
                    <a:lnTo>
                      <a:pt x="58" y="119"/>
                    </a:lnTo>
                    <a:lnTo>
                      <a:pt x="59" y="119"/>
                    </a:lnTo>
                    <a:lnTo>
                      <a:pt x="61" y="118"/>
                    </a:lnTo>
                    <a:lnTo>
                      <a:pt x="58" y="118"/>
                    </a:lnTo>
                    <a:close/>
                    <a:moveTo>
                      <a:pt x="48" y="90"/>
                    </a:moveTo>
                    <a:lnTo>
                      <a:pt x="46" y="89"/>
                    </a:lnTo>
                    <a:lnTo>
                      <a:pt x="45" y="90"/>
                    </a:lnTo>
                    <a:lnTo>
                      <a:pt x="45" y="92"/>
                    </a:lnTo>
                    <a:lnTo>
                      <a:pt x="45" y="95"/>
                    </a:lnTo>
                    <a:lnTo>
                      <a:pt x="46" y="95"/>
                    </a:lnTo>
                    <a:lnTo>
                      <a:pt x="49" y="96"/>
                    </a:lnTo>
                    <a:lnTo>
                      <a:pt x="50" y="95"/>
                    </a:lnTo>
                    <a:lnTo>
                      <a:pt x="49" y="93"/>
                    </a:lnTo>
                    <a:lnTo>
                      <a:pt x="49" y="93"/>
                    </a:lnTo>
                    <a:lnTo>
                      <a:pt x="48" y="92"/>
                    </a:lnTo>
                    <a:lnTo>
                      <a:pt x="49" y="92"/>
                    </a:lnTo>
                    <a:lnTo>
                      <a:pt x="48" y="90"/>
                    </a:lnTo>
                    <a:close/>
                    <a:moveTo>
                      <a:pt x="49" y="106"/>
                    </a:moveTo>
                    <a:lnTo>
                      <a:pt x="50" y="108"/>
                    </a:lnTo>
                    <a:lnTo>
                      <a:pt x="52" y="108"/>
                    </a:lnTo>
                    <a:lnTo>
                      <a:pt x="53" y="106"/>
                    </a:lnTo>
                    <a:lnTo>
                      <a:pt x="52" y="105"/>
                    </a:lnTo>
                    <a:lnTo>
                      <a:pt x="50" y="103"/>
                    </a:lnTo>
                    <a:lnTo>
                      <a:pt x="49" y="102"/>
                    </a:lnTo>
                    <a:lnTo>
                      <a:pt x="49" y="103"/>
                    </a:lnTo>
                    <a:lnTo>
                      <a:pt x="49" y="106"/>
                    </a:lnTo>
                    <a:close/>
                    <a:moveTo>
                      <a:pt x="10" y="34"/>
                    </a:moveTo>
                    <a:lnTo>
                      <a:pt x="12" y="36"/>
                    </a:lnTo>
                    <a:lnTo>
                      <a:pt x="13" y="36"/>
                    </a:lnTo>
                    <a:lnTo>
                      <a:pt x="13" y="36"/>
                    </a:lnTo>
                    <a:lnTo>
                      <a:pt x="13" y="36"/>
                    </a:lnTo>
                    <a:lnTo>
                      <a:pt x="13" y="34"/>
                    </a:lnTo>
                    <a:lnTo>
                      <a:pt x="13" y="34"/>
                    </a:lnTo>
                    <a:lnTo>
                      <a:pt x="12" y="34"/>
                    </a:lnTo>
                    <a:lnTo>
                      <a:pt x="10" y="34"/>
                    </a:lnTo>
                    <a:close/>
                    <a:moveTo>
                      <a:pt x="26" y="44"/>
                    </a:moveTo>
                    <a:lnTo>
                      <a:pt x="26" y="44"/>
                    </a:lnTo>
                    <a:lnTo>
                      <a:pt x="26" y="46"/>
                    </a:lnTo>
                    <a:lnTo>
                      <a:pt x="29" y="47"/>
                    </a:lnTo>
                    <a:lnTo>
                      <a:pt x="30" y="47"/>
                    </a:lnTo>
                    <a:lnTo>
                      <a:pt x="32" y="46"/>
                    </a:lnTo>
                    <a:lnTo>
                      <a:pt x="32" y="46"/>
                    </a:lnTo>
                    <a:lnTo>
                      <a:pt x="29" y="43"/>
                    </a:lnTo>
                    <a:lnTo>
                      <a:pt x="29" y="43"/>
                    </a:lnTo>
                    <a:lnTo>
                      <a:pt x="28" y="44"/>
                    </a:lnTo>
                    <a:lnTo>
                      <a:pt x="26" y="44"/>
                    </a:lnTo>
                    <a:close/>
                    <a:moveTo>
                      <a:pt x="33" y="75"/>
                    </a:moveTo>
                    <a:lnTo>
                      <a:pt x="35" y="75"/>
                    </a:lnTo>
                    <a:lnTo>
                      <a:pt x="36" y="73"/>
                    </a:lnTo>
                    <a:lnTo>
                      <a:pt x="38" y="72"/>
                    </a:lnTo>
                    <a:lnTo>
                      <a:pt x="35" y="70"/>
                    </a:lnTo>
                    <a:lnTo>
                      <a:pt x="33" y="69"/>
                    </a:lnTo>
                    <a:lnTo>
                      <a:pt x="30" y="70"/>
                    </a:lnTo>
                    <a:lnTo>
                      <a:pt x="29" y="72"/>
                    </a:lnTo>
                    <a:lnTo>
                      <a:pt x="30" y="72"/>
                    </a:lnTo>
                    <a:lnTo>
                      <a:pt x="30" y="72"/>
                    </a:lnTo>
                    <a:lnTo>
                      <a:pt x="32" y="73"/>
                    </a:lnTo>
                    <a:lnTo>
                      <a:pt x="32" y="73"/>
                    </a:lnTo>
                    <a:lnTo>
                      <a:pt x="30" y="73"/>
                    </a:lnTo>
                    <a:lnTo>
                      <a:pt x="33" y="75"/>
                    </a:lnTo>
                    <a:close/>
                    <a:moveTo>
                      <a:pt x="32" y="53"/>
                    </a:moveTo>
                    <a:lnTo>
                      <a:pt x="30" y="53"/>
                    </a:lnTo>
                    <a:lnTo>
                      <a:pt x="29" y="53"/>
                    </a:lnTo>
                    <a:lnTo>
                      <a:pt x="29" y="55"/>
                    </a:lnTo>
                    <a:lnTo>
                      <a:pt x="30" y="56"/>
                    </a:lnTo>
                    <a:lnTo>
                      <a:pt x="33" y="56"/>
                    </a:lnTo>
                    <a:lnTo>
                      <a:pt x="35" y="56"/>
                    </a:lnTo>
                    <a:lnTo>
                      <a:pt x="33" y="55"/>
                    </a:lnTo>
                    <a:lnTo>
                      <a:pt x="32" y="53"/>
                    </a:lnTo>
                    <a:close/>
                    <a:moveTo>
                      <a:pt x="26" y="27"/>
                    </a:moveTo>
                    <a:lnTo>
                      <a:pt x="25" y="29"/>
                    </a:lnTo>
                    <a:lnTo>
                      <a:pt x="23" y="29"/>
                    </a:lnTo>
                    <a:lnTo>
                      <a:pt x="22" y="30"/>
                    </a:lnTo>
                    <a:lnTo>
                      <a:pt x="20" y="32"/>
                    </a:lnTo>
                    <a:lnTo>
                      <a:pt x="23" y="32"/>
                    </a:lnTo>
                    <a:lnTo>
                      <a:pt x="25" y="32"/>
                    </a:lnTo>
                    <a:lnTo>
                      <a:pt x="26" y="30"/>
                    </a:lnTo>
                    <a:lnTo>
                      <a:pt x="26" y="27"/>
                    </a:lnTo>
                    <a:close/>
                    <a:moveTo>
                      <a:pt x="3" y="17"/>
                    </a:moveTo>
                    <a:lnTo>
                      <a:pt x="2" y="16"/>
                    </a:lnTo>
                    <a:lnTo>
                      <a:pt x="2" y="17"/>
                    </a:lnTo>
                    <a:lnTo>
                      <a:pt x="0" y="17"/>
                    </a:lnTo>
                    <a:lnTo>
                      <a:pt x="0" y="19"/>
                    </a:lnTo>
                    <a:lnTo>
                      <a:pt x="0" y="20"/>
                    </a:lnTo>
                    <a:lnTo>
                      <a:pt x="2" y="23"/>
                    </a:lnTo>
                    <a:lnTo>
                      <a:pt x="2" y="27"/>
                    </a:lnTo>
                    <a:lnTo>
                      <a:pt x="3" y="30"/>
                    </a:lnTo>
                    <a:lnTo>
                      <a:pt x="5" y="33"/>
                    </a:lnTo>
                    <a:lnTo>
                      <a:pt x="5" y="33"/>
                    </a:lnTo>
                    <a:lnTo>
                      <a:pt x="6" y="34"/>
                    </a:lnTo>
                    <a:lnTo>
                      <a:pt x="6" y="33"/>
                    </a:lnTo>
                    <a:lnTo>
                      <a:pt x="7" y="33"/>
                    </a:lnTo>
                    <a:lnTo>
                      <a:pt x="10" y="33"/>
                    </a:lnTo>
                    <a:lnTo>
                      <a:pt x="12" y="33"/>
                    </a:lnTo>
                    <a:lnTo>
                      <a:pt x="13" y="30"/>
                    </a:lnTo>
                    <a:lnTo>
                      <a:pt x="10" y="26"/>
                    </a:lnTo>
                    <a:lnTo>
                      <a:pt x="10" y="23"/>
                    </a:lnTo>
                    <a:lnTo>
                      <a:pt x="10" y="21"/>
                    </a:lnTo>
                    <a:lnTo>
                      <a:pt x="9" y="23"/>
                    </a:lnTo>
                    <a:lnTo>
                      <a:pt x="7" y="24"/>
                    </a:lnTo>
                    <a:lnTo>
                      <a:pt x="7" y="26"/>
                    </a:lnTo>
                    <a:lnTo>
                      <a:pt x="6" y="24"/>
                    </a:lnTo>
                    <a:lnTo>
                      <a:pt x="5" y="23"/>
                    </a:lnTo>
                    <a:lnTo>
                      <a:pt x="5" y="20"/>
                    </a:lnTo>
                    <a:lnTo>
                      <a:pt x="3" y="17"/>
                    </a:lnTo>
                    <a:close/>
                    <a:moveTo>
                      <a:pt x="30" y="26"/>
                    </a:moveTo>
                    <a:lnTo>
                      <a:pt x="29" y="23"/>
                    </a:lnTo>
                    <a:lnTo>
                      <a:pt x="29" y="24"/>
                    </a:lnTo>
                    <a:lnTo>
                      <a:pt x="29" y="26"/>
                    </a:lnTo>
                    <a:lnTo>
                      <a:pt x="29" y="29"/>
                    </a:lnTo>
                    <a:lnTo>
                      <a:pt x="29" y="30"/>
                    </a:lnTo>
                    <a:lnTo>
                      <a:pt x="30" y="29"/>
                    </a:lnTo>
                    <a:lnTo>
                      <a:pt x="30" y="27"/>
                    </a:lnTo>
                    <a:lnTo>
                      <a:pt x="30" y="26"/>
                    </a:lnTo>
                    <a:close/>
                    <a:moveTo>
                      <a:pt x="29" y="33"/>
                    </a:moveTo>
                    <a:lnTo>
                      <a:pt x="29" y="37"/>
                    </a:lnTo>
                    <a:lnTo>
                      <a:pt x="30" y="40"/>
                    </a:lnTo>
                    <a:lnTo>
                      <a:pt x="32" y="39"/>
                    </a:lnTo>
                    <a:lnTo>
                      <a:pt x="30" y="33"/>
                    </a:lnTo>
                    <a:lnTo>
                      <a:pt x="29" y="32"/>
                    </a:lnTo>
                    <a:lnTo>
                      <a:pt x="29" y="3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67" name="Freeform 262">
                <a:extLst>
                  <a:ext uri="{FF2B5EF4-FFF2-40B4-BE49-F238E27FC236}">
                    <a16:creationId xmlns:a16="http://schemas.microsoft.com/office/drawing/2014/main" id="{B0086AE9-F9D3-DCB1-567F-BD0A462F085D}"/>
                  </a:ext>
                </a:extLst>
              </p:cNvPr>
              <p:cNvSpPr>
                <a:spLocks noEditPoints="1"/>
              </p:cNvSpPr>
              <p:nvPr/>
            </p:nvSpPr>
            <p:spPr bwMode="auto">
              <a:xfrm>
                <a:off x="10249847" y="4449336"/>
                <a:ext cx="53501" cy="28919"/>
              </a:xfrm>
              <a:custGeom>
                <a:avLst/>
                <a:gdLst>
                  <a:gd name="T0" fmla="*/ 3 w 37"/>
                  <a:gd name="T1" fmla="*/ 20 h 20"/>
                  <a:gd name="T2" fmla="*/ 3 w 37"/>
                  <a:gd name="T3" fmla="*/ 20 h 20"/>
                  <a:gd name="T4" fmla="*/ 3 w 37"/>
                  <a:gd name="T5" fmla="*/ 20 h 20"/>
                  <a:gd name="T6" fmla="*/ 1 w 37"/>
                  <a:gd name="T7" fmla="*/ 20 h 20"/>
                  <a:gd name="T8" fmla="*/ 1 w 37"/>
                  <a:gd name="T9" fmla="*/ 20 h 20"/>
                  <a:gd name="T10" fmla="*/ 0 w 37"/>
                  <a:gd name="T11" fmla="*/ 19 h 20"/>
                  <a:gd name="T12" fmla="*/ 1 w 37"/>
                  <a:gd name="T13" fmla="*/ 19 h 20"/>
                  <a:gd name="T14" fmla="*/ 1 w 37"/>
                  <a:gd name="T15" fmla="*/ 19 h 20"/>
                  <a:gd name="T16" fmla="*/ 3 w 37"/>
                  <a:gd name="T17" fmla="*/ 20 h 20"/>
                  <a:gd name="T18" fmla="*/ 37 w 37"/>
                  <a:gd name="T19" fmla="*/ 1 h 20"/>
                  <a:gd name="T20" fmla="*/ 36 w 37"/>
                  <a:gd name="T21" fmla="*/ 0 h 20"/>
                  <a:gd name="T22" fmla="*/ 36 w 37"/>
                  <a:gd name="T23" fmla="*/ 1 h 20"/>
                  <a:gd name="T24" fmla="*/ 36 w 37"/>
                  <a:gd name="T25" fmla="*/ 1 h 20"/>
                  <a:gd name="T26" fmla="*/ 36 w 37"/>
                  <a:gd name="T27" fmla="*/ 1 h 20"/>
                  <a:gd name="T28" fmla="*/ 36 w 37"/>
                  <a:gd name="T29" fmla="*/ 1 h 20"/>
                  <a:gd name="T30" fmla="*/ 36 w 37"/>
                  <a:gd name="T31" fmla="*/ 1 h 20"/>
                  <a:gd name="T32" fmla="*/ 37 w 37"/>
                  <a:gd name="T33"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20">
                    <a:moveTo>
                      <a:pt x="3" y="20"/>
                    </a:moveTo>
                    <a:lnTo>
                      <a:pt x="3" y="20"/>
                    </a:lnTo>
                    <a:lnTo>
                      <a:pt x="3" y="20"/>
                    </a:lnTo>
                    <a:lnTo>
                      <a:pt x="1" y="20"/>
                    </a:lnTo>
                    <a:lnTo>
                      <a:pt x="1" y="20"/>
                    </a:lnTo>
                    <a:lnTo>
                      <a:pt x="0" y="19"/>
                    </a:lnTo>
                    <a:lnTo>
                      <a:pt x="1" y="19"/>
                    </a:lnTo>
                    <a:lnTo>
                      <a:pt x="1" y="19"/>
                    </a:lnTo>
                    <a:lnTo>
                      <a:pt x="3" y="20"/>
                    </a:lnTo>
                    <a:close/>
                    <a:moveTo>
                      <a:pt x="37" y="1"/>
                    </a:moveTo>
                    <a:lnTo>
                      <a:pt x="36" y="0"/>
                    </a:lnTo>
                    <a:lnTo>
                      <a:pt x="36" y="1"/>
                    </a:lnTo>
                    <a:lnTo>
                      <a:pt x="36" y="1"/>
                    </a:lnTo>
                    <a:lnTo>
                      <a:pt x="36" y="1"/>
                    </a:lnTo>
                    <a:lnTo>
                      <a:pt x="36" y="1"/>
                    </a:lnTo>
                    <a:lnTo>
                      <a:pt x="36" y="1"/>
                    </a:lnTo>
                    <a:lnTo>
                      <a:pt x="37" y="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68" name="Freeform 263">
                <a:extLst>
                  <a:ext uri="{FF2B5EF4-FFF2-40B4-BE49-F238E27FC236}">
                    <a16:creationId xmlns:a16="http://schemas.microsoft.com/office/drawing/2014/main" id="{57BC7447-E4D4-8ACC-6D46-0556B7D16170}"/>
                  </a:ext>
                </a:extLst>
              </p:cNvPr>
              <p:cNvSpPr>
                <a:spLocks noEditPoints="1"/>
              </p:cNvSpPr>
              <p:nvPr/>
            </p:nvSpPr>
            <p:spPr bwMode="auto">
              <a:xfrm>
                <a:off x="10128386" y="4430539"/>
                <a:ext cx="121461" cy="176407"/>
              </a:xfrm>
              <a:custGeom>
                <a:avLst/>
                <a:gdLst>
                  <a:gd name="T0" fmla="*/ 0 w 84"/>
                  <a:gd name="T1" fmla="*/ 0 h 122"/>
                  <a:gd name="T2" fmla="*/ 54 w 84"/>
                  <a:gd name="T3" fmla="*/ 66 h 122"/>
                  <a:gd name="T4" fmla="*/ 52 w 84"/>
                  <a:gd name="T5" fmla="*/ 66 h 122"/>
                  <a:gd name="T6" fmla="*/ 54 w 84"/>
                  <a:gd name="T7" fmla="*/ 66 h 122"/>
                  <a:gd name="T8" fmla="*/ 55 w 84"/>
                  <a:gd name="T9" fmla="*/ 72 h 122"/>
                  <a:gd name="T10" fmla="*/ 52 w 84"/>
                  <a:gd name="T11" fmla="*/ 73 h 122"/>
                  <a:gd name="T12" fmla="*/ 52 w 84"/>
                  <a:gd name="T13" fmla="*/ 73 h 122"/>
                  <a:gd name="T14" fmla="*/ 71 w 84"/>
                  <a:gd name="T15" fmla="*/ 86 h 122"/>
                  <a:gd name="T16" fmla="*/ 71 w 84"/>
                  <a:gd name="T17" fmla="*/ 88 h 122"/>
                  <a:gd name="T18" fmla="*/ 69 w 84"/>
                  <a:gd name="T19" fmla="*/ 99 h 122"/>
                  <a:gd name="T20" fmla="*/ 69 w 84"/>
                  <a:gd name="T21" fmla="*/ 101 h 122"/>
                  <a:gd name="T22" fmla="*/ 69 w 84"/>
                  <a:gd name="T23" fmla="*/ 99 h 122"/>
                  <a:gd name="T24" fmla="*/ 82 w 84"/>
                  <a:gd name="T25" fmla="*/ 99 h 122"/>
                  <a:gd name="T26" fmla="*/ 82 w 84"/>
                  <a:gd name="T27" fmla="*/ 99 h 122"/>
                  <a:gd name="T28" fmla="*/ 78 w 84"/>
                  <a:gd name="T29" fmla="*/ 122 h 122"/>
                  <a:gd name="T30" fmla="*/ 78 w 84"/>
                  <a:gd name="T31" fmla="*/ 122 h 122"/>
                  <a:gd name="T32" fmla="*/ 78 w 84"/>
                  <a:gd name="T33" fmla="*/ 122 h 122"/>
                  <a:gd name="T34" fmla="*/ 74 w 84"/>
                  <a:gd name="T35" fmla="*/ 105 h 122"/>
                  <a:gd name="T36" fmla="*/ 74 w 84"/>
                  <a:gd name="T37" fmla="*/ 105 h 122"/>
                  <a:gd name="T38" fmla="*/ 52 w 84"/>
                  <a:gd name="T39" fmla="*/ 80 h 122"/>
                  <a:gd name="T40" fmla="*/ 52 w 84"/>
                  <a:gd name="T41" fmla="*/ 80 h 122"/>
                  <a:gd name="T42" fmla="*/ 55 w 84"/>
                  <a:gd name="T43" fmla="*/ 118 h 122"/>
                  <a:gd name="T44" fmla="*/ 56 w 84"/>
                  <a:gd name="T45" fmla="*/ 118 h 122"/>
                  <a:gd name="T46" fmla="*/ 52 w 84"/>
                  <a:gd name="T47" fmla="*/ 80 h 122"/>
                  <a:gd name="T48" fmla="*/ 55 w 84"/>
                  <a:gd name="T49" fmla="*/ 79 h 122"/>
                  <a:gd name="T50" fmla="*/ 52 w 84"/>
                  <a:gd name="T51" fmla="*/ 80 h 122"/>
                  <a:gd name="T52" fmla="*/ 32 w 84"/>
                  <a:gd name="T53" fmla="*/ 95 h 122"/>
                  <a:gd name="T54" fmla="*/ 42 w 84"/>
                  <a:gd name="T55" fmla="*/ 88 h 122"/>
                  <a:gd name="T56" fmla="*/ 42 w 84"/>
                  <a:gd name="T57" fmla="*/ 88 h 122"/>
                  <a:gd name="T58" fmla="*/ 51 w 84"/>
                  <a:gd name="T59" fmla="*/ 75 h 122"/>
                  <a:gd name="T60" fmla="*/ 46 w 84"/>
                  <a:gd name="T61" fmla="*/ 76 h 122"/>
                  <a:gd name="T62" fmla="*/ 52 w 84"/>
                  <a:gd name="T63" fmla="*/ 66 h 122"/>
                  <a:gd name="T64" fmla="*/ 46 w 84"/>
                  <a:gd name="T65" fmla="*/ 67 h 122"/>
                  <a:gd name="T66" fmla="*/ 35 w 84"/>
                  <a:gd name="T67" fmla="*/ 73 h 122"/>
                  <a:gd name="T68" fmla="*/ 28 w 84"/>
                  <a:gd name="T69" fmla="*/ 75 h 122"/>
                  <a:gd name="T70" fmla="*/ 26 w 84"/>
                  <a:gd name="T71" fmla="*/ 79 h 122"/>
                  <a:gd name="T72" fmla="*/ 29 w 84"/>
                  <a:gd name="T73" fmla="*/ 82 h 122"/>
                  <a:gd name="T74" fmla="*/ 36 w 84"/>
                  <a:gd name="T75" fmla="*/ 79 h 122"/>
                  <a:gd name="T76" fmla="*/ 41 w 84"/>
                  <a:gd name="T77" fmla="*/ 78 h 122"/>
                  <a:gd name="T78" fmla="*/ 49 w 84"/>
                  <a:gd name="T79" fmla="*/ 78 h 122"/>
                  <a:gd name="T80" fmla="*/ 41 w 84"/>
                  <a:gd name="T81" fmla="*/ 99 h 122"/>
                  <a:gd name="T82" fmla="*/ 39 w 84"/>
                  <a:gd name="T83" fmla="*/ 102 h 122"/>
                  <a:gd name="T84" fmla="*/ 41 w 84"/>
                  <a:gd name="T85" fmla="*/ 101 h 122"/>
                  <a:gd name="T86" fmla="*/ 23 w 84"/>
                  <a:gd name="T87" fmla="*/ 90 h 122"/>
                  <a:gd name="T88" fmla="*/ 11 w 84"/>
                  <a:gd name="T89" fmla="*/ 92 h 122"/>
                  <a:gd name="T90" fmla="*/ 5 w 84"/>
                  <a:gd name="T91" fmla="*/ 98 h 122"/>
                  <a:gd name="T92" fmla="*/ 8 w 84"/>
                  <a:gd name="T93" fmla="*/ 103 h 122"/>
                  <a:gd name="T94" fmla="*/ 28 w 84"/>
                  <a:gd name="T95" fmla="*/ 103 h 122"/>
                  <a:gd name="T96" fmla="*/ 28 w 84"/>
                  <a:gd name="T97" fmla="*/ 95 h 122"/>
                  <a:gd name="T98" fmla="*/ 5 w 84"/>
                  <a:gd name="T99" fmla="*/ 85 h 122"/>
                  <a:gd name="T100" fmla="*/ 3 w 84"/>
                  <a:gd name="T101" fmla="*/ 85 h 122"/>
                  <a:gd name="T102" fmla="*/ 25 w 84"/>
                  <a:gd name="T103" fmla="*/ 119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 h="122">
                    <a:moveTo>
                      <a:pt x="0" y="0"/>
                    </a:moveTo>
                    <a:lnTo>
                      <a:pt x="0" y="0"/>
                    </a:lnTo>
                    <a:lnTo>
                      <a:pt x="0" y="0"/>
                    </a:lnTo>
                    <a:lnTo>
                      <a:pt x="0" y="0"/>
                    </a:lnTo>
                    <a:lnTo>
                      <a:pt x="0" y="0"/>
                    </a:lnTo>
                    <a:lnTo>
                      <a:pt x="2" y="0"/>
                    </a:lnTo>
                    <a:lnTo>
                      <a:pt x="0" y="0"/>
                    </a:lnTo>
                    <a:close/>
                    <a:moveTo>
                      <a:pt x="54" y="66"/>
                    </a:moveTo>
                    <a:lnTo>
                      <a:pt x="54" y="66"/>
                    </a:lnTo>
                    <a:lnTo>
                      <a:pt x="54" y="66"/>
                    </a:lnTo>
                    <a:lnTo>
                      <a:pt x="54" y="66"/>
                    </a:lnTo>
                    <a:lnTo>
                      <a:pt x="52" y="66"/>
                    </a:lnTo>
                    <a:lnTo>
                      <a:pt x="52" y="67"/>
                    </a:lnTo>
                    <a:lnTo>
                      <a:pt x="54" y="67"/>
                    </a:lnTo>
                    <a:lnTo>
                      <a:pt x="54" y="66"/>
                    </a:lnTo>
                    <a:lnTo>
                      <a:pt x="54" y="66"/>
                    </a:lnTo>
                    <a:close/>
                    <a:moveTo>
                      <a:pt x="52" y="73"/>
                    </a:moveTo>
                    <a:lnTo>
                      <a:pt x="54" y="72"/>
                    </a:lnTo>
                    <a:lnTo>
                      <a:pt x="54" y="72"/>
                    </a:lnTo>
                    <a:lnTo>
                      <a:pt x="55" y="72"/>
                    </a:lnTo>
                    <a:lnTo>
                      <a:pt x="54" y="73"/>
                    </a:lnTo>
                    <a:lnTo>
                      <a:pt x="54" y="73"/>
                    </a:lnTo>
                    <a:lnTo>
                      <a:pt x="52" y="73"/>
                    </a:lnTo>
                    <a:lnTo>
                      <a:pt x="52" y="73"/>
                    </a:lnTo>
                    <a:close/>
                    <a:moveTo>
                      <a:pt x="52" y="73"/>
                    </a:moveTo>
                    <a:lnTo>
                      <a:pt x="52" y="73"/>
                    </a:lnTo>
                    <a:lnTo>
                      <a:pt x="52" y="73"/>
                    </a:lnTo>
                    <a:lnTo>
                      <a:pt x="52" y="73"/>
                    </a:lnTo>
                    <a:lnTo>
                      <a:pt x="52" y="73"/>
                    </a:lnTo>
                    <a:lnTo>
                      <a:pt x="52" y="73"/>
                    </a:lnTo>
                    <a:close/>
                    <a:moveTo>
                      <a:pt x="69" y="85"/>
                    </a:moveTo>
                    <a:lnTo>
                      <a:pt x="71" y="86"/>
                    </a:lnTo>
                    <a:lnTo>
                      <a:pt x="71" y="86"/>
                    </a:lnTo>
                    <a:lnTo>
                      <a:pt x="71" y="88"/>
                    </a:lnTo>
                    <a:lnTo>
                      <a:pt x="71" y="88"/>
                    </a:lnTo>
                    <a:lnTo>
                      <a:pt x="71" y="88"/>
                    </a:lnTo>
                    <a:lnTo>
                      <a:pt x="71" y="86"/>
                    </a:lnTo>
                    <a:lnTo>
                      <a:pt x="71" y="86"/>
                    </a:lnTo>
                    <a:lnTo>
                      <a:pt x="69" y="85"/>
                    </a:lnTo>
                    <a:close/>
                    <a:moveTo>
                      <a:pt x="69" y="99"/>
                    </a:moveTo>
                    <a:lnTo>
                      <a:pt x="69" y="99"/>
                    </a:lnTo>
                    <a:lnTo>
                      <a:pt x="69" y="99"/>
                    </a:lnTo>
                    <a:lnTo>
                      <a:pt x="69" y="101"/>
                    </a:lnTo>
                    <a:lnTo>
                      <a:pt x="69" y="101"/>
                    </a:lnTo>
                    <a:lnTo>
                      <a:pt x="69" y="101"/>
                    </a:lnTo>
                    <a:lnTo>
                      <a:pt x="71" y="101"/>
                    </a:lnTo>
                    <a:lnTo>
                      <a:pt x="69" y="99"/>
                    </a:lnTo>
                    <a:lnTo>
                      <a:pt x="69" y="99"/>
                    </a:lnTo>
                    <a:close/>
                    <a:moveTo>
                      <a:pt x="82" y="99"/>
                    </a:moveTo>
                    <a:lnTo>
                      <a:pt x="82" y="99"/>
                    </a:lnTo>
                    <a:lnTo>
                      <a:pt x="81" y="99"/>
                    </a:lnTo>
                    <a:lnTo>
                      <a:pt x="82" y="99"/>
                    </a:lnTo>
                    <a:lnTo>
                      <a:pt x="82" y="101"/>
                    </a:lnTo>
                    <a:lnTo>
                      <a:pt x="82" y="101"/>
                    </a:lnTo>
                    <a:lnTo>
                      <a:pt x="84" y="101"/>
                    </a:lnTo>
                    <a:lnTo>
                      <a:pt x="82" y="99"/>
                    </a:lnTo>
                    <a:lnTo>
                      <a:pt x="82" y="99"/>
                    </a:lnTo>
                    <a:close/>
                    <a:moveTo>
                      <a:pt x="78" y="122"/>
                    </a:moveTo>
                    <a:lnTo>
                      <a:pt x="78" y="122"/>
                    </a:lnTo>
                    <a:lnTo>
                      <a:pt x="78" y="122"/>
                    </a:lnTo>
                    <a:lnTo>
                      <a:pt x="78" y="122"/>
                    </a:lnTo>
                    <a:lnTo>
                      <a:pt x="78" y="122"/>
                    </a:lnTo>
                    <a:lnTo>
                      <a:pt x="77" y="122"/>
                    </a:lnTo>
                    <a:lnTo>
                      <a:pt x="78" y="122"/>
                    </a:lnTo>
                    <a:lnTo>
                      <a:pt x="78" y="122"/>
                    </a:lnTo>
                    <a:lnTo>
                      <a:pt x="78" y="122"/>
                    </a:lnTo>
                    <a:lnTo>
                      <a:pt x="78" y="122"/>
                    </a:lnTo>
                    <a:lnTo>
                      <a:pt x="78" y="122"/>
                    </a:lnTo>
                    <a:lnTo>
                      <a:pt x="78" y="122"/>
                    </a:lnTo>
                    <a:close/>
                    <a:moveTo>
                      <a:pt x="74" y="105"/>
                    </a:moveTo>
                    <a:lnTo>
                      <a:pt x="72" y="105"/>
                    </a:lnTo>
                    <a:lnTo>
                      <a:pt x="74" y="105"/>
                    </a:lnTo>
                    <a:lnTo>
                      <a:pt x="74" y="105"/>
                    </a:lnTo>
                    <a:lnTo>
                      <a:pt x="74" y="105"/>
                    </a:lnTo>
                    <a:lnTo>
                      <a:pt x="74" y="105"/>
                    </a:lnTo>
                    <a:lnTo>
                      <a:pt x="74" y="105"/>
                    </a:lnTo>
                    <a:lnTo>
                      <a:pt x="74" y="105"/>
                    </a:lnTo>
                    <a:close/>
                    <a:moveTo>
                      <a:pt x="52" y="79"/>
                    </a:moveTo>
                    <a:lnTo>
                      <a:pt x="52" y="79"/>
                    </a:lnTo>
                    <a:lnTo>
                      <a:pt x="52" y="80"/>
                    </a:lnTo>
                    <a:lnTo>
                      <a:pt x="51" y="80"/>
                    </a:lnTo>
                    <a:lnTo>
                      <a:pt x="51" y="82"/>
                    </a:lnTo>
                    <a:lnTo>
                      <a:pt x="52" y="82"/>
                    </a:lnTo>
                    <a:lnTo>
                      <a:pt x="52" y="80"/>
                    </a:lnTo>
                    <a:lnTo>
                      <a:pt x="52" y="80"/>
                    </a:lnTo>
                    <a:lnTo>
                      <a:pt x="52" y="80"/>
                    </a:lnTo>
                    <a:lnTo>
                      <a:pt x="52" y="79"/>
                    </a:lnTo>
                    <a:close/>
                    <a:moveTo>
                      <a:pt x="55" y="118"/>
                    </a:moveTo>
                    <a:lnTo>
                      <a:pt x="55" y="119"/>
                    </a:lnTo>
                    <a:lnTo>
                      <a:pt x="55" y="119"/>
                    </a:lnTo>
                    <a:lnTo>
                      <a:pt x="56" y="119"/>
                    </a:lnTo>
                    <a:lnTo>
                      <a:pt x="56" y="118"/>
                    </a:lnTo>
                    <a:lnTo>
                      <a:pt x="55" y="118"/>
                    </a:lnTo>
                    <a:close/>
                    <a:moveTo>
                      <a:pt x="55" y="78"/>
                    </a:moveTo>
                    <a:lnTo>
                      <a:pt x="54" y="79"/>
                    </a:lnTo>
                    <a:lnTo>
                      <a:pt x="52" y="80"/>
                    </a:lnTo>
                    <a:lnTo>
                      <a:pt x="52" y="80"/>
                    </a:lnTo>
                    <a:lnTo>
                      <a:pt x="52" y="80"/>
                    </a:lnTo>
                    <a:lnTo>
                      <a:pt x="52" y="82"/>
                    </a:lnTo>
                    <a:lnTo>
                      <a:pt x="55" y="79"/>
                    </a:lnTo>
                    <a:lnTo>
                      <a:pt x="55" y="78"/>
                    </a:lnTo>
                    <a:close/>
                    <a:moveTo>
                      <a:pt x="52" y="80"/>
                    </a:moveTo>
                    <a:lnTo>
                      <a:pt x="52" y="80"/>
                    </a:lnTo>
                    <a:lnTo>
                      <a:pt x="52" y="80"/>
                    </a:lnTo>
                    <a:lnTo>
                      <a:pt x="52" y="80"/>
                    </a:lnTo>
                    <a:close/>
                    <a:moveTo>
                      <a:pt x="31" y="95"/>
                    </a:moveTo>
                    <a:lnTo>
                      <a:pt x="31" y="96"/>
                    </a:lnTo>
                    <a:lnTo>
                      <a:pt x="32" y="95"/>
                    </a:lnTo>
                    <a:lnTo>
                      <a:pt x="32" y="95"/>
                    </a:lnTo>
                    <a:lnTo>
                      <a:pt x="32" y="93"/>
                    </a:lnTo>
                    <a:lnTo>
                      <a:pt x="31" y="95"/>
                    </a:lnTo>
                    <a:close/>
                    <a:moveTo>
                      <a:pt x="42" y="88"/>
                    </a:moveTo>
                    <a:lnTo>
                      <a:pt x="42" y="89"/>
                    </a:lnTo>
                    <a:lnTo>
                      <a:pt x="42" y="89"/>
                    </a:lnTo>
                    <a:lnTo>
                      <a:pt x="42" y="88"/>
                    </a:lnTo>
                    <a:lnTo>
                      <a:pt x="42" y="88"/>
                    </a:lnTo>
                    <a:lnTo>
                      <a:pt x="42" y="88"/>
                    </a:lnTo>
                    <a:close/>
                    <a:moveTo>
                      <a:pt x="51" y="76"/>
                    </a:moveTo>
                    <a:lnTo>
                      <a:pt x="51" y="76"/>
                    </a:lnTo>
                    <a:lnTo>
                      <a:pt x="51" y="75"/>
                    </a:lnTo>
                    <a:lnTo>
                      <a:pt x="51" y="73"/>
                    </a:lnTo>
                    <a:lnTo>
                      <a:pt x="49" y="75"/>
                    </a:lnTo>
                    <a:lnTo>
                      <a:pt x="48" y="75"/>
                    </a:lnTo>
                    <a:lnTo>
                      <a:pt x="46" y="76"/>
                    </a:lnTo>
                    <a:lnTo>
                      <a:pt x="45" y="78"/>
                    </a:lnTo>
                    <a:lnTo>
                      <a:pt x="45" y="75"/>
                    </a:lnTo>
                    <a:lnTo>
                      <a:pt x="48" y="72"/>
                    </a:lnTo>
                    <a:lnTo>
                      <a:pt x="52" y="66"/>
                    </a:lnTo>
                    <a:lnTo>
                      <a:pt x="51" y="67"/>
                    </a:lnTo>
                    <a:lnTo>
                      <a:pt x="49" y="67"/>
                    </a:lnTo>
                    <a:lnTo>
                      <a:pt x="48" y="67"/>
                    </a:lnTo>
                    <a:lnTo>
                      <a:pt x="46" y="67"/>
                    </a:lnTo>
                    <a:lnTo>
                      <a:pt x="44" y="69"/>
                    </a:lnTo>
                    <a:lnTo>
                      <a:pt x="41" y="70"/>
                    </a:lnTo>
                    <a:lnTo>
                      <a:pt x="39" y="72"/>
                    </a:lnTo>
                    <a:lnTo>
                      <a:pt x="35" y="73"/>
                    </a:lnTo>
                    <a:lnTo>
                      <a:pt x="32" y="73"/>
                    </a:lnTo>
                    <a:lnTo>
                      <a:pt x="31" y="76"/>
                    </a:lnTo>
                    <a:lnTo>
                      <a:pt x="29" y="76"/>
                    </a:lnTo>
                    <a:lnTo>
                      <a:pt x="28" y="75"/>
                    </a:lnTo>
                    <a:lnTo>
                      <a:pt x="28" y="76"/>
                    </a:lnTo>
                    <a:lnTo>
                      <a:pt x="26" y="76"/>
                    </a:lnTo>
                    <a:lnTo>
                      <a:pt x="26" y="78"/>
                    </a:lnTo>
                    <a:lnTo>
                      <a:pt x="26" y="79"/>
                    </a:lnTo>
                    <a:lnTo>
                      <a:pt x="28" y="79"/>
                    </a:lnTo>
                    <a:lnTo>
                      <a:pt x="29" y="79"/>
                    </a:lnTo>
                    <a:lnTo>
                      <a:pt x="29" y="80"/>
                    </a:lnTo>
                    <a:lnTo>
                      <a:pt x="29" y="82"/>
                    </a:lnTo>
                    <a:lnTo>
                      <a:pt x="31" y="82"/>
                    </a:lnTo>
                    <a:lnTo>
                      <a:pt x="34" y="80"/>
                    </a:lnTo>
                    <a:lnTo>
                      <a:pt x="35" y="80"/>
                    </a:lnTo>
                    <a:lnTo>
                      <a:pt x="36" y="79"/>
                    </a:lnTo>
                    <a:lnTo>
                      <a:pt x="38" y="78"/>
                    </a:lnTo>
                    <a:lnTo>
                      <a:pt x="39" y="78"/>
                    </a:lnTo>
                    <a:lnTo>
                      <a:pt x="41" y="78"/>
                    </a:lnTo>
                    <a:lnTo>
                      <a:pt x="41" y="78"/>
                    </a:lnTo>
                    <a:lnTo>
                      <a:pt x="44" y="79"/>
                    </a:lnTo>
                    <a:lnTo>
                      <a:pt x="44" y="79"/>
                    </a:lnTo>
                    <a:lnTo>
                      <a:pt x="45" y="79"/>
                    </a:lnTo>
                    <a:lnTo>
                      <a:pt x="49" y="78"/>
                    </a:lnTo>
                    <a:lnTo>
                      <a:pt x="51" y="78"/>
                    </a:lnTo>
                    <a:lnTo>
                      <a:pt x="51" y="76"/>
                    </a:lnTo>
                    <a:close/>
                    <a:moveTo>
                      <a:pt x="41" y="101"/>
                    </a:moveTo>
                    <a:lnTo>
                      <a:pt x="41" y="99"/>
                    </a:lnTo>
                    <a:lnTo>
                      <a:pt x="41" y="101"/>
                    </a:lnTo>
                    <a:lnTo>
                      <a:pt x="39" y="101"/>
                    </a:lnTo>
                    <a:lnTo>
                      <a:pt x="39" y="101"/>
                    </a:lnTo>
                    <a:lnTo>
                      <a:pt x="39" y="102"/>
                    </a:lnTo>
                    <a:lnTo>
                      <a:pt x="41" y="103"/>
                    </a:lnTo>
                    <a:lnTo>
                      <a:pt x="41" y="102"/>
                    </a:lnTo>
                    <a:lnTo>
                      <a:pt x="41" y="101"/>
                    </a:lnTo>
                    <a:lnTo>
                      <a:pt x="41" y="101"/>
                    </a:lnTo>
                    <a:close/>
                    <a:moveTo>
                      <a:pt x="28" y="95"/>
                    </a:moveTo>
                    <a:lnTo>
                      <a:pt x="26" y="93"/>
                    </a:lnTo>
                    <a:lnTo>
                      <a:pt x="25" y="92"/>
                    </a:lnTo>
                    <a:lnTo>
                      <a:pt x="23" y="90"/>
                    </a:lnTo>
                    <a:lnTo>
                      <a:pt x="22" y="89"/>
                    </a:lnTo>
                    <a:lnTo>
                      <a:pt x="19" y="89"/>
                    </a:lnTo>
                    <a:lnTo>
                      <a:pt x="15" y="89"/>
                    </a:lnTo>
                    <a:lnTo>
                      <a:pt x="11" y="92"/>
                    </a:lnTo>
                    <a:lnTo>
                      <a:pt x="8" y="95"/>
                    </a:lnTo>
                    <a:lnTo>
                      <a:pt x="6" y="98"/>
                    </a:lnTo>
                    <a:lnTo>
                      <a:pt x="6" y="98"/>
                    </a:lnTo>
                    <a:lnTo>
                      <a:pt x="5" y="98"/>
                    </a:lnTo>
                    <a:lnTo>
                      <a:pt x="5" y="99"/>
                    </a:lnTo>
                    <a:lnTo>
                      <a:pt x="5" y="101"/>
                    </a:lnTo>
                    <a:lnTo>
                      <a:pt x="6" y="102"/>
                    </a:lnTo>
                    <a:lnTo>
                      <a:pt x="8" y="103"/>
                    </a:lnTo>
                    <a:lnTo>
                      <a:pt x="9" y="103"/>
                    </a:lnTo>
                    <a:lnTo>
                      <a:pt x="15" y="105"/>
                    </a:lnTo>
                    <a:lnTo>
                      <a:pt x="19" y="105"/>
                    </a:lnTo>
                    <a:lnTo>
                      <a:pt x="28" y="103"/>
                    </a:lnTo>
                    <a:lnTo>
                      <a:pt x="29" y="102"/>
                    </a:lnTo>
                    <a:lnTo>
                      <a:pt x="29" y="99"/>
                    </a:lnTo>
                    <a:lnTo>
                      <a:pt x="28" y="96"/>
                    </a:lnTo>
                    <a:lnTo>
                      <a:pt x="28" y="95"/>
                    </a:lnTo>
                    <a:close/>
                    <a:moveTo>
                      <a:pt x="3" y="85"/>
                    </a:moveTo>
                    <a:lnTo>
                      <a:pt x="3" y="85"/>
                    </a:lnTo>
                    <a:lnTo>
                      <a:pt x="3" y="85"/>
                    </a:lnTo>
                    <a:lnTo>
                      <a:pt x="5" y="85"/>
                    </a:lnTo>
                    <a:lnTo>
                      <a:pt x="5" y="85"/>
                    </a:lnTo>
                    <a:lnTo>
                      <a:pt x="5" y="83"/>
                    </a:lnTo>
                    <a:lnTo>
                      <a:pt x="5" y="83"/>
                    </a:lnTo>
                    <a:lnTo>
                      <a:pt x="3" y="85"/>
                    </a:lnTo>
                    <a:close/>
                    <a:moveTo>
                      <a:pt x="22" y="119"/>
                    </a:moveTo>
                    <a:lnTo>
                      <a:pt x="16" y="122"/>
                    </a:lnTo>
                    <a:lnTo>
                      <a:pt x="19" y="122"/>
                    </a:lnTo>
                    <a:lnTo>
                      <a:pt x="25" y="119"/>
                    </a:lnTo>
                    <a:lnTo>
                      <a:pt x="26" y="119"/>
                    </a:lnTo>
                    <a:lnTo>
                      <a:pt x="23" y="118"/>
                    </a:lnTo>
                    <a:lnTo>
                      <a:pt x="22" y="11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69" name="Freeform 264">
                <a:extLst>
                  <a:ext uri="{FF2B5EF4-FFF2-40B4-BE49-F238E27FC236}">
                    <a16:creationId xmlns:a16="http://schemas.microsoft.com/office/drawing/2014/main" id="{983D80C9-6DDB-FB43-5E4B-3D45EDF34984}"/>
                  </a:ext>
                </a:extLst>
              </p:cNvPr>
              <p:cNvSpPr>
                <a:spLocks noEditPoints="1"/>
              </p:cNvSpPr>
              <p:nvPr/>
            </p:nvSpPr>
            <p:spPr bwMode="auto">
              <a:xfrm>
                <a:off x="9587597" y="4278713"/>
                <a:ext cx="283408" cy="134475"/>
              </a:xfrm>
              <a:custGeom>
                <a:avLst/>
                <a:gdLst>
                  <a:gd name="T0" fmla="*/ 181 w 196"/>
                  <a:gd name="T1" fmla="*/ 75 h 93"/>
                  <a:gd name="T2" fmla="*/ 195 w 196"/>
                  <a:gd name="T3" fmla="*/ 89 h 93"/>
                  <a:gd name="T4" fmla="*/ 196 w 196"/>
                  <a:gd name="T5" fmla="*/ 91 h 93"/>
                  <a:gd name="T6" fmla="*/ 116 w 196"/>
                  <a:gd name="T7" fmla="*/ 73 h 93"/>
                  <a:gd name="T8" fmla="*/ 109 w 196"/>
                  <a:gd name="T9" fmla="*/ 69 h 93"/>
                  <a:gd name="T10" fmla="*/ 99 w 196"/>
                  <a:gd name="T11" fmla="*/ 66 h 93"/>
                  <a:gd name="T12" fmla="*/ 100 w 196"/>
                  <a:gd name="T13" fmla="*/ 68 h 93"/>
                  <a:gd name="T14" fmla="*/ 109 w 196"/>
                  <a:gd name="T15" fmla="*/ 73 h 93"/>
                  <a:gd name="T16" fmla="*/ 99 w 196"/>
                  <a:gd name="T17" fmla="*/ 49 h 93"/>
                  <a:gd name="T18" fmla="*/ 100 w 196"/>
                  <a:gd name="T19" fmla="*/ 56 h 93"/>
                  <a:gd name="T20" fmla="*/ 33 w 196"/>
                  <a:gd name="T21" fmla="*/ 39 h 93"/>
                  <a:gd name="T22" fmla="*/ 33 w 196"/>
                  <a:gd name="T23" fmla="*/ 37 h 93"/>
                  <a:gd name="T24" fmla="*/ 24 w 196"/>
                  <a:gd name="T25" fmla="*/ 27 h 93"/>
                  <a:gd name="T26" fmla="*/ 24 w 196"/>
                  <a:gd name="T27" fmla="*/ 23 h 93"/>
                  <a:gd name="T28" fmla="*/ 27 w 196"/>
                  <a:gd name="T29" fmla="*/ 36 h 93"/>
                  <a:gd name="T30" fmla="*/ 38 w 196"/>
                  <a:gd name="T31" fmla="*/ 33 h 93"/>
                  <a:gd name="T32" fmla="*/ 33 w 196"/>
                  <a:gd name="T33" fmla="*/ 33 h 93"/>
                  <a:gd name="T34" fmla="*/ 30 w 196"/>
                  <a:gd name="T35" fmla="*/ 30 h 93"/>
                  <a:gd name="T36" fmla="*/ 28 w 196"/>
                  <a:gd name="T37" fmla="*/ 26 h 93"/>
                  <a:gd name="T38" fmla="*/ 33 w 196"/>
                  <a:gd name="T39" fmla="*/ 27 h 93"/>
                  <a:gd name="T40" fmla="*/ 37 w 196"/>
                  <a:gd name="T41" fmla="*/ 32 h 93"/>
                  <a:gd name="T42" fmla="*/ 40 w 196"/>
                  <a:gd name="T43" fmla="*/ 37 h 93"/>
                  <a:gd name="T44" fmla="*/ 41 w 196"/>
                  <a:gd name="T45" fmla="*/ 34 h 93"/>
                  <a:gd name="T46" fmla="*/ 14 w 196"/>
                  <a:gd name="T47" fmla="*/ 3 h 93"/>
                  <a:gd name="T48" fmla="*/ 24 w 196"/>
                  <a:gd name="T49" fmla="*/ 6 h 93"/>
                  <a:gd name="T50" fmla="*/ 31 w 196"/>
                  <a:gd name="T51" fmla="*/ 13 h 93"/>
                  <a:gd name="T52" fmla="*/ 44 w 196"/>
                  <a:gd name="T53" fmla="*/ 37 h 93"/>
                  <a:gd name="T54" fmla="*/ 44 w 196"/>
                  <a:gd name="T55" fmla="*/ 37 h 93"/>
                  <a:gd name="T56" fmla="*/ 17 w 196"/>
                  <a:gd name="T57" fmla="*/ 24 h 93"/>
                  <a:gd name="T58" fmla="*/ 17 w 196"/>
                  <a:gd name="T59" fmla="*/ 19 h 93"/>
                  <a:gd name="T60" fmla="*/ 14 w 196"/>
                  <a:gd name="T61" fmla="*/ 26 h 93"/>
                  <a:gd name="T62" fmla="*/ 89 w 196"/>
                  <a:gd name="T63" fmla="*/ 56 h 93"/>
                  <a:gd name="T64" fmla="*/ 70 w 196"/>
                  <a:gd name="T65" fmla="*/ 55 h 93"/>
                  <a:gd name="T66" fmla="*/ 73 w 196"/>
                  <a:gd name="T67" fmla="*/ 49 h 93"/>
                  <a:gd name="T68" fmla="*/ 80 w 196"/>
                  <a:gd name="T69" fmla="*/ 50 h 93"/>
                  <a:gd name="T70" fmla="*/ 69 w 196"/>
                  <a:gd name="T71" fmla="*/ 34 h 93"/>
                  <a:gd name="T72" fmla="*/ 69 w 196"/>
                  <a:gd name="T73" fmla="*/ 32 h 93"/>
                  <a:gd name="T74" fmla="*/ 84 w 196"/>
                  <a:gd name="T75" fmla="*/ 93 h 93"/>
                  <a:gd name="T76" fmla="*/ 76 w 196"/>
                  <a:gd name="T77" fmla="*/ 88 h 93"/>
                  <a:gd name="T78" fmla="*/ 77 w 196"/>
                  <a:gd name="T79" fmla="*/ 45 h 93"/>
                  <a:gd name="T80" fmla="*/ 82 w 196"/>
                  <a:gd name="T81" fmla="*/ 46 h 93"/>
                  <a:gd name="T82" fmla="*/ 59 w 196"/>
                  <a:gd name="T83" fmla="*/ 45 h 93"/>
                  <a:gd name="T84" fmla="*/ 69 w 196"/>
                  <a:gd name="T85" fmla="*/ 32 h 93"/>
                  <a:gd name="T86" fmla="*/ 51 w 196"/>
                  <a:gd name="T87" fmla="*/ 22 h 93"/>
                  <a:gd name="T88" fmla="*/ 70 w 196"/>
                  <a:gd name="T89" fmla="*/ 29 h 93"/>
                  <a:gd name="T90" fmla="*/ 69 w 196"/>
                  <a:gd name="T91" fmla="*/ 32 h 93"/>
                  <a:gd name="T92" fmla="*/ 90 w 196"/>
                  <a:gd name="T93" fmla="*/ 46 h 93"/>
                  <a:gd name="T94" fmla="*/ 87 w 196"/>
                  <a:gd name="T95" fmla="*/ 34 h 93"/>
                  <a:gd name="T96" fmla="*/ 87 w 196"/>
                  <a:gd name="T97" fmla="*/ 30 h 93"/>
                  <a:gd name="T98" fmla="*/ 92 w 196"/>
                  <a:gd name="T99" fmla="*/ 39 h 93"/>
                  <a:gd name="T100" fmla="*/ 99 w 196"/>
                  <a:gd name="T101" fmla="*/ 50 h 93"/>
                  <a:gd name="T102" fmla="*/ 0 w 196"/>
                  <a:gd name="T103" fmla="*/ 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6" h="93">
                    <a:moveTo>
                      <a:pt x="179" y="73"/>
                    </a:moveTo>
                    <a:lnTo>
                      <a:pt x="182" y="72"/>
                    </a:lnTo>
                    <a:lnTo>
                      <a:pt x="183" y="73"/>
                    </a:lnTo>
                    <a:lnTo>
                      <a:pt x="182" y="75"/>
                    </a:lnTo>
                    <a:lnTo>
                      <a:pt x="181" y="75"/>
                    </a:lnTo>
                    <a:lnTo>
                      <a:pt x="178" y="75"/>
                    </a:lnTo>
                    <a:lnTo>
                      <a:pt x="176" y="75"/>
                    </a:lnTo>
                    <a:lnTo>
                      <a:pt x="178" y="73"/>
                    </a:lnTo>
                    <a:lnTo>
                      <a:pt x="179" y="73"/>
                    </a:lnTo>
                    <a:close/>
                    <a:moveTo>
                      <a:pt x="195" y="89"/>
                    </a:moveTo>
                    <a:lnTo>
                      <a:pt x="194" y="89"/>
                    </a:lnTo>
                    <a:lnTo>
                      <a:pt x="194" y="91"/>
                    </a:lnTo>
                    <a:lnTo>
                      <a:pt x="195" y="91"/>
                    </a:lnTo>
                    <a:lnTo>
                      <a:pt x="196" y="91"/>
                    </a:lnTo>
                    <a:lnTo>
                      <a:pt x="196" y="91"/>
                    </a:lnTo>
                    <a:lnTo>
                      <a:pt x="196" y="89"/>
                    </a:lnTo>
                    <a:lnTo>
                      <a:pt x="195" y="89"/>
                    </a:lnTo>
                    <a:lnTo>
                      <a:pt x="195" y="89"/>
                    </a:lnTo>
                    <a:lnTo>
                      <a:pt x="195" y="89"/>
                    </a:lnTo>
                    <a:close/>
                    <a:moveTo>
                      <a:pt x="116" y="73"/>
                    </a:moveTo>
                    <a:lnTo>
                      <a:pt x="115" y="70"/>
                    </a:lnTo>
                    <a:lnTo>
                      <a:pt x="113" y="69"/>
                    </a:lnTo>
                    <a:lnTo>
                      <a:pt x="112" y="69"/>
                    </a:lnTo>
                    <a:lnTo>
                      <a:pt x="110" y="69"/>
                    </a:lnTo>
                    <a:lnTo>
                      <a:pt x="109" y="69"/>
                    </a:lnTo>
                    <a:lnTo>
                      <a:pt x="107" y="69"/>
                    </a:lnTo>
                    <a:lnTo>
                      <a:pt x="102" y="65"/>
                    </a:lnTo>
                    <a:lnTo>
                      <a:pt x="99" y="65"/>
                    </a:lnTo>
                    <a:lnTo>
                      <a:pt x="97" y="66"/>
                    </a:lnTo>
                    <a:lnTo>
                      <a:pt x="99" y="66"/>
                    </a:lnTo>
                    <a:lnTo>
                      <a:pt x="99" y="66"/>
                    </a:lnTo>
                    <a:lnTo>
                      <a:pt x="99" y="66"/>
                    </a:lnTo>
                    <a:lnTo>
                      <a:pt x="100" y="66"/>
                    </a:lnTo>
                    <a:lnTo>
                      <a:pt x="100" y="68"/>
                    </a:lnTo>
                    <a:lnTo>
                      <a:pt x="100" y="68"/>
                    </a:lnTo>
                    <a:lnTo>
                      <a:pt x="100" y="68"/>
                    </a:lnTo>
                    <a:lnTo>
                      <a:pt x="103" y="70"/>
                    </a:lnTo>
                    <a:lnTo>
                      <a:pt x="104" y="72"/>
                    </a:lnTo>
                    <a:lnTo>
                      <a:pt x="106" y="73"/>
                    </a:lnTo>
                    <a:lnTo>
                      <a:pt x="109" y="73"/>
                    </a:lnTo>
                    <a:lnTo>
                      <a:pt x="110" y="75"/>
                    </a:lnTo>
                    <a:lnTo>
                      <a:pt x="116" y="75"/>
                    </a:lnTo>
                    <a:lnTo>
                      <a:pt x="116" y="73"/>
                    </a:lnTo>
                    <a:close/>
                    <a:moveTo>
                      <a:pt x="100" y="52"/>
                    </a:moveTo>
                    <a:lnTo>
                      <a:pt x="99" y="49"/>
                    </a:lnTo>
                    <a:lnTo>
                      <a:pt x="100" y="50"/>
                    </a:lnTo>
                    <a:lnTo>
                      <a:pt x="102" y="52"/>
                    </a:lnTo>
                    <a:lnTo>
                      <a:pt x="102" y="53"/>
                    </a:lnTo>
                    <a:lnTo>
                      <a:pt x="103" y="56"/>
                    </a:lnTo>
                    <a:lnTo>
                      <a:pt x="100" y="56"/>
                    </a:lnTo>
                    <a:lnTo>
                      <a:pt x="100" y="53"/>
                    </a:lnTo>
                    <a:lnTo>
                      <a:pt x="100" y="52"/>
                    </a:lnTo>
                    <a:close/>
                    <a:moveTo>
                      <a:pt x="33" y="37"/>
                    </a:moveTo>
                    <a:lnTo>
                      <a:pt x="34" y="39"/>
                    </a:lnTo>
                    <a:lnTo>
                      <a:pt x="33" y="39"/>
                    </a:lnTo>
                    <a:lnTo>
                      <a:pt x="31" y="39"/>
                    </a:lnTo>
                    <a:lnTo>
                      <a:pt x="31" y="37"/>
                    </a:lnTo>
                    <a:lnTo>
                      <a:pt x="30" y="37"/>
                    </a:lnTo>
                    <a:lnTo>
                      <a:pt x="31" y="37"/>
                    </a:lnTo>
                    <a:lnTo>
                      <a:pt x="33" y="37"/>
                    </a:lnTo>
                    <a:lnTo>
                      <a:pt x="33" y="37"/>
                    </a:lnTo>
                    <a:close/>
                    <a:moveTo>
                      <a:pt x="24" y="23"/>
                    </a:moveTo>
                    <a:lnTo>
                      <a:pt x="25" y="24"/>
                    </a:lnTo>
                    <a:lnTo>
                      <a:pt x="25" y="26"/>
                    </a:lnTo>
                    <a:lnTo>
                      <a:pt x="24" y="27"/>
                    </a:lnTo>
                    <a:lnTo>
                      <a:pt x="23" y="26"/>
                    </a:lnTo>
                    <a:lnTo>
                      <a:pt x="21" y="24"/>
                    </a:lnTo>
                    <a:lnTo>
                      <a:pt x="23" y="23"/>
                    </a:lnTo>
                    <a:lnTo>
                      <a:pt x="23" y="23"/>
                    </a:lnTo>
                    <a:lnTo>
                      <a:pt x="24" y="23"/>
                    </a:lnTo>
                    <a:close/>
                    <a:moveTo>
                      <a:pt x="28" y="36"/>
                    </a:moveTo>
                    <a:lnTo>
                      <a:pt x="28" y="37"/>
                    </a:lnTo>
                    <a:lnTo>
                      <a:pt x="28" y="37"/>
                    </a:lnTo>
                    <a:lnTo>
                      <a:pt x="27" y="36"/>
                    </a:lnTo>
                    <a:lnTo>
                      <a:pt x="27" y="36"/>
                    </a:lnTo>
                    <a:lnTo>
                      <a:pt x="25" y="34"/>
                    </a:lnTo>
                    <a:lnTo>
                      <a:pt x="28" y="32"/>
                    </a:lnTo>
                    <a:lnTo>
                      <a:pt x="28" y="33"/>
                    </a:lnTo>
                    <a:lnTo>
                      <a:pt x="28" y="36"/>
                    </a:lnTo>
                    <a:close/>
                    <a:moveTo>
                      <a:pt x="38" y="33"/>
                    </a:moveTo>
                    <a:lnTo>
                      <a:pt x="37" y="34"/>
                    </a:lnTo>
                    <a:lnTo>
                      <a:pt x="37" y="36"/>
                    </a:lnTo>
                    <a:lnTo>
                      <a:pt x="36" y="34"/>
                    </a:lnTo>
                    <a:lnTo>
                      <a:pt x="34" y="33"/>
                    </a:lnTo>
                    <a:lnTo>
                      <a:pt x="33" y="33"/>
                    </a:lnTo>
                    <a:lnTo>
                      <a:pt x="33" y="32"/>
                    </a:lnTo>
                    <a:lnTo>
                      <a:pt x="33" y="32"/>
                    </a:lnTo>
                    <a:lnTo>
                      <a:pt x="31" y="30"/>
                    </a:lnTo>
                    <a:lnTo>
                      <a:pt x="31" y="30"/>
                    </a:lnTo>
                    <a:lnTo>
                      <a:pt x="30" y="30"/>
                    </a:lnTo>
                    <a:lnTo>
                      <a:pt x="28" y="30"/>
                    </a:lnTo>
                    <a:lnTo>
                      <a:pt x="27" y="30"/>
                    </a:lnTo>
                    <a:lnTo>
                      <a:pt x="25" y="29"/>
                    </a:lnTo>
                    <a:lnTo>
                      <a:pt x="27" y="27"/>
                    </a:lnTo>
                    <a:lnTo>
                      <a:pt x="28" y="26"/>
                    </a:lnTo>
                    <a:lnTo>
                      <a:pt x="30" y="24"/>
                    </a:lnTo>
                    <a:lnTo>
                      <a:pt x="31" y="24"/>
                    </a:lnTo>
                    <a:lnTo>
                      <a:pt x="33" y="24"/>
                    </a:lnTo>
                    <a:lnTo>
                      <a:pt x="33" y="26"/>
                    </a:lnTo>
                    <a:lnTo>
                      <a:pt x="33" y="27"/>
                    </a:lnTo>
                    <a:lnTo>
                      <a:pt x="33" y="29"/>
                    </a:lnTo>
                    <a:lnTo>
                      <a:pt x="34" y="29"/>
                    </a:lnTo>
                    <a:lnTo>
                      <a:pt x="36" y="30"/>
                    </a:lnTo>
                    <a:lnTo>
                      <a:pt x="37" y="30"/>
                    </a:lnTo>
                    <a:lnTo>
                      <a:pt x="37" y="32"/>
                    </a:lnTo>
                    <a:lnTo>
                      <a:pt x="38" y="33"/>
                    </a:lnTo>
                    <a:close/>
                    <a:moveTo>
                      <a:pt x="43" y="34"/>
                    </a:moveTo>
                    <a:lnTo>
                      <a:pt x="41" y="36"/>
                    </a:lnTo>
                    <a:lnTo>
                      <a:pt x="41" y="37"/>
                    </a:lnTo>
                    <a:lnTo>
                      <a:pt x="40" y="37"/>
                    </a:lnTo>
                    <a:lnTo>
                      <a:pt x="38" y="37"/>
                    </a:lnTo>
                    <a:lnTo>
                      <a:pt x="37" y="37"/>
                    </a:lnTo>
                    <a:lnTo>
                      <a:pt x="38" y="36"/>
                    </a:lnTo>
                    <a:lnTo>
                      <a:pt x="40" y="34"/>
                    </a:lnTo>
                    <a:lnTo>
                      <a:pt x="41" y="34"/>
                    </a:lnTo>
                    <a:lnTo>
                      <a:pt x="43" y="34"/>
                    </a:lnTo>
                    <a:close/>
                    <a:moveTo>
                      <a:pt x="23" y="11"/>
                    </a:moveTo>
                    <a:lnTo>
                      <a:pt x="21" y="10"/>
                    </a:lnTo>
                    <a:lnTo>
                      <a:pt x="15" y="6"/>
                    </a:lnTo>
                    <a:lnTo>
                      <a:pt x="14" y="3"/>
                    </a:lnTo>
                    <a:lnTo>
                      <a:pt x="13" y="0"/>
                    </a:lnTo>
                    <a:lnTo>
                      <a:pt x="15" y="1"/>
                    </a:lnTo>
                    <a:lnTo>
                      <a:pt x="18" y="3"/>
                    </a:lnTo>
                    <a:lnTo>
                      <a:pt x="21" y="4"/>
                    </a:lnTo>
                    <a:lnTo>
                      <a:pt x="24" y="6"/>
                    </a:lnTo>
                    <a:lnTo>
                      <a:pt x="25" y="7"/>
                    </a:lnTo>
                    <a:lnTo>
                      <a:pt x="27" y="10"/>
                    </a:lnTo>
                    <a:lnTo>
                      <a:pt x="28" y="11"/>
                    </a:lnTo>
                    <a:lnTo>
                      <a:pt x="28" y="13"/>
                    </a:lnTo>
                    <a:lnTo>
                      <a:pt x="31" y="13"/>
                    </a:lnTo>
                    <a:lnTo>
                      <a:pt x="31" y="13"/>
                    </a:lnTo>
                    <a:lnTo>
                      <a:pt x="30" y="14"/>
                    </a:lnTo>
                    <a:lnTo>
                      <a:pt x="27" y="13"/>
                    </a:lnTo>
                    <a:lnTo>
                      <a:pt x="23" y="11"/>
                    </a:lnTo>
                    <a:close/>
                    <a:moveTo>
                      <a:pt x="44" y="37"/>
                    </a:moveTo>
                    <a:lnTo>
                      <a:pt x="44" y="39"/>
                    </a:lnTo>
                    <a:lnTo>
                      <a:pt x="44" y="39"/>
                    </a:lnTo>
                    <a:lnTo>
                      <a:pt x="43" y="39"/>
                    </a:lnTo>
                    <a:lnTo>
                      <a:pt x="43" y="39"/>
                    </a:lnTo>
                    <a:lnTo>
                      <a:pt x="44" y="37"/>
                    </a:lnTo>
                    <a:lnTo>
                      <a:pt x="44" y="37"/>
                    </a:lnTo>
                    <a:close/>
                    <a:moveTo>
                      <a:pt x="17" y="19"/>
                    </a:moveTo>
                    <a:lnTo>
                      <a:pt x="18" y="20"/>
                    </a:lnTo>
                    <a:lnTo>
                      <a:pt x="18" y="22"/>
                    </a:lnTo>
                    <a:lnTo>
                      <a:pt x="17" y="24"/>
                    </a:lnTo>
                    <a:lnTo>
                      <a:pt x="14" y="20"/>
                    </a:lnTo>
                    <a:lnTo>
                      <a:pt x="14" y="19"/>
                    </a:lnTo>
                    <a:lnTo>
                      <a:pt x="14" y="17"/>
                    </a:lnTo>
                    <a:lnTo>
                      <a:pt x="15" y="19"/>
                    </a:lnTo>
                    <a:lnTo>
                      <a:pt x="17" y="19"/>
                    </a:lnTo>
                    <a:close/>
                    <a:moveTo>
                      <a:pt x="15" y="26"/>
                    </a:moveTo>
                    <a:lnTo>
                      <a:pt x="15" y="26"/>
                    </a:lnTo>
                    <a:lnTo>
                      <a:pt x="15" y="27"/>
                    </a:lnTo>
                    <a:lnTo>
                      <a:pt x="15" y="29"/>
                    </a:lnTo>
                    <a:lnTo>
                      <a:pt x="14" y="26"/>
                    </a:lnTo>
                    <a:lnTo>
                      <a:pt x="14" y="24"/>
                    </a:lnTo>
                    <a:lnTo>
                      <a:pt x="14" y="24"/>
                    </a:lnTo>
                    <a:lnTo>
                      <a:pt x="14" y="24"/>
                    </a:lnTo>
                    <a:lnTo>
                      <a:pt x="15" y="26"/>
                    </a:lnTo>
                    <a:close/>
                    <a:moveTo>
                      <a:pt x="89" y="56"/>
                    </a:moveTo>
                    <a:lnTo>
                      <a:pt x="89" y="57"/>
                    </a:lnTo>
                    <a:lnTo>
                      <a:pt x="87" y="59"/>
                    </a:lnTo>
                    <a:lnTo>
                      <a:pt x="83" y="59"/>
                    </a:lnTo>
                    <a:lnTo>
                      <a:pt x="73" y="56"/>
                    </a:lnTo>
                    <a:lnTo>
                      <a:pt x="70" y="55"/>
                    </a:lnTo>
                    <a:lnTo>
                      <a:pt x="69" y="52"/>
                    </a:lnTo>
                    <a:lnTo>
                      <a:pt x="69" y="49"/>
                    </a:lnTo>
                    <a:lnTo>
                      <a:pt x="69" y="47"/>
                    </a:lnTo>
                    <a:lnTo>
                      <a:pt x="70" y="47"/>
                    </a:lnTo>
                    <a:lnTo>
                      <a:pt x="73" y="49"/>
                    </a:lnTo>
                    <a:lnTo>
                      <a:pt x="74" y="50"/>
                    </a:lnTo>
                    <a:lnTo>
                      <a:pt x="76" y="50"/>
                    </a:lnTo>
                    <a:lnTo>
                      <a:pt x="76" y="50"/>
                    </a:lnTo>
                    <a:lnTo>
                      <a:pt x="79" y="50"/>
                    </a:lnTo>
                    <a:lnTo>
                      <a:pt x="80" y="50"/>
                    </a:lnTo>
                    <a:lnTo>
                      <a:pt x="82" y="52"/>
                    </a:lnTo>
                    <a:lnTo>
                      <a:pt x="86" y="53"/>
                    </a:lnTo>
                    <a:lnTo>
                      <a:pt x="89" y="56"/>
                    </a:lnTo>
                    <a:close/>
                    <a:moveTo>
                      <a:pt x="69" y="34"/>
                    </a:moveTo>
                    <a:lnTo>
                      <a:pt x="69" y="34"/>
                    </a:lnTo>
                    <a:lnTo>
                      <a:pt x="67" y="33"/>
                    </a:lnTo>
                    <a:lnTo>
                      <a:pt x="67" y="33"/>
                    </a:lnTo>
                    <a:lnTo>
                      <a:pt x="67" y="32"/>
                    </a:lnTo>
                    <a:lnTo>
                      <a:pt x="69" y="32"/>
                    </a:lnTo>
                    <a:lnTo>
                      <a:pt x="69" y="32"/>
                    </a:lnTo>
                    <a:lnTo>
                      <a:pt x="69" y="33"/>
                    </a:lnTo>
                    <a:lnTo>
                      <a:pt x="70" y="34"/>
                    </a:lnTo>
                    <a:lnTo>
                      <a:pt x="69" y="34"/>
                    </a:lnTo>
                    <a:close/>
                    <a:moveTo>
                      <a:pt x="83" y="91"/>
                    </a:moveTo>
                    <a:lnTo>
                      <a:pt x="84" y="93"/>
                    </a:lnTo>
                    <a:lnTo>
                      <a:pt x="83" y="93"/>
                    </a:lnTo>
                    <a:lnTo>
                      <a:pt x="80" y="92"/>
                    </a:lnTo>
                    <a:lnTo>
                      <a:pt x="77" y="89"/>
                    </a:lnTo>
                    <a:lnTo>
                      <a:pt x="74" y="88"/>
                    </a:lnTo>
                    <a:lnTo>
                      <a:pt x="76" y="88"/>
                    </a:lnTo>
                    <a:lnTo>
                      <a:pt x="80" y="89"/>
                    </a:lnTo>
                    <a:lnTo>
                      <a:pt x="83" y="91"/>
                    </a:lnTo>
                    <a:close/>
                    <a:moveTo>
                      <a:pt x="80" y="46"/>
                    </a:moveTo>
                    <a:lnTo>
                      <a:pt x="79" y="45"/>
                    </a:lnTo>
                    <a:lnTo>
                      <a:pt x="77" y="45"/>
                    </a:lnTo>
                    <a:lnTo>
                      <a:pt x="77" y="43"/>
                    </a:lnTo>
                    <a:lnTo>
                      <a:pt x="79" y="43"/>
                    </a:lnTo>
                    <a:lnTo>
                      <a:pt x="80" y="45"/>
                    </a:lnTo>
                    <a:lnTo>
                      <a:pt x="82" y="45"/>
                    </a:lnTo>
                    <a:lnTo>
                      <a:pt x="82" y="46"/>
                    </a:lnTo>
                    <a:lnTo>
                      <a:pt x="80" y="46"/>
                    </a:lnTo>
                    <a:close/>
                    <a:moveTo>
                      <a:pt x="60" y="43"/>
                    </a:moveTo>
                    <a:lnTo>
                      <a:pt x="61" y="43"/>
                    </a:lnTo>
                    <a:lnTo>
                      <a:pt x="60" y="45"/>
                    </a:lnTo>
                    <a:lnTo>
                      <a:pt x="59" y="45"/>
                    </a:lnTo>
                    <a:lnTo>
                      <a:pt x="60" y="43"/>
                    </a:lnTo>
                    <a:close/>
                    <a:moveTo>
                      <a:pt x="69" y="32"/>
                    </a:moveTo>
                    <a:lnTo>
                      <a:pt x="69" y="32"/>
                    </a:lnTo>
                    <a:lnTo>
                      <a:pt x="69" y="32"/>
                    </a:lnTo>
                    <a:lnTo>
                      <a:pt x="69" y="32"/>
                    </a:lnTo>
                    <a:close/>
                    <a:moveTo>
                      <a:pt x="69" y="32"/>
                    </a:moveTo>
                    <a:lnTo>
                      <a:pt x="69" y="32"/>
                    </a:lnTo>
                    <a:lnTo>
                      <a:pt x="54" y="23"/>
                    </a:lnTo>
                    <a:lnTo>
                      <a:pt x="53" y="23"/>
                    </a:lnTo>
                    <a:lnTo>
                      <a:pt x="51" y="22"/>
                    </a:lnTo>
                    <a:lnTo>
                      <a:pt x="48" y="19"/>
                    </a:lnTo>
                    <a:lnTo>
                      <a:pt x="48" y="17"/>
                    </a:lnTo>
                    <a:lnTo>
                      <a:pt x="51" y="19"/>
                    </a:lnTo>
                    <a:lnTo>
                      <a:pt x="69" y="27"/>
                    </a:lnTo>
                    <a:lnTo>
                      <a:pt x="70" y="29"/>
                    </a:lnTo>
                    <a:lnTo>
                      <a:pt x="71" y="30"/>
                    </a:lnTo>
                    <a:lnTo>
                      <a:pt x="71" y="32"/>
                    </a:lnTo>
                    <a:lnTo>
                      <a:pt x="71" y="33"/>
                    </a:lnTo>
                    <a:lnTo>
                      <a:pt x="73" y="34"/>
                    </a:lnTo>
                    <a:lnTo>
                      <a:pt x="69" y="32"/>
                    </a:lnTo>
                    <a:lnTo>
                      <a:pt x="69" y="32"/>
                    </a:lnTo>
                    <a:close/>
                    <a:moveTo>
                      <a:pt x="99" y="53"/>
                    </a:moveTo>
                    <a:lnTo>
                      <a:pt x="97" y="52"/>
                    </a:lnTo>
                    <a:lnTo>
                      <a:pt x="93" y="47"/>
                    </a:lnTo>
                    <a:lnTo>
                      <a:pt x="90" y="46"/>
                    </a:lnTo>
                    <a:lnTo>
                      <a:pt x="89" y="42"/>
                    </a:lnTo>
                    <a:lnTo>
                      <a:pt x="87" y="39"/>
                    </a:lnTo>
                    <a:lnTo>
                      <a:pt x="87" y="36"/>
                    </a:lnTo>
                    <a:lnTo>
                      <a:pt x="87" y="36"/>
                    </a:lnTo>
                    <a:lnTo>
                      <a:pt x="87" y="34"/>
                    </a:lnTo>
                    <a:lnTo>
                      <a:pt x="87" y="33"/>
                    </a:lnTo>
                    <a:lnTo>
                      <a:pt x="87" y="33"/>
                    </a:lnTo>
                    <a:lnTo>
                      <a:pt x="86" y="32"/>
                    </a:lnTo>
                    <a:lnTo>
                      <a:pt x="86" y="30"/>
                    </a:lnTo>
                    <a:lnTo>
                      <a:pt x="87" y="30"/>
                    </a:lnTo>
                    <a:lnTo>
                      <a:pt x="89" y="32"/>
                    </a:lnTo>
                    <a:lnTo>
                      <a:pt x="90" y="33"/>
                    </a:lnTo>
                    <a:lnTo>
                      <a:pt x="92" y="34"/>
                    </a:lnTo>
                    <a:lnTo>
                      <a:pt x="92" y="36"/>
                    </a:lnTo>
                    <a:lnTo>
                      <a:pt x="92" y="39"/>
                    </a:lnTo>
                    <a:lnTo>
                      <a:pt x="93" y="40"/>
                    </a:lnTo>
                    <a:lnTo>
                      <a:pt x="93" y="42"/>
                    </a:lnTo>
                    <a:lnTo>
                      <a:pt x="96" y="45"/>
                    </a:lnTo>
                    <a:lnTo>
                      <a:pt x="97" y="46"/>
                    </a:lnTo>
                    <a:lnTo>
                      <a:pt x="99" y="50"/>
                    </a:lnTo>
                    <a:lnTo>
                      <a:pt x="99" y="52"/>
                    </a:lnTo>
                    <a:lnTo>
                      <a:pt x="99" y="53"/>
                    </a:lnTo>
                    <a:close/>
                    <a:moveTo>
                      <a:pt x="1" y="7"/>
                    </a:moveTo>
                    <a:lnTo>
                      <a:pt x="1" y="9"/>
                    </a:lnTo>
                    <a:lnTo>
                      <a:pt x="0" y="9"/>
                    </a:lnTo>
                    <a:lnTo>
                      <a:pt x="0" y="7"/>
                    </a:lnTo>
                    <a:lnTo>
                      <a:pt x="1" y="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70" name="Freeform 265">
                <a:extLst>
                  <a:ext uri="{FF2B5EF4-FFF2-40B4-BE49-F238E27FC236}">
                    <a16:creationId xmlns:a16="http://schemas.microsoft.com/office/drawing/2014/main" id="{072E187E-EAA4-9E78-60C5-F9C79CD27D0E}"/>
                  </a:ext>
                </a:extLst>
              </p:cNvPr>
              <p:cNvSpPr>
                <a:spLocks noEditPoints="1"/>
              </p:cNvSpPr>
              <p:nvPr/>
            </p:nvSpPr>
            <p:spPr bwMode="auto">
              <a:xfrm>
                <a:off x="10394443" y="4327876"/>
                <a:ext cx="33258" cy="21690"/>
              </a:xfrm>
              <a:custGeom>
                <a:avLst/>
                <a:gdLst>
                  <a:gd name="T0" fmla="*/ 0 w 23"/>
                  <a:gd name="T1" fmla="*/ 0 h 15"/>
                  <a:gd name="T2" fmla="*/ 0 w 23"/>
                  <a:gd name="T3" fmla="*/ 0 h 15"/>
                  <a:gd name="T4" fmla="*/ 0 w 23"/>
                  <a:gd name="T5" fmla="*/ 0 h 15"/>
                  <a:gd name="T6" fmla="*/ 0 w 23"/>
                  <a:gd name="T7" fmla="*/ 0 h 15"/>
                  <a:gd name="T8" fmla="*/ 23 w 23"/>
                  <a:gd name="T9" fmla="*/ 15 h 15"/>
                  <a:gd name="T10" fmla="*/ 23 w 23"/>
                  <a:gd name="T11" fmla="*/ 15 h 15"/>
                  <a:gd name="T12" fmla="*/ 23 w 23"/>
                  <a:gd name="T13" fmla="*/ 15 h 15"/>
                  <a:gd name="T14" fmla="*/ 23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0" y="0"/>
                    </a:moveTo>
                    <a:lnTo>
                      <a:pt x="0" y="0"/>
                    </a:lnTo>
                    <a:lnTo>
                      <a:pt x="0" y="0"/>
                    </a:lnTo>
                    <a:lnTo>
                      <a:pt x="0" y="0"/>
                    </a:lnTo>
                    <a:close/>
                    <a:moveTo>
                      <a:pt x="23" y="15"/>
                    </a:moveTo>
                    <a:lnTo>
                      <a:pt x="23" y="15"/>
                    </a:lnTo>
                    <a:lnTo>
                      <a:pt x="23" y="15"/>
                    </a:lnTo>
                    <a:lnTo>
                      <a:pt x="23" y="1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71" name="Freeform 266">
                <a:extLst>
                  <a:ext uri="{FF2B5EF4-FFF2-40B4-BE49-F238E27FC236}">
                    <a16:creationId xmlns:a16="http://schemas.microsoft.com/office/drawing/2014/main" id="{E6B383E4-2A01-9EB7-E8C8-1E3F87F2A280}"/>
                  </a:ext>
                </a:extLst>
              </p:cNvPr>
              <p:cNvSpPr>
                <a:spLocks/>
              </p:cNvSpPr>
              <p:nvPr/>
            </p:nvSpPr>
            <p:spPr bwMode="auto">
              <a:xfrm>
                <a:off x="10437822" y="4476810"/>
                <a:ext cx="7230" cy="2892"/>
              </a:xfrm>
              <a:custGeom>
                <a:avLst/>
                <a:gdLst>
                  <a:gd name="T0" fmla="*/ 3 w 5"/>
                  <a:gd name="T1" fmla="*/ 0 h 2"/>
                  <a:gd name="T2" fmla="*/ 5 w 5"/>
                  <a:gd name="T3" fmla="*/ 1 h 2"/>
                  <a:gd name="T4" fmla="*/ 2 w 5"/>
                  <a:gd name="T5" fmla="*/ 1 h 2"/>
                  <a:gd name="T6" fmla="*/ 0 w 5"/>
                  <a:gd name="T7" fmla="*/ 2 h 2"/>
                  <a:gd name="T8" fmla="*/ 0 w 5"/>
                  <a:gd name="T9" fmla="*/ 1 h 2"/>
                  <a:gd name="T10" fmla="*/ 0 w 5"/>
                  <a:gd name="T11" fmla="*/ 1 h 2"/>
                  <a:gd name="T12" fmla="*/ 2 w 5"/>
                  <a:gd name="T13" fmla="*/ 1 h 2"/>
                  <a:gd name="T14" fmla="*/ 3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3" y="0"/>
                    </a:moveTo>
                    <a:lnTo>
                      <a:pt x="5" y="1"/>
                    </a:lnTo>
                    <a:lnTo>
                      <a:pt x="2" y="1"/>
                    </a:lnTo>
                    <a:lnTo>
                      <a:pt x="0" y="2"/>
                    </a:lnTo>
                    <a:lnTo>
                      <a:pt x="0" y="1"/>
                    </a:lnTo>
                    <a:lnTo>
                      <a:pt x="0" y="1"/>
                    </a:lnTo>
                    <a:lnTo>
                      <a:pt x="2" y="1"/>
                    </a:lnTo>
                    <a:lnTo>
                      <a:pt x="3"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72" name="Freeform 267">
                <a:extLst>
                  <a:ext uri="{FF2B5EF4-FFF2-40B4-BE49-F238E27FC236}">
                    <a16:creationId xmlns:a16="http://schemas.microsoft.com/office/drawing/2014/main" id="{52B3AEBD-5C70-4966-07C3-7C6B3B809E29}"/>
                  </a:ext>
                </a:extLst>
              </p:cNvPr>
              <p:cNvSpPr>
                <a:spLocks noEditPoints="1"/>
              </p:cNvSpPr>
              <p:nvPr/>
            </p:nvSpPr>
            <p:spPr bwMode="auto">
              <a:xfrm>
                <a:off x="10388659" y="4458012"/>
                <a:ext cx="33258" cy="14460"/>
              </a:xfrm>
              <a:custGeom>
                <a:avLst/>
                <a:gdLst>
                  <a:gd name="T0" fmla="*/ 19 w 23"/>
                  <a:gd name="T1" fmla="*/ 5 h 10"/>
                  <a:gd name="T2" fmla="*/ 14 w 23"/>
                  <a:gd name="T3" fmla="*/ 5 h 10"/>
                  <a:gd name="T4" fmla="*/ 13 w 23"/>
                  <a:gd name="T5" fmla="*/ 5 h 10"/>
                  <a:gd name="T6" fmla="*/ 14 w 23"/>
                  <a:gd name="T7" fmla="*/ 8 h 10"/>
                  <a:gd name="T8" fmla="*/ 19 w 23"/>
                  <a:gd name="T9" fmla="*/ 10 h 10"/>
                  <a:gd name="T10" fmla="*/ 22 w 23"/>
                  <a:gd name="T11" fmla="*/ 10 h 10"/>
                  <a:gd name="T12" fmla="*/ 23 w 23"/>
                  <a:gd name="T13" fmla="*/ 8 h 10"/>
                  <a:gd name="T14" fmla="*/ 22 w 23"/>
                  <a:gd name="T15" fmla="*/ 7 h 10"/>
                  <a:gd name="T16" fmla="*/ 19 w 23"/>
                  <a:gd name="T17" fmla="*/ 5 h 10"/>
                  <a:gd name="T18" fmla="*/ 0 w 23"/>
                  <a:gd name="T19" fmla="*/ 0 h 10"/>
                  <a:gd name="T20" fmla="*/ 1 w 23"/>
                  <a:gd name="T21" fmla="*/ 2 h 10"/>
                  <a:gd name="T22" fmla="*/ 3 w 23"/>
                  <a:gd name="T23" fmla="*/ 4 h 10"/>
                  <a:gd name="T24" fmla="*/ 4 w 23"/>
                  <a:gd name="T25" fmla="*/ 5 h 10"/>
                  <a:gd name="T26" fmla="*/ 6 w 23"/>
                  <a:gd name="T27" fmla="*/ 5 h 10"/>
                  <a:gd name="T28" fmla="*/ 7 w 23"/>
                  <a:gd name="T29" fmla="*/ 5 h 10"/>
                  <a:gd name="T30" fmla="*/ 9 w 23"/>
                  <a:gd name="T31" fmla="*/ 4 h 10"/>
                  <a:gd name="T32" fmla="*/ 10 w 23"/>
                  <a:gd name="T33" fmla="*/ 4 h 10"/>
                  <a:gd name="T34" fmla="*/ 10 w 23"/>
                  <a:gd name="T35" fmla="*/ 1 h 10"/>
                  <a:gd name="T36" fmla="*/ 7 w 23"/>
                  <a:gd name="T37" fmla="*/ 0 h 10"/>
                  <a:gd name="T38" fmla="*/ 0 w 23"/>
                  <a:gd name="T3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10">
                    <a:moveTo>
                      <a:pt x="19" y="5"/>
                    </a:moveTo>
                    <a:lnTo>
                      <a:pt x="14" y="5"/>
                    </a:lnTo>
                    <a:lnTo>
                      <a:pt x="13" y="5"/>
                    </a:lnTo>
                    <a:lnTo>
                      <a:pt x="14" y="8"/>
                    </a:lnTo>
                    <a:lnTo>
                      <a:pt x="19" y="10"/>
                    </a:lnTo>
                    <a:lnTo>
                      <a:pt x="22" y="10"/>
                    </a:lnTo>
                    <a:lnTo>
                      <a:pt x="23" y="8"/>
                    </a:lnTo>
                    <a:lnTo>
                      <a:pt x="22" y="7"/>
                    </a:lnTo>
                    <a:lnTo>
                      <a:pt x="19" y="5"/>
                    </a:lnTo>
                    <a:close/>
                    <a:moveTo>
                      <a:pt x="0" y="0"/>
                    </a:moveTo>
                    <a:lnTo>
                      <a:pt x="1" y="2"/>
                    </a:lnTo>
                    <a:lnTo>
                      <a:pt x="3" y="4"/>
                    </a:lnTo>
                    <a:lnTo>
                      <a:pt x="4" y="5"/>
                    </a:lnTo>
                    <a:lnTo>
                      <a:pt x="6" y="5"/>
                    </a:lnTo>
                    <a:lnTo>
                      <a:pt x="7" y="5"/>
                    </a:lnTo>
                    <a:lnTo>
                      <a:pt x="9" y="4"/>
                    </a:lnTo>
                    <a:lnTo>
                      <a:pt x="10" y="4"/>
                    </a:lnTo>
                    <a:lnTo>
                      <a:pt x="10" y="1"/>
                    </a:lnTo>
                    <a:lnTo>
                      <a:pt x="7" y="0"/>
                    </a:lnTo>
                    <a:lnTo>
                      <a:pt x="0"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74" name="Freeform 268">
                <a:extLst>
                  <a:ext uri="{FF2B5EF4-FFF2-40B4-BE49-F238E27FC236}">
                    <a16:creationId xmlns:a16="http://schemas.microsoft.com/office/drawing/2014/main" id="{EAC5B305-2B85-24BD-E516-058BB113A557}"/>
                  </a:ext>
                </a:extLst>
              </p:cNvPr>
              <p:cNvSpPr>
                <a:spLocks noEditPoints="1"/>
              </p:cNvSpPr>
              <p:nvPr/>
            </p:nvSpPr>
            <p:spPr bwMode="auto">
              <a:xfrm>
                <a:off x="10322145" y="4592487"/>
                <a:ext cx="34703" cy="76636"/>
              </a:xfrm>
              <a:custGeom>
                <a:avLst/>
                <a:gdLst>
                  <a:gd name="T0" fmla="*/ 4 w 24"/>
                  <a:gd name="T1" fmla="*/ 47 h 53"/>
                  <a:gd name="T2" fmla="*/ 6 w 24"/>
                  <a:gd name="T3" fmla="*/ 47 h 53"/>
                  <a:gd name="T4" fmla="*/ 4 w 24"/>
                  <a:gd name="T5" fmla="*/ 47 h 53"/>
                  <a:gd name="T6" fmla="*/ 4 w 24"/>
                  <a:gd name="T7" fmla="*/ 49 h 53"/>
                  <a:gd name="T8" fmla="*/ 4 w 24"/>
                  <a:gd name="T9" fmla="*/ 49 h 53"/>
                  <a:gd name="T10" fmla="*/ 4 w 24"/>
                  <a:gd name="T11" fmla="*/ 50 h 53"/>
                  <a:gd name="T12" fmla="*/ 1 w 24"/>
                  <a:gd name="T13" fmla="*/ 49 h 53"/>
                  <a:gd name="T14" fmla="*/ 1 w 24"/>
                  <a:gd name="T15" fmla="*/ 47 h 53"/>
                  <a:gd name="T16" fmla="*/ 0 w 24"/>
                  <a:gd name="T17" fmla="*/ 47 h 53"/>
                  <a:gd name="T18" fmla="*/ 1 w 24"/>
                  <a:gd name="T19" fmla="*/ 46 h 53"/>
                  <a:gd name="T20" fmla="*/ 1 w 24"/>
                  <a:gd name="T21" fmla="*/ 46 h 53"/>
                  <a:gd name="T22" fmla="*/ 1 w 24"/>
                  <a:gd name="T23" fmla="*/ 47 h 53"/>
                  <a:gd name="T24" fmla="*/ 4 w 24"/>
                  <a:gd name="T25" fmla="*/ 47 h 53"/>
                  <a:gd name="T26" fmla="*/ 3 w 24"/>
                  <a:gd name="T27" fmla="*/ 47 h 53"/>
                  <a:gd name="T28" fmla="*/ 4 w 24"/>
                  <a:gd name="T29" fmla="*/ 47 h 53"/>
                  <a:gd name="T30" fmla="*/ 4 w 24"/>
                  <a:gd name="T31" fmla="*/ 47 h 53"/>
                  <a:gd name="T32" fmla="*/ 4 w 24"/>
                  <a:gd name="T33" fmla="*/ 47 h 53"/>
                  <a:gd name="T34" fmla="*/ 7 w 24"/>
                  <a:gd name="T35" fmla="*/ 50 h 53"/>
                  <a:gd name="T36" fmla="*/ 7 w 24"/>
                  <a:gd name="T37" fmla="*/ 52 h 53"/>
                  <a:gd name="T38" fmla="*/ 7 w 24"/>
                  <a:gd name="T39" fmla="*/ 52 h 53"/>
                  <a:gd name="T40" fmla="*/ 7 w 24"/>
                  <a:gd name="T41" fmla="*/ 53 h 53"/>
                  <a:gd name="T42" fmla="*/ 9 w 24"/>
                  <a:gd name="T43" fmla="*/ 53 h 53"/>
                  <a:gd name="T44" fmla="*/ 9 w 24"/>
                  <a:gd name="T45" fmla="*/ 53 h 53"/>
                  <a:gd name="T46" fmla="*/ 9 w 24"/>
                  <a:gd name="T47" fmla="*/ 52 h 53"/>
                  <a:gd name="T48" fmla="*/ 9 w 24"/>
                  <a:gd name="T49" fmla="*/ 50 h 53"/>
                  <a:gd name="T50" fmla="*/ 7 w 24"/>
                  <a:gd name="T51" fmla="*/ 50 h 53"/>
                  <a:gd name="T52" fmla="*/ 23 w 24"/>
                  <a:gd name="T53" fmla="*/ 0 h 53"/>
                  <a:gd name="T54" fmla="*/ 24 w 24"/>
                  <a:gd name="T55" fmla="*/ 1 h 53"/>
                  <a:gd name="T56" fmla="*/ 24 w 24"/>
                  <a:gd name="T57" fmla="*/ 0 h 53"/>
                  <a:gd name="T58" fmla="*/ 24 w 24"/>
                  <a:gd name="T59" fmla="*/ 0 h 53"/>
                  <a:gd name="T60" fmla="*/ 23 w 24"/>
                  <a:gd name="T61"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 h="53">
                    <a:moveTo>
                      <a:pt x="4" y="47"/>
                    </a:moveTo>
                    <a:lnTo>
                      <a:pt x="6" y="47"/>
                    </a:lnTo>
                    <a:lnTo>
                      <a:pt x="4" y="47"/>
                    </a:lnTo>
                    <a:lnTo>
                      <a:pt x="4" y="49"/>
                    </a:lnTo>
                    <a:lnTo>
                      <a:pt x="4" y="49"/>
                    </a:lnTo>
                    <a:lnTo>
                      <a:pt x="4" y="50"/>
                    </a:lnTo>
                    <a:lnTo>
                      <a:pt x="1" y="49"/>
                    </a:lnTo>
                    <a:lnTo>
                      <a:pt x="1" y="47"/>
                    </a:lnTo>
                    <a:lnTo>
                      <a:pt x="0" y="47"/>
                    </a:lnTo>
                    <a:lnTo>
                      <a:pt x="1" y="46"/>
                    </a:lnTo>
                    <a:lnTo>
                      <a:pt x="1" y="46"/>
                    </a:lnTo>
                    <a:lnTo>
                      <a:pt x="1" y="47"/>
                    </a:lnTo>
                    <a:lnTo>
                      <a:pt x="4" y="47"/>
                    </a:lnTo>
                    <a:lnTo>
                      <a:pt x="3" y="47"/>
                    </a:lnTo>
                    <a:lnTo>
                      <a:pt x="4" y="47"/>
                    </a:lnTo>
                    <a:lnTo>
                      <a:pt x="4" y="47"/>
                    </a:lnTo>
                    <a:lnTo>
                      <a:pt x="4" y="47"/>
                    </a:lnTo>
                    <a:close/>
                    <a:moveTo>
                      <a:pt x="7" y="50"/>
                    </a:moveTo>
                    <a:lnTo>
                      <a:pt x="7" y="52"/>
                    </a:lnTo>
                    <a:lnTo>
                      <a:pt x="7" y="52"/>
                    </a:lnTo>
                    <a:lnTo>
                      <a:pt x="7" y="53"/>
                    </a:lnTo>
                    <a:lnTo>
                      <a:pt x="9" y="53"/>
                    </a:lnTo>
                    <a:lnTo>
                      <a:pt x="9" y="53"/>
                    </a:lnTo>
                    <a:lnTo>
                      <a:pt x="9" y="52"/>
                    </a:lnTo>
                    <a:lnTo>
                      <a:pt x="9" y="50"/>
                    </a:lnTo>
                    <a:lnTo>
                      <a:pt x="7" y="50"/>
                    </a:lnTo>
                    <a:close/>
                    <a:moveTo>
                      <a:pt x="23" y="0"/>
                    </a:moveTo>
                    <a:lnTo>
                      <a:pt x="24" y="1"/>
                    </a:lnTo>
                    <a:lnTo>
                      <a:pt x="24" y="0"/>
                    </a:lnTo>
                    <a:lnTo>
                      <a:pt x="24" y="0"/>
                    </a:lnTo>
                    <a:lnTo>
                      <a:pt x="23"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75" name="Freeform 269">
                <a:extLst>
                  <a:ext uri="{FF2B5EF4-FFF2-40B4-BE49-F238E27FC236}">
                    <a16:creationId xmlns:a16="http://schemas.microsoft.com/office/drawing/2014/main" id="{9D43AF65-CA63-20C3-E263-6B8BFFBF86E9}"/>
                  </a:ext>
                </a:extLst>
              </p:cNvPr>
              <p:cNvSpPr>
                <a:spLocks noEditPoints="1"/>
              </p:cNvSpPr>
              <p:nvPr/>
            </p:nvSpPr>
            <p:spPr bwMode="auto">
              <a:xfrm>
                <a:off x="9208755" y="4145685"/>
                <a:ext cx="384626" cy="261719"/>
              </a:xfrm>
              <a:custGeom>
                <a:avLst/>
                <a:gdLst>
                  <a:gd name="T0" fmla="*/ 89 w 266"/>
                  <a:gd name="T1" fmla="*/ 59 h 181"/>
                  <a:gd name="T2" fmla="*/ 48 w 266"/>
                  <a:gd name="T3" fmla="*/ 128 h 181"/>
                  <a:gd name="T4" fmla="*/ 49 w 266"/>
                  <a:gd name="T5" fmla="*/ 125 h 181"/>
                  <a:gd name="T6" fmla="*/ 173 w 266"/>
                  <a:gd name="T7" fmla="*/ 157 h 181"/>
                  <a:gd name="T8" fmla="*/ 160 w 266"/>
                  <a:gd name="T9" fmla="*/ 148 h 181"/>
                  <a:gd name="T10" fmla="*/ 144 w 266"/>
                  <a:gd name="T11" fmla="*/ 135 h 181"/>
                  <a:gd name="T12" fmla="*/ 131 w 266"/>
                  <a:gd name="T13" fmla="*/ 126 h 181"/>
                  <a:gd name="T14" fmla="*/ 109 w 266"/>
                  <a:gd name="T15" fmla="*/ 103 h 181"/>
                  <a:gd name="T16" fmla="*/ 122 w 266"/>
                  <a:gd name="T17" fmla="*/ 86 h 181"/>
                  <a:gd name="T18" fmla="*/ 86 w 266"/>
                  <a:gd name="T19" fmla="*/ 70 h 181"/>
                  <a:gd name="T20" fmla="*/ 65 w 266"/>
                  <a:gd name="T21" fmla="*/ 43 h 181"/>
                  <a:gd name="T22" fmla="*/ 19 w 266"/>
                  <a:gd name="T23" fmla="*/ 27 h 181"/>
                  <a:gd name="T24" fmla="*/ 3 w 266"/>
                  <a:gd name="T25" fmla="*/ 137 h 181"/>
                  <a:gd name="T26" fmla="*/ 43 w 266"/>
                  <a:gd name="T27" fmla="*/ 135 h 181"/>
                  <a:gd name="T28" fmla="*/ 28 w 266"/>
                  <a:gd name="T29" fmla="*/ 122 h 181"/>
                  <a:gd name="T30" fmla="*/ 28 w 266"/>
                  <a:gd name="T31" fmla="*/ 122 h 181"/>
                  <a:gd name="T32" fmla="*/ 52 w 266"/>
                  <a:gd name="T33" fmla="*/ 118 h 181"/>
                  <a:gd name="T34" fmla="*/ 53 w 266"/>
                  <a:gd name="T35" fmla="*/ 111 h 181"/>
                  <a:gd name="T36" fmla="*/ 68 w 266"/>
                  <a:gd name="T37" fmla="*/ 111 h 181"/>
                  <a:gd name="T38" fmla="*/ 94 w 266"/>
                  <a:gd name="T39" fmla="*/ 121 h 181"/>
                  <a:gd name="T40" fmla="*/ 118 w 266"/>
                  <a:gd name="T41" fmla="*/ 151 h 181"/>
                  <a:gd name="T42" fmla="*/ 168 w 266"/>
                  <a:gd name="T43" fmla="*/ 164 h 181"/>
                  <a:gd name="T44" fmla="*/ 124 w 266"/>
                  <a:gd name="T45" fmla="*/ 16 h 181"/>
                  <a:gd name="T46" fmla="*/ 109 w 266"/>
                  <a:gd name="T47" fmla="*/ 68 h 181"/>
                  <a:gd name="T48" fmla="*/ 127 w 266"/>
                  <a:gd name="T49" fmla="*/ 75 h 181"/>
                  <a:gd name="T50" fmla="*/ 164 w 266"/>
                  <a:gd name="T51" fmla="*/ 139 h 181"/>
                  <a:gd name="T52" fmla="*/ 170 w 266"/>
                  <a:gd name="T53" fmla="*/ 142 h 181"/>
                  <a:gd name="T54" fmla="*/ 175 w 266"/>
                  <a:gd name="T55" fmla="*/ 147 h 181"/>
                  <a:gd name="T56" fmla="*/ 181 w 266"/>
                  <a:gd name="T57" fmla="*/ 129 h 181"/>
                  <a:gd name="T58" fmla="*/ 175 w 266"/>
                  <a:gd name="T59" fmla="*/ 162 h 181"/>
                  <a:gd name="T60" fmla="*/ 260 w 266"/>
                  <a:gd name="T61" fmla="*/ 96 h 181"/>
                  <a:gd name="T62" fmla="*/ 246 w 266"/>
                  <a:gd name="T63" fmla="*/ 80 h 181"/>
                  <a:gd name="T64" fmla="*/ 252 w 266"/>
                  <a:gd name="T65" fmla="*/ 75 h 181"/>
                  <a:gd name="T66" fmla="*/ 242 w 266"/>
                  <a:gd name="T67" fmla="*/ 70 h 181"/>
                  <a:gd name="T68" fmla="*/ 233 w 266"/>
                  <a:gd name="T69" fmla="*/ 178 h 181"/>
                  <a:gd name="T70" fmla="*/ 224 w 266"/>
                  <a:gd name="T71" fmla="*/ 47 h 181"/>
                  <a:gd name="T72" fmla="*/ 224 w 266"/>
                  <a:gd name="T73" fmla="*/ 181 h 181"/>
                  <a:gd name="T74" fmla="*/ 223 w 266"/>
                  <a:gd name="T75" fmla="*/ 178 h 181"/>
                  <a:gd name="T76" fmla="*/ 102 w 266"/>
                  <a:gd name="T77" fmla="*/ 14 h 181"/>
                  <a:gd name="T78" fmla="*/ 200 w 266"/>
                  <a:gd name="T79" fmla="*/ 34 h 181"/>
                  <a:gd name="T80" fmla="*/ 207 w 266"/>
                  <a:gd name="T81" fmla="*/ 49 h 181"/>
                  <a:gd name="T82" fmla="*/ 180 w 266"/>
                  <a:gd name="T83" fmla="*/ 26 h 181"/>
                  <a:gd name="T84" fmla="*/ 160 w 266"/>
                  <a:gd name="T85" fmla="*/ 70 h 181"/>
                  <a:gd name="T86" fmla="*/ 163 w 266"/>
                  <a:gd name="T87" fmla="*/ 69 h 181"/>
                  <a:gd name="T88" fmla="*/ 171 w 266"/>
                  <a:gd name="T89" fmla="*/ 72 h 181"/>
                  <a:gd name="T90" fmla="*/ 183 w 266"/>
                  <a:gd name="T91" fmla="*/ 65 h 181"/>
                  <a:gd name="T92" fmla="*/ 196 w 266"/>
                  <a:gd name="T93" fmla="*/ 50 h 181"/>
                  <a:gd name="T94" fmla="*/ 201 w 266"/>
                  <a:gd name="T95" fmla="*/ 62 h 181"/>
                  <a:gd name="T96" fmla="*/ 191 w 266"/>
                  <a:gd name="T97" fmla="*/ 73 h 181"/>
                  <a:gd name="T98" fmla="*/ 155 w 266"/>
                  <a:gd name="T99" fmla="*/ 86 h 181"/>
                  <a:gd name="T100" fmla="*/ 135 w 266"/>
                  <a:gd name="T101" fmla="*/ 79 h 181"/>
                  <a:gd name="T102" fmla="*/ 135 w 266"/>
                  <a:gd name="T103" fmla="*/ 73 h 181"/>
                  <a:gd name="T104" fmla="*/ 165 w 266"/>
                  <a:gd name="T105" fmla="*/ 19 h 181"/>
                  <a:gd name="T106" fmla="*/ 157 w 266"/>
                  <a:gd name="T107" fmla="*/ 1 h 181"/>
                  <a:gd name="T108" fmla="*/ 175 w 266"/>
                  <a:gd name="T109" fmla="*/ 149 h 181"/>
                  <a:gd name="T110" fmla="*/ 206 w 266"/>
                  <a:gd name="T111" fmla="*/ 30 h 181"/>
                  <a:gd name="T112" fmla="*/ 207 w 266"/>
                  <a:gd name="T113" fmla="*/ 137 h 181"/>
                  <a:gd name="T114" fmla="*/ 198 w 266"/>
                  <a:gd name="T115" fmla="*/ 2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6" h="181">
                    <a:moveTo>
                      <a:pt x="197" y="24"/>
                    </a:moveTo>
                    <a:lnTo>
                      <a:pt x="196" y="24"/>
                    </a:lnTo>
                    <a:lnTo>
                      <a:pt x="196" y="26"/>
                    </a:lnTo>
                    <a:lnTo>
                      <a:pt x="196" y="24"/>
                    </a:lnTo>
                    <a:lnTo>
                      <a:pt x="196" y="24"/>
                    </a:lnTo>
                    <a:lnTo>
                      <a:pt x="197" y="24"/>
                    </a:lnTo>
                    <a:close/>
                    <a:moveTo>
                      <a:pt x="89" y="56"/>
                    </a:moveTo>
                    <a:lnTo>
                      <a:pt x="89" y="57"/>
                    </a:lnTo>
                    <a:lnTo>
                      <a:pt x="89" y="59"/>
                    </a:lnTo>
                    <a:lnTo>
                      <a:pt x="89" y="59"/>
                    </a:lnTo>
                    <a:lnTo>
                      <a:pt x="91" y="59"/>
                    </a:lnTo>
                    <a:lnTo>
                      <a:pt x="91" y="57"/>
                    </a:lnTo>
                    <a:lnTo>
                      <a:pt x="91" y="56"/>
                    </a:lnTo>
                    <a:lnTo>
                      <a:pt x="91" y="56"/>
                    </a:lnTo>
                    <a:lnTo>
                      <a:pt x="89" y="56"/>
                    </a:lnTo>
                    <a:close/>
                    <a:moveTo>
                      <a:pt x="43" y="125"/>
                    </a:moveTo>
                    <a:lnTo>
                      <a:pt x="46" y="126"/>
                    </a:lnTo>
                    <a:lnTo>
                      <a:pt x="48" y="128"/>
                    </a:lnTo>
                    <a:lnTo>
                      <a:pt x="49" y="129"/>
                    </a:lnTo>
                    <a:lnTo>
                      <a:pt x="46" y="128"/>
                    </a:lnTo>
                    <a:lnTo>
                      <a:pt x="46" y="128"/>
                    </a:lnTo>
                    <a:lnTo>
                      <a:pt x="45" y="126"/>
                    </a:lnTo>
                    <a:lnTo>
                      <a:pt x="43" y="125"/>
                    </a:lnTo>
                    <a:lnTo>
                      <a:pt x="42" y="125"/>
                    </a:lnTo>
                    <a:lnTo>
                      <a:pt x="43" y="125"/>
                    </a:lnTo>
                    <a:close/>
                    <a:moveTo>
                      <a:pt x="48" y="125"/>
                    </a:moveTo>
                    <a:lnTo>
                      <a:pt x="49" y="125"/>
                    </a:lnTo>
                    <a:lnTo>
                      <a:pt x="48" y="124"/>
                    </a:lnTo>
                    <a:lnTo>
                      <a:pt x="46" y="124"/>
                    </a:lnTo>
                    <a:lnTo>
                      <a:pt x="43" y="124"/>
                    </a:lnTo>
                    <a:lnTo>
                      <a:pt x="45" y="124"/>
                    </a:lnTo>
                    <a:lnTo>
                      <a:pt x="46" y="125"/>
                    </a:lnTo>
                    <a:lnTo>
                      <a:pt x="48" y="125"/>
                    </a:lnTo>
                    <a:close/>
                    <a:moveTo>
                      <a:pt x="174" y="158"/>
                    </a:moveTo>
                    <a:lnTo>
                      <a:pt x="175" y="157"/>
                    </a:lnTo>
                    <a:lnTo>
                      <a:pt x="173" y="157"/>
                    </a:lnTo>
                    <a:lnTo>
                      <a:pt x="168" y="157"/>
                    </a:lnTo>
                    <a:lnTo>
                      <a:pt x="165" y="155"/>
                    </a:lnTo>
                    <a:lnTo>
                      <a:pt x="160" y="152"/>
                    </a:lnTo>
                    <a:lnTo>
                      <a:pt x="158" y="152"/>
                    </a:lnTo>
                    <a:lnTo>
                      <a:pt x="157" y="151"/>
                    </a:lnTo>
                    <a:lnTo>
                      <a:pt x="157" y="149"/>
                    </a:lnTo>
                    <a:lnTo>
                      <a:pt x="158" y="149"/>
                    </a:lnTo>
                    <a:lnTo>
                      <a:pt x="160" y="149"/>
                    </a:lnTo>
                    <a:lnTo>
                      <a:pt x="160" y="148"/>
                    </a:lnTo>
                    <a:lnTo>
                      <a:pt x="160" y="147"/>
                    </a:lnTo>
                    <a:lnTo>
                      <a:pt x="157" y="145"/>
                    </a:lnTo>
                    <a:lnTo>
                      <a:pt x="154" y="145"/>
                    </a:lnTo>
                    <a:lnTo>
                      <a:pt x="151" y="145"/>
                    </a:lnTo>
                    <a:lnTo>
                      <a:pt x="148" y="142"/>
                    </a:lnTo>
                    <a:lnTo>
                      <a:pt x="148" y="139"/>
                    </a:lnTo>
                    <a:lnTo>
                      <a:pt x="148" y="137"/>
                    </a:lnTo>
                    <a:lnTo>
                      <a:pt x="145" y="135"/>
                    </a:lnTo>
                    <a:lnTo>
                      <a:pt x="144" y="135"/>
                    </a:lnTo>
                    <a:lnTo>
                      <a:pt x="140" y="137"/>
                    </a:lnTo>
                    <a:lnTo>
                      <a:pt x="138" y="137"/>
                    </a:lnTo>
                    <a:lnTo>
                      <a:pt x="137" y="135"/>
                    </a:lnTo>
                    <a:lnTo>
                      <a:pt x="135" y="134"/>
                    </a:lnTo>
                    <a:lnTo>
                      <a:pt x="135" y="132"/>
                    </a:lnTo>
                    <a:lnTo>
                      <a:pt x="134" y="131"/>
                    </a:lnTo>
                    <a:lnTo>
                      <a:pt x="134" y="129"/>
                    </a:lnTo>
                    <a:lnTo>
                      <a:pt x="131" y="128"/>
                    </a:lnTo>
                    <a:lnTo>
                      <a:pt x="131" y="126"/>
                    </a:lnTo>
                    <a:lnTo>
                      <a:pt x="130" y="125"/>
                    </a:lnTo>
                    <a:lnTo>
                      <a:pt x="130" y="122"/>
                    </a:lnTo>
                    <a:lnTo>
                      <a:pt x="130" y="121"/>
                    </a:lnTo>
                    <a:lnTo>
                      <a:pt x="127" y="118"/>
                    </a:lnTo>
                    <a:lnTo>
                      <a:pt x="124" y="115"/>
                    </a:lnTo>
                    <a:lnTo>
                      <a:pt x="121" y="114"/>
                    </a:lnTo>
                    <a:lnTo>
                      <a:pt x="118" y="111"/>
                    </a:lnTo>
                    <a:lnTo>
                      <a:pt x="112" y="106"/>
                    </a:lnTo>
                    <a:lnTo>
                      <a:pt x="109" y="103"/>
                    </a:lnTo>
                    <a:lnTo>
                      <a:pt x="108" y="99"/>
                    </a:lnTo>
                    <a:lnTo>
                      <a:pt x="108" y="96"/>
                    </a:lnTo>
                    <a:lnTo>
                      <a:pt x="109" y="95"/>
                    </a:lnTo>
                    <a:lnTo>
                      <a:pt x="112" y="95"/>
                    </a:lnTo>
                    <a:lnTo>
                      <a:pt x="117" y="95"/>
                    </a:lnTo>
                    <a:lnTo>
                      <a:pt x="119" y="93"/>
                    </a:lnTo>
                    <a:lnTo>
                      <a:pt x="122" y="93"/>
                    </a:lnTo>
                    <a:lnTo>
                      <a:pt x="124" y="91"/>
                    </a:lnTo>
                    <a:lnTo>
                      <a:pt x="122" y="86"/>
                    </a:lnTo>
                    <a:lnTo>
                      <a:pt x="121" y="85"/>
                    </a:lnTo>
                    <a:lnTo>
                      <a:pt x="119" y="83"/>
                    </a:lnTo>
                    <a:lnTo>
                      <a:pt x="117" y="82"/>
                    </a:lnTo>
                    <a:lnTo>
                      <a:pt x="114" y="80"/>
                    </a:lnTo>
                    <a:lnTo>
                      <a:pt x="107" y="79"/>
                    </a:lnTo>
                    <a:lnTo>
                      <a:pt x="99" y="75"/>
                    </a:lnTo>
                    <a:lnTo>
                      <a:pt x="89" y="73"/>
                    </a:lnTo>
                    <a:lnTo>
                      <a:pt x="86" y="70"/>
                    </a:lnTo>
                    <a:lnTo>
                      <a:pt x="86" y="70"/>
                    </a:lnTo>
                    <a:lnTo>
                      <a:pt x="86" y="65"/>
                    </a:lnTo>
                    <a:lnTo>
                      <a:pt x="86" y="62"/>
                    </a:lnTo>
                    <a:lnTo>
                      <a:pt x="86" y="60"/>
                    </a:lnTo>
                    <a:lnTo>
                      <a:pt x="85" y="59"/>
                    </a:lnTo>
                    <a:lnTo>
                      <a:pt x="84" y="57"/>
                    </a:lnTo>
                    <a:lnTo>
                      <a:pt x="81" y="55"/>
                    </a:lnTo>
                    <a:lnTo>
                      <a:pt x="75" y="52"/>
                    </a:lnTo>
                    <a:lnTo>
                      <a:pt x="68" y="46"/>
                    </a:lnTo>
                    <a:lnTo>
                      <a:pt x="65" y="43"/>
                    </a:lnTo>
                    <a:lnTo>
                      <a:pt x="62" y="43"/>
                    </a:lnTo>
                    <a:lnTo>
                      <a:pt x="61" y="43"/>
                    </a:lnTo>
                    <a:lnTo>
                      <a:pt x="58" y="43"/>
                    </a:lnTo>
                    <a:lnTo>
                      <a:pt x="56" y="43"/>
                    </a:lnTo>
                    <a:lnTo>
                      <a:pt x="55" y="42"/>
                    </a:lnTo>
                    <a:lnTo>
                      <a:pt x="49" y="39"/>
                    </a:lnTo>
                    <a:lnTo>
                      <a:pt x="46" y="36"/>
                    </a:lnTo>
                    <a:lnTo>
                      <a:pt x="32" y="33"/>
                    </a:lnTo>
                    <a:lnTo>
                      <a:pt x="19" y="27"/>
                    </a:lnTo>
                    <a:lnTo>
                      <a:pt x="10" y="23"/>
                    </a:lnTo>
                    <a:lnTo>
                      <a:pt x="6" y="22"/>
                    </a:lnTo>
                    <a:lnTo>
                      <a:pt x="2" y="22"/>
                    </a:lnTo>
                    <a:lnTo>
                      <a:pt x="2" y="24"/>
                    </a:lnTo>
                    <a:lnTo>
                      <a:pt x="2" y="88"/>
                    </a:lnTo>
                    <a:lnTo>
                      <a:pt x="0" y="92"/>
                    </a:lnTo>
                    <a:lnTo>
                      <a:pt x="0" y="95"/>
                    </a:lnTo>
                    <a:lnTo>
                      <a:pt x="2" y="98"/>
                    </a:lnTo>
                    <a:lnTo>
                      <a:pt x="3" y="137"/>
                    </a:lnTo>
                    <a:lnTo>
                      <a:pt x="5" y="138"/>
                    </a:lnTo>
                    <a:lnTo>
                      <a:pt x="6" y="138"/>
                    </a:lnTo>
                    <a:lnTo>
                      <a:pt x="10" y="138"/>
                    </a:lnTo>
                    <a:lnTo>
                      <a:pt x="23" y="138"/>
                    </a:lnTo>
                    <a:lnTo>
                      <a:pt x="29" y="139"/>
                    </a:lnTo>
                    <a:lnTo>
                      <a:pt x="32" y="139"/>
                    </a:lnTo>
                    <a:lnTo>
                      <a:pt x="35" y="139"/>
                    </a:lnTo>
                    <a:lnTo>
                      <a:pt x="39" y="137"/>
                    </a:lnTo>
                    <a:lnTo>
                      <a:pt x="43" y="135"/>
                    </a:lnTo>
                    <a:lnTo>
                      <a:pt x="45" y="134"/>
                    </a:lnTo>
                    <a:lnTo>
                      <a:pt x="45" y="131"/>
                    </a:lnTo>
                    <a:lnTo>
                      <a:pt x="45" y="129"/>
                    </a:lnTo>
                    <a:lnTo>
                      <a:pt x="43" y="128"/>
                    </a:lnTo>
                    <a:lnTo>
                      <a:pt x="40" y="126"/>
                    </a:lnTo>
                    <a:lnTo>
                      <a:pt x="39" y="125"/>
                    </a:lnTo>
                    <a:lnTo>
                      <a:pt x="38" y="124"/>
                    </a:lnTo>
                    <a:lnTo>
                      <a:pt x="35" y="124"/>
                    </a:lnTo>
                    <a:lnTo>
                      <a:pt x="28" y="122"/>
                    </a:lnTo>
                    <a:lnTo>
                      <a:pt x="28" y="122"/>
                    </a:lnTo>
                    <a:lnTo>
                      <a:pt x="26" y="122"/>
                    </a:lnTo>
                    <a:lnTo>
                      <a:pt x="26" y="121"/>
                    </a:lnTo>
                    <a:lnTo>
                      <a:pt x="26" y="121"/>
                    </a:lnTo>
                    <a:lnTo>
                      <a:pt x="25" y="121"/>
                    </a:lnTo>
                    <a:lnTo>
                      <a:pt x="26" y="119"/>
                    </a:lnTo>
                    <a:lnTo>
                      <a:pt x="26" y="121"/>
                    </a:lnTo>
                    <a:lnTo>
                      <a:pt x="26" y="121"/>
                    </a:lnTo>
                    <a:lnTo>
                      <a:pt x="28" y="122"/>
                    </a:lnTo>
                    <a:lnTo>
                      <a:pt x="29" y="122"/>
                    </a:lnTo>
                    <a:lnTo>
                      <a:pt x="42" y="122"/>
                    </a:lnTo>
                    <a:lnTo>
                      <a:pt x="45" y="121"/>
                    </a:lnTo>
                    <a:lnTo>
                      <a:pt x="49" y="121"/>
                    </a:lnTo>
                    <a:lnTo>
                      <a:pt x="48" y="118"/>
                    </a:lnTo>
                    <a:lnTo>
                      <a:pt x="48" y="118"/>
                    </a:lnTo>
                    <a:lnTo>
                      <a:pt x="48" y="116"/>
                    </a:lnTo>
                    <a:lnTo>
                      <a:pt x="49" y="116"/>
                    </a:lnTo>
                    <a:lnTo>
                      <a:pt x="52" y="118"/>
                    </a:lnTo>
                    <a:lnTo>
                      <a:pt x="53" y="118"/>
                    </a:lnTo>
                    <a:lnTo>
                      <a:pt x="53" y="116"/>
                    </a:lnTo>
                    <a:lnTo>
                      <a:pt x="53" y="116"/>
                    </a:lnTo>
                    <a:lnTo>
                      <a:pt x="55" y="116"/>
                    </a:lnTo>
                    <a:lnTo>
                      <a:pt x="52" y="111"/>
                    </a:lnTo>
                    <a:lnTo>
                      <a:pt x="51" y="109"/>
                    </a:lnTo>
                    <a:lnTo>
                      <a:pt x="49" y="108"/>
                    </a:lnTo>
                    <a:lnTo>
                      <a:pt x="52" y="109"/>
                    </a:lnTo>
                    <a:lnTo>
                      <a:pt x="53" y="111"/>
                    </a:lnTo>
                    <a:lnTo>
                      <a:pt x="55" y="112"/>
                    </a:lnTo>
                    <a:lnTo>
                      <a:pt x="58" y="112"/>
                    </a:lnTo>
                    <a:lnTo>
                      <a:pt x="59" y="112"/>
                    </a:lnTo>
                    <a:lnTo>
                      <a:pt x="61" y="112"/>
                    </a:lnTo>
                    <a:lnTo>
                      <a:pt x="63" y="111"/>
                    </a:lnTo>
                    <a:lnTo>
                      <a:pt x="65" y="111"/>
                    </a:lnTo>
                    <a:lnTo>
                      <a:pt x="66" y="109"/>
                    </a:lnTo>
                    <a:lnTo>
                      <a:pt x="66" y="109"/>
                    </a:lnTo>
                    <a:lnTo>
                      <a:pt x="68" y="111"/>
                    </a:lnTo>
                    <a:lnTo>
                      <a:pt x="69" y="111"/>
                    </a:lnTo>
                    <a:lnTo>
                      <a:pt x="71" y="111"/>
                    </a:lnTo>
                    <a:lnTo>
                      <a:pt x="72" y="112"/>
                    </a:lnTo>
                    <a:lnTo>
                      <a:pt x="74" y="114"/>
                    </a:lnTo>
                    <a:lnTo>
                      <a:pt x="74" y="114"/>
                    </a:lnTo>
                    <a:lnTo>
                      <a:pt x="75" y="114"/>
                    </a:lnTo>
                    <a:lnTo>
                      <a:pt x="86" y="116"/>
                    </a:lnTo>
                    <a:lnTo>
                      <a:pt x="91" y="118"/>
                    </a:lnTo>
                    <a:lnTo>
                      <a:pt x="94" y="121"/>
                    </a:lnTo>
                    <a:lnTo>
                      <a:pt x="99" y="131"/>
                    </a:lnTo>
                    <a:lnTo>
                      <a:pt x="104" y="135"/>
                    </a:lnTo>
                    <a:lnTo>
                      <a:pt x="108" y="135"/>
                    </a:lnTo>
                    <a:lnTo>
                      <a:pt x="107" y="138"/>
                    </a:lnTo>
                    <a:lnTo>
                      <a:pt x="108" y="141"/>
                    </a:lnTo>
                    <a:lnTo>
                      <a:pt x="109" y="142"/>
                    </a:lnTo>
                    <a:lnTo>
                      <a:pt x="112" y="144"/>
                    </a:lnTo>
                    <a:lnTo>
                      <a:pt x="114" y="145"/>
                    </a:lnTo>
                    <a:lnTo>
                      <a:pt x="118" y="151"/>
                    </a:lnTo>
                    <a:lnTo>
                      <a:pt x="122" y="154"/>
                    </a:lnTo>
                    <a:lnTo>
                      <a:pt x="127" y="155"/>
                    </a:lnTo>
                    <a:lnTo>
                      <a:pt x="153" y="158"/>
                    </a:lnTo>
                    <a:lnTo>
                      <a:pt x="157" y="158"/>
                    </a:lnTo>
                    <a:lnTo>
                      <a:pt x="158" y="160"/>
                    </a:lnTo>
                    <a:lnTo>
                      <a:pt x="161" y="162"/>
                    </a:lnTo>
                    <a:lnTo>
                      <a:pt x="164" y="164"/>
                    </a:lnTo>
                    <a:lnTo>
                      <a:pt x="165" y="164"/>
                    </a:lnTo>
                    <a:lnTo>
                      <a:pt x="168" y="164"/>
                    </a:lnTo>
                    <a:lnTo>
                      <a:pt x="171" y="164"/>
                    </a:lnTo>
                    <a:lnTo>
                      <a:pt x="173" y="162"/>
                    </a:lnTo>
                    <a:lnTo>
                      <a:pt x="170" y="161"/>
                    </a:lnTo>
                    <a:lnTo>
                      <a:pt x="170" y="160"/>
                    </a:lnTo>
                    <a:lnTo>
                      <a:pt x="168" y="158"/>
                    </a:lnTo>
                    <a:lnTo>
                      <a:pt x="170" y="158"/>
                    </a:lnTo>
                    <a:lnTo>
                      <a:pt x="174" y="158"/>
                    </a:lnTo>
                    <a:close/>
                    <a:moveTo>
                      <a:pt x="122" y="16"/>
                    </a:moveTo>
                    <a:lnTo>
                      <a:pt x="124" y="16"/>
                    </a:lnTo>
                    <a:lnTo>
                      <a:pt x="122" y="17"/>
                    </a:lnTo>
                    <a:lnTo>
                      <a:pt x="122" y="17"/>
                    </a:lnTo>
                    <a:lnTo>
                      <a:pt x="121" y="16"/>
                    </a:lnTo>
                    <a:lnTo>
                      <a:pt x="122" y="16"/>
                    </a:lnTo>
                    <a:lnTo>
                      <a:pt x="122" y="16"/>
                    </a:lnTo>
                    <a:close/>
                    <a:moveTo>
                      <a:pt x="109" y="70"/>
                    </a:moveTo>
                    <a:lnTo>
                      <a:pt x="109" y="70"/>
                    </a:lnTo>
                    <a:lnTo>
                      <a:pt x="108" y="69"/>
                    </a:lnTo>
                    <a:lnTo>
                      <a:pt x="109" y="68"/>
                    </a:lnTo>
                    <a:lnTo>
                      <a:pt x="111" y="68"/>
                    </a:lnTo>
                    <a:lnTo>
                      <a:pt x="112" y="69"/>
                    </a:lnTo>
                    <a:lnTo>
                      <a:pt x="112" y="70"/>
                    </a:lnTo>
                    <a:lnTo>
                      <a:pt x="111" y="70"/>
                    </a:lnTo>
                    <a:lnTo>
                      <a:pt x="109" y="70"/>
                    </a:lnTo>
                    <a:close/>
                    <a:moveTo>
                      <a:pt x="122" y="73"/>
                    </a:moveTo>
                    <a:lnTo>
                      <a:pt x="124" y="73"/>
                    </a:lnTo>
                    <a:lnTo>
                      <a:pt x="125" y="73"/>
                    </a:lnTo>
                    <a:lnTo>
                      <a:pt x="127" y="75"/>
                    </a:lnTo>
                    <a:lnTo>
                      <a:pt x="127" y="78"/>
                    </a:lnTo>
                    <a:lnTo>
                      <a:pt x="125" y="78"/>
                    </a:lnTo>
                    <a:lnTo>
                      <a:pt x="124" y="78"/>
                    </a:lnTo>
                    <a:lnTo>
                      <a:pt x="122" y="75"/>
                    </a:lnTo>
                    <a:lnTo>
                      <a:pt x="122" y="73"/>
                    </a:lnTo>
                    <a:close/>
                    <a:moveTo>
                      <a:pt x="165" y="144"/>
                    </a:moveTo>
                    <a:lnTo>
                      <a:pt x="164" y="142"/>
                    </a:lnTo>
                    <a:lnTo>
                      <a:pt x="163" y="141"/>
                    </a:lnTo>
                    <a:lnTo>
                      <a:pt x="164" y="139"/>
                    </a:lnTo>
                    <a:lnTo>
                      <a:pt x="165" y="139"/>
                    </a:lnTo>
                    <a:lnTo>
                      <a:pt x="167" y="139"/>
                    </a:lnTo>
                    <a:lnTo>
                      <a:pt x="168" y="142"/>
                    </a:lnTo>
                    <a:lnTo>
                      <a:pt x="167" y="144"/>
                    </a:lnTo>
                    <a:lnTo>
                      <a:pt x="165" y="144"/>
                    </a:lnTo>
                    <a:close/>
                    <a:moveTo>
                      <a:pt x="168" y="145"/>
                    </a:moveTo>
                    <a:lnTo>
                      <a:pt x="170" y="144"/>
                    </a:lnTo>
                    <a:lnTo>
                      <a:pt x="170" y="142"/>
                    </a:lnTo>
                    <a:lnTo>
                      <a:pt x="170" y="142"/>
                    </a:lnTo>
                    <a:lnTo>
                      <a:pt x="171" y="141"/>
                    </a:lnTo>
                    <a:lnTo>
                      <a:pt x="173" y="141"/>
                    </a:lnTo>
                    <a:lnTo>
                      <a:pt x="175" y="142"/>
                    </a:lnTo>
                    <a:lnTo>
                      <a:pt x="177" y="144"/>
                    </a:lnTo>
                    <a:lnTo>
                      <a:pt x="177" y="147"/>
                    </a:lnTo>
                    <a:lnTo>
                      <a:pt x="177" y="147"/>
                    </a:lnTo>
                    <a:lnTo>
                      <a:pt x="177" y="147"/>
                    </a:lnTo>
                    <a:lnTo>
                      <a:pt x="177" y="147"/>
                    </a:lnTo>
                    <a:lnTo>
                      <a:pt x="175" y="147"/>
                    </a:lnTo>
                    <a:lnTo>
                      <a:pt x="175" y="147"/>
                    </a:lnTo>
                    <a:lnTo>
                      <a:pt x="173" y="147"/>
                    </a:lnTo>
                    <a:lnTo>
                      <a:pt x="168" y="145"/>
                    </a:lnTo>
                    <a:close/>
                    <a:moveTo>
                      <a:pt x="181" y="124"/>
                    </a:moveTo>
                    <a:lnTo>
                      <a:pt x="181" y="125"/>
                    </a:lnTo>
                    <a:lnTo>
                      <a:pt x="181" y="126"/>
                    </a:lnTo>
                    <a:lnTo>
                      <a:pt x="181" y="126"/>
                    </a:lnTo>
                    <a:lnTo>
                      <a:pt x="181" y="128"/>
                    </a:lnTo>
                    <a:lnTo>
                      <a:pt x="181" y="129"/>
                    </a:lnTo>
                    <a:lnTo>
                      <a:pt x="181" y="131"/>
                    </a:lnTo>
                    <a:lnTo>
                      <a:pt x="181" y="131"/>
                    </a:lnTo>
                    <a:lnTo>
                      <a:pt x="180" y="129"/>
                    </a:lnTo>
                    <a:lnTo>
                      <a:pt x="180" y="128"/>
                    </a:lnTo>
                    <a:lnTo>
                      <a:pt x="180" y="125"/>
                    </a:lnTo>
                    <a:lnTo>
                      <a:pt x="181" y="124"/>
                    </a:lnTo>
                    <a:close/>
                    <a:moveTo>
                      <a:pt x="175" y="164"/>
                    </a:moveTo>
                    <a:lnTo>
                      <a:pt x="175" y="164"/>
                    </a:lnTo>
                    <a:lnTo>
                      <a:pt x="175" y="162"/>
                    </a:lnTo>
                    <a:lnTo>
                      <a:pt x="177" y="162"/>
                    </a:lnTo>
                    <a:lnTo>
                      <a:pt x="177" y="162"/>
                    </a:lnTo>
                    <a:lnTo>
                      <a:pt x="177" y="164"/>
                    </a:lnTo>
                    <a:lnTo>
                      <a:pt x="175" y="164"/>
                    </a:lnTo>
                    <a:close/>
                    <a:moveTo>
                      <a:pt x="265" y="91"/>
                    </a:moveTo>
                    <a:lnTo>
                      <a:pt x="266" y="93"/>
                    </a:lnTo>
                    <a:lnTo>
                      <a:pt x="265" y="95"/>
                    </a:lnTo>
                    <a:lnTo>
                      <a:pt x="265" y="95"/>
                    </a:lnTo>
                    <a:lnTo>
                      <a:pt x="260" y="96"/>
                    </a:lnTo>
                    <a:lnTo>
                      <a:pt x="259" y="96"/>
                    </a:lnTo>
                    <a:lnTo>
                      <a:pt x="257" y="95"/>
                    </a:lnTo>
                    <a:lnTo>
                      <a:pt x="254" y="93"/>
                    </a:lnTo>
                    <a:lnTo>
                      <a:pt x="254" y="92"/>
                    </a:lnTo>
                    <a:lnTo>
                      <a:pt x="253" y="91"/>
                    </a:lnTo>
                    <a:lnTo>
                      <a:pt x="253" y="89"/>
                    </a:lnTo>
                    <a:lnTo>
                      <a:pt x="252" y="88"/>
                    </a:lnTo>
                    <a:lnTo>
                      <a:pt x="252" y="88"/>
                    </a:lnTo>
                    <a:lnTo>
                      <a:pt x="246" y="80"/>
                    </a:lnTo>
                    <a:lnTo>
                      <a:pt x="244" y="79"/>
                    </a:lnTo>
                    <a:lnTo>
                      <a:pt x="244" y="78"/>
                    </a:lnTo>
                    <a:lnTo>
                      <a:pt x="244" y="75"/>
                    </a:lnTo>
                    <a:lnTo>
                      <a:pt x="244" y="73"/>
                    </a:lnTo>
                    <a:lnTo>
                      <a:pt x="244" y="72"/>
                    </a:lnTo>
                    <a:lnTo>
                      <a:pt x="246" y="72"/>
                    </a:lnTo>
                    <a:lnTo>
                      <a:pt x="247" y="73"/>
                    </a:lnTo>
                    <a:lnTo>
                      <a:pt x="249" y="73"/>
                    </a:lnTo>
                    <a:lnTo>
                      <a:pt x="252" y="75"/>
                    </a:lnTo>
                    <a:lnTo>
                      <a:pt x="256" y="80"/>
                    </a:lnTo>
                    <a:lnTo>
                      <a:pt x="257" y="83"/>
                    </a:lnTo>
                    <a:lnTo>
                      <a:pt x="262" y="86"/>
                    </a:lnTo>
                    <a:lnTo>
                      <a:pt x="263" y="89"/>
                    </a:lnTo>
                    <a:lnTo>
                      <a:pt x="265" y="91"/>
                    </a:lnTo>
                    <a:close/>
                    <a:moveTo>
                      <a:pt x="244" y="66"/>
                    </a:moveTo>
                    <a:lnTo>
                      <a:pt x="244" y="69"/>
                    </a:lnTo>
                    <a:lnTo>
                      <a:pt x="243" y="72"/>
                    </a:lnTo>
                    <a:lnTo>
                      <a:pt x="242" y="70"/>
                    </a:lnTo>
                    <a:lnTo>
                      <a:pt x="242" y="68"/>
                    </a:lnTo>
                    <a:lnTo>
                      <a:pt x="242" y="66"/>
                    </a:lnTo>
                    <a:lnTo>
                      <a:pt x="243" y="65"/>
                    </a:lnTo>
                    <a:lnTo>
                      <a:pt x="244" y="66"/>
                    </a:lnTo>
                    <a:close/>
                    <a:moveTo>
                      <a:pt x="236" y="177"/>
                    </a:moveTo>
                    <a:lnTo>
                      <a:pt x="236" y="178"/>
                    </a:lnTo>
                    <a:lnTo>
                      <a:pt x="234" y="178"/>
                    </a:lnTo>
                    <a:lnTo>
                      <a:pt x="234" y="178"/>
                    </a:lnTo>
                    <a:lnTo>
                      <a:pt x="233" y="178"/>
                    </a:lnTo>
                    <a:lnTo>
                      <a:pt x="231" y="177"/>
                    </a:lnTo>
                    <a:lnTo>
                      <a:pt x="233" y="177"/>
                    </a:lnTo>
                    <a:lnTo>
                      <a:pt x="233" y="175"/>
                    </a:lnTo>
                    <a:lnTo>
                      <a:pt x="234" y="175"/>
                    </a:lnTo>
                    <a:lnTo>
                      <a:pt x="236" y="177"/>
                    </a:lnTo>
                    <a:lnTo>
                      <a:pt x="236" y="177"/>
                    </a:lnTo>
                    <a:close/>
                    <a:moveTo>
                      <a:pt x="226" y="47"/>
                    </a:moveTo>
                    <a:lnTo>
                      <a:pt x="226" y="49"/>
                    </a:lnTo>
                    <a:lnTo>
                      <a:pt x="224" y="47"/>
                    </a:lnTo>
                    <a:lnTo>
                      <a:pt x="224" y="47"/>
                    </a:lnTo>
                    <a:lnTo>
                      <a:pt x="226" y="47"/>
                    </a:lnTo>
                    <a:lnTo>
                      <a:pt x="226" y="47"/>
                    </a:lnTo>
                    <a:lnTo>
                      <a:pt x="226" y="47"/>
                    </a:lnTo>
                    <a:lnTo>
                      <a:pt x="226" y="47"/>
                    </a:lnTo>
                    <a:close/>
                    <a:moveTo>
                      <a:pt x="226" y="180"/>
                    </a:moveTo>
                    <a:lnTo>
                      <a:pt x="227" y="181"/>
                    </a:lnTo>
                    <a:lnTo>
                      <a:pt x="226" y="181"/>
                    </a:lnTo>
                    <a:lnTo>
                      <a:pt x="224" y="181"/>
                    </a:lnTo>
                    <a:lnTo>
                      <a:pt x="223" y="181"/>
                    </a:lnTo>
                    <a:lnTo>
                      <a:pt x="220" y="180"/>
                    </a:lnTo>
                    <a:lnTo>
                      <a:pt x="219" y="180"/>
                    </a:lnTo>
                    <a:lnTo>
                      <a:pt x="220" y="178"/>
                    </a:lnTo>
                    <a:lnTo>
                      <a:pt x="219" y="178"/>
                    </a:lnTo>
                    <a:lnTo>
                      <a:pt x="219" y="178"/>
                    </a:lnTo>
                    <a:lnTo>
                      <a:pt x="217" y="177"/>
                    </a:lnTo>
                    <a:lnTo>
                      <a:pt x="217" y="177"/>
                    </a:lnTo>
                    <a:lnTo>
                      <a:pt x="223" y="178"/>
                    </a:lnTo>
                    <a:lnTo>
                      <a:pt x="226" y="180"/>
                    </a:lnTo>
                    <a:close/>
                    <a:moveTo>
                      <a:pt x="101" y="11"/>
                    </a:moveTo>
                    <a:lnTo>
                      <a:pt x="105" y="10"/>
                    </a:lnTo>
                    <a:lnTo>
                      <a:pt x="114" y="11"/>
                    </a:lnTo>
                    <a:lnTo>
                      <a:pt x="115" y="10"/>
                    </a:lnTo>
                    <a:lnTo>
                      <a:pt x="115" y="11"/>
                    </a:lnTo>
                    <a:lnTo>
                      <a:pt x="112" y="13"/>
                    </a:lnTo>
                    <a:lnTo>
                      <a:pt x="109" y="14"/>
                    </a:lnTo>
                    <a:lnTo>
                      <a:pt x="102" y="14"/>
                    </a:lnTo>
                    <a:lnTo>
                      <a:pt x="101" y="14"/>
                    </a:lnTo>
                    <a:lnTo>
                      <a:pt x="101" y="14"/>
                    </a:lnTo>
                    <a:lnTo>
                      <a:pt x="101" y="13"/>
                    </a:lnTo>
                    <a:lnTo>
                      <a:pt x="101" y="11"/>
                    </a:lnTo>
                    <a:close/>
                    <a:moveTo>
                      <a:pt x="175" y="23"/>
                    </a:moveTo>
                    <a:lnTo>
                      <a:pt x="175" y="22"/>
                    </a:lnTo>
                    <a:lnTo>
                      <a:pt x="175" y="22"/>
                    </a:lnTo>
                    <a:lnTo>
                      <a:pt x="197" y="33"/>
                    </a:lnTo>
                    <a:lnTo>
                      <a:pt x="200" y="34"/>
                    </a:lnTo>
                    <a:lnTo>
                      <a:pt x="206" y="42"/>
                    </a:lnTo>
                    <a:lnTo>
                      <a:pt x="213" y="46"/>
                    </a:lnTo>
                    <a:lnTo>
                      <a:pt x="216" y="49"/>
                    </a:lnTo>
                    <a:lnTo>
                      <a:pt x="216" y="52"/>
                    </a:lnTo>
                    <a:lnTo>
                      <a:pt x="214" y="55"/>
                    </a:lnTo>
                    <a:lnTo>
                      <a:pt x="213" y="59"/>
                    </a:lnTo>
                    <a:lnTo>
                      <a:pt x="211" y="60"/>
                    </a:lnTo>
                    <a:lnTo>
                      <a:pt x="209" y="55"/>
                    </a:lnTo>
                    <a:lnTo>
                      <a:pt x="207" y="49"/>
                    </a:lnTo>
                    <a:lnTo>
                      <a:pt x="204" y="42"/>
                    </a:lnTo>
                    <a:lnTo>
                      <a:pt x="200" y="37"/>
                    </a:lnTo>
                    <a:lnTo>
                      <a:pt x="198" y="37"/>
                    </a:lnTo>
                    <a:lnTo>
                      <a:pt x="196" y="36"/>
                    </a:lnTo>
                    <a:lnTo>
                      <a:pt x="194" y="36"/>
                    </a:lnTo>
                    <a:lnTo>
                      <a:pt x="193" y="34"/>
                    </a:lnTo>
                    <a:lnTo>
                      <a:pt x="184" y="29"/>
                    </a:lnTo>
                    <a:lnTo>
                      <a:pt x="181" y="26"/>
                    </a:lnTo>
                    <a:lnTo>
                      <a:pt x="180" y="26"/>
                    </a:lnTo>
                    <a:lnTo>
                      <a:pt x="175" y="24"/>
                    </a:lnTo>
                    <a:lnTo>
                      <a:pt x="174" y="24"/>
                    </a:lnTo>
                    <a:lnTo>
                      <a:pt x="175" y="23"/>
                    </a:lnTo>
                    <a:lnTo>
                      <a:pt x="175" y="23"/>
                    </a:lnTo>
                    <a:close/>
                    <a:moveTo>
                      <a:pt x="140" y="73"/>
                    </a:moveTo>
                    <a:lnTo>
                      <a:pt x="153" y="73"/>
                    </a:lnTo>
                    <a:lnTo>
                      <a:pt x="157" y="73"/>
                    </a:lnTo>
                    <a:lnTo>
                      <a:pt x="160" y="72"/>
                    </a:lnTo>
                    <a:lnTo>
                      <a:pt x="160" y="70"/>
                    </a:lnTo>
                    <a:lnTo>
                      <a:pt x="160" y="69"/>
                    </a:lnTo>
                    <a:lnTo>
                      <a:pt x="161" y="66"/>
                    </a:lnTo>
                    <a:lnTo>
                      <a:pt x="163" y="65"/>
                    </a:lnTo>
                    <a:lnTo>
                      <a:pt x="163" y="65"/>
                    </a:lnTo>
                    <a:lnTo>
                      <a:pt x="163" y="65"/>
                    </a:lnTo>
                    <a:lnTo>
                      <a:pt x="164" y="66"/>
                    </a:lnTo>
                    <a:lnTo>
                      <a:pt x="164" y="66"/>
                    </a:lnTo>
                    <a:lnTo>
                      <a:pt x="163" y="69"/>
                    </a:lnTo>
                    <a:lnTo>
                      <a:pt x="163" y="69"/>
                    </a:lnTo>
                    <a:lnTo>
                      <a:pt x="163" y="70"/>
                    </a:lnTo>
                    <a:lnTo>
                      <a:pt x="164" y="72"/>
                    </a:lnTo>
                    <a:lnTo>
                      <a:pt x="164" y="72"/>
                    </a:lnTo>
                    <a:lnTo>
                      <a:pt x="165" y="73"/>
                    </a:lnTo>
                    <a:lnTo>
                      <a:pt x="167" y="73"/>
                    </a:lnTo>
                    <a:lnTo>
                      <a:pt x="167" y="73"/>
                    </a:lnTo>
                    <a:lnTo>
                      <a:pt x="168" y="72"/>
                    </a:lnTo>
                    <a:lnTo>
                      <a:pt x="170" y="72"/>
                    </a:lnTo>
                    <a:lnTo>
                      <a:pt x="171" y="72"/>
                    </a:lnTo>
                    <a:lnTo>
                      <a:pt x="171" y="72"/>
                    </a:lnTo>
                    <a:lnTo>
                      <a:pt x="173" y="73"/>
                    </a:lnTo>
                    <a:lnTo>
                      <a:pt x="174" y="73"/>
                    </a:lnTo>
                    <a:lnTo>
                      <a:pt x="175" y="72"/>
                    </a:lnTo>
                    <a:lnTo>
                      <a:pt x="177" y="72"/>
                    </a:lnTo>
                    <a:lnTo>
                      <a:pt x="178" y="72"/>
                    </a:lnTo>
                    <a:lnTo>
                      <a:pt x="178" y="70"/>
                    </a:lnTo>
                    <a:lnTo>
                      <a:pt x="181" y="66"/>
                    </a:lnTo>
                    <a:lnTo>
                      <a:pt x="183" y="65"/>
                    </a:lnTo>
                    <a:lnTo>
                      <a:pt x="186" y="63"/>
                    </a:lnTo>
                    <a:lnTo>
                      <a:pt x="188" y="62"/>
                    </a:lnTo>
                    <a:lnTo>
                      <a:pt x="190" y="62"/>
                    </a:lnTo>
                    <a:lnTo>
                      <a:pt x="190" y="57"/>
                    </a:lnTo>
                    <a:lnTo>
                      <a:pt x="188" y="52"/>
                    </a:lnTo>
                    <a:lnTo>
                      <a:pt x="190" y="50"/>
                    </a:lnTo>
                    <a:lnTo>
                      <a:pt x="193" y="50"/>
                    </a:lnTo>
                    <a:lnTo>
                      <a:pt x="194" y="50"/>
                    </a:lnTo>
                    <a:lnTo>
                      <a:pt x="196" y="50"/>
                    </a:lnTo>
                    <a:lnTo>
                      <a:pt x="197" y="52"/>
                    </a:lnTo>
                    <a:lnTo>
                      <a:pt x="198" y="50"/>
                    </a:lnTo>
                    <a:lnTo>
                      <a:pt x="200" y="52"/>
                    </a:lnTo>
                    <a:lnTo>
                      <a:pt x="203" y="52"/>
                    </a:lnTo>
                    <a:lnTo>
                      <a:pt x="203" y="52"/>
                    </a:lnTo>
                    <a:lnTo>
                      <a:pt x="203" y="55"/>
                    </a:lnTo>
                    <a:lnTo>
                      <a:pt x="203" y="59"/>
                    </a:lnTo>
                    <a:lnTo>
                      <a:pt x="203" y="60"/>
                    </a:lnTo>
                    <a:lnTo>
                      <a:pt x="201" y="62"/>
                    </a:lnTo>
                    <a:lnTo>
                      <a:pt x="198" y="63"/>
                    </a:lnTo>
                    <a:lnTo>
                      <a:pt x="197" y="63"/>
                    </a:lnTo>
                    <a:lnTo>
                      <a:pt x="196" y="65"/>
                    </a:lnTo>
                    <a:lnTo>
                      <a:pt x="196" y="66"/>
                    </a:lnTo>
                    <a:lnTo>
                      <a:pt x="198" y="69"/>
                    </a:lnTo>
                    <a:lnTo>
                      <a:pt x="198" y="70"/>
                    </a:lnTo>
                    <a:lnTo>
                      <a:pt x="197" y="73"/>
                    </a:lnTo>
                    <a:lnTo>
                      <a:pt x="194" y="73"/>
                    </a:lnTo>
                    <a:lnTo>
                      <a:pt x="191" y="73"/>
                    </a:lnTo>
                    <a:lnTo>
                      <a:pt x="188" y="73"/>
                    </a:lnTo>
                    <a:lnTo>
                      <a:pt x="187" y="75"/>
                    </a:lnTo>
                    <a:lnTo>
                      <a:pt x="183" y="79"/>
                    </a:lnTo>
                    <a:lnTo>
                      <a:pt x="180" y="82"/>
                    </a:lnTo>
                    <a:lnTo>
                      <a:pt x="170" y="86"/>
                    </a:lnTo>
                    <a:lnTo>
                      <a:pt x="165" y="86"/>
                    </a:lnTo>
                    <a:lnTo>
                      <a:pt x="158" y="88"/>
                    </a:lnTo>
                    <a:lnTo>
                      <a:pt x="157" y="86"/>
                    </a:lnTo>
                    <a:lnTo>
                      <a:pt x="155" y="86"/>
                    </a:lnTo>
                    <a:lnTo>
                      <a:pt x="151" y="83"/>
                    </a:lnTo>
                    <a:lnTo>
                      <a:pt x="150" y="83"/>
                    </a:lnTo>
                    <a:lnTo>
                      <a:pt x="148" y="83"/>
                    </a:lnTo>
                    <a:lnTo>
                      <a:pt x="147" y="83"/>
                    </a:lnTo>
                    <a:lnTo>
                      <a:pt x="145" y="83"/>
                    </a:lnTo>
                    <a:lnTo>
                      <a:pt x="144" y="83"/>
                    </a:lnTo>
                    <a:lnTo>
                      <a:pt x="141" y="80"/>
                    </a:lnTo>
                    <a:lnTo>
                      <a:pt x="140" y="80"/>
                    </a:lnTo>
                    <a:lnTo>
                      <a:pt x="135" y="79"/>
                    </a:lnTo>
                    <a:lnTo>
                      <a:pt x="134" y="78"/>
                    </a:lnTo>
                    <a:lnTo>
                      <a:pt x="132" y="76"/>
                    </a:lnTo>
                    <a:lnTo>
                      <a:pt x="132" y="76"/>
                    </a:lnTo>
                    <a:lnTo>
                      <a:pt x="132" y="75"/>
                    </a:lnTo>
                    <a:lnTo>
                      <a:pt x="132" y="73"/>
                    </a:lnTo>
                    <a:lnTo>
                      <a:pt x="134" y="72"/>
                    </a:lnTo>
                    <a:lnTo>
                      <a:pt x="134" y="72"/>
                    </a:lnTo>
                    <a:lnTo>
                      <a:pt x="135" y="72"/>
                    </a:lnTo>
                    <a:lnTo>
                      <a:pt x="135" y="73"/>
                    </a:lnTo>
                    <a:lnTo>
                      <a:pt x="140" y="73"/>
                    </a:lnTo>
                    <a:close/>
                    <a:moveTo>
                      <a:pt x="165" y="19"/>
                    </a:moveTo>
                    <a:lnTo>
                      <a:pt x="168" y="19"/>
                    </a:lnTo>
                    <a:lnTo>
                      <a:pt x="168" y="22"/>
                    </a:lnTo>
                    <a:lnTo>
                      <a:pt x="167" y="23"/>
                    </a:lnTo>
                    <a:lnTo>
                      <a:pt x="164" y="23"/>
                    </a:lnTo>
                    <a:lnTo>
                      <a:pt x="161" y="19"/>
                    </a:lnTo>
                    <a:lnTo>
                      <a:pt x="163" y="19"/>
                    </a:lnTo>
                    <a:lnTo>
                      <a:pt x="165" y="19"/>
                    </a:lnTo>
                    <a:close/>
                    <a:moveTo>
                      <a:pt x="157" y="1"/>
                    </a:moveTo>
                    <a:lnTo>
                      <a:pt x="157" y="3"/>
                    </a:lnTo>
                    <a:lnTo>
                      <a:pt x="155" y="3"/>
                    </a:lnTo>
                    <a:lnTo>
                      <a:pt x="155" y="3"/>
                    </a:lnTo>
                    <a:lnTo>
                      <a:pt x="154" y="3"/>
                    </a:lnTo>
                    <a:lnTo>
                      <a:pt x="153" y="1"/>
                    </a:lnTo>
                    <a:lnTo>
                      <a:pt x="154" y="0"/>
                    </a:lnTo>
                    <a:lnTo>
                      <a:pt x="155" y="0"/>
                    </a:lnTo>
                    <a:lnTo>
                      <a:pt x="157" y="1"/>
                    </a:lnTo>
                    <a:close/>
                    <a:moveTo>
                      <a:pt x="184" y="152"/>
                    </a:moveTo>
                    <a:lnTo>
                      <a:pt x="183" y="157"/>
                    </a:lnTo>
                    <a:lnTo>
                      <a:pt x="181" y="155"/>
                    </a:lnTo>
                    <a:lnTo>
                      <a:pt x="180" y="155"/>
                    </a:lnTo>
                    <a:lnTo>
                      <a:pt x="178" y="154"/>
                    </a:lnTo>
                    <a:lnTo>
                      <a:pt x="178" y="152"/>
                    </a:lnTo>
                    <a:lnTo>
                      <a:pt x="177" y="151"/>
                    </a:lnTo>
                    <a:lnTo>
                      <a:pt x="175" y="149"/>
                    </a:lnTo>
                    <a:lnTo>
                      <a:pt x="175" y="149"/>
                    </a:lnTo>
                    <a:lnTo>
                      <a:pt x="174" y="147"/>
                    </a:lnTo>
                    <a:lnTo>
                      <a:pt x="180" y="152"/>
                    </a:lnTo>
                    <a:lnTo>
                      <a:pt x="180" y="152"/>
                    </a:lnTo>
                    <a:lnTo>
                      <a:pt x="183" y="152"/>
                    </a:lnTo>
                    <a:lnTo>
                      <a:pt x="183" y="152"/>
                    </a:lnTo>
                    <a:lnTo>
                      <a:pt x="184" y="152"/>
                    </a:lnTo>
                    <a:close/>
                    <a:moveTo>
                      <a:pt x="207" y="32"/>
                    </a:moveTo>
                    <a:lnTo>
                      <a:pt x="207" y="32"/>
                    </a:lnTo>
                    <a:lnTo>
                      <a:pt x="206" y="30"/>
                    </a:lnTo>
                    <a:lnTo>
                      <a:pt x="207" y="30"/>
                    </a:lnTo>
                    <a:lnTo>
                      <a:pt x="209" y="30"/>
                    </a:lnTo>
                    <a:lnTo>
                      <a:pt x="207" y="32"/>
                    </a:lnTo>
                    <a:close/>
                    <a:moveTo>
                      <a:pt x="211" y="135"/>
                    </a:moveTo>
                    <a:lnTo>
                      <a:pt x="213" y="137"/>
                    </a:lnTo>
                    <a:lnTo>
                      <a:pt x="213" y="138"/>
                    </a:lnTo>
                    <a:lnTo>
                      <a:pt x="211" y="138"/>
                    </a:lnTo>
                    <a:lnTo>
                      <a:pt x="209" y="137"/>
                    </a:lnTo>
                    <a:lnTo>
                      <a:pt x="207" y="137"/>
                    </a:lnTo>
                    <a:lnTo>
                      <a:pt x="206" y="135"/>
                    </a:lnTo>
                    <a:lnTo>
                      <a:pt x="209" y="134"/>
                    </a:lnTo>
                    <a:lnTo>
                      <a:pt x="211" y="135"/>
                    </a:lnTo>
                    <a:close/>
                    <a:moveTo>
                      <a:pt x="196" y="27"/>
                    </a:moveTo>
                    <a:lnTo>
                      <a:pt x="196" y="26"/>
                    </a:lnTo>
                    <a:lnTo>
                      <a:pt x="197" y="26"/>
                    </a:lnTo>
                    <a:lnTo>
                      <a:pt x="197" y="27"/>
                    </a:lnTo>
                    <a:lnTo>
                      <a:pt x="197" y="27"/>
                    </a:lnTo>
                    <a:lnTo>
                      <a:pt x="198" y="29"/>
                    </a:lnTo>
                    <a:lnTo>
                      <a:pt x="197" y="29"/>
                    </a:lnTo>
                    <a:lnTo>
                      <a:pt x="197" y="27"/>
                    </a:lnTo>
                    <a:lnTo>
                      <a:pt x="196" y="2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76" name="Freeform 270">
                <a:extLst>
                  <a:ext uri="{FF2B5EF4-FFF2-40B4-BE49-F238E27FC236}">
                    <a16:creationId xmlns:a16="http://schemas.microsoft.com/office/drawing/2014/main" id="{58B1185B-4CAD-7AEF-E922-18381262627A}"/>
                  </a:ext>
                </a:extLst>
              </p:cNvPr>
              <p:cNvSpPr>
                <a:spLocks noEditPoints="1"/>
              </p:cNvSpPr>
              <p:nvPr/>
            </p:nvSpPr>
            <p:spPr bwMode="auto">
              <a:xfrm>
                <a:off x="8498789" y="4368363"/>
                <a:ext cx="1033862" cy="942766"/>
              </a:xfrm>
              <a:custGeom>
                <a:avLst/>
                <a:gdLst>
                  <a:gd name="T0" fmla="*/ 712 w 715"/>
                  <a:gd name="T1" fmla="*/ 322 h 652"/>
                  <a:gd name="T2" fmla="*/ 710 w 715"/>
                  <a:gd name="T3" fmla="*/ 281 h 652"/>
                  <a:gd name="T4" fmla="*/ 671 w 715"/>
                  <a:gd name="T5" fmla="*/ 247 h 652"/>
                  <a:gd name="T6" fmla="*/ 635 w 715"/>
                  <a:gd name="T7" fmla="*/ 187 h 652"/>
                  <a:gd name="T8" fmla="*/ 514 w 715"/>
                  <a:gd name="T9" fmla="*/ 1 h 652"/>
                  <a:gd name="T10" fmla="*/ 417 w 715"/>
                  <a:gd name="T11" fmla="*/ 21 h 652"/>
                  <a:gd name="T12" fmla="*/ 421 w 715"/>
                  <a:gd name="T13" fmla="*/ 66 h 652"/>
                  <a:gd name="T14" fmla="*/ 468 w 715"/>
                  <a:gd name="T15" fmla="*/ 126 h 652"/>
                  <a:gd name="T16" fmla="*/ 326 w 715"/>
                  <a:gd name="T17" fmla="*/ 24 h 652"/>
                  <a:gd name="T18" fmla="*/ 345 w 715"/>
                  <a:gd name="T19" fmla="*/ 18 h 652"/>
                  <a:gd name="T20" fmla="*/ 302 w 715"/>
                  <a:gd name="T21" fmla="*/ 29 h 652"/>
                  <a:gd name="T22" fmla="*/ 573 w 715"/>
                  <a:gd name="T23" fmla="*/ 539 h 652"/>
                  <a:gd name="T24" fmla="*/ 694 w 715"/>
                  <a:gd name="T25" fmla="*/ 271 h 652"/>
                  <a:gd name="T26" fmla="*/ 654 w 715"/>
                  <a:gd name="T27" fmla="*/ 223 h 652"/>
                  <a:gd name="T28" fmla="*/ 609 w 715"/>
                  <a:gd name="T29" fmla="*/ 172 h 652"/>
                  <a:gd name="T30" fmla="*/ 580 w 715"/>
                  <a:gd name="T31" fmla="*/ 126 h 652"/>
                  <a:gd name="T32" fmla="*/ 539 w 715"/>
                  <a:gd name="T33" fmla="*/ 56 h 652"/>
                  <a:gd name="T34" fmla="*/ 521 w 715"/>
                  <a:gd name="T35" fmla="*/ 14 h 652"/>
                  <a:gd name="T36" fmla="*/ 506 w 715"/>
                  <a:gd name="T37" fmla="*/ 52 h 652"/>
                  <a:gd name="T38" fmla="*/ 465 w 715"/>
                  <a:gd name="T39" fmla="*/ 132 h 652"/>
                  <a:gd name="T40" fmla="*/ 408 w 715"/>
                  <a:gd name="T41" fmla="*/ 95 h 652"/>
                  <a:gd name="T42" fmla="*/ 421 w 715"/>
                  <a:gd name="T43" fmla="*/ 43 h 652"/>
                  <a:gd name="T44" fmla="*/ 401 w 715"/>
                  <a:gd name="T45" fmla="*/ 37 h 652"/>
                  <a:gd name="T46" fmla="*/ 368 w 715"/>
                  <a:gd name="T47" fmla="*/ 31 h 652"/>
                  <a:gd name="T48" fmla="*/ 333 w 715"/>
                  <a:gd name="T49" fmla="*/ 20 h 652"/>
                  <a:gd name="T50" fmla="*/ 322 w 715"/>
                  <a:gd name="T51" fmla="*/ 37 h 652"/>
                  <a:gd name="T52" fmla="*/ 305 w 715"/>
                  <a:gd name="T53" fmla="*/ 52 h 652"/>
                  <a:gd name="T54" fmla="*/ 297 w 715"/>
                  <a:gd name="T55" fmla="*/ 86 h 652"/>
                  <a:gd name="T56" fmla="*/ 267 w 715"/>
                  <a:gd name="T57" fmla="*/ 93 h 652"/>
                  <a:gd name="T58" fmla="*/ 231 w 715"/>
                  <a:gd name="T59" fmla="*/ 70 h 652"/>
                  <a:gd name="T60" fmla="*/ 218 w 715"/>
                  <a:gd name="T61" fmla="*/ 80 h 652"/>
                  <a:gd name="T62" fmla="*/ 211 w 715"/>
                  <a:gd name="T63" fmla="*/ 96 h 652"/>
                  <a:gd name="T64" fmla="*/ 203 w 715"/>
                  <a:gd name="T65" fmla="*/ 109 h 652"/>
                  <a:gd name="T66" fmla="*/ 187 w 715"/>
                  <a:gd name="T67" fmla="*/ 118 h 652"/>
                  <a:gd name="T68" fmla="*/ 167 w 715"/>
                  <a:gd name="T69" fmla="*/ 126 h 652"/>
                  <a:gd name="T70" fmla="*/ 106 w 715"/>
                  <a:gd name="T71" fmla="*/ 182 h 652"/>
                  <a:gd name="T72" fmla="*/ 22 w 715"/>
                  <a:gd name="T73" fmla="*/ 215 h 652"/>
                  <a:gd name="T74" fmla="*/ 13 w 715"/>
                  <a:gd name="T75" fmla="*/ 296 h 652"/>
                  <a:gd name="T76" fmla="*/ 22 w 715"/>
                  <a:gd name="T77" fmla="*/ 335 h 652"/>
                  <a:gd name="T78" fmla="*/ 48 w 715"/>
                  <a:gd name="T79" fmla="*/ 440 h 652"/>
                  <a:gd name="T80" fmla="*/ 104 w 715"/>
                  <a:gd name="T81" fmla="*/ 463 h 652"/>
                  <a:gd name="T82" fmla="*/ 184 w 715"/>
                  <a:gd name="T83" fmla="*/ 450 h 652"/>
                  <a:gd name="T84" fmla="*/ 319 w 715"/>
                  <a:gd name="T85" fmla="*/ 404 h 652"/>
                  <a:gd name="T86" fmla="*/ 378 w 715"/>
                  <a:gd name="T87" fmla="*/ 434 h 652"/>
                  <a:gd name="T88" fmla="*/ 405 w 715"/>
                  <a:gd name="T89" fmla="*/ 470 h 652"/>
                  <a:gd name="T90" fmla="*/ 438 w 715"/>
                  <a:gd name="T91" fmla="*/ 444 h 652"/>
                  <a:gd name="T92" fmla="*/ 442 w 715"/>
                  <a:gd name="T93" fmla="*/ 454 h 652"/>
                  <a:gd name="T94" fmla="*/ 463 w 715"/>
                  <a:gd name="T95" fmla="*/ 487 h 652"/>
                  <a:gd name="T96" fmla="*/ 504 w 715"/>
                  <a:gd name="T97" fmla="*/ 539 h 652"/>
                  <a:gd name="T98" fmla="*/ 566 w 715"/>
                  <a:gd name="T99" fmla="*/ 534 h 652"/>
                  <a:gd name="T100" fmla="*/ 590 w 715"/>
                  <a:gd name="T101" fmla="*/ 555 h 652"/>
                  <a:gd name="T102" fmla="*/ 664 w 715"/>
                  <a:gd name="T103" fmla="*/ 474 h 652"/>
                  <a:gd name="T104" fmla="*/ 675 w 715"/>
                  <a:gd name="T105" fmla="*/ 442 h 652"/>
                  <a:gd name="T106" fmla="*/ 705 w 715"/>
                  <a:gd name="T107" fmla="*/ 385 h 652"/>
                  <a:gd name="T108" fmla="*/ 559 w 715"/>
                  <a:gd name="T109" fmla="*/ 585 h 652"/>
                  <a:gd name="T110" fmla="*/ 567 w 715"/>
                  <a:gd name="T111" fmla="*/ 542 h 652"/>
                  <a:gd name="T112" fmla="*/ 596 w 715"/>
                  <a:gd name="T113" fmla="*/ 599 h 652"/>
                  <a:gd name="T114" fmla="*/ 570 w 715"/>
                  <a:gd name="T115" fmla="*/ 621 h 652"/>
                  <a:gd name="T116" fmla="*/ 585 w 715"/>
                  <a:gd name="T117" fmla="*/ 651 h 652"/>
                  <a:gd name="T118" fmla="*/ 608 w 715"/>
                  <a:gd name="T119" fmla="*/ 639 h 652"/>
                  <a:gd name="T120" fmla="*/ 621 w 715"/>
                  <a:gd name="T121" fmla="*/ 616 h 652"/>
                  <a:gd name="T122" fmla="*/ 544 w 715"/>
                  <a:gd name="T123" fmla="*/ 575 h 652"/>
                  <a:gd name="T124" fmla="*/ 435 w 715"/>
                  <a:gd name="T125" fmla="*/ 490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15" h="652">
                    <a:moveTo>
                      <a:pt x="216" y="79"/>
                    </a:moveTo>
                    <a:lnTo>
                      <a:pt x="216" y="79"/>
                    </a:lnTo>
                    <a:lnTo>
                      <a:pt x="216" y="80"/>
                    </a:lnTo>
                    <a:lnTo>
                      <a:pt x="216" y="82"/>
                    </a:lnTo>
                    <a:lnTo>
                      <a:pt x="214" y="82"/>
                    </a:lnTo>
                    <a:lnTo>
                      <a:pt x="216" y="79"/>
                    </a:lnTo>
                    <a:close/>
                    <a:moveTo>
                      <a:pt x="204" y="96"/>
                    </a:moveTo>
                    <a:lnTo>
                      <a:pt x="205" y="95"/>
                    </a:lnTo>
                    <a:lnTo>
                      <a:pt x="204" y="93"/>
                    </a:lnTo>
                    <a:lnTo>
                      <a:pt x="204" y="95"/>
                    </a:lnTo>
                    <a:lnTo>
                      <a:pt x="204" y="96"/>
                    </a:lnTo>
                    <a:close/>
                    <a:moveTo>
                      <a:pt x="43" y="195"/>
                    </a:moveTo>
                    <a:lnTo>
                      <a:pt x="42" y="197"/>
                    </a:lnTo>
                    <a:lnTo>
                      <a:pt x="43" y="197"/>
                    </a:lnTo>
                    <a:lnTo>
                      <a:pt x="45" y="197"/>
                    </a:lnTo>
                    <a:lnTo>
                      <a:pt x="45" y="195"/>
                    </a:lnTo>
                    <a:lnTo>
                      <a:pt x="45" y="194"/>
                    </a:lnTo>
                    <a:lnTo>
                      <a:pt x="43" y="195"/>
                    </a:lnTo>
                    <a:lnTo>
                      <a:pt x="43" y="195"/>
                    </a:lnTo>
                    <a:close/>
                    <a:moveTo>
                      <a:pt x="712" y="316"/>
                    </a:moveTo>
                    <a:lnTo>
                      <a:pt x="712" y="316"/>
                    </a:lnTo>
                    <a:lnTo>
                      <a:pt x="712" y="317"/>
                    </a:lnTo>
                    <a:lnTo>
                      <a:pt x="712" y="319"/>
                    </a:lnTo>
                    <a:lnTo>
                      <a:pt x="712" y="322"/>
                    </a:lnTo>
                    <a:lnTo>
                      <a:pt x="712" y="322"/>
                    </a:lnTo>
                    <a:lnTo>
                      <a:pt x="711" y="320"/>
                    </a:lnTo>
                    <a:lnTo>
                      <a:pt x="711" y="319"/>
                    </a:lnTo>
                    <a:lnTo>
                      <a:pt x="711" y="319"/>
                    </a:lnTo>
                    <a:lnTo>
                      <a:pt x="711" y="317"/>
                    </a:lnTo>
                    <a:lnTo>
                      <a:pt x="711" y="316"/>
                    </a:lnTo>
                    <a:lnTo>
                      <a:pt x="712" y="316"/>
                    </a:lnTo>
                    <a:close/>
                    <a:moveTo>
                      <a:pt x="712" y="327"/>
                    </a:moveTo>
                    <a:lnTo>
                      <a:pt x="712" y="329"/>
                    </a:lnTo>
                    <a:lnTo>
                      <a:pt x="712" y="329"/>
                    </a:lnTo>
                    <a:lnTo>
                      <a:pt x="712" y="329"/>
                    </a:lnTo>
                    <a:lnTo>
                      <a:pt x="712" y="329"/>
                    </a:lnTo>
                    <a:lnTo>
                      <a:pt x="714" y="326"/>
                    </a:lnTo>
                    <a:lnTo>
                      <a:pt x="714" y="325"/>
                    </a:lnTo>
                    <a:lnTo>
                      <a:pt x="714" y="323"/>
                    </a:lnTo>
                    <a:lnTo>
                      <a:pt x="712" y="323"/>
                    </a:lnTo>
                    <a:lnTo>
                      <a:pt x="712" y="325"/>
                    </a:lnTo>
                    <a:lnTo>
                      <a:pt x="712" y="327"/>
                    </a:lnTo>
                    <a:close/>
                    <a:moveTo>
                      <a:pt x="705" y="281"/>
                    </a:moveTo>
                    <a:lnTo>
                      <a:pt x="705" y="283"/>
                    </a:lnTo>
                    <a:lnTo>
                      <a:pt x="705" y="286"/>
                    </a:lnTo>
                    <a:lnTo>
                      <a:pt x="705" y="289"/>
                    </a:lnTo>
                    <a:lnTo>
                      <a:pt x="705" y="292"/>
                    </a:lnTo>
                    <a:lnTo>
                      <a:pt x="710" y="281"/>
                    </a:lnTo>
                    <a:lnTo>
                      <a:pt x="711" y="279"/>
                    </a:lnTo>
                    <a:lnTo>
                      <a:pt x="711" y="276"/>
                    </a:lnTo>
                    <a:lnTo>
                      <a:pt x="711" y="274"/>
                    </a:lnTo>
                    <a:lnTo>
                      <a:pt x="710" y="271"/>
                    </a:lnTo>
                    <a:lnTo>
                      <a:pt x="708" y="271"/>
                    </a:lnTo>
                    <a:lnTo>
                      <a:pt x="707" y="273"/>
                    </a:lnTo>
                    <a:lnTo>
                      <a:pt x="710" y="274"/>
                    </a:lnTo>
                    <a:lnTo>
                      <a:pt x="708" y="277"/>
                    </a:lnTo>
                    <a:lnTo>
                      <a:pt x="705" y="281"/>
                    </a:lnTo>
                    <a:close/>
                    <a:moveTo>
                      <a:pt x="661" y="223"/>
                    </a:moveTo>
                    <a:lnTo>
                      <a:pt x="662" y="224"/>
                    </a:lnTo>
                    <a:lnTo>
                      <a:pt x="662" y="224"/>
                    </a:lnTo>
                    <a:lnTo>
                      <a:pt x="661" y="224"/>
                    </a:lnTo>
                    <a:lnTo>
                      <a:pt x="661" y="224"/>
                    </a:lnTo>
                    <a:lnTo>
                      <a:pt x="661" y="224"/>
                    </a:lnTo>
                    <a:lnTo>
                      <a:pt x="661" y="224"/>
                    </a:lnTo>
                    <a:lnTo>
                      <a:pt x="661" y="223"/>
                    </a:lnTo>
                    <a:lnTo>
                      <a:pt x="661" y="223"/>
                    </a:lnTo>
                    <a:close/>
                    <a:moveTo>
                      <a:pt x="671" y="247"/>
                    </a:moveTo>
                    <a:lnTo>
                      <a:pt x="671" y="248"/>
                    </a:lnTo>
                    <a:lnTo>
                      <a:pt x="674" y="251"/>
                    </a:lnTo>
                    <a:lnTo>
                      <a:pt x="675" y="251"/>
                    </a:lnTo>
                    <a:lnTo>
                      <a:pt x="674" y="248"/>
                    </a:lnTo>
                    <a:lnTo>
                      <a:pt x="671" y="247"/>
                    </a:lnTo>
                    <a:close/>
                    <a:moveTo>
                      <a:pt x="651" y="220"/>
                    </a:moveTo>
                    <a:lnTo>
                      <a:pt x="649" y="220"/>
                    </a:lnTo>
                    <a:lnTo>
                      <a:pt x="649" y="221"/>
                    </a:lnTo>
                    <a:lnTo>
                      <a:pt x="651" y="223"/>
                    </a:lnTo>
                    <a:lnTo>
                      <a:pt x="651" y="223"/>
                    </a:lnTo>
                    <a:lnTo>
                      <a:pt x="651" y="221"/>
                    </a:lnTo>
                    <a:lnTo>
                      <a:pt x="651" y="221"/>
                    </a:lnTo>
                    <a:lnTo>
                      <a:pt x="651" y="220"/>
                    </a:lnTo>
                    <a:lnTo>
                      <a:pt x="651" y="220"/>
                    </a:lnTo>
                    <a:close/>
                    <a:moveTo>
                      <a:pt x="633" y="182"/>
                    </a:moveTo>
                    <a:lnTo>
                      <a:pt x="633" y="182"/>
                    </a:lnTo>
                    <a:lnTo>
                      <a:pt x="633" y="182"/>
                    </a:lnTo>
                    <a:lnTo>
                      <a:pt x="633" y="182"/>
                    </a:lnTo>
                    <a:lnTo>
                      <a:pt x="633" y="184"/>
                    </a:lnTo>
                    <a:lnTo>
                      <a:pt x="632" y="184"/>
                    </a:lnTo>
                    <a:lnTo>
                      <a:pt x="633" y="184"/>
                    </a:lnTo>
                    <a:lnTo>
                      <a:pt x="633" y="182"/>
                    </a:lnTo>
                    <a:close/>
                    <a:moveTo>
                      <a:pt x="635" y="187"/>
                    </a:moveTo>
                    <a:lnTo>
                      <a:pt x="635" y="185"/>
                    </a:lnTo>
                    <a:lnTo>
                      <a:pt x="635" y="184"/>
                    </a:lnTo>
                    <a:lnTo>
                      <a:pt x="633" y="185"/>
                    </a:lnTo>
                    <a:lnTo>
                      <a:pt x="633" y="187"/>
                    </a:lnTo>
                    <a:lnTo>
                      <a:pt x="635" y="187"/>
                    </a:lnTo>
                    <a:lnTo>
                      <a:pt x="635" y="187"/>
                    </a:lnTo>
                    <a:close/>
                    <a:moveTo>
                      <a:pt x="583" y="148"/>
                    </a:moveTo>
                    <a:lnTo>
                      <a:pt x="586" y="152"/>
                    </a:lnTo>
                    <a:lnTo>
                      <a:pt x="586" y="152"/>
                    </a:lnTo>
                    <a:lnTo>
                      <a:pt x="587" y="152"/>
                    </a:lnTo>
                    <a:lnTo>
                      <a:pt x="587" y="149"/>
                    </a:lnTo>
                    <a:lnTo>
                      <a:pt x="587" y="149"/>
                    </a:lnTo>
                    <a:lnTo>
                      <a:pt x="585" y="148"/>
                    </a:lnTo>
                    <a:lnTo>
                      <a:pt x="583" y="148"/>
                    </a:lnTo>
                    <a:close/>
                    <a:moveTo>
                      <a:pt x="516" y="11"/>
                    </a:moveTo>
                    <a:lnTo>
                      <a:pt x="516" y="11"/>
                    </a:lnTo>
                    <a:lnTo>
                      <a:pt x="514" y="8"/>
                    </a:lnTo>
                    <a:lnTo>
                      <a:pt x="514" y="10"/>
                    </a:lnTo>
                    <a:lnTo>
                      <a:pt x="514" y="10"/>
                    </a:lnTo>
                    <a:lnTo>
                      <a:pt x="514" y="10"/>
                    </a:lnTo>
                    <a:lnTo>
                      <a:pt x="514" y="10"/>
                    </a:lnTo>
                    <a:lnTo>
                      <a:pt x="514" y="11"/>
                    </a:lnTo>
                    <a:lnTo>
                      <a:pt x="516" y="11"/>
                    </a:lnTo>
                    <a:close/>
                    <a:moveTo>
                      <a:pt x="514" y="1"/>
                    </a:moveTo>
                    <a:lnTo>
                      <a:pt x="513" y="1"/>
                    </a:lnTo>
                    <a:lnTo>
                      <a:pt x="514" y="0"/>
                    </a:lnTo>
                    <a:lnTo>
                      <a:pt x="514" y="0"/>
                    </a:lnTo>
                    <a:lnTo>
                      <a:pt x="514" y="1"/>
                    </a:lnTo>
                    <a:lnTo>
                      <a:pt x="514" y="1"/>
                    </a:lnTo>
                    <a:lnTo>
                      <a:pt x="514" y="1"/>
                    </a:lnTo>
                    <a:close/>
                    <a:moveTo>
                      <a:pt x="516" y="3"/>
                    </a:moveTo>
                    <a:lnTo>
                      <a:pt x="516" y="1"/>
                    </a:lnTo>
                    <a:lnTo>
                      <a:pt x="516" y="1"/>
                    </a:lnTo>
                    <a:lnTo>
                      <a:pt x="517" y="1"/>
                    </a:lnTo>
                    <a:lnTo>
                      <a:pt x="516" y="3"/>
                    </a:lnTo>
                    <a:close/>
                    <a:moveTo>
                      <a:pt x="411" y="66"/>
                    </a:moveTo>
                    <a:lnTo>
                      <a:pt x="411" y="66"/>
                    </a:lnTo>
                    <a:lnTo>
                      <a:pt x="411" y="67"/>
                    </a:lnTo>
                    <a:lnTo>
                      <a:pt x="409" y="67"/>
                    </a:lnTo>
                    <a:lnTo>
                      <a:pt x="408" y="67"/>
                    </a:lnTo>
                    <a:lnTo>
                      <a:pt x="408" y="66"/>
                    </a:lnTo>
                    <a:lnTo>
                      <a:pt x="409" y="64"/>
                    </a:lnTo>
                    <a:lnTo>
                      <a:pt x="411" y="64"/>
                    </a:lnTo>
                    <a:lnTo>
                      <a:pt x="411" y="66"/>
                    </a:lnTo>
                    <a:close/>
                    <a:moveTo>
                      <a:pt x="417" y="100"/>
                    </a:moveTo>
                    <a:lnTo>
                      <a:pt x="417" y="99"/>
                    </a:lnTo>
                    <a:lnTo>
                      <a:pt x="417" y="99"/>
                    </a:lnTo>
                    <a:lnTo>
                      <a:pt x="415" y="99"/>
                    </a:lnTo>
                    <a:lnTo>
                      <a:pt x="417" y="100"/>
                    </a:lnTo>
                    <a:close/>
                    <a:moveTo>
                      <a:pt x="417" y="23"/>
                    </a:moveTo>
                    <a:lnTo>
                      <a:pt x="418" y="21"/>
                    </a:lnTo>
                    <a:lnTo>
                      <a:pt x="419" y="18"/>
                    </a:lnTo>
                    <a:lnTo>
                      <a:pt x="419" y="17"/>
                    </a:lnTo>
                    <a:lnTo>
                      <a:pt x="417" y="21"/>
                    </a:lnTo>
                    <a:lnTo>
                      <a:pt x="415" y="23"/>
                    </a:lnTo>
                    <a:lnTo>
                      <a:pt x="417" y="23"/>
                    </a:lnTo>
                    <a:close/>
                    <a:moveTo>
                      <a:pt x="424" y="103"/>
                    </a:moveTo>
                    <a:lnTo>
                      <a:pt x="424" y="103"/>
                    </a:lnTo>
                    <a:lnTo>
                      <a:pt x="425" y="103"/>
                    </a:lnTo>
                    <a:lnTo>
                      <a:pt x="425" y="102"/>
                    </a:lnTo>
                    <a:lnTo>
                      <a:pt x="424" y="100"/>
                    </a:lnTo>
                    <a:lnTo>
                      <a:pt x="424" y="99"/>
                    </a:lnTo>
                    <a:lnTo>
                      <a:pt x="422" y="100"/>
                    </a:lnTo>
                    <a:lnTo>
                      <a:pt x="422" y="102"/>
                    </a:lnTo>
                    <a:lnTo>
                      <a:pt x="422" y="102"/>
                    </a:lnTo>
                    <a:lnTo>
                      <a:pt x="424" y="103"/>
                    </a:lnTo>
                    <a:close/>
                    <a:moveTo>
                      <a:pt x="409" y="29"/>
                    </a:moveTo>
                    <a:lnTo>
                      <a:pt x="411" y="29"/>
                    </a:lnTo>
                    <a:lnTo>
                      <a:pt x="412" y="27"/>
                    </a:lnTo>
                    <a:lnTo>
                      <a:pt x="414" y="26"/>
                    </a:lnTo>
                    <a:lnTo>
                      <a:pt x="414" y="24"/>
                    </a:lnTo>
                    <a:lnTo>
                      <a:pt x="411" y="26"/>
                    </a:lnTo>
                    <a:lnTo>
                      <a:pt x="411" y="27"/>
                    </a:lnTo>
                    <a:lnTo>
                      <a:pt x="409" y="29"/>
                    </a:lnTo>
                    <a:close/>
                    <a:moveTo>
                      <a:pt x="419" y="73"/>
                    </a:moveTo>
                    <a:lnTo>
                      <a:pt x="419" y="72"/>
                    </a:lnTo>
                    <a:lnTo>
                      <a:pt x="421" y="67"/>
                    </a:lnTo>
                    <a:lnTo>
                      <a:pt x="421" y="66"/>
                    </a:lnTo>
                    <a:lnTo>
                      <a:pt x="419" y="67"/>
                    </a:lnTo>
                    <a:lnTo>
                      <a:pt x="419" y="67"/>
                    </a:lnTo>
                    <a:lnTo>
                      <a:pt x="418" y="66"/>
                    </a:lnTo>
                    <a:lnTo>
                      <a:pt x="418" y="64"/>
                    </a:lnTo>
                    <a:lnTo>
                      <a:pt x="415" y="66"/>
                    </a:lnTo>
                    <a:lnTo>
                      <a:pt x="414" y="69"/>
                    </a:lnTo>
                    <a:lnTo>
                      <a:pt x="414" y="72"/>
                    </a:lnTo>
                    <a:lnTo>
                      <a:pt x="412" y="75"/>
                    </a:lnTo>
                    <a:lnTo>
                      <a:pt x="415" y="75"/>
                    </a:lnTo>
                    <a:lnTo>
                      <a:pt x="418" y="76"/>
                    </a:lnTo>
                    <a:lnTo>
                      <a:pt x="421" y="76"/>
                    </a:lnTo>
                    <a:lnTo>
                      <a:pt x="422" y="75"/>
                    </a:lnTo>
                    <a:lnTo>
                      <a:pt x="419" y="73"/>
                    </a:lnTo>
                    <a:close/>
                    <a:moveTo>
                      <a:pt x="468" y="125"/>
                    </a:moveTo>
                    <a:lnTo>
                      <a:pt x="467" y="125"/>
                    </a:lnTo>
                    <a:lnTo>
                      <a:pt x="467" y="126"/>
                    </a:lnTo>
                    <a:lnTo>
                      <a:pt x="467" y="126"/>
                    </a:lnTo>
                    <a:lnTo>
                      <a:pt x="465" y="126"/>
                    </a:lnTo>
                    <a:lnTo>
                      <a:pt x="467" y="128"/>
                    </a:lnTo>
                    <a:lnTo>
                      <a:pt x="467" y="128"/>
                    </a:lnTo>
                    <a:lnTo>
                      <a:pt x="468" y="128"/>
                    </a:lnTo>
                    <a:lnTo>
                      <a:pt x="468" y="128"/>
                    </a:lnTo>
                    <a:lnTo>
                      <a:pt x="468" y="126"/>
                    </a:lnTo>
                    <a:lnTo>
                      <a:pt x="468" y="126"/>
                    </a:lnTo>
                    <a:lnTo>
                      <a:pt x="468" y="125"/>
                    </a:lnTo>
                    <a:close/>
                    <a:moveTo>
                      <a:pt x="421" y="100"/>
                    </a:moveTo>
                    <a:lnTo>
                      <a:pt x="421" y="99"/>
                    </a:lnTo>
                    <a:lnTo>
                      <a:pt x="421" y="99"/>
                    </a:lnTo>
                    <a:lnTo>
                      <a:pt x="421" y="99"/>
                    </a:lnTo>
                    <a:lnTo>
                      <a:pt x="421" y="99"/>
                    </a:lnTo>
                    <a:lnTo>
                      <a:pt x="421" y="100"/>
                    </a:lnTo>
                    <a:close/>
                    <a:moveTo>
                      <a:pt x="468" y="115"/>
                    </a:moveTo>
                    <a:lnTo>
                      <a:pt x="465" y="115"/>
                    </a:lnTo>
                    <a:lnTo>
                      <a:pt x="463" y="118"/>
                    </a:lnTo>
                    <a:lnTo>
                      <a:pt x="461" y="121"/>
                    </a:lnTo>
                    <a:lnTo>
                      <a:pt x="464" y="121"/>
                    </a:lnTo>
                    <a:lnTo>
                      <a:pt x="468" y="118"/>
                    </a:lnTo>
                    <a:lnTo>
                      <a:pt x="471" y="116"/>
                    </a:lnTo>
                    <a:lnTo>
                      <a:pt x="468" y="115"/>
                    </a:lnTo>
                    <a:close/>
                    <a:moveTo>
                      <a:pt x="315" y="31"/>
                    </a:moveTo>
                    <a:lnTo>
                      <a:pt x="316" y="33"/>
                    </a:lnTo>
                    <a:lnTo>
                      <a:pt x="319" y="33"/>
                    </a:lnTo>
                    <a:lnTo>
                      <a:pt x="320" y="31"/>
                    </a:lnTo>
                    <a:lnTo>
                      <a:pt x="322" y="30"/>
                    </a:lnTo>
                    <a:lnTo>
                      <a:pt x="325" y="27"/>
                    </a:lnTo>
                    <a:lnTo>
                      <a:pt x="326" y="26"/>
                    </a:lnTo>
                    <a:lnTo>
                      <a:pt x="328" y="24"/>
                    </a:lnTo>
                    <a:lnTo>
                      <a:pt x="326" y="24"/>
                    </a:lnTo>
                    <a:lnTo>
                      <a:pt x="326" y="23"/>
                    </a:lnTo>
                    <a:lnTo>
                      <a:pt x="325" y="21"/>
                    </a:lnTo>
                    <a:lnTo>
                      <a:pt x="323" y="20"/>
                    </a:lnTo>
                    <a:lnTo>
                      <a:pt x="320" y="21"/>
                    </a:lnTo>
                    <a:lnTo>
                      <a:pt x="316" y="23"/>
                    </a:lnTo>
                    <a:lnTo>
                      <a:pt x="313" y="23"/>
                    </a:lnTo>
                    <a:lnTo>
                      <a:pt x="310" y="21"/>
                    </a:lnTo>
                    <a:lnTo>
                      <a:pt x="309" y="21"/>
                    </a:lnTo>
                    <a:lnTo>
                      <a:pt x="307" y="20"/>
                    </a:lnTo>
                    <a:lnTo>
                      <a:pt x="307" y="20"/>
                    </a:lnTo>
                    <a:lnTo>
                      <a:pt x="307" y="21"/>
                    </a:lnTo>
                    <a:lnTo>
                      <a:pt x="307" y="24"/>
                    </a:lnTo>
                    <a:lnTo>
                      <a:pt x="309" y="26"/>
                    </a:lnTo>
                    <a:lnTo>
                      <a:pt x="310" y="29"/>
                    </a:lnTo>
                    <a:lnTo>
                      <a:pt x="312" y="30"/>
                    </a:lnTo>
                    <a:lnTo>
                      <a:pt x="315" y="31"/>
                    </a:lnTo>
                    <a:close/>
                    <a:moveTo>
                      <a:pt x="345" y="17"/>
                    </a:moveTo>
                    <a:lnTo>
                      <a:pt x="346" y="16"/>
                    </a:lnTo>
                    <a:lnTo>
                      <a:pt x="346" y="18"/>
                    </a:lnTo>
                    <a:lnTo>
                      <a:pt x="346" y="21"/>
                    </a:lnTo>
                    <a:lnTo>
                      <a:pt x="346" y="23"/>
                    </a:lnTo>
                    <a:lnTo>
                      <a:pt x="345" y="21"/>
                    </a:lnTo>
                    <a:lnTo>
                      <a:pt x="345" y="20"/>
                    </a:lnTo>
                    <a:lnTo>
                      <a:pt x="345" y="18"/>
                    </a:lnTo>
                    <a:lnTo>
                      <a:pt x="345" y="17"/>
                    </a:lnTo>
                    <a:lnTo>
                      <a:pt x="345" y="17"/>
                    </a:lnTo>
                    <a:lnTo>
                      <a:pt x="345" y="17"/>
                    </a:lnTo>
                    <a:lnTo>
                      <a:pt x="345" y="17"/>
                    </a:lnTo>
                    <a:close/>
                    <a:moveTo>
                      <a:pt x="305" y="29"/>
                    </a:moveTo>
                    <a:lnTo>
                      <a:pt x="305" y="27"/>
                    </a:lnTo>
                    <a:lnTo>
                      <a:pt x="303" y="26"/>
                    </a:lnTo>
                    <a:lnTo>
                      <a:pt x="303" y="24"/>
                    </a:lnTo>
                    <a:lnTo>
                      <a:pt x="305" y="23"/>
                    </a:lnTo>
                    <a:lnTo>
                      <a:pt x="306" y="23"/>
                    </a:lnTo>
                    <a:lnTo>
                      <a:pt x="307" y="24"/>
                    </a:lnTo>
                    <a:lnTo>
                      <a:pt x="307" y="26"/>
                    </a:lnTo>
                    <a:lnTo>
                      <a:pt x="307" y="27"/>
                    </a:lnTo>
                    <a:lnTo>
                      <a:pt x="309" y="29"/>
                    </a:lnTo>
                    <a:lnTo>
                      <a:pt x="310" y="30"/>
                    </a:lnTo>
                    <a:lnTo>
                      <a:pt x="310" y="30"/>
                    </a:lnTo>
                    <a:lnTo>
                      <a:pt x="309" y="31"/>
                    </a:lnTo>
                    <a:lnTo>
                      <a:pt x="309" y="31"/>
                    </a:lnTo>
                    <a:lnTo>
                      <a:pt x="305" y="31"/>
                    </a:lnTo>
                    <a:lnTo>
                      <a:pt x="303" y="31"/>
                    </a:lnTo>
                    <a:lnTo>
                      <a:pt x="303" y="31"/>
                    </a:lnTo>
                    <a:lnTo>
                      <a:pt x="302" y="31"/>
                    </a:lnTo>
                    <a:lnTo>
                      <a:pt x="302" y="30"/>
                    </a:lnTo>
                    <a:lnTo>
                      <a:pt x="302" y="29"/>
                    </a:lnTo>
                    <a:lnTo>
                      <a:pt x="303" y="29"/>
                    </a:lnTo>
                    <a:lnTo>
                      <a:pt x="303" y="29"/>
                    </a:lnTo>
                    <a:lnTo>
                      <a:pt x="305" y="29"/>
                    </a:lnTo>
                    <a:close/>
                    <a:moveTo>
                      <a:pt x="621" y="586"/>
                    </a:moveTo>
                    <a:lnTo>
                      <a:pt x="619" y="586"/>
                    </a:lnTo>
                    <a:lnTo>
                      <a:pt x="619" y="585"/>
                    </a:lnTo>
                    <a:lnTo>
                      <a:pt x="619" y="585"/>
                    </a:lnTo>
                    <a:lnTo>
                      <a:pt x="621" y="585"/>
                    </a:lnTo>
                    <a:lnTo>
                      <a:pt x="621" y="585"/>
                    </a:lnTo>
                    <a:lnTo>
                      <a:pt x="621" y="585"/>
                    </a:lnTo>
                    <a:lnTo>
                      <a:pt x="621" y="586"/>
                    </a:lnTo>
                    <a:lnTo>
                      <a:pt x="621" y="586"/>
                    </a:lnTo>
                    <a:close/>
                    <a:moveTo>
                      <a:pt x="622" y="573"/>
                    </a:moveTo>
                    <a:lnTo>
                      <a:pt x="616" y="569"/>
                    </a:lnTo>
                    <a:lnTo>
                      <a:pt x="616" y="569"/>
                    </a:lnTo>
                    <a:lnTo>
                      <a:pt x="613" y="570"/>
                    </a:lnTo>
                    <a:lnTo>
                      <a:pt x="615" y="573"/>
                    </a:lnTo>
                    <a:lnTo>
                      <a:pt x="618" y="576"/>
                    </a:lnTo>
                    <a:lnTo>
                      <a:pt x="619" y="579"/>
                    </a:lnTo>
                    <a:lnTo>
                      <a:pt x="622" y="576"/>
                    </a:lnTo>
                    <a:lnTo>
                      <a:pt x="622" y="576"/>
                    </a:lnTo>
                    <a:lnTo>
                      <a:pt x="622" y="575"/>
                    </a:lnTo>
                    <a:lnTo>
                      <a:pt x="622" y="573"/>
                    </a:lnTo>
                    <a:close/>
                    <a:moveTo>
                      <a:pt x="573" y="539"/>
                    </a:moveTo>
                    <a:lnTo>
                      <a:pt x="570" y="537"/>
                    </a:lnTo>
                    <a:lnTo>
                      <a:pt x="569" y="539"/>
                    </a:lnTo>
                    <a:lnTo>
                      <a:pt x="570" y="540"/>
                    </a:lnTo>
                    <a:lnTo>
                      <a:pt x="573" y="539"/>
                    </a:lnTo>
                    <a:close/>
                    <a:moveTo>
                      <a:pt x="715" y="342"/>
                    </a:moveTo>
                    <a:lnTo>
                      <a:pt x="715" y="340"/>
                    </a:lnTo>
                    <a:lnTo>
                      <a:pt x="708" y="323"/>
                    </a:lnTo>
                    <a:lnTo>
                      <a:pt x="707" y="317"/>
                    </a:lnTo>
                    <a:lnTo>
                      <a:pt x="707" y="304"/>
                    </a:lnTo>
                    <a:lnTo>
                      <a:pt x="707" y="302"/>
                    </a:lnTo>
                    <a:lnTo>
                      <a:pt x="708" y="297"/>
                    </a:lnTo>
                    <a:lnTo>
                      <a:pt x="708" y="294"/>
                    </a:lnTo>
                    <a:lnTo>
                      <a:pt x="707" y="294"/>
                    </a:lnTo>
                    <a:lnTo>
                      <a:pt x="705" y="293"/>
                    </a:lnTo>
                    <a:lnTo>
                      <a:pt x="704" y="292"/>
                    </a:lnTo>
                    <a:lnTo>
                      <a:pt x="704" y="290"/>
                    </a:lnTo>
                    <a:lnTo>
                      <a:pt x="704" y="289"/>
                    </a:lnTo>
                    <a:lnTo>
                      <a:pt x="704" y="287"/>
                    </a:lnTo>
                    <a:lnTo>
                      <a:pt x="704" y="286"/>
                    </a:lnTo>
                    <a:lnTo>
                      <a:pt x="702" y="283"/>
                    </a:lnTo>
                    <a:lnTo>
                      <a:pt x="698" y="279"/>
                    </a:lnTo>
                    <a:lnTo>
                      <a:pt x="697" y="277"/>
                    </a:lnTo>
                    <a:lnTo>
                      <a:pt x="695" y="273"/>
                    </a:lnTo>
                    <a:lnTo>
                      <a:pt x="694" y="271"/>
                    </a:lnTo>
                    <a:lnTo>
                      <a:pt x="689" y="269"/>
                    </a:lnTo>
                    <a:lnTo>
                      <a:pt x="687" y="263"/>
                    </a:lnTo>
                    <a:lnTo>
                      <a:pt x="685" y="260"/>
                    </a:lnTo>
                    <a:lnTo>
                      <a:pt x="682" y="258"/>
                    </a:lnTo>
                    <a:lnTo>
                      <a:pt x="677" y="256"/>
                    </a:lnTo>
                    <a:lnTo>
                      <a:pt x="674" y="254"/>
                    </a:lnTo>
                    <a:lnTo>
                      <a:pt x="671" y="250"/>
                    </a:lnTo>
                    <a:lnTo>
                      <a:pt x="668" y="248"/>
                    </a:lnTo>
                    <a:lnTo>
                      <a:pt x="666" y="246"/>
                    </a:lnTo>
                    <a:lnTo>
                      <a:pt x="666" y="243"/>
                    </a:lnTo>
                    <a:lnTo>
                      <a:pt x="666" y="235"/>
                    </a:lnTo>
                    <a:lnTo>
                      <a:pt x="665" y="231"/>
                    </a:lnTo>
                    <a:lnTo>
                      <a:pt x="665" y="228"/>
                    </a:lnTo>
                    <a:lnTo>
                      <a:pt x="665" y="227"/>
                    </a:lnTo>
                    <a:lnTo>
                      <a:pt x="664" y="225"/>
                    </a:lnTo>
                    <a:lnTo>
                      <a:pt x="662" y="225"/>
                    </a:lnTo>
                    <a:lnTo>
                      <a:pt x="662" y="227"/>
                    </a:lnTo>
                    <a:lnTo>
                      <a:pt x="662" y="228"/>
                    </a:lnTo>
                    <a:lnTo>
                      <a:pt x="662" y="230"/>
                    </a:lnTo>
                    <a:lnTo>
                      <a:pt x="661" y="228"/>
                    </a:lnTo>
                    <a:lnTo>
                      <a:pt x="659" y="228"/>
                    </a:lnTo>
                    <a:lnTo>
                      <a:pt x="658" y="227"/>
                    </a:lnTo>
                    <a:lnTo>
                      <a:pt x="655" y="223"/>
                    </a:lnTo>
                    <a:lnTo>
                      <a:pt x="654" y="223"/>
                    </a:lnTo>
                    <a:lnTo>
                      <a:pt x="652" y="223"/>
                    </a:lnTo>
                    <a:lnTo>
                      <a:pt x="652" y="224"/>
                    </a:lnTo>
                    <a:lnTo>
                      <a:pt x="652" y="227"/>
                    </a:lnTo>
                    <a:lnTo>
                      <a:pt x="652" y="230"/>
                    </a:lnTo>
                    <a:lnTo>
                      <a:pt x="649" y="227"/>
                    </a:lnTo>
                    <a:lnTo>
                      <a:pt x="648" y="227"/>
                    </a:lnTo>
                    <a:lnTo>
                      <a:pt x="646" y="225"/>
                    </a:lnTo>
                    <a:lnTo>
                      <a:pt x="645" y="223"/>
                    </a:lnTo>
                    <a:lnTo>
                      <a:pt x="644" y="218"/>
                    </a:lnTo>
                    <a:lnTo>
                      <a:pt x="642" y="212"/>
                    </a:lnTo>
                    <a:lnTo>
                      <a:pt x="642" y="211"/>
                    </a:lnTo>
                    <a:lnTo>
                      <a:pt x="641" y="208"/>
                    </a:lnTo>
                    <a:lnTo>
                      <a:pt x="638" y="202"/>
                    </a:lnTo>
                    <a:lnTo>
                      <a:pt x="636" y="201"/>
                    </a:lnTo>
                    <a:lnTo>
                      <a:pt x="632" y="195"/>
                    </a:lnTo>
                    <a:lnTo>
                      <a:pt x="631" y="192"/>
                    </a:lnTo>
                    <a:lnTo>
                      <a:pt x="629" y="189"/>
                    </a:lnTo>
                    <a:lnTo>
                      <a:pt x="632" y="189"/>
                    </a:lnTo>
                    <a:lnTo>
                      <a:pt x="629" y="185"/>
                    </a:lnTo>
                    <a:lnTo>
                      <a:pt x="625" y="182"/>
                    </a:lnTo>
                    <a:lnTo>
                      <a:pt x="612" y="175"/>
                    </a:lnTo>
                    <a:lnTo>
                      <a:pt x="610" y="175"/>
                    </a:lnTo>
                    <a:lnTo>
                      <a:pt x="609" y="174"/>
                    </a:lnTo>
                    <a:lnTo>
                      <a:pt x="609" y="172"/>
                    </a:lnTo>
                    <a:lnTo>
                      <a:pt x="609" y="171"/>
                    </a:lnTo>
                    <a:lnTo>
                      <a:pt x="608" y="171"/>
                    </a:lnTo>
                    <a:lnTo>
                      <a:pt x="606" y="169"/>
                    </a:lnTo>
                    <a:lnTo>
                      <a:pt x="606" y="169"/>
                    </a:lnTo>
                    <a:lnTo>
                      <a:pt x="603" y="169"/>
                    </a:lnTo>
                    <a:lnTo>
                      <a:pt x="602" y="169"/>
                    </a:lnTo>
                    <a:lnTo>
                      <a:pt x="600" y="169"/>
                    </a:lnTo>
                    <a:lnTo>
                      <a:pt x="599" y="168"/>
                    </a:lnTo>
                    <a:lnTo>
                      <a:pt x="598" y="166"/>
                    </a:lnTo>
                    <a:lnTo>
                      <a:pt x="592" y="165"/>
                    </a:lnTo>
                    <a:lnTo>
                      <a:pt x="589" y="162"/>
                    </a:lnTo>
                    <a:lnTo>
                      <a:pt x="587" y="159"/>
                    </a:lnTo>
                    <a:lnTo>
                      <a:pt x="587" y="158"/>
                    </a:lnTo>
                    <a:lnTo>
                      <a:pt x="587" y="155"/>
                    </a:lnTo>
                    <a:lnTo>
                      <a:pt x="587" y="154"/>
                    </a:lnTo>
                    <a:lnTo>
                      <a:pt x="586" y="152"/>
                    </a:lnTo>
                    <a:lnTo>
                      <a:pt x="583" y="151"/>
                    </a:lnTo>
                    <a:lnTo>
                      <a:pt x="582" y="149"/>
                    </a:lnTo>
                    <a:lnTo>
                      <a:pt x="582" y="146"/>
                    </a:lnTo>
                    <a:lnTo>
                      <a:pt x="583" y="139"/>
                    </a:lnTo>
                    <a:lnTo>
                      <a:pt x="583" y="136"/>
                    </a:lnTo>
                    <a:lnTo>
                      <a:pt x="583" y="133"/>
                    </a:lnTo>
                    <a:lnTo>
                      <a:pt x="582" y="131"/>
                    </a:lnTo>
                    <a:lnTo>
                      <a:pt x="580" y="126"/>
                    </a:lnTo>
                    <a:lnTo>
                      <a:pt x="580" y="123"/>
                    </a:lnTo>
                    <a:lnTo>
                      <a:pt x="576" y="122"/>
                    </a:lnTo>
                    <a:lnTo>
                      <a:pt x="575" y="119"/>
                    </a:lnTo>
                    <a:lnTo>
                      <a:pt x="573" y="115"/>
                    </a:lnTo>
                    <a:lnTo>
                      <a:pt x="569" y="98"/>
                    </a:lnTo>
                    <a:lnTo>
                      <a:pt x="569" y="93"/>
                    </a:lnTo>
                    <a:lnTo>
                      <a:pt x="569" y="90"/>
                    </a:lnTo>
                    <a:lnTo>
                      <a:pt x="569" y="89"/>
                    </a:lnTo>
                    <a:lnTo>
                      <a:pt x="569" y="87"/>
                    </a:lnTo>
                    <a:lnTo>
                      <a:pt x="567" y="86"/>
                    </a:lnTo>
                    <a:lnTo>
                      <a:pt x="566" y="85"/>
                    </a:lnTo>
                    <a:lnTo>
                      <a:pt x="562" y="82"/>
                    </a:lnTo>
                    <a:lnTo>
                      <a:pt x="560" y="82"/>
                    </a:lnTo>
                    <a:lnTo>
                      <a:pt x="556" y="76"/>
                    </a:lnTo>
                    <a:lnTo>
                      <a:pt x="554" y="75"/>
                    </a:lnTo>
                    <a:lnTo>
                      <a:pt x="553" y="75"/>
                    </a:lnTo>
                    <a:lnTo>
                      <a:pt x="550" y="76"/>
                    </a:lnTo>
                    <a:lnTo>
                      <a:pt x="549" y="77"/>
                    </a:lnTo>
                    <a:lnTo>
                      <a:pt x="546" y="79"/>
                    </a:lnTo>
                    <a:lnTo>
                      <a:pt x="543" y="77"/>
                    </a:lnTo>
                    <a:lnTo>
                      <a:pt x="542" y="73"/>
                    </a:lnTo>
                    <a:lnTo>
                      <a:pt x="540" y="69"/>
                    </a:lnTo>
                    <a:lnTo>
                      <a:pt x="539" y="66"/>
                    </a:lnTo>
                    <a:lnTo>
                      <a:pt x="539" y="56"/>
                    </a:lnTo>
                    <a:lnTo>
                      <a:pt x="537" y="52"/>
                    </a:lnTo>
                    <a:lnTo>
                      <a:pt x="536" y="46"/>
                    </a:lnTo>
                    <a:lnTo>
                      <a:pt x="534" y="44"/>
                    </a:lnTo>
                    <a:lnTo>
                      <a:pt x="534" y="43"/>
                    </a:lnTo>
                    <a:lnTo>
                      <a:pt x="534" y="43"/>
                    </a:lnTo>
                    <a:lnTo>
                      <a:pt x="531" y="40"/>
                    </a:lnTo>
                    <a:lnTo>
                      <a:pt x="531" y="40"/>
                    </a:lnTo>
                    <a:lnTo>
                      <a:pt x="531" y="39"/>
                    </a:lnTo>
                    <a:lnTo>
                      <a:pt x="531" y="34"/>
                    </a:lnTo>
                    <a:lnTo>
                      <a:pt x="531" y="33"/>
                    </a:lnTo>
                    <a:lnTo>
                      <a:pt x="530" y="33"/>
                    </a:lnTo>
                    <a:lnTo>
                      <a:pt x="529" y="33"/>
                    </a:lnTo>
                    <a:lnTo>
                      <a:pt x="527" y="33"/>
                    </a:lnTo>
                    <a:lnTo>
                      <a:pt x="527" y="31"/>
                    </a:lnTo>
                    <a:lnTo>
                      <a:pt x="527" y="31"/>
                    </a:lnTo>
                    <a:lnTo>
                      <a:pt x="526" y="27"/>
                    </a:lnTo>
                    <a:lnTo>
                      <a:pt x="526" y="23"/>
                    </a:lnTo>
                    <a:lnTo>
                      <a:pt x="526" y="20"/>
                    </a:lnTo>
                    <a:lnTo>
                      <a:pt x="524" y="18"/>
                    </a:lnTo>
                    <a:lnTo>
                      <a:pt x="524" y="16"/>
                    </a:lnTo>
                    <a:lnTo>
                      <a:pt x="523" y="16"/>
                    </a:lnTo>
                    <a:lnTo>
                      <a:pt x="521" y="14"/>
                    </a:lnTo>
                    <a:lnTo>
                      <a:pt x="521" y="14"/>
                    </a:lnTo>
                    <a:lnTo>
                      <a:pt x="521" y="14"/>
                    </a:lnTo>
                    <a:lnTo>
                      <a:pt x="521" y="13"/>
                    </a:lnTo>
                    <a:lnTo>
                      <a:pt x="521" y="13"/>
                    </a:lnTo>
                    <a:lnTo>
                      <a:pt x="521" y="13"/>
                    </a:lnTo>
                    <a:lnTo>
                      <a:pt x="520" y="11"/>
                    </a:lnTo>
                    <a:lnTo>
                      <a:pt x="519" y="13"/>
                    </a:lnTo>
                    <a:lnTo>
                      <a:pt x="517" y="13"/>
                    </a:lnTo>
                    <a:lnTo>
                      <a:pt x="516" y="16"/>
                    </a:lnTo>
                    <a:lnTo>
                      <a:pt x="514" y="18"/>
                    </a:lnTo>
                    <a:lnTo>
                      <a:pt x="513" y="24"/>
                    </a:lnTo>
                    <a:lnTo>
                      <a:pt x="511" y="30"/>
                    </a:lnTo>
                    <a:lnTo>
                      <a:pt x="511" y="36"/>
                    </a:lnTo>
                    <a:lnTo>
                      <a:pt x="510" y="34"/>
                    </a:lnTo>
                    <a:lnTo>
                      <a:pt x="510" y="34"/>
                    </a:lnTo>
                    <a:lnTo>
                      <a:pt x="509" y="34"/>
                    </a:lnTo>
                    <a:lnTo>
                      <a:pt x="507" y="37"/>
                    </a:lnTo>
                    <a:lnTo>
                      <a:pt x="507" y="39"/>
                    </a:lnTo>
                    <a:lnTo>
                      <a:pt x="506" y="41"/>
                    </a:lnTo>
                    <a:lnTo>
                      <a:pt x="507" y="44"/>
                    </a:lnTo>
                    <a:lnTo>
                      <a:pt x="509" y="46"/>
                    </a:lnTo>
                    <a:lnTo>
                      <a:pt x="509" y="46"/>
                    </a:lnTo>
                    <a:lnTo>
                      <a:pt x="510" y="47"/>
                    </a:lnTo>
                    <a:lnTo>
                      <a:pt x="510" y="49"/>
                    </a:lnTo>
                    <a:lnTo>
                      <a:pt x="507" y="49"/>
                    </a:lnTo>
                    <a:lnTo>
                      <a:pt x="506" y="52"/>
                    </a:lnTo>
                    <a:lnTo>
                      <a:pt x="504" y="60"/>
                    </a:lnTo>
                    <a:lnTo>
                      <a:pt x="503" y="64"/>
                    </a:lnTo>
                    <a:lnTo>
                      <a:pt x="503" y="67"/>
                    </a:lnTo>
                    <a:lnTo>
                      <a:pt x="503" y="69"/>
                    </a:lnTo>
                    <a:lnTo>
                      <a:pt x="504" y="72"/>
                    </a:lnTo>
                    <a:lnTo>
                      <a:pt x="504" y="73"/>
                    </a:lnTo>
                    <a:lnTo>
                      <a:pt x="504" y="76"/>
                    </a:lnTo>
                    <a:lnTo>
                      <a:pt x="504" y="80"/>
                    </a:lnTo>
                    <a:lnTo>
                      <a:pt x="504" y="82"/>
                    </a:lnTo>
                    <a:lnTo>
                      <a:pt x="504" y="87"/>
                    </a:lnTo>
                    <a:lnTo>
                      <a:pt x="504" y="90"/>
                    </a:lnTo>
                    <a:lnTo>
                      <a:pt x="504" y="95"/>
                    </a:lnTo>
                    <a:lnTo>
                      <a:pt x="501" y="103"/>
                    </a:lnTo>
                    <a:lnTo>
                      <a:pt x="500" y="110"/>
                    </a:lnTo>
                    <a:lnTo>
                      <a:pt x="498" y="115"/>
                    </a:lnTo>
                    <a:lnTo>
                      <a:pt x="497" y="119"/>
                    </a:lnTo>
                    <a:lnTo>
                      <a:pt x="494" y="126"/>
                    </a:lnTo>
                    <a:lnTo>
                      <a:pt x="491" y="129"/>
                    </a:lnTo>
                    <a:lnTo>
                      <a:pt x="490" y="133"/>
                    </a:lnTo>
                    <a:lnTo>
                      <a:pt x="487" y="136"/>
                    </a:lnTo>
                    <a:lnTo>
                      <a:pt x="483" y="138"/>
                    </a:lnTo>
                    <a:lnTo>
                      <a:pt x="478" y="138"/>
                    </a:lnTo>
                    <a:lnTo>
                      <a:pt x="474" y="138"/>
                    </a:lnTo>
                    <a:lnTo>
                      <a:pt x="465" y="132"/>
                    </a:lnTo>
                    <a:lnTo>
                      <a:pt x="464" y="132"/>
                    </a:lnTo>
                    <a:lnTo>
                      <a:pt x="463" y="131"/>
                    </a:lnTo>
                    <a:lnTo>
                      <a:pt x="461" y="126"/>
                    </a:lnTo>
                    <a:lnTo>
                      <a:pt x="461" y="125"/>
                    </a:lnTo>
                    <a:lnTo>
                      <a:pt x="457" y="123"/>
                    </a:lnTo>
                    <a:lnTo>
                      <a:pt x="454" y="122"/>
                    </a:lnTo>
                    <a:lnTo>
                      <a:pt x="450" y="121"/>
                    </a:lnTo>
                    <a:lnTo>
                      <a:pt x="445" y="121"/>
                    </a:lnTo>
                    <a:lnTo>
                      <a:pt x="442" y="118"/>
                    </a:lnTo>
                    <a:lnTo>
                      <a:pt x="437" y="112"/>
                    </a:lnTo>
                    <a:lnTo>
                      <a:pt x="432" y="110"/>
                    </a:lnTo>
                    <a:lnTo>
                      <a:pt x="425" y="106"/>
                    </a:lnTo>
                    <a:lnTo>
                      <a:pt x="424" y="106"/>
                    </a:lnTo>
                    <a:lnTo>
                      <a:pt x="421" y="105"/>
                    </a:lnTo>
                    <a:lnTo>
                      <a:pt x="419" y="105"/>
                    </a:lnTo>
                    <a:lnTo>
                      <a:pt x="418" y="103"/>
                    </a:lnTo>
                    <a:lnTo>
                      <a:pt x="418" y="103"/>
                    </a:lnTo>
                    <a:lnTo>
                      <a:pt x="418" y="102"/>
                    </a:lnTo>
                    <a:lnTo>
                      <a:pt x="418" y="100"/>
                    </a:lnTo>
                    <a:lnTo>
                      <a:pt x="417" y="100"/>
                    </a:lnTo>
                    <a:lnTo>
                      <a:pt x="414" y="100"/>
                    </a:lnTo>
                    <a:lnTo>
                      <a:pt x="412" y="100"/>
                    </a:lnTo>
                    <a:lnTo>
                      <a:pt x="411" y="99"/>
                    </a:lnTo>
                    <a:lnTo>
                      <a:pt x="408" y="95"/>
                    </a:lnTo>
                    <a:lnTo>
                      <a:pt x="407" y="93"/>
                    </a:lnTo>
                    <a:lnTo>
                      <a:pt x="401" y="90"/>
                    </a:lnTo>
                    <a:lnTo>
                      <a:pt x="396" y="87"/>
                    </a:lnTo>
                    <a:lnTo>
                      <a:pt x="396" y="83"/>
                    </a:lnTo>
                    <a:lnTo>
                      <a:pt x="398" y="80"/>
                    </a:lnTo>
                    <a:lnTo>
                      <a:pt x="404" y="73"/>
                    </a:lnTo>
                    <a:lnTo>
                      <a:pt x="405" y="70"/>
                    </a:lnTo>
                    <a:lnTo>
                      <a:pt x="405" y="66"/>
                    </a:lnTo>
                    <a:lnTo>
                      <a:pt x="405" y="60"/>
                    </a:lnTo>
                    <a:lnTo>
                      <a:pt x="405" y="59"/>
                    </a:lnTo>
                    <a:lnTo>
                      <a:pt x="407" y="57"/>
                    </a:lnTo>
                    <a:lnTo>
                      <a:pt x="409" y="56"/>
                    </a:lnTo>
                    <a:lnTo>
                      <a:pt x="411" y="54"/>
                    </a:lnTo>
                    <a:lnTo>
                      <a:pt x="411" y="56"/>
                    </a:lnTo>
                    <a:lnTo>
                      <a:pt x="412" y="56"/>
                    </a:lnTo>
                    <a:lnTo>
                      <a:pt x="412" y="56"/>
                    </a:lnTo>
                    <a:lnTo>
                      <a:pt x="414" y="57"/>
                    </a:lnTo>
                    <a:lnTo>
                      <a:pt x="415" y="56"/>
                    </a:lnTo>
                    <a:lnTo>
                      <a:pt x="415" y="54"/>
                    </a:lnTo>
                    <a:lnTo>
                      <a:pt x="415" y="50"/>
                    </a:lnTo>
                    <a:lnTo>
                      <a:pt x="417" y="49"/>
                    </a:lnTo>
                    <a:lnTo>
                      <a:pt x="418" y="47"/>
                    </a:lnTo>
                    <a:lnTo>
                      <a:pt x="419" y="44"/>
                    </a:lnTo>
                    <a:lnTo>
                      <a:pt x="421" y="43"/>
                    </a:lnTo>
                    <a:lnTo>
                      <a:pt x="422" y="40"/>
                    </a:lnTo>
                    <a:lnTo>
                      <a:pt x="422" y="40"/>
                    </a:lnTo>
                    <a:lnTo>
                      <a:pt x="421" y="39"/>
                    </a:lnTo>
                    <a:lnTo>
                      <a:pt x="418" y="39"/>
                    </a:lnTo>
                    <a:lnTo>
                      <a:pt x="417" y="37"/>
                    </a:lnTo>
                    <a:lnTo>
                      <a:pt x="417" y="36"/>
                    </a:lnTo>
                    <a:lnTo>
                      <a:pt x="415" y="34"/>
                    </a:lnTo>
                    <a:lnTo>
                      <a:pt x="414" y="34"/>
                    </a:lnTo>
                    <a:lnTo>
                      <a:pt x="411" y="36"/>
                    </a:lnTo>
                    <a:lnTo>
                      <a:pt x="411" y="37"/>
                    </a:lnTo>
                    <a:lnTo>
                      <a:pt x="411" y="39"/>
                    </a:lnTo>
                    <a:lnTo>
                      <a:pt x="412" y="40"/>
                    </a:lnTo>
                    <a:lnTo>
                      <a:pt x="411" y="41"/>
                    </a:lnTo>
                    <a:lnTo>
                      <a:pt x="409" y="41"/>
                    </a:lnTo>
                    <a:lnTo>
                      <a:pt x="408" y="41"/>
                    </a:lnTo>
                    <a:lnTo>
                      <a:pt x="407" y="40"/>
                    </a:lnTo>
                    <a:lnTo>
                      <a:pt x="405" y="39"/>
                    </a:lnTo>
                    <a:lnTo>
                      <a:pt x="405" y="39"/>
                    </a:lnTo>
                    <a:lnTo>
                      <a:pt x="405" y="37"/>
                    </a:lnTo>
                    <a:lnTo>
                      <a:pt x="404" y="37"/>
                    </a:lnTo>
                    <a:lnTo>
                      <a:pt x="404" y="37"/>
                    </a:lnTo>
                    <a:lnTo>
                      <a:pt x="402" y="39"/>
                    </a:lnTo>
                    <a:lnTo>
                      <a:pt x="401" y="39"/>
                    </a:lnTo>
                    <a:lnTo>
                      <a:pt x="401" y="37"/>
                    </a:lnTo>
                    <a:lnTo>
                      <a:pt x="402" y="36"/>
                    </a:lnTo>
                    <a:lnTo>
                      <a:pt x="404" y="34"/>
                    </a:lnTo>
                    <a:lnTo>
                      <a:pt x="404" y="33"/>
                    </a:lnTo>
                    <a:lnTo>
                      <a:pt x="404" y="33"/>
                    </a:lnTo>
                    <a:lnTo>
                      <a:pt x="404" y="33"/>
                    </a:lnTo>
                    <a:lnTo>
                      <a:pt x="404" y="31"/>
                    </a:lnTo>
                    <a:lnTo>
                      <a:pt x="405" y="31"/>
                    </a:lnTo>
                    <a:lnTo>
                      <a:pt x="395" y="37"/>
                    </a:lnTo>
                    <a:lnTo>
                      <a:pt x="392" y="37"/>
                    </a:lnTo>
                    <a:lnTo>
                      <a:pt x="391" y="37"/>
                    </a:lnTo>
                    <a:lnTo>
                      <a:pt x="388" y="37"/>
                    </a:lnTo>
                    <a:lnTo>
                      <a:pt x="385" y="36"/>
                    </a:lnTo>
                    <a:lnTo>
                      <a:pt x="385" y="36"/>
                    </a:lnTo>
                    <a:lnTo>
                      <a:pt x="385" y="34"/>
                    </a:lnTo>
                    <a:lnTo>
                      <a:pt x="384" y="34"/>
                    </a:lnTo>
                    <a:lnTo>
                      <a:pt x="384" y="34"/>
                    </a:lnTo>
                    <a:lnTo>
                      <a:pt x="382" y="34"/>
                    </a:lnTo>
                    <a:lnTo>
                      <a:pt x="381" y="34"/>
                    </a:lnTo>
                    <a:lnTo>
                      <a:pt x="378" y="34"/>
                    </a:lnTo>
                    <a:lnTo>
                      <a:pt x="376" y="34"/>
                    </a:lnTo>
                    <a:lnTo>
                      <a:pt x="375" y="34"/>
                    </a:lnTo>
                    <a:lnTo>
                      <a:pt x="372" y="33"/>
                    </a:lnTo>
                    <a:lnTo>
                      <a:pt x="371" y="31"/>
                    </a:lnTo>
                    <a:lnTo>
                      <a:pt x="368" y="31"/>
                    </a:lnTo>
                    <a:lnTo>
                      <a:pt x="363" y="31"/>
                    </a:lnTo>
                    <a:lnTo>
                      <a:pt x="361" y="30"/>
                    </a:lnTo>
                    <a:lnTo>
                      <a:pt x="359" y="30"/>
                    </a:lnTo>
                    <a:lnTo>
                      <a:pt x="358" y="29"/>
                    </a:lnTo>
                    <a:lnTo>
                      <a:pt x="356" y="27"/>
                    </a:lnTo>
                    <a:lnTo>
                      <a:pt x="355" y="26"/>
                    </a:lnTo>
                    <a:lnTo>
                      <a:pt x="353" y="24"/>
                    </a:lnTo>
                    <a:lnTo>
                      <a:pt x="352" y="24"/>
                    </a:lnTo>
                    <a:lnTo>
                      <a:pt x="352" y="24"/>
                    </a:lnTo>
                    <a:lnTo>
                      <a:pt x="351" y="24"/>
                    </a:lnTo>
                    <a:lnTo>
                      <a:pt x="349" y="24"/>
                    </a:lnTo>
                    <a:lnTo>
                      <a:pt x="349" y="26"/>
                    </a:lnTo>
                    <a:lnTo>
                      <a:pt x="348" y="26"/>
                    </a:lnTo>
                    <a:lnTo>
                      <a:pt x="348" y="24"/>
                    </a:lnTo>
                    <a:lnTo>
                      <a:pt x="348" y="24"/>
                    </a:lnTo>
                    <a:lnTo>
                      <a:pt x="346" y="24"/>
                    </a:lnTo>
                    <a:lnTo>
                      <a:pt x="342" y="21"/>
                    </a:lnTo>
                    <a:lnTo>
                      <a:pt x="340" y="20"/>
                    </a:lnTo>
                    <a:lnTo>
                      <a:pt x="340" y="20"/>
                    </a:lnTo>
                    <a:lnTo>
                      <a:pt x="339" y="21"/>
                    </a:lnTo>
                    <a:lnTo>
                      <a:pt x="339" y="21"/>
                    </a:lnTo>
                    <a:lnTo>
                      <a:pt x="339" y="21"/>
                    </a:lnTo>
                    <a:lnTo>
                      <a:pt x="335" y="20"/>
                    </a:lnTo>
                    <a:lnTo>
                      <a:pt x="333" y="20"/>
                    </a:lnTo>
                    <a:lnTo>
                      <a:pt x="333" y="21"/>
                    </a:lnTo>
                    <a:lnTo>
                      <a:pt x="333" y="23"/>
                    </a:lnTo>
                    <a:lnTo>
                      <a:pt x="338" y="24"/>
                    </a:lnTo>
                    <a:lnTo>
                      <a:pt x="338" y="26"/>
                    </a:lnTo>
                    <a:lnTo>
                      <a:pt x="339" y="26"/>
                    </a:lnTo>
                    <a:lnTo>
                      <a:pt x="342" y="26"/>
                    </a:lnTo>
                    <a:lnTo>
                      <a:pt x="343" y="26"/>
                    </a:lnTo>
                    <a:lnTo>
                      <a:pt x="346" y="27"/>
                    </a:lnTo>
                    <a:lnTo>
                      <a:pt x="346" y="30"/>
                    </a:lnTo>
                    <a:lnTo>
                      <a:pt x="346" y="34"/>
                    </a:lnTo>
                    <a:lnTo>
                      <a:pt x="348" y="37"/>
                    </a:lnTo>
                    <a:lnTo>
                      <a:pt x="346" y="37"/>
                    </a:lnTo>
                    <a:lnTo>
                      <a:pt x="345" y="37"/>
                    </a:lnTo>
                    <a:lnTo>
                      <a:pt x="343" y="37"/>
                    </a:lnTo>
                    <a:lnTo>
                      <a:pt x="343" y="40"/>
                    </a:lnTo>
                    <a:lnTo>
                      <a:pt x="342" y="39"/>
                    </a:lnTo>
                    <a:lnTo>
                      <a:pt x="340" y="39"/>
                    </a:lnTo>
                    <a:lnTo>
                      <a:pt x="339" y="39"/>
                    </a:lnTo>
                    <a:lnTo>
                      <a:pt x="333" y="39"/>
                    </a:lnTo>
                    <a:lnTo>
                      <a:pt x="328" y="40"/>
                    </a:lnTo>
                    <a:lnTo>
                      <a:pt x="325" y="39"/>
                    </a:lnTo>
                    <a:lnTo>
                      <a:pt x="323" y="36"/>
                    </a:lnTo>
                    <a:lnTo>
                      <a:pt x="322" y="37"/>
                    </a:lnTo>
                    <a:lnTo>
                      <a:pt x="322" y="37"/>
                    </a:lnTo>
                    <a:lnTo>
                      <a:pt x="320" y="37"/>
                    </a:lnTo>
                    <a:lnTo>
                      <a:pt x="319" y="37"/>
                    </a:lnTo>
                    <a:lnTo>
                      <a:pt x="319" y="39"/>
                    </a:lnTo>
                    <a:lnTo>
                      <a:pt x="319" y="40"/>
                    </a:lnTo>
                    <a:lnTo>
                      <a:pt x="319" y="40"/>
                    </a:lnTo>
                    <a:lnTo>
                      <a:pt x="318" y="40"/>
                    </a:lnTo>
                    <a:lnTo>
                      <a:pt x="316" y="41"/>
                    </a:lnTo>
                    <a:lnTo>
                      <a:pt x="316" y="43"/>
                    </a:lnTo>
                    <a:lnTo>
                      <a:pt x="316" y="44"/>
                    </a:lnTo>
                    <a:lnTo>
                      <a:pt x="315" y="43"/>
                    </a:lnTo>
                    <a:lnTo>
                      <a:pt x="313" y="43"/>
                    </a:lnTo>
                    <a:lnTo>
                      <a:pt x="312" y="41"/>
                    </a:lnTo>
                    <a:lnTo>
                      <a:pt x="312" y="43"/>
                    </a:lnTo>
                    <a:lnTo>
                      <a:pt x="310" y="43"/>
                    </a:lnTo>
                    <a:lnTo>
                      <a:pt x="312" y="46"/>
                    </a:lnTo>
                    <a:lnTo>
                      <a:pt x="312" y="46"/>
                    </a:lnTo>
                    <a:lnTo>
                      <a:pt x="310" y="46"/>
                    </a:lnTo>
                    <a:lnTo>
                      <a:pt x="309" y="46"/>
                    </a:lnTo>
                    <a:lnTo>
                      <a:pt x="307" y="46"/>
                    </a:lnTo>
                    <a:lnTo>
                      <a:pt x="307" y="47"/>
                    </a:lnTo>
                    <a:lnTo>
                      <a:pt x="306" y="49"/>
                    </a:lnTo>
                    <a:lnTo>
                      <a:pt x="306" y="50"/>
                    </a:lnTo>
                    <a:lnTo>
                      <a:pt x="306" y="50"/>
                    </a:lnTo>
                    <a:lnTo>
                      <a:pt x="305" y="52"/>
                    </a:lnTo>
                    <a:lnTo>
                      <a:pt x="303" y="52"/>
                    </a:lnTo>
                    <a:lnTo>
                      <a:pt x="303" y="53"/>
                    </a:lnTo>
                    <a:lnTo>
                      <a:pt x="303" y="54"/>
                    </a:lnTo>
                    <a:lnTo>
                      <a:pt x="303" y="56"/>
                    </a:lnTo>
                    <a:lnTo>
                      <a:pt x="305" y="57"/>
                    </a:lnTo>
                    <a:lnTo>
                      <a:pt x="303" y="60"/>
                    </a:lnTo>
                    <a:lnTo>
                      <a:pt x="302" y="60"/>
                    </a:lnTo>
                    <a:lnTo>
                      <a:pt x="299" y="62"/>
                    </a:lnTo>
                    <a:lnTo>
                      <a:pt x="297" y="63"/>
                    </a:lnTo>
                    <a:lnTo>
                      <a:pt x="296" y="64"/>
                    </a:lnTo>
                    <a:lnTo>
                      <a:pt x="296" y="69"/>
                    </a:lnTo>
                    <a:lnTo>
                      <a:pt x="296" y="70"/>
                    </a:lnTo>
                    <a:lnTo>
                      <a:pt x="295" y="72"/>
                    </a:lnTo>
                    <a:lnTo>
                      <a:pt x="292" y="73"/>
                    </a:lnTo>
                    <a:lnTo>
                      <a:pt x="290" y="75"/>
                    </a:lnTo>
                    <a:lnTo>
                      <a:pt x="290" y="76"/>
                    </a:lnTo>
                    <a:lnTo>
                      <a:pt x="290" y="79"/>
                    </a:lnTo>
                    <a:lnTo>
                      <a:pt x="292" y="79"/>
                    </a:lnTo>
                    <a:lnTo>
                      <a:pt x="293" y="80"/>
                    </a:lnTo>
                    <a:lnTo>
                      <a:pt x="295" y="80"/>
                    </a:lnTo>
                    <a:lnTo>
                      <a:pt x="295" y="82"/>
                    </a:lnTo>
                    <a:lnTo>
                      <a:pt x="295" y="83"/>
                    </a:lnTo>
                    <a:lnTo>
                      <a:pt x="296" y="85"/>
                    </a:lnTo>
                    <a:lnTo>
                      <a:pt x="297" y="86"/>
                    </a:lnTo>
                    <a:lnTo>
                      <a:pt x="295" y="86"/>
                    </a:lnTo>
                    <a:lnTo>
                      <a:pt x="295" y="87"/>
                    </a:lnTo>
                    <a:lnTo>
                      <a:pt x="295" y="92"/>
                    </a:lnTo>
                    <a:lnTo>
                      <a:pt x="292" y="89"/>
                    </a:lnTo>
                    <a:lnTo>
                      <a:pt x="292" y="87"/>
                    </a:lnTo>
                    <a:lnTo>
                      <a:pt x="290" y="87"/>
                    </a:lnTo>
                    <a:lnTo>
                      <a:pt x="287" y="87"/>
                    </a:lnTo>
                    <a:lnTo>
                      <a:pt x="287" y="87"/>
                    </a:lnTo>
                    <a:lnTo>
                      <a:pt x="287" y="89"/>
                    </a:lnTo>
                    <a:lnTo>
                      <a:pt x="287" y="92"/>
                    </a:lnTo>
                    <a:lnTo>
                      <a:pt x="284" y="89"/>
                    </a:lnTo>
                    <a:lnTo>
                      <a:pt x="282" y="86"/>
                    </a:lnTo>
                    <a:lnTo>
                      <a:pt x="277" y="85"/>
                    </a:lnTo>
                    <a:lnTo>
                      <a:pt x="273" y="85"/>
                    </a:lnTo>
                    <a:lnTo>
                      <a:pt x="272" y="86"/>
                    </a:lnTo>
                    <a:lnTo>
                      <a:pt x="270" y="87"/>
                    </a:lnTo>
                    <a:lnTo>
                      <a:pt x="269" y="89"/>
                    </a:lnTo>
                    <a:lnTo>
                      <a:pt x="269" y="90"/>
                    </a:lnTo>
                    <a:lnTo>
                      <a:pt x="269" y="92"/>
                    </a:lnTo>
                    <a:lnTo>
                      <a:pt x="269" y="93"/>
                    </a:lnTo>
                    <a:lnTo>
                      <a:pt x="270" y="95"/>
                    </a:lnTo>
                    <a:lnTo>
                      <a:pt x="269" y="93"/>
                    </a:lnTo>
                    <a:lnTo>
                      <a:pt x="267" y="93"/>
                    </a:lnTo>
                    <a:lnTo>
                      <a:pt x="267" y="93"/>
                    </a:lnTo>
                    <a:lnTo>
                      <a:pt x="266" y="95"/>
                    </a:lnTo>
                    <a:lnTo>
                      <a:pt x="267" y="92"/>
                    </a:lnTo>
                    <a:lnTo>
                      <a:pt x="267" y="87"/>
                    </a:lnTo>
                    <a:lnTo>
                      <a:pt x="269" y="85"/>
                    </a:lnTo>
                    <a:lnTo>
                      <a:pt x="267" y="83"/>
                    </a:lnTo>
                    <a:lnTo>
                      <a:pt x="266" y="80"/>
                    </a:lnTo>
                    <a:lnTo>
                      <a:pt x="257" y="72"/>
                    </a:lnTo>
                    <a:lnTo>
                      <a:pt x="254" y="70"/>
                    </a:lnTo>
                    <a:lnTo>
                      <a:pt x="250" y="67"/>
                    </a:lnTo>
                    <a:lnTo>
                      <a:pt x="249" y="67"/>
                    </a:lnTo>
                    <a:lnTo>
                      <a:pt x="246" y="66"/>
                    </a:lnTo>
                    <a:lnTo>
                      <a:pt x="244" y="66"/>
                    </a:lnTo>
                    <a:lnTo>
                      <a:pt x="243" y="70"/>
                    </a:lnTo>
                    <a:lnTo>
                      <a:pt x="241" y="72"/>
                    </a:lnTo>
                    <a:lnTo>
                      <a:pt x="241" y="73"/>
                    </a:lnTo>
                    <a:lnTo>
                      <a:pt x="240" y="73"/>
                    </a:lnTo>
                    <a:lnTo>
                      <a:pt x="239" y="72"/>
                    </a:lnTo>
                    <a:lnTo>
                      <a:pt x="237" y="72"/>
                    </a:lnTo>
                    <a:lnTo>
                      <a:pt x="236" y="72"/>
                    </a:lnTo>
                    <a:lnTo>
                      <a:pt x="234" y="73"/>
                    </a:lnTo>
                    <a:lnTo>
                      <a:pt x="234" y="72"/>
                    </a:lnTo>
                    <a:lnTo>
                      <a:pt x="234" y="72"/>
                    </a:lnTo>
                    <a:lnTo>
                      <a:pt x="233" y="70"/>
                    </a:lnTo>
                    <a:lnTo>
                      <a:pt x="231" y="70"/>
                    </a:lnTo>
                    <a:lnTo>
                      <a:pt x="231" y="70"/>
                    </a:lnTo>
                    <a:lnTo>
                      <a:pt x="231" y="72"/>
                    </a:lnTo>
                    <a:lnTo>
                      <a:pt x="231" y="73"/>
                    </a:lnTo>
                    <a:lnTo>
                      <a:pt x="231" y="73"/>
                    </a:lnTo>
                    <a:lnTo>
                      <a:pt x="231" y="76"/>
                    </a:lnTo>
                    <a:lnTo>
                      <a:pt x="230" y="77"/>
                    </a:lnTo>
                    <a:lnTo>
                      <a:pt x="228" y="82"/>
                    </a:lnTo>
                    <a:lnTo>
                      <a:pt x="227" y="80"/>
                    </a:lnTo>
                    <a:lnTo>
                      <a:pt x="227" y="79"/>
                    </a:lnTo>
                    <a:lnTo>
                      <a:pt x="226" y="79"/>
                    </a:lnTo>
                    <a:lnTo>
                      <a:pt x="224" y="80"/>
                    </a:lnTo>
                    <a:lnTo>
                      <a:pt x="224" y="77"/>
                    </a:lnTo>
                    <a:lnTo>
                      <a:pt x="226" y="76"/>
                    </a:lnTo>
                    <a:lnTo>
                      <a:pt x="226" y="76"/>
                    </a:lnTo>
                    <a:lnTo>
                      <a:pt x="224" y="75"/>
                    </a:lnTo>
                    <a:lnTo>
                      <a:pt x="223" y="76"/>
                    </a:lnTo>
                    <a:lnTo>
                      <a:pt x="223" y="76"/>
                    </a:lnTo>
                    <a:lnTo>
                      <a:pt x="223" y="77"/>
                    </a:lnTo>
                    <a:lnTo>
                      <a:pt x="223" y="77"/>
                    </a:lnTo>
                    <a:lnTo>
                      <a:pt x="223" y="79"/>
                    </a:lnTo>
                    <a:lnTo>
                      <a:pt x="221" y="79"/>
                    </a:lnTo>
                    <a:lnTo>
                      <a:pt x="221" y="80"/>
                    </a:lnTo>
                    <a:lnTo>
                      <a:pt x="220" y="80"/>
                    </a:lnTo>
                    <a:lnTo>
                      <a:pt x="218" y="80"/>
                    </a:lnTo>
                    <a:lnTo>
                      <a:pt x="218" y="82"/>
                    </a:lnTo>
                    <a:lnTo>
                      <a:pt x="217" y="82"/>
                    </a:lnTo>
                    <a:lnTo>
                      <a:pt x="217" y="83"/>
                    </a:lnTo>
                    <a:lnTo>
                      <a:pt x="216" y="83"/>
                    </a:lnTo>
                    <a:lnTo>
                      <a:pt x="216" y="85"/>
                    </a:lnTo>
                    <a:lnTo>
                      <a:pt x="217" y="86"/>
                    </a:lnTo>
                    <a:lnTo>
                      <a:pt x="217" y="87"/>
                    </a:lnTo>
                    <a:lnTo>
                      <a:pt x="218" y="89"/>
                    </a:lnTo>
                    <a:lnTo>
                      <a:pt x="220" y="89"/>
                    </a:lnTo>
                    <a:lnTo>
                      <a:pt x="218" y="90"/>
                    </a:lnTo>
                    <a:lnTo>
                      <a:pt x="217" y="90"/>
                    </a:lnTo>
                    <a:lnTo>
                      <a:pt x="213" y="89"/>
                    </a:lnTo>
                    <a:lnTo>
                      <a:pt x="213" y="90"/>
                    </a:lnTo>
                    <a:lnTo>
                      <a:pt x="210" y="92"/>
                    </a:lnTo>
                    <a:lnTo>
                      <a:pt x="210" y="92"/>
                    </a:lnTo>
                    <a:lnTo>
                      <a:pt x="210" y="93"/>
                    </a:lnTo>
                    <a:lnTo>
                      <a:pt x="211" y="95"/>
                    </a:lnTo>
                    <a:lnTo>
                      <a:pt x="213" y="95"/>
                    </a:lnTo>
                    <a:lnTo>
                      <a:pt x="214" y="95"/>
                    </a:lnTo>
                    <a:lnTo>
                      <a:pt x="214" y="95"/>
                    </a:lnTo>
                    <a:lnTo>
                      <a:pt x="214" y="96"/>
                    </a:lnTo>
                    <a:lnTo>
                      <a:pt x="214" y="96"/>
                    </a:lnTo>
                    <a:lnTo>
                      <a:pt x="213" y="98"/>
                    </a:lnTo>
                    <a:lnTo>
                      <a:pt x="211" y="96"/>
                    </a:lnTo>
                    <a:lnTo>
                      <a:pt x="210" y="95"/>
                    </a:lnTo>
                    <a:lnTo>
                      <a:pt x="208" y="95"/>
                    </a:lnTo>
                    <a:lnTo>
                      <a:pt x="207" y="93"/>
                    </a:lnTo>
                    <a:lnTo>
                      <a:pt x="207" y="95"/>
                    </a:lnTo>
                    <a:lnTo>
                      <a:pt x="205" y="96"/>
                    </a:lnTo>
                    <a:lnTo>
                      <a:pt x="205" y="98"/>
                    </a:lnTo>
                    <a:lnTo>
                      <a:pt x="204" y="98"/>
                    </a:lnTo>
                    <a:lnTo>
                      <a:pt x="204" y="98"/>
                    </a:lnTo>
                    <a:lnTo>
                      <a:pt x="203" y="99"/>
                    </a:lnTo>
                    <a:lnTo>
                      <a:pt x="203" y="100"/>
                    </a:lnTo>
                    <a:lnTo>
                      <a:pt x="201" y="102"/>
                    </a:lnTo>
                    <a:lnTo>
                      <a:pt x="203" y="103"/>
                    </a:lnTo>
                    <a:lnTo>
                      <a:pt x="203" y="105"/>
                    </a:lnTo>
                    <a:lnTo>
                      <a:pt x="204" y="106"/>
                    </a:lnTo>
                    <a:lnTo>
                      <a:pt x="204" y="106"/>
                    </a:lnTo>
                    <a:lnTo>
                      <a:pt x="205" y="105"/>
                    </a:lnTo>
                    <a:lnTo>
                      <a:pt x="205" y="103"/>
                    </a:lnTo>
                    <a:lnTo>
                      <a:pt x="207" y="103"/>
                    </a:lnTo>
                    <a:lnTo>
                      <a:pt x="205" y="106"/>
                    </a:lnTo>
                    <a:lnTo>
                      <a:pt x="205" y="108"/>
                    </a:lnTo>
                    <a:lnTo>
                      <a:pt x="205" y="108"/>
                    </a:lnTo>
                    <a:lnTo>
                      <a:pt x="204" y="109"/>
                    </a:lnTo>
                    <a:lnTo>
                      <a:pt x="203" y="109"/>
                    </a:lnTo>
                    <a:lnTo>
                      <a:pt x="203" y="109"/>
                    </a:lnTo>
                    <a:lnTo>
                      <a:pt x="203" y="112"/>
                    </a:lnTo>
                    <a:lnTo>
                      <a:pt x="204" y="113"/>
                    </a:lnTo>
                    <a:lnTo>
                      <a:pt x="207" y="113"/>
                    </a:lnTo>
                    <a:lnTo>
                      <a:pt x="208" y="115"/>
                    </a:lnTo>
                    <a:lnTo>
                      <a:pt x="207" y="115"/>
                    </a:lnTo>
                    <a:lnTo>
                      <a:pt x="201" y="115"/>
                    </a:lnTo>
                    <a:lnTo>
                      <a:pt x="200" y="113"/>
                    </a:lnTo>
                    <a:lnTo>
                      <a:pt x="198" y="113"/>
                    </a:lnTo>
                    <a:lnTo>
                      <a:pt x="197" y="112"/>
                    </a:lnTo>
                    <a:lnTo>
                      <a:pt x="197" y="112"/>
                    </a:lnTo>
                    <a:lnTo>
                      <a:pt x="195" y="112"/>
                    </a:lnTo>
                    <a:lnTo>
                      <a:pt x="194" y="113"/>
                    </a:lnTo>
                    <a:lnTo>
                      <a:pt x="194" y="113"/>
                    </a:lnTo>
                    <a:lnTo>
                      <a:pt x="194" y="113"/>
                    </a:lnTo>
                    <a:lnTo>
                      <a:pt x="191" y="113"/>
                    </a:lnTo>
                    <a:lnTo>
                      <a:pt x="191" y="112"/>
                    </a:lnTo>
                    <a:lnTo>
                      <a:pt x="190" y="110"/>
                    </a:lnTo>
                    <a:lnTo>
                      <a:pt x="188" y="112"/>
                    </a:lnTo>
                    <a:lnTo>
                      <a:pt x="188" y="112"/>
                    </a:lnTo>
                    <a:lnTo>
                      <a:pt x="188" y="115"/>
                    </a:lnTo>
                    <a:lnTo>
                      <a:pt x="188" y="116"/>
                    </a:lnTo>
                    <a:lnTo>
                      <a:pt x="187" y="116"/>
                    </a:lnTo>
                    <a:lnTo>
                      <a:pt x="185" y="116"/>
                    </a:lnTo>
                    <a:lnTo>
                      <a:pt x="187" y="118"/>
                    </a:lnTo>
                    <a:lnTo>
                      <a:pt x="188" y="119"/>
                    </a:lnTo>
                    <a:lnTo>
                      <a:pt x="190" y="122"/>
                    </a:lnTo>
                    <a:lnTo>
                      <a:pt x="191" y="123"/>
                    </a:lnTo>
                    <a:lnTo>
                      <a:pt x="191" y="123"/>
                    </a:lnTo>
                    <a:lnTo>
                      <a:pt x="193" y="123"/>
                    </a:lnTo>
                    <a:lnTo>
                      <a:pt x="193" y="123"/>
                    </a:lnTo>
                    <a:lnTo>
                      <a:pt x="193" y="125"/>
                    </a:lnTo>
                    <a:lnTo>
                      <a:pt x="193" y="125"/>
                    </a:lnTo>
                    <a:lnTo>
                      <a:pt x="193" y="126"/>
                    </a:lnTo>
                    <a:lnTo>
                      <a:pt x="193" y="128"/>
                    </a:lnTo>
                    <a:lnTo>
                      <a:pt x="191" y="128"/>
                    </a:lnTo>
                    <a:lnTo>
                      <a:pt x="190" y="128"/>
                    </a:lnTo>
                    <a:lnTo>
                      <a:pt x="190" y="126"/>
                    </a:lnTo>
                    <a:lnTo>
                      <a:pt x="188" y="126"/>
                    </a:lnTo>
                    <a:lnTo>
                      <a:pt x="188" y="126"/>
                    </a:lnTo>
                    <a:lnTo>
                      <a:pt x="187" y="128"/>
                    </a:lnTo>
                    <a:lnTo>
                      <a:pt x="187" y="135"/>
                    </a:lnTo>
                    <a:lnTo>
                      <a:pt x="185" y="132"/>
                    </a:lnTo>
                    <a:lnTo>
                      <a:pt x="177" y="116"/>
                    </a:lnTo>
                    <a:lnTo>
                      <a:pt x="177" y="115"/>
                    </a:lnTo>
                    <a:lnTo>
                      <a:pt x="175" y="116"/>
                    </a:lnTo>
                    <a:lnTo>
                      <a:pt x="172" y="121"/>
                    </a:lnTo>
                    <a:lnTo>
                      <a:pt x="171" y="122"/>
                    </a:lnTo>
                    <a:lnTo>
                      <a:pt x="167" y="126"/>
                    </a:lnTo>
                    <a:lnTo>
                      <a:pt x="164" y="128"/>
                    </a:lnTo>
                    <a:lnTo>
                      <a:pt x="162" y="131"/>
                    </a:lnTo>
                    <a:lnTo>
                      <a:pt x="162" y="133"/>
                    </a:lnTo>
                    <a:lnTo>
                      <a:pt x="162" y="136"/>
                    </a:lnTo>
                    <a:lnTo>
                      <a:pt x="162" y="139"/>
                    </a:lnTo>
                    <a:lnTo>
                      <a:pt x="164" y="142"/>
                    </a:lnTo>
                    <a:lnTo>
                      <a:pt x="165" y="144"/>
                    </a:lnTo>
                    <a:lnTo>
                      <a:pt x="165" y="145"/>
                    </a:lnTo>
                    <a:lnTo>
                      <a:pt x="165" y="146"/>
                    </a:lnTo>
                    <a:lnTo>
                      <a:pt x="164" y="148"/>
                    </a:lnTo>
                    <a:lnTo>
                      <a:pt x="157" y="154"/>
                    </a:lnTo>
                    <a:lnTo>
                      <a:pt x="155" y="155"/>
                    </a:lnTo>
                    <a:lnTo>
                      <a:pt x="154" y="158"/>
                    </a:lnTo>
                    <a:lnTo>
                      <a:pt x="151" y="164"/>
                    </a:lnTo>
                    <a:lnTo>
                      <a:pt x="149" y="166"/>
                    </a:lnTo>
                    <a:lnTo>
                      <a:pt x="145" y="171"/>
                    </a:lnTo>
                    <a:lnTo>
                      <a:pt x="139" y="175"/>
                    </a:lnTo>
                    <a:lnTo>
                      <a:pt x="135" y="178"/>
                    </a:lnTo>
                    <a:lnTo>
                      <a:pt x="119" y="181"/>
                    </a:lnTo>
                    <a:lnTo>
                      <a:pt x="118" y="182"/>
                    </a:lnTo>
                    <a:lnTo>
                      <a:pt x="115" y="182"/>
                    </a:lnTo>
                    <a:lnTo>
                      <a:pt x="112" y="181"/>
                    </a:lnTo>
                    <a:lnTo>
                      <a:pt x="109" y="181"/>
                    </a:lnTo>
                    <a:lnTo>
                      <a:pt x="106" y="182"/>
                    </a:lnTo>
                    <a:lnTo>
                      <a:pt x="102" y="185"/>
                    </a:lnTo>
                    <a:lnTo>
                      <a:pt x="99" y="187"/>
                    </a:lnTo>
                    <a:lnTo>
                      <a:pt x="92" y="188"/>
                    </a:lnTo>
                    <a:lnTo>
                      <a:pt x="83" y="192"/>
                    </a:lnTo>
                    <a:lnTo>
                      <a:pt x="79" y="194"/>
                    </a:lnTo>
                    <a:lnTo>
                      <a:pt x="68" y="194"/>
                    </a:lnTo>
                    <a:lnTo>
                      <a:pt x="63" y="195"/>
                    </a:lnTo>
                    <a:lnTo>
                      <a:pt x="56" y="200"/>
                    </a:lnTo>
                    <a:lnTo>
                      <a:pt x="45" y="208"/>
                    </a:lnTo>
                    <a:lnTo>
                      <a:pt x="43" y="210"/>
                    </a:lnTo>
                    <a:lnTo>
                      <a:pt x="40" y="211"/>
                    </a:lnTo>
                    <a:lnTo>
                      <a:pt x="35" y="214"/>
                    </a:lnTo>
                    <a:lnTo>
                      <a:pt x="32" y="215"/>
                    </a:lnTo>
                    <a:lnTo>
                      <a:pt x="29" y="218"/>
                    </a:lnTo>
                    <a:lnTo>
                      <a:pt x="26" y="224"/>
                    </a:lnTo>
                    <a:lnTo>
                      <a:pt x="25" y="227"/>
                    </a:lnTo>
                    <a:lnTo>
                      <a:pt x="22" y="228"/>
                    </a:lnTo>
                    <a:lnTo>
                      <a:pt x="22" y="225"/>
                    </a:lnTo>
                    <a:lnTo>
                      <a:pt x="22" y="225"/>
                    </a:lnTo>
                    <a:lnTo>
                      <a:pt x="22" y="224"/>
                    </a:lnTo>
                    <a:lnTo>
                      <a:pt x="20" y="221"/>
                    </a:lnTo>
                    <a:lnTo>
                      <a:pt x="20" y="220"/>
                    </a:lnTo>
                    <a:lnTo>
                      <a:pt x="22" y="217"/>
                    </a:lnTo>
                    <a:lnTo>
                      <a:pt x="22" y="215"/>
                    </a:lnTo>
                    <a:lnTo>
                      <a:pt x="19" y="217"/>
                    </a:lnTo>
                    <a:lnTo>
                      <a:pt x="17" y="220"/>
                    </a:lnTo>
                    <a:lnTo>
                      <a:pt x="14" y="227"/>
                    </a:lnTo>
                    <a:lnTo>
                      <a:pt x="14" y="230"/>
                    </a:lnTo>
                    <a:lnTo>
                      <a:pt x="14" y="233"/>
                    </a:lnTo>
                    <a:lnTo>
                      <a:pt x="14" y="237"/>
                    </a:lnTo>
                    <a:lnTo>
                      <a:pt x="14" y="240"/>
                    </a:lnTo>
                    <a:lnTo>
                      <a:pt x="13" y="247"/>
                    </a:lnTo>
                    <a:lnTo>
                      <a:pt x="12" y="253"/>
                    </a:lnTo>
                    <a:lnTo>
                      <a:pt x="9" y="258"/>
                    </a:lnTo>
                    <a:lnTo>
                      <a:pt x="9" y="266"/>
                    </a:lnTo>
                    <a:lnTo>
                      <a:pt x="10" y="269"/>
                    </a:lnTo>
                    <a:lnTo>
                      <a:pt x="22" y="292"/>
                    </a:lnTo>
                    <a:lnTo>
                      <a:pt x="23" y="296"/>
                    </a:lnTo>
                    <a:lnTo>
                      <a:pt x="23" y="299"/>
                    </a:lnTo>
                    <a:lnTo>
                      <a:pt x="23" y="302"/>
                    </a:lnTo>
                    <a:lnTo>
                      <a:pt x="20" y="303"/>
                    </a:lnTo>
                    <a:lnTo>
                      <a:pt x="19" y="302"/>
                    </a:lnTo>
                    <a:lnTo>
                      <a:pt x="16" y="296"/>
                    </a:lnTo>
                    <a:lnTo>
                      <a:pt x="16" y="297"/>
                    </a:lnTo>
                    <a:lnTo>
                      <a:pt x="16" y="299"/>
                    </a:lnTo>
                    <a:lnTo>
                      <a:pt x="14" y="299"/>
                    </a:lnTo>
                    <a:lnTo>
                      <a:pt x="13" y="297"/>
                    </a:lnTo>
                    <a:lnTo>
                      <a:pt x="13" y="296"/>
                    </a:lnTo>
                    <a:lnTo>
                      <a:pt x="14" y="293"/>
                    </a:lnTo>
                    <a:lnTo>
                      <a:pt x="14" y="293"/>
                    </a:lnTo>
                    <a:lnTo>
                      <a:pt x="13" y="292"/>
                    </a:lnTo>
                    <a:lnTo>
                      <a:pt x="12" y="290"/>
                    </a:lnTo>
                    <a:lnTo>
                      <a:pt x="10" y="289"/>
                    </a:lnTo>
                    <a:lnTo>
                      <a:pt x="9" y="287"/>
                    </a:lnTo>
                    <a:lnTo>
                      <a:pt x="9" y="289"/>
                    </a:lnTo>
                    <a:lnTo>
                      <a:pt x="9" y="292"/>
                    </a:lnTo>
                    <a:lnTo>
                      <a:pt x="12" y="296"/>
                    </a:lnTo>
                    <a:lnTo>
                      <a:pt x="16" y="302"/>
                    </a:lnTo>
                    <a:lnTo>
                      <a:pt x="16" y="304"/>
                    </a:lnTo>
                    <a:lnTo>
                      <a:pt x="16" y="306"/>
                    </a:lnTo>
                    <a:lnTo>
                      <a:pt x="14" y="307"/>
                    </a:lnTo>
                    <a:lnTo>
                      <a:pt x="13" y="307"/>
                    </a:lnTo>
                    <a:lnTo>
                      <a:pt x="10" y="304"/>
                    </a:lnTo>
                    <a:lnTo>
                      <a:pt x="7" y="297"/>
                    </a:lnTo>
                    <a:lnTo>
                      <a:pt x="7" y="299"/>
                    </a:lnTo>
                    <a:lnTo>
                      <a:pt x="7" y="300"/>
                    </a:lnTo>
                    <a:lnTo>
                      <a:pt x="6" y="300"/>
                    </a:lnTo>
                    <a:lnTo>
                      <a:pt x="4" y="299"/>
                    </a:lnTo>
                    <a:lnTo>
                      <a:pt x="14" y="313"/>
                    </a:lnTo>
                    <a:lnTo>
                      <a:pt x="19" y="320"/>
                    </a:lnTo>
                    <a:lnTo>
                      <a:pt x="20" y="327"/>
                    </a:lnTo>
                    <a:lnTo>
                      <a:pt x="22" y="335"/>
                    </a:lnTo>
                    <a:lnTo>
                      <a:pt x="22" y="338"/>
                    </a:lnTo>
                    <a:lnTo>
                      <a:pt x="23" y="339"/>
                    </a:lnTo>
                    <a:lnTo>
                      <a:pt x="27" y="343"/>
                    </a:lnTo>
                    <a:lnTo>
                      <a:pt x="27" y="345"/>
                    </a:lnTo>
                    <a:lnTo>
                      <a:pt x="29" y="350"/>
                    </a:lnTo>
                    <a:lnTo>
                      <a:pt x="30" y="352"/>
                    </a:lnTo>
                    <a:lnTo>
                      <a:pt x="33" y="356"/>
                    </a:lnTo>
                    <a:lnTo>
                      <a:pt x="35" y="358"/>
                    </a:lnTo>
                    <a:lnTo>
                      <a:pt x="36" y="362"/>
                    </a:lnTo>
                    <a:lnTo>
                      <a:pt x="36" y="366"/>
                    </a:lnTo>
                    <a:lnTo>
                      <a:pt x="36" y="375"/>
                    </a:lnTo>
                    <a:lnTo>
                      <a:pt x="37" y="382"/>
                    </a:lnTo>
                    <a:lnTo>
                      <a:pt x="39" y="385"/>
                    </a:lnTo>
                    <a:lnTo>
                      <a:pt x="39" y="389"/>
                    </a:lnTo>
                    <a:lnTo>
                      <a:pt x="48" y="404"/>
                    </a:lnTo>
                    <a:lnTo>
                      <a:pt x="49" y="411"/>
                    </a:lnTo>
                    <a:lnTo>
                      <a:pt x="49" y="419"/>
                    </a:lnTo>
                    <a:lnTo>
                      <a:pt x="49" y="421"/>
                    </a:lnTo>
                    <a:lnTo>
                      <a:pt x="48" y="424"/>
                    </a:lnTo>
                    <a:lnTo>
                      <a:pt x="48" y="427"/>
                    </a:lnTo>
                    <a:lnTo>
                      <a:pt x="48" y="428"/>
                    </a:lnTo>
                    <a:lnTo>
                      <a:pt x="49" y="432"/>
                    </a:lnTo>
                    <a:lnTo>
                      <a:pt x="49" y="435"/>
                    </a:lnTo>
                    <a:lnTo>
                      <a:pt x="48" y="440"/>
                    </a:lnTo>
                    <a:lnTo>
                      <a:pt x="45" y="442"/>
                    </a:lnTo>
                    <a:lnTo>
                      <a:pt x="40" y="442"/>
                    </a:lnTo>
                    <a:lnTo>
                      <a:pt x="36" y="441"/>
                    </a:lnTo>
                    <a:lnTo>
                      <a:pt x="36" y="451"/>
                    </a:lnTo>
                    <a:lnTo>
                      <a:pt x="36" y="453"/>
                    </a:lnTo>
                    <a:lnTo>
                      <a:pt x="36" y="454"/>
                    </a:lnTo>
                    <a:lnTo>
                      <a:pt x="37" y="455"/>
                    </a:lnTo>
                    <a:lnTo>
                      <a:pt x="37" y="457"/>
                    </a:lnTo>
                    <a:lnTo>
                      <a:pt x="39" y="457"/>
                    </a:lnTo>
                    <a:lnTo>
                      <a:pt x="39" y="457"/>
                    </a:lnTo>
                    <a:lnTo>
                      <a:pt x="40" y="457"/>
                    </a:lnTo>
                    <a:lnTo>
                      <a:pt x="43" y="458"/>
                    </a:lnTo>
                    <a:lnTo>
                      <a:pt x="45" y="458"/>
                    </a:lnTo>
                    <a:lnTo>
                      <a:pt x="48" y="460"/>
                    </a:lnTo>
                    <a:lnTo>
                      <a:pt x="49" y="461"/>
                    </a:lnTo>
                    <a:lnTo>
                      <a:pt x="52" y="465"/>
                    </a:lnTo>
                    <a:lnTo>
                      <a:pt x="55" y="467"/>
                    </a:lnTo>
                    <a:lnTo>
                      <a:pt x="59" y="470"/>
                    </a:lnTo>
                    <a:lnTo>
                      <a:pt x="63" y="470"/>
                    </a:lnTo>
                    <a:lnTo>
                      <a:pt x="82" y="473"/>
                    </a:lnTo>
                    <a:lnTo>
                      <a:pt x="86" y="473"/>
                    </a:lnTo>
                    <a:lnTo>
                      <a:pt x="91" y="471"/>
                    </a:lnTo>
                    <a:lnTo>
                      <a:pt x="96" y="468"/>
                    </a:lnTo>
                    <a:lnTo>
                      <a:pt x="104" y="463"/>
                    </a:lnTo>
                    <a:lnTo>
                      <a:pt x="108" y="460"/>
                    </a:lnTo>
                    <a:lnTo>
                      <a:pt x="112" y="460"/>
                    </a:lnTo>
                    <a:lnTo>
                      <a:pt x="114" y="458"/>
                    </a:lnTo>
                    <a:lnTo>
                      <a:pt x="116" y="457"/>
                    </a:lnTo>
                    <a:lnTo>
                      <a:pt x="119" y="453"/>
                    </a:lnTo>
                    <a:lnTo>
                      <a:pt x="121" y="451"/>
                    </a:lnTo>
                    <a:lnTo>
                      <a:pt x="122" y="450"/>
                    </a:lnTo>
                    <a:lnTo>
                      <a:pt x="125" y="450"/>
                    </a:lnTo>
                    <a:lnTo>
                      <a:pt x="132" y="450"/>
                    </a:lnTo>
                    <a:lnTo>
                      <a:pt x="142" y="448"/>
                    </a:lnTo>
                    <a:lnTo>
                      <a:pt x="152" y="448"/>
                    </a:lnTo>
                    <a:lnTo>
                      <a:pt x="157" y="448"/>
                    </a:lnTo>
                    <a:lnTo>
                      <a:pt x="161" y="450"/>
                    </a:lnTo>
                    <a:lnTo>
                      <a:pt x="162" y="450"/>
                    </a:lnTo>
                    <a:lnTo>
                      <a:pt x="162" y="450"/>
                    </a:lnTo>
                    <a:lnTo>
                      <a:pt x="162" y="450"/>
                    </a:lnTo>
                    <a:lnTo>
                      <a:pt x="164" y="451"/>
                    </a:lnTo>
                    <a:lnTo>
                      <a:pt x="165" y="450"/>
                    </a:lnTo>
                    <a:lnTo>
                      <a:pt x="174" y="448"/>
                    </a:lnTo>
                    <a:lnTo>
                      <a:pt x="174" y="448"/>
                    </a:lnTo>
                    <a:lnTo>
                      <a:pt x="175" y="448"/>
                    </a:lnTo>
                    <a:lnTo>
                      <a:pt x="180" y="450"/>
                    </a:lnTo>
                    <a:lnTo>
                      <a:pt x="181" y="450"/>
                    </a:lnTo>
                    <a:lnTo>
                      <a:pt x="184" y="450"/>
                    </a:lnTo>
                    <a:lnTo>
                      <a:pt x="188" y="447"/>
                    </a:lnTo>
                    <a:lnTo>
                      <a:pt x="191" y="444"/>
                    </a:lnTo>
                    <a:lnTo>
                      <a:pt x="194" y="440"/>
                    </a:lnTo>
                    <a:lnTo>
                      <a:pt x="197" y="434"/>
                    </a:lnTo>
                    <a:lnTo>
                      <a:pt x="198" y="432"/>
                    </a:lnTo>
                    <a:lnTo>
                      <a:pt x="200" y="431"/>
                    </a:lnTo>
                    <a:lnTo>
                      <a:pt x="203" y="430"/>
                    </a:lnTo>
                    <a:lnTo>
                      <a:pt x="207" y="428"/>
                    </a:lnTo>
                    <a:lnTo>
                      <a:pt x="216" y="425"/>
                    </a:lnTo>
                    <a:lnTo>
                      <a:pt x="224" y="421"/>
                    </a:lnTo>
                    <a:lnTo>
                      <a:pt x="228" y="418"/>
                    </a:lnTo>
                    <a:lnTo>
                      <a:pt x="233" y="418"/>
                    </a:lnTo>
                    <a:lnTo>
                      <a:pt x="244" y="418"/>
                    </a:lnTo>
                    <a:lnTo>
                      <a:pt x="249" y="418"/>
                    </a:lnTo>
                    <a:lnTo>
                      <a:pt x="254" y="417"/>
                    </a:lnTo>
                    <a:lnTo>
                      <a:pt x="269" y="412"/>
                    </a:lnTo>
                    <a:lnTo>
                      <a:pt x="282" y="407"/>
                    </a:lnTo>
                    <a:lnTo>
                      <a:pt x="287" y="405"/>
                    </a:lnTo>
                    <a:lnTo>
                      <a:pt x="297" y="404"/>
                    </a:lnTo>
                    <a:lnTo>
                      <a:pt x="305" y="404"/>
                    </a:lnTo>
                    <a:lnTo>
                      <a:pt x="312" y="405"/>
                    </a:lnTo>
                    <a:lnTo>
                      <a:pt x="315" y="404"/>
                    </a:lnTo>
                    <a:lnTo>
                      <a:pt x="316" y="404"/>
                    </a:lnTo>
                    <a:lnTo>
                      <a:pt x="319" y="404"/>
                    </a:lnTo>
                    <a:lnTo>
                      <a:pt x="320" y="402"/>
                    </a:lnTo>
                    <a:lnTo>
                      <a:pt x="323" y="402"/>
                    </a:lnTo>
                    <a:lnTo>
                      <a:pt x="328" y="405"/>
                    </a:lnTo>
                    <a:lnTo>
                      <a:pt x="338" y="411"/>
                    </a:lnTo>
                    <a:lnTo>
                      <a:pt x="343" y="412"/>
                    </a:lnTo>
                    <a:lnTo>
                      <a:pt x="346" y="412"/>
                    </a:lnTo>
                    <a:lnTo>
                      <a:pt x="348" y="412"/>
                    </a:lnTo>
                    <a:lnTo>
                      <a:pt x="351" y="412"/>
                    </a:lnTo>
                    <a:lnTo>
                      <a:pt x="353" y="414"/>
                    </a:lnTo>
                    <a:lnTo>
                      <a:pt x="356" y="415"/>
                    </a:lnTo>
                    <a:lnTo>
                      <a:pt x="363" y="415"/>
                    </a:lnTo>
                    <a:lnTo>
                      <a:pt x="366" y="417"/>
                    </a:lnTo>
                    <a:lnTo>
                      <a:pt x="372" y="421"/>
                    </a:lnTo>
                    <a:lnTo>
                      <a:pt x="374" y="422"/>
                    </a:lnTo>
                    <a:lnTo>
                      <a:pt x="375" y="422"/>
                    </a:lnTo>
                    <a:lnTo>
                      <a:pt x="375" y="424"/>
                    </a:lnTo>
                    <a:lnTo>
                      <a:pt x="375" y="425"/>
                    </a:lnTo>
                    <a:lnTo>
                      <a:pt x="375" y="425"/>
                    </a:lnTo>
                    <a:lnTo>
                      <a:pt x="374" y="427"/>
                    </a:lnTo>
                    <a:lnTo>
                      <a:pt x="372" y="427"/>
                    </a:lnTo>
                    <a:lnTo>
                      <a:pt x="374" y="430"/>
                    </a:lnTo>
                    <a:lnTo>
                      <a:pt x="375" y="432"/>
                    </a:lnTo>
                    <a:lnTo>
                      <a:pt x="376" y="434"/>
                    </a:lnTo>
                    <a:lnTo>
                      <a:pt x="378" y="434"/>
                    </a:lnTo>
                    <a:lnTo>
                      <a:pt x="381" y="435"/>
                    </a:lnTo>
                    <a:lnTo>
                      <a:pt x="384" y="435"/>
                    </a:lnTo>
                    <a:lnTo>
                      <a:pt x="384" y="437"/>
                    </a:lnTo>
                    <a:lnTo>
                      <a:pt x="385" y="438"/>
                    </a:lnTo>
                    <a:lnTo>
                      <a:pt x="386" y="441"/>
                    </a:lnTo>
                    <a:lnTo>
                      <a:pt x="386" y="444"/>
                    </a:lnTo>
                    <a:lnTo>
                      <a:pt x="391" y="448"/>
                    </a:lnTo>
                    <a:lnTo>
                      <a:pt x="392" y="451"/>
                    </a:lnTo>
                    <a:lnTo>
                      <a:pt x="394" y="454"/>
                    </a:lnTo>
                    <a:lnTo>
                      <a:pt x="395" y="457"/>
                    </a:lnTo>
                    <a:lnTo>
                      <a:pt x="395" y="461"/>
                    </a:lnTo>
                    <a:lnTo>
                      <a:pt x="395" y="463"/>
                    </a:lnTo>
                    <a:lnTo>
                      <a:pt x="392" y="461"/>
                    </a:lnTo>
                    <a:lnTo>
                      <a:pt x="391" y="463"/>
                    </a:lnTo>
                    <a:lnTo>
                      <a:pt x="392" y="463"/>
                    </a:lnTo>
                    <a:lnTo>
                      <a:pt x="395" y="464"/>
                    </a:lnTo>
                    <a:lnTo>
                      <a:pt x="398" y="468"/>
                    </a:lnTo>
                    <a:lnTo>
                      <a:pt x="399" y="470"/>
                    </a:lnTo>
                    <a:lnTo>
                      <a:pt x="399" y="470"/>
                    </a:lnTo>
                    <a:lnTo>
                      <a:pt x="401" y="470"/>
                    </a:lnTo>
                    <a:lnTo>
                      <a:pt x="401" y="468"/>
                    </a:lnTo>
                    <a:lnTo>
                      <a:pt x="402" y="468"/>
                    </a:lnTo>
                    <a:lnTo>
                      <a:pt x="405" y="471"/>
                    </a:lnTo>
                    <a:lnTo>
                      <a:pt x="405" y="470"/>
                    </a:lnTo>
                    <a:lnTo>
                      <a:pt x="405" y="465"/>
                    </a:lnTo>
                    <a:lnTo>
                      <a:pt x="405" y="463"/>
                    </a:lnTo>
                    <a:lnTo>
                      <a:pt x="407" y="461"/>
                    </a:lnTo>
                    <a:lnTo>
                      <a:pt x="412" y="454"/>
                    </a:lnTo>
                    <a:lnTo>
                      <a:pt x="417" y="450"/>
                    </a:lnTo>
                    <a:lnTo>
                      <a:pt x="425" y="445"/>
                    </a:lnTo>
                    <a:lnTo>
                      <a:pt x="430" y="441"/>
                    </a:lnTo>
                    <a:lnTo>
                      <a:pt x="432" y="434"/>
                    </a:lnTo>
                    <a:lnTo>
                      <a:pt x="435" y="430"/>
                    </a:lnTo>
                    <a:lnTo>
                      <a:pt x="437" y="428"/>
                    </a:lnTo>
                    <a:lnTo>
                      <a:pt x="437" y="425"/>
                    </a:lnTo>
                    <a:lnTo>
                      <a:pt x="437" y="422"/>
                    </a:lnTo>
                    <a:lnTo>
                      <a:pt x="438" y="424"/>
                    </a:lnTo>
                    <a:lnTo>
                      <a:pt x="440" y="427"/>
                    </a:lnTo>
                    <a:lnTo>
                      <a:pt x="440" y="428"/>
                    </a:lnTo>
                    <a:lnTo>
                      <a:pt x="441" y="431"/>
                    </a:lnTo>
                    <a:lnTo>
                      <a:pt x="440" y="432"/>
                    </a:lnTo>
                    <a:lnTo>
                      <a:pt x="440" y="434"/>
                    </a:lnTo>
                    <a:lnTo>
                      <a:pt x="440" y="435"/>
                    </a:lnTo>
                    <a:lnTo>
                      <a:pt x="438" y="437"/>
                    </a:lnTo>
                    <a:lnTo>
                      <a:pt x="438" y="440"/>
                    </a:lnTo>
                    <a:lnTo>
                      <a:pt x="440" y="441"/>
                    </a:lnTo>
                    <a:lnTo>
                      <a:pt x="440" y="442"/>
                    </a:lnTo>
                    <a:lnTo>
                      <a:pt x="438" y="444"/>
                    </a:lnTo>
                    <a:lnTo>
                      <a:pt x="437" y="445"/>
                    </a:lnTo>
                    <a:lnTo>
                      <a:pt x="435" y="450"/>
                    </a:lnTo>
                    <a:lnTo>
                      <a:pt x="434" y="451"/>
                    </a:lnTo>
                    <a:lnTo>
                      <a:pt x="432" y="455"/>
                    </a:lnTo>
                    <a:lnTo>
                      <a:pt x="432" y="463"/>
                    </a:lnTo>
                    <a:lnTo>
                      <a:pt x="431" y="467"/>
                    </a:lnTo>
                    <a:lnTo>
                      <a:pt x="431" y="468"/>
                    </a:lnTo>
                    <a:lnTo>
                      <a:pt x="430" y="468"/>
                    </a:lnTo>
                    <a:lnTo>
                      <a:pt x="428" y="470"/>
                    </a:lnTo>
                    <a:lnTo>
                      <a:pt x="425" y="470"/>
                    </a:lnTo>
                    <a:lnTo>
                      <a:pt x="424" y="470"/>
                    </a:lnTo>
                    <a:lnTo>
                      <a:pt x="424" y="470"/>
                    </a:lnTo>
                    <a:lnTo>
                      <a:pt x="424" y="471"/>
                    </a:lnTo>
                    <a:lnTo>
                      <a:pt x="422" y="471"/>
                    </a:lnTo>
                    <a:lnTo>
                      <a:pt x="421" y="476"/>
                    </a:lnTo>
                    <a:lnTo>
                      <a:pt x="425" y="476"/>
                    </a:lnTo>
                    <a:lnTo>
                      <a:pt x="430" y="476"/>
                    </a:lnTo>
                    <a:lnTo>
                      <a:pt x="434" y="474"/>
                    </a:lnTo>
                    <a:lnTo>
                      <a:pt x="437" y="473"/>
                    </a:lnTo>
                    <a:lnTo>
                      <a:pt x="437" y="471"/>
                    </a:lnTo>
                    <a:lnTo>
                      <a:pt x="438" y="468"/>
                    </a:lnTo>
                    <a:lnTo>
                      <a:pt x="440" y="464"/>
                    </a:lnTo>
                    <a:lnTo>
                      <a:pt x="441" y="458"/>
                    </a:lnTo>
                    <a:lnTo>
                      <a:pt x="442" y="454"/>
                    </a:lnTo>
                    <a:lnTo>
                      <a:pt x="447" y="461"/>
                    </a:lnTo>
                    <a:lnTo>
                      <a:pt x="448" y="464"/>
                    </a:lnTo>
                    <a:lnTo>
                      <a:pt x="450" y="468"/>
                    </a:lnTo>
                    <a:lnTo>
                      <a:pt x="450" y="473"/>
                    </a:lnTo>
                    <a:lnTo>
                      <a:pt x="448" y="476"/>
                    </a:lnTo>
                    <a:lnTo>
                      <a:pt x="447" y="480"/>
                    </a:lnTo>
                    <a:lnTo>
                      <a:pt x="444" y="483"/>
                    </a:lnTo>
                    <a:lnTo>
                      <a:pt x="448" y="484"/>
                    </a:lnTo>
                    <a:lnTo>
                      <a:pt x="451" y="483"/>
                    </a:lnTo>
                    <a:lnTo>
                      <a:pt x="454" y="483"/>
                    </a:lnTo>
                    <a:lnTo>
                      <a:pt x="457" y="481"/>
                    </a:lnTo>
                    <a:lnTo>
                      <a:pt x="460" y="478"/>
                    </a:lnTo>
                    <a:lnTo>
                      <a:pt x="463" y="478"/>
                    </a:lnTo>
                    <a:lnTo>
                      <a:pt x="464" y="478"/>
                    </a:lnTo>
                    <a:lnTo>
                      <a:pt x="464" y="480"/>
                    </a:lnTo>
                    <a:lnTo>
                      <a:pt x="464" y="481"/>
                    </a:lnTo>
                    <a:lnTo>
                      <a:pt x="464" y="481"/>
                    </a:lnTo>
                    <a:lnTo>
                      <a:pt x="464" y="483"/>
                    </a:lnTo>
                    <a:lnTo>
                      <a:pt x="463" y="483"/>
                    </a:lnTo>
                    <a:lnTo>
                      <a:pt x="461" y="483"/>
                    </a:lnTo>
                    <a:lnTo>
                      <a:pt x="460" y="483"/>
                    </a:lnTo>
                    <a:lnTo>
                      <a:pt x="458" y="483"/>
                    </a:lnTo>
                    <a:lnTo>
                      <a:pt x="460" y="486"/>
                    </a:lnTo>
                    <a:lnTo>
                      <a:pt x="463" y="487"/>
                    </a:lnTo>
                    <a:lnTo>
                      <a:pt x="465" y="490"/>
                    </a:lnTo>
                    <a:lnTo>
                      <a:pt x="467" y="491"/>
                    </a:lnTo>
                    <a:lnTo>
                      <a:pt x="470" y="494"/>
                    </a:lnTo>
                    <a:lnTo>
                      <a:pt x="471" y="497"/>
                    </a:lnTo>
                    <a:lnTo>
                      <a:pt x="473" y="501"/>
                    </a:lnTo>
                    <a:lnTo>
                      <a:pt x="474" y="504"/>
                    </a:lnTo>
                    <a:lnTo>
                      <a:pt x="474" y="507"/>
                    </a:lnTo>
                    <a:lnTo>
                      <a:pt x="473" y="511"/>
                    </a:lnTo>
                    <a:lnTo>
                      <a:pt x="473" y="514"/>
                    </a:lnTo>
                    <a:lnTo>
                      <a:pt x="473" y="517"/>
                    </a:lnTo>
                    <a:lnTo>
                      <a:pt x="474" y="519"/>
                    </a:lnTo>
                    <a:lnTo>
                      <a:pt x="478" y="523"/>
                    </a:lnTo>
                    <a:lnTo>
                      <a:pt x="480" y="524"/>
                    </a:lnTo>
                    <a:lnTo>
                      <a:pt x="481" y="527"/>
                    </a:lnTo>
                    <a:lnTo>
                      <a:pt x="483" y="529"/>
                    </a:lnTo>
                    <a:lnTo>
                      <a:pt x="486" y="532"/>
                    </a:lnTo>
                    <a:lnTo>
                      <a:pt x="488" y="532"/>
                    </a:lnTo>
                    <a:lnTo>
                      <a:pt x="491" y="533"/>
                    </a:lnTo>
                    <a:lnTo>
                      <a:pt x="496" y="534"/>
                    </a:lnTo>
                    <a:lnTo>
                      <a:pt x="497" y="534"/>
                    </a:lnTo>
                    <a:lnTo>
                      <a:pt x="500" y="537"/>
                    </a:lnTo>
                    <a:lnTo>
                      <a:pt x="501" y="539"/>
                    </a:lnTo>
                    <a:lnTo>
                      <a:pt x="503" y="539"/>
                    </a:lnTo>
                    <a:lnTo>
                      <a:pt x="504" y="539"/>
                    </a:lnTo>
                    <a:lnTo>
                      <a:pt x="506" y="537"/>
                    </a:lnTo>
                    <a:lnTo>
                      <a:pt x="507" y="537"/>
                    </a:lnTo>
                    <a:lnTo>
                      <a:pt x="509" y="537"/>
                    </a:lnTo>
                    <a:lnTo>
                      <a:pt x="510" y="537"/>
                    </a:lnTo>
                    <a:lnTo>
                      <a:pt x="511" y="539"/>
                    </a:lnTo>
                    <a:lnTo>
                      <a:pt x="513" y="539"/>
                    </a:lnTo>
                    <a:lnTo>
                      <a:pt x="514" y="539"/>
                    </a:lnTo>
                    <a:lnTo>
                      <a:pt x="519" y="539"/>
                    </a:lnTo>
                    <a:lnTo>
                      <a:pt x="520" y="540"/>
                    </a:lnTo>
                    <a:lnTo>
                      <a:pt x="523" y="542"/>
                    </a:lnTo>
                    <a:lnTo>
                      <a:pt x="533" y="546"/>
                    </a:lnTo>
                    <a:lnTo>
                      <a:pt x="536" y="547"/>
                    </a:lnTo>
                    <a:lnTo>
                      <a:pt x="539" y="547"/>
                    </a:lnTo>
                    <a:lnTo>
                      <a:pt x="542" y="546"/>
                    </a:lnTo>
                    <a:lnTo>
                      <a:pt x="549" y="542"/>
                    </a:lnTo>
                    <a:lnTo>
                      <a:pt x="556" y="537"/>
                    </a:lnTo>
                    <a:lnTo>
                      <a:pt x="559" y="536"/>
                    </a:lnTo>
                    <a:lnTo>
                      <a:pt x="557" y="536"/>
                    </a:lnTo>
                    <a:lnTo>
                      <a:pt x="556" y="534"/>
                    </a:lnTo>
                    <a:lnTo>
                      <a:pt x="553" y="534"/>
                    </a:lnTo>
                    <a:lnTo>
                      <a:pt x="560" y="530"/>
                    </a:lnTo>
                    <a:lnTo>
                      <a:pt x="563" y="530"/>
                    </a:lnTo>
                    <a:lnTo>
                      <a:pt x="565" y="532"/>
                    </a:lnTo>
                    <a:lnTo>
                      <a:pt x="566" y="534"/>
                    </a:lnTo>
                    <a:lnTo>
                      <a:pt x="565" y="537"/>
                    </a:lnTo>
                    <a:lnTo>
                      <a:pt x="562" y="539"/>
                    </a:lnTo>
                    <a:lnTo>
                      <a:pt x="559" y="539"/>
                    </a:lnTo>
                    <a:lnTo>
                      <a:pt x="562" y="540"/>
                    </a:lnTo>
                    <a:lnTo>
                      <a:pt x="563" y="542"/>
                    </a:lnTo>
                    <a:lnTo>
                      <a:pt x="565" y="542"/>
                    </a:lnTo>
                    <a:lnTo>
                      <a:pt x="567" y="539"/>
                    </a:lnTo>
                    <a:lnTo>
                      <a:pt x="569" y="537"/>
                    </a:lnTo>
                    <a:lnTo>
                      <a:pt x="570" y="536"/>
                    </a:lnTo>
                    <a:lnTo>
                      <a:pt x="573" y="536"/>
                    </a:lnTo>
                    <a:lnTo>
                      <a:pt x="573" y="539"/>
                    </a:lnTo>
                    <a:lnTo>
                      <a:pt x="573" y="540"/>
                    </a:lnTo>
                    <a:lnTo>
                      <a:pt x="572" y="542"/>
                    </a:lnTo>
                    <a:lnTo>
                      <a:pt x="572" y="543"/>
                    </a:lnTo>
                    <a:lnTo>
                      <a:pt x="575" y="545"/>
                    </a:lnTo>
                    <a:lnTo>
                      <a:pt x="576" y="546"/>
                    </a:lnTo>
                    <a:lnTo>
                      <a:pt x="577" y="546"/>
                    </a:lnTo>
                    <a:lnTo>
                      <a:pt x="579" y="547"/>
                    </a:lnTo>
                    <a:lnTo>
                      <a:pt x="580" y="550"/>
                    </a:lnTo>
                    <a:lnTo>
                      <a:pt x="583" y="549"/>
                    </a:lnTo>
                    <a:lnTo>
                      <a:pt x="586" y="550"/>
                    </a:lnTo>
                    <a:lnTo>
                      <a:pt x="586" y="553"/>
                    </a:lnTo>
                    <a:lnTo>
                      <a:pt x="589" y="555"/>
                    </a:lnTo>
                    <a:lnTo>
                      <a:pt x="590" y="555"/>
                    </a:lnTo>
                    <a:lnTo>
                      <a:pt x="590" y="552"/>
                    </a:lnTo>
                    <a:lnTo>
                      <a:pt x="590" y="549"/>
                    </a:lnTo>
                    <a:lnTo>
                      <a:pt x="587" y="550"/>
                    </a:lnTo>
                    <a:lnTo>
                      <a:pt x="586" y="547"/>
                    </a:lnTo>
                    <a:lnTo>
                      <a:pt x="587" y="546"/>
                    </a:lnTo>
                    <a:lnTo>
                      <a:pt x="595" y="546"/>
                    </a:lnTo>
                    <a:lnTo>
                      <a:pt x="599" y="543"/>
                    </a:lnTo>
                    <a:lnTo>
                      <a:pt x="609" y="534"/>
                    </a:lnTo>
                    <a:lnTo>
                      <a:pt x="616" y="530"/>
                    </a:lnTo>
                    <a:lnTo>
                      <a:pt x="623" y="529"/>
                    </a:lnTo>
                    <a:lnTo>
                      <a:pt x="641" y="527"/>
                    </a:lnTo>
                    <a:lnTo>
                      <a:pt x="642" y="527"/>
                    </a:lnTo>
                    <a:lnTo>
                      <a:pt x="644" y="526"/>
                    </a:lnTo>
                    <a:lnTo>
                      <a:pt x="646" y="524"/>
                    </a:lnTo>
                    <a:lnTo>
                      <a:pt x="649" y="523"/>
                    </a:lnTo>
                    <a:lnTo>
                      <a:pt x="651" y="522"/>
                    </a:lnTo>
                    <a:lnTo>
                      <a:pt x="651" y="520"/>
                    </a:lnTo>
                    <a:lnTo>
                      <a:pt x="652" y="519"/>
                    </a:lnTo>
                    <a:lnTo>
                      <a:pt x="652" y="507"/>
                    </a:lnTo>
                    <a:lnTo>
                      <a:pt x="655" y="491"/>
                    </a:lnTo>
                    <a:lnTo>
                      <a:pt x="655" y="487"/>
                    </a:lnTo>
                    <a:lnTo>
                      <a:pt x="658" y="484"/>
                    </a:lnTo>
                    <a:lnTo>
                      <a:pt x="664" y="474"/>
                    </a:lnTo>
                    <a:lnTo>
                      <a:pt x="664" y="474"/>
                    </a:lnTo>
                    <a:lnTo>
                      <a:pt x="665" y="474"/>
                    </a:lnTo>
                    <a:lnTo>
                      <a:pt x="665" y="474"/>
                    </a:lnTo>
                    <a:lnTo>
                      <a:pt x="665" y="474"/>
                    </a:lnTo>
                    <a:lnTo>
                      <a:pt x="665" y="473"/>
                    </a:lnTo>
                    <a:lnTo>
                      <a:pt x="664" y="473"/>
                    </a:lnTo>
                    <a:lnTo>
                      <a:pt x="664" y="473"/>
                    </a:lnTo>
                    <a:lnTo>
                      <a:pt x="665" y="471"/>
                    </a:lnTo>
                    <a:lnTo>
                      <a:pt x="665" y="471"/>
                    </a:lnTo>
                    <a:lnTo>
                      <a:pt x="666" y="471"/>
                    </a:lnTo>
                    <a:lnTo>
                      <a:pt x="666" y="470"/>
                    </a:lnTo>
                    <a:lnTo>
                      <a:pt x="666" y="467"/>
                    </a:lnTo>
                    <a:lnTo>
                      <a:pt x="666" y="463"/>
                    </a:lnTo>
                    <a:lnTo>
                      <a:pt x="669" y="458"/>
                    </a:lnTo>
                    <a:lnTo>
                      <a:pt x="671" y="455"/>
                    </a:lnTo>
                    <a:lnTo>
                      <a:pt x="674" y="451"/>
                    </a:lnTo>
                    <a:lnTo>
                      <a:pt x="674" y="451"/>
                    </a:lnTo>
                    <a:lnTo>
                      <a:pt x="672" y="451"/>
                    </a:lnTo>
                    <a:lnTo>
                      <a:pt x="672" y="451"/>
                    </a:lnTo>
                    <a:lnTo>
                      <a:pt x="672" y="451"/>
                    </a:lnTo>
                    <a:lnTo>
                      <a:pt x="674" y="450"/>
                    </a:lnTo>
                    <a:lnTo>
                      <a:pt x="675" y="450"/>
                    </a:lnTo>
                    <a:lnTo>
                      <a:pt x="675" y="448"/>
                    </a:lnTo>
                    <a:lnTo>
                      <a:pt x="675" y="442"/>
                    </a:lnTo>
                    <a:lnTo>
                      <a:pt x="675" y="442"/>
                    </a:lnTo>
                    <a:lnTo>
                      <a:pt x="682" y="431"/>
                    </a:lnTo>
                    <a:lnTo>
                      <a:pt x="684" y="430"/>
                    </a:lnTo>
                    <a:lnTo>
                      <a:pt x="688" y="427"/>
                    </a:lnTo>
                    <a:lnTo>
                      <a:pt x="691" y="425"/>
                    </a:lnTo>
                    <a:lnTo>
                      <a:pt x="689" y="425"/>
                    </a:lnTo>
                    <a:lnTo>
                      <a:pt x="689" y="425"/>
                    </a:lnTo>
                    <a:lnTo>
                      <a:pt x="689" y="425"/>
                    </a:lnTo>
                    <a:lnTo>
                      <a:pt x="689" y="425"/>
                    </a:lnTo>
                    <a:lnTo>
                      <a:pt x="692" y="424"/>
                    </a:lnTo>
                    <a:lnTo>
                      <a:pt x="694" y="422"/>
                    </a:lnTo>
                    <a:lnTo>
                      <a:pt x="695" y="419"/>
                    </a:lnTo>
                    <a:lnTo>
                      <a:pt x="697" y="417"/>
                    </a:lnTo>
                    <a:lnTo>
                      <a:pt x="697" y="417"/>
                    </a:lnTo>
                    <a:lnTo>
                      <a:pt x="697" y="414"/>
                    </a:lnTo>
                    <a:lnTo>
                      <a:pt x="697" y="412"/>
                    </a:lnTo>
                    <a:lnTo>
                      <a:pt x="698" y="411"/>
                    </a:lnTo>
                    <a:lnTo>
                      <a:pt x="701" y="409"/>
                    </a:lnTo>
                    <a:lnTo>
                      <a:pt x="701" y="408"/>
                    </a:lnTo>
                    <a:lnTo>
                      <a:pt x="702" y="405"/>
                    </a:lnTo>
                    <a:lnTo>
                      <a:pt x="704" y="402"/>
                    </a:lnTo>
                    <a:lnTo>
                      <a:pt x="705" y="396"/>
                    </a:lnTo>
                    <a:lnTo>
                      <a:pt x="705" y="394"/>
                    </a:lnTo>
                    <a:lnTo>
                      <a:pt x="705" y="388"/>
                    </a:lnTo>
                    <a:lnTo>
                      <a:pt x="705" y="385"/>
                    </a:lnTo>
                    <a:lnTo>
                      <a:pt x="707" y="382"/>
                    </a:lnTo>
                    <a:lnTo>
                      <a:pt x="708" y="373"/>
                    </a:lnTo>
                    <a:lnTo>
                      <a:pt x="711" y="361"/>
                    </a:lnTo>
                    <a:lnTo>
                      <a:pt x="712" y="359"/>
                    </a:lnTo>
                    <a:lnTo>
                      <a:pt x="715" y="353"/>
                    </a:lnTo>
                    <a:lnTo>
                      <a:pt x="715" y="352"/>
                    </a:lnTo>
                    <a:lnTo>
                      <a:pt x="715" y="349"/>
                    </a:lnTo>
                    <a:lnTo>
                      <a:pt x="715" y="346"/>
                    </a:lnTo>
                    <a:lnTo>
                      <a:pt x="715" y="342"/>
                    </a:lnTo>
                    <a:close/>
                    <a:moveTo>
                      <a:pt x="623" y="580"/>
                    </a:moveTo>
                    <a:lnTo>
                      <a:pt x="622" y="580"/>
                    </a:lnTo>
                    <a:lnTo>
                      <a:pt x="618" y="582"/>
                    </a:lnTo>
                    <a:lnTo>
                      <a:pt x="619" y="583"/>
                    </a:lnTo>
                    <a:lnTo>
                      <a:pt x="622" y="583"/>
                    </a:lnTo>
                    <a:lnTo>
                      <a:pt x="623" y="585"/>
                    </a:lnTo>
                    <a:lnTo>
                      <a:pt x="625" y="583"/>
                    </a:lnTo>
                    <a:lnTo>
                      <a:pt x="625" y="582"/>
                    </a:lnTo>
                    <a:lnTo>
                      <a:pt x="625" y="580"/>
                    </a:lnTo>
                    <a:lnTo>
                      <a:pt x="623" y="580"/>
                    </a:lnTo>
                    <a:close/>
                    <a:moveTo>
                      <a:pt x="560" y="585"/>
                    </a:moveTo>
                    <a:lnTo>
                      <a:pt x="560" y="583"/>
                    </a:lnTo>
                    <a:lnTo>
                      <a:pt x="560" y="583"/>
                    </a:lnTo>
                    <a:lnTo>
                      <a:pt x="560" y="583"/>
                    </a:lnTo>
                    <a:lnTo>
                      <a:pt x="559" y="585"/>
                    </a:lnTo>
                    <a:lnTo>
                      <a:pt x="559" y="585"/>
                    </a:lnTo>
                    <a:lnTo>
                      <a:pt x="560" y="586"/>
                    </a:lnTo>
                    <a:lnTo>
                      <a:pt x="560" y="585"/>
                    </a:lnTo>
                    <a:lnTo>
                      <a:pt x="560" y="585"/>
                    </a:lnTo>
                    <a:close/>
                    <a:moveTo>
                      <a:pt x="606" y="642"/>
                    </a:moveTo>
                    <a:lnTo>
                      <a:pt x="606" y="642"/>
                    </a:lnTo>
                    <a:lnTo>
                      <a:pt x="606" y="641"/>
                    </a:lnTo>
                    <a:lnTo>
                      <a:pt x="605" y="642"/>
                    </a:lnTo>
                    <a:lnTo>
                      <a:pt x="605" y="642"/>
                    </a:lnTo>
                    <a:lnTo>
                      <a:pt x="605" y="644"/>
                    </a:lnTo>
                    <a:lnTo>
                      <a:pt x="606" y="645"/>
                    </a:lnTo>
                    <a:lnTo>
                      <a:pt x="608" y="645"/>
                    </a:lnTo>
                    <a:lnTo>
                      <a:pt x="606" y="644"/>
                    </a:lnTo>
                    <a:lnTo>
                      <a:pt x="606" y="642"/>
                    </a:lnTo>
                    <a:close/>
                    <a:moveTo>
                      <a:pt x="619" y="631"/>
                    </a:moveTo>
                    <a:lnTo>
                      <a:pt x="618" y="631"/>
                    </a:lnTo>
                    <a:lnTo>
                      <a:pt x="618" y="631"/>
                    </a:lnTo>
                    <a:lnTo>
                      <a:pt x="618" y="632"/>
                    </a:lnTo>
                    <a:lnTo>
                      <a:pt x="618" y="632"/>
                    </a:lnTo>
                    <a:lnTo>
                      <a:pt x="619" y="632"/>
                    </a:lnTo>
                    <a:lnTo>
                      <a:pt x="621" y="631"/>
                    </a:lnTo>
                    <a:lnTo>
                      <a:pt x="619" y="631"/>
                    </a:lnTo>
                    <a:lnTo>
                      <a:pt x="619" y="631"/>
                    </a:lnTo>
                    <a:close/>
                    <a:moveTo>
                      <a:pt x="567" y="542"/>
                    </a:moveTo>
                    <a:lnTo>
                      <a:pt x="566" y="543"/>
                    </a:lnTo>
                    <a:lnTo>
                      <a:pt x="567" y="542"/>
                    </a:lnTo>
                    <a:lnTo>
                      <a:pt x="569" y="542"/>
                    </a:lnTo>
                    <a:lnTo>
                      <a:pt x="569" y="543"/>
                    </a:lnTo>
                    <a:lnTo>
                      <a:pt x="570" y="543"/>
                    </a:lnTo>
                    <a:lnTo>
                      <a:pt x="570" y="542"/>
                    </a:lnTo>
                    <a:lnTo>
                      <a:pt x="569" y="542"/>
                    </a:lnTo>
                    <a:lnTo>
                      <a:pt x="567" y="542"/>
                    </a:lnTo>
                    <a:close/>
                    <a:moveTo>
                      <a:pt x="622" y="601"/>
                    </a:moveTo>
                    <a:lnTo>
                      <a:pt x="622" y="595"/>
                    </a:lnTo>
                    <a:lnTo>
                      <a:pt x="621" y="592"/>
                    </a:lnTo>
                    <a:lnTo>
                      <a:pt x="619" y="590"/>
                    </a:lnTo>
                    <a:lnTo>
                      <a:pt x="618" y="590"/>
                    </a:lnTo>
                    <a:lnTo>
                      <a:pt x="616" y="592"/>
                    </a:lnTo>
                    <a:lnTo>
                      <a:pt x="615" y="592"/>
                    </a:lnTo>
                    <a:lnTo>
                      <a:pt x="613" y="592"/>
                    </a:lnTo>
                    <a:lnTo>
                      <a:pt x="610" y="592"/>
                    </a:lnTo>
                    <a:lnTo>
                      <a:pt x="610" y="592"/>
                    </a:lnTo>
                    <a:lnTo>
                      <a:pt x="609" y="592"/>
                    </a:lnTo>
                    <a:lnTo>
                      <a:pt x="609" y="593"/>
                    </a:lnTo>
                    <a:lnTo>
                      <a:pt x="608" y="595"/>
                    </a:lnTo>
                    <a:lnTo>
                      <a:pt x="600" y="595"/>
                    </a:lnTo>
                    <a:lnTo>
                      <a:pt x="598" y="596"/>
                    </a:lnTo>
                    <a:lnTo>
                      <a:pt x="596" y="599"/>
                    </a:lnTo>
                    <a:lnTo>
                      <a:pt x="595" y="598"/>
                    </a:lnTo>
                    <a:lnTo>
                      <a:pt x="593" y="598"/>
                    </a:lnTo>
                    <a:lnTo>
                      <a:pt x="590" y="598"/>
                    </a:lnTo>
                    <a:lnTo>
                      <a:pt x="587" y="599"/>
                    </a:lnTo>
                    <a:lnTo>
                      <a:pt x="585" y="598"/>
                    </a:lnTo>
                    <a:lnTo>
                      <a:pt x="582" y="596"/>
                    </a:lnTo>
                    <a:lnTo>
                      <a:pt x="573" y="592"/>
                    </a:lnTo>
                    <a:lnTo>
                      <a:pt x="572" y="590"/>
                    </a:lnTo>
                    <a:lnTo>
                      <a:pt x="570" y="590"/>
                    </a:lnTo>
                    <a:lnTo>
                      <a:pt x="565" y="590"/>
                    </a:lnTo>
                    <a:lnTo>
                      <a:pt x="562" y="589"/>
                    </a:lnTo>
                    <a:lnTo>
                      <a:pt x="559" y="588"/>
                    </a:lnTo>
                    <a:lnTo>
                      <a:pt x="559" y="589"/>
                    </a:lnTo>
                    <a:lnTo>
                      <a:pt x="557" y="595"/>
                    </a:lnTo>
                    <a:lnTo>
                      <a:pt x="559" y="598"/>
                    </a:lnTo>
                    <a:lnTo>
                      <a:pt x="559" y="601"/>
                    </a:lnTo>
                    <a:lnTo>
                      <a:pt x="560" y="605"/>
                    </a:lnTo>
                    <a:lnTo>
                      <a:pt x="562" y="608"/>
                    </a:lnTo>
                    <a:lnTo>
                      <a:pt x="566" y="613"/>
                    </a:lnTo>
                    <a:lnTo>
                      <a:pt x="569" y="618"/>
                    </a:lnTo>
                    <a:lnTo>
                      <a:pt x="569" y="621"/>
                    </a:lnTo>
                    <a:lnTo>
                      <a:pt x="569" y="621"/>
                    </a:lnTo>
                    <a:lnTo>
                      <a:pt x="569" y="621"/>
                    </a:lnTo>
                    <a:lnTo>
                      <a:pt x="570" y="621"/>
                    </a:lnTo>
                    <a:lnTo>
                      <a:pt x="570" y="621"/>
                    </a:lnTo>
                    <a:lnTo>
                      <a:pt x="570" y="622"/>
                    </a:lnTo>
                    <a:lnTo>
                      <a:pt x="573" y="624"/>
                    </a:lnTo>
                    <a:lnTo>
                      <a:pt x="573" y="625"/>
                    </a:lnTo>
                    <a:lnTo>
                      <a:pt x="573" y="628"/>
                    </a:lnTo>
                    <a:lnTo>
                      <a:pt x="572" y="626"/>
                    </a:lnTo>
                    <a:lnTo>
                      <a:pt x="570" y="625"/>
                    </a:lnTo>
                    <a:lnTo>
                      <a:pt x="569" y="624"/>
                    </a:lnTo>
                    <a:lnTo>
                      <a:pt x="567" y="622"/>
                    </a:lnTo>
                    <a:lnTo>
                      <a:pt x="569" y="626"/>
                    </a:lnTo>
                    <a:lnTo>
                      <a:pt x="570" y="631"/>
                    </a:lnTo>
                    <a:lnTo>
                      <a:pt x="572" y="635"/>
                    </a:lnTo>
                    <a:lnTo>
                      <a:pt x="577" y="642"/>
                    </a:lnTo>
                    <a:lnTo>
                      <a:pt x="579" y="644"/>
                    </a:lnTo>
                    <a:lnTo>
                      <a:pt x="580" y="645"/>
                    </a:lnTo>
                    <a:lnTo>
                      <a:pt x="582" y="645"/>
                    </a:lnTo>
                    <a:lnTo>
                      <a:pt x="583" y="645"/>
                    </a:lnTo>
                    <a:lnTo>
                      <a:pt x="585" y="647"/>
                    </a:lnTo>
                    <a:lnTo>
                      <a:pt x="586" y="647"/>
                    </a:lnTo>
                    <a:lnTo>
                      <a:pt x="583" y="647"/>
                    </a:lnTo>
                    <a:lnTo>
                      <a:pt x="582" y="648"/>
                    </a:lnTo>
                    <a:lnTo>
                      <a:pt x="582" y="649"/>
                    </a:lnTo>
                    <a:lnTo>
                      <a:pt x="583" y="651"/>
                    </a:lnTo>
                    <a:lnTo>
                      <a:pt x="585" y="651"/>
                    </a:lnTo>
                    <a:lnTo>
                      <a:pt x="586" y="651"/>
                    </a:lnTo>
                    <a:lnTo>
                      <a:pt x="589" y="651"/>
                    </a:lnTo>
                    <a:lnTo>
                      <a:pt x="590" y="651"/>
                    </a:lnTo>
                    <a:lnTo>
                      <a:pt x="592" y="651"/>
                    </a:lnTo>
                    <a:lnTo>
                      <a:pt x="593" y="652"/>
                    </a:lnTo>
                    <a:lnTo>
                      <a:pt x="595" y="652"/>
                    </a:lnTo>
                    <a:lnTo>
                      <a:pt x="596" y="652"/>
                    </a:lnTo>
                    <a:lnTo>
                      <a:pt x="598" y="652"/>
                    </a:lnTo>
                    <a:lnTo>
                      <a:pt x="599" y="651"/>
                    </a:lnTo>
                    <a:lnTo>
                      <a:pt x="599" y="648"/>
                    </a:lnTo>
                    <a:lnTo>
                      <a:pt x="600" y="647"/>
                    </a:lnTo>
                    <a:lnTo>
                      <a:pt x="600" y="645"/>
                    </a:lnTo>
                    <a:lnTo>
                      <a:pt x="600" y="645"/>
                    </a:lnTo>
                    <a:lnTo>
                      <a:pt x="599" y="645"/>
                    </a:lnTo>
                    <a:lnTo>
                      <a:pt x="599" y="644"/>
                    </a:lnTo>
                    <a:lnTo>
                      <a:pt x="599" y="642"/>
                    </a:lnTo>
                    <a:lnTo>
                      <a:pt x="602" y="644"/>
                    </a:lnTo>
                    <a:lnTo>
                      <a:pt x="605" y="642"/>
                    </a:lnTo>
                    <a:lnTo>
                      <a:pt x="605" y="638"/>
                    </a:lnTo>
                    <a:lnTo>
                      <a:pt x="605" y="635"/>
                    </a:lnTo>
                    <a:lnTo>
                      <a:pt x="606" y="635"/>
                    </a:lnTo>
                    <a:lnTo>
                      <a:pt x="606" y="636"/>
                    </a:lnTo>
                    <a:lnTo>
                      <a:pt x="608" y="638"/>
                    </a:lnTo>
                    <a:lnTo>
                      <a:pt x="608" y="639"/>
                    </a:lnTo>
                    <a:lnTo>
                      <a:pt x="609" y="639"/>
                    </a:lnTo>
                    <a:lnTo>
                      <a:pt x="609" y="636"/>
                    </a:lnTo>
                    <a:lnTo>
                      <a:pt x="610" y="636"/>
                    </a:lnTo>
                    <a:lnTo>
                      <a:pt x="612" y="636"/>
                    </a:lnTo>
                    <a:lnTo>
                      <a:pt x="613" y="636"/>
                    </a:lnTo>
                    <a:lnTo>
                      <a:pt x="613" y="638"/>
                    </a:lnTo>
                    <a:lnTo>
                      <a:pt x="613" y="639"/>
                    </a:lnTo>
                    <a:lnTo>
                      <a:pt x="613" y="639"/>
                    </a:lnTo>
                    <a:lnTo>
                      <a:pt x="612" y="639"/>
                    </a:lnTo>
                    <a:lnTo>
                      <a:pt x="610" y="639"/>
                    </a:lnTo>
                    <a:lnTo>
                      <a:pt x="612" y="641"/>
                    </a:lnTo>
                    <a:lnTo>
                      <a:pt x="612" y="642"/>
                    </a:lnTo>
                    <a:lnTo>
                      <a:pt x="613" y="644"/>
                    </a:lnTo>
                    <a:lnTo>
                      <a:pt x="615" y="644"/>
                    </a:lnTo>
                    <a:lnTo>
                      <a:pt x="616" y="642"/>
                    </a:lnTo>
                    <a:lnTo>
                      <a:pt x="616" y="641"/>
                    </a:lnTo>
                    <a:lnTo>
                      <a:pt x="616" y="639"/>
                    </a:lnTo>
                    <a:lnTo>
                      <a:pt x="615" y="635"/>
                    </a:lnTo>
                    <a:lnTo>
                      <a:pt x="615" y="634"/>
                    </a:lnTo>
                    <a:lnTo>
                      <a:pt x="616" y="631"/>
                    </a:lnTo>
                    <a:lnTo>
                      <a:pt x="618" y="622"/>
                    </a:lnTo>
                    <a:lnTo>
                      <a:pt x="619" y="619"/>
                    </a:lnTo>
                    <a:lnTo>
                      <a:pt x="621" y="616"/>
                    </a:lnTo>
                    <a:lnTo>
                      <a:pt x="621" y="616"/>
                    </a:lnTo>
                    <a:lnTo>
                      <a:pt x="621" y="618"/>
                    </a:lnTo>
                    <a:lnTo>
                      <a:pt x="621" y="618"/>
                    </a:lnTo>
                    <a:lnTo>
                      <a:pt x="621" y="618"/>
                    </a:lnTo>
                    <a:lnTo>
                      <a:pt x="622" y="619"/>
                    </a:lnTo>
                    <a:lnTo>
                      <a:pt x="622" y="621"/>
                    </a:lnTo>
                    <a:lnTo>
                      <a:pt x="622" y="622"/>
                    </a:lnTo>
                    <a:lnTo>
                      <a:pt x="623" y="622"/>
                    </a:lnTo>
                    <a:lnTo>
                      <a:pt x="623" y="619"/>
                    </a:lnTo>
                    <a:lnTo>
                      <a:pt x="622" y="609"/>
                    </a:lnTo>
                    <a:lnTo>
                      <a:pt x="622" y="601"/>
                    </a:lnTo>
                    <a:close/>
                    <a:moveTo>
                      <a:pt x="605" y="645"/>
                    </a:moveTo>
                    <a:lnTo>
                      <a:pt x="602" y="648"/>
                    </a:lnTo>
                    <a:lnTo>
                      <a:pt x="602" y="648"/>
                    </a:lnTo>
                    <a:lnTo>
                      <a:pt x="602" y="651"/>
                    </a:lnTo>
                    <a:lnTo>
                      <a:pt x="605" y="649"/>
                    </a:lnTo>
                    <a:lnTo>
                      <a:pt x="606" y="648"/>
                    </a:lnTo>
                    <a:lnTo>
                      <a:pt x="605" y="647"/>
                    </a:lnTo>
                    <a:lnTo>
                      <a:pt x="605" y="645"/>
                    </a:lnTo>
                    <a:close/>
                    <a:moveTo>
                      <a:pt x="547" y="565"/>
                    </a:moveTo>
                    <a:lnTo>
                      <a:pt x="546" y="566"/>
                    </a:lnTo>
                    <a:lnTo>
                      <a:pt x="544" y="567"/>
                    </a:lnTo>
                    <a:lnTo>
                      <a:pt x="544" y="572"/>
                    </a:lnTo>
                    <a:lnTo>
                      <a:pt x="544" y="573"/>
                    </a:lnTo>
                    <a:lnTo>
                      <a:pt x="544" y="575"/>
                    </a:lnTo>
                    <a:lnTo>
                      <a:pt x="544" y="576"/>
                    </a:lnTo>
                    <a:lnTo>
                      <a:pt x="547" y="575"/>
                    </a:lnTo>
                    <a:lnTo>
                      <a:pt x="549" y="575"/>
                    </a:lnTo>
                    <a:lnTo>
                      <a:pt x="549" y="573"/>
                    </a:lnTo>
                    <a:lnTo>
                      <a:pt x="549" y="570"/>
                    </a:lnTo>
                    <a:lnTo>
                      <a:pt x="549" y="569"/>
                    </a:lnTo>
                    <a:lnTo>
                      <a:pt x="547" y="565"/>
                    </a:lnTo>
                    <a:close/>
                    <a:moveTo>
                      <a:pt x="440" y="486"/>
                    </a:moveTo>
                    <a:lnTo>
                      <a:pt x="434" y="486"/>
                    </a:lnTo>
                    <a:lnTo>
                      <a:pt x="434" y="484"/>
                    </a:lnTo>
                    <a:lnTo>
                      <a:pt x="432" y="483"/>
                    </a:lnTo>
                    <a:lnTo>
                      <a:pt x="430" y="483"/>
                    </a:lnTo>
                    <a:lnTo>
                      <a:pt x="419" y="486"/>
                    </a:lnTo>
                    <a:lnTo>
                      <a:pt x="417" y="487"/>
                    </a:lnTo>
                    <a:lnTo>
                      <a:pt x="415" y="488"/>
                    </a:lnTo>
                    <a:lnTo>
                      <a:pt x="418" y="491"/>
                    </a:lnTo>
                    <a:lnTo>
                      <a:pt x="419" y="491"/>
                    </a:lnTo>
                    <a:lnTo>
                      <a:pt x="422" y="491"/>
                    </a:lnTo>
                    <a:lnTo>
                      <a:pt x="428" y="491"/>
                    </a:lnTo>
                    <a:lnTo>
                      <a:pt x="430" y="491"/>
                    </a:lnTo>
                    <a:lnTo>
                      <a:pt x="432" y="491"/>
                    </a:lnTo>
                    <a:lnTo>
                      <a:pt x="434" y="491"/>
                    </a:lnTo>
                    <a:lnTo>
                      <a:pt x="435" y="490"/>
                    </a:lnTo>
                    <a:lnTo>
                      <a:pt x="435" y="490"/>
                    </a:lnTo>
                    <a:lnTo>
                      <a:pt x="437" y="488"/>
                    </a:lnTo>
                    <a:lnTo>
                      <a:pt x="438" y="488"/>
                    </a:lnTo>
                    <a:lnTo>
                      <a:pt x="440" y="488"/>
                    </a:lnTo>
                    <a:lnTo>
                      <a:pt x="441" y="488"/>
                    </a:lnTo>
                    <a:lnTo>
                      <a:pt x="442" y="488"/>
                    </a:lnTo>
                    <a:lnTo>
                      <a:pt x="442" y="488"/>
                    </a:lnTo>
                    <a:lnTo>
                      <a:pt x="442" y="487"/>
                    </a:lnTo>
                    <a:lnTo>
                      <a:pt x="440" y="486"/>
                    </a:lnTo>
                    <a:close/>
                    <a:moveTo>
                      <a:pt x="3" y="292"/>
                    </a:moveTo>
                    <a:lnTo>
                      <a:pt x="2" y="286"/>
                    </a:lnTo>
                    <a:lnTo>
                      <a:pt x="0" y="286"/>
                    </a:lnTo>
                    <a:lnTo>
                      <a:pt x="0" y="287"/>
                    </a:lnTo>
                    <a:lnTo>
                      <a:pt x="0" y="287"/>
                    </a:lnTo>
                    <a:lnTo>
                      <a:pt x="0" y="290"/>
                    </a:lnTo>
                    <a:lnTo>
                      <a:pt x="2" y="293"/>
                    </a:lnTo>
                    <a:lnTo>
                      <a:pt x="4" y="297"/>
                    </a:lnTo>
                    <a:lnTo>
                      <a:pt x="4" y="294"/>
                    </a:lnTo>
                    <a:lnTo>
                      <a:pt x="3" y="29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77" name="Freeform 271">
                <a:extLst>
                  <a:ext uri="{FF2B5EF4-FFF2-40B4-BE49-F238E27FC236}">
                    <a16:creationId xmlns:a16="http://schemas.microsoft.com/office/drawing/2014/main" id="{470BF340-A0B5-3E44-4641-B397427134DE}"/>
                  </a:ext>
                </a:extLst>
              </p:cNvPr>
              <p:cNvSpPr>
                <a:spLocks/>
              </p:cNvSpPr>
              <p:nvPr/>
            </p:nvSpPr>
            <p:spPr bwMode="auto">
              <a:xfrm>
                <a:off x="10459512" y="4602608"/>
                <a:ext cx="4338" cy="4338"/>
              </a:xfrm>
              <a:custGeom>
                <a:avLst/>
                <a:gdLst>
                  <a:gd name="T0" fmla="*/ 0 w 3"/>
                  <a:gd name="T1" fmla="*/ 2 h 3"/>
                  <a:gd name="T2" fmla="*/ 3 w 3"/>
                  <a:gd name="T3" fmla="*/ 3 h 3"/>
                  <a:gd name="T4" fmla="*/ 3 w 3"/>
                  <a:gd name="T5" fmla="*/ 2 h 3"/>
                  <a:gd name="T6" fmla="*/ 1 w 3"/>
                  <a:gd name="T7" fmla="*/ 0 h 3"/>
                  <a:gd name="T8" fmla="*/ 0 w 3"/>
                  <a:gd name="T9" fmla="*/ 2 h 3"/>
                </a:gdLst>
                <a:ahLst/>
                <a:cxnLst>
                  <a:cxn ang="0">
                    <a:pos x="T0" y="T1"/>
                  </a:cxn>
                  <a:cxn ang="0">
                    <a:pos x="T2" y="T3"/>
                  </a:cxn>
                  <a:cxn ang="0">
                    <a:pos x="T4" y="T5"/>
                  </a:cxn>
                  <a:cxn ang="0">
                    <a:pos x="T6" y="T7"/>
                  </a:cxn>
                  <a:cxn ang="0">
                    <a:pos x="T8" y="T9"/>
                  </a:cxn>
                </a:cxnLst>
                <a:rect l="0" t="0" r="r" b="b"/>
                <a:pathLst>
                  <a:path w="3" h="3">
                    <a:moveTo>
                      <a:pt x="0" y="2"/>
                    </a:moveTo>
                    <a:lnTo>
                      <a:pt x="3" y="3"/>
                    </a:lnTo>
                    <a:lnTo>
                      <a:pt x="3" y="2"/>
                    </a:lnTo>
                    <a:lnTo>
                      <a:pt x="1" y="0"/>
                    </a:lnTo>
                    <a:lnTo>
                      <a:pt x="0"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78" name="Freeform 272">
                <a:extLst>
                  <a:ext uri="{FF2B5EF4-FFF2-40B4-BE49-F238E27FC236}">
                    <a16:creationId xmlns:a16="http://schemas.microsoft.com/office/drawing/2014/main" id="{30578B2F-5C1F-B0D3-9973-CD190698F3F3}"/>
                  </a:ext>
                </a:extLst>
              </p:cNvPr>
              <p:cNvSpPr>
                <a:spLocks/>
              </p:cNvSpPr>
              <p:nvPr/>
            </p:nvSpPr>
            <p:spPr bwMode="auto">
              <a:xfrm>
                <a:off x="9897033" y="4881679"/>
                <a:ext cx="1446" cy="1446"/>
              </a:xfrm>
              <a:custGeom>
                <a:avLst/>
                <a:gdLst>
                  <a:gd name="T0" fmla="*/ 0 w 1"/>
                  <a:gd name="T1" fmla="*/ 1 h 1"/>
                  <a:gd name="T2" fmla="*/ 0 w 1"/>
                  <a:gd name="T3" fmla="*/ 1 h 1"/>
                  <a:gd name="T4" fmla="*/ 0 w 1"/>
                  <a:gd name="T5" fmla="*/ 1 h 1"/>
                  <a:gd name="T6" fmla="*/ 1 w 1"/>
                  <a:gd name="T7" fmla="*/ 1 h 1"/>
                  <a:gd name="T8" fmla="*/ 1 w 1"/>
                  <a:gd name="T9" fmla="*/ 1 h 1"/>
                  <a:gd name="T10" fmla="*/ 1 w 1"/>
                  <a:gd name="T11" fmla="*/ 1 h 1"/>
                  <a:gd name="T12" fmla="*/ 1 w 1"/>
                  <a:gd name="T13" fmla="*/ 1 h 1"/>
                  <a:gd name="T14" fmla="*/ 1 w 1"/>
                  <a:gd name="T15" fmla="*/ 1 h 1"/>
                  <a:gd name="T16" fmla="*/ 1 w 1"/>
                  <a:gd name="T17" fmla="*/ 1 h 1"/>
                  <a:gd name="T18" fmla="*/ 0 w 1"/>
                  <a:gd name="T19" fmla="*/ 0 h 1"/>
                  <a:gd name="T20" fmla="*/ 0 w 1"/>
                  <a:gd name="T2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1">
                    <a:moveTo>
                      <a:pt x="0" y="1"/>
                    </a:moveTo>
                    <a:lnTo>
                      <a:pt x="0" y="1"/>
                    </a:lnTo>
                    <a:lnTo>
                      <a:pt x="0" y="1"/>
                    </a:lnTo>
                    <a:lnTo>
                      <a:pt x="1" y="1"/>
                    </a:lnTo>
                    <a:lnTo>
                      <a:pt x="1" y="1"/>
                    </a:lnTo>
                    <a:lnTo>
                      <a:pt x="1" y="1"/>
                    </a:lnTo>
                    <a:lnTo>
                      <a:pt x="1" y="1"/>
                    </a:lnTo>
                    <a:lnTo>
                      <a:pt x="1" y="1"/>
                    </a:lnTo>
                    <a:lnTo>
                      <a:pt x="1" y="1"/>
                    </a:lnTo>
                    <a:lnTo>
                      <a:pt x="0" y="0"/>
                    </a:lnTo>
                    <a:lnTo>
                      <a:pt x="0" y="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79" name="Freeform 273">
                <a:extLst>
                  <a:ext uri="{FF2B5EF4-FFF2-40B4-BE49-F238E27FC236}">
                    <a16:creationId xmlns:a16="http://schemas.microsoft.com/office/drawing/2014/main" id="{B75EAFAE-A8E1-2BB7-D0FD-7F4D63BC88DE}"/>
                  </a:ext>
                </a:extLst>
              </p:cNvPr>
              <p:cNvSpPr>
                <a:spLocks noEditPoints="1"/>
              </p:cNvSpPr>
              <p:nvPr/>
            </p:nvSpPr>
            <p:spPr bwMode="auto">
              <a:xfrm>
                <a:off x="9846424" y="5033504"/>
                <a:ext cx="456924" cy="594290"/>
              </a:xfrm>
              <a:custGeom>
                <a:avLst/>
                <a:gdLst>
                  <a:gd name="T0" fmla="*/ 310 w 316"/>
                  <a:gd name="T1" fmla="*/ 197 h 411"/>
                  <a:gd name="T2" fmla="*/ 306 w 316"/>
                  <a:gd name="T3" fmla="*/ 202 h 411"/>
                  <a:gd name="T4" fmla="*/ 55 w 316"/>
                  <a:gd name="T5" fmla="*/ 409 h 411"/>
                  <a:gd name="T6" fmla="*/ 17 w 316"/>
                  <a:gd name="T7" fmla="*/ 231 h 411"/>
                  <a:gd name="T8" fmla="*/ 10 w 316"/>
                  <a:gd name="T9" fmla="*/ 241 h 411"/>
                  <a:gd name="T10" fmla="*/ 29 w 316"/>
                  <a:gd name="T11" fmla="*/ 274 h 411"/>
                  <a:gd name="T12" fmla="*/ 39 w 316"/>
                  <a:gd name="T13" fmla="*/ 268 h 411"/>
                  <a:gd name="T14" fmla="*/ 144 w 316"/>
                  <a:gd name="T15" fmla="*/ 145 h 411"/>
                  <a:gd name="T16" fmla="*/ 128 w 316"/>
                  <a:gd name="T17" fmla="*/ 178 h 411"/>
                  <a:gd name="T18" fmla="*/ 119 w 316"/>
                  <a:gd name="T19" fmla="*/ 189 h 411"/>
                  <a:gd name="T20" fmla="*/ 122 w 316"/>
                  <a:gd name="T21" fmla="*/ 198 h 411"/>
                  <a:gd name="T22" fmla="*/ 114 w 316"/>
                  <a:gd name="T23" fmla="*/ 198 h 411"/>
                  <a:gd name="T24" fmla="*/ 98 w 316"/>
                  <a:gd name="T25" fmla="*/ 204 h 411"/>
                  <a:gd name="T26" fmla="*/ 91 w 316"/>
                  <a:gd name="T27" fmla="*/ 227 h 411"/>
                  <a:gd name="T28" fmla="*/ 81 w 316"/>
                  <a:gd name="T29" fmla="*/ 247 h 411"/>
                  <a:gd name="T30" fmla="*/ 50 w 316"/>
                  <a:gd name="T31" fmla="*/ 261 h 411"/>
                  <a:gd name="T32" fmla="*/ 38 w 316"/>
                  <a:gd name="T33" fmla="*/ 256 h 411"/>
                  <a:gd name="T34" fmla="*/ 16 w 316"/>
                  <a:gd name="T35" fmla="*/ 247 h 411"/>
                  <a:gd name="T36" fmla="*/ 10 w 316"/>
                  <a:gd name="T37" fmla="*/ 247 h 411"/>
                  <a:gd name="T38" fmla="*/ 17 w 316"/>
                  <a:gd name="T39" fmla="*/ 237 h 411"/>
                  <a:gd name="T40" fmla="*/ 17 w 316"/>
                  <a:gd name="T41" fmla="*/ 231 h 411"/>
                  <a:gd name="T42" fmla="*/ 20 w 316"/>
                  <a:gd name="T43" fmla="*/ 227 h 411"/>
                  <a:gd name="T44" fmla="*/ 27 w 316"/>
                  <a:gd name="T45" fmla="*/ 220 h 411"/>
                  <a:gd name="T46" fmla="*/ 46 w 316"/>
                  <a:gd name="T47" fmla="*/ 202 h 411"/>
                  <a:gd name="T48" fmla="*/ 65 w 316"/>
                  <a:gd name="T49" fmla="*/ 192 h 411"/>
                  <a:gd name="T50" fmla="*/ 79 w 316"/>
                  <a:gd name="T51" fmla="*/ 184 h 411"/>
                  <a:gd name="T52" fmla="*/ 83 w 316"/>
                  <a:gd name="T53" fmla="*/ 178 h 411"/>
                  <a:gd name="T54" fmla="*/ 91 w 316"/>
                  <a:gd name="T55" fmla="*/ 171 h 411"/>
                  <a:gd name="T56" fmla="*/ 109 w 316"/>
                  <a:gd name="T57" fmla="*/ 135 h 411"/>
                  <a:gd name="T58" fmla="*/ 122 w 316"/>
                  <a:gd name="T59" fmla="*/ 132 h 411"/>
                  <a:gd name="T60" fmla="*/ 139 w 316"/>
                  <a:gd name="T61" fmla="*/ 133 h 411"/>
                  <a:gd name="T62" fmla="*/ 145 w 316"/>
                  <a:gd name="T63" fmla="*/ 135 h 411"/>
                  <a:gd name="T64" fmla="*/ 4 w 316"/>
                  <a:gd name="T65" fmla="*/ 359 h 411"/>
                  <a:gd name="T66" fmla="*/ 3 w 316"/>
                  <a:gd name="T67" fmla="*/ 366 h 411"/>
                  <a:gd name="T68" fmla="*/ 4 w 316"/>
                  <a:gd name="T69" fmla="*/ 359 h 411"/>
                  <a:gd name="T70" fmla="*/ 211 w 316"/>
                  <a:gd name="T71" fmla="*/ 89 h 411"/>
                  <a:gd name="T72" fmla="*/ 194 w 316"/>
                  <a:gd name="T73" fmla="*/ 99 h 411"/>
                  <a:gd name="T74" fmla="*/ 194 w 316"/>
                  <a:gd name="T75" fmla="*/ 113 h 411"/>
                  <a:gd name="T76" fmla="*/ 162 w 316"/>
                  <a:gd name="T77" fmla="*/ 145 h 411"/>
                  <a:gd name="T78" fmla="*/ 157 w 316"/>
                  <a:gd name="T79" fmla="*/ 141 h 411"/>
                  <a:gd name="T80" fmla="*/ 160 w 316"/>
                  <a:gd name="T81" fmla="*/ 113 h 411"/>
                  <a:gd name="T82" fmla="*/ 148 w 316"/>
                  <a:gd name="T83" fmla="*/ 92 h 411"/>
                  <a:gd name="T84" fmla="*/ 158 w 316"/>
                  <a:gd name="T85" fmla="*/ 67 h 411"/>
                  <a:gd name="T86" fmla="*/ 155 w 316"/>
                  <a:gd name="T87" fmla="*/ 54 h 411"/>
                  <a:gd name="T88" fmla="*/ 150 w 316"/>
                  <a:gd name="T89" fmla="*/ 49 h 411"/>
                  <a:gd name="T90" fmla="*/ 148 w 316"/>
                  <a:gd name="T91" fmla="*/ 37 h 411"/>
                  <a:gd name="T92" fmla="*/ 141 w 316"/>
                  <a:gd name="T93" fmla="*/ 31 h 411"/>
                  <a:gd name="T94" fmla="*/ 134 w 316"/>
                  <a:gd name="T95" fmla="*/ 20 h 411"/>
                  <a:gd name="T96" fmla="*/ 128 w 316"/>
                  <a:gd name="T97" fmla="*/ 16 h 411"/>
                  <a:gd name="T98" fmla="*/ 125 w 316"/>
                  <a:gd name="T99" fmla="*/ 3 h 411"/>
                  <a:gd name="T100" fmla="*/ 144 w 316"/>
                  <a:gd name="T101" fmla="*/ 16 h 411"/>
                  <a:gd name="T102" fmla="*/ 152 w 316"/>
                  <a:gd name="T103" fmla="*/ 24 h 411"/>
                  <a:gd name="T104" fmla="*/ 157 w 316"/>
                  <a:gd name="T105" fmla="*/ 43 h 411"/>
                  <a:gd name="T106" fmla="*/ 160 w 316"/>
                  <a:gd name="T107" fmla="*/ 49 h 411"/>
                  <a:gd name="T108" fmla="*/ 168 w 316"/>
                  <a:gd name="T109" fmla="*/ 46 h 411"/>
                  <a:gd name="T110" fmla="*/ 178 w 316"/>
                  <a:gd name="T111" fmla="*/ 63 h 411"/>
                  <a:gd name="T112" fmla="*/ 139 w 316"/>
                  <a:gd name="T113" fmla="*/ 133 h 411"/>
                  <a:gd name="T114" fmla="*/ 167 w 316"/>
                  <a:gd name="T115" fmla="*/ 33 h 411"/>
                  <a:gd name="T116" fmla="*/ 315 w 316"/>
                  <a:gd name="T117" fmla="*/ 208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6" h="411">
                    <a:moveTo>
                      <a:pt x="315" y="195"/>
                    </a:moveTo>
                    <a:lnTo>
                      <a:pt x="313" y="197"/>
                    </a:lnTo>
                    <a:lnTo>
                      <a:pt x="313" y="197"/>
                    </a:lnTo>
                    <a:lnTo>
                      <a:pt x="312" y="198"/>
                    </a:lnTo>
                    <a:lnTo>
                      <a:pt x="312" y="198"/>
                    </a:lnTo>
                    <a:lnTo>
                      <a:pt x="312" y="197"/>
                    </a:lnTo>
                    <a:lnTo>
                      <a:pt x="310" y="197"/>
                    </a:lnTo>
                    <a:lnTo>
                      <a:pt x="310" y="197"/>
                    </a:lnTo>
                    <a:lnTo>
                      <a:pt x="309" y="197"/>
                    </a:lnTo>
                    <a:lnTo>
                      <a:pt x="310" y="197"/>
                    </a:lnTo>
                    <a:lnTo>
                      <a:pt x="310" y="197"/>
                    </a:lnTo>
                    <a:lnTo>
                      <a:pt x="309" y="199"/>
                    </a:lnTo>
                    <a:lnTo>
                      <a:pt x="310" y="199"/>
                    </a:lnTo>
                    <a:lnTo>
                      <a:pt x="312" y="201"/>
                    </a:lnTo>
                    <a:lnTo>
                      <a:pt x="312" y="202"/>
                    </a:lnTo>
                    <a:lnTo>
                      <a:pt x="312" y="202"/>
                    </a:lnTo>
                    <a:lnTo>
                      <a:pt x="310" y="204"/>
                    </a:lnTo>
                    <a:lnTo>
                      <a:pt x="309" y="204"/>
                    </a:lnTo>
                    <a:lnTo>
                      <a:pt x="307" y="204"/>
                    </a:lnTo>
                    <a:lnTo>
                      <a:pt x="306" y="202"/>
                    </a:lnTo>
                    <a:lnTo>
                      <a:pt x="307" y="199"/>
                    </a:lnTo>
                    <a:lnTo>
                      <a:pt x="307" y="198"/>
                    </a:lnTo>
                    <a:lnTo>
                      <a:pt x="303" y="198"/>
                    </a:lnTo>
                    <a:lnTo>
                      <a:pt x="306" y="197"/>
                    </a:lnTo>
                    <a:lnTo>
                      <a:pt x="309" y="195"/>
                    </a:lnTo>
                    <a:lnTo>
                      <a:pt x="312" y="195"/>
                    </a:lnTo>
                    <a:lnTo>
                      <a:pt x="315" y="195"/>
                    </a:lnTo>
                    <a:close/>
                    <a:moveTo>
                      <a:pt x="56" y="409"/>
                    </a:moveTo>
                    <a:lnTo>
                      <a:pt x="56" y="409"/>
                    </a:lnTo>
                    <a:lnTo>
                      <a:pt x="55" y="409"/>
                    </a:lnTo>
                    <a:lnTo>
                      <a:pt x="55" y="411"/>
                    </a:lnTo>
                    <a:lnTo>
                      <a:pt x="56" y="411"/>
                    </a:lnTo>
                    <a:lnTo>
                      <a:pt x="58" y="411"/>
                    </a:lnTo>
                    <a:lnTo>
                      <a:pt x="58" y="411"/>
                    </a:lnTo>
                    <a:lnTo>
                      <a:pt x="58" y="411"/>
                    </a:lnTo>
                    <a:lnTo>
                      <a:pt x="56" y="409"/>
                    </a:lnTo>
                    <a:close/>
                    <a:moveTo>
                      <a:pt x="19" y="228"/>
                    </a:moveTo>
                    <a:lnTo>
                      <a:pt x="19" y="231"/>
                    </a:lnTo>
                    <a:lnTo>
                      <a:pt x="19" y="231"/>
                    </a:lnTo>
                    <a:lnTo>
                      <a:pt x="17" y="231"/>
                    </a:lnTo>
                    <a:lnTo>
                      <a:pt x="17" y="230"/>
                    </a:lnTo>
                    <a:lnTo>
                      <a:pt x="17" y="230"/>
                    </a:lnTo>
                    <a:lnTo>
                      <a:pt x="19" y="228"/>
                    </a:lnTo>
                    <a:close/>
                    <a:moveTo>
                      <a:pt x="12" y="240"/>
                    </a:moveTo>
                    <a:lnTo>
                      <a:pt x="13" y="238"/>
                    </a:lnTo>
                    <a:lnTo>
                      <a:pt x="15" y="240"/>
                    </a:lnTo>
                    <a:lnTo>
                      <a:pt x="15" y="241"/>
                    </a:lnTo>
                    <a:lnTo>
                      <a:pt x="13" y="241"/>
                    </a:lnTo>
                    <a:lnTo>
                      <a:pt x="12" y="241"/>
                    </a:lnTo>
                    <a:lnTo>
                      <a:pt x="10" y="241"/>
                    </a:lnTo>
                    <a:lnTo>
                      <a:pt x="12" y="240"/>
                    </a:lnTo>
                    <a:lnTo>
                      <a:pt x="12" y="240"/>
                    </a:lnTo>
                    <a:close/>
                    <a:moveTo>
                      <a:pt x="40" y="271"/>
                    </a:moveTo>
                    <a:lnTo>
                      <a:pt x="40" y="271"/>
                    </a:lnTo>
                    <a:lnTo>
                      <a:pt x="39" y="273"/>
                    </a:lnTo>
                    <a:lnTo>
                      <a:pt x="38" y="274"/>
                    </a:lnTo>
                    <a:lnTo>
                      <a:pt x="33" y="276"/>
                    </a:lnTo>
                    <a:lnTo>
                      <a:pt x="30" y="277"/>
                    </a:lnTo>
                    <a:lnTo>
                      <a:pt x="29" y="277"/>
                    </a:lnTo>
                    <a:lnTo>
                      <a:pt x="29" y="274"/>
                    </a:lnTo>
                    <a:lnTo>
                      <a:pt x="32" y="270"/>
                    </a:lnTo>
                    <a:lnTo>
                      <a:pt x="33" y="268"/>
                    </a:lnTo>
                    <a:lnTo>
                      <a:pt x="33" y="267"/>
                    </a:lnTo>
                    <a:lnTo>
                      <a:pt x="33" y="266"/>
                    </a:lnTo>
                    <a:lnTo>
                      <a:pt x="33" y="264"/>
                    </a:lnTo>
                    <a:lnTo>
                      <a:pt x="35" y="264"/>
                    </a:lnTo>
                    <a:lnTo>
                      <a:pt x="36" y="264"/>
                    </a:lnTo>
                    <a:lnTo>
                      <a:pt x="38" y="266"/>
                    </a:lnTo>
                    <a:lnTo>
                      <a:pt x="39" y="267"/>
                    </a:lnTo>
                    <a:lnTo>
                      <a:pt x="39" y="268"/>
                    </a:lnTo>
                    <a:lnTo>
                      <a:pt x="38" y="268"/>
                    </a:lnTo>
                    <a:lnTo>
                      <a:pt x="39" y="270"/>
                    </a:lnTo>
                    <a:lnTo>
                      <a:pt x="40" y="271"/>
                    </a:lnTo>
                    <a:close/>
                    <a:moveTo>
                      <a:pt x="148" y="139"/>
                    </a:moveTo>
                    <a:lnTo>
                      <a:pt x="148" y="138"/>
                    </a:lnTo>
                    <a:lnTo>
                      <a:pt x="148" y="139"/>
                    </a:lnTo>
                    <a:lnTo>
                      <a:pt x="147" y="141"/>
                    </a:lnTo>
                    <a:lnTo>
                      <a:pt x="145" y="142"/>
                    </a:lnTo>
                    <a:lnTo>
                      <a:pt x="144" y="143"/>
                    </a:lnTo>
                    <a:lnTo>
                      <a:pt x="144" y="145"/>
                    </a:lnTo>
                    <a:lnTo>
                      <a:pt x="144" y="146"/>
                    </a:lnTo>
                    <a:lnTo>
                      <a:pt x="145" y="148"/>
                    </a:lnTo>
                    <a:lnTo>
                      <a:pt x="144" y="149"/>
                    </a:lnTo>
                    <a:lnTo>
                      <a:pt x="147" y="149"/>
                    </a:lnTo>
                    <a:lnTo>
                      <a:pt x="147" y="152"/>
                    </a:lnTo>
                    <a:lnTo>
                      <a:pt x="145" y="155"/>
                    </a:lnTo>
                    <a:lnTo>
                      <a:pt x="135" y="166"/>
                    </a:lnTo>
                    <a:lnTo>
                      <a:pt x="134" y="169"/>
                    </a:lnTo>
                    <a:lnTo>
                      <a:pt x="131" y="176"/>
                    </a:lnTo>
                    <a:lnTo>
                      <a:pt x="128" y="178"/>
                    </a:lnTo>
                    <a:lnTo>
                      <a:pt x="127" y="181"/>
                    </a:lnTo>
                    <a:lnTo>
                      <a:pt x="124" y="182"/>
                    </a:lnTo>
                    <a:lnTo>
                      <a:pt x="121" y="184"/>
                    </a:lnTo>
                    <a:lnTo>
                      <a:pt x="118" y="185"/>
                    </a:lnTo>
                    <a:lnTo>
                      <a:pt x="119" y="187"/>
                    </a:lnTo>
                    <a:lnTo>
                      <a:pt x="119" y="188"/>
                    </a:lnTo>
                    <a:lnTo>
                      <a:pt x="118" y="188"/>
                    </a:lnTo>
                    <a:lnTo>
                      <a:pt x="116" y="189"/>
                    </a:lnTo>
                    <a:lnTo>
                      <a:pt x="118" y="189"/>
                    </a:lnTo>
                    <a:lnTo>
                      <a:pt x="119" y="189"/>
                    </a:lnTo>
                    <a:lnTo>
                      <a:pt x="119" y="191"/>
                    </a:lnTo>
                    <a:lnTo>
                      <a:pt x="121" y="192"/>
                    </a:lnTo>
                    <a:lnTo>
                      <a:pt x="122" y="194"/>
                    </a:lnTo>
                    <a:lnTo>
                      <a:pt x="124" y="194"/>
                    </a:lnTo>
                    <a:lnTo>
                      <a:pt x="125" y="194"/>
                    </a:lnTo>
                    <a:lnTo>
                      <a:pt x="127" y="195"/>
                    </a:lnTo>
                    <a:lnTo>
                      <a:pt x="127" y="198"/>
                    </a:lnTo>
                    <a:lnTo>
                      <a:pt x="125" y="198"/>
                    </a:lnTo>
                    <a:lnTo>
                      <a:pt x="124" y="199"/>
                    </a:lnTo>
                    <a:lnTo>
                      <a:pt x="122" y="198"/>
                    </a:lnTo>
                    <a:lnTo>
                      <a:pt x="121" y="198"/>
                    </a:lnTo>
                    <a:lnTo>
                      <a:pt x="118" y="198"/>
                    </a:lnTo>
                    <a:lnTo>
                      <a:pt x="118" y="198"/>
                    </a:lnTo>
                    <a:lnTo>
                      <a:pt x="115" y="198"/>
                    </a:lnTo>
                    <a:lnTo>
                      <a:pt x="116" y="198"/>
                    </a:lnTo>
                    <a:lnTo>
                      <a:pt x="118" y="197"/>
                    </a:lnTo>
                    <a:lnTo>
                      <a:pt x="115" y="195"/>
                    </a:lnTo>
                    <a:lnTo>
                      <a:pt x="115" y="195"/>
                    </a:lnTo>
                    <a:lnTo>
                      <a:pt x="114" y="197"/>
                    </a:lnTo>
                    <a:lnTo>
                      <a:pt x="114" y="198"/>
                    </a:lnTo>
                    <a:lnTo>
                      <a:pt x="112" y="198"/>
                    </a:lnTo>
                    <a:lnTo>
                      <a:pt x="111" y="197"/>
                    </a:lnTo>
                    <a:lnTo>
                      <a:pt x="108" y="195"/>
                    </a:lnTo>
                    <a:lnTo>
                      <a:pt x="109" y="198"/>
                    </a:lnTo>
                    <a:lnTo>
                      <a:pt x="109" y="198"/>
                    </a:lnTo>
                    <a:lnTo>
                      <a:pt x="109" y="199"/>
                    </a:lnTo>
                    <a:lnTo>
                      <a:pt x="108" y="201"/>
                    </a:lnTo>
                    <a:lnTo>
                      <a:pt x="106" y="201"/>
                    </a:lnTo>
                    <a:lnTo>
                      <a:pt x="99" y="204"/>
                    </a:lnTo>
                    <a:lnTo>
                      <a:pt x="98" y="204"/>
                    </a:lnTo>
                    <a:lnTo>
                      <a:pt x="98" y="205"/>
                    </a:lnTo>
                    <a:lnTo>
                      <a:pt x="96" y="207"/>
                    </a:lnTo>
                    <a:lnTo>
                      <a:pt x="95" y="207"/>
                    </a:lnTo>
                    <a:lnTo>
                      <a:pt x="94" y="208"/>
                    </a:lnTo>
                    <a:lnTo>
                      <a:pt x="95" y="210"/>
                    </a:lnTo>
                    <a:lnTo>
                      <a:pt x="94" y="215"/>
                    </a:lnTo>
                    <a:lnTo>
                      <a:pt x="92" y="221"/>
                    </a:lnTo>
                    <a:lnTo>
                      <a:pt x="89" y="222"/>
                    </a:lnTo>
                    <a:lnTo>
                      <a:pt x="91" y="224"/>
                    </a:lnTo>
                    <a:lnTo>
                      <a:pt x="91" y="227"/>
                    </a:lnTo>
                    <a:lnTo>
                      <a:pt x="85" y="238"/>
                    </a:lnTo>
                    <a:lnTo>
                      <a:pt x="83" y="241"/>
                    </a:lnTo>
                    <a:lnTo>
                      <a:pt x="85" y="241"/>
                    </a:lnTo>
                    <a:lnTo>
                      <a:pt x="85" y="243"/>
                    </a:lnTo>
                    <a:lnTo>
                      <a:pt x="86" y="243"/>
                    </a:lnTo>
                    <a:lnTo>
                      <a:pt x="86" y="244"/>
                    </a:lnTo>
                    <a:lnTo>
                      <a:pt x="85" y="245"/>
                    </a:lnTo>
                    <a:lnTo>
                      <a:pt x="83" y="245"/>
                    </a:lnTo>
                    <a:lnTo>
                      <a:pt x="82" y="245"/>
                    </a:lnTo>
                    <a:lnTo>
                      <a:pt x="81" y="247"/>
                    </a:lnTo>
                    <a:lnTo>
                      <a:pt x="79" y="247"/>
                    </a:lnTo>
                    <a:lnTo>
                      <a:pt x="78" y="248"/>
                    </a:lnTo>
                    <a:lnTo>
                      <a:pt x="68" y="258"/>
                    </a:lnTo>
                    <a:lnTo>
                      <a:pt x="65" y="260"/>
                    </a:lnTo>
                    <a:lnTo>
                      <a:pt x="62" y="261"/>
                    </a:lnTo>
                    <a:lnTo>
                      <a:pt x="59" y="263"/>
                    </a:lnTo>
                    <a:lnTo>
                      <a:pt x="56" y="263"/>
                    </a:lnTo>
                    <a:lnTo>
                      <a:pt x="55" y="261"/>
                    </a:lnTo>
                    <a:lnTo>
                      <a:pt x="52" y="261"/>
                    </a:lnTo>
                    <a:lnTo>
                      <a:pt x="50" y="261"/>
                    </a:lnTo>
                    <a:lnTo>
                      <a:pt x="49" y="261"/>
                    </a:lnTo>
                    <a:lnTo>
                      <a:pt x="48" y="261"/>
                    </a:lnTo>
                    <a:lnTo>
                      <a:pt x="46" y="261"/>
                    </a:lnTo>
                    <a:lnTo>
                      <a:pt x="45" y="261"/>
                    </a:lnTo>
                    <a:lnTo>
                      <a:pt x="43" y="260"/>
                    </a:lnTo>
                    <a:lnTo>
                      <a:pt x="43" y="260"/>
                    </a:lnTo>
                    <a:lnTo>
                      <a:pt x="42" y="258"/>
                    </a:lnTo>
                    <a:lnTo>
                      <a:pt x="40" y="257"/>
                    </a:lnTo>
                    <a:lnTo>
                      <a:pt x="39" y="256"/>
                    </a:lnTo>
                    <a:lnTo>
                      <a:pt x="38" y="256"/>
                    </a:lnTo>
                    <a:lnTo>
                      <a:pt x="36" y="257"/>
                    </a:lnTo>
                    <a:lnTo>
                      <a:pt x="35" y="256"/>
                    </a:lnTo>
                    <a:lnTo>
                      <a:pt x="33" y="256"/>
                    </a:lnTo>
                    <a:lnTo>
                      <a:pt x="32" y="253"/>
                    </a:lnTo>
                    <a:lnTo>
                      <a:pt x="32" y="253"/>
                    </a:lnTo>
                    <a:lnTo>
                      <a:pt x="26" y="253"/>
                    </a:lnTo>
                    <a:lnTo>
                      <a:pt x="19" y="253"/>
                    </a:lnTo>
                    <a:lnTo>
                      <a:pt x="15" y="253"/>
                    </a:lnTo>
                    <a:lnTo>
                      <a:pt x="17" y="247"/>
                    </a:lnTo>
                    <a:lnTo>
                      <a:pt x="16" y="247"/>
                    </a:lnTo>
                    <a:lnTo>
                      <a:pt x="16" y="248"/>
                    </a:lnTo>
                    <a:lnTo>
                      <a:pt x="15" y="248"/>
                    </a:lnTo>
                    <a:lnTo>
                      <a:pt x="13" y="248"/>
                    </a:lnTo>
                    <a:lnTo>
                      <a:pt x="13" y="248"/>
                    </a:lnTo>
                    <a:lnTo>
                      <a:pt x="15" y="247"/>
                    </a:lnTo>
                    <a:lnTo>
                      <a:pt x="15" y="247"/>
                    </a:lnTo>
                    <a:lnTo>
                      <a:pt x="15" y="245"/>
                    </a:lnTo>
                    <a:lnTo>
                      <a:pt x="13" y="247"/>
                    </a:lnTo>
                    <a:lnTo>
                      <a:pt x="12" y="247"/>
                    </a:lnTo>
                    <a:lnTo>
                      <a:pt x="10" y="247"/>
                    </a:lnTo>
                    <a:lnTo>
                      <a:pt x="10" y="245"/>
                    </a:lnTo>
                    <a:lnTo>
                      <a:pt x="12" y="244"/>
                    </a:lnTo>
                    <a:lnTo>
                      <a:pt x="13" y="243"/>
                    </a:lnTo>
                    <a:lnTo>
                      <a:pt x="16" y="243"/>
                    </a:lnTo>
                    <a:lnTo>
                      <a:pt x="19" y="241"/>
                    </a:lnTo>
                    <a:lnTo>
                      <a:pt x="16" y="241"/>
                    </a:lnTo>
                    <a:lnTo>
                      <a:pt x="16" y="240"/>
                    </a:lnTo>
                    <a:lnTo>
                      <a:pt x="16" y="238"/>
                    </a:lnTo>
                    <a:lnTo>
                      <a:pt x="19" y="237"/>
                    </a:lnTo>
                    <a:lnTo>
                      <a:pt x="17" y="237"/>
                    </a:lnTo>
                    <a:lnTo>
                      <a:pt x="16" y="237"/>
                    </a:lnTo>
                    <a:lnTo>
                      <a:pt x="16" y="237"/>
                    </a:lnTo>
                    <a:lnTo>
                      <a:pt x="15" y="237"/>
                    </a:lnTo>
                    <a:lnTo>
                      <a:pt x="15" y="235"/>
                    </a:lnTo>
                    <a:lnTo>
                      <a:pt x="15" y="234"/>
                    </a:lnTo>
                    <a:lnTo>
                      <a:pt x="16" y="234"/>
                    </a:lnTo>
                    <a:lnTo>
                      <a:pt x="17" y="234"/>
                    </a:lnTo>
                    <a:lnTo>
                      <a:pt x="17" y="234"/>
                    </a:lnTo>
                    <a:lnTo>
                      <a:pt x="17" y="233"/>
                    </a:lnTo>
                    <a:lnTo>
                      <a:pt x="17" y="231"/>
                    </a:lnTo>
                    <a:lnTo>
                      <a:pt x="17" y="233"/>
                    </a:lnTo>
                    <a:lnTo>
                      <a:pt x="20" y="234"/>
                    </a:lnTo>
                    <a:lnTo>
                      <a:pt x="22" y="234"/>
                    </a:lnTo>
                    <a:lnTo>
                      <a:pt x="22" y="233"/>
                    </a:lnTo>
                    <a:lnTo>
                      <a:pt x="22" y="233"/>
                    </a:lnTo>
                    <a:lnTo>
                      <a:pt x="22" y="231"/>
                    </a:lnTo>
                    <a:lnTo>
                      <a:pt x="23" y="231"/>
                    </a:lnTo>
                    <a:lnTo>
                      <a:pt x="20" y="230"/>
                    </a:lnTo>
                    <a:lnTo>
                      <a:pt x="20" y="228"/>
                    </a:lnTo>
                    <a:lnTo>
                      <a:pt x="20" y="227"/>
                    </a:lnTo>
                    <a:lnTo>
                      <a:pt x="23" y="227"/>
                    </a:lnTo>
                    <a:lnTo>
                      <a:pt x="22" y="224"/>
                    </a:lnTo>
                    <a:lnTo>
                      <a:pt x="23" y="222"/>
                    </a:lnTo>
                    <a:lnTo>
                      <a:pt x="25" y="221"/>
                    </a:lnTo>
                    <a:lnTo>
                      <a:pt x="26" y="221"/>
                    </a:lnTo>
                    <a:lnTo>
                      <a:pt x="26" y="221"/>
                    </a:lnTo>
                    <a:lnTo>
                      <a:pt x="27" y="222"/>
                    </a:lnTo>
                    <a:lnTo>
                      <a:pt x="27" y="224"/>
                    </a:lnTo>
                    <a:lnTo>
                      <a:pt x="27" y="221"/>
                    </a:lnTo>
                    <a:lnTo>
                      <a:pt x="27" y="220"/>
                    </a:lnTo>
                    <a:lnTo>
                      <a:pt x="27" y="220"/>
                    </a:lnTo>
                    <a:lnTo>
                      <a:pt x="29" y="217"/>
                    </a:lnTo>
                    <a:lnTo>
                      <a:pt x="32" y="215"/>
                    </a:lnTo>
                    <a:lnTo>
                      <a:pt x="33" y="215"/>
                    </a:lnTo>
                    <a:lnTo>
                      <a:pt x="35" y="217"/>
                    </a:lnTo>
                    <a:lnTo>
                      <a:pt x="35" y="212"/>
                    </a:lnTo>
                    <a:lnTo>
                      <a:pt x="38" y="208"/>
                    </a:lnTo>
                    <a:lnTo>
                      <a:pt x="40" y="205"/>
                    </a:lnTo>
                    <a:lnTo>
                      <a:pt x="45" y="202"/>
                    </a:lnTo>
                    <a:lnTo>
                      <a:pt x="46" y="202"/>
                    </a:lnTo>
                    <a:lnTo>
                      <a:pt x="48" y="201"/>
                    </a:lnTo>
                    <a:lnTo>
                      <a:pt x="49" y="201"/>
                    </a:lnTo>
                    <a:lnTo>
                      <a:pt x="50" y="201"/>
                    </a:lnTo>
                    <a:lnTo>
                      <a:pt x="52" y="201"/>
                    </a:lnTo>
                    <a:lnTo>
                      <a:pt x="53" y="199"/>
                    </a:lnTo>
                    <a:lnTo>
                      <a:pt x="56" y="198"/>
                    </a:lnTo>
                    <a:lnTo>
                      <a:pt x="58" y="199"/>
                    </a:lnTo>
                    <a:lnTo>
                      <a:pt x="58" y="197"/>
                    </a:lnTo>
                    <a:lnTo>
                      <a:pt x="60" y="194"/>
                    </a:lnTo>
                    <a:lnTo>
                      <a:pt x="65" y="192"/>
                    </a:lnTo>
                    <a:lnTo>
                      <a:pt x="69" y="191"/>
                    </a:lnTo>
                    <a:lnTo>
                      <a:pt x="69" y="189"/>
                    </a:lnTo>
                    <a:lnTo>
                      <a:pt x="69" y="189"/>
                    </a:lnTo>
                    <a:lnTo>
                      <a:pt x="69" y="189"/>
                    </a:lnTo>
                    <a:lnTo>
                      <a:pt x="71" y="189"/>
                    </a:lnTo>
                    <a:lnTo>
                      <a:pt x="69" y="188"/>
                    </a:lnTo>
                    <a:lnTo>
                      <a:pt x="72" y="187"/>
                    </a:lnTo>
                    <a:lnTo>
                      <a:pt x="73" y="185"/>
                    </a:lnTo>
                    <a:lnTo>
                      <a:pt x="76" y="182"/>
                    </a:lnTo>
                    <a:lnTo>
                      <a:pt x="79" y="184"/>
                    </a:lnTo>
                    <a:lnTo>
                      <a:pt x="78" y="182"/>
                    </a:lnTo>
                    <a:lnTo>
                      <a:pt x="78" y="182"/>
                    </a:lnTo>
                    <a:lnTo>
                      <a:pt x="78" y="181"/>
                    </a:lnTo>
                    <a:lnTo>
                      <a:pt x="78" y="181"/>
                    </a:lnTo>
                    <a:lnTo>
                      <a:pt x="79" y="181"/>
                    </a:lnTo>
                    <a:lnTo>
                      <a:pt x="81" y="181"/>
                    </a:lnTo>
                    <a:lnTo>
                      <a:pt x="82" y="181"/>
                    </a:lnTo>
                    <a:lnTo>
                      <a:pt x="82" y="179"/>
                    </a:lnTo>
                    <a:lnTo>
                      <a:pt x="82" y="179"/>
                    </a:lnTo>
                    <a:lnTo>
                      <a:pt x="83" y="178"/>
                    </a:lnTo>
                    <a:lnTo>
                      <a:pt x="85" y="179"/>
                    </a:lnTo>
                    <a:lnTo>
                      <a:pt x="85" y="178"/>
                    </a:lnTo>
                    <a:lnTo>
                      <a:pt x="86" y="176"/>
                    </a:lnTo>
                    <a:lnTo>
                      <a:pt x="89" y="172"/>
                    </a:lnTo>
                    <a:lnTo>
                      <a:pt x="89" y="174"/>
                    </a:lnTo>
                    <a:lnTo>
                      <a:pt x="89" y="175"/>
                    </a:lnTo>
                    <a:lnTo>
                      <a:pt x="89" y="175"/>
                    </a:lnTo>
                    <a:lnTo>
                      <a:pt x="89" y="176"/>
                    </a:lnTo>
                    <a:lnTo>
                      <a:pt x="91" y="174"/>
                    </a:lnTo>
                    <a:lnTo>
                      <a:pt x="91" y="171"/>
                    </a:lnTo>
                    <a:lnTo>
                      <a:pt x="92" y="168"/>
                    </a:lnTo>
                    <a:lnTo>
                      <a:pt x="95" y="166"/>
                    </a:lnTo>
                    <a:lnTo>
                      <a:pt x="94" y="165"/>
                    </a:lnTo>
                    <a:lnTo>
                      <a:pt x="95" y="162"/>
                    </a:lnTo>
                    <a:lnTo>
                      <a:pt x="96" y="155"/>
                    </a:lnTo>
                    <a:lnTo>
                      <a:pt x="99" y="152"/>
                    </a:lnTo>
                    <a:lnTo>
                      <a:pt x="104" y="149"/>
                    </a:lnTo>
                    <a:lnTo>
                      <a:pt x="106" y="146"/>
                    </a:lnTo>
                    <a:lnTo>
                      <a:pt x="108" y="142"/>
                    </a:lnTo>
                    <a:lnTo>
                      <a:pt x="109" y="135"/>
                    </a:lnTo>
                    <a:lnTo>
                      <a:pt x="111" y="130"/>
                    </a:lnTo>
                    <a:lnTo>
                      <a:pt x="114" y="128"/>
                    </a:lnTo>
                    <a:lnTo>
                      <a:pt x="116" y="126"/>
                    </a:lnTo>
                    <a:lnTo>
                      <a:pt x="119" y="125"/>
                    </a:lnTo>
                    <a:lnTo>
                      <a:pt x="124" y="125"/>
                    </a:lnTo>
                    <a:lnTo>
                      <a:pt x="121" y="125"/>
                    </a:lnTo>
                    <a:lnTo>
                      <a:pt x="119" y="126"/>
                    </a:lnTo>
                    <a:lnTo>
                      <a:pt x="119" y="129"/>
                    </a:lnTo>
                    <a:lnTo>
                      <a:pt x="121" y="130"/>
                    </a:lnTo>
                    <a:lnTo>
                      <a:pt x="122" y="132"/>
                    </a:lnTo>
                    <a:lnTo>
                      <a:pt x="124" y="132"/>
                    </a:lnTo>
                    <a:lnTo>
                      <a:pt x="125" y="133"/>
                    </a:lnTo>
                    <a:lnTo>
                      <a:pt x="125" y="133"/>
                    </a:lnTo>
                    <a:lnTo>
                      <a:pt x="125" y="135"/>
                    </a:lnTo>
                    <a:lnTo>
                      <a:pt x="125" y="138"/>
                    </a:lnTo>
                    <a:lnTo>
                      <a:pt x="125" y="139"/>
                    </a:lnTo>
                    <a:lnTo>
                      <a:pt x="128" y="141"/>
                    </a:lnTo>
                    <a:lnTo>
                      <a:pt x="129" y="141"/>
                    </a:lnTo>
                    <a:lnTo>
                      <a:pt x="138" y="135"/>
                    </a:lnTo>
                    <a:lnTo>
                      <a:pt x="139" y="133"/>
                    </a:lnTo>
                    <a:lnTo>
                      <a:pt x="142" y="133"/>
                    </a:lnTo>
                    <a:lnTo>
                      <a:pt x="141" y="135"/>
                    </a:lnTo>
                    <a:lnTo>
                      <a:pt x="139" y="136"/>
                    </a:lnTo>
                    <a:lnTo>
                      <a:pt x="139" y="139"/>
                    </a:lnTo>
                    <a:lnTo>
                      <a:pt x="138" y="141"/>
                    </a:lnTo>
                    <a:lnTo>
                      <a:pt x="139" y="141"/>
                    </a:lnTo>
                    <a:lnTo>
                      <a:pt x="141" y="138"/>
                    </a:lnTo>
                    <a:lnTo>
                      <a:pt x="142" y="136"/>
                    </a:lnTo>
                    <a:lnTo>
                      <a:pt x="142" y="135"/>
                    </a:lnTo>
                    <a:lnTo>
                      <a:pt x="145" y="135"/>
                    </a:lnTo>
                    <a:lnTo>
                      <a:pt x="147" y="135"/>
                    </a:lnTo>
                    <a:lnTo>
                      <a:pt x="148" y="135"/>
                    </a:lnTo>
                    <a:lnTo>
                      <a:pt x="147" y="136"/>
                    </a:lnTo>
                    <a:lnTo>
                      <a:pt x="145" y="138"/>
                    </a:lnTo>
                    <a:lnTo>
                      <a:pt x="144" y="139"/>
                    </a:lnTo>
                    <a:lnTo>
                      <a:pt x="142" y="141"/>
                    </a:lnTo>
                    <a:lnTo>
                      <a:pt x="144" y="141"/>
                    </a:lnTo>
                    <a:lnTo>
                      <a:pt x="147" y="139"/>
                    </a:lnTo>
                    <a:lnTo>
                      <a:pt x="148" y="139"/>
                    </a:lnTo>
                    <a:close/>
                    <a:moveTo>
                      <a:pt x="4" y="359"/>
                    </a:moveTo>
                    <a:lnTo>
                      <a:pt x="6" y="359"/>
                    </a:lnTo>
                    <a:lnTo>
                      <a:pt x="6" y="360"/>
                    </a:lnTo>
                    <a:lnTo>
                      <a:pt x="6" y="363"/>
                    </a:lnTo>
                    <a:lnTo>
                      <a:pt x="6" y="365"/>
                    </a:lnTo>
                    <a:lnTo>
                      <a:pt x="6" y="365"/>
                    </a:lnTo>
                    <a:lnTo>
                      <a:pt x="6" y="366"/>
                    </a:lnTo>
                    <a:lnTo>
                      <a:pt x="6" y="368"/>
                    </a:lnTo>
                    <a:lnTo>
                      <a:pt x="4" y="368"/>
                    </a:lnTo>
                    <a:lnTo>
                      <a:pt x="3" y="368"/>
                    </a:lnTo>
                    <a:lnTo>
                      <a:pt x="3" y="366"/>
                    </a:lnTo>
                    <a:lnTo>
                      <a:pt x="2" y="366"/>
                    </a:lnTo>
                    <a:lnTo>
                      <a:pt x="2" y="366"/>
                    </a:lnTo>
                    <a:lnTo>
                      <a:pt x="0" y="366"/>
                    </a:lnTo>
                    <a:lnTo>
                      <a:pt x="0" y="366"/>
                    </a:lnTo>
                    <a:lnTo>
                      <a:pt x="0" y="366"/>
                    </a:lnTo>
                    <a:lnTo>
                      <a:pt x="0" y="365"/>
                    </a:lnTo>
                    <a:lnTo>
                      <a:pt x="0" y="365"/>
                    </a:lnTo>
                    <a:lnTo>
                      <a:pt x="2" y="363"/>
                    </a:lnTo>
                    <a:lnTo>
                      <a:pt x="4" y="359"/>
                    </a:lnTo>
                    <a:lnTo>
                      <a:pt x="4" y="359"/>
                    </a:lnTo>
                    <a:close/>
                    <a:moveTo>
                      <a:pt x="220" y="64"/>
                    </a:moveTo>
                    <a:lnTo>
                      <a:pt x="221" y="64"/>
                    </a:lnTo>
                    <a:lnTo>
                      <a:pt x="221" y="67"/>
                    </a:lnTo>
                    <a:lnTo>
                      <a:pt x="220" y="69"/>
                    </a:lnTo>
                    <a:lnTo>
                      <a:pt x="220" y="72"/>
                    </a:lnTo>
                    <a:lnTo>
                      <a:pt x="218" y="79"/>
                    </a:lnTo>
                    <a:lnTo>
                      <a:pt x="218" y="82"/>
                    </a:lnTo>
                    <a:lnTo>
                      <a:pt x="217" y="83"/>
                    </a:lnTo>
                    <a:lnTo>
                      <a:pt x="213" y="87"/>
                    </a:lnTo>
                    <a:lnTo>
                      <a:pt x="211" y="89"/>
                    </a:lnTo>
                    <a:lnTo>
                      <a:pt x="211" y="92"/>
                    </a:lnTo>
                    <a:lnTo>
                      <a:pt x="211" y="93"/>
                    </a:lnTo>
                    <a:lnTo>
                      <a:pt x="211" y="96"/>
                    </a:lnTo>
                    <a:lnTo>
                      <a:pt x="211" y="97"/>
                    </a:lnTo>
                    <a:lnTo>
                      <a:pt x="208" y="95"/>
                    </a:lnTo>
                    <a:lnTo>
                      <a:pt x="204" y="95"/>
                    </a:lnTo>
                    <a:lnTo>
                      <a:pt x="200" y="95"/>
                    </a:lnTo>
                    <a:lnTo>
                      <a:pt x="197" y="96"/>
                    </a:lnTo>
                    <a:lnTo>
                      <a:pt x="195" y="97"/>
                    </a:lnTo>
                    <a:lnTo>
                      <a:pt x="194" y="99"/>
                    </a:lnTo>
                    <a:lnTo>
                      <a:pt x="194" y="102"/>
                    </a:lnTo>
                    <a:lnTo>
                      <a:pt x="194" y="103"/>
                    </a:lnTo>
                    <a:lnTo>
                      <a:pt x="194" y="105"/>
                    </a:lnTo>
                    <a:lnTo>
                      <a:pt x="195" y="105"/>
                    </a:lnTo>
                    <a:lnTo>
                      <a:pt x="195" y="106"/>
                    </a:lnTo>
                    <a:lnTo>
                      <a:pt x="195" y="106"/>
                    </a:lnTo>
                    <a:lnTo>
                      <a:pt x="195" y="107"/>
                    </a:lnTo>
                    <a:lnTo>
                      <a:pt x="195" y="107"/>
                    </a:lnTo>
                    <a:lnTo>
                      <a:pt x="195" y="109"/>
                    </a:lnTo>
                    <a:lnTo>
                      <a:pt x="194" y="113"/>
                    </a:lnTo>
                    <a:lnTo>
                      <a:pt x="193" y="116"/>
                    </a:lnTo>
                    <a:lnTo>
                      <a:pt x="177" y="139"/>
                    </a:lnTo>
                    <a:lnTo>
                      <a:pt x="174" y="142"/>
                    </a:lnTo>
                    <a:lnTo>
                      <a:pt x="171" y="145"/>
                    </a:lnTo>
                    <a:lnTo>
                      <a:pt x="167" y="148"/>
                    </a:lnTo>
                    <a:lnTo>
                      <a:pt x="165" y="148"/>
                    </a:lnTo>
                    <a:lnTo>
                      <a:pt x="165" y="148"/>
                    </a:lnTo>
                    <a:lnTo>
                      <a:pt x="164" y="146"/>
                    </a:lnTo>
                    <a:lnTo>
                      <a:pt x="162" y="146"/>
                    </a:lnTo>
                    <a:lnTo>
                      <a:pt x="162" y="145"/>
                    </a:lnTo>
                    <a:lnTo>
                      <a:pt x="162" y="143"/>
                    </a:lnTo>
                    <a:lnTo>
                      <a:pt x="161" y="143"/>
                    </a:lnTo>
                    <a:lnTo>
                      <a:pt x="160" y="143"/>
                    </a:lnTo>
                    <a:lnTo>
                      <a:pt x="160" y="145"/>
                    </a:lnTo>
                    <a:lnTo>
                      <a:pt x="158" y="145"/>
                    </a:lnTo>
                    <a:lnTo>
                      <a:pt x="158" y="143"/>
                    </a:lnTo>
                    <a:lnTo>
                      <a:pt x="158" y="142"/>
                    </a:lnTo>
                    <a:lnTo>
                      <a:pt x="158" y="141"/>
                    </a:lnTo>
                    <a:lnTo>
                      <a:pt x="158" y="141"/>
                    </a:lnTo>
                    <a:lnTo>
                      <a:pt x="157" y="141"/>
                    </a:lnTo>
                    <a:lnTo>
                      <a:pt x="157" y="142"/>
                    </a:lnTo>
                    <a:lnTo>
                      <a:pt x="155" y="142"/>
                    </a:lnTo>
                    <a:lnTo>
                      <a:pt x="154" y="141"/>
                    </a:lnTo>
                    <a:lnTo>
                      <a:pt x="155" y="138"/>
                    </a:lnTo>
                    <a:lnTo>
                      <a:pt x="160" y="132"/>
                    </a:lnTo>
                    <a:lnTo>
                      <a:pt x="162" y="129"/>
                    </a:lnTo>
                    <a:lnTo>
                      <a:pt x="164" y="125"/>
                    </a:lnTo>
                    <a:lnTo>
                      <a:pt x="164" y="120"/>
                    </a:lnTo>
                    <a:lnTo>
                      <a:pt x="162" y="116"/>
                    </a:lnTo>
                    <a:lnTo>
                      <a:pt x="160" y="113"/>
                    </a:lnTo>
                    <a:lnTo>
                      <a:pt x="157" y="112"/>
                    </a:lnTo>
                    <a:lnTo>
                      <a:pt x="154" y="110"/>
                    </a:lnTo>
                    <a:lnTo>
                      <a:pt x="150" y="107"/>
                    </a:lnTo>
                    <a:lnTo>
                      <a:pt x="147" y="106"/>
                    </a:lnTo>
                    <a:lnTo>
                      <a:pt x="144" y="105"/>
                    </a:lnTo>
                    <a:lnTo>
                      <a:pt x="139" y="102"/>
                    </a:lnTo>
                    <a:lnTo>
                      <a:pt x="138" y="99"/>
                    </a:lnTo>
                    <a:lnTo>
                      <a:pt x="139" y="96"/>
                    </a:lnTo>
                    <a:lnTo>
                      <a:pt x="142" y="93"/>
                    </a:lnTo>
                    <a:lnTo>
                      <a:pt x="148" y="92"/>
                    </a:lnTo>
                    <a:lnTo>
                      <a:pt x="151" y="90"/>
                    </a:lnTo>
                    <a:lnTo>
                      <a:pt x="152" y="87"/>
                    </a:lnTo>
                    <a:lnTo>
                      <a:pt x="154" y="80"/>
                    </a:lnTo>
                    <a:lnTo>
                      <a:pt x="154" y="79"/>
                    </a:lnTo>
                    <a:lnTo>
                      <a:pt x="157" y="74"/>
                    </a:lnTo>
                    <a:lnTo>
                      <a:pt x="157" y="72"/>
                    </a:lnTo>
                    <a:lnTo>
                      <a:pt x="157" y="70"/>
                    </a:lnTo>
                    <a:lnTo>
                      <a:pt x="157" y="69"/>
                    </a:lnTo>
                    <a:lnTo>
                      <a:pt x="157" y="69"/>
                    </a:lnTo>
                    <a:lnTo>
                      <a:pt x="158" y="67"/>
                    </a:lnTo>
                    <a:lnTo>
                      <a:pt x="157" y="66"/>
                    </a:lnTo>
                    <a:lnTo>
                      <a:pt x="155" y="63"/>
                    </a:lnTo>
                    <a:lnTo>
                      <a:pt x="155" y="60"/>
                    </a:lnTo>
                    <a:lnTo>
                      <a:pt x="155" y="59"/>
                    </a:lnTo>
                    <a:lnTo>
                      <a:pt x="154" y="57"/>
                    </a:lnTo>
                    <a:lnTo>
                      <a:pt x="154" y="56"/>
                    </a:lnTo>
                    <a:lnTo>
                      <a:pt x="152" y="54"/>
                    </a:lnTo>
                    <a:lnTo>
                      <a:pt x="152" y="53"/>
                    </a:lnTo>
                    <a:lnTo>
                      <a:pt x="154" y="54"/>
                    </a:lnTo>
                    <a:lnTo>
                      <a:pt x="155" y="54"/>
                    </a:lnTo>
                    <a:lnTo>
                      <a:pt x="155" y="56"/>
                    </a:lnTo>
                    <a:lnTo>
                      <a:pt x="155" y="54"/>
                    </a:lnTo>
                    <a:lnTo>
                      <a:pt x="157" y="53"/>
                    </a:lnTo>
                    <a:lnTo>
                      <a:pt x="157" y="53"/>
                    </a:lnTo>
                    <a:lnTo>
                      <a:pt x="158" y="53"/>
                    </a:lnTo>
                    <a:lnTo>
                      <a:pt x="157" y="51"/>
                    </a:lnTo>
                    <a:lnTo>
                      <a:pt x="155" y="51"/>
                    </a:lnTo>
                    <a:lnTo>
                      <a:pt x="152" y="51"/>
                    </a:lnTo>
                    <a:lnTo>
                      <a:pt x="151" y="50"/>
                    </a:lnTo>
                    <a:lnTo>
                      <a:pt x="150" y="49"/>
                    </a:lnTo>
                    <a:lnTo>
                      <a:pt x="145" y="41"/>
                    </a:lnTo>
                    <a:lnTo>
                      <a:pt x="147" y="41"/>
                    </a:lnTo>
                    <a:lnTo>
                      <a:pt x="148" y="41"/>
                    </a:lnTo>
                    <a:lnTo>
                      <a:pt x="148" y="43"/>
                    </a:lnTo>
                    <a:lnTo>
                      <a:pt x="150" y="43"/>
                    </a:lnTo>
                    <a:lnTo>
                      <a:pt x="150" y="41"/>
                    </a:lnTo>
                    <a:lnTo>
                      <a:pt x="150" y="40"/>
                    </a:lnTo>
                    <a:lnTo>
                      <a:pt x="150" y="40"/>
                    </a:lnTo>
                    <a:lnTo>
                      <a:pt x="148" y="39"/>
                    </a:lnTo>
                    <a:lnTo>
                      <a:pt x="148" y="37"/>
                    </a:lnTo>
                    <a:lnTo>
                      <a:pt x="148" y="36"/>
                    </a:lnTo>
                    <a:lnTo>
                      <a:pt x="148" y="36"/>
                    </a:lnTo>
                    <a:lnTo>
                      <a:pt x="147" y="34"/>
                    </a:lnTo>
                    <a:lnTo>
                      <a:pt x="147" y="36"/>
                    </a:lnTo>
                    <a:lnTo>
                      <a:pt x="147" y="36"/>
                    </a:lnTo>
                    <a:lnTo>
                      <a:pt x="145" y="36"/>
                    </a:lnTo>
                    <a:lnTo>
                      <a:pt x="142" y="33"/>
                    </a:lnTo>
                    <a:lnTo>
                      <a:pt x="142" y="31"/>
                    </a:lnTo>
                    <a:lnTo>
                      <a:pt x="141" y="30"/>
                    </a:lnTo>
                    <a:lnTo>
                      <a:pt x="141" y="31"/>
                    </a:lnTo>
                    <a:lnTo>
                      <a:pt x="142" y="34"/>
                    </a:lnTo>
                    <a:lnTo>
                      <a:pt x="144" y="36"/>
                    </a:lnTo>
                    <a:lnTo>
                      <a:pt x="145" y="37"/>
                    </a:lnTo>
                    <a:lnTo>
                      <a:pt x="145" y="39"/>
                    </a:lnTo>
                    <a:lnTo>
                      <a:pt x="144" y="39"/>
                    </a:lnTo>
                    <a:lnTo>
                      <a:pt x="141" y="34"/>
                    </a:lnTo>
                    <a:lnTo>
                      <a:pt x="134" y="26"/>
                    </a:lnTo>
                    <a:lnTo>
                      <a:pt x="132" y="23"/>
                    </a:lnTo>
                    <a:lnTo>
                      <a:pt x="132" y="21"/>
                    </a:lnTo>
                    <a:lnTo>
                      <a:pt x="134" y="20"/>
                    </a:lnTo>
                    <a:lnTo>
                      <a:pt x="135" y="18"/>
                    </a:lnTo>
                    <a:lnTo>
                      <a:pt x="135" y="17"/>
                    </a:lnTo>
                    <a:lnTo>
                      <a:pt x="134" y="17"/>
                    </a:lnTo>
                    <a:lnTo>
                      <a:pt x="132" y="18"/>
                    </a:lnTo>
                    <a:lnTo>
                      <a:pt x="132" y="20"/>
                    </a:lnTo>
                    <a:lnTo>
                      <a:pt x="131" y="21"/>
                    </a:lnTo>
                    <a:lnTo>
                      <a:pt x="131" y="20"/>
                    </a:lnTo>
                    <a:lnTo>
                      <a:pt x="129" y="17"/>
                    </a:lnTo>
                    <a:lnTo>
                      <a:pt x="128" y="17"/>
                    </a:lnTo>
                    <a:lnTo>
                      <a:pt x="128" y="16"/>
                    </a:lnTo>
                    <a:lnTo>
                      <a:pt x="127" y="16"/>
                    </a:lnTo>
                    <a:lnTo>
                      <a:pt x="127" y="14"/>
                    </a:lnTo>
                    <a:lnTo>
                      <a:pt x="128" y="13"/>
                    </a:lnTo>
                    <a:lnTo>
                      <a:pt x="128" y="13"/>
                    </a:lnTo>
                    <a:lnTo>
                      <a:pt x="127" y="8"/>
                    </a:lnTo>
                    <a:lnTo>
                      <a:pt x="125" y="5"/>
                    </a:lnTo>
                    <a:lnTo>
                      <a:pt x="119" y="0"/>
                    </a:lnTo>
                    <a:lnTo>
                      <a:pt x="122" y="0"/>
                    </a:lnTo>
                    <a:lnTo>
                      <a:pt x="125" y="0"/>
                    </a:lnTo>
                    <a:lnTo>
                      <a:pt x="125" y="3"/>
                    </a:lnTo>
                    <a:lnTo>
                      <a:pt x="125" y="5"/>
                    </a:lnTo>
                    <a:lnTo>
                      <a:pt x="129" y="11"/>
                    </a:lnTo>
                    <a:lnTo>
                      <a:pt x="132" y="8"/>
                    </a:lnTo>
                    <a:lnTo>
                      <a:pt x="132" y="10"/>
                    </a:lnTo>
                    <a:lnTo>
                      <a:pt x="135" y="11"/>
                    </a:lnTo>
                    <a:lnTo>
                      <a:pt x="141" y="13"/>
                    </a:lnTo>
                    <a:lnTo>
                      <a:pt x="142" y="13"/>
                    </a:lnTo>
                    <a:lnTo>
                      <a:pt x="144" y="14"/>
                    </a:lnTo>
                    <a:lnTo>
                      <a:pt x="144" y="14"/>
                    </a:lnTo>
                    <a:lnTo>
                      <a:pt x="144" y="16"/>
                    </a:lnTo>
                    <a:lnTo>
                      <a:pt x="144" y="16"/>
                    </a:lnTo>
                    <a:lnTo>
                      <a:pt x="145" y="17"/>
                    </a:lnTo>
                    <a:lnTo>
                      <a:pt x="147" y="16"/>
                    </a:lnTo>
                    <a:lnTo>
                      <a:pt x="147" y="16"/>
                    </a:lnTo>
                    <a:lnTo>
                      <a:pt x="147" y="16"/>
                    </a:lnTo>
                    <a:lnTo>
                      <a:pt x="148" y="17"/>
                    </a:lnTo>
                    <a:lnTo>
                      <a:pt x="151" y="20"/>
                    </a:lnTo>
                    <a:lnTo>
                      <a:pt x="151" y="21"/>
                    </a:lnTo>
                    <a:lnTo>
                      <a:pt x="152" y="23"/>
                    </a:lnTo>
                    <a:lnTo>
                      <a:pt x="152" y="24"/>
                    </a:lnTo>
                    <a:lnTo>
                      <a:pt x="151" y="24"/>
                    </a:lnTo>
                    <a:lnTo>
                      <a:pt x="151" y="26"/>
                    </a:lnTo>
                    <a:lnTo>
                      <a:pt x="152" y="27"/>
                    </a:lnTo>
                    <a:lnTo>
                      <a:pt x="150" y="27"/>
                    </a:lnTo>
                    <a:lnTo>
                      <a:pt x="150" y="27"/>
                    </a:lnTo>
                    <a:lnTo>
                      <a:pt x="154" y="36"/>
                    </a:lnTo>
                    <a:lnTo>
                      <a:pt x="155" y="37"/>
                    </a:lnTo>
                    <a:lnTo>
                      <a:pt x="155" y="39"/>
                    </a:lnTo>
                    <a:lnTo>
                      <a:pt x="155" y="40"/>
                    </a:lnTo>
                    <a:lnTo>
                      <a:pt x="157" y="43"/>
                    </a:lnTo>
                    <a:lnTo>
                      <a:pt x="157" y="44"/>
                    </a:lnTo>
                    <a:lnTo>
                      <a:pt x="157" y="44"/>
                    </a:lnTo>
                    <a:lnTo>
                      <a:pt x="155" y="46"/>
                    </a:lnTo>
                    <a:lnTo>
                      <a:pt x="155" y="46"/>
                    </a:lnTo>
                    <a:lnTo>
                      <a:pt x="155" y="47"/>
                    </a:lnTo>
                    <a:lnTo>
                      <a:pt x="155" y="47"/>
                    </a:lnTo>
                    <a:lnTo>
                      <a:pt x="155" y="49"/>
                    </a:lnTo>
                    <a:lnTo>
                      <a:pt x="157" y="49"/>
                    </a:lnTo>
                    <a:lnTo>
                      <a:pt x="158" y="50"/>
                    </a:lnTo>
                    <a:lnTo>
                      <a:pt x="160" y="49"/>
                    </a:lnTo>
                    <a:lnTo>
                      <a:pt x="162" y="50"/>
                    </a:lnTo>
                    <a:lnTo>
                      <a:pt x="164" y="51"/>
                    </a:lnTo>
                    <a:lnTo>
                      <a:pt x="165" y="53"/>
                    </a:lnTo>
                    <a:lnTo>
                      <a:pt x="165" y="54"/>
                    </a:lnTo>
                    <a:lnTo>
                      <a:pt x="167" y="54"/>
                    </a:lnTo>
                    <a:lnTo>
                      <a:pt x="167" y="56"/>
                    </a:lnTo>
                    <a:lnTo>
                      <a:pt x="168" y="56"/>
                    </a:lnTo>
                    <a:lnTo>
                      <a:pt x="170" y="54"/>
                    </a:lnTo>
                    <a:lnTo>
                      <a:pt x="170" y="54"/>
                    </a:lnTo>
                    <a:lnTo>
                      <a:pt x="168" y="46"/>
                    </a:lnTo>
                    <a:lnTo>
                      <a:pt x="167" y="43"/>
                    </a:lnTo>
                    <a:lnTo>
                      <a:pt x="167" y="43"/>
                    </a:lnTo>
                    <a:lnTo>
                      <a:pt x="168" y="41"/>
                    </a:lnTo>
                    <a:lnTo>
                      <a:pt x="170" y="43"/>
                    </a:lnTo>
                    <a:lnTo>
                      <a:pt x="171" y="44"/>
                    </a:lnTo>
                    <a:lnTo>
                      <a:pt x="174" y="46"/>
                    </a:lnTo>
                    <a:lnTo>
                      <a:pt x="177" y="57"/>
                    </a:lnTo>
                    <a:lnTo>
                      <a:pt x="178" y="62"/>
                    </a:lnTo>
                    <a:lnTo>
                      <a:pt x="180" y="63"/>
                    </a:lnTo>
                    <a:lnTo>
                      <a:pt x="178" y="63"/>
                    </a:lnTo>
                    <a:lnTo>
                      <a:pt x="180" y="64"/>
                    </a:lnTo>
                    <a:lnTo>
                      <a:pt x="193" y="70"/>
                    </a:lnTo>
                    <a:lnTo>
                      <a:pt x="195" y="72"/>
                    </a:lnTo>
                    <a:lnTo>
                      <a:pt x="198" y="72"/>
                    </a:lnTo>
                    <a:lnTo>
                      <a:pt x="204" y="70"/>
                    </a:lnTo>
                    <a:lnTo>
                      <a:pt x="211" y="63"/>
                    </a:lnTo>
                    <a:lnTo>
                      <a:pt x="217" y="63"/>
                    </a:lnTo>
                    <a:lnTo>
                      <a:pt x="220" y="64"/>
                    </a:lnTo>
                    <a:close/>
                    <a:moveTo>
                      <a:pt x="141" y="132"/>
                    </a:moveTo>
                    <a:lnTo>
                      <a:pt x="139" y="133"/>
                    </a:lnTo>
                    <a:lnTo>
                      <a:pt x="138" y="133"/>
                    </a:lnTo>
                    <a:lnTo>
                      <a:pt x="138" y="132"/>
                    </a:lnTo>
                    <a:lnTo>
                      <a:pt x="139" y="130"/>
                    </a:lnTo>
                    <a:lnTo>
                      <a:pt x="139" y="129"/>
                    </a:lnTo>
                    <a:lnTo>
                      <a:pt x="141" y="129"/>
                    </a:lnTo>
                    <a:lnTo>
                      <a:pt x="141" y="130"/>
                    </a:lnTo>
                    <a:lnTo>
                      <a:pt x="141" y="132"/>
                    </a:lnTo>
                    <a:close/>
                    <a:moveTo>
                      <a:pt x="167" y="36"/>
                    </a:moveTo>
                    <a:lnTo>
                      <a:pt x="165" y="34"/>
                    </a:lnTo>
                    <a:lnTo>
                      <a:pt x="167" y="33"/>
                    </a:lnTo>
                    <a:lnTo>
                      <a:pt x="168" y="34"/>
                    </a:lnTo>
                    <a:lnTo>
                      <a:pt x="168" y="34"/>
                    </a:lnTo>
                    <a:lnTo>
                      <a:pt x="170" y="36"/>
                    </a:lnTo>
                    <a:lnTo>
                      <a:pt x="170" y="37"/>
                    </a:lnTo>
                    <a:lnTo>
                      <a:pt x="168" y="37"/>
                    </a:lnTo>
                    <a:lnTo>
                      <a:pt x="167" y="36"/>
                    </a:lnTo>
                    <a:close/>
                    <a:moveTo>
                      <a:pt x="313" y="207"/>
                    </a:moveTo>
                    <a:lnTo>
                      <a:pt x="315" y="207"/>
                    </a:lnTo>
                    <a:lnTo>
                      <a:pt x="315" y="208"/>
                    </a:lnTo>
                    <a:lnTo>
                      <a:pt x="315" y="208"/>
                    </a:lnTo>
                    <a:lnTo>
                      <a:pt x="315" y="210"/>
                    </a:lnTo>
                    <a:lnTo>
                      <a:pt x="315" y="208"/>
                    </a:lnTo>
                    <a:lnTo>
                      <a:pt x="316" y="208"/>
                    </a:lnTo>
                    <a:lnTo>
                      <a:pt x="315" y="207"/>
                    </a:lnTo>
                    <a:lnTo>
                      <a:pt x="313" y="20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80" name="Freeform 275">
                <a:extLst>
                  <a:ext uri="{FF2B5EF4-FFF2-40B4-BE49-F238E27FC236}">
                    <a16:creationId xmlns:a16="http://schemas.microsoft.com/office/drawing/2014/main" id="{D4BBAFD7-ED05-4D6C-C903-35C9886A2C66}"/>
                  </a:ext>
                </a:extLst>
              </p:cNvPr>
              <p:cNvSpPr>
                <a:spLocks noEditPoints="1"/>
              </p:cNvSpPr>
              <p:nvPr/>
            </p:nvSpPr>
            <p:spPr bwMode="auto">
              <a:xfrm>
                <a:off x="10184779" y="4324984"/>
                <a:ext cx="14460" cy="18798"/>
              </a:xfrm>
              <a:custGeom>
                <a:avLst/>
                <a:gdLst>
                  <a:gd name="T0" fmla="*/ 10 w 10"/>
                  <a:gd name="T1" fmla="*/ 13 h 13"/>
                  <a:gd name="T2" fmla="*/ 10 w 10"/>
                  <a:gd name="T3" fmla="*/ 13 h 13"/>
                  <a:gd name="T4" fmla="*/ 10 w 10"/>
                  <a:gd name="T5" fmla="*/ 13 h 13"/>
                  <a:gd name="T6" fmla="*/ 10 w 10"/>
                  <a:gd name="T7" fmla="*/ 13 h 13"/>
                  <a:gd name="T8" fmla="*/ 10 w 10"/>
                  <a:gd name="T9" fmla="*/ 13 h 13"/>
                  <a:gd name="T10" fmla="*/ 10 w 10"/>
                  <a:gd name="T11" fmla="*/ 13 h 13"/>
                  <a:gd name="T12" fmla="*/ 10 w 10"/>
                  <a:gd name="T13" fmla="*/ 13 h 13"/>
                  <a:gd name="T14" fmla="*/ 10 w 10"/>
                  <a:gd name="T15" fmla="*/ 13 h 13"/>
                  <a:gd name="T16" fmla="*/ 10 w 10"/>
                  <a:gd name="T17" fmla="*/ 13 h 13"/>
                  <a:gd name="T18" fmla="*/ 10 w 10"/>
                  <a:gd name="T19" fmla="*/ 13 h 13"/>
                  <a:gd name="T20" fmla="*/ 10 w 10"/>
                  <a:gd name="T21" fmla="*/ 13 h 13"/>
                  <a:gd name="T22" fmla="*/ 10 w 10"/>
                  <a:gd name="T23" fmla="*/ 13 h 13"/>
                  <a:gd name="T24" fmla="*/ 10 w 10"/>
                  <a:gd name="T25" fmla="*/ 13 h 13"/>
                  <a:gd name="T26" fmla="*/ 3 w 10"/>
                  <a:gd name="T27" fmla="*/ 0 h 13"/>
                  <a:gd name="T28" fmla="*/ 3 w 10"/>
                  <a:gd name="T29" fmla="*/ 0 h 13"/>
                  <a:gd name="T30" fmla="*/ 3 w 10"/>
                  <a:gd name="T31" fmla="*/ 0 h 13"/>
                  <a:gd name="T32" fmla="*/ 3 w 10"/>
                  <a:gd name="T33" fmla="*/ 0 h 13"/>
                  <a:gd name="T34" fmla="*/ 3 w 10"/>
                  <a:gd name="T35" fmla="*/ 1 h 13"/>
                  <a:gd name="T36" fmla="*/ 3 w 10"/>
                  <a:gd name="T37" fmla="*/ 1 h 13"/>
                  <a:gd name="T38" fmla="*/ 3 w 10"/>
                  <a:gd name="T39" fmla="*/ 1 h 13"/>
                  <a:gd name="T40" fmla="*/ 3 w 10"/>
                  <a:gd name="T41" fmla="*/ 1 h 13"/>
                  <a:gd name="T42" fmla="*/ 3 w 10"/>
                  <a:gd name="T43" fmla="*/ 0 h 13"/>
                  <a:gd name="T44" fmla="*/ 3 w 10"/>
                  <a:gd name="T45" fmla="*/ 0 h 13"/>
                  <a:gd name="T46" fmla="*/ 0 w 10"/>
                  <a:gd name="T47" fmla="*/ 7 h 13"/>
                  <a:gd name="T48" fmla="*/ 0 w 10"/>
                  <a:gd name="T49" fmla="*/ 7 h 13"/>
                  <a:gd name="T50" fmla="*/ 0 w 10"/>
                  <a:gd name="T51" fmla="*/ 7 h 13"/>
                  <a:gd name="T52" fmla="*/ 0 w 10"/>
                  <a:gd name="T53" fmla="*/ 7 h 13"/>
                  <a:gd name="T54" fmla="*/ 0 w 10"/>
                  <a:gd name="T55" fmla="*/ 7 h 13"/>
                  <a:gd name="T56" fmla="*/ 0 w 10"/>
                  <a:gd name="T57" fmla="*/ 7 h 13"/>
                  <a:gd name="T58" fmla="*/ 0 w 10"/>
                  <a:gd name="T59" fmla="*/ 7 h 13"/>
                  <a:gd name="T60" fmla="*/ 0 w 10"/>
                  <a:gd name="T61"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 h="13">
                    <a:moveTo>
                      <a:pt x="10" y="13"/>
                    </a:moveTo>
                    <a:lnTo>
                      <a:pt x="10" y="13"/>
                    </a:lnTo>
                    <a:lnTo>
                      <a:pt x="10" y="13"/>
                    </a:lnTo>
                    <a:lnTo>
                      <a:pt x="10" y="13"/>
                    </a:lnTo>
                    <a:lnTo>
                      <a:pt x="10" y="13"/>
                    </a:lnTo>
                    <a:lnTo>
                      <a:pt x="10" y="13"/>
                    </a:lnTo>
                    <a:lnTo>
                      <a:pt x="10" y="13"/>
                    </a:lnTo>
                    <a:lnTo>
                      <a:pt x="10" y="13"/>
                    </a:lnTo>
                    <a:lnTo>
                      <a:pt x="10" y="13"/>
                    </a:lnTo>
                    <a:lnTo>
                      <a:pt x="10" y="13"/>
                    </a:lnTo>
                    <a:lnTo>
                      <a:pt x="10" y="13"/>
                    </a:lnTo>
                    <a:lnTo>
                      <a:pt x="10" y="13"/>
                    </a:lnTo>
                    <a:lnTo>
                      <a:pt x="10" y="13"/>
                    </a:lnTo>
                    <a:close/>
                    <a:moveTo>
                      <a:pt x="3" y="0"/>
                    </a:moveTo>
                    <a:lnTo>
                      <a:pt x="3" y="0"/>
                    </a:lnTo>
                    <a:lnTo>
                      <a:pt x="3" y="0"/>
                    </a:lnTo>
                    <a:lnTo>
                      <a:pt x="3" y="0"/>
                    </a:lnTo>
                    <a:lnTo>
                      <a:pt x="3" y="1"/>
                    </a:lnTo>
                    <a:lnTo>
                      <a:pt x="3" y="1"/>
                    </a:lnTo>
                    <a:lnTo>
                      <a:pt x="3" y="1"/>
                    </a:lnTo>
                    <a:lnTo>
                      <a:pt x="3" y="1"/>
                    </a:lnTo>
                    <a:lnTo>
                      <a:pt x="3" y="0"/>
                    </a:lnTo>
                    <a:lnTo>
                      <a:pt x="3" y="0"/>
                    </a:lnTo>
                    <a:close/>
                    <a:moveTo>
                      <a:pt x="0" y="7"/>
                    </a:moveTo>
                    <a:lnTo>
                      <a:pt x="0" y="7"/>
                    </a:lnTo>
                    <a:lnTo>
                      <a:pt x="0" y="7"/>
                    </a:lnTo>
                    <a:lnTo>
                      <a:pt x="0" y="7"/>
                    </a:lnTo>
                    <a:lnTo>
                      <a:pt x="0" y="7"/>
                    </a:lnTo>
                    <a:lnTo>
                      <a:pt x="0" y="7"/>
                    </a:lnTo>
                    <a:lnTo>
                      <a:pt x="0" y="7"/>
                    </a:lnTo>
                    <a:lnTo>
                      <a:pt x="0" y="7"/>
                    </a:lnTo>
                    <a:close/>
                  </a:path>
                </a:pathLst>
              </a:custGeom>
              <a:grpFill/>
              <a:ln w="9525">
                <a:solidFill>
                  <a:schemeClr val="bg1">
                    <a:lumMod val="95000"/>
                  </a:schemeClr>
                </a:solidFill>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81" name="Freeform 276">
                <a:extLst>
                  <a:ext uri="{FF2B5EF4-FFF2-40B4-BE49-F238E27FC236}">
                    <a16:creationId xmlns:a16="http://schemas.microsoft.com/office/drawing/2014/main" id="{AB59731E-5524-E58C-9C56-4DA53F058934}"/>
                  </a:ext>
                </a:extLst>
              </p:cNvPr>
              <p:cNvSpPr>
                <a:spLocks noEditPoints="1"/>
              </p:cNvSpPr>
              <p:nvPr/>
            </p:nvSpPr>
            <p:spPr bwMode="auto">
              <a:xfrm>
                <a:off x="10184779" y="4324984"/>
                <a:ext cx="14460" cy="18798"/>
              </a:xfrm>
              <a:custGeom>
                <a:avLst/>
                <a:gdLst>
                  <a:gd name="T0" fmla="*/ 10 w 10"/>
                  <a:gd name="T1" fmla="*/ 13 h 13"/>
                  <a:gd name="T2" fmla="*/ 10 w 10"/>
                  <a:gd name="T3" fmla="*/ 13 h 13"/>
                  <a:gd name="T4" fmla="*/ 10 w 10"/>
                  <a:gd name="T5" fmla="*/ 13 h 13"/>
                  <a:gd name="T6" fmla="*/ 10 w 10"/>
                  <a:gd name="T7" fmla="*/ 13 h 13"/>
                  <a:gd name="T8" fmla="*/ 10 w 10"/>
                  <a:gd name="T9" fmla="*/ 13 h 13"/>
                  <a:gd name="T10" fmla="*/ 10 w 10"/>
                  <a:gd name="T11" fmla="*/ 13 h 13"/>
                  <a:gd name="T12" fmla="*/ 10 w 10"/>
                  <a:gd name="T13" fmla="*/ 13 h 13"/>
                  <a:gd name="T14" fmla="*/ 10 w 10"/>
                  <a:gd name="T15" fmla="*/ 13 h 13"/>
                  <a:gd name="T16" fmla="*/ 10 w 10"/>
                  <a:gd name="T17" fmla="*/ 13 h 13"/>
                  <a:gd name="T18" fmla="*/ 10 w 10"/>
                  <a:gd name="T19" fmla="*/ 13 h 13"/>
                  <a:gd name="T20" fmla="*/ 10 w 10"/>
                  <a:gd name="T21" fmla="*/ 13 h 13"/>
                  <a:gd name="T22" fmla="*/ 10 w 10"/>
                  <a:gd name="T23" fmla="*/ 13 h 13"/>
                  <a:gd name="T24" fmla="*/ 10 w 10"/>
                  <a:gd name="T25" fmla="*/ 13 h 13"/>
                  <a:gd name="T26" fmla="*/ 3 w 10"/>
                  <a:gd name="T27" fmla="*/ 0 h 13"/>
                  <a:gd name="T28" fmla="*/ 3 w 10"/>
                  <a:gd name="T29" fmla="*/ 0 h 13"/>
                  <a:gd name="T30" fmla="*/ 3 w 10"/>
                  <a:gd name="T31" fmla="*/ 0 h 13"/>
                  <a:gd name="T32" fmla="*/ 3 w 10"/>
                  <a:gd name="T33" fmla="*/ 0 h 13"/>
                  <a:gd name="T34" fmla="*/ 3 w 10"/>
                  <a:gd name="T35" fmla="*/ 1 h 13"/>
                  <a:gd name="T36" fmla="*/ 3 w 10"/>
                  <a:gd name="T37" fmla="*/ 1 h 13"/>
                  <a:gd name="T38" fmla="*/ 3 w 10"/>
                  <a:gd name="T39" fmla="*/ 1 h 13"/>
                  <a:gd name="T40" fmla="*/ 3 w 10"/>
                  <a:gd name="T41" fmla="*/ 1 h 13"/>
                  <a:gd name="T42" fmla="*/ 3 w 10"/>
                  <a:gd name="T43" fmla="*/ 0 h 13"/>
                  <a:gd name="T44" fmla="*/ 3 w 10"/>
                  <a:gd name="T45" fmla="*/ 0 h 13"/>
                  <a:gd name="T46" fmla="*/ 0 w 10"/>
                  <a:gd name="T47" fmla="*/ 7 h 13"/>
                  <a:gd name="T48" fmla="*/ 0 w 10"/>
                  <a:gd name="T49" fmla="*/ 7 h 13"/>
                  <a:gd name="T50" fmla="*/ 0 w 10"/>
                  <a:gd name="T51" fmla="*/ 7 h 13"/>
                  <a:gd name="T52" fmla="*/ 0 w 10"/>
                  <a:gd name="T53" fmla="*/ 7 h 13"/>
                  <a:gd name="T54" fmla="*/ 0 w 10"/>
                  <a:gd name="T55" fmla="*/ 7 h 13"/>
                  <a:gd name="T56" fmla="*/ 0 w 10"/>
                  <a:gd name="T57" fmla="*/ 7 h 13"/>
                  <a:gd name="T58" fmla="*/ 0 w 10"/>
                  <a:gd name="T59" fmla="*/ 7 h 13"/>
                  <a:gd name="T60" fmla="*/ 0 w 10"/>
                  <a:gd name="T61"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 h="13">
                    <a:moveTo>
                      <a:pt x="10" y="13"/>
                    </a:moveTo>
                    <a:lnTo>
                      <a:pt x="10" y="13"/>
                    </a:lnTo>
                    <a:lnTo>
                      <a:pt x="10" y="13"/>
                    </a:lnTo>
                    <a:lnTo>
                      <a:pt x="10" y="13"/>
                    </a:lnTo>
                    <a:lnTo>
                      <a:pt x="10" y="13"/>
                    </a:lnTo>
                    <a:lnTo>
                      <a:pt x="10" y="13"/>
                    </a:lnTo>
                    <a:lnTo>
                      <a:pt x="10" y="13"/>
                    </a:lnTo>
                    <a:lnTo>
                      <a:pt x="10" y="13"/>
                    </a:lnTo>
                    <a:lnTo>
                      <a:pt x="10" y="13"/>
                    </a:lnTo>
                    <a:lnTo>
                      <a:pt x="10" y="13"/>
                    </a:lnTo>
                    <a:lnTo>
                      <a:pt x="10" y="13"/>
                    </a:lnTo>
                    <a:lnTo>
                      <a:pt x="10" y="13"/>
                    </a:lnTo>
                    <a:lnTo>
                      <a:pt x="10" y="13"/>
                    </a:lnTo>
                    <a:moveTo>
                      <a:pt x="3" y="0"/>
                    </a:moveTo>
                    <a:lnTo>
                      <a:pt x="3" y="0"/>
                    </a:lnTo>
                    <a:lnTo>
                      <a:pt x="3" y="0"/>
                    </a:lnTo>
                    <a:lnTo>
                      <a:pt x="3" y="0"/>
                    </a:lnTo>
                    <a:lnTo>
                      <a:pt x="3" y="1"/>
                    </a:lnTo>
                    <a:lnTo>
                      <a:pt x="3" y="1"/>
                    </a:lnTo>
                    <a:lnTo>
                      <a:pt x="3" y="1"/>
                    </a:lnTo>
                    <a:lnTo>
                      <a:pt x="3" y="1"/>
                    </a:lnTo>
                    <a:lnTo>
                      <a:pt x="3" y="0"/>
                    </a:lnTo>
                    <a:lnTo>
                      <a:pt x="3" y="0"/>
                    </a:lnTo>
                    <a:moveTo>
                      <a:pt x="0" y="7"/>
                    </a:moveTo>
                    <a:lnTo>
                      <a:pt x="0" y="7"/>
                    </a:lnTo>
                    <a:lnTo>
                      <a:pt x="0" y="7"/>
                    </a:lnTo>
                    <a:lnTo>
                      <a:pt x="0" y="7"/>
                    </a:lnTo>
                    <a:lnTo>
                      <a:pt x="0" y="7"/>
                    </a:lnTo>
                    <a:lnTo>
                      <a:pt x="0" y="7"/>
                    </a:lnTo>
                    <a:lnTo>
                      <a:pt x="0" y="7"/>
                    </a:lnTo>
                    <a:lnTo>
                      <a:pt x="0" y="7"/>
                    </a:lnTo>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82" name="Freeform 277">
                <a:extLst>
                  <a:ext uri="{FF2B5EF4-FFF2-40B4-BE49-F238E27FC236}">
                    <a16:creationId xmlns:a16="http://schemas.microsoft.com/office/drawing/2014/main" id="{DBC6649B-0312-A207-76BC-AC2B3CE14909}"/>
                  </a:ext>
                </a:extLst>
              </p:cNvPr>
              <p:cNvSpPr>
                <a:spLocks/>
              </p:cNvSpPr>
              <p:nvPr/>
            </p:nvSpPr>
            <p:spPr bwMode="auto">
              <a:xfrm>
                <a:off x="9871005" y="4122549"/>
                <a:ext cx="2892" cy="2892"/>
              </a:xfrm>
              <a:custGeom>
                <a:avLst/>
                <a:gdLst>
                  <a:gd name="T0" fmla="*/ 0 w 2"/>
                  <a:gd name="T1" fmla="*/ 2 h 2"/>
                  <a:gd name="T2" fmla="*/ 0 w 2"/>
                  <a:gd name="T3" fmla="*/ 2 h 2"/>
                  <a:gd name="T4" fmla="*/ 0 w 2"/>
                  <a:gd name="T5" fmla="*/ 0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2 h 2"/>
                  <a:gd name="T22" fmla="*/ 0 w 2"/>
                  <a:gd name="T23" fmla="*/ 2 h 2"/>
                  <a:gd name="T24" fmla="*/ 0 w 2"/>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2">
                    <a:moveTo>
                      <a:pt x="0" y="2"/>
                    </a:moveTo>
                    <a:lnTo>
                      <a:pt x="0" y="2"/>
                    </a:lnTo>
                    <a:lnTo>
                      <a:pt x="0" y="0"/>
                    </a:lnTo>
                    <a:lnTo>
                      <a:pt x="2" y="0"/>
                    </a:lnTo>
                    <a:lnTo>
                      <a:pt x="2" y="0"/>
                    </a:lnTo>
                    <a:lnTo>
                      <a:pt x="2" y="0"/>
                    </a:lnTo>
                    <a:lnTo>
                      <a:pt x="0" y="0"/>
                    </a:lnTo>
                    <a:lnTo>
                      <a:pt x="0" y="0"/>
                    </a:lnTo>
                    <a:lnTo>
                      <a:pt x="0" y="0"/>
                    </a:lnTo>
                    <a:lnTo>
                      <a:pt x="0" y="0"/>
                    </a:lnTo>
                    <a:lnTo>
                      <a:pt x="0" y="2"/>
                    </a:lnTo>
                    <a:lnTo>
                      <a:pt x="0" y="2"/>
                    </a:lnTo>
                    <a:lnTo>
                      <a:pt x="0"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83" name="Freeform 278">
                <a:extLst>
                  <a:ext uri="{FF2B5EF4-FFF2-40B4-BE49-F238E27FC236}">
                    <a16:creationId xmlns:a16="http://schemas.microsoft.com/office/drawing/2014/main" id="{7D520E5E-31BE-5F5D-6668-3E36EABB2A30}"/>
                  </a:ext>
                </a:extLst>
              </p:cNvPr>
              <p:cNvSpPr>
                <a:spLocks noEditPoints="1"/>
              </p:cNvSpPr>
              <p:nvPr/>
            </p:nvSpPr>
            <p:spPr bwMode="auto">
              <a:xfrm>
                <a:off x="9917276" y="3923007"/>
                <a:ext cx="76636" cy="40487"/>
              </a:xfrm>
              <a:custGeom>
                <a:avLst/>
                <a:gdLst>
                  <a:gd name="T0" fmla="*/ 43 w 53"/>
                  <a:gd name="T1" fmla="*/ 5 h 28"/>
                  <a:gd name="T2" fmla="*/ 42 w 53"/>
                  <a:gd name="T3" fmla="*/ 3 h 28"/>
                  <a:gd name="T4" fmla="*/ 45 w 53"/>
                  <a:gd name="T5" fmla="*/ 5 h 28"/>
                  <a:gd name="T6" fmla="*/ 46 w 53"/>
                  <a:gd name="T7" fmla="*/ 5 h 28"/>
                  <a:gd name="T8" fmla="*/ 47 w 53"/>
                  <a:gd name="T9" fmla="*/ 5 h 28"/>
                  <a:gd name="T10" fmla="*/ 46 w 53"/>
                  <a:gd name="T11" fmla="*/ 5 h 28"/>
                  <a:gd name="T12" fmla="*/ 45 w 53"/>
                  <a:gd name="T13" fmla="*/ 5 h 28"/>
                  <a:gd name="T14" fmla="*/ 43 w 53"/>
                  <a:gd name="T15" fmla="*/ 5 h 28"/>
                  <a:gd name="T16" fmla="*/ 53 w 53"/>
                  <a:gd name="T17" fmla="*/ 6 h 28"/>
                  <a:gd name="T18" fmla="*/ 53 w 53"/>
                  <a:gd name="T19" fmla="*/ 6 h 28"/>
                  <a:gd name="T20" fmla="*/ 52 w 53"/>
                  <a:gd name="T21" fmla="*/ 6 h 28"/>
                  <a:gd name="T22" fmla="*/ 52 w 53"/>
                  <a:gd name="T23" fmla="*/ 6 h 28"/>
                  <a:gd name="T24" fmla="*/ 50 w 53"/>
                  <a:gd name="T25" fmla="*/ 6 h 28"/>
                  <a:gd name="T26" fmla="*/ 52 w 53"/>
                  <a:gd name="T27" fmla="*/ 6 h 28"/>
                  <a:gd name="T28" fmla="*/ 52 w 53"/>
                  <a:gd name="T29" fmla="*/ 6 h 28"/>
                  <a:gd name="T30" fmla="*/ 53 w 53"/>
                  <a:gd name="T31" fmla="*/ 6 h 28"/>
                  <a:gd name="T32" fmla="*/ 17 w 53"/>
                  <a:gd name="T33" fmla="*/ 25 h 28"/>
                  <a:gd name="T34" fmla="*/ 17 w 53"/>
                  <a:gd name="T35" fmla="*/ 25 h 28"/>
                  <a:gd name="T36" fmla="*/ 16 w 53"/>
                  <a:gd name="T37" fmla="*/ 26 h 28"/>
                  <a:gd name="T38" fmla="*/ 16 w 53"/>
                  <a:gd name="T39" fmla="*/ 28 h 28"/>
                  <a:gd name="T40" fmla="*/ 16 w 53"/>
                  <a:gd name="T41" fmla="*/ 26 h 28"/>
                  <a:gd name="T42" fmla="*/ 19 w 53"/>
                  <a:gd name="T43" fmla="*/ 23 h 28"/>
                  <a:gd name="T44" fmla="*/ 17 w 53"/>
                  <a:gd name="T45" fmla="*/ 25 h 28"/>
                  <a:gd name="T46" fmla="*/ 1 w 53"/>
                  <a:gd name="T47" fmla="*/ 0 h 28"/>
                  <a:gd name="T48" fmla="*/ 3 w 53"/>
                  <a:gd name="T49" fmla="*/ 0 h 28"/>
                  <a:gd name="T50" fmla="*/ 1 w 53"/>
                  <a:gd name="T51" fmla="*/ 0 h 28"/>
                  <a:gd name="T52" fmla="*/ 0 w 53"/>
                  <a:gd name="T53" fmla="*/ 0 h 28"/>
                  <a:gd name="T54" fmla="*/ 0 w 53"/>
                  <a:gd name="T55" fmla="*/ 0 h 28"/>
                  <a:gd name="T56" fmla="*/ 0 w 53"/>
                  <a:gd name="T57" fmla="*/ 0 h 28"/>
                  <a:gd name="T58" fmla="*/ 1 w 53"/>
                  <a:gd name="T5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28">
                    <a:moveTo>
                      <a:pt x="43" y="5"/>
                    </a:moveTo>
                    <a:lnTo>
                      <a:pt x="42" y="3"/>
                    </a:lnTo>
                    <a:lnTo>
                      <a:pt x="45" y="5"/>
                    </a:lnTo>
                    <a:lnTo>
                      <a:pt x="46" y="5"/>
                    </a:lnTo>
                    <a:lnTo>
                      <a:pt x="47" y="5"/>
                    </a:lnTo>
                    <a:lnTo>
                      <a:pt x="46" y="5"/>
                    </a:lnTo>
                    <a:lnTo>
                      <a:pt x="45" y="5"/>
                    </a:lnTo>
                    <a:lnTo>
                      <a:pt x="43" y="5"/>
                    </a:lnTo>
                    <a:close/>
                    <a:moveTo>
                      <a:pt x="53" y="6"/>
                    </a:moveTo>
                    <a:lnTo>
                      <a:pt x="53" y="6"/>
                    </a:lnTo>
                    <a:lnTo>
                      <a:pt x="52" y="6"/>
                    </a:lnTo>
                    <a:lnTo>
                      <a:pt x="52" y="6"/>
                    </a:lnTo>
                    <a:lnTo>
                      <a:pt x="50" y="6"/>
                    </a:lnTo>
                    <a:lnTo>
                      <a:pt x="52" y="6"/>
                    </a:lnTo>
                    <a:lnTo>
                      <a:pt x="52" y="6"/>
                    </a:lnTo>
                    <a:lnTo>
                      <a:pt x="53" y="6"/>
                    </a:lnTo>
                    <a:close/>
                    <a:moveTo>
                      <a:pt x="17" y="25"/>
                    </a:moveTo>
                    <a:lnTo>
                      <a:pt x="17" y="25"/>
                    </a:lnTo>
                    <a:lnTo>
                      <a:pt x="16" y="26"/>
                    </a:lnTo>
                    <a:lnTo>
                      <a:pt x="16" y="28"/>
                    </a:lnTo>
                    <a:lnTo>
                      <a:pt x="16" y="26"/>
                    </a:lnTo>
                    <a:lnTo>
                      <a:pt x="19" y="23"/>
                    </a:lnTo>
                    <a:lnTo>
                      <a:pt x="17" y="25"/>
                    </a:lnTo>
                    <a:close/>
                    <a:moveTo>
                      <a:pt x="1" y="0"/>
                    </a:moveTo>
                    <a:lnTo>
                      <a:pt x="3" y="0"/>
                    </a:lnTo>
                    <a:lnTo>
                      <a:pt x="1" y="0"/>
                    </a:lnTo>
                    <a:lnTo>
                      <a:pt x="0" y="0"/>
                    </a:lnTo>
                    <a:lnTo>
                      <a:pt x="0" y="0"/>
                    </a:lnTo>
                    <a:lnTo>
                      <a:pt x="0" y="0"/>
                    </a:lnTo>
                    <a:lnTo>
                      <a:pt x="1"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grpSp>
        <p:grpSp>
          <p:nvGrpSpPr>
            <p:cNvPr id="14" name="Grupo 4">
              <a:extLst>
                <a:ext uri="{FF2B5EF4-FFF2-40B4-BE49-F238E27FC236}">
                  <a16:creationId xmlns:a16="http://schemas.microsoft.com/office/drawing/2014/main" id="{F4513B6C-3B4D-3D74-E3AD-4BE1F34AE638}"/>
                </a:ext>
              </a:extLst>
            </p:cNvPr>
            <p:cNvGrpSpPr/>
            <p:nvPr/>
          </p:nvGrpSpPr>
          <p:grpSpPr>
            <a:xfrm>
              <a:off x="7857968" y="1577995"/>
              <a:ext cx="3669723" cy="2777088"/>
              <a:chOff x="6292252" y="1266778"/>
              <a:chExt cx="4173041" cy="3157977"/>
            </a:xfrm>
            <a:grpFill/>
          </p:grpSpPr>
          <p:sp>
            <p:nvSpPr>
              <p:cNvPr id="15" name="Freeform 111">
                <a:extLst>
                  <a:ext uri="{FF2B5EF4-FFF2-40B4-BE49-F238E27FC236}">
                    <a16:creationId xmlns:a16="http://schemas.microsoft.com/office/drawing/2014/main" id="{4B0D347C-B782-23EF-79BA-A6CC170A75EA}"/>
                  </a:ext>
                </a:extLst>
              </p:cNvPr>
              <p:cNvSpPr>
                <a:spLocks noEditPoints="1"/>
              </p:cNvSpPr>
              <p:nvPr/>
            </p:nvSpPr>
            <p:spPr bwMode="auto">
              <a:xfrm>
                <a:off x="8527706" y="3983737"/>
                <a:ext cx="31811" cy="23135"/>
              </a:xfrm>
              <a:custGeom>
                <a:avLst/>
                <a:gdLst>
                  <a:gd name="T0" fmla="*/ 17 w 22"/>
                  <a:gd name="T1" fmla="*/ 4 h 16"/>
                  <a:gd name="T2" fmla="*/ 17 w 22"/>
                  <a:gd name="T3" fmla="*/ 1 h 16"/>
                  <a:gd name="T4" fmla="*/ 19 w 22"/>
                  <a:gd name="T5" fmla="*/ 1 h 16"/>
                  <a:gd name="T6" fmla="*/ 20 w 22"/>
                  <a:gd name="T7" fmla="*/ 4 h 16"/>
                  <a:gd name="T8" fmla="*/ 22 w 22"/>
                  <a:gd name="T9" fmla="*/ 7 h 16"/>
                  <a:gd name="T10" fmla="*/ 22 w 22"/>
                  <a:gd name="T11" fmla="*/ 10 h 16"/>
                  <a:gd name="T12" fmla="*/ 22 w 22"/>
                  <a:gd name="T13" fmla="*/ 11 h 16"/>
                  <a:gd name="T14" fmla="*/ 19 w 22"/>
                  <a:gd name="T15" fmla="*/ 10 h 16"/>
                  <a:gd name="T16" fmla="*/ 17 w 22"/>
                  <a:gd name="T17" fmla="*/ 7 h 16"/>
                  <a:gd name="T18" fmla="*/ 17 w 22"/>
                  <a:gd name="T19" fmla="*/ 4 h 16"/>
                  <a:gd name="T20" fmla="*/ 6 w 22"/>
                  <a:gd name="T21" fmla="*/ 13 h 16"/>
                  <a:gd name="T22" fmla="*/ 9 w 22"/>
                  <a:gd name="T23" fmla="*/ 16 h 16"/>
                  <a:gd name="T24" fmla="*/ 12 w 22"/>
                  <a:gd name="T25" fmla="*/ 16 h 16"/>
                  <a:gd name="T26" fmla="*/ 13 w 22"/>
                  <a:gd name="T27" fmla="*/ 14 h 16"/>
                  <a:gd name="T28" fmla="*/ 13 w 22"/>
                  <a:gd name="T29" fmla="*/ 13 h 16"/>
                  <a:gd name="T30" fmla="*/ 13 w 22"/>
                  <a:gd name="T31" fmla="*/ 6 h 16"/>
                  <a:gd name="T32" fmla="*/ 13 w 22"/>
                  <a:gd name="T33" fmla="*/ 4 h 16"/>
                  <a:gd name="T34" fmla="*/ 15 w 22"/>
                  <a:gd name="T35" fmla="*/ 3 h 16"/>
                  <a:gd name="T36" fmla="*/ 17 w 22"/>
                  <a:gd name="T37" fmla="*/ 1 h 16"/>
                  <a:gd name="T38" fmla="*/ 17 w 22"/>
                  <a:gd name="T39" fmla="*/ 0 h 16"/>
                  <a:gd name="T40" fmla="*/ 17 w 22"/>
                  <a:gd name="T41" fmla="*/ 0 h 16"/>
                  <a:gd name="T42" fmla="*/ 17 w 22"/>
                  <a:gd name="T43" fmla="*/ 0 h 16"/>
                  <a:gd name="T44" fmla="*/ 13 w 22"/>
                  <a:gd name="T45" fmla="*/ 0 h 16"/>
                  <a:gd name="T46" fmla="*/ 5 w 22"/>
                  <a:gd name="T47" fmla="*/ 6 h 16"/>
                  <a:gd name="T48" fmla="*/ 0 w 22"/>
                  <a:gd name="T49" fmla="*/ 7 h 16"/>
                  <a:gd name="T50" fmla="*/ 3 w 22"/>
                  <a:gd name="T51" fmla="*/ 10 h 16"/>
                  <a:gd name="T52" fmla="*/ 6 w 22"/>
                  <a:gd name="T53"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 h="16">
                    <a:moveTo>
                      <a:pt x="17" y="4"/>
                    </a:moveTo>
                    <a:lnTo>
                      <a:pt x="17" y="1"/>
                    </a:lnTo>
                    <a:lnTo>
                      <a:pt x="19" y="1"/>
                    </a:lnTo>
                    <a:lnTo>
                      <a:pt x="20" y="4"/>
                    </a:lnTo>
                    <a:lnTo>
                      <a:pt x="22" y="7"/>
                    </a:lnTo>
                    <a:lnTo>
                      <a:pt x="22" y="10"/>
                    </a:lnTo>
                    <a:lnTo>
                      <a:pt x="22" y="11"/>
                    </a:lnTo>
                    <a:lnTo>
                      <a:pt x="19" y="10"/>
                    </a:lnTo>
                    <a:lnTo>
                      <a:pt x="17" y="7"/>
                    </a:lnTo>
                    <a:lnTo>
                      <a:pt x="17" y="4"/>
                    </a:lnTo>
                    <a:close/>
                    <a:moveTo>
                      <a:pt x="6" y="13"/>
                    </a:moveTo>
                    <a:lnTo>
                      <a:pt x="9" y="16"/>
                    </a:lnTo>
                    <a:lnTo>
                      <a:pt x="12" y="16"/>
                    </a:lnTo>
                    <a:lnTo>
                      <a:pt x="13" y="14"/>
                    </a:lnTo>
                    <a:lnTo>
                      <a:pt x="13" y="13"/>
                    </a:lnTo>
                    <a:lnTo>
                      <a:pt x="13" y="6"/>
                    </a:lnTo>
                    <a:lnTo>
                      <a:pt x="13" y="4"/>
                    </a:lnTo>
                    <a:lnTo>
                      <a:pt x="15" y="3"/>
                    </a:lnTo>
                    <a:lnTo>
                      <a:pt x="17" y="1"/>
                    </a:lnTo>
                    <a:lnTo>
                      <a:pt x="17" y="0"/>
                    </a:lnTo>
                    <a:lnTo>
                      <a:pt x="17" y="0"/>
                    </a:lnTo>
                    <a:lnTo>
                      <a:pt x="17" y="0"/>
                    </a:lnTo>
                    <a:lnTo>
                      <a:pt x="13" y="0"/>
                    </a:lnTo>
                    <a:lnTo>
                      <a:pt x="5" y="6"/>
                    </a:lnTo>
                    <a:lnTo>
                      <a:pt x="0" y="7"/>
                    </a:lnTo>
                    <a:lnTo>
                      <a:pt x="3" y="10"/>
                    </a:lnTo>
                    <a:lnTo>
                      <a:pt x="6" y="1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16" name="Freeform 112">
                <a:extLst>
                  <a:ext uri="{FF2B5EF4-FFF2-40B4-BE49-F238E27FC236}">
                    <a16:creationId xmlns:a16="http://schemas.microsoft.com/office/drawing/2014/main" id="{5168FE37-F717-3EEE-B9B2-76D75AD6C5E6}"/>
                  </a:ext>
                </a:extLst>
              </p:cNvPr>
              <p:cNvSpPr>
                <a:spLocks/>
              </p:cNvSpPr>
              <p:nvPr/>
            </p:nvSpPr>
            <p:spPr bwMode="auto">
              <a:xfrm>
                <a:off x="6538065" y="3104593"/>
                <a:ext cx="166285" cy="143150"/>
              </a:xfrm>
              <a:custGeom>
                <a:avLst/>
                <a:gdLst>
                  <a:gd name="T0" fmla="*/ 9 w 115"/>
                  <a:gd name="T1" fmla="*/ 56 h 99"/>
                  <a:gd name="T2" fmla="*/ 13 w 115"/>
                  <a:gd name="T3" fmla="*/ 59 h 99"/>
                  <a:gd name="T4" fmla="*/ 12 w 115"/>
                  <a:gd name="T5" fmla="*/ 65 h 99"/>
                  <a:gd name="T6" fmla="*/ 9 w 115"/>
                  <a:gd name="T7" fmla="*/ 66 h 99"/>
                  <a:gd name="T8" fmla="*/ 10 w 115"/>
                  <a:gd name="T9" fmla="*/ 69 h 99"/>
                  <a:gd name="T10" fmla="*/ 6 w 115"/>
                  <a:gd name="T11" fmla="*/ 70 h 99"/>
                  <a:gd name="T12" fmla="*/ 3 w 115"/>
                  <a:gd name="T13" fmla="*/ 72 h 99"/>
                  <a:gd name="T14" fmla="*/ 3 w 115"/>
                  <a:gd name="T15" fmla="*/ 73 h 99"/>
                  <a:gd name="T16" fmla="*/ 3 w 115"/>
                  <a:gd name="T17" fmla="*/ 75 h 99"/>
                  <a:gd name="T18" fmla="*/ 2 w 115"/>
                  <a:gd name="T19" fmla="*/ 78 h 99"/>
                  <a:gd name="T20" fmla="*/ 0 w 115"/>
                  <a:gd name="T21" fmla="*/ 79 h 99"/>
                  <a:gd name="T22" fmla="*/ 0 w 115"/>
                  <a:gd name="T23" fmla="*/ 80 h 99"/>
                  <a:gd name="T24" fmla="*/ 0 w 115"/>
                  <a:gd name="T25" fmla="*/ 82 h 99"/>
                  <a:gd name="T26" fmla="*/ 2 w 115"/>
                  <a:gd name="T27" fmla="*/ 83 h 99"/>
                  <a:gd name="T28" fmla="*/ 2 w 115"/>
                  <a:gd name="T29" fmla="*/ 83 h 99"/>
                  <a:gd name="T30" fmla="*/ 2 w 115"/>
                  <a:gd name="T31" fmla="*/ 85 h 99"/>
                  <a:gd name="T32" fmla="*/ 2 w 115"/>
                  <a:gd name="T33" fmla="*/ 86 h 99"/>
                  <a:gd name="T34" fmla="*/ 2 w 115"/>
                  <a:gd name="T35" fmla="*/ 88 h 99"/>
                  <a:gd name="T36" fmla="*/ 2 w 115"/>
                  <a:gd name="T37" fmla="*/ 88 h 99"/>
                  <a:gd name="T38" fmla="*/ 0 w 115"/>
                  <a:gd name="T39" fmla="*/ 89 h 99"/>
                  <a:gd name="T40" fmla="*/ 0 w 115"/>
                  <a:gd name="T41" fmla="*/ 90 h 99"/>
                  <a:gd name="T42" fmla="*/ 0 w 115"/>
                  <a:gd name="T43" fmla="*/ 92 h 99"/>
                  <a:gd name="T44" fmla="*/ 3 w 115"/>
                  <a:gd name="T45" fmla="*/ 93 h 99"/>
                  <a:gd name="T46" fmla="*/ 5 w 115"/>
                  <a:gd name="T47" fmla="*/ 95 h 99"/>
                  <a:gd name="T48" fmla="*/ 10 w 115"/>
                  <a:gd name="T49" fmla="*/ 98 h 99"/>
                  <a:gd name="T50" fmla="*/ 19 w 115"/>
                  <a:gd name="T51" fmla="*/ 99 h 99"/>
                  <a:gd name="T52" fmla="*/ 52 w 115"/>
                  <a:gd name="T53" fmla="*/ 79 h 99"/>
                  <a:gd name="T54" fmla="*/ 88 w 115"/>
                  <a:gd name="T55" fmla="*/ 59 h 99"/>
                  <a:gd name="T56" fmla="*/ 94 w 115"/>
                  <a:gd name="T57" fmla="*/ 55 h 99"/>
                  <a:gd name="T58" fmla="*/ 95 w 115"/>
                  <a:gd name="T59" fmla="*/ 49 h 99"/>
                  <a:gd name="T60" fmla="*/ 97 w 115"/>
                  <a:gd name="T61" fmla="*/ 36 h 99"/>
                  <a:gd name="T62" fmla="*/ 98 w 115"/>
                  <a:gd name="T63" fmla="*/ 29 h 99"/>
                  <a:gd name="T64" fmla="*/ 97 w 115"/>
                  <a:gd name="T65" fmla="*/ 20 h 99"/>
                  <a:gd name="T66" fmla="*/ 101 w 115"/>
                  <a:gd name="T67" fmla="*/ 16 h 99"/>
                  <a:gd name="T68" fmla="*/ 107 w 115"/>
                  <a:gd name="T69" fmla="*/ 13 h 99"/>
                  <a:gd name="T70" fmla="*/ 112 w 115"/>
                  <a:gd name="T71" fmla="*/ 9 h 99"/>
                  <a:gd name="T72" fmla="*/ 115 w 115"/>
                  <a:gd name="T73" fmla="*/ 4 h 99"/>
                  <a:gd name="T74" fmla="*/ 112 w 115"/>
                  <a:gd name="T75" fmla="*/ 0 h 99"/>
                  <a:gd name="T76" fmla="*/ 104 w 115"/>
                  <a:gd name="T77" fmla="*/ 4 h 99"/>
                  <a:gd name="T78" fmla="*/ 97 w 115"/>
                  <a:gd name="T79" fmla="*/ 4 h 99"/>
                  <a:gd name="T80" fmla="*/ 85 w 115"/>
                  <a:gd name="T81" fmla="*/ 4 h 99"/>
                  <a:gd name="T82" fmla="*/ 65 w 115"/>
                  <a:gd name="T83" fmla="*/ 11 h 99"/>
                  <a:gd name="T84" fmla="*/ 58 w 115"/>
                  <a:gd name="T85" fmla="*/ 13 h 99"/>
                  <a:gd name="T86" fmla="*/ 51 w 115"/>
                  <a:gd name="T87" fmla="*/ 11 h 99"/>
                  <a:gd name="T88" fmla="*/ 43 w 115"/>
                  <a:gd name="T89" fmla="*/ 9 h 99"/>
                  <a:gd name="T90" fmla="*/ 31 w 115"/>
                  <a:gd name="T91" fmla="*/ 13 h 99"/>
                  <a:gd name="T92" fmla="*/ 23 w 115"/>
                  <a:gd name="T93" fmla="*/ 13 h 99"/>
                  <a:gd name="T94" fmla="*/ 16 w 115"/>
                  <a:gd name="T95" fmla="*/ 10 h 99"/>
                  <a:gd name="T96" fmla="*/ 13 w 115"/>
                  <a:gd name="T97" fmla="*/ 14 h 99"/>
                  <a:gd name="T98" fmla="*/ 15 w 115"/>
                  <a:gd name="T99" fmla="*/ 19 h 99"/>
                  <a:gd name="T100" fmla="*/ 15 w 115"/>
                  <a:gd name="T101" fmla="*/ 21 h 99"/>
                  <a:gd name="T102" fmla="*/ 10 w 115"/>
                  <a:gd name="T103" fmla="*/ 23 h 99"/>
                  <a:gd name="T104" fmla="*/ 10 w 115"/>
                  <a:gd name="T105" fmla="*/ 24 h 99"/>
                  <a:gd name="T106" fmla="*/ 9 w 115"/>
                  <a:gd name="T107" fmla="*/ 26 h 99"/>
                  <a:gd name="T108" fmla="*/ 8 w 115"/>
                  <a:gd name="T109" fmla="*/ 27 h 99"/>
                  <a:gd name="T110" fmla="*/ 6 w 115"/>
                  <a:gd name="T111" fmla="*/ 29 h 99"/>
                  <a:gd name="T112" fmla="*/ 6 w 115"/>
                  <a:gd name="T113" fmla="*/ 30 h 99"/>
                  <a:gd name="T114" fmla="*/ 3 w 115"/>
                  <a:gd name="T115" fmla="*/ 29 h 99"/>
                  <a:gd name="T116" fmla="*/ 0 w 115"/>
                  <a:gd name="T117" fmla="*/ 32 h 99"/>
                  <a:gd name="T118" fmla="*/ 2 w 115"/>
                  <a:gd name="T119" fmla="*/ 37 h 99"/>
                  <a:gd name="T120" fmla="*/ 2 w 115"/>
                  <a:gd name="T121" fmla="*/ 50 h 99"/>
                  <a:gd name="T122" fmla="*/ 9 w 115"/>
                  <a:gd name="T123" fmla="*/ 5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5" h="99">
                    <a:moveTo>
                      <a:pt x="10" y="55"/>
                    </a:moveTo>
                    <a:lnTo>
                      <a:pt x="9" y="56"/>
                    </a:lnTo>
                    <a:lnTo>
                      <a:pt x="12" y="57"/>
                    </a:lnTo>
                    <a:lnTo>
                      <a:pt x="13" y="59"/>
                    </a:lnTo>
                    <a:lnTo>
                      <a:pt x="13" y="62"/>
                    </a:lnTo>
                    <a:lnTo>
                      <a:pt x="12" y="65"/>
                    </a:lnTo>
                    <a:lnTo>
                      <a:pt x="10" y="65"/>
                    </a:lnTo>
                    <a:lnTo>
                      <a:pt x="9" y="66"/>
                    </a:lnTo>
                    <a:lnTo>
                      <a:pt x="9" y="67"/>
                    </a:lnTo>
                    <a:lnTo>
                      <a:pt x="10" y="69"/>
                    </a:lnTo>
                    <a:lnTo>
                      <a:pt x="8" y="69"/>
                    </a:lnTo>
                    <a:lnTo>
                      <a:pt x="6" y="70"/>
                    </a:lnTo>
                    <a:lnTo>
                      <a:pt x="5" y="70"/>
                    </a:lnTo>
                    <a:lnTo>
                      <a:pt x="3" y="72"/>
                    </a:lnTo>
                    <a:lnTo>
                      <a:pt x="3" y="73"/>
                    </a:lnTo>
                    <a:lnTo>
                      <a:pt x="3" y="73"/>
                    </a:lnTo>
                    <a:lnTo>
                      <a:pt x="3" y="75"/>
                    </a:lnTo>
                    <a:lnTo>
                      <a:pt x="3" y="75"/>
                    </a:lnTo>
                    <a:lnTo>
                      <a:pt x="3" y="76"/>
                    </a:lnTo>
                    <a:lnTo>
                      <a:pt x="2" y="78"/>
                    </a:lnTo>
                    <a:lnTo>
                      <a:pt x="0" y="79"/>
                    </a:lnTo>
                    <a:lnTo>
                      <a:pt x="0" y="79"/>
                    </a:lnTo>
                    <a:lnTo>
                      <a:pt x="0" y="80"/>
                    </a:lnTo>
                    <a:lnTo>
                      <a:pt x="0" y="80"/>
                    </a:lnTo>
                    <a:lnTo>
                      <a:pt x="0" y="80"/>
                    </a:lnTo>
                    <a:lnTo>
                      <a:pt x="0" y="82"/>
                    </a:lnTo>
                    <a:lnTo>
                      <a:pt x="2" y="82"/>
                    </a:lnTo>
                    <a:lnTo>
                      <a:pt x="2" y="83"/>
                    </a:lnTo>
                    <a:lnTo>
                      <a:pt x="2" y="83"/>
                    </a:lnTo>
                    <a:lnTo>
                      <a:pt x="2" y="83"/>
                    </a:lnTo>
                    <a:lnTo>
                      <a:pt x="2" y="85"/>
                    </a:lnTo>
                    <a:lnTo>
                      <a:pt x="2" y="85"/>
                    </a:lnTo>
                    <a:lnTo>
                      <a:pt x="2" y="86"/>
                    </a:lnTo>
                    <a:lnTo>
                      <a:pt x="2" y="86"/>
                    </a:lnTo>
                    <a:lnTo>
                      <a:pt x="2" y="86"/>
                    </a:lnTo>
                    <a:lnTo>
                      <a:pt x="2" y="88"/>
                    </a:lnTo>
                    <a:lnTo>
                      <a:pt x="2" y="88"/>
                    </a:lnTo>
                    <a:lnTo>
                      <a:pt x="2" y="88"/>
                    </a:lnTo>
                    <a:lnTo>
                      <a:pt x="0" y="89"/>
                    </a:lnTo>
                    <a:lnTo>
                      <a:pt x="0" y="89"/>
                    </a:lnTo>
                    <a:lnTo>
                      <a:pt x="0" y="90"/>
                    </a:lnTo>
                    <a:lnTo>
                      <a:pt x="0" y="90"/>
                    </a:lnTo>
                    <a:lnTo>
                      <a:pt x="0" y="90"/>
                    </a:lnTo>
                    <a:lnTo>
                      <a:pt x="0" y="92"/>
                    </a:lnTo>
                    <a:lnTo>
                      <a:pt x="2" y="92"/>
                    </a:lnTo>
                    <a:lnTo>
                      <a:pt x="3" y="93"/>
                    </a:lnTo>
                    <a:lnTo>
                      <a:pt x="5" y="95"/>
                    </a:lnTo>
                    <a:lnTo>
                      <a:pt x="5" y="95"/>
                    </a:lnTo>
                    <a:lnTo>
                      <a:pt x="6" y="96"/>
                    </a:lnTo>
                    <a:lnTo>
                      <a:pt x="10" y="98"/>
                    </a:lnTo>
                    <a:lnTo>
                      <a:pt x="15" y="99"/>
                    </a:lnTo>
                    <a:lnTo>
                      <a:pt x="19" y="99"/>
                    </a:lnTo>
                    <a:lnTo>
                      <a:pt x="22" y="96"/>
                    </a:lnTo>
                    <a:lnTo>
                      <a:pt x="52" y="79"/>
                    </a:lnTo>
                    <a:lnTo>
                      <a:pt x="78" y="63"/>
                    </a:lnTo>
                    <a:lnTo>
                      <a:pt x="88" y="59"/>
                    </a:lnTo>
                    <a:lnTo>
                      <a:pt x="91" y="57"/>
                    </a:lnTo>
                    <a:lnTo>
                      <a:pt x="94" y="55"/>
                    </a:lnTo>
                    <a:lnTo>
                      <a:pt x="94" y="52"/>
                    </a:lnTo>
                    <a:lnTo>
                      <a:pt x="95" y="49"/>
                    </a:lnTo>
                    <a:lnTo>
                      <a:pt x="95" y="43"/>
                    </a:lnTo>
                    <a:lnTo>
                      <a:pt x="97" y="36"/>
                    </a:lnTo>
                    <a:lnTo>
                      <a:pt x="98" y="33"/>
                    </a:lnTo>
                    <a:lnTo>
                      <a:pt x="98" y="29"/>
                    </a:lnTo>
                    <a:lnTo>
                      <a:pt x="95" y="23"/>
                    </a:lnTo>
                    <a:lnTo>
                      <a:pt x="97" y="20"/>
                    </a:lnTo>
                    <a:lnTo>
                      <a:pt x="98" y="17"/>
                    </a:lnTo>
                    <a:lnTo>
                      <a:pt x="101" y="16"/>
                    </a:lnTo>
                    <a:lnTo>
                      <a:pt x="104" y="14"/>
                    </a:lnTo>
                    <a:lnTo>
                      <a:pt x="107" y="13"/>
                    </a:lnTo>
                    <a:lnTo>
                      <a:pt x="110" y="11"/>
                    </a:lnTo>
                    <a:lnTo>
                      <a:pt x="112" y="9"/>
                    </a:lnTo>
                    <a:lnTo>
                      <a:pt x="114" y="6"/>
                    </a:lnTo>
                    <a:lnTo>
                      <a:pt x="115" y="4"/>
                    </a:lnTo>
                    <a:lnTo>
                      <a:pt x="114" y="1"/>
                    </a:lnTo>
                    <a:lnTo>
                      <a:pt x="112" y="0"/>
                    </a:lnTo>
                    <a:lnTo>
                      <a:pt x="107" y="3"/>
                    </a:lnTo>
                    <a:lnTo>
                      <a:pt x="104" y="4"/>
                    </a:lnTo>
                    <a:lnTo>
                      <a:pt x="99" y="4"/>
                    </a:lnTo>
                    <a:lnTo>
                      <a:pt x="97" y="4"/>
                    </a:lnTo>
                    <a:lnTo>
                      <a:pt x="92" y="4"/>
                    </a:lnTo>
                    <a:lnTo>
                      <a:pt x="85" y="4"/>
                    </a:lnTo>
                    <a:lnTo>
                      <a:pt x="72" y="10"/>
                    </a:lnTo>
                    <a:lnTo>
                      <a:pt x="65" y="11"/>
                    </a:lnTo>
                    <a:lnTo>
                      <a:pt x="61" y="13"/>
                    </a:lnTo>
                    <a:lnTo>
                      <a:pt x="58" y="13"/>
                    </a:lnTo>
                    <a:lnTo>
                      <a:pt x="54" y="13"/>
                    </a:lnTo>
                    <a:lnTo>
                      <a:pt x="51" y="11"/>
                    </a:lnTo>
                    <a:lnTo>
                      <a:pt x="46" y="10"/>
                    </a:lnTo>
                    <a:lnTo>
                      <a:pt x="43" y="9"/>
                    </a:lnTo>
                    <a:lnTo>
                      <a:pt x="42" y="9"/>
                    </a:lnTo>
                    <a:lnTo>
                      <a:pt x="31" y="13"/>
                    </a:lnTo>
                    <a:lnTo>
                      <a:pt x="28" y="13"/>
                    </a:lnTo>
                    <a:lnTo>
                      <a:pt x="23" y="13"/>
                    </a:lnTo>
                    <a:lnTo>
                      <a:pt x="18" y="10"/>
                    </a:lnTo>
                    <a:lnTo>
                      <a:pt x="16" y="10"/>
                    </a:lnTo>
                    <a:lnTo>
                      <a:pt x="13" y="13"/>
                    </a:lnTo>
                    <a:lnTo>
                      <a:pt x="13" y="14"/>
                    </a:lnTo>
                    <a:lnTo>
                      <a:pt x="13" y="17"/>
                    </a:lnTo>
                    <a:lnTo>
                      <a:pt x="15" y="19"/>
                    </a:lnTo>
                    <a:lnTo>
                      <a:pt x="15" y="21"/>
                    </a:lnTo>
                    <a:lnTo>
                      <a:pt x="15" y="21"/>
                    </a:lnTo>
                    <a:lnTo>
                      <a:pt x="12" y="21"/>
                    </a:lnTo>
                    <a:lnTo>
                      <a:pt x="10" y="23"/>
                    </a:lnTo>
                    <a:lnTo>
                      <a:pt x="10" y="23"/>
                    </a:lnTo>
                    <a:lnTo>
                      <a:pt x="10" y="24"/>
                    </a:lnTo>
                    <a:lnTo>
                      <a:pt x="9" y="26"/>
                    </a:lnTo>
                    <a:lnTo>
                      <a:pt x="9" y="26"/>
                    </a:lnTo>
                    <a:lnTo>
                      <a:pt x="8" y="27"/>
                    </a:lnTo>
                    <a:lnTo>
                      <a:pt x="8" y="27"/>
                    </a:lnTo>
                    <a:lnTo>
                      <a:pt x="6" y="27"/>
                    </a:lnTo>
                    <a:lnTo>
                      <a:pt x="6" y="29"/>
                    </a:lnTo>
                    <a:lnTo>
                      <a:pt x="6" y="29"/>
                    </a:lnTo>
                    <a:lnTo>
                      <a:pt x="6" y="30"/>
                    </a:lnTo>
                    <a:lnTo>
                      <a:pt x="5" y="29"/>
                    </a:lnTo>
                    <a:lnTo>
                      <a:pt x="3" y="29"/>
                    </a:lnTo>
                    <a:lnTo>
                      <a:pt x="2" y="27"/>
                    </a:lnTo>
                    <a:lnTo>
                      <a:pt x="0" y="32"/>
                    </a:lnTo>
                    <a:lnTo>
                      <a:pt x="0" y="34"/>
                    </a:lnTo>
                    <a:lnTo>
                      <a:pt x="2" y="37"/>
                    </a:lnTo>
                    <a:lnTo>
                      <a:pt x="2" y="40"/>
                    </a:lnTo>
                    <a:lnTo>
                      <a:pt x="2" y="50"/>
                    </a:lnTo>
                    <a:lnTo>
                      <a:pt x="3" y="53"/>
                    </a:lnTo>
                    <a:lnTo>
                      <a:pt x="9" y="53"/>
                    </a:lnTo>
                    <a:lnTo>
                      <a:pt x="10" y="5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17" name="Freeform 113">
                <a:extLst>
                  <a:ext uri="{FF2B5EF4-FFF2-40B4-BE49-F238E27FC236}">
                    <a16:creationId xmlns:a16="http://schemas.microsoft.com/office/drawing/2014/main" id="{F5CC68DA-C4AA-ED6B-541C-19D1C8AFF909}"/>
                  </a:ext>
                </a:extLst>
              </p:cNvPr>
              <p:cNvSpPr>
                <a:spLocks/>
              </p:cNvSpPr>
              <p:nvPr/>
            </p:nvSpPr>
            <p:spPr bwMode="auto">
              <a:xfrm>
                <a:off x="6519268" y="3181229"/>
                <a:ext cx="37595" cy="46271"/>
              </a:xfrm>
              <a:custGeom>
                <a:avLst/>
                <a:gdLst>
                  <a:gd name="T0" fmla="*/ 2 w 26"/>
                  <a:gd name="T1" fmla="*/ 32 h 32"/>
                  <a:gd name="T2" fmla="*/ 3 w 26"/>
                  <a:gd name="T3" fmla="*/ 32 h 32"/>
                  <a:gd name="T4" fmla="*/ 3 w 26"/>
                  <a:gd name="T5" fmla="*/ 32 h 32"/>
                  <a:gd name="T6" fmla="*/ 5 w 26"/>
                  <a:gd name="T7" fmla="*/ 32 h 32"/>
                  <a:gd name="T8" fmla="*/ 5 w 26"/>
                  <a:gd name="T9" fmla="*/ 32 h 32"/>
                  <a:gd name="T10" fmla="*/ 6 w 26"/>
                  <a:gd name="T11" fmla="*/ 32 h 32"/>
                  <a:gd name="T12" fmla="*/ 6 w 26"/>
                  <a:gd name="T13" fmla="*/ 32 h 32"/>
                  <a:gd name="T14" fmla="*/ 8 w 26"/>
                  <a:gd name="T15" fmla="*/ 30 h 32"/>
                  <a:gd name="T16" fmla="*/ 8 w 26"/>
                  <a:gd name="T17" fmla="*/ 29 h 32"/>
                  <a:gd name="T18" fmla="*/ 9 w 26"/>
                  <a:gd name="T19" fmla="*/ 29 h 32"/>
                  <a:gd name="T20" fmla="*/ 9 w 26"/>
                  <a:gd name="T21" fmla="*/ 27 h 32"/>
                  <a:gd name="T22" fmla="*/ 9 w 26"/>
                  <a:gd name="T23" fmla="*/ 27 h 32"/>
                  <a:gd name="T24" fmla="*/ 9 w 26"/>
                  <a:gd name="T25" fmla="*/ 29 h 32"/>
                  <a:gd name="T26" fmla="*/ 11 w 26"/>
                  <a:gd name="T27" fmla="*/ 27 h 32"/>
                  <a:gd name="T28" fmla="*/ 12 w 26"/>
                  <a:gd name="T29" fmla="*/ 26 h 32"/>
                  <a:gd name="T30" fmla="*/ 13 w 26"/>
                  <a:gd name="T31" fmla="*/ 26 h 32"/>
                  <a:gd name="T32" fmla="*/ 13 w 26"/>
                  <a:gd name="T33" fmla="*/ 26 h 32"/>
                  <a:gd name="T34" fmla="*/ 13 w 26"/>
                  <a:gd name="T35" fmla="*/ 25 h 32"/>
                  <a:gd name="T36" fmla="*/ 15 w 26"/>
                  <a:gd name="T37" fmla="*/ 25 h 32"/>
                  <a:gd name="T38" fmla="*/ 16 w 26"/>
                  <a:gd name="T39" fmla="*/ 23 h 32"/>
                  <a:gd name="T40" fmla="*/ 16 w 26"/>
                  <a:gd name="T41" fmla="*/ 22 h 32"/>
                  <a:gd name="T42" fmla="*/ 16 w 26"/>
                  <a:gd name="T43" fmla="*/ 22 h 32"/>
                  <a:gd name="T44" fmla="*/ 16 w 26"/>
                  <a:gd name="T45" fmla="*/ 20 h 32"/>
                  <a:gd name="T46" fmla="*/ 16 w 26"/>
                  <a:gd name="T47" fmla="*/ 20 h 32"/>
                  <a:gd name="T48" fmla="*/ 16 w 26"/>
                  <a:gd name="T49" fmla="*/ 19 h 32"/>
                  <a:gd name="T50" fmla="*/ 18 w 26"/>
                  <a:gd name="T51" fmla="*/ 17 h 32"/>
                  <a:gd name="T52" fmla="*/ 19 w 26"/>
                  <a:gd name="T53" fmla="*/ 17 h 32"/>
                  <a:gd name="T54" fmla="*/ 21 w 26"/>
                  <a:gd name="T55" fmla="*/ 16 h 32"/>
                  <a:gd name="T56" fmla="*/ 23 w 26"/>
                  <a:gd name="T57" fmla="*/ 16 h 32"/>
                  <a:gd name="T58" fmla="*/ 22 w 26"/>
                  <a:gd name="T59" fmla="*/ 14 h 32"/>
                  <a:gd name="T60" fmla="*/ 22 w 26"/>
                  <a:gd name="T61" fmla="*/ 13 h 32"/>
                  <a:gd name="T62" fmla="*/ 23 w 26"/>
                  <a:gd name="T63" fmla="*/ 12 h 32"/>
                  <a:gd name="T64" fmla="*/ 25 w 26"/>
                  <a:gd name="T65" fmla="*/ 12 h 32"/>
                  <a:gd name="T66" fmla="*/ 26 w 26"/>
                  <a:gd name="T67" fmla="*/ 9 h 32"/>
                  <a:gd name="T68" fmla="*/ 26 w 26"/>
                  <a:gd name="T69" fmla="*/ 6 h 32"/>
                  <a:gd name="T70" fmla="*/ 25 w 26"/>
                  <a:gd name="T71" fmla="*/ 4 h 32"/>
                  <a:gd name="T72" fmla="*/ 22 w 26"/>
                  <a:gd name="T73" fmla="*/ 3 h 32"/>
                  <a:gd name="T74" fmla="*/ 23 w 26"/>
                  <a:gd name="T75" fmla="*/ 2 h 32"/>
                  <a:gd name="T76" fmla="*/ 22 w 26"/>
                  <a:gd name="T77" fmla="*/ 0 h 32"/>
                  <a:gd name="T78" fmla="*/ 16 w 26"/>
                  <a:gd name="T79" fmla="*/ 0 h 32"/>
                  <a:gd name="T80" fmla="*/ 16 w 26"/>
                  <a:gd name="T81" fmla="*/ 3 h 32"/>
                  <a:gd name="T82" fmla="*/ 15 w 26"/>
                  <a:gd name="T83" fmla="*/ 4 h 32"/>
                  <a:gd name="T84" fmla="*/ 13 w 26"/>
                  <a:gd name="T85" fmla="*/ 4 h 32"/>
                  <a:gd name="T86" fmla="*/ 12 w 26"/>
                  <a:gd name="T87" fmla="*/ 6 h 32"/>
                  <a:gd name="T88" fmla="*/ 11 w 26"/>
                  <a:gd name="T89" fmla="*/ 9 h 32"/>
                  <a:gd name="T90" fmla="*/ 3 w 26"/>
                  <a:gd name="T91" fmla="*/ 27 h 32"/>
                  <a:gd name="T92" fmla="*/ 0 w 26"/>
                  <a:gd name="T93" fmla="*/ 32 h 32"/>
                  <a:gd name="T94" fmla="*/ 2 w 26"/>
                  <a:gd name="T95" fmla="*/ 32 h 32"/>
                  <a:gd name="T96" fmla="*/ 2 w 26"/>
                  <a:gd name="T9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 h="32">
                    <a:moveTo>
                      <a:pt x="2" y="32"/>
                    </a:moveTo>
                    <a:lnTo>
                      <a:pt x="3" y="32"/>
                    </a:lnTo>
                    <a:lnTo>
                      <a:pt x="3" y="32"/>
                    </a:lnTo>
                    <a:lnTo>
                      <a:pt x="5" y="32"/>
                    </a:lnTo>
                    <a:lnTo>
                      <a:pt x="5" y="32"/>
                    </a:lnTo>
                    <a:lnTo>
                      <a:pt x="6" y="32"/>
                    </a:lnTo>
                    <a:lnTo>
                      <a:pt x="6" y="32"/>
                    </a:lnTo>
                    <a:lnTo>
                      <a:pt x="8" y="30"/>
                    </a:lnTo>
                    <a:lnTo>
                      <a:pt x="8" y="29"/>
                    </a:lnTo>
                    <a:lnTo>
                      <a:pt x="9" y="29"/>
                    </a:lnTo>
                    <a:lnTo>
                      <a:pt x="9" y="27"/>
                    </a:lnTo>
                    <a:lnTo>
                      <a:pt x="9" y="27"/>
                    </a:lnTo>
                    <a:lnTo>
                      <a:pt x="9" y="29"/>
                    </a:lnTo>
                    <a:lnTo>
                      <a:pt x="11" y="27"/>
                    </a:lnTo>
                    <a:lnTo>
                      <a:pt x="12" y="26"/>
                    </a:lnTo>
                    <a:lnTo>
                      <a:pt x="13" y="26"/>
                    </a:lnTo>
                    <a:lnTo>
                      <a:pt x="13" y="26"/>
                    </a:lnTo>
                    <a:lnTo>
                      <a:pt x="13" y="25"/>
                    </a:lnTo>
                    <a:lnTo>
                      <a:pt x="15" y="25"/>
                    </a:lnTo>
                    <a:lnTo>
                      <a:pt x="16" y="23"/>
                    </a:lnTo>
                    <a:lnTo>
                      <a:pt x="16" y="22"/>
                    </a:lnTo>
                    <a:lnTo>
                      <a:pt x="16" y="22"/>
                    </a:lnTo>
                    <a:lnTo>
                      <a:pt x="16" y="20"/>
                    </a:lnTo>
                    <a:lnTo>
                      <a:pt x="16" y="20"/>
                    </a:lnTo>
                    <a:lnTo>
                      <a:pt x="16" y="19"/>
                    </a:lnTo>
                    <a:lnTo>
                      <a:pt x="18" y="17"/>
                    </a:lnTo>
                    <a:lnTo>
                      <a:pt x="19" y="17"/>
                    </a:lnTo>
                    <a:lnTo>
                      <a:pt x="21" y="16"/>
                    </a:lnTo>
                    <a:lnTo>
                      <a:pt x="23" y="16"/>
                    </a:lnTo>
                    <a:lnTo>
                      <a:pt x="22" y="14"/>
                    </a:lnTo>
                    <a:lnTo>
                      <a:pt x="22" y="13"/>
                    </a:lnTo>
                    <a:lnTo>
                      <a:pt x="23" y="12"/>
                    </a:lnTo>
                    <a:lnTo>
                      <a:pt x="25" y="12"/>
                    </a:lnTo>
                    <a:lnTo>
                      <a:pt x="26" y="9"/>
                    </a:lnTo>
                    <a:lnTo>
                      <a:pt x="26" y="6"/>
                    </a:lnTo>
                    <a:lnTo>
                      <a:pt x="25" y="4"/>
                    </a:lnTo>
                    <a:lnTo>
                      <a:pt x="22" y="3"/>
                    </a:lnTo>
                    <a:lnTo>
                      <a:pt x="23" y="2"/>
                    </a:lnTo>
                    <a:lnTo>
                      <a:pt x="22" y="0"/>
                    </a:lnTo>
                    <a:lnTo>
                      <a:pt x="16" y="0"/>
                    </a:lnTo>
                    <a:lnTo>
                      <a:pt x="16" y="3"/>
                    </a:lnTo>
                    <a:lnTo>
                      <a:pt x="15" y="4"/>
                    </a:lnTo>
                    <a:lnTo>
                      <a:pt x="13" y="4"/>
                    </a:lnTo>
                    <a:lnTo>
                      <a:pt x="12" y="6"/>
                    </a:lnTo>
                    <a:lnTo>
                      <a:pt x="11" y="9"/>
                    </a:lnTo>
                    <a:lnTo>
                      <a:pt x="3" y="27"/>
                    </a:lnTo>
                    <a:lnTo>
                      <a:pt x="0" y="32"/>
                    </a:lnTo>
                    <a:lnTo>
                      <a:pt x="2" y="32"/>
                    </a:lnTo>
                    <a:lnTo>
                      <a:pt x="2" y="3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18" name="Freeform 114">
                <a:extLst>
                  <a:ext uri="{FF2B5EF4-FFF2-40B4-BE49-F238E27FC236}">
                    <a16:creationId xmlns:a16="http://schemas.microsoft.com/office/drawing/2014/main" id="{1F2C7D59-F939-1D32-FE79-1383C0A5AD22}"/>
                  </a:ext>
                </a:extLst>
              </p:cNvPr>
              <p:cNvSpPr>
                <a:spLocks/>
              </p:cNvSpPr>
              <p:nvPr/>
            </p:nvSpPr>
            <p:spPr bwMode="auto">
              <a:xfrm>
                <a:off x="6918353" y="3419813"/>
                <a:ext cx="21689" cy="44825"/>
              </a:xfrm>
              <a:custGeom>
                <a:avLst/>
                <a:gdLst>
                  <a:gd name="T0" fmla="*/ 5 w 15"/>
                  <a:gd name="T1" fmla="*/ 31 h 31"/>
                  <a:gd name="T2" fmla="*/ 6 w 15"/>
                  <a:gd name="T3" fmla="*/ 31 h 31"/>
                  <a:gd name="T4" fmla="*/ 9 w 15"/>
                  <a:gd name="T5" fmla="*/ 31 h 31"/>
                  <a:gd name="T6" fmla="*/ 12 w 15"/>
                  <a:gd name="T7" fmla="*/ 29 h 31"/>
                  <a:gd name="T8" fmla="*/ 15 w 15"/>
                  <a:gd name="T9" fmla="*/ 25 h 31"/>
                  <a:gd name="T10" fmla="*/ 15 w 15"/>
                  <a:gd name="T11" fmla="*/ 21 h 31"/>
                  <a:gd name="T12" fmla="*/ 15 w 15"/>
                  <a:gd name="T13" fmla="*/ 18 h 31"/>
                  <a:gd name="T14" fmla="*/ 13 w 15"/>
                  <a:gd name="T15" fmla="*/ 15 h 31"/>
                  <a:gd name="T16" fmla="*/ 13 w 15"/>
                  <a:gd name="T17" fmla="*/ 13 h 31"/>
                  <a:gd name="T18" fmla="*/ 13 w 15"/>
                  <a:gd name="T19" fmla="*/ 8 h 31"/>
                  <a:gd name="T20" fmla="*/ 13 w 15"/>
                  <a:gd name="T21" fmla="*/ 6 h 31"/>
                  <a:gd name="T22" fmla="*/ 13 w 15"/>
                  <a:gd name="T23" fmla="*/ 5 h 31"/>
                  <a:gd name="T24" fmla="*/ 10 w 15"/>
                  <a:gd name="T25" fmla="*/ 2 h 31"/>
                  <a:gd name="T26" fmla="*/ 9 w 15"/>
                  <a:gd name="T27" fmla="*/ 2 h 31"/>
                  <a:gd name="T28" fmla="*/ 9 w 15"/>
                  <a:gd name="T29" fmla="*/ 0 h 31"/>
                  <a:gd name="T30" fmla="*/ 7 w 15"/>
                  <a:gd name="T31" fmla="*/ 2 h 31"/>
                  <a:gd name="T32" fmla="*/ 6 w 15"/>
                  <a:gd name="T33" fmla="*/ 2 h 31"/>
                  <a:gd name="T34" fmla="*/ 6 w 15"/>
                  <a:gd name="T35" fmla="*/ 2 h 31"/>
                  <a:gd name="T36" fmla="*/ 5 w 15"/>
                  <a:gd name="T37" fmla="*/ 3 h 31"/>
                  <a:gd name="T38" fmla="*/ 5 w 15"/>
                  <a:gd name="T39" fmla="*/ 3 h 31"/>
                  <a:gd name="T40" fmla="*/ 3 w 15"/>
                  <a:gd name="T41" fmla="*/ 6 h 31"/>
                  <a:gd name="T42" fmla="*/ 0 w 15"/>
                  <a:gd name="T43" fmla="*/ 16 h 31"/>
                  <a:gd name="T44" fmla="*/ 0 w 15"/>
                  <a:gd name="T45" fmla="*/ 18 h 31"/>
                  <a:gd name="T46" fmla="*/ 0 w 15"/>
                  <a:gd name="T47" fmla="*/ 19 h 31"/>
                  <a:gd name="T48" fmla="*/ 2 w 15"/>
                  <a:gd name="T49" fmla="*/ 23 h 31"/>
                  <a:gd name="T50" fmla="*/ 2 w 15"/>
                  <a:gd name="T51" fmla="*/ 25 h 31"/>
                  <a:gd name="T52" fmla="*/ 0 w 15"/>
                  <a:gd name="T53" fmla="*/ 28 h 31"/>
                  <a:gd name="T54" fmla="*/ 2 w 15"/>
                  <a:gd name="T55" fmla="*/ 29 h 31"/>
                  <a:gd name="T56" fmla="*/ 5 w 15"/>
                  <a:gd name="T5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 h="31">
                    <a:moveTo>
                      <a:pt x="5" y="31"/>
                    </a:moveTo>
                    <a:lnTo>
                      <a:pt x="6" y="31"/>
                    </a:lnTo>
                    <a:lnTo>
                      <a:pt x="9" y="31"/>
                    </a:lnTo>
                    <a:lnTo>
                      <a:pt x="12" y="29"/>
                    </a:lnTo>
                    <a:lnTo>
                      <a:pt x="15" y="25"/>
                    </a:lnTo>
                    <a:lnTo>
                      <a:pt x="15" y="21"/>
                    </a:lnTo>
                    <a:lnTo>
                      <a:pt x="15" y="18"/>
                    </a:lnTo>
                    <a:lnTo>
                      <a:pt x="13" y="15"/>
                    </a:lnTo>
                    <a:lnTo>
                      <a:pt x="13" y="13"/>
                    </a:lnTo>
                    <a:lnTo>
                      <a:pt x="13" y="8"/>
                    </a:lnTo>
                    <a:lnTo>
                      <a:pt x="13" y="6"/>
                    </a:lnTo>
                    <a:lnTo>
                      <a:pt x="13" y="5"/>
                    </a:lnTo>
                    <a:lnTo>
                      <a:pt x="10" y="2"/>
                    </a:lnTo>
                    <a:lnTo>
                      <a:pt x="9" y="2"/>
                    </a:lnTo>
                    <a:lnTo>
                      <a:pt x="9" y="0"/>
                    </a:lnTo>
                    <a:lnTo>
                      <a:pt x="7" y="2"/>
                    </a:lnTo>
                    <a:lnTo>
                      <a:pt x="6" y="2"/>
                    </a:lnTo>
                    <a:lnTo>
                      <a:pt x="6" y="2"/>
                    </a:lnTo>
                    <a:lnTo>
                      <a:pt x="5" y="3"/>
                    </a:lnTo>
                    <a:lnTo>
                      <a:pt x="5" y="3"/>
                    </a:lnTo>
                    <a:lnTo>
                      <a:pt x="3" y="6"/>
                    </a:lnTo>
                    <a:lnTo>
                      <a:pt x="0" y="16"/>
                    </a:lnTo>
                    <a:lnTo>
                      <a:pt x="0" y="18"/>
                    </a:lnTo>
                    <a:lnTo>
                      <a:pt x="0" y="19"/>
                    </a:lnTo>
                    <a:lnTo>
                      <a:pt x="2" y="23"/>
                    </a:lnTo>
                    <a:lnTo>
                      <a:pt x="2" y="25"/>
                    </a:lnTo>
                    <a:lnTo>
                      <a:pt x="0" y="28"/>
                    </a:lnTo>
                    <a:lnTo>
                      <a:pt x="2" y="29"/>
                    </a:lnTo>
                    <a:lnTo>
                      <a:pt x="5" y="3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19" name="Freeform 115">
                <a:extLst>
                  <a:ext uri="{FF2B5EF4-FFF2-40B4-BE49-F238E27FC236}">
                    <a16:creationId xmlns:a16="http://schemas.microsoft.com/office/drawing/2014/main" id="{2AF8B616-5B05-700E-4154-6E11D153FF6A}"/>
                  </a:ext>
                </a:extLst>
              </p:cNvPr>
              <p:cNvSpPr>
                <a:spLocks/>
              </p:cNvSpPr>
              <p:nvPr/>
            </p:nvSpPr>
            <p:spPr bwMode="auto">
              <a:xfrm>
                <a:off x="6516376" y="3218824"/>
                <a:ext cx="109893" cy="114231"/>
              </a:xfrm>
              <a:custGeom>
                <a:avLst/>
                <a:gdLst>
                  <a:gd name="T0" fmla="*/ 20 w 76"/>
                  <a:gd name="T1" fmla="*/ 79 h 79"/>
                  <a:gd name="T2" fmla="*/ 27 w 76"/>
                  <a:gd name="T3" fmla="*/ 73 h 79"/>
                  <a:gd name="T4" fmla="*/ 33 w 76"/>
                  <a:gd name="T5" fmla="*/ 68 h 79"/>
                  <a:gd name="T6" fmla="*/ 40 w 76"/>
                  <a:gd name="T7" fmla="*/ 66 h 79"/>
                  <a:gd name="T8" fmla="*/ 46 w 76"/>
                  <a:gd name="T9" fmla="*/ 63 h 79"/>
                  <a:gd name="T10" fmla="*/ 47 w 76"/>
                  <a:gd name="T11" fmla="*/ 59 h 79"/>
                  <a:gd name="T12" fmla="*/ 50 w 76"/>
                  <a:gd name="T13" fmla="*/ 56 h 79"/>
                  <a:gd name="T14" fmla="*/ 36 w 76"/>
                  <a:gd name="T15" fmla="*/ 36 h 79"/>
                  <a:gd name="T16" fmla="*/ 70 w 76"/>
                  <a:gd name="T17" fmla="*/ 26 h 79"/>
                  <a:gd name="T18" fmla="*/ 76 w 76"/>
                  <a:gd name="T19" fmla="*/ 23 h 79"/>
                  <a:gd name="T20" fmla="*/ 76 w 76"/>
                  <a:gd name="T21" fmla="*/ 20 h 79"/>
                  <a:gd name="T22" fmla="*/ 74 w 76"/>
                  <a:gd name="T23" fmla="*/ 20 h 79"/>
                  <a:gd name="T24" fmla="*/ 71 w 76"/>
                  <a:gd name="T25" fmla="*/ 20 h 79"/>
                  <a:gd name="T26" fmla="*/ 73 w 76"/>
                  <a:gd name="T27" fmla="*/ 17 h 79"/>
                  <a:gd name="T28" fmla="*/ 37 w 76"/>
                  <a:gd name="T29" fmla="*/ 17 h 79"/>
                  <a:gd name="T30" fmla="*/ 30 w 76"/>
                  <a:gd name="T31" fmla="*/ 20 h 79"/>
                  <a:gd name="T32" fmla="*/ 21 w 76"/>
                  <a:gd name="T33" fmla="*/ 17 h 79"/>
                  <a:gd name="T34" fmla="*/ 20 w 76"/>
                  <a:gd name="T35" fmla="*/ 16 h 79"/>
                  <a:gd name="T36" fmla="*/ 17 w 76"/>
                  <a:gd name="T37" fmla="*/ 13 h 79"/>
                  <a:gd name="T38" fmla="*/ 14 w 76"/>
                  <a:gd name="T39" fmla="*/ 13 h 79"/>
                  <a:gd name="T40" fmla="*/ 13 w 76"/>
                  <a:gd name="T41" fmla="*/ 13 h 79"/>
                  <a:gd name="T42" fmla="*/ 11 w 76"/>
                  <a:gd name="T43" fmla="*/ 13 h 79"/>
                  <a:gd name="T44" fmla="*/ 11 w 76"/>
                  <a:gd name="T45" fmla="*/ 14 h 79"/>
                  <a:gd name="T46" fmla="*/ 11 w 76"/>
                  <a:gd name="T47" fmla="*/ 14 h 79"/>
                  <a:gd name="T48" fmla="*/ 11 w 76"/>
                  <a:gd name="T49" fmla="*/ 19 h 79"/>
                  <a:gd name="T50" fmla="*/ 11 w 76"/>
                  <a:gd name="T51" fmla="*/ 23 h 79"/>
                  <a:gd name="T52" fmla="*/ 11 w 76"/>
                  <a:gd name="T53" fmla="*/ 24 h 79"/>
                  <a:gd name="T54" fmla="*/ 10 w 76"/>
                  <a:gd name="T55" fmla="*/ 26 h 79"/>
                  <a:gd name="T56" fmla="*/ 11 w 76"/>
                  <a:gd name="T57" fmla="*/ 29 h 79"/>
                  <a:gd name="T58" fmla="*/ 11 w 76"/>
                  <a:gd name="T59" fmla="*/ 32 h 79"/>
                  <a:gd name="T60" fmla="*/ 10 w 76"/>
                  <a:gd name="T61" fmla="*/ 32 h 79"/>
                  <a:gd name="T62" fmla="*/ 10 w 76"/>
                  <a:gd name="T63" fmla="*/ 33 h 79"/>
                  <a:gd name="T64" fmla="*/ 10 w 76"/>
                  <a:gd name="T65" fmla="*/ 34 h 79"/>
                  <a:gd name="T66" fmla="*/ 8 w 76"/>
                  <a:gd name="T67" fmla="*/ 37 h 79"/>
                  <a:gd name="T68" fmla="*/ 8 w 76"/>
                  <a:gd name="T69" fmla="*/ 40 h 79"/>
                  <a:gd name="T70" fmla="*/ 8 w 76"/>
                  <a:gd name="T71" fmla="*/ 42 h 79"/>
                  <a:gd name="T72" fmla="*/ 8 w 76"/>
                  <a:gd name="T73" fmla="*/ 45 h 79"/>
                  <a:gd name="T74" fmla="*/ 7 w 76"/>
                  <a:gd name="T75" fmla="*/ 47 h 79"/>
                  <a:gd name="T76" fmla="*/ 5 w 76"/>
                  <a:gd name="T77" fmla="*/ 50 h 79"/>
                  <a:gd name="T78" fmla="*/ 4 w 76"/>
                  <a:gd name="T79" fmla="*/ 55 h 79"/>
                  <a:gd name="T80" fmla="*/ 4 w 76"/>
                  <a:gd name="T81" fmla="*/ 62 h 79"/>
                  <a:gd name="T82" fmla="*/ 2 w 76"/>
                  <a:gd name="T83" fmla="*/ 63 h 79"/>
                  <a:gd name="T84" fmla="*/ 2 w 76"/>
                  <a:gd name="T85" fmla="*/ 65 h 79"/>
                  <a:gd name="T86" fmla="*/ 1 w 76"/>
                  <a:gd name="T87" fmla="*/ 73 h 79"/>
                  <a:gd name="T88" fmla="*/ 1 w 76"/>
                  <a:gd name="T89" fmla="*/ 75 h 79"/>
                  <a:gd name="T90" fmla="*/ 0 w 76"/>
                  <a:gd name="T91" fmla="*/ 76 h 79"/>
                  <a:gd name="T92" fmla="*/ 17 w 76"/>
                  <a:gd name="T9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6" h="79">
                    <a:moveTo>
                      <a:pt x="17" y="79"/>
                    </a:moveTo>
                    <a:lnTo>
                      <a:pt x="20" y="79"/>
                    </a:lnTo>
                    <a:lnTo>
                      <a:pt x="24" y="76"/>
                    </a:lnTo>
                    <a:lnTo>
                      <a:pt x="27" y="73"/>
                    </a:lnTo>
                    <a:lnTo>
                      <a:pt x="30" y="70"/>
                    </a:lnTo>
                    <a:lnTo>
                      <a:pt x="33" y="68"/>
                    </a:lnTo>
                    <a:lnTo>
                      <a:pt x="36" y="66"/>
                    </a:lnTo>
                    <a:lnTo>
                      <a:pt x="40" y="66"/>
                    </a:lnTo>
                    <a:lnTo>
                      <a:pt x="44" y="65"/>
                    </a:lnTo>
                    <a:lnTo>
                      <a:pt x="46" y="63"/>
                    </a:lnTo>
                    <a:lnTo>
                      <a:pt x="46" y="60"/>
                    </a:lnTo>
                    <a:lnTo>
                      <a:pt x="47" y="59"/>
                    </a:lnTo>
                    <a:lnTo>
                      <a:pt x="48" y="57"/>
                    </a:lnTo>
                    <a:lnTo>
                      <a:pt x="50" y="56"/>
                    </a:lnTo>
                    <a:lnTo>
                      <a:pt x="53" y="55"/>
                    </a:lnTo>
                    <a:lnTo>
                      <a:pt x="36" y="36"/>
                    </a:lnTo>
                    <a:lnTo>
                      <a:pt x="66" y="29"/>
                    </a:lnTo>
                    <a:lnTo>
                      <a:pt x="70" y="26"/>
                    </a:lnTo>
                    <a:lnTo>
                      <a:pt x="74" y="24"/>
                    </a:lnTo>
                    <a:lnTo>
                      <a:pt x="76" y="23"/>
                    </a:lnTo>
                    <a:lnTo>
                      <a:pt x="76" y="22"/>
                    </a:lnTo>
                    <a:lnTo>
                      <a:pt x="76" y="20"/>
                    </a:lnTo>
                    <a:lnTo>
                      <a:pt x="76" y="20"/>
                    </a:lnTo>
                    <a:lnTo>
                      <a:pt x="74" y="20"/>
                    </a:lnTo>
                    <a:lnTo>
                      <a:pt x="73" y="20"/>
                    </a:lnTo>
                    <a:lnTo>
                      <a:pt x="71" y="20"/>
                    </a:lnTo>
                    <a:lnTo>
                      <a:pt x="71" y="17"/>
                    </a:lnTo>
                    <a:lnTo>
                      <a:pt x="73" y="17"/>
                    </a:lnTo>
                    <a:lnTo>
                      <a:pt x="67" y="0"/>
                    </a:lnTo>
                    <a:lnTo>
                      <a:pt x="37" y="17"/>
                    </a:lnTo>
                    <a:lnTo>
                      <a:pt x="34" y="20"/>
                    </a:lnTo>
                    <a:lnTo>
                      <a:pt x="30" y="20"/>
                    </a:lnTo>
                    <a:lnTo>
                      <a:pt x="25" y="19"/>
                    </a:lnTo>
                    <a:lnTo>
                      <a:pt x="21" y="17"/>
                    </a:lnTo>
                    <a:lnTo>
                      <a:pt x="20" y="16"/>
                    </a:lnTo>
                    <a:lnTo>
                      <a:pt x="20" y="16"/>
                    </a:lnTo>
                    <a:lnTo>
                      <a:pt x="18" y="14"/>
                    </a:lnTo>
                    <a:lnTo>
                      <a:pt x="17" y="13"/>
                    </a:lnTo>
                    <a:lnTo>
                      <a:pt x="15" y="13"/>
                    </a:lnTo>
                    <a:lnTo>
                      <a:pt x="14" y="13"/>
                    </a:lnTo>
                    <a:lnTo>
                      <a:pt x="13" y="13"/>
                    </a:lnTo>
                    <a:lnTo>
                      <a:pt x="13" y="13"/>
                    </a:lnTo>
                    <a:lnTo>
                      <a:pt x="13" y="13"/>
                    </a:lnTo>
                    <a:lnTo>
                      <a:pt x="11" y="13"/>
                    </a:lnTo>
                    <a:lnTo>
                      <a:pt x="11" y="13"/>
                    </a:lnTo>
                    <a:lnTo>
                      <a:pt x="11" y="14"/>
                    </a:lnTo>
                    <a:lnTo>
                      <a:pt x="11" y="14"/>
                    </a:lnTo>
                    <a:lnTo>
                      <a:pt x="11" y="14"/>
                    </a:lnTo>
                    <a:lnTo>
                      <a:pt x="11" y="14"/>
                    </a:lnTo>
                    <a:lnTo>
                      <a:pt x="11" y="19"/>
                    </a:lnTo>
                    <a:lnTo>
                      <a:pt x="11" y="22"/>
                    </a:lnTo>
                    <a:lnTo>
                      <a:pt x="11" y="23"/>
                    </a:lnTo>
                    <a:lnTo>
                      <a:pt x="11" y="23"/>
                    </a:lnTo>
                    <a:lnTo>
                      <a:pt x="11" y="24"/>
                    </a:lnTo>
                    <a:lnTo>
                      <a:pt x="10" y="26"/>
                    </a:lnTo>
                    <a:lnTo>
                      <a:pt x="10" y="26"/>
                    </a:lnTo>
                    <a:lnTo>
                      <a:pt x="11" y="29"/>
                    </a:lnTo>
                    <a:lnTo>
                      <a:pt x="11" y="29"/>
                    </a:lnTo>
                    <a:lnTo>
                      <a:pt x="11" y="30"/>
                    </a:lnTo>
                    <a:lnTo>
                      <a:pt x="11" y="32"/>
                    </a:lnTo>
                    <a:lnTo>
                      <a:pt x="10" y="32"/>
                    </a:lnTo>
                    <a:lnTo>
                      <a:pt x="10" y="32"/>
                    </a:lnTo>
                    <a:lnTo>
                      <a:pt x="10" y="33"/>
                    </a:lnTo>
                    <a:lnTo>
                      <a:pt x="10" y="33"/>
                    </a:lnTo>
                    <a:lnTo>
                      <a:pt x="10" y="33"/>
                    </a:lnTo>
                    <a:lnTo>
                      <a:pt x="10" y="34"/>
                    </a:lnTo>
                    <a:lnTo>
                      <a:pt x="8" y="36"/>
                    </a:lnTo>
                    <a:lnTo>
                      <a:pt x="8" y="37"/>
                    </a:lnTo>
                    <a:lnTo>
                      <a:pt x="8" y="39"/>
                    </a:lnTo>
                    <a:lnTo>
                      <a:pt x="8" y="40"/>
                    </a:lnTo>
                    <a:lnTo>
                      <a:pt x="8" y="40"/>
                    </a:lnTo>
                    <a:lnTo>
                      <a:pt x="8" y="42"/>
                    </a:lnTo>
                    <a:lnTo>
                      <a:pt x="8" y="43"/>
                    </a:lnTo>
                    <a:lnTo>
                      <a:pt x="8" y="45"/>
                    </a:lnTo>
                    <a:lnTo>
                      <a:pt x="8" y="46"/>
                    </a:lnTo>
                    <a:lnTo>
                      <a:pt x="7" y="47"/>
                    </a:lnTo>
                    <a:lnTo>
                      <a:pt x="7" y="47"/>
                    </a:lnTo>
                    <a:lnTo>
                      <a:pt x="5" y="50"/>
                    </a:lnTo>
                    <a:lnTo>
                      <a:pt x="5" y="52"/>
                    </a:lnTo>
                    <a:lnTo>
                      <a:pt x="4" y="55"/>
                    </a:lnTo>
                    <a:lnTo>
                      <a:pt x="4" y="60"/>
                    </a:lnTo>
                    <a:lnTo>
                      <a:pt x="4" y="62"/>
                    </a:lnTo>
                    <a:lnTo>
                      <a:pt x="4" y="62"/>
                    </a:lnTo>
                    <a:lnTo>
                      <a:pt x="2" y="63"/>
                    </a:lnTo>
                    <a:lnTo>
                      <a:pt x="2" y="63"/>
                    </a:lnTo>
                    <a:lnTo>
                      <a:pt x="2" y="65"/>
                    </a:lnTo>
                    <a:lnTo>
                      <a:pt x="1" y="69"/>
                    </a:lnTo>
                    <a:lnTo>
                      <a:pt x="1" y="73"/>
                    </a:lnTo>
                    <a:lnTo>
                      <a:pt x="1" y="73"/>
                    </a:lnTo>
                    <a:lnTo>
                      <a:pt x="1" y="75"/>
                    </a:lnTo>
                    <a:lnTo>
                      <a:pt x="1" y="76"/>
                    </a:lnTo>
                    <a:lnTo>
                      <a:pt x="0" y="76"/>
                    </a:lnTo>
                    <a:lnTo>
                      <a:pt x="13" y="79"/>
                    </a:lnTo>
                    <a:lnTo>
                      <a:pt x="17" y="7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0" name="Freeform 116">
                <a:extLst>
                  <a:ext uri="{FF2B5EF4-FFF2-40B4-BE49-F238E27FC236}">
                    <a16:creationId xmlns:a16="http://schemas.microsoft.com/office/drawing/2014/main" id="{DDC56A2B-16B4-C8BE-E7B8-601FAB85E265}"/>
                  </a:ext>
                </a:extLst>
              </p:cNvPr>
              <p:cNvSpPr>
                <a:spLocks/>
              </p:cNvSpPr>
              <p:nvPr/>
            </p:nvSpPr>
            <p:spPr bwMode="auto">
              <a:xfrm>
                <a:off x="7174288" y="3113269"/>
                <a:ext cx="413545" cy="373058"/>
              </a:xfrm>
              <a:custGeom>
                <a:avLst/>
                <a:gdLst>
                  <a:gd name="T0" fmla="*/ 273 w 286"/>
                  <a:gd name="T1" fmla="*/ 24 h 258"/>
                  <a:gd name="T2" fmla="*/ 266 w 286"/>
                  <a:gd name="T3" fmla="*/ 10 h 258"/>
                  <a:gd name="T4" fmla="*/ 253 w 286"/>
                  <a:gd name="T5" fmla="*/ 1 h 258"/>
                  <a:gd name="T6" fmla="*/ 230 w 286"/>
                  <a:gd name="T7" fmla="*/ 3 h 258"/>
                  <a:gd name="T8" fmla="*/ 189 w 286"/>
                  <a:gd name="T9" fmla="*/ 13 h 258"/>
                  <a:gd name="T10" fmla="*/ 188 w 286"/>
                  <a:gd name="T11" fmla="*/ 27 h 258"/>
                  <a:gd name="T12" fmla="*/ 188 w 286"/>
                  <a:gd name="T13" fmla="*/ 38 h 258"/>
                  <a:gd name="T14" fmla="*/ 179 w 286"/>
                  <a:gd name="T15" fmla="*/ 59 h 258"/>
                  <a:gd name="T16" fmla="*/ 165 w 286"/>
                  <a:gd name="T17" fmla="*/ 72 h 258"/>
                  <a:gd name="T18" fmla="*/ 151 w 286"/>
                  <a:gd name="T19" fmla="*/ 87 h 258"/>
                  <a:gd name="T20" fmla="*/ 141 w 286"/>
                  <a:gd name="T21" fmla="*/ 106 h 258"/>
                  <a:gd name="T22" fmla="*/ 122 w 286"/>
                  <a:gd name="T23" fmla="*/ 107 h 258"/>
                  <a:gd name="T24" fmla="*/ 116 w 286"/>
                  <a:gd name="T25" fmla="*/ 113 h 258"/>
                  <a:gd name="T26" fmla="*/ 95 w 286"/>
                  <a:gd name="T27" fmla="*/ 136 h 258"/>
                  <a:gd name="T28" fmla="*/ 63 w 286"/>
                  <a:gd name="T29" fmla="*/ 146 h 258"/>
                  <a:gd name="T30" fmla="*/ 0 w 286"/>
                  <a:gd name="T31" fmla="*/ 141 h 258"/>
                  <a:gd name="T32" fmla="*/ 31 w 286"/>
                  <a:gd name="T33" fmla="*/ 171 h 258"/>
                  <a:gd name="T34" fmla="*/ 36 w 286"/>
                  <a:gd name="T35" fmla="*/ 191 h 258"/>
                  <a:gd name="T36" fmla="*/ 29 w 286"/>
                  <a:gd name="T37" fmla="*/ 205 h 258"/>
                  <a:gd name="T38" fmla="*/ 17 w 286"/>
                  <a:gd name="T39" fmla="*/ 214 h 258"/>
                  <a:gd name="T40" fmla="*/ 27 w 286"/>
                  <a:gd name="T41" fmla="*/ 231 h 258"/>
                  <a:gd name="T42" fmla="*/ 50 w 286"/>
                  <a:gd name="T43" fmla="*/ 228 h 258"/>
                  <a:gd name="T44" fmla="*/ 69 w 286"/>
                  <a:gd name="T45" fmla="*/ 230 h 258"/>
                  <a:gd name="T46" fmla="*/ 96 w 286"/>
                  <a:gd name="T47" fmla="*/ 222 h 258"/>
                  <a:gd name="T48" fmla="*/ 109 w 286"/>
                  <a:gd name="T49" fmla="*/ 238 h 258"/>
                  <a:gd name="T50" fmla="*/ 122 w 286"/>
                  <a:gd name="T51" fmla="*/ 258 h 258"/>
                  <a:gd name="T52" fmla="*/ 129 w 286"/>
                  <a:gd name="T53" fmla="*/ 257 h 258"/>
                  <a:gd name="T54" fmla="*/ 139 w 286"/>
                  <a:gd name="T55" fmla="*/ 250 h 258"/>
                  <a:gd name="T56" fmla="*/ 145 w 286"/>
                  <a:gd name="T57" fmla="*/ 248 h 258"/>
                  <a:gd name="T58" fmla="*/ 162 w 286"/>
                  <a:gd name="T59" fmla="*/ 250 h 258"/>
                  <a:gd name="T60" fmla="*/ 171 w 286"/>
                  <a:gd name="T61" fmla="*/ 247 h 258"/>
                  <a:gd name="T62" fmla="*/ 174 w 286"/>
                  <a:gd name="T63" fmla="*/ 250 h 258"/>
                  <a:gd name="T64" fmla="*/ 178 w 286"/>
                  <a:gd name="T65" fmla="*/ 247 h 258"/>
                  <a:gd name="T66" fmla="*/ 179 w 286"/>
                  <a:gd name="T67" fmla="*/ 245 h 258"/>
                  <a:gd name="T68" fmla="*/ 179 w 286"/>
                  <a:gd name="T69" fmla="*/ 241 h 258"/>
                  <a:gd name="T70" fmla="*/ 172 w 286"/>
                  <a:gd name="T71" fmla="*/ 225 h 258"/>
                  <a:gd name="T72" fmla="*/ 169 w 286"/>
                  <a:gd name="T73" fmla="*/ 221 h 258"/>
                  <a:gd name="T74" fmla="*/ 165 w 286"/>
                  <a:gd name="T75" fmla="*/ 220 h 258"/>
                  <a:gd name="T76" fmla="*/ 164 w 286"/>
                  <a:gd name="T77" fmla="*/ 212 h 258"/>
                  <a:gd name="T78" fmla="*/ 162 w 286"/>
                  <a:gd name="T79" fmla="*/ 204 h 258"/>
                  <a:gd name="T80" fmla="*/ 154 w 286"/>
                  <a:gd name="T81" fmla="*/ 201 h 258"/>
                  <a:gd name="T82" fmla="*/ 156 w 286"/>
                  <a:gd name="T83" fmla="*/ 189 h 258"/>
                  <a:gd name="T84" fmla="*/ 172 w 286"/>
                  <a:gd name="T85" fmla="*/ 176 h 258"/>
                  <a:gd name="T86" fmla="*/ 177 w 286"/>
                  <a:gd name="T87" fmla="*/ 182 h 258"/>
                  <a:gd name="T88" fmla="*/ 194 w 286"/>
                  <a:gd name="T89" fmla="*/ 176 h 258"/>
                  <a:gd name="T90" fmla="*/ 198 w 286"/>
                  <a:gd name="T91" fmla="*/ 171 h 258"/>
                  <a:gd name="T92" fmla="*/ 207 w 286"/>
                  <a:gd name="T93" fmla="*/ 159 h 258"/>
                  <a:gd name="T94" fmla="*/ 221 w 286"/>
                  <a:gd name="T95" fmla="*/ 139 h 258"/>
                  <a:gd name="T96" fmla="*/ 231 w 286"/>
                  <a:gd name="T97" fmla="*/ 132 h 258"/>
                  <a:gd name="T98" fmla="*/ 231 w 286"/>
                  <a:gd name="T99" fmla="*/ 128 h 258"/>
                  <a:gd name="T100" fmla="*/ 243 w 286"/>
                  <a:gd name="T101" fmla="*/ 118 h 258"/>
                  <a:gd name="T102" fmla="*/ 241 w 286"/>
                  <a:gd name="T103" fmla="*/ 105 h 258"/>
                  <a:gd name="T104" fmla="*/ 253 w 286"/>
                  <a:gd name="T105" fmla="*/ 97 h 258"/>
                  <a:gd name="T106" fmla="*/ 248 w 286"/>
                  <a:gd name="T107" fmla="*/ 90 h 258"/>
                  <a:gd name="T108" fmla="*/ 238 w 286"/>
                  <a:gd name="T109" fmla="*/ 84 h 258"/>
                  <a:gd name="T110" fmla="*/ 234 w 286"/>
                  <a:gd name="T111" fmla="*/ 79 h 258"/>
                  <a:gd name="T112" fmla="*/ 231 w 286"/>
                  <a:gd name="T113" fmla="*/ 66 h 258"/>
                  <a:gd name="T114" fmla="*/ 233 w 286"/>
                  <a:gd name="T115" fmla="*/ 60 h 258"/>
                  <a:gd name="T116" fmla="*/ 228 w 286"/>
                  <a:gd name="T117" fmla="*/ 53 h 258"/>
                  <a:gd name="T118" fmla="*/ 251 w 286"/>
                  <a:gd name="T119" fmla="*/ 47 h 258"/>
                  <a:gd name="T120" fmla="*/ 267 w 286"/>
                  <a:gd name="T121" fmla="*/ 47 h 258"/>
                  <a:gd name="T122" fmla="*/ 280 w 286"/>
                  <a:gd name="T123" fmla="*/ 43 h 258"/>
                  <a:gd name="T124" fmla="*/ 286 w 286"/>
                  <a:gd name="T125" fmla="*/ 3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6" h="258">
                    <a:moveTo>
                      <a:pt x="286" y="37"/>
                    </a:moveTo>
                    <a:lnTo>
                      <a:pt x="283" y="33"/>
                    </a:lnTo>
                    <a:lnTo>
                      <a:pt x="281" y="30"/>
                    </a:lnTo>
                    <a:lnTo>
                      <a:pt x="281" y="28"/>
                    </a:lnTo>
                    <a:lnTo>
                      <a:pt x="280" y="27"/>
                    </a:lnTo>
                    <a:lnTo>
                      <a:pt x="278" y="26"/>
                    </a:lnTo>
                    <a:lnTo>
                      <a:pt x="277" y="26"/>
                    </a:lnTo>
                    <a:lnTo>
                      <a:pt x="277" y="24"/>
                    </a:lnTo>
                    <a:lnTo>
                      <a:pt x="277" y="23"/>
                    </a:lnTo>
                    <a:lnTo>
                      <a:pt x="273" y="24"/>
                    </a:lnTo>
                    <a:lnTo>
                      <a:pt x="271" y="24"/>
                    </a:lnTo>
                    <a:lnTo>
                      <a:pt x="270" y="24"/>
                    </a:lnTo>
                    <a:lnTo>
                      <a:pt x="270" y="23"/>
                    </a:lnTo>
                    <a:lnTo>
                      <a:pt x="267" y="20"/>
                    </a:lnTo>
                    <a:lnTo>
                      <a:pt x="266" y="18"/>
                    </a:lnTo>
                    <a:lnTo>
                      <a:pt x="266" y="18"/>
                    </a:lnTo>
                    <a:lnTo>
                      <a:pt x="266" y="18"/>
                    </a:lnTo>
                    <a:lnTo>
                      <a:pt x="267" y="17"/>
                    </a:lnTo>
                    <a:lnTo>
                      <a:pt x="267" y="13"/>
                    </a:lnTo>
                    <a:lnTo>
                      <a:pt x="266" y="10"/>
                    </a:lnTo>
                    <a:lnTo>
                      <a:pt x="266" y="8"/>
                    </a:lnTo>
                    <a:lnTo>
                      <a:pt x="264" y="7"/>
                    </a:lnTo>
                    <a:lnTo>
                      <a:pt x="263" y="5"/>
                    </a:lnTo>
                    <a:lnTo>
                      <a:pt x="258" y="5"/>
                    </a:lnTo>
                    <a:lnTo>
                      <a:pt x="257" y="5"/>
                    </a:lnTo>
                    <a:lnTo>
                      <a:pt x="257" y="4"/>
                    </a:lnTo>
                    <a:lnTo>
                      <a:pt x="257" y="4"/>
                    </a:lnTo>
                    <a:lnTo>
                      <a:pt x="255" y="3"/>
                    </a:lnTo>
                    <a:lnTo>
                      <a:pt x="255" y="1"/>
                    </a:lnTo>
                    <a:lnTo>
                      <a:pt x="253" y="1"/>
                    </a:lnTo>
                    <a:lnTo>
                      <a:pt x="251" y="1"/>
                    </a:lnTo>
                    <a:lnTo>
                      <a:pt x="250" y="1"/>
                    </a:lnTo>
                    <a:lnTo>
                      <a:pt x="247" y="1"/>
                    </a:lnTo>
                    <a:lnTo>
                      <a:pt x="245" y="0"/>
                    </a:lnTo>
                    <a:lnTo>
                      <a:pt x="244" y="0"/>
                    </a:lnTo>
                    <a:lnTo>
                      <a:pt x="243" y="0"/>
                    </a:lnTo>
                    <a:lnTo>
                      <a:pt x="241" y="0"/>
                    </a:lnTo>
                    <a:lnTo>
                      <a:pt x="234" y="3"/>
                    </a:lnTo>
                    <a:lnTo>
                      <a:pt x="231" y="4"/>
                    </a:lnTo>
                    <a:lnTo>
                      <a:pt x="230" y="3"/>
                    </a:lnTo>
                    <a:lnTo>
                      <a:pt x="224" y="3"/>
                    </a:lnTo>
                    <a:lnTo>
                      <a:pt x="221" y="3"/>
                    </a:lnTo>
                    <a:lnTo>
                      <a:pt x="211" y="3"/>
                    </a:lnTo>
                    <a:lnTo>
                      <a:pt x="205" y="4"/>
                    </a:lnTo>
                    <a:lnTo>
                      <a:pt x="199" y="5"/>
                    </a:lnTo>
                    <a:lnTo>
                      <a:pt x="198" y="7"/>
                    </a:lnTo>
                    <a:lnTo>
                      <a:pt x="194" y="10"/>
                    </a:lnTo>
                    <a:lnTo>
                      <a:pt x="192" y="11"/>
                    </a:lnTo>
                    <a:lnTo>
                      <a:pt x="191" y="11"/>
                    </a:lnTo>
                    <a:lnTo>
                      <a:pt x="189" y="13"/>
                    </a:lnTo>
                    <a:lnTo>
                      <a:pt x="188" y="13"/>
                    </a:lnTo>
                    <a:lnTo>
                      <a:pt x="187" y="14"/>
                    </a:lnTo>
                    <a:lnTo>
                      <a:pt x="187" y="14"/>
                    </a:lnTo>
                    <a:lnTo>
                      <a:pt x="185" y="17"/>
                    </a:lnTo>
                    <a:lnTo>
                      <a:pt x="184" y="18"/>
                    </a:lnTo>
                    <a:lnTo>
                      <a:pt x="184" y="20"/>
                    </a:lnTo>
                    <a:lnTo>
                      <a:pt x="184" y="21"/>
                    </a:lnTo>
                    <a:lnTo>
                      <a:pt x="187" y="23"/>
                    </a:lnTo>
                    <a:lnTo>
                      <a:pt x="187" y="26"/>
                    </a:lnTo>
                    <a:lnTo>
                      <a:pt x="188" y="27"/>
                    </a:lnTo>
                    <a:lnTo>
                      <a:pt x="189" y="30"/>
                    </a:lnTo>
                    <a:lnTo>
                      <a:pt x="189" y="31"/>
                    </a:lnTo>
                    <a:lnTo>
                      <a:pt x="189" y="33"/>
                    </a:lnTo>
                    <a:lnTo>
                      <a:pt x="189" y="33"/>
                    </a:lnTo>
                    <a:lnTo>
                      <a:pt x="188" y="34"/>
                    </a:lnTo>
                    <a:lnTo>
                      <a:pt x="189" y="34"/>
                    </a:lnTo>
                    <a:lnTo>
                      <a:pt x="189" y="36"/>
                    </a:lnTo>
                    <a:lnTo>
                      <a:pt x="189" y="36"/>
                    </a:lnTo>
                    <a:lnTo>
                      <a:pt x="189" y="37"/>
                    </a:lnTo>
                    <a:lnTo>
                      <a:pt x="188" y="38"/>
                    </a:lnTo>
                    <a:lnTo>
                      <a:pt x="187" y="41"/>
                    </a:lnTo>
                    <a:lnTo>
                      <a:pt x="181" y="47"/>
                    </a:lnTo>
                    <a:lnTo>
                      <a:pt x="179" y="50"/>
                    </a:lnTo>
                    <a:lnTo>
                      <a:pt x="179" y="50"/>
                    </a:lnTo>
                    <a:lnTo>
                      <a:pt x="179" y="50"/>
                    </a:lnTo>
                    <a:lnTo>
                      <a:pt x="178" y="50"/>
                    </a:lnTo>
                    <a:lnTo>
                      <a:pt x="179" y="51"/>
                    </a:lnTo>
                    <a:lnTo>
                      <a:pt x="181" y="53"/>
                    </a:lnTo>
                    <a:lnTo>
                      <a:pt x="181" y="54"/>
                    </a:lnTo>
                    <a:lnTo>
                      <a:pt x="179" y="59"/>
                    </a:lnTo>
                    <a:lnTo>
                      <a:pt x="177" y="60"/>
                    </a:lnTo>
                    <a:lnTo>
                      <a:pt x="171" y="61"/>
                    </a:lnTo>
                    <a:lnTo>
                      <a:pt x="166" y="61"/>
                    </a:lnTo>
                    <a:lnTo>
                      <a:pt x="162" y="60"/>
                    </a:lnTo>
                    <a:lnTo>
                      <a:pt x="159" y="60"/>
                    </a:lnTo>
                    <a:lnTo>
                      <a:pt x="159" y="63"/>
                    </a:lnTo>
                    <a:lnTo>
                      <a:pt x="159" y="64"/>
                    </a:lnTo>
                    <a:lnTo>
                      <a:pt x="164" y="67"/>
                    </a:lnTo>
                    <a:lnTo>
                      <a:pt x="165" y="70"/>
                    </a:lnTo>
                    <a:lnTo>
                      <a:pt x="165" y="72"/>
                    </a:lnTo>
                    <a:lnTo>
                      <a:pt x="166" y="73"/>
                    </a:lnTo>
                    <a:lnTo>
                      <a:pt x="165" y="74"/>
                    </a:lnTo>
                    <a:lnTo>
                      <a:pt x="162" y="76"/>
                    </a:lnTo>
                    <a:lnTo>
                      <a:pt x="161" y="77"/>
                    </a:lnTo>
                    <a:lnTo>
                      <a:pt x="155" y="79"/>
                    </a:lnTo>
                    <a:lnTo>
                      <a:pt x="154" y="79"/>
                    </a:lnTo>
                    <a:lnTo>
                      <a:pt x="152" y="80"/>
                    </a:lnTo>
                    <a:lnTo>
                      <a:pt x="152" y="83"/>
                    </a:lnTo>
                    <a:lnTo>
                      <a:pt x="151" y="86"/>
                    </a:lnTo>
                    <a:lnTo>
                      <a:pt x="151" y="87"/>
                    </a:lnTo>
                    <a:lnTo>
                      <a:pt x="149" y="90"/>
                    </a:lnTo>
                    <a:lnTo>
                      <a:pt x="149" y="92"/>
                    </a:lnTo>
                    <a:lnTo>
                      <a:pt x="148" y="93"/>
                    </a:lnTo>
                    <a:lnTo>
                      <a:pt x="148" y="99"/>
                    </a:lnTo>
                    <a:lnTo>
                      <a:pt x="148" y="100"/>
                    </a:lnTo>
                    <a:lnTo>
                      <a:pt x="146" y="103"/>
                    </a:lnTo>
                    <a:lnTo>
                      <a:pt x="145" y="105"/>
                    </a:lnTo>
                    <a:lnTo>
                      <a:pt x="143" y="106"/>
                    </a:lnTo>
                    <a:lnTo>
                      <a:pt x="142" y="106"/>
                    </a:lnTo>
                    <a:lnTo>
                      <a:pt x="141" y="106"/>
                    </a:lnTo>
                    <a:lnTo>
                      <a:pt x="139" y="106"/>
                    </a:lnTo>
                    <a:lnTo>
                      <a:pt x="139" y="105"/>
                    </a:lnTo>
                    <a:lnTo>
                      <a:pt x="139" y="105"/>
                    </a:lnTo>
                    <a:lnTo>
                      <a:pt x="138" y="103"/>
                    </a:lnTo>
                    <a:lnTo>
                      <a:pt x="136" y="103"/>
                    </a:lnTo>
                    <a:lnTo>
                      <a:pt x="133" y="103"/>
                    </a:lnTo>
                    <a:lnTo>
                      <a:pt x="132" y="103"/>
                    </a:lnTo>
                    <a:lnTo>
                      <a:pt x="129" y="103"/>
                    </a:lnTo>
                    <a:lnTo>
                      <a:pt x="128" y="103"/>
                    </a:lnTo>
                    <a:lnTo>
                      <a:pt x="122" y="107"/>
                    </a:lnTo>
                    <a:lnTo>
                      <a:pt x="120" y="107"/>
                    </a:lnTo>
                    <a:lnTo>
                      <a:pt x="120" y="109"/>
                    </a:lnTo>
                    <a:lnTo>
                      <a:pt x="119" y="109"/>
                    </a:lnTo>
                    <a:lnTo>
                      <a:pt x="119" y="109"/>
                    </a:lnTo>
                    <a:lnTo>
                      <a:pt x="119" y="110"/>
                    </a:lnTo>
                    <a:lnTo>
                      <a:pt x="120" y="110"/>
                    </a:lnTo>
                    <a:lnTo>
                      <a:pt x="122" y="112"/>
                    </a:lnTo>
                    <a:lnTo>
                      <a:pt x="120" y="112"/>
                    </a:lnTo>
                    <a:lnTo>
                      <a:pt x="119" y="113"/>
                    </a:lnTo>
                    <a:lnTo>
                      <a:pt x="116" y="113"/>
                    </a:lnTo>
                    <a:lnTo>
                      <a:pt x="115" y="115"/>
                    </a:lnTo>
                    <a:lnTo>
                      <a:pt x="112" y="113"/>
                    </a:lnTo>
                    <a:lnTo>
                      <a:pt x="109" y="113"/>
                    </a:lnTo>
                    <a:lnTo>
                      <a:pt x="108" y="113"/>
                    </a:lnTo>
                    <a:lnTo>
                      <a:pt x="105" y="113"/>
                    </a:lnTo>
                    <a:lnTo>
                      <a:pt x="103" y="115"/>
                    </a:lnTo>
                    <a:lnTo>
                      <a:pt x="99" y="120"/>
                    </a:lnTo>
                    <a:lnTo>
                      <a:pt x="98" y="122"/>
                    </a:lnTo>
                    <a:lnTo>
                      <a:pt x="96" y="123"/>
                    </a:lnTo>
                    <a:lnTo>
                      <a:pt x="95" y="136"/>
                    </a:lnTo>
                    <a:lnTo>
                      <a:pt x="96" y="136"/>
                    </a:lnTo>
                    <a:lnTo>
                      <a:pt x="96" y="138"/>
                    </a:lnTo>
                    <a:lnTo>
                      <a:pt x="96" y="138"/>
                    </a:lnTo>
                    <a:lnTo>
                      <a:pt x="96" y="139"/>
                    </a:lnTo>
                    <a:lnTo>
                      <a:pt x="95" y="141"/>
                    </a:lnTo>
                    <a:lnTo>
                      <a:pt x="95" y="141"/>
                    </a:lnTo>
                    <a:lnTo>
                      <a:pt x="90" y="142"/>
                    </a:lnTo>
                    <a:lnTo>
                      <a:pt x="77" y="145"/>
                    </a:lnTo>
                    <a:lnTo>
                      <a:pt x="67" y="145"/>
                    </a:lnTo>
                    <a:lnTo>
                      <a:pt x="63" y="146"/>
                    </a:lnTo>
                    <a:lnTo>
                      <a:pt x="62" y="146"/>
                    </a:lnTo>
                    <a:lnTo>
                      <a:pt x="59" y="148"/>
                    </a:lnTo>
                    <a:lnTo>
                      <a:pt x="59" y="148"/>
                    </a:lnTo>
                    <a:lnTo>
                      <a:pt x="57" y="148"/>
                    </a:lnTo>
                    <a:lnTo>
                      <a:pt x="49" y="148"/>
                    </a:lnTo>
                    <a:lnTo>
                      <a:pt x="46" y="148"/>
                    </a:lnTo>
                    <a:lnTo>
                      <a:pt x="34" y="148"/>
                    </a:lnTo>
                    <a:lnTo>
                      <a:pt x="29" y="148"/>
                    </a:lnTo>
                    <a:lnTo>
                      <a:pt x="21" y="146"/>
                    </a:lnTo>
                    <a:lnTo>
                      <a:pt x="0" y="141"/>
                    </a:lnTo>
                    <a:lnTo>
                      <a:pt x="6" y="146"/>
                    </a:lnTo>
                    <a:lnTo>
                      <a:pt x="8" y="151"/>
                    </a:lnTo>
                    <a:lnTo>
                      <a:pt x="13" y="158"/>
                    </a:lnTo>
                    <a:lnTo>
                      <a:pt x="14" y="161"/>
                    </a:lnTo>
                    <a:lnTo>
                      <a:pt x="17" y="164"/>
                    </a:lnTo>
                    <a:lnTo>
                      <a:pt x="21" y="166"/>
                    </a:lnTo>
                    <a:lnTo>
                      <a:pt x="27" y="168"/>
                    </a:lnTo>
                    <a:lnTo>
                      <a:pt x="29" y="169"/>
                    </a:lnTo>
                    <a:lnTo>
                      <a:pt x="30" y="169"/>
                    </a:lnTo>
                    <a:lnTo>
                      <a:pt x="31" y="171"/>
                    </a:lnTo>
                    <a:lnTo>
                      <a:pt x="31" y="171"/>
                    </a:lnTo>
                    <a:lnTo>
                      <a:pt x="33" y="171"/>
                    </a:lnTo>
                    <a:lnTo>
                      <a:pt x="34" y="171"/>
                    </a:lnTo>
                    <a:lnTo>
                      <a:pt x="34" y="172"/>
                    </a:lnTo>
                    <a:lnTo>
                      <a:pt x="34" y="176"/>
                    </a:lnTo>
                    <a:lnTo>
                      <a:pt x="34" y="184"/>
                    </a:lnTo>
                    <a:lnTo>
                      <a:pt x="34" y="185"/>
                    </a:lnTo>
                    <a:lnTo>
                      <a:pt x="34" y="189"/>
                    </a:lnTo>
                    <a:lnTo>
                      <a:pt x="34" y="191"/>
                    </a:lnTo>
                    <a:lnTo>
                      <a:pt x="36" y="191"/>
                    </a:lnTo>
                    <a:lnTo>
                      <a:pt x="39" y="191"/>
                    </a:lnTo>
                    <a:lnTo>
                      <a:pt x="42" y="192"/>
                    </a:lnTo>
                    <a:lnTo>
                      <a:pt x="43" y="194"/>
                    </a:lnTo>
                    <a:lnTo>
                      <a:pt x="43" y="195"/>
                    </a:lnTo>
                    <a:lnTo>
                      <a:pt x="43" y="198"/>
                    </a:lnTo>
                    <a:lnTo>
                      <a:pt x="42" y="201"/>
                    </a:lnTo>
                    <a:lnTo>
                      <a:pt x="40" y="202"/>
                    </a:lnTo>
                    <a:lnTo>
                      <a:pt x="33" y="204"/>
                    </a:lnTo>
                    <a:lnTo>
                      <a:pt x="30" y="204"/>
                    </a:lnTo>
                    <a:lnTo>
                      <a:pt x="29" y="205"/>
                    </a:lnTo>
                    <a:lnTo>
                      <a:pt x="27" y="205"/>
                    </a:lnTo>
                    <a:lnTo>
                      <a:pt x="26" y="205"/>
                    </a:lnTo>
                    <a:lnTo>
                      <a:pt x="26" y="207"/>
                    </a:lnTo>
                    <a:lnTo>
                      <a:pt x="26" y="208"/>
                    </a:lnTo>
                    <a:lnTo>
                      <a:pt x="24" y="208"/>
                    </a:lnTo>
                    <a:lnTo>
                      <a:pt x="24" y="208"/>
                    </a:lnTo>
                    <a:lnTo>
                      <a:pt x="23" y="208"/>
                    </a:lnTo>
                    <a:lnTo>
                      <a:pt x="20" y="211"/>
                    </a:lnTo>
                    <a:lnTo>
                      <a:pt x="19" y="212"/>
                    </a:lnTo>
                    <a:lnTo>
                      <a:pt x="17" y="214"/>
                    </a:lnTo>
                    <a:lnTo>
                      <a:pt x="17" y="218"/>
                    </a:lnTo>
                    <a:lnTo>
                      <a:pt x="16" y="220"/>
                    </a:lnTo>
                    <a:lnTo>
                      <a:pt x="14" y="222"/>
                    </a:lnTo>
                    <a:lnTo>
                      <a:pt x="14" y="224"/>
                    </a:lnTo>
                    <a:lnTo>
                      <a:pt x="14" y="230"/>
                    </a:lnTo>
                    <a:lnTo>
                      <a:pt x="13" y="231"/>
                    </a:lnTo>
                    <a:lnTo>
                      <a:pt x="16" y="233"/>
                    </a:lnTo>
                    <a:lnTo>
                      <a:pt x="17" y="233"/>
                    </a:lnTo>
                    <a:lnTo>
                      <a:pt x="23" y="231"/>
                    </a:lnTo>
                    <a:lnTo>
                      <a:pt x="27" y="231"/>
                    </a:lnTo>
                    <a:lnTo>
                      <a:pt x="29" y="231"/>
                    </a:lnTo>
                    <a:lnTo>
                      <a:pt x="29" y="231"/>
                    </a:lnTo>
                    <a:lnTo>
                      <a:pt x="31" y="230"/>
                    </a:lnTo>
                    <a:lnTo>
                      <a:pt x="31" y="230"/>
                    </a:lnTo>
                    <a:lnTo>
                      <a:pt x="33" y="230"/>
                    </a:lnTo>
                    <a:lnTo>
                      <a:pt x="37" y="231"/>
                    </a:lnTo>
                    <a:lnTo>
                      <a:pt x="47" y="231"/>
                    </a:lnTo>
                    <a:lnTo>
                      <a:pt x="47" y="230"/>
                    </a:lnTo>
                    <a:lnTo>
                      <a:pt x="49" y="228"/>
                    </a:lnTo>
                    <a:lnTo>
                      <a:pt x="50" y="228"/>
                    </a:lnTo>
                    <a:lnTo>
                      <a:pt x="57" y="228"/>
                    </a:lnTo>
                    <a:lnTo>
                      <a:pt x="57" y="228"/>
                    </a:lnTo>
                    <a:lnTo>
                      <a:pt x="59" y="228"/>
                    </a:lnTo>
                    <a:lnTo>
                      <a:pt x="63" y="230"/>
                    </a:lnTo>
                    <a:lnTo>
                      <a:pt x="64" y="230"/>
                    </a:lnTo>
                    <a:lnTo>
                      <a:pt x="64" y="230"/>
                    </a:lnTo>
                    <a:lnTo>
                      <a:pt x="66" y="231"/>
                    </a:lnTo>
                    <a:lnTo>
                      <a:pt x="66" y="231"/>
                    </a:lnTo>
                    <a:lnTo>
                      <a:pt x="67" y="231"/>
                    </a:lnTo>
                    <a:lnTo>
                      <a:pt x="69" y="230"/>
                    </a:lnTo>
                    <a:lnTo>
                      <a:pt x="69" y="230"/>
                    </a:lnTo>
                    <a:lnTo>
                      <a:pt x="73" y="228"/>
                    </a:lnTo>
                    <a:lnTo>
                      <a:pt x="86" y="228"/>
                    </a:lnTo>
                    <a:lnTo>
                      <a:pt x="96" y="227"/>
                    </a:lnTo>
                    <a:lnTo>
                      <a:pt x="99" y="227"/>
                    </a:lnTo>
                    <a:lnTo>
                      <a:pt x="98" y="225"/>
                    </a:lnTo>
                    <a:lnTo>
                      <a:pt x="96" y="225"/>
                    </a:lnTo>
                    <a:lnTo>
                      <a:pt x="95" y="225"/>
                    </a:lnTo>
                    <a:lnTo>
                      <a:pt x="93" y="225"/>
                    </a:lnTo>
                    <a:lnTo>
                      <a:pt x="96" y="222"/>
                    </a:lnTo>
                    <a:lnTo>
                      <a:pt x="99" y="224"/>
                    </a:lnTo>
                    <a:lnTo>
                      <a:pt x="100" y="227"/>
                    </a:lnTo>
                    <a:lnTo>
                      <a:pt x="103" y="230"/>
                    </a:lnTo>
                    <a:lnTo>
                      <a:pt x="103" y="231"/>
                    </a:lnTo>
                    <a:lnTo>
                      <a:pt x="103" y="234"/>
                    </a:lnTo>
                    <a:lnTo>
                      <a:pt x="103" y="235"/>
                    </a:lnTo>
                    <a:lnTo>
                      <a:pt x="103" y="237"/>
                    </a:lnTo>
                    <a:lnTo>
                      <a:pt x="105" y="238"/>
                    </a:lnTo>
                    <a:lnTo>
                      <a:pt x="106" y="238"/>
                    </a:lnTo>
                    <a:lnTo>
                      <a:pt x="109" y="238"/>
                    </a:lnTo>
                    <a:lnTo>
                      <a:pt x="112" y="241"/>
                    </a:lnTo>
                    <a:lnTo>
                      <a:pt x="112" y="243"/>
                    </a:lnTo>
                    <a:lnTo>
                      <a:pt x="113" y="247"/>
                    </a:lnTo>
                    <a:lnTo>
                      <a:pt x="113" y="250"/>
                    </a:lnTo>
                    <a:lnTo>
                      <a:pt x="115" y="253"/>
                    </a:lnTo>
                    <a:lnTo>
                      <a:pt x="116" y="254"/>
                    </a:lnTo>
                    <a:lnTo>
                      <a:pt x="118" y="255"/>
                    </a:lnTo>
                    <a:lnTo>
                      <a:pt x="120" y="255"/>
                    </a:lnTo>
                    <a:lnTo>
                      <a:pt x="120" y="257"/>
                    </a:lnTo>
                    <a:lnTo>
                      <a:pt x="122" y="258"/>
                    </a:lnTo>
                    <a:lnTo>
                      <a:pt x="123" y="257"/>
                    </a:lnTo>
                    <a:lnTo>
                      <a:pt x="123" y="255"/>
                    </a:lnTo>
                    <a:lnTo>
                      <a:pt x="125" y="257"/>
                    </a:lnTo>
                    <a:lnTo>
                      <a:pt x="126" y="257"/>
                    </a:lnTo>
                    <a:lnTo>
                      <a:pt x="128" y="258"/>
                    </a:lnTo>
                    <a:lnTo>
                      <a:pt x="128" y="258"/>
                    </a:lnTo>
                    <a:lnTo>
                      <a:pt x="129" y="258"/>
                    </a:lnTo>
                    <a:lnTo>
                      <a:pt x="129" y="258"/>
                    </a:lnTo>
                    <a:lnTo>
                      <a:pt x="129" y="257"/>
                    </a:lnTo>
                    <a:lnTo>
                      <a:pt x="129" y="257"/>
                    </a:lnTo>
                    <a:lnTo>
                      <a:pt x="131" y="257"/>
                    </a:lnTo>
                    <a:lnTo>
                      <a:pt x="132" y="255"/>
                    </a:lnTo>
                    <a:lnTo>
                      <a:pt x="132" y="255"/>
                    </a:lnTo>
                    <a:lnTo>
                      <a:pt x="133" y="255"/>
                    </a:lnTo>
                    <a:lnTo>
                      <a:pt x="135" y="255"/>
                    </a:lnTo>
                    <a:lnTo>
                      <a:pt x="136" y="255"/>
                    </a:lnTo>
                    <a:lnTo>
                      <a:pt x="136" y="255"/>
                    </a:lnTo>
                    <a:lnTo>
                      <a:pt x="139" y="255"/>
                    </a:lnTo>
                    <a:lnTo>
                      <a:pt x="139" y="251"/>
                    </a:lnTo>
                    <a:lnTo>
                      <a:pt x="139" y="250"/>
                    </a:lnTo>
                    <a:lnTo>
                      <a:pt x="141" y="248"/>
                    </a:lnTo>
                    <a:lnTo>
                      <a:pt x="141" y="248"/>
                    </a:lnTo>
                    <a:lnTo>
                      <a:pt x="141" y="248"/>
                    </a:lnTo>
                    <a:lnTo>
                      <a:pt x="141" y="248"/>
                    </a:lnTo>
                    <a:lnTo>
                      <a:pt x="141" y="250"/>
                    </a:lnTo>
                    <a:lnTo>
                      <a:pt x="142" y="248"/>
                    </a:lnTo>
                    <a:lnTo>
                      <a:pt x="142" y="248"/>
                    </a:lnTo>
                    <a:lnTo>
                      <a:pt x="143" y="248"/>
                    </a:lnTo>
                    <a:lnTo>
                      <a:pt x="143" y="250"/>
                    </a:lnTo>
                    <a:lnTo>
                      <a:pt x="145" y="248"/>
                    </a:lnTo>
                    <a:lnTo>
                      <a:pt x="146" y="250"/>
                    </a:lnTo>
                    <a:lnTo>
                      <a:pt x="148" y="250"/>
                    </a:lnTo>
                    <a:lnTo>
                      <a:pt x="154" y="250"/>
                    </a:lnTo>
                    <a:lnTo>
                      <a:pt x="156" y="251"/>
                    </a:lnTo>
                    <a:lnTo>
                      <a:pt x="158" y="251"/>
                    </a:lnTo>
                    <a:lnTo>
                      <a:pt x="161" y="251"/>
                    </a:lnTo>
                    <a:lnTo>
                      <a:pt x="161" y="251"/>
                    </a:lnTo>
                    <a:lnTo>
                      <a:pt x="162" y="251"/>
                    </a:lnTo>
                    <a:lnTo>
                      <a:pt x="162" y="250"/>
                    </a:lnTo>
                    <a:lnTo>
                      <a:pt x="162" y="250"/>
                    </a:lnTo>
                    <a:lnTo>
                      <a:pt x="164" y="250"/>
                    </a:lnTo>
                    <a:lnTo>
                      <a:pt x="164" y="248"/>
                    </a:lnTo>
                    <a:lnTo>
                      <a:pt x="164" y="248"/>
                    </a:lnTo>
                    <a:lnTo>
                      <a:pt x="165" y="248"/>
                    </a:lnTo>
                    <a:lnTo>
                      <a:pt x="166" y="247"/>
                    </a:lnTo>
                    <a:lnTo>
                      <a:pt x="171" y="247"/>
                    </a:lnTo>
                    <a:lnTo>
                      <a:pt x="171" y="247"/>
                    </a:lnTo>
                    <a:lnTo>
                      <a:pt x="171" y="247"/>
                    </a:lnTo>
                    <a:lnTo>
                      <a:pt x="171" y="247"/>
                    </a:lnTo>
                    <a:lnTo>
                      <a:pt x="171" y="247"/>
                    </a:lnTo>
                    <a:lnTo>
                      <a:pt x="171" y="248"/>
                    </a:lnTo>
                    <a:lnTo>
                      <a:pt x="171" y="248"/>
                    </a:lnTo>
                    <a:lnTo>
                      <a:pt x="171" y="248"/>
                    </a:lnTo>
                    <a:lnTo>
                      <a:pt x="171" y="248"/>
                    </a:lnTo>
                    <a:lnTo>
                      <a:pt x="172" y="248"/>
                    </a:lnTo>
                    <a:lnTo>
                      <a:pt x="172" y="250"/>
                    </a:lnTo>
                    <a:lnTo>
                      <a:pt x="172" y="250"/>
                    </a:lnTo>
                    <a:lnTo>
                      <a:pt x="172" y="250"/>
                    </a:lnTo>
                    <a:lnTo>
                      <a:pt x="172" y="250"/>
                    </a:lnTo>
                    <a:lnTo>
                      <a:pt x="174" y="250"/>
                    </a:lnTo>
                    <a:lnTo>
                      <a:pt x="174" y="250"/>
                    </a:lnTo>
                    <a:lnTo>
                      <a:pt x="174" y="250"/>
                    </a:lnTo>
                    <a:lnTo>
                      <a:pt x="175" y="250"/>
                    </a:lnTo>
                    <a:lnTo>
                      <a:pt x="175" y="250"/>
                    </a:lnTo>
                    <a:lnTo>
                      <a:pt x="175" y="250"/>
                    </a:lnTo>
                    <a:lnTo>
                      <a:pt x="175" y="250"/>
                    </a:lnTo>
                    <a:lnTo>
                      <a:pt x="177" y="248"/>
                    </a:lnTo>
                    <a:lnTo>
                      <a:pt x="177" y="248"/>
                    </a:lnTo>
                    <a:lnTo>
                      <a:pt x="177" y="248"/>
                    </a:lnTo>
                    <a:lnTo>
                      <a:pt x="178" y="247"/>
                    </a:lnTo>
                    <a:lnTo>
                      <a:pt x="178" y="247"/>
                    </a:lnTo>
                    <a:lnTo>
                      <a:pt x="179" y="247"/>
                    </a:lnTo>
                    <a:lnTo>
                      <a:pt x="179" y="247"/>
                    </a:lnTo>
                    <a:lnTo>
                      <a:pt x="179" y="247"/>
                    </a:lnTo>
                    <a:lnTo>
                      <a:pt x="179" y="247"/>
                    </a:lnTo>
                    <a:lnTo>
                      <a:pt x="179" y="247"/>
                    </a:lnTo>
                    <a:lnTo>
                      <a:pt x="179" y="247"/>
                    </a:lnTo>
                    <a:lnTo>
                      <a:pt x="179" y="245"/>
                    </a:lnTo>
                    <a:lnTo>
                      <a:pt x="179" y="245"/>
                    </a:lnTo>
                    <a:lnTo>
                      <a:pt x="179" y="245"/>
                    </a:lnTo>
                    <a:lnTo>
                      <a:pt x="179" y="245"/>
                    </a:lnTo>
                    <a:lnTo>
                      <a:pt x="179" y="245"/>
                    </a:lnTo>
                    <a:lnTo>
                      <a:pt x="179" y="245"/>
                    </a:lnTo>
                    <a:lnTo>
                      <a:pt x="179" y="245"/>
                    </a:lnTo>
                    <a:lnTo>
                      <a:pt x="178" y="245"/>
                    </a:lnTo>
                    <a:lnTo>
                      <a:pt x="178" y="243"/>
                    </a:lnTo>
                    <a:lnTo>
                      <a:pt x="179" y="243"/>
                    </a:lnTo>
                    <a:lnTo>
                      <a:pt x="179" y="241"/>
                    </a:lnTo>
                    <a:lnTo>
                      <a:pt x="179" y="241"/>
                    </a:lnTo>
                    <a:lnTo>
                      <a:pt x="179" y="241"/>
                    </a:lnTo>
                    <a:lnTo>
                      <a:pt x="179" y="240"/>
                    </a:lnTo>
                    <a:lnTo>
                      <a:pt x="179" y="238"/>
                    </a:lnTo>
                    <a:lnTo>
                      <a:pt x="178" y="235"/>
                    </a:lnTo>
                    <a:lnTo>
                      <a:pt x="177" y="234"/>
                    </a:lnTo>
                    <a:lnTo>
                      <a:pt x="177" y="233"/>
                    </a:lnTo>
                    <a:lnTo>
                      <a:pt x="175" y="230"/>
                    </a:lnTo>
                    <a:lnTo>
                      <a:pt x="174" y="228"/>
                    </a:lnTo>
                    <a:lnTo>
                      <a:pt x="174" y="228"/>
                    </a:lnTo>
                    <a:lnTo>
                      <a:pt x="174" y="227"/>
                    </a:lnTo>
                    <a:lnTo>
                      <a:pt x="172" y="225"/>
                    </a:lnTo>
                    <a:lnTo>
                      <a:pt x="172" y="225"/>
                    </a:lnTo>
                    <a:lnTo>
                      <a:pt x="174" y="224"/>
                    </a:lnTo>
                    <a:lnTo>
                      <a:pt x="172" y="222"/>
                    </a:lnTo>
                    <a:lnTo>
                      <a:pt x="172" y="222"/>
                    </a:lnTo>
                    <a:lnTo>
                      <a:pt x="172" y="221"/>
                    </a:lnTo>
                    <a:lnTo>
                      <a:pt x="171" y="221"/>
                    </a:lnTo>
                    <a:lnTo>
                      <a:pt x="171" y="221"/>
                    </a:lnTo>
                    <a:lnTo>
                      <a:pt x="171" y="221"/>
                    </a:lnTo>
                    <a:lnTo>
                      <a:pt x="169" y="221"/>
                    </a:lnTo>
                    <a:lnTo>
                      <a:pt x="169" y="221"/>
                    </a:lnTo>
                    <a:lnTo>
                      <a:pt x="169" y="221"/>
                    </a:lnTo>
                    <a:lnTo>
                      <a:pt x="169" y="221"/>
                    </a:lnTo>
                    <a:lnTo>
                      <a:pt x="168" y="222"/>
                    </a:lnTo>
                    <a:lnTo>
                      <a:pt x="168" y="221"/>
                    </a:lnTo>
                    <a:lnTo>
                      <a:pt x="168" y="221"/>
                    </a:lnTo>
                    <a:lnTo>
                      <a:pt x="166" y="221"/>
                    </a:lnTo>
                    <a:lnTo>
                      <a:pt x="166" y="221"/>
                    </a:lnTo>
                    <a:lnTo>
                      <a:pt x="165" y="221"/>
                    </a:lnTo>
                    <a:lnTo>
                      <a:pt x="165" y="220"/>
                    </a:lnTo>
                    <a:lnTo>
                      <a:pt x="165" y="220"/>
                    </a:lnTo>
                    <a:lnTo>
                      <a:pt x="164" y="217"/>
                    </a:lnTo>
                    <a:lnTo>
                      <a:pt x="164" y="217"/>
                    </a:lnTo>
                    <a:lnTo>
                      <a:pt x="162" y="217"/>
                    </a:lnTo>
                    <a:lnTo>
                      <a:pt x="162" y="215"/>
                    </a:lnTo>
                    <a:lnTo>
                      <a:pt x="162" y="215"/>
                    </a:lnTo>
                    <a:lnTo>
                      <a:pt x="162" y="214"/>
                    </a:lnTo>
                    <a:lnTo>
                      <a:pt x="162" y="214"/>
                    </a:lnTo>
                    <a:lnTo>
                      <a:pt x="164" y="214"/>
                    </a:lnTo>
                    <a:lnTo>
                      <a:pt x="164" y="212"/>
                    </a:lnTo>
                    <a:lnTo>
                      <a:pt x="164" y="212"/>
                    </a:lnTo>
                    <a:lnTo>
                      <a:pt x="164" y="211"/>
                    </a:lnTo>
                    <a:lnTo>
                      <a:pt x="164" y="211"/>
                    </a:lnTo>
                    <a:lnTo>
                      <a:pt x="164" y="210"/>
                    </a:lnTo>
                    <a:lnTo>
                      <a:pt x="164" y="208"/>
                    </a:lnTo>
                    <a:lnTo>
                      <a:pt x="164" y="207"/>
                    </a:lnTo>
                    <a:lnTo>
                      <a:pt x="164" y="205"/>
                    </a:lnTo>
                    <a:lnTo>
                      <a:pt x="164" y="205"/>
                    </a:lnTo>
                    <a:lnTo>
                      <a:pt x="164" y="205"/>
                    </a:lnTo>
                    <a:lnTo>
                      <a:pt x="164" y="204"/>
                    </a:lnTo>
                    <a:lnTo>
                      <a:pt x="162" y="204"/>
                    </a:lnTo>
                    <a:lnTo>
                      <a:pt x="161" y="204"/>
                    </a:lnTo>
                    <a:lnTo>
                      <a:pt x="161" y="204"/>
                    </a:lnTo>
                    <a:lnTo>
                      <a:pt x="159" y="204"/>
                    </a:lnTo>
                    <a:lnTo>
                      <a:pt x="159" y="204"/>
                    </a:lnTo>
                    <a:lnTo>
                      <a:pt x="158" y="204"/>
                    </a:lnTo>
                    <a:lnTo>
                      <a:pt x="158" y="204"/>
                    </a:lnTo>
                    <a:lnTo>
                      <a:pt x="156" y="204"/>
                    </a:lnTo>
                    <a:lnTo>
                      <a:pt x="156" y="202"/>
                    </a:lnTo>
                    <a:lnTo>
                      <a:pt x="155" y="202"/>
                    </a:lnTo>
                    <a:lnTo>
                      <a:pt x="154" y="201"/>
                    </a:lnTo>
                    <a:lnTo>
                      <a:pt x="154" y="201"/>
                    </a:lnTo>
                    <a:lnTo>
                      <a:pt x="152" y="201"/>
                    </a:lnTo>
                    <a:lnTo>
                      <a:pt x="152" y="199"/>
                    </a:lnTo>
                    <a:lnTo>
                      <a:pt x="152" y="197"/>
                    </a:lnTo>
                    <a:lnTo>
                      <a:pt x="152" y="195"/>
                    </a:lnTo>
                    <a:lnTo>
                      <a:pt x="154" y="194"/>
                    </a:lnTo>
                    <a:lnTo>
                      <a:pt x="154" y="192"/>
                    </a:lnTo>
                    <a:lnTo>
                      <a:pt x="155" y="191"/>
                    </a:lnTo>
                    <a:lnTo>
                      <a:pt x="155" y="191"/>
                    </a:lnTo>
                    <a:lnTo>
                      <a:pt x="156" y="189"/>
                    </a:lnTo>
                    <a:lnTo>
                      <a:pt x="156" y="189"/>
                    </a:lnTo>
                    <a:lnTo>
                      <a:pt x="159" y="187"/>
                    </a:lnTo>
                    <a:lnTo>
                      <a:pt x="162" y="182"/>
                    </a:lnTo>
                    <a:lnTo>
                      <a:pt x="164" y="179"/>
                    </a:lnTo>
                    <a:lnTo>
                      <a:pt x="165" y="178"/>
                    </a:lnTo>
                    <a:lnTo>
                      <a:pt x="165" y="178"/>
                    </a:lnTo>
                    <a:lnTo>
                      <a:pt x="166" y="176"/>
                    </a:lnTo>
                    <a:lnTo>
                      <a:pt x="168" y="175"/>
                    </a:lnTo>
                    <a:lnTo>
                      <a:pt x="171" y="175"/>
                    </a:lnTo>
                    <a:lnTo>
                      <a:pt x="172" y="176"/>
                    </a:lnTo>
                    <a:lnTo>
                      <a:pt x="172" y="178"/>
                    </a:lnTo>
                    <a:lnTo>
                      <a:pt x="172" y="179"/>
                    </a:lnTo>
                    <a:lnTo>
                      <a:pt x="174" y="179"/>
                    </a:lnTo>
                    <a:lnTo>
                      <a:pt x="174" y="181"/>
                    </a:lnTo>
                    <a:lnTo>
                      <a:pt x="174" y="181"/>
                    </a:lnTo>
                    <a:lnTo>
                      <a:pt x="174" y="181"/>
                    </a:lnTo>
                    <a:lnTo>
                      <a:pt x="175" y="182"/>
                    </a:lnTo>
                    <a:lnTo>
                      <a:pt x="175" y="182"/>
                    </a:lnTo>
                    <a:lnTo>
                      <a:pt x="177" y="182"/>
                    </a:lnTo>
                    <a:lnTo>
                      <a:pt x="177" y="182"/>
                    </a:lnTo>
                    <a:lnTo>
                      <a:pt x="179" y="181"/>
                    </a:lnTo>
                    <a:lnTo>
                      <a:pt x="181" y="179"/>
                    </a:lnTo>
                    <a:lnTo>
                      <a:pt x="184" y="179"/>
                    </a:lnTo>
                    <a:lnTo>
                      <a:pt x="185" y="179"/>
                    </a:lnTo>
                    <a:lnTo>
                      <a:pt x="187" y="179"/>
                    </a:lnTo>
                    <a:lnTo>
                      <a:pt x="187" y="179"/>
                    </a:lnTo>
                    <a:lnTo>
                      <a:pt x="188" y="178"/>
                    </a:lnTo>
                    <a:lnTo>
                      <a:pt x="189" y="178"/>
                    </a:lnTo>
                    <a:lnTo>
                      <a:pt x="189" y="178"/>
                    </a:lnTo>
                    <a:lnTo>
                      <a:pt x="194" y="176"/>
                    </a:lnTo>
                    <a:lnTo>
                      <a:pt x="194" y="176"/>
                    </a:lnTo>
                    <a:lnTo>
                      <a:pt x="195" y="175"/>
                    </a:lnTo>
                    <a:lnTo>
                      <a:pt x="195" y="175"/>
                    </a:lnTo>
                    <a:lnTo>
                      <a:pt x="195" y="174"/>
                    </a:lnTo>
                    <a:lnTo>
                      <a:pt x="195" y="174"/>
                    </a:lnTo>
                    <a:lnTo>
                      <a:pt x="195" y="174"/>
                    </a:lnTo>
                    <a:lnTo>
                      <a:pt x="197" y="172"/>
                    </a:lnTo>
                    <a:lnTo>
                      <a:pt x="197" y="171"/>
                    </a:lnTo>
                    <a:lnTo>
                      <a:pt x="197" y="171"/>
                    </a:lnTo>
                    <a:lnTo>
                      <a:pt x="198" y="171"/>
                    </a:lnTo>
                    <a:lnTo>
                      <a:pt x="198" y="169"/>
                    </a:lnTo>
                    <a:lnTo>
                      <a:pt x="199" y="169"/>
                    </a:lnTo>
                    <a:lnTo>
                      <a:pt x="199" y="168"/>
                    </a:lnTo>
                    <a:lnTo>
                      <a:pt x="199" y="168"/>
                    </a:lnTo>
                    <a:lnTo>
                      <a:pt x="199" y="168"/>
                    </a:lnTo>
                    <a:lnTo>
                      <a:pt x="199" y="166"/>
                    </a:lnTo>
                    <a:lnTo>
                      <a:pt x="199" y="166"/>
                    </a:lnTo>
                    <a:lnTo>
                      <a:pt x="202" y="164"/>
                    </a:lnTo>
                    <a:lnTo>
                      <a:pt x="204" y="161"/>
                    </a:lnTo>
                    <a:lnTo>
                      <a:pt x="207" y="159"/>
                    </a:lnTo>
                    <a:lnTo>
                      <a:pt x="210" y="158"/>
                    </a:lnTo>
                    <a:lnTo>
                      <a:pt x="211" y="156"/>
                    </a:lnTo>
                    <a:lnTo>
                      <a:pt x="212" y="156"/>
                    </a:lnTo>
                    <a:lnTo>
                      <a:pt x="212" y="155"/>
                    </a:lnTo>
                    <a:lnTo>
                      <a:pt x="214" y="155"/>
                    </a:lnTo>
                    <a:lnTo>
                      <a:pt x="215" y="152"/>
                    </a:lnTo>
                    <a:lnTo>
                      <a:pt x="217" y="148"/>
                    </a:lnTo>
                    <a:lnTo>
                      <a:pt x="218" y="145"/>
                    </a:lnTo>
                    <a:lnTo>
                      <a:pt x="220" y="141"/>
                    </a:lnTo>
                    <a:lnTo>
                      <a:pt x="221" y="139"/>
                    </a:lnTo>
                    <a:lnTo>
                      <a:pt x="221" y="139"/>
                    </a:lnTo>
                    <a:lnTo>
                      <a:pt x="221" y="138"/>
                    </a:lnTo>
                    <a:lnTo>
                      <a:pt x="222" y="138"/>
                    </a:lnTo>
                    <a:lnTo>
                      <a:pt x="225" y="136"/>
                    </a:lnTo>
                    <a:lnTo>
                      <a:pt x="228" y="135"/>
                    </a:lnTo>
                    <a:lnTo>
                      <a:pt x="230" y="135"/>
                    </a:lnTo>
                    <a:lnTo>
                      <a:pt x="230" y="135"/>
                    </a:lnTo>
                    <a:lnTo>
                      <a:pt x="230" y="133"/>
                    </a:lnTo>
                    <a:lnTo>
                      <a:pt x="231" y="133"/>
                    </a:lnTo>
                    <a:lnTo>
                      <a:pt x="231" y="132"/>
                    </a:lnTo>
                    <a:lnTo>
                      <a:pt x="231" y="132"/>
                    </a:lnTo>
                    <a:lnTo>
                      <a:pt x="230" y="132"/>
                    </a:lnTo>
                    <a:lnTo>
                      <a:pt x="230" y="132"/>
                    </a:lnTo>
                    <a:lnTo>
                      <a:pt x="230" y="130"/>
                    </a:lnTo>
                    <a:lnTo>
                      <a:pt x="230" y="130"/>
                    </a:lnTo>
                    <a:lnTo>
                      <a:pt x="230" y="129"/>
                    </a:lnTo>
                    <a:lnTo>
                      <a:pt x="230" y="129"/>
                    </a:lnTo>
                    <a:lnTo>
                      <a:pt x="231" y="129"/>
                    </a:lnTo>
                    <a:lnTo>
                      <a:pt x="231" y="128"/>
                    </a:lnTo>
                    <a:lnTo>
                      <a:pt x="231" y="128"/>
                    </a:lnTo>
                    <a:lnTo>
                      <a:pt x="233" y="126"/>
                    </a:lnTo>
                    <a:lnTo>
                      <a:pt x="233" y="126"/>
                    </a:lnTo>
                    <a:lnTo>
                      <a:pt x="234" y="125"/>
                    </a:lnTo>
                    <a:lnTo>
                      <a:pt x="235" y="123"/>
                    </a:lnTo>
                    <a:lnTo>
                      <a:pt x="237" y="120"/>
                    </a:lnTo>
                    <a:lnTo>
                      <a:pt x="238" y="120"/>
                    </a:lnTo>
                    <a:lnTo>
                      <a:pt x="238" y="120"/>
                    </a:lnTo>
                    <a:lnTo>
                      <a:pt x="240" y="119"/>
                    </a:lnTo>
                    <a:lnTo>
                      <a:pt x="243" y="118"/>
                    </a:lnTo>
                    <a:lnTo>
                      <a:pt x="243" y="118"/>
                    </a:lnTo>
                    <a:lnTo>
                      <a:pt x="243" y="116"/>
                    </a:lnTo>
                    <a:lnTo>
                      <a:pt x="241" y="116"/>
                    </a:lnTo>
                    <a:lnTo>
                      <a:pt x="241" y="116"/>
                    </a:lnTo>
                    <a:lnTo>
                      <a:pt x="241" y="115"/>
                    </a:lnTo>
                    <a:lnTo>
                      <a:pt x="241" y="115"/>
                    </a:lnTo>
                    <a:lnTo>
                      <a:pt x="241" y="112"/>
                    </a:lnTo>
                    <a:lnTo>
                      <a:pt x="241" y="110"/>
                    </a:lnTo>
                    <a:lnTo>
                      <a:pt x="241" y="107"/>
                    </a:lnTo>
                    <a:lnTo>
                      <a:pt x="241" y="105"/>
                    </a:lnTo>
                    <a:lnTo>
                      <a:pt x="241" y="105"/>
                    </a:lnTo>
                    <a:lnTo>
                      <a:pt x="241" y="103"/>
                    </a:lnTo>
                    <a:lnTo>
                      <a:pt x="241" y="103"/>
                    </a:lnTo>
                    <a:lnTo>
                      <a:pt x="241" y="103"/>
                    </a:lnTo>
                    <a:lnTo>
                      <a:pt x="243" y="102"/>
                    </a:lnTo>
                    <a:lnTo>
                      <a:pt x="244" y="100"/>
                    </a:lnTo>
                    <a:lnTo>
                      <a:pt x="245" y="100"/>
                    </a:lnTo>
                    <a:lnTo>
                      <a:pt x="248" y="99"/>
                    </a:lnTo>
                    <a:lnTo>
                      <a:pt x="250" y="97"/>
                    </a:lnTo>
                    <a:lnTo>
                      <a:pt x="251" y="97"/>
                    </a:lnTo>
                    <a:lnTo>
                      <a:pt x="253" y="97"/>
                    </a:lnTo>
                    <a:lnTo>
                      <a:pt x="254" y="96"/>
                    </a:lnTo>
                    <a:lnTo>
                      <a:pt x="254" y="96"/>
                    </a:lnTo>
                    <a:lnTo>
                      <a:pt x="254" y="96"/>
                    </a:lnTo>
                    <a:lnTo>
                      <a:pt x="255" y="95"/>
                    </a:lnTo>
                    <a:lnTo>
                      <a:pt x="255" y="95"/>
                    </a:lnTo>
                    <a:lnTo>
                      <a:pt x="255" y="93"/>
                    </a:lnTo>
                    <a:lnTo>
                      <a:pt x="254" y="93"/>
                    </a:lnTo>
                    <a:lnTo>
                      <a:pt x="254" y="92"/>
                    </a:lnTo>
                    <a:lnTo>
                      <a:pt x="251" y="92"/>
                    </a:lnTo>
                    <a:lnTo>
                      <a:pt x="248" y="90"/>
                    </a:lnTo>
                    <a:lnTo>
                      <a:pt x="247" y="90"/>
                    </a:lnTo>
                    <a:lnTo>
                      <a:pt x="244" y="90"/>
                    </a:lnTo>
                    <a:lnTo>
                      <a:pt x="243" y="87"/>
                    </a:lnTo>
                    <a:lnTo>
                      <a:pt x="243" y="86"/>
                    </a:lnTo>
                    <a:lnTo>
                      <a:pt x="244" y="84"/>
                    </a:lnTo>
                    <a:lnTo>
                      <a:pt x="243" y="84"/>
                    </a:lnTo>
                    <a:lnTo>
                      <a:pt x="243" y="84"/>
                    </a:lnTo>
                    <a:lnTo>
                      <a:pt x="241" y="84"/>
                    </a:lnTo>
                    <a:lnTo>
                      <a:pt x="240" y="84"/>
                    </a:lnTo>
                    <a:lnTo>
                      <a:pt x="238" y="84"/>
                    </a:lnTo>
                    <a:lnTo>
                      <a:pt x="238" y="84"/>
                    </a:lnTo>
                    <a:lnTo>
                      <a:pt x="237" y="84"/>
                    </a:lnTo>
                    <a:lnTo>
                      <a:pt x="237" y="83"/>
                    </a:lnTo>
                    <a:lnTo>
                      <a:pt x="237" y="82"/>
                    </a:lnTo>
                    <a:lnTo>
                      <a:pt x="237" y="82"/>
                    </a:lnTo>
                    <a:lnTo>
                      <a:pt x="237" y="80"/>
                    </a:lnTo>
                    <a:lnTo>
                      <a:pt x="237" y="80"/>
                    </a:lnTo>
                    <a:lnTo>
                      <a:pt x="235" y="80"/>
                    </a:lnTo>
                    <a:lnTo>
                      <a:pt x="234" y="79"/>
                    </a:lnTo>
                    <a:lnTo>
                      <a:pt x="234" y="79"/>
                    </a:lnTo>
                    <a:lnTo>
                      <a:pt x="233" y="77"/>
                    </a:lnTo>
                    <a:lnTo>
                      <a:pt x="231" y="76"/>
                    </a:lnTo>
                    <a:lnTo>
                      <a:pt x="233" y="74"/>
                    </a:lnTo>
                    <a:lnTo>
                      <a:pt x="233" y="73"/>
                    </a:lnTo>
                    <a:lnTo>
                      <a:pt x="234" y="73"/>
                    </a:lnTo>
                    <a:lnTo>
                      <a:pt x="234" y="72"/>
                    </a:lnTo>
                    <a:lnTo>
                      <a:pt x="234" y="70"/>
                    </a:lnTo>
                    <a:lnTo>
                      <a:pt x="234" y="69"/>
                    </a:lnTo>
                    <a:lnTo>
                      <a:pt x="231" y="67"/>
                    </a:lnTo>
                    <a:lnTo>
                      <a:pt x="231" y="66"/>
                    </a:lnTo>
                    <a:lnTo>
                      <a:pt x="231" y="64"/>
                    </a:lnTo>
                    <a:lnTo>
                      <a:pt x="233" y="64"/>
                    </a:lnTo>
                    <a:lnTo>
                      <a:pt x="233" y="63"/>
                    </a:lnTo>
                    <a:lnTo>
                      <a:pt x="234" y="63"/>
                    </a:lnTo>
                    <a:lnTo>
                      <a:pt x="235" y="63"/>
                    </a:lnTo>
                    <a:lnTo>
                      <a:pt x="237" y="61"/>
                    </a:lnTo>
                    <a:lnTo>
                      <a:pt x="235" y="60"/>
                    </a:lnTo>
                    <a:lnTo>
                      <a:pt x="234" y="60"/>
                    </a:lnTo>
                    <a:lnTo>
                      <a:pt x="234" y="60"/>
                    </a:lnTo>
                    <a:lnTo>
                      <a:pt x="233" y="60"/>
                    </a:lnTo>
                    <a:lnTo>
                      <a:pt x="233" y="60"/>
                    </a:lnTo>
                    <a:lnTo>
                      <a:pt x="231" y="60"/>
                    </a:lnTo>
                    <a:lnTo>
                      <a:pt x="230" y="59"/>
                    </a:lnTo>
                    <a:lnTo>
                      <a:pt x="230" y="59"/>
                    </a:lnTo>
                    <a:lnTo>
                      <a:pt x="231" y="57"/>
                    </a:lnTo>
                    <a:lnTo>
                      <a:pt x="231" y="56"/>
                    </a:lnTo>
                    <a:lnTo>
                      <a:pt x="231" y="54"/>
                    </a:lnTo>
                    <a:lnTo>
                      <a:pt x="230" y="54"/>
                    </a:lnTo>
                    <a:lnTo>
                      <a:pt x="228" y="53"/>
                    </a:lnTo>
                    <a:lnTo>
                      <a:pt x="228" y="53"/>
                    </a:lnTo>
                    <a:lnTo>
                      <a:pt x="230" y="50"/>
                    </a:lnTo>
                    <a:lnTo>
                      <a:pt x="231" y="47"/>
                    </a:lnTo>
                    <a:lnTo>
                      <a:pt x="234" y="46"/>
                    </a:lnTo>
                    <a:lnTo>
                      <a:pt x="235" y="46"/>
                    </a:lnTo>
                    <a:lnTo>
                      <a:pt x="237" y="44"/>
                    </a:lnTo>
                    <a:lnTo>
                      <a:pt x="241" y="46"/>
                    </a:lnTo>
                    <a:lnTo>
                      <a:pt x="244" y="46"/>
                    </a:lnTo>
                    <a:lnTo>
                      <a:pt x="247" y="47"/>
                    </a:lnTo>
                    <a:lnTo>
                      <a:pt x="248" y="47"/>
                    </a:lnTo>
                    <a:lnTo>
                      <a:pt x="251" y="47"/>
                    </a:lnTo>
                    <a:lnTo>
                      <a:pt x="253" y="47"/>
                    </a:lnTo>
                    <a:lnTo>
                      <a:pt x="254" y="49"/>
                    </a:lnTo>
                    <a:lnTo>
                      <a:pt x="255" y="49"/>
                    </a:lnTo>
                    <a:lnTo>
                      <a:pt x="258" y="50"/>
                    </a:lnTo>
                    <a:lnTo>
                      <a:pt x="261" y="50"/>
                    </a:lnTo>
                    <a:lnTo>
                      <a:pt x="263" y="50"/>
                    </a:lnTo>
                    <a:lnTo>
                      <a:pt x="264" y="49"/>
                    </a:lnTo>
                    <a:lnTo>
                      <a:pt x="266" y="49"/>
                    </a:lnTo>
                    <a:lnTo>
                      <a:pt x="267" y="47"/>
                    </a:lnTo>
                    <a:lnTo>
                      <a:pt x="267" y="47"/>
                    </a:lnTo>
                    <a:lnTo>
                      <a:pt x="270" y="47"/>
                    </a:lnTo>
                    <a:lnTo>
                      <a:pt x="271" y="47"/>
                    </a:lnTo>
                    <a:lnTo>
                      <a:pt x="276" y="46"/>
                    </a:lnTo>
                    <a:lnTo>
                      <a:pt x="276" y="46"/>
                    </a:lnTo>
                    <a:lnTo>
                      <a:pt x="277" y="46"/>
                    </a:lnTo>
                    <a:lnTo>
                      <a:pt x="278" y="46"/>
                    </a:lnTo>
                    <a:lnTo>
                      <a:pt x="278" y="44"/>
                    </a:lnTo>
                    <a:lnTo>
                      <a:pt x="280" y="44"/>
                    </a:lnTo>
                    <a:lnTo>
                      <a:pt x="280" y="43"/>
                    </a:lnTo>
                    <a:lnTo>
                      <a:pt x="280" y="43"/>
                    </a:lnTo>
                    <a:lnTo>
                      <a:pt x="281" y="43"/>
                    </a:lnTo>
                    <a:lnTo>
                      <a:pt x="281" y="41"/>
                    </a:lnTo>
                    <a:lnTo>
                      <a:pt x="283" y="41"/>
                    </a:lnTo>
                    <a:lnTo>
                      <a:pt x="284" y="41"/>
                    </a:lnTo>
                    <a:lnTo>
                      <a:pt x="284" y="40"/>
                    </a:lnTo>
                    <a:lnTo>
                      <a:pt x="284" y="40"/>
                    </a:lnTo>
                    <a:lnTo>
                      <a:pt x="284" y="40"/>
                    </a:lnTo>
                    <a:lnTo>
                      <a:pt x="286" y="38"/>
                    </a:lnTo>
                    <a:lnTo>
                      <a:pt x="286" y="38"/>
                    </a:lnTo>
                    <a:lnTo>
                      <a:pt x="286" y="3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1" name="Freeform 117">
                <a:extLst>
                  <a:ext uri="{FF2B5EF4-FFF2-40B4-BE49-F238E27FC236}">
                    <a16:creationId xmlns:a16="http://schemas.microsoft.com/office/drawing/2014/main" id="{B044A057-AA16-3631-E680-22CB29C1398E}"/>
                  </a:ext>
                </a:extLst>
              </p:cNvPr>
              <p:cNvSpPr>
                <a:spLocks/>
              </p:cNvSpPr>
              <p:nvPr/>
            </p:nvSpPr>
            <p:spPr bwMode="auto">
              <a:xfrm>
                <a:off x="6613255" y="3101701"/>
                <a:ext cx="248705" cy="235692"/>
              </a:xfrm>
              <a:custGeom>
                <a:avLst/>
                <a:gdLst>
                  <a:gd name="T0" fmla="*/ 168 w 172"/>
                  <a:gd name="T1" fmla="*/ 140 h 163"/>
                  <a:gd name="T2" fmla="*/ 164 w 172"/>
                  <a:gd name="T3" fmla="*/ 136 h 163"/>
                  <a:gd name="T4" fmla="*/ 162 w 172"/>
                  <a:gd name="T5" fmla="*/ 127 h 163"/>
                  <a:gd name="T6" fmla="*/ 158 w 172"/>
                  <a:gd name="T7" fmla="*/ 126 h 163"/>
                  <a:gd name="T8" fmla="*/ 157 w 172"/>
                  <a:gd name="T9" fmla="*/ 120 h 163"/>
                  <a:gd name="T10" fmla="*/ 158 w 172"/>
                  <a:gd name="T11" fmla="*/ 108 h 163"/>
                  <a:gd name="T12" fmla="*/ 151 w 172"/>
                  <a:gd name="T13" fmla="*/ 100 h 163"/>
                  <a:gd name="T14" fmla="*/ 148 w 172"/>
                  <a:gd name="T15" fmla="*/ 98 h 163"/>
                  <a:gd name="T16" fmla="*/ 137 w 172"/>
                  <a:gd name="T17" fmla="*/ 91 h 163"/>
                  <a:gd name="T18" fmla="*/ 131 w 172"/>
                  <a:gd name="T19" fmla="*/ 90 h 163"/>
                  <a:gd name="T20" fmla="*/ 129 w 172"/>
                  <a:gd name="T21" fmla="*/ 87 h 163"/>
                  <a:gd name="T22" fmla="*/ 129 w 172"/>
                  <a:gd name="T23" fmla="*/ 84 h 163"/>
                  <a:gd name="T24" fmla="*/ 126 w 172"/>
                  <a:gd name="T25" fmla="*/ 80 h 163"/>
                  <a:gd name="T26" fmla="*/ 125 w 172"/>
                  <a:gd name="T27" fmla="*/ 77 h 163"/>
                  <a:gd name="T28" fmla="*/ 118 w 172"/>
                  <a:gd name="T29" fmla="*/ 71 h 163"/>
                  <a:gd name="T30" fmla="*/ 119 w 172"/>
                  <a:gd name="T31" fmla="*/ 65 h 163"/>
                  <a:gd name="T32" fmla="*/ 118 w 172"/>
                  <a:gd name="T33" fmla="*/ 59 h 163"/>
                  <a:gd name="T34" fmla="*/ 121 w 172"/>
                  <a:gd name="T35" fmla="*/ 57 h 163"/>
                  <a:gd name="T36" fmla="*/ 124 w 172"/>
                  <a:gd name="T37" fmla="*/ 49 h 163"/>
                  <a:gd name="T38" fmla="*/ 129 w 172"/>
                  <a:gd name="T39" fmla="*/ 45 h 163"/>
                  <a:gd name="T40" fmla="*/ 128 w 172"/>
                  <a:gd name="T41" fmla="*/ 39 h 163"/>
                  <a:gd name="T42" fmla="*/ 129 w 172"/>
                  <a:gd name="T43" fmla="*/ 34 h 163"/>
                  <a:gd name="T44" fmla="*/ 132 w 172"/>
                  <a:gd name="T45" fmla="*/ 32 h 163"/>
                  <a:gd name="T46" fmla="*/ 125 w 172"/>
                  <a:gd name="T47" fmla="*/ 32 h 163"/>
                  <a:gd name="T48" fmla="*/ 122 w 172"/>
                  <a:gd name="T49" fmla="*/ 31 h 163"/>
                  <a:gd name="T50" fmla="*/ 116 w 172"/>
                  <a:gd name="T51" fmla="*/ 28 h 163"/>
                  <a:gd name="T52" fmla="*/ 111 w 172"/>
                  <a:gd name="T53" fmla="*/ 16 h 163"/>
                  <a:gd name="T54" fmla="*/ 101 w 172"/>
                  <a:gd name="T55" fmla="*/ 6 h 163"/>
                  <a:gd name="T56" fmla="*/ 96 w 172"/>
                  <a:gd name="T57" fmla="*/ 8 h 163"/>
                  <a:gd name="T58" fmla="*/ 95 w 172"/>
                  <a:gd name="T59" fmla="*/ 2 h 163"/>
                  <a:gd name="T60" fmla="*/ 88 w 172"/>
                  <a:gd name="T61" fmla="*/ 2 h 163"/>
                  <a:gd name="T62" fmla="*/ 78 w 172"/>
                  <a:gd name="T63" fmla="*/ 0 h 163"/>
                  <a:gd name="T64" fmla="*/ 69 w 172"/>
                  <a:gd name="T65" fmla="*/ 2 h 163"/>
                  <a:gd name="T66" fmla="*/ 62 w 172"/>
                  <a:gd name="T67" fmla="*/ 8 h 163"/>
                  <a:gd name="T68" fmla="*/ 55 w 172"/>
                  <a:gd name="T69" fmla="*/ 15 h 163"/>
                  <a:gd name="T70" fmla="*/ 46 w 172"/>
                  <a:gd name="T71" fmla="*/ 19 h 163"/>
                  <a:gd name="T72" fmla="*/ 46 w 172"/>
                  <a:gd name="T73" fmla="*/ 31 h 163"/>
                  <a:gd name="T74" fmla="*/ 43 w 172"/>
                  <a:gd name="T75" fmla="*/ 45 h 163"/>
                  <a:gd name="T76" fmla="*/ 42 w 172"/>
                  <a:gd name="T77" fmla="*/ 57 h 163"/>
                  <a:gd name="T78" fmla="*/ 26 w 172"/>
                  <a:gd name="T79" fmla="*/ 65 h 163"/>
                  <a:gd name="T80" fmla="*/ 4 w 172"/>
                  <a:gd name="T81" fmla="*/ 98 h 163"/>
                  <a:gd name="T82" fmla="*/ 7 w 172"/>
                  <a:gd name="T83" fmla="*/ 101 h 163"/>
                  <a:gd name="T84" fmla="*/ 9 w 172"/>
                  <a:gd name="T85" fmla="*/ 103 h 163"/>
                  <a:gd name="T86" fmla="*/ 22 w 172"/>
                  <a:gd name="T87" fmla="*/ 107 h 163"/>
                  <a:gd name="T88" fmla="*/ 59 w 172"/>
                  <a:gd name="T89" fmla="*/ 126 h 163"/>
                  <a:gd name="T90" fmla="*/ 108 w 172"/>
                  <a:gd name="T91" fmla="*/ 161 h 163"/>
                  <a:gd name="T92" fmla="*/ 132 w 172"/>
                  <a:gd name="T93" fmla="*/ 163 h 163"/>
                  <a:gd name="T94" fmla="*/ 144 w 172"/>
                  <a:gd name="T95" fmla="*/ 154 h 163"/>
                  <a:gd name="T96" fmla="*/ 151 w 172"/>
                  <a:gd name="T97" fmla="*/ 144 h 163"/>
                  <a:gd name="T98" fmla="*/ 162 w 172"/>
                  <a:gd name="T99" fmla="*/ 146 h 163"/>
                  <a:gd name="T100" fmla="*/ 170 w 172"/>
                  <a:gd name="T101" fmla="*/ 146 h 163"/>
                  <a:gd name="T102" fmla="*/ 170 w 172"/>
                  <a:gd name="T103" fmla="*/ 14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163">
                    <a:moveTo>
                      <a:pt x="170" y="143"/>
                    </a:moveTo>
                    <a:lnTo>
                      <a:pt x="170" y="141"/>
                    </a:lnTo>
                    <a:lnTo>
                      <a:pt x="168" y="140"/>
                    </a:lnTo>
                    <a:lnTo>
                      <a:pt x="167" y="138"/>
                    </a:lnTo>
                    <a:lnTo>
                      <a:pt x="164" y="137"/>
                    </a:lnTo>
                    <a:lnTo>
                      <a:pt x="164" y="136"/>
                    </a:lnTo>
                    <a:lnTo>
                      <a:pt x="162" y="133"/>
                    </a:lnTo>
                    <a:lnTo>
                      <a:pt x="162" y="130"/>
                    </a:lnTo>
                    <a:lnTo>
                      <a:pt x="162" y="127"/>
                    </a:lnTo>
                    <a:lnTo>
                      <a:pt x="162" y="127"/>
                    </a:lnTo>
                    <a:lnTo>
                      <a:pt x="160" y="126"/>
                    </a:lnTo>
                    <a:lnTo>
                      <a:pt x="158" y="126"/>
                    </a:lnTo>
                    <a:lnTo>
                      <a:pt x="158" y="126"/>
                    </a:lnTo>
                    <a:lnTo>
                      <a:pt x="157" y="124"/>
                    </a:lnTo>
                    <a:lnTo>
                      <a:pt x="157" y="120"/>
                    </a:lnTo>
                    <a:lnTo>
                      <a:pt x="160" y="114"/>
                    </a:lnTo>
                    <a:lnTo>
                      <a:pt x="160" y="110"/>
                    </a:lnTo>
                    <a:lnTo>
                      <a:pt x="158" y="108"/>
                    </a:lnTo>
                    <a:lnTo>
                      <a:pt x="155" y="105"/>
                    </a:lnTo>
                    <a:lnTo>
                      <a:pt x="152" y="100"/>
                    </a:lnTo>
                    <a:lnTo>
                      <a:pt x="151" y="100"/>
                    </a:lnTo>
                    <a:lnTo>
                      <a:pt x="151" y="98"/>
                    </a:lnTo>
                    <a:lnTo>
                      <a:pt x="149" y="98"/>
                    </a:lnTo>
                    <a:lnTo>
                      <a:pt x="148" y="98"/>
                    </a:lnTo>
                    <a:lnTo>
                      <a:pt x="147" y="98"/>
                    </a:lnTo>
                    <a:lnTo>
                      <a:pt x="145" y="97"/>
                    </a:lnTo>
                    <a:lnTo>
                      <a:pt x="137" y="91"/>
                    </a:lnTo>
                    <a:lnTo>
                      <a:pt x="135" y="90"/>
                    </a:lnTo>
                    <a:lnTo>
                      <a:pt x="134" y="90"/>
                    </a:lnTo>
                    <a:lnTo>
                      <a:pt x="131" y="90"/>
                    </a:lnTo>
                    <a:lnTo>
                      <a:pt x="129" y="90"/>
                    </a:lnTo>
                    <a:lnTo>
                      <a:pt x="129" y="88"/>
                    </a:lnTo>
                    <a:lnTo>
                      <a:pt x="129" y="87"/>
                    </a:lnTo>
                    <a:lnTo>
                      <a:pt x="129" y="85"/>
                    </a:lnTo>
                    <a:lnTo>
                      <a:pt x="129" y="85"/>
                    </a:lnTo>
                    <a:lnTo>
                      <a:pt x="129" y="84"/>
                    </a:lnTo>
                    <a:lnTo>
                      <a:pt x="129" y="82"/>
                    </a:lnTo>
                    <a:lnTo>
                      <a:pt x="128" y="81"/>
                    </a:lnTo>
                    <a:lnTo>
                      <a:pt x="126" y="80"/>
                    </a:lnTo>
                    <a:lnTo>
                      <a:pt x="125" y="78"/>
                    </a:lnTo>
                    <a:lnTo>
                      <a:pt x="125" y="77"/>
                    </a:lnTo>
                    <a:lnTo>
                      <a:pt x="125" y="77"/>
                    </a:lnTo>
                    <a:lnTo>
                      <a:pt x="124" y="77"/>
                    </a:lnTo>
                    <a:lnTo>
                      <a:pt x="124" y="77"/>
                    </a:lnTo>
                    <a:lnTo>
                      <a:pt x="118" y="71"/>
                    </a:lnTo>
                    <a:lnTo>
                      <a:pt x="118" y="69"/>
                    </a:lnTo>
                    <a:lnTo>
                      <a:pt x="118" y="68"/>
                    </a:lnTo>
                    <a:lnTo>
                      <a:pt x="119" y="65"/>
                    </a:lnTo>
                    <a:lnTo>
                      <a:pt x="119" y="64"/>
                    </a:lnTo>
                    <a:lnTo>
                      <a:pt x="119" y="61"/>
                    </a:lnTo>
                    <a:lnTo>
                      <a:pt x="118" y="59"/>
                    </a:lnTo>
                    <a:lnTo>
                      <a:pt x="118" y="58"/>
                    </a:lnTo>
                    <a:lnTo>
                      <a:pt x="118" y="57"/>
                    </a:lnTo>
                    <a:lnTo>
                      <a:pt x="121" y="57"/>
                    </a:lnTo>
                    <a:lnTo>
                      <a:pt x="122" y="55"/>
                    </a:lnTo>
                    <a:lnTo>
                      <a:pt x="122" y="52"/>
                    </a:lnTo>
                    <a:lnTo>
                      <a:pt x="124" y="49"/>
                    </a:lnTo>
                    <a:lnTo>
                      <a:pt x="126" y="48"/>
                    </a:lnTo>
                    <a:lnTo>
                      <a:pt x="128" y="46"/>
                    </a:lnTo>
                    <a:lnTo>
                      <a:pt x="129" y="45"/>
                    </a:lnTo>
                    <a:lnTo>
                      <a:pt x="129" y="42"/>
                    </a:lnTo>
                    <a:lnTo>
                      <a:pt x="128" y="41"/>
                    </a:lnTo>
                    <a:lnTo>
                      <a:pt x="128" y="39"/>
                    </a:lnTo>
                    <a:lnTo>
                      <a:pt x="126" y="36"/>
                    </a:lnTo>
                    <a:lnTo>
                      <a:pt x="128" y="35"/>
                    </a:lnTo>
                    <a:lnTo>
                      <a:pt x="129" y="34"/>
                    </a:lnTo>
                    <a:lnTo>
                      <a:pt x="131" y="34"/>
                    </a:lnTo>
                    <a:lnTo>
                      <a:pt x="132" y="34"/>
                    </a:lnTo>
                    <a:lnTo>
                      <a:pt x="132" y="32"/>
                    </a:lnTo>
                    <a:lnTo>
                      <a:pt x="131" y="32"/>
                    </a:lnTo>
                    <a:lnTo>
                      <a:pt x="129" y="32"/>
                    </a:lnTo>
                    <a:lnTo>
                      <a:pt x="125" y="32"/>
                    </a:lnTo>
                    <a:lnTo>
                      <a:pt x="124" y="31"/>
                    </a:lnTo>
                    <a:lnTo>
                      <a:pt x="124" y="31"/>
                    </a:lnTo>
                    <a:lnTo>
                      <a:pt x="122" y="31"/>
                    </a:lnTo>
                    <a:lnTo>
                      <a:pt x="121" y="29"/>
                    </a:lnTo>
                    <a:lnTo>
                      <a:pt x="118" y="28"/>
                    </a:lnTo>
                    <a:lnTo>
                      <a:pt x="116" y="28"/>
                    </a:lnTo>
                    <a:lnTo>
                      <a:pt x="115" y="26"/>
                    </a:lnTo>
                    <a:lnTo>
                      <a:pt x="114" y="22"/>
                    </a:lnTo>
                    <a:lnTo>
                      <a:pt x="111" y="16"/>
                    </a:lnTo>
                    <a:lnTo>
                      <a:pt x="105" y="5"/>
                    </a:lnTo>
                    <a:lnTo>
                      <a:pt x="104" y="5"/>
                    </a:lnTo>
                    <a:lnTo>
                      <a:pt x="101" y="6"/>
                    </a:lnTo>
                    <a:lnTo>
                      <a:pt x="98" y="8"/>
                    </a:lnTo>
                    <a:lnTo>
                      <a:pt x="96" y="8"/>
                    </a:lnTo>
                    <a:lnTo>
                      <a:pt x="96" y="8"/>
                    </a:lnTo>
                    <a:lnTo>
                      <a:pt x="96" y="3"/>
                    </a:lnTo>
                    <a:lnTo>
                      <a:pt x="95" y="3"/>
                    </a:lnTo>
                    <a:lnTo>
                      <a:pt x="95" y="2"/>
                    </a:lnTo>
                    <a:lnTo>
                      <a:pt x="93" y="2"/>
                    </a:lnTo>
                    <a:lnTo>
                      <a:pt x="91" y="2"/>
                    </a:lnTo>
                    <a:lnTo>
                      <a:pt x="88" y="2"/>
                    </a:lnTo>
                    <a:lnTo>
                      <a:pt x="83" y="2"/>
                    </a:lnTo>
                    <a:lnTo>
                      <a:pt x="81" y="2"/>
                    </a:lnTo>
                    <a:lnTo>
                      <a:pt x="78" y="0"/>
                    </a:lnTo>
                    <a:lnTo>
                      <a:pt x="72" y="0"/>
                    </a:lnTo>
                    <a:lnTo>
                      <a:pt x="70" y="0"/>
                    </a:lnTo>
                    <a:lnTo>
                      <a:pt x="69" y="2"/>
                    </a:lnTo>
                    <a:lnTo>
                      <a:pt x="66" y="5"/>
                    </a:lnTo>
                    <a:lnTo>
                      <a:pt x="63" y="6"/>
                    </a:lnTo>
                    <a:lnTo>
                      <a:pt x="62" y="8"/>
                    </a:lnTo>
                    <a:lnTo>
                      <a:pt x="60" y="11"/>
                    </a:lnTo>
                    <a:lnTo>
                      <a:pt x="58" y="13"/>
                    </a:lnTo>
                    <a:lnTo>
                      <a:pt x="55" y="15"/>
                    </a:lnTo>
                    <a:lnTo>
                      <a:pt x="52" y="16"/>
                    </a:lnTo>
                    <a:lnTo>
                      <a:pt x="49" y="18"/>
                    </a:lnTo>
                    <a:lnTo>
                      <a:pt x="46" y="19"/>
                    </a:lnTo>
                    <a:lnTo>
                      <a:pt x="45" y="22"/>
                    </a:lnTo>
                    <a:lnTo>
                      <a:pt x="43" y="25"/>
                    </a:lnTo>
                    <a:lnTo>
                      <a:pt x="46" y="31"/>
                    </a:lnTo>
                    <a:lnTo>
                      <a:pt x="46" y="35"/>
                    </a:lnTo>
                    <a:lnTo>
                      <a:pt x="45" y="38"/>
                    </a:lnTo>
                    <a:lnTo>
                      <a:pt x="43" y="45"/>
                    </a:lnTo>
                    <a:lnTo>
                      <a:pt x="43" y="51"/>
                    </a:lnTo>
                    <a:lnTo>
                      <a:pt x="42" y="54"/>
                    </a:lnTo>
                    <a:lnTo>
                      <a:pt x="42" y="57"/>
                    </a:lnTo>
                    <a:lnTo>
                      <a:pt x="39" y="59"/>
                    </a:lnTo>
                    <a:lnTo>
                      <a:pt x="36" y="61"/>
                    </a:lnTo>
                    <a:lnTo>
                      <a:pt x="26" y="65"/>
                    </a:lnTo>
                    <a:lnTo>
                      <a:pt x="0" y="81"/>
                    </a:lnTo>
                    <a:lnTo>
                      <a:pt x="6" y="98"/>
                    </a:lnTo>
                    <a:lnTo>
                      <a:pt x="4" y="98"/>
                    </a:lnTo>
                    <a:lnTo>
                      <a:pt x="4" y="101"/>
                    </a:lnTo>
                    <a:lnTo>
                      <a:pt x="6" y="101"/>
                    </a:lnTo>
                    <a:lnTo>
                      <a:pt x="7" y="101"/>
                    </a:lnTo>
                    <a:lnTo>
                      <a:pt x="9" y="101"/>
                    </a:lnTo>
                    <a:lnTo>
                      <a:pt x="9" y="101"/>
                    </a:lnTo>
                    <a:lnTo>
                      <a:pt x="9" y="103"/>
                    </a:lnTo>
                    <a:lnTo>
                      <a:pt x="9" y="104"/>
                    </a:lnTo>
                    <a:lnTo>
                      <a:pt x="7" y="105"/>
                    </a:lnTo>
                    <a:lnTo>
                      <a:pt x="22" y="107"/>
                    </a:lnTo>
                    <a:lnTo>
                      <a:pt x="27" y="108"/>
                    </a:lnTo>
                    <a:lnTo>
                      <a:pt x="35" y="111"/>
                    </a:lnTo>
                    <a:lnTo>
                      <a:pt x="59" y="126"/>
                    </a:lnTo>
                    <a:lnTo>
                      <a:pt x="102" y="159"/>
                    </a:lnTo>
                    <a:lnTo>
                      <a:pt x="105" y="160"/>
                    </a:lnTo>
                    <a:lnTo>
                      <a:pt x="108" y="161"/>
                    </a:lnTo>
                    <a:lnTo>
                      <a:pt x="119" y="161"/>
                    </a:lnTo>
                    <a:lnTo>
                      <a:pt x="128" y="163"/>
                    </a:lnTo>
                    <a:lnTo>
                      <a:pt x="132" y="163"/>
                    </a:lnTo>
                    <a:lnTo>
                      <a:pt x="137" y="163"/>
                    </a:lnTo>
                    <a:lnTo>
                      <a:pt x="142" y="156"/>
                    </a:lnTo>
                    <a:lnTo>
                      <a:pt x="144" y="154"/>
                    </a:lnTo>
                    <a:lnTo>
                      <a:pt x="145" y="149"/>
                    </a:lnTo>
                    <a:lnTo>
                      <a:pt x="147" y="146"/>
                    </a:lnTo>
                    <a:lnTo>
                      <a:pt x="151" y="144"/>
                    </a:lnTo>
                    <a:lnTo>
                      <a:pt x="154" y="143"/>
                    </a:lnTo>
                    <a:lnTo>
                      <a:pt x="158" y="144"/>
                    </a:lnTo>
                    <a:lnTo>
                      <a:pt x="162" y="146"/>
                    </a:lnTo>
                    <a:lnTo>
                      <a:pt x="164" y="144"/>
                    </a:lnTo>
                    <a:lnTo>
                      <a:pt x="167" y="146"/>
                    </a:lnTo>
                    <a:lnTo>
                      <a:pt x="170" y="146"/>
                    </a:lnTo>
                    <a:lnTo>
                      <a:pt x="172" y="146"/>
                    </a:lnTo>
                    <a:lnTo>
                      <a:pt x="171" y="144"/>
                    </a:lnTo>
                    <a:lnTo>
                      <a:pt x="170" y="14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2" name="Freeform 118">
                <a:extLst>
                  <a:ext uri="{FF2B5EF4-FFF2-40B4-BE49-F238E27FC236}">
                    <a16:creationId xmlns:a16="http://schemas.microsoft.com/office/drawing/2014/main" id="{624D0B4D-E49A-D732-2080-364FCDFF6CE9}"/>
                  </a:ext>
                </a:extLst>
              </p:cNvPr>
              <p:cNvSpPr>
                <a:spLocks/>
              </p:cNvSpPr>
              <p:nvPr/>
            </p:nvSpPr>
            <p:spPr bwMode="auto">
              <a:xfrm>
                <a:off x="7165612" y="3071336"/>
                <a:ext cx="365828" cy="255935"/>
              </a:xfrm>
              <a:custGeom>
                <a:avLst/>
                <a:gdLst>
                  <a:gd name="T0" fmla="*/ 233 w 253"/>
                  <a:gd name="T1" fmla="*/ 24 h 177"/>
                  <a:gd name="T2" fmla="*/ 233 w 253"/>
                  <a:gd name="T3" fmla="*/ 23 h 177"/>
                  <a:gd name="T4" fmla="*/ 230 w 253"/>
                  <a:gd name="T5" fmla="*/ 20 h 177"/>
                  <a:gd name="T6" fmla="*/ 218 w 253"/>
                  <a:gd name="T7" fmla="*/ 23 h 177"/>
                  <a:gd name="T8" fmla="*/ 213 w 253"/>
                  <a:gd name="T9" fmla="*/ 29 h 177"/>
                  <a:gd name="T10" fmla="*/ 200 w 253"/>
                  <a:gd name="T11" fmla="*/ 34 h 177"/>
                  <a:gd name="T12" fmla="*/ 193 w 253"/>
                  <a:gd name="T13" fmla="*/ 27 h 177"/>
                  <a:gd name="T14" fmla="*/ 194 w 253"/>
                  <a:gd name="T15" fmla="*/ 10 h 177"/>
                  <a:gd name="T16" fmla="*/ 191 w 253"/>
                  <a:gd name="T17" fmla="*/ 10 h 177"/>
                  <a:gd name="T18" fmla="*/ 191 w 253"/>
                  <a:gd name="T19" fmla="*/ 6 h 177"/>
                  <a:gd name="T20" fmla="*/ 180 w 253"/>
                  <a:gd name="T21" fmla="*/ 0 h 177"/>
                  <a:gd name="T22" fmla="*/ 172 w 253"/>
                  <a:gd name="T23" fmla="*/ 10 h 177"/>
                  <a:gd name="T24" fmla="*/ 172 w 253"/>
                  <a:gd name="T25" fmla="*/ 16 h 177"/>
                  <a:gd name="T26" fmla="*/ 162 w 253"/>
                  <a:gd name="T27" fmla="*/ 17 h 177"/>
                  <a:gd name="T28" fmla="*/ 154 w 253"/>
                  <a:gd name="T29" fmla="*/ 26 h 177"/>
                  <a:gd name="T30" fmla="*/ 145 w 253"/>
                  <a:gd name="T31" fmla="*/ 23 h 177"/>
                  <a:gd name="T32" fmla="*/ 126 w 253"/>
                  <a:gd name="T33" fmla="*/ 24 h 177"/>
                  <a:gd name="T34" fmla="*/ 118 w 253"/>
                  <a:gd name="T35" fmla="*/ 23 h 177"/>
                  <a:gd name="T36" fmla="*/ 106 w 253"/>
                  <a:gd name="T37" fmla="*/ 21 h 177"/>
                  <a:gd name="T38" fmla="*/ 89 w 253"/>
                  <a:gd name="T39" fmla="*/ 21 h 177"/>
                  <a:gd name="T40" fmla="*/ 79 w 253"/>
                  <a:gd name="T41" fmla="*/ 24 h 177"/>
                  <a:gd name="T42" fmla="*/ 70 w 253"/>
                  <a:gd name="T43" fmla="*/ 42 h 177"/>
                  <a:gd name="T44" fmla="*/ 50 w 253"/>
                  <a:gd name="T45" fmla="*/ 52 h 177"/>
                  <a:gd name="T46" fmla="*/ 46 w 253"/>
                  <a:gd name="T47" fmla="*/ 55 h 177"/>
                  <a:gd name="T48" fmla="*/ 43 w 253"/>
                  <a:gd name="T49" fmla="*/ 62 h 177"/>
                  <a:gd name="T50" fmla="*/ 32 w 253"/>
                  <a:gd name="T51" fmla="*/ 66 h 177"/>
                  <a:gd name="T52" fmla="*/ 26 w 253"/>
                  <a:gd name="T53" fmla="*/ 60 h 177"/>
                  <a:gd name="T54" fmla="*/ 16 w 253"/>
                  <a:gd name="T55" fmla="*/ 59 h 177"/>
                  <a:gd name="T56" fmla="*/ 13 w 253"/>
                  <a:gd name="T57" fmla="*/ 60 h 177"/>
                  <a:gd name="T58" fmla="*/ 10 w 253"/>
                  <a:gd name="T59" fmla="*/ 73 h 177"/>
                  <a:gd name="T60" fmla="*/ 4 w 253"/>
                  <a:gd name="T61" fmla="*/ 83 h 177"/>
                  <a:gd name="T62" fmla="*/ 0 w 253"/>
                  <a:gd name="T63" fmla="*/ 93 h 177"/>
                  <a:gd name="T64" fmla="*/ 7 w 253"/>
                  <a:gd name="T65" fmla="*/ 99 h 177"/>
                  <a:gd name="T66" fmla="*/ 2 w 253"/>
                  <a:gd name="T67" fmla="*/ 108 h 177"/>
                  <a:gd name="T68" fmla="*/ 6 w 253"/>
                  <a:gd name="T69" fmla="*/ 131 h 177"/>
                  <a:gd name="T70" fmla="*/ 20 w 253"/>
                  <a:gd name="T71" fmla="*/ 139 h 177"/>
                  <a:gd name="T72" fmla="*/ 9 w 253"/>
                  <a:gd name="T73" fmla="*/ 167 h 177"/>
                  <a:gd name="T74" fmla="*/ 40 w 253"/>
                  <a:gd name="T75" fmla="*/ 177 h 177"/>
                  <a:gd name="T76" fmla="*/ 65 w 253"/>
                  <a:gd name="T77" fmla="*/ 177 h 177"/>
                  <a:gd name="T78" fmla="*/ 96 w 253"/>
                  <a:gd name="T79" fmla="*/ 171 h 177"/>
                  <a:gd name="T80" fmla="*/ 102 w 253"/>
                  <a:gd name="T81" fmla="*/ 167 h 177"/>
                  <a:gd name="T82" fmla="*/ 105 w 253"/>
                  <a:gd name="T83" fmla="*/ 149 h 177"/>
                  <a:gd name="T84" fmla="*/ 118 w 253"/>
                  <a:gd name="T85" fmla="*/ 142 h 177"/>
                  <a:gd name="T86" fmla="*/ 128 w 253"/>
                  <a:gd name="T87" fmla="*/ 141 h 177"/>
                  <a:gd name="T88" fmla="*/ 126 w 253"/>
                  <a:gd name="T89" fmla="*/ 138 h 177"/>
                  <a:gd name="T90" fmla="*/ 138 w 253"/>
                  <a:gd name="T91" fmla="*/ 132 h 177"/>
                  <a:gd name="T92" fmla="*/ 145 w 253"/>
                  <a:gd name="T93" fmla="*/ 134 h 177"/>
                  <a:gd name="T94" fmla="*/ 151 w 253"/>
                  <a:gd name="T95" fmla="*/ 134 h 177"/>
                  <a:gd name="T96" fmla="*/ 155 w 253"/>
                  <a:gd name="T97" fmla="*/ 121 h 177"/>
                  <a:gd name="T98" fmla="*/ 158 w 253"/>
                  <a:gd name="T99" fmla="*/ 109 h 177"/>
                  <a:gd name="T100" fmla="*/ 171 w 253"/>
                  <a:gd name="T101" fmla="*/ 103 h 177"/>
                  <a:gd name="T102" fmla="*/ 165 w 253"/>
                  <a:gd name="T103" fmla="*/ 93 h 177"/>
                  <a:gd name="T104" fmla="*/ 177 w 253"/>
                  <a:gd name="T105" fmla="*/ 90 h 177"/>
                  <a:gd name="T106" fmla="*/ 185 w 253"/>
                  <a:gd name="T107" fmla="*/ 80 h 177"/>
                  <a:gd name="T108" fmla="*/ 187 w 253"/>
                  <a:gd name="T109" fmla="*/ 76 h 177"/>
                  <a:gd name="T110" fmla="*/ 195 w 253"/>
                  <a:gd name="T111" fmla="*/ 65 h 177"/>
                  <a:gd name="T112" fmla="*/ 195 w 253"/>
                  <a:gd name="T113" fmla="*/ 60 h 177"/>
                  <a:gd name="T114" fmla="*/ 190 w 253"/>
                  <a:gd name="T115" fmla="*/ 50 h 177"/>
                  <a:gd name="T116" fmla="*/ 193 w 253"/>
                  <a:gd name="T117" fmla="*/ 43 h 177"/>
                  <a:gd name="T118" fmla="*/ 200 w 253"/>
                  <a:gd name="T119" fmla="*/ 39 h 177"/>
                  <a:gd name="T120" fmla="*/ 227 w 253"/>
                  <a:gd name="T121" fmla="*/ 32 h 177"/>
                  <a:gd name="T122" fmla="*/ 247 w 253"/>
                  <a:gd name="T123" fmla="*/ 29 h 177"/>
                  <a:gd name="T124" fmla="*/ 250 w 253"/>
                  <a:gd name="T125" fmla="*/ 2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3" h="177">
                    <a:moveTo>
                      <a:pt x="246" y="21"/>
                    </a:moveTo>
                    <a:lnTo>
                      <a:pt x="241" y="21"/>
                    </a:lnTo>
                    <a:lnTo>
                      <a:pt x="236" y="24"/>
                    </a:lnTo>
                    <a:lnTo>
                      <a:pt x="234" y="24"/>
                    </a:lnTo>
                    <a:lnTo>
                      <a:pt x="233" y="24"/>
                    </a:lnTo>
                    <a:lnTo>
                      <a:pt x="231" y="23"/>
                    </a:lnTo>
                    <a:lnTo>
                      <a:pt x="231" y="23"/>
                    </a:lnTo>
                    <a:lnTo>
                      <a:pt x="233" y="23"/>
                    </a:lnTo>
                    <a:lnTo>
                      <a:pt x="233" y="23"/>
                    </a:lnTo>
                    <a:lnTo>
                      <a:pt x="233" y="23"/>
                    </a:lnTo>
                    <a:lnTo>
                      <a:pt x="233" y="21"/>
                    </a:lnTo>
                    <a:lnTo>
                      <a:pt x="233" y="21"/>
                    </a:lnTo>
                    <a:lnTo>
                      <a:pt x="233" y="20"/>
                    </a:lnTo>
                    <a:lnTo>
                      <a:pt x="231" y="20"/>
                    </a:lnTo>
                    <a:lnTo>
                      <a:pt x="230" y="20"/>
                    </a:lnTo>
                    <a:lnTo>
                      <a:pt x="228" y="20"/>
                    </a:lnTo>
                    <a:lnTo>
                      <a:pt x="227" y="20"/>
                    </a:lnTo>
                    <a:lnTo>
                      <a:pt x="224" y="20"/>
                    </a:lnTo>
                    <a:lnTo>
                      <a:pt x="221" y="21"/>
                    </a:lnTo>
                    <a:lnTo>
                      <a:pt x="218" y="23"/>
                    </a:lnTo>
                    <a:lnTo>
                      <a:pt x="217" y="24"/>
                    </a:lnTo>
                    <a:lnTo>
                      <a:pt x="216" y="26"/>
                    </a:lnTo>
                    <a:lnTo>
                      <a:pt x="214" y="27"/>
                    </a:lnTo>
                    <a:lnTo>
                      <a:pt x="214" y="29"/>
                    </a:lnTo>
                    <a:lnTo>
                      <a:pt x="213" y="29"/>
                    </a:lnTo>
                    <a:lnTo>
                      <a:pt x="208" y="30"/>
                    </a:lnTo>
                    <a:lnTo>
                      <a:pt x="207" y="30"/>
                    </a:lnTo>
                    <a:lnTo>
                      <a:pt x="205" y="32"/>
                    </a:lnTo>
                    <a:lnTo>
                      <a:pt x="203" y="33"/>
                    </a:lnTo>
                    <a:lnTo>
                      <a:pt x="200" y="34"/>
                    </a:lnTo>
                    <a:lnTo>
                      <a:pt x="198" y="36"/>
                    </a:lnTo>
                    <a:lnTo>
                      <a:pt x="195" y="34"/>
                    </a:lnTo>
                    <a:lnTo>
                      <a:pt x="194" y="32"/>
                    </a:lnTo>
                    <a:lnTo>
                      <a:pt x="193" y="29"/>
                    </a:lnTo>
                    <a:lnTo>
                      <a:pt x="193" y="27"/>
                    </a:lnTo>
                    <a:lnTo>
                      <a:pt x="193" y="24"/>
                    </a:lnTo>
                    <a:lnTo>
                      <a:pt x="194" y="17"/>
                    </a:lnTo>
                    <a:lnTo>
                      <a:pt x="195" y="13"/>
                    </a:lnTo>
                    <a:lnTo>
                      <a:pt x="195" y="11"/>
                    </a:lnTo>
                    <a:lnTo>
                      <a:pt x="194" y="10"/>
                    </a:lnTo>
                    <a:lnTo>
                      <a:pt x="194" y="10"/>
                    </a:lnTo>
                    <a:lnTo>
                      <a:pt x="194" y="10"/>
                    </a:lnTo>
                    <a:lnTo>
                      <a:pt x="193" y="10"/>
                    </a:lnTo>
                    <a:lnTo>
                      <a:pt x="193" y="10"/>
                    </a:lnTo>
                    <a:lnTo>
                      <a:pt x="191" y="10"/>
                    </a:lnTo>
                    <a:lnTo>
                      <a:pt x="191" y="10"/>
                    </a:lnTo>
                    <a:lnTo>
                      <a:pt x="190" y="10"/>
                    </a:lnTo>
                    <a:lnTo>
                      <a:pt x="190" y="9"/>
                    </a:lnTo>
                    <a:lnTo>
                      <a:pt x="190" y="7"/>
                    </a:lnTo>
                    <a:lnTo>
                      <a:pt x="191" y="6"/>
                    </a:lnTo>
                    <a:lnTo>
                      <a:pt x="191" y="6"/>
                    </a:lnTo>
                    <a:lnTo>
                      <a:pt x="190" y="3"/>
                    </a:lnTo>
                    <a:lnTo>
                      <a:pt x="187" y="0"/>
                    </a:lnTo>
                    <a:lnTo>
                      <a:pt x="184" y="0"/>
                    </a:lnTo>
                    <a:lnTo>
                      <a:pt x="180" y="0"/>
                    </a:lnTo>
                    <a:lnTo>
                      <a:pt x="178" y="1"/>
                    </a:lnTo>
                    <a:lnTo>
                      <a:pt x="177" y="4"/>
                    </a:lnTo>
                    <a:lnTo>
                      <a:pt x="174" y="9"/>
                    </a:lnTo>
                    <a:lnTo>
                      <a:pt x="172" y="9"/>
                    </a:lnTo>
                    <a:lnTo>
                      <a:pt x="172" y="10"/>
                    </a:lnTo>
                    <a:lnTo>
                      <a:pt x="171" y="10"/>
                    </a:lnTo>
                    <a:lnTo>
                      <a:pt x="171" y="11"/>
                    </a:lnTo>
                    <a:lnTo>
                      <a:pt x="171" y="13"/>
                    </a:lnTo>
                    <a:lnTo>
                      <a:pt x="171" y="14"/>
                    </a:lnTo>
                    <a:lnTo>
                      <a:pt x="172" y="16"/>
                    </a:lnTo>
                    <a:lnTo>
                      <a:pt x="171" y="17"/>
                    </a:lnTo>
                    <a:lnTo>
                      <a:pt x="170" y="17"/>
                    </a:lnTo>
                    <a:lnTo>
                      <a:pt x="167" y="17"/>
                    </a:lnTo>
                    <a:lnTo>
                      <a:pt x="165" y="17"/>
                    </a:lnTo>
                    <a:lnTo>
                      <a:pt x="162" y="17"/>
                    </a:lnTo>
                    <a:lnTo>
                      <a:pt x="160" y="17"/>
                    </a:lnTo>
                    <a:lnTo>
                      <a:pt x="158" y="19"/>
                    </a:lnTo>
                    <a:lnTo>
                      <a:pt x="157" y="23"/>
                    </a:lnTo>
                    <a:lnTo>
                      <a:pt x="157" y="26"/>
                    </a:lnTo>
                    <a:lnTo>
                      <a:pt x="154" y="26"/>
                    </a:lnTo>
                    <a:lnTo>
                      <a:pt x="152" y="24"/>
                    </a:lnTo>
                    <a:lnTo>
                      <a:pt x="149" y="23"/>
                    </a:lnTo>
                    <a:lnTo>
                      <a:pt x="148" y="23"/>
                    </a:lnTo>
                    <a:lnTo>
                      <a:pt x="147" y="23"/>
                    </a:lnTo>
                    <a:lnTo>
                      <a:pt x="145" y="23"/>
                    </a:lnTo>
                    <a:lnTo>
                      <a:pt x="145" y="23"/>
                    </a:lnTo>
                    <a:lnTo>
                      <a:pt x="135" y="29"/>
                    </a:lnTo>
                    <a:lnTo>
                      <a:pt x="131" y="29"/>
                    </a:lnTo>
                    <a:lnTo>
                      <a:pt x="128" y="26"/>
                    </a:lnTo>
                    <a:lnTo>
                      <a:pt x="126" y="24"/>
                    </a:lnTo>
                    <a:lnTo>
                      <a:pt x="124" y="24"/>
                    </a:lnTo>
                    <a:lnTo>
                      <a:pt x="122" y="24"/>
                    </a:lnTo>
                    <a:lnTo>
                      <a:pt x="121" y="24"/>
                    </a:lnTo>
                    <a:lnTo>
                      <a:pt x="119" y="24"/>
                    </a:lnTo>
                    <a:lnTo>
                      <a:pt x="118" y="23"/>
                    </a:lnTo>
                    <a:lnTo>
                      <a:pt x="116" y="23"/>
                    </a:lnTo>
                    <a:lnTo>
                      <a:pt x="115" y="21"/>
                    </a:lnTo>
                    <a:lnTo>
                      <a:pt x="114" y="21"/>
                    </a:lnTo>
                    <a:lnTo>
                      <a:pt x="111" y="21"/>
                    </a:lnTo>
                    <a:lnTo>
                      <a:pt x="106" y="21"/>
                    </a:lnTo>
                    <a:lnTo>
                      <a:pt x="102" y="21"/>
                    </a:lnTo>
                    <a:lnTo>
                      <a:pt x="95" y="19"/>
                    </a:lnTo>
                    <a:lnTo>
                      <a:pt x="92" y="19"/>
                    </a:lnTo>
                    <a:lnTo>
                      <a:pt x="91" y="20"/>
                    </a:lnTo>
                    <a:lnTo>
                      <a:pt x="89" y="21"/>
                    </a:lnTo>
                    <a:lnTo>
                      <a:pt x="89" y="23"/>
                    </a:lnTo>
                    <a:lnTo>
                      <a:pt x="88" y="24"/>
                    </a:lnTo>
                    <a:lnTo>
                      <a:pt x="86" y="24"/>
                    </a:lnTo>
                    <a:lnTo>
                      <a:pt x="82" y="24"/>
                    </a:lnTo>
                    <a:lnTo>
                      <a:pt x="79" y="24"/>
                    </a:lnTo>
                    <a:lnTo>
                      <a:pt x="76" y="27"/>
                    </a:lnTo>
                    <a:lnTo>
                      <a:pt x="75" y="29"/>
                    </a:lnTo>
                    <a:lnTo>
                      <a:pt x="73" y="36"/>
                    </a:lnTo>
                    <a:lnTo>
                      <a:pt x="72" y="40"/>
                    </a:lnTo>
                    <a:lnTo>
                      <a:pt x="70" y="42"/>
                    </a:lnTo>
                    <a:lnTo>
                      <a:pt x="68" y="44"/>
                    </a:lnTo>
                    <a:lnTo>
                      <a:pt x="63" y="47"/>
                    </a:lnTo>
                    <a:lnTo>
                      <a:pt x="60" y="49"/>
                    </a:lnTo>
                    <a:lnTo>
                      <a:pt x="59" y="49"/>
                    </a:lnTo>
                    <a:lnTo>
                      <a:pt x="50" y="52"/>
                    </a:lnTo>
                    <a:lnTo>
                      <a:pt x="49" y="52"/>
                    </a:lnTo>
                    <a:lnTo>
                      <a:pt x="48" y="53"/>
                    </a:lnTo>
                    <a:lnTo>
                      <a:pt x="48" y="53"/>
                    </a:lnTo>
                    <a:lnTo>
                      <a:pt x="46" y="55"/>
                    </a:lnTo>
                    <a:lnTo>
                      <a:pt x="46" y="55"/>
                    </a:lnTo>
                    <a:lnTo>
                      <a:pt x="46" y="57"/>
                    </a:lnTo>
                    <a:lnTo>
                      <a:pt x="46" y="57"/>
                    </a:lnTo>
                    <a:lnTo>
                      <a:pt x="45" y="59"/>
                    </a:lnTo>
                    <a:lnTo>
                      <a:pt x="45" y="60"/>
                    </a:lnTo>
                    <a:lnTo>
                      <a:pt x="43" y="62"/>
                    </a:lnTo>
                    <a:lnTo>
                      <a:pt x="40" y="63"/>
                    </a:lnTo>
                    <a:lnTo>
                      <a:pt x="39" y="63"/>
                    </a:lnTo>
                    <a:lnTo>
                      <a:pt x="37" y="65"/>
                    </a:lnTo>
                    <a:lnTo>
                      <a:pt x="33" y="66"/>
                    </a:lnTo>
                    <a:lnTo>
                      <a:pt x="32" y="66"/>
                    </a:lnTo>
                    <a:lnTo>
                      <a:pt x="32" y="65"/>
                    </a:lnTo>
                    <a:lnTo>
                      <a:pt x="30" y="63"/>
                    </a:lnTo>
                    <a:lnTo>
                      <a:pt x="29" y="62"/>
                    </a:lnTo>
                    <a:lnTo>
                      <a:pt x="27" y="62"/>
                    </a:lnTo>
                    <a:lnTo>
                      <a:pt x="26" y="60"/>
                    </a:lnTo>
                    <a:lnTo>
                      <a:pt x="26" y="60"/>
                    </a:lnTo>
                    <a:lnTo>
                      <a:pt x="20" y="60"/>
                    </a:lnTo>
                    <a:lnTo>
                      <a:pt x="19" y="60"/>
                    </a:lnTo>
                    <a:lnTo>
                      <a:pt x="17" y="59"/>
                    </a:lnTo>
                    <a:lnTo>
                      <a:pt x="16" y="59"/>
                    </a:lnTo>
                    <a:lnTo>
                      <a:pt x="16" y="57"/>
                    </a:lnTo>
                    <a:lnTo>
                      <a:pt x="14" y="57"/>
                    </a:lnTo>
                    <a:lnTo>
                      <a:pt x="13" y="57"/>
                    </a:lnTo>
                    <a:lnTo>
                      <a:pt x="14" y="59"/>
                    </a:lnTo>
                    <a:lnTo>
                      <a:pt x="13" y="60"/>
                    </a:lnTo>
                    <a:lnTo>
                      <a:pt x="12" y="62"/>
                    </a:lnTo>
                    <a:lnTo>
                      <a:pt x="12" y="63"/>
                    </a:lnTo>
                    <a:lnTo>
                      <a:pt x="12" y="69"/>
                    </a:lnTo>
                    <a:lnTo>
                      <a:pt x="10" y="72"/>
                    </a:lnTo>
                    <a:lnTo>
                      <a:pt x="10" y="73"/>
                    </a:lnTo>
                    <a:lnTo>
                      <a:pt x="6" y="79"/>
                    </a:lnTo>
                    <a:lnTo>
                      <a:pt x="4" y="80"/>
                    </a:lnTo>
                    <a:lnTo>
                      <a:pt x="6" y="80"/>
                    </a:lnTo>
                    <a:lnTo>
                      <a:pt x="7" y="83"/>
                    </a:lnTo>
                    <a:lnTo>
                      <a:pt x="4" y="83"/>
                    </a:lnTo>
                    <a:lnTo>
                      <a:pt x="3" y="83"/>
                    </a:lnTo>
                    <a:lnTo>
                      <a:pt x="2" y="85"/>
                    </a:lnTo>
                    <a:lnTo>
                      <a:pt x="0" y="86"/>
                    </a:lnTo>
                    <a:lnTo>
                      <a:pt x="0" y="88"/>
                    </a:lnTo>
                    <a:lnTo>
                      <a:pt x="0" y="93"/>
                    </a:lnTo>
                    <a:lnTo>
                      <a:pt x="0" y="95"/>
                    </a:lnTo>
                    <a:lnTo>
                      <a:pt x="2" y="96"/>
                    </a:lnTo>
                    <a:lnTo>
                      <a:pt x="4" y="98"/>
                    </a:lnTo>
                    <a:lnTo>
                      <a:pt x="6" y="99"/>
                    </a:lnTo>
                    <a:lnTo>
                      <a:pt x="7" y="99"/>
                    </a:lnTo>
                    <a:lnTo>
                      <a:pt x="7" y="101"/>
                    </a:lnTo>
                    <a:lnTo>
                      <a:pt x="3" y="103"/>
                    </a:lnTo>
                    <a:lnTo>
                      <a:pt x="2" y="106"/>
                    </a:lnTo>
                    <a:lnTo>
                      <a:pt x="2" y="106"/>
                    </a:lnTo>
                    <a:lnTo>
                      <a:pt x="2" y="108"/>
                    </a:lnTo>
                    <a:lnTo>
                      <a:pt x="2" y="111"/>
                    </a:lnTo>
                    <a:lnTo>
                      <a:pt x="3" y="113"/>
                    </a:lnTo>
                    <a:lnTo>
                      <a:pt x="6" y="121"/>
                    </a:lnTo>
                    <a:lnTo>
                      <a:pt x="6" y="125"/>
                    </a:lnTo>
                    <a:lnTo>
                      <a:pt x="6" y="131"/>
                    </a:lnTo>
                    <a:lnTo>
                      <a:pt x="4" y="135"/>
                    </a:lnTo>
                    <a:lnTo>
                      <a:pt x="6" y="138"/>
                    </a:lnTo>
                    <a:lnTo>
                      <a:pt x="9" y="139"/>
                    </a:lnTo>
                    <a:lnTo>
                      <a:pt x="17" y="139"/>
                    </a:lnTo>
                    <a:lnTo>
                      <a:pt x="20" y="139"/>
                    </a:lnTo>
                    <a:lnTo>
                      <a:pt x="25" y="145"/>
                    </a:lnTo>
                    <a:lnTo>
                      <a:pt x="22" y="152"/>
                    </a:lnTo>
                    <a:lnTo>
                      <a:pt x="16" y="159"/>
                    </a:lnTo>
                    <a:lnTo>
                      <a:pt x="12" y="164"/>
                    </a:lnTo>
                    <a:lnTo>
                      <a:pt x="9" y="167"/>
                    </a:lnTo>
                    <a:lnTo>
                      <a:pt x="9" y="167"/>
                    </a:lnTo>
                    <a:lnTo>
                      <a:pt x="6" y="170"/>
                    </a:lnTo>
                    <a:lnTo>
                      <a:pt x="27" y="175"/>
                    </a:lnTo>
                    <a:lnTo>
                      <a:pt x="35" y="177"/>
                    </a:lnTo>
                    <a:lnTo>
                      <a:pt x="40" y="177"/>
                    </a:lnTo>
                    <a:lnTo>
                      <a:pt x="52" y="177"/>
                    </a:lnTo>
                    <a:lnTo>
                      <a:pt x="55" y="177"/>
                    </a:lnTo>
                    <a:lnTo>
                      <a:pt x="63" y="177"/>
                    </a:lnTo>
                    <a:lnTo>
                      <a:pt x="65" y="177"/>
                    </a:lnTo>
                    <a:lnTo>
                      <a:pt x="65" y="177"/>
                    </a:lnTo>
                    <a:lnTo>
                      <a:pt x="68" y="175"/>
                    </a:lnTo>
                    <a:lnTo>
                      <a:pt x="69" y="175"/>
                    </a:lnTo>
                    <a:lnTo>
                      <a:pt x="73" y="174"/>
                    </a:lnTo>
                    <a:lnTo>
                      <a:pt x="83" y="174"/>
                    </a:lnTo>
                    <a:lnTo>
                      <a:pt x="96" y="171"/>
                    </a:lnTo>
                    <a:lnTo>
                      <a:pt x="101" y="170"/>
                    </a:lnTo>
                    <a:lnTo>
                      <a:pt x="101" y="170"/>
                    </a:lnTo>
                    <a:lnTo>
                      <a:pt x="102" y="168"/>
                    </a:lnTo>
                    <a:lnTo>
                      <a:pt x="102" y="167"/>
                    </a:lnTo>
                    <a:lnTo>
                      <a:pt x="102" y="167"/>
                    </a:lnTo>
                    <a:lnTo>
                      <a:pt x="102" y="165"/>
                    </a:lnTo>
                    <a:lnTo>
                      <a:pt x="101" y="165"/>
                    </a:lnTo>
                    <a:lnTo>
                      <a:pt x="102" y="152"/>
                    </a:lnTo>
                    <a:lnTo>
                      <a:pt x="104" y="151"/>
                    </a:lnTo>
                    <a:lnTo>
                      <a:pt x="105" y="149"/>
                    </a:lnTo>
                    <a:lnTo>
                      <a:pt x="109" y="144"/>
                    </a:lnTo>
                    <a:lnTo>
                      <a:pt x="111" y="142"/>
                    </a:lnTo>
                    <a:lnTo>
                      <a:pt x="114" y="142"/>
                    </a:lnTo>
                    <a:lnTo>
                      <a:pt x="115" y="142"/>
                    </a:lnTo>
                    <a:lnTo>
                      <a:pt x="118" y="142"/>
                    </a:lnTo>
                    <a:lnTo>
                      <a:pt x="121" y="144"/>
                    </a:lnTo>
                    <a:lnTo>
                      <a:pt x="122" y="142"/>
                    </a:lnTo>
                    <a:lnTo>
                      <a:pt x="125" y="142"/>
                    </a:lnTo>
                    <a:lnTo>
                      <a:pt x="126" y="141"/>
                    </a:lnTo>
                    <a:lnTo>
                      <a:pt x="128" y="141"/>
                    </a:lnTo>
                    <a:lnTo>
                      <a:pt x="126" y="139"/>
                    </a:lnTo>
                    <a:lnTo>
                      <a:pt x="125" y="139"/>
                    </a:lnTo>
                    <a:lnTo>
                      <a:pt x="125" y="138"/>
                    </a:lnTo>
                    <a:lnTo>
                      <a:pt x="125" y="138"/>
                    </a:lnTo>
                    <a:lnTo>
                      <a:pt x="126" y="138"/>
                    </a:lnTo>
                    <a:lnTo>
                      <a:pt x="126" y="136"/>
                    </a:lnTo>
                    <a:lnTo>
                      <a:pt x="128" y="136"/>
                    </a:lnTo>
                    <a:lnTo>
                      <a:pt x="134" y="132"/>
                    </a:lnTo>
                    <a:lnTo>
                      <a:pt x="135" y="132"/>
                    </a:lnTo>
                    <a:lnTo>
                      <a:pt x="138" y="132"/>
                    </a:lnTo>
                    <a:lnTo>
                      <a:pt x="139" y="132"/>
                    </a:lnTo>
                    <a:lnTo>
                      <a:pt x="142" y="132"/>
                    </a:lnTo>
                    <a:lnTo>
                      <a:pt x="144" y="132"/>
                    </a:lnTo>
                    <a:lnTo>
                      <a:pt x="145" y="134"/>
                    </a:lnTo>
                    <a:lnTo>
                      <a:pt x="145" y="134"/>
                    </a:lnTo>
                    <a:lnTo>
                      <a:pt x="145" y="135"/>
                    </a:lnTo>
                    <a:lnTo>
                      <a:pt x="147" y="135"/>
                    </a:lnTo>
                    <a:lnTo>
                      <a:pt x="148" y="135"/>
                    </a:lnTo>
                    <a:lnTo>
                      <a:pt x="149" y="135"/>
                    </a:lnTo>
                    <a:lnTo>
                      <a:pt x="151" y="134"/>
                    </a:lnTo>
                    <a:lnTo>
                      <a:pt x="152" y="132"/>
                    </a:lnTo>
                    <a:lnTo>
                      <a:pt x="154" y="129"/>
                    </a:lnTo>
                    <a:lnTo>
                      <a:pt x="154" y="128"/>
                    </a:lnTo>
                    <a:lnTo>
                      <a:pt x="154" y="122"/>
                    </a:lnTo>
                    <a:lnTo>
                      <a:pt x="155" y="121"/>
                    </a:lnTo>
                    <a:lnTo>
                      <a:pt x="155" y="119"/>
                    </a:lnTo>
                    <a:lnTo>
                      <a:pt x="157" y="116"/>
                    </a:lnTo>
                    <a:lnTo>
                      <a:pt x="157" y="115"/>
                    </a:lnTo>
                    <a:lnTo>
                      <a:pt x="158" y="112"/>
                    </a:lnTo>
                    <a:lnTo>
                      <a:pt x="158" y="109"/>
                    </a:lnTo>
                    <a:lnTo>
                      <a:pt x="160" y="108"/>
                    </a:lnTo>
                    <a:lnTo>
                      <a:pt x="161" y="108"/>
                    </a:lnTo>
                    <a:lnTo>
                      <a:pt x="167" y="106"/>
                    </a:lnTo>
                    <a:lnTo>
                      <a:pt x="168" y="105"/>
                    </a:lnTo>
                    <a:lnTo>
                      <a:pt x="171" y="103"/>
                    </a:lnTo>
                    <a:lnTo>
                      <a:pt x="172" y="102"/>
                    </a:lnTo>
                    <a:lnTo>
                      <a:pt x="171" y="101"/>
                    </a:lnTo>
                    <a:lnTo>
                      <a:pt x="171" y="99"/>
                    </a:lnTo>
                    <a:lnTo>
                      <a:pt x="170" y="96"/>
                    </a:lnTo>
                    <a:lnTo>
                      <a:pt x="165" y="93"/>
                    </a:lnTo>
                    <a:lnTo>
                      <a:pt x="165" y="92"/>
                    </a:lnTo>
                    <a:lnTo>
                      <a:pt x="165" y="89"/>
                    </a:lnTo>
                    <a:lnTo>
                      <a:pt x="168" y="89"/>
                    </a:lnTo>
                    <a:lnTo>
                      <a:pt x="172" y="90"/>
                    </a:lnTo>
                    <a:lnTo>
                      <a:pt x="177" y="90"/>
                    </a:lnTo>
                    <a:lnTo>
                      <a:pt x="183" y="89"/>
                    </a:lnTo>
                    <a:lnTo>
                      <a:pt x="185" y="88"/>
                    </a:lnTo>
                    <a:lnTo>
                      <a:pt x="187" y="83"/>
                    </a:lnTo>
                    <a:lnTo>
                      <a:pt x="187" y="82"/>
                    </a:lnTo>
                    <a:lnTo>
                      <a:pt x="185" y="80"/>
                    </a:lnTo>
                    <a:lnTo>
                      <a:pt x="184" y="79"/>
                    </a:lnTo>
                    <a:lnTo>
                      <a:pt x="185" y="79"/>
                    </a:lnTo>
                    <a:lnTo>
                      <a:pt x="185" y="79"/>
                    </a:lnTo>
                    <a:lnTo>
                      <a:pt x="185" y="79"/>
                    </a:lnTo>
                    <a:lnTo>
                      <a:pt x="187" y="76"/>
                    </a:lnTo>
                    <a:lnTo>
                      <a:pt x="193" y="70"/>
                    </a:lnTo>
                    <a:lnTo>
                      <a:pt x="194" y="67"/>
                    </a:lnTo>
                    <a:lnTo>
                      <a:pt x="195" y="66"/>
                    </a:lnTo>
                    <a:lnTo>
                      <a:pt x="195" y="65"/>
                    </a:lnTo>
                    <a:lnTo>
                      <a:pt x="195" y="65"/>
                    </a:lnTo>
                    <a:lnTo>
                      <a:pt x="195" y="63"/>
                    </a:lnTo>
                    <a:lnTo>
                      <a:pt x="194" y="63"/>
                    </a:lnTo>
                    <a:lnTo>
                      <a:pt x="195" y="62"/>
                    </a:lnTo>
                    <a:lnTo>
                      <a:pt x="195" y="62"/>
                    </a:lnTo>
                    <a:lnTo>
                      <a:pt x="195" y="60"/>
                    </a:lnTo>
                    <a:lnTo>
                      <a:pt x="195" y="59"/>
                    </a:lnTo>
                    <a:lnTo>
                      <a:pt x="194" y="56"/>
                    </a:lnTo>
                    <a:lnTo>
                      <a:pt x="193" y="55"/>
                    </a:lnTo>
                    <a:lnTo>
                      <a:pt x="193" y="52"/>
                    </a:lnTo>
                    <a:lnTo>
                      <a:pt x="190" y="50"/>
                    </a:lnTo>
                    <a:lnTo>
                      <a:pt x="190" y="49"/>
                    </a:lnTo>
                    <a:lnTo>
                      <a:pt x="190" y="47"/>
                    </a:lnTo>
                    <a:lnTo>
                      <a:pt x="191" y="46"/>
                    </a:lnTo>
                    <a:lnTo>
                      <a:pt x="193" y="43"/>
                    </a:lnTo>
                    <a:lnTo>
                      <a:pt x="193" y="43"/>
                    </a:lnTo>
                    <a:lnTo>
                      <a:pt x="194" y="42"/>
                    </a:lnTo>
                    <a:lnTo>
                      <a:pt x="195" y="42"/>
                    </a:lnTo>
                    <a:lnTo>
                      <a:pt x="197" y="40"/>
                    </a:lnTo>
                    <a:lnTo>
                      <a:pt x="198" y="40"/>
                    </a:lnTo>
                    <a:lnTo>
                      <a:pt x="200" y="39"/>
                    </a:lnTo>
                    <a:lnTo>
                      <a:pt x="204" y="36"/>
                    </a:lnTo>
                    <a:lnTo>
                      <a:pt x="205" y="34"/>
                    </a:lnTo>
                    <a:lnTo>
                      <a:pt x="211" y="33"/>
                    </a:lnTo>
                    <a:lnTo>
                      <a:pt x="217" y="32"/>
                    </a:lnTo>
                    <a:lnTo>
                      <a:pt x="227" y="32"/>
                    </a:lnTo>
                    <a:lnTo>
                      <a:pt x="230" y="32"/>
                    </a:lnTo>
                    <a:lnTo>
                      <a:pt x="236" y="32"/>
                    </a:lnTo>
                    <a:lnTo>
                      <a:pt x="237" y="33"/>
                    </a:lnTo>
                    <a:lnTo>
                      <a:pt x="240" y="32"/>
                    </a:lnTo>
                    <a:lnTo>
                      <a:pt x="247" y="29"/>
                    </a:lnTo>
                    <a:lnTo>
                      <a:pt x="246" y="26"/>
                    </a:lnTo>
                    <a:lnTo>
                      <a:pt x="247" y="24"/>
                    </a:lnTo>
                    <a:lnTo>
                      <a:pt x="250" y="24"/>
                    </a:lnTo>
                    <a:lnTo>
                      <a:pt x="253" y="24"/>
                    </a:lnTo>
                    <a:lnTo>
                      <a:pt x="250" y="21"/>
                    </a:lnTo>
                    <a:lnTo>
                      <a:pt x="246" y="2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3" name="Freeform 119">
                <a:extLst>
                  <a:ext uri="{FF2B5EF4-FFF2-40B4-BE49-F238E27FC236}">
                    <a16:creationId xmlns:a16="http://schemas.microsoft.com/office/drawing/2014/main" id="{6BABB6E1-8D25-F5FA-30CD-CCCE48F94B17}"/>
                  </a:ext>
                </a:extLst>
              </p:cNvPr>
              <p:cNvSpPr>
                <a:spLocks noEditPoints="1"/>
              </p:cNvSpPr>
              <p:nvPr/>
            </p:nvSpPr>
            <p:spPr bwMode="auto">
              <a:xfrm>
                <a:off x="6766527" y="2962889"/>
                <a:ext cx="141704" cy="108447"/>
              </a:xfrm>
              <a:custGeom>
                <a:avLst/>
                <a:gdLst>
                  <a:gd name="T0" fmla="*/ 16 w 98"/>
                  <a:gd name="T1" fmla="*/ 63 h 75"/>
                  <a:gd name="T2" fmla="*/ 0 w 98"/>
                  <a:gd name="T3" fmla="*/ 49 h 75"/>
                  <a:gd name="T4" fmla="*/ 3 w 98"/>
                  <a:gd name="T5" fmla="*/ 46 h 75"/>
                  <a:gd name="T6" fmla="*/ 6 w 98"/>
                  <a:gd name="T7" fmla="*/ 50 h 75"/>
                  <a:gd name="T8" fmla="*/ 10 w 98"/>
                  <a:gd name="T9" fmla="*/ 52 h 75"/>
                  <a:gd name="T10" fmla="*/ 18 w 98"/>
                  <a:gd name="T11" fmla="*/ 52 h 75"/>
                  <a:gd name="T12" fmla="*/ 20 w 98"/>
                  <a:gd name="T13" fmla="*/ 58 h 75"/>
                  <a:gd name="T14" fmla="*/ 20 w 98"/>
                  <a:gd name="T15" fmla="*/ 59 h 75"/>
                  <a:gd name="T16" fmla="*/ 3 w 98"/>
                  <a:gd name="T17" fmla="*/ 19 h 75"/>
                  <a:gd name="T18" fmla="*/ 29 w 98"/>
                  <a:gd name="T19" fmla="*/ 0 h 75"/>
                  <a:gd name="T20" fmla="*/ 31 w 98"/>
                  <a:gd name="T21" fmla="*/ 2 h 75"/>
                  <a:gd name="T22" fmla="*/ 33 w 98"/>
                  <a:gd name="T23" fmla="*/ 2 h 75"/>
                  <a:gd name="T24" fmla="*/ 36 w 98"/>
                  <a:gd name="T25" fmla="*/ 4 h 75"/>
                  <a:gd name="T26" fmla="*/ 39 w 98"/>
                  <a:gd name="T27" fmla="*/ 7 h 75"/>
                  <a:gd name="T28" fmla="*/ 42 w 98"/>
                  <a:gd name="T29" fmla="*/ 10 h 75"/>
                  <a:gd name="T30" fmla="*/ 43 w 98"/>
                  <a:gd name="T31" fmla="*/ 13 h 75"/>
                  <a:gd name="T32" fmla="*/ 48 w 98"/>
                  <a:gd name="T33" fmla="*/ 15 h 75"/>
                  <a:gd name="T34" fmla="*/ 54 w 98"/>
                  <a:gd name="T35" fmla="*/ 16 h 75"/>
                  <a:gd name="T36" fmla="*/ 58 w 98"/>
                  <a:gd name="T37" fmla="*/ 10 h 75"/>
                  <a:gd name="T38" fmla="*/ 62 w 98"/>
                  <a:gd name="T39" fmla="*/ 9 h 75"/>
                  <a:gd name="T40" fmla="*/ 66 w 98"/>
                  <a:gd name="T41" fmla="*/ 2 h 75"/>
                  <a:gd name="T42" fmla="*/ 84 w 98"/>
                  <a:gd name="T43" fmla="*/ 26 h 75"/>
                  <a:gd name="T44" fmla="*/ 92 w 98"/>
                  <a:gd name="T45" fmla="*/ 30 h 75"/>
                  <a:gd name="T46" fmla="*/ 95 w 98"/>
                  <a:gd name="T47" fmla="*/ 35 h 75"/>
                  <a:gd name="T48" fmla="*/ 84 w 98"/>
                  <a:gd name="T49" fmla="*/ 38 h 75"/>
                  <a:gd name="T50" fmla="*/ 79 w 98"/>
                  <a:gd name="T51" fmla="*/ 59 h 75"/>
                  <a:gd name="T52" fmla="*/ 74 w 98"/>
                  <a:gd name="T53" fmla="*/ 62 h 75"/>
                  <a:gd name="T54" fmla="*/ 72 w 98"/>
                  <a:gd name="T55" fmla="*/ 75 h 75"/>
                  <a:gd name="T56" fmla="*/ 64 w 98"/>
                  <a:gd name="T57" fmla="*/ 71 h 75"/>
                  <a:gd name="T58" fmla="*/ 58 w 98"/>
                  <a:gd name="T59" fmla="*/ 63 h 75"/>
                  <a:gd name="T60" fmla="*/ 61 w 98"/>
                  <a:gd name="T61" fmla="*/ 61 h 75"/>
                  <a:gd name="T62" fmla="*/ 61 w 98"/>
                  <a:gd name="T63" fmla="*/ 55 h 75"/>
                  <a:gd name="T64" fmla="*/ 55 w 98"/>
                  <a:gd name="T65" fmla="*/ 49 h 75"/>
                  <a:gd name="T66" fmla="*/ 31 w 98"/>
                  <a:gd name="T67" fmla="*/ 65 h 75"/>
                  <a:gd name="T68" fmla="*/ 32 w 98"/>
                  <a:gd name="T69" fmla="*/ 58 h 75"/>
                  <a:gd name="T70" fmla="*/ 28 w 98"/>
                  <a:gd name="T71" fmla="*/ 53 h 75"/>
                  <a:gd name="T72" fmla="*/ 28 w 98"/>
                  <a:gd name="T73" fmla="*/ 49 h 75"/>
                  <a:gd name="T74" fmla="*/ 23 w 98"/>
                  <a:gd name="T75" fmla="*/ 49 h 75"/>
                  <a:gd name="T76" fmla="*/ 16 w 98"/>
                  <a:gd name="T77" fmla="*/ 42 h 75"/>
                  <a:gd name="T78" fmla="*/ 19 w 98"/>
                  <a:gd name="T79" fmla="*/ 36 h 75"/>
                  <a:gd name="T80" fmla="*/ 10 w 98"/>
                  <a:gd name="T81" fmla="*/ 27 h 75"/>
                  <a:gd name="T82" fmla="*/ 12 w 98"/>
                  <a:gd name="T83" fmla="*/ 22 h 75"/>
                  <a:gd name="T84" fmla="*/ 8 w 98"/>
                  <a:gd name="T85" fmla="*/ 17 h 75"/>
                  <a:gd name="T86" fmla="*/ 3 w 98"/>
                  <a:gd name="T87" fmla="*/ 13 h 75"/>
                  <a:gd name="T88" fmla="*/ 12 w 98"/>
                  <a:gd name="T89" fmla="*/ 10 h 75"/>
                  <a:gd name="T90" fmla="*/ 16 w 98"/>
                  <a:gd name="T91" fmla="*/ 13 h 75"/>
                  <a:gd name="T92" fmla="*/ 16 w 98"/>
                  <a:gd name="T93" fmla="*/ 15 h 75"/>
                  <a:gd name="T94" fmla="*/ 23 w 98"/>
                  <a:gd name="T95" fmla="*/ 16 h 75"/>
                  <a:gd name="T96" fmla="*/ 31 w 98"/>
                  <a:gd name="T97" fmla="*/ 19 h 75"/>
                  <a:gd name="T98" fmla="*/ 25 w 98"/>
                  <a:gd name="T99" fmla="*/ 6 h 75"/>
                  <a:gd name="T100" fmla="*/ 13 w 98"/>
                  <a:gd name="T101" fmla="*/ 27 h 75"/>
                  <a:gd name="T102" fmla="*/ 13 w 98"/>
                  <a:gd name="T103"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8" h="75">
                    <a:moveTo>
                      <a:pt x="20" y="59"/>
                    </a:moveTo>
                    <a:lnTo>
                      <a:pt x="23" y="65"/>
                    </a:lnTo>
                    <a:lnTo>
                      <a:pt x="19" y="65"/>
                    </a:lnTo>
                    <a:lnTo>
                      <a:pt x="16" y="63"/>
                    </a:lnTo>
                    <a:lnTo>
                      <a:pt x="12" y="62"/>
                    </a:lnTo>
                    <a:lnTo>
                      <a:pt x="9" y="59"/>
                    </a:lnTo>
                    <a:lnTo>
                      <a:pt x="5" y="55"/>
                    </a:lnTo>
                    <a:lnTo>
                      <a:pt x="0" y="49"/>
                    </a:lnTo>
                    <a:lnTo>
                      <a:pt x="0" y="49"/>
                    </a:lnTo>
                    <a:lnTo>
                      <a:pt x="0" y="48"/>
                    </a:lnTo>
                    <a:lnTo>
                      <a:pt x="2" y="48"/>
                    </a:lnTo>
                    <a:lnTo>
                      <a:pt x="3" y="46"/>
                    </a:lnTo>
                    <a:lnTo>
                      <a:pt x="5" y="48"/>
                    </a:lnTo>
                    <a:lnTo>
                      <a:pt x="6" y="48"/>
                    </a:lnTo>
                    <a:lnTo>
                      <a:pt x="6" y="49"/>
                    </a:lnTo>
                    <a:lnTo>
                      <a:pt x="6" y="50"/>
                    </a:lnTo>
                    <a:lnTo>
                      <a:pt x="6" y="50"/>
                    </a:lnTo>
                    <a:lnTo>
                      <a:pt x="8" y="50"/>
                    </a:lnTo>
                    <a:lnTo>
                      <a:pt x="10" y="52"/>
                    </a:lnTo>
                    <a:lnTo>
                      <a:pt x="10" y="52"/>
                    </a:lnTo>
                    <a:lnTo>
                      <a:pt x="12" y="52"/>
                    </a:lnTo>
                    <a:lnTo>
                      <a:pt x="15" y="50"/>
                    </a:lnTo>
                    <a:lnTo>
                      <a:pt x="16" y="50"/>
                    </a:lnTo>
                    <a:lnTo>
                      <a:pt x="18" y="52"/>
                    </a:lnTo>
                    <a:lnTo>
                      <a:pt x="18" y="53"/>
                    </a:lnTo>
                    <a:lnTo>
                      <a:pt x="19" y="56"/>
                    </a:lnTo>
                    <a:lnTo>
                      <a:pt x="19" y="56"/>
                    </a:lnTo>
                    <a:lnTo>
                      <a:pt x="20" y="58"/>
                    </a:lnTo>
                    <a:lnTo>
                      <a:pt x="20" y="58"/>
                    </a:lnTo>
                    <a:lnTo>
                      <a:pt x="20" y="58"/>
                    </a:lnTo>
                    <a:lnTo>
                      <a:pt x="20" y="59"/>
                    </a:lnTo>
                    <a:lnTo>
                      <a:pt x="20" y="59"/>
                    </a:lnTo>
                    <a:close/>
                    <a:moveTo>
                      <a:pt x="3" y="19"/>
                    </a:moveTo>
                    <a:lnTo>
                      <a:pt x="5" y="20"/>
                    </a:lnTo>
                    <a:lnTo>
                      <a:pt x="5" y="19"/>
                    </a:lnTo>
                    <a:lnTo>
                      <a:pt x="3" y="19"/>
                    </a:lnTo>
                    <a:lnTo>
                      <a:pt x="3" y="19"/>
                    </a:lnTo>
                    <a:close/>
                    <a:moveTo>
                      <a:pt x="29" y="0"/>
                    </a:moveTo>
                    <a:lnTo>
                      <a:pt x="29" y="0"/>
                    </a:lnTo>
                    <a:lnTo>
                      <a:pt x="29" y="0"/>
                    </a:lnTo>
                    <a:lnTo>
                      <a:pt x="29" y="0"/>
                    </a:lnTo>
                    <a:lnTo>
                      <a:pt x="31" y="2"/>
                    </a:lnTo>
                    <a:lnTo>
                      <a:pt x="31" y="2"/>
                    </a:lnTo>
                    <a:lnTo>
                      <a:pt x="31" y="2"/>
                    </a:lnTo>
                    <a:lnTo>
                      <a:pt x="31" y="2"/>
                    </a:lnTo>
                    <a:lnTo>
                      <a:pt x="32" y="3"/>
                    </a:lnTo>
                    <a:lnTo>
                      <a:pt x="32" y="3"/>
                    </a:lnTo>
                    <a:lnTo>
                      <a:pt x="33" y="2"/>
                    </a:lnTo>
                    <a:lnTo>
                      <a:pt x="35" y="3"/>
                    </a:lnTo>
                    <a:lnTo>
                      <a:pt x="35" y="3"/>
                    </a:lnTo>
                    <a:lnTo>
                      <a:pt x="36" y="4"/>
                    </a:lnTo>
                    <a:lnTo>
                      <a:pt x="36" y="4"/>
                    </a:lnTo>
                    <a:lnTo>
                      <a:pt x="38" y="6"/>
                    </a:lnTo>
                    <a:lnTo>
                      <a:pt x="38" y="6"/>
                    </a:lnTo>
                    <a:lnTo>
                      <a:pt x="39" y="6"/>
                    </a:lnTo>
                    <a:lnTo>
                      <a:pt x="39" y="7"/>
                    </a:lnTo>
                    <a:lnTo>
                      <a:pt x="41" y="9"/>
                    </a:lnTo>
                    <a:lnTo>
                      <a:pt x="42" y="9"/>
                    </a:lnTo>
                    <a:lnTo>
                      <a:pt x="42" y="10"/>
                    </a:lnTo>
                    <a:lnTo>
                      <a:pt x="42" y="10"/>
                    </a:lnTo>
                    <a:lnTo>
                      <a:pt x="43" y="10"/>
                    </a:lnTo>
                    <a:lnTo>
                      <a:pt x="43" y="12"/>
                    </a:lnTo>
                    <a:lnTo>
                      <a:pt x="43" y="13"/>
                    </a:lnTo>
                    <a:lnTo>
                      <a:pt x="43" y="13"/>
                    </a:lnTo>
                    <a:lnTo>
                      <a:pt x="43" y="13"/>
                    </a:lnTo>
                    <a:lnTo>
                      <a:pt x="45" y="15"/>
                    </a:lnTo>
                    <a:lnTo>
                      <a:pt x="46" y="15"/>
                    </a:lnTo>
                    <a:lnTo>
                      <a:pt x="48" y="15"/>
                    </a:lnTo>
                    <a:lnTo>
                      <a:pt x="49" y="15"/>
                    </a:lnTo>
                    <a:lnTo>
                      <a:pt x="49" y="16"/>
                    </a:lnTo>
                    <a:lnTo>
                      <a:pt x="51" y="16"/>
                    </a:lnTo>
                    <a:lnTo>
                      <a:pt x="54" y="16"/>
                    </a:lnTo>
                    <a:lnTo>
                      <a:pt x="55" y="15"/>
                    </a:lnTo>
                    <a:lnTo>
                      <a:pt x="56" y="13"/>
                    </a:lnTo>
                    <a:lnTo>
                      <a:pt x="56" y="12"/>
                    </a:lnTo>
                    <a:lnTo>
                      <a:pt x="58" y="10"/>
                    </a:lnTo>
                    <a:lnTo>
                      <a:pt x="58" y="10"/>
                    </a:lnTo>
                    <a:lnTo>
                      <a:pt x="59" y="10"/>
                    </a:lnTo>
                    <a:lnTo>
                      <a:pt x="59" y="9"/>
                    </a:lnTo>
                    <a:lnTo>
                      <a:pt x="62" y="9"/>
                    </a:lnTo>
                    <a:lnTo>
                      <a:pt x="62" y="7"/>
                    </a:lnTo>
                    <a:lnTo>
                      <a:pt x="64" y="6"/>
                    </a:lnTo>
                    <a:lnTo>
                      <a:pt x="65" y="3"/>
                    </a:lnTo>
                    <a:lnTo>
                      <a:pt x="66" y="2"/>
                    </a:lnTo>
                    <a:lnTo>
                      <a:pt x="72" y="6"/>
                    </a:lnTo>
                    <a:lnTo>
                      <a:pt x="78" y="19"/>
                    </a:lnTo>
                    <a:lnTo>
                      <a:pt x="82" y="25"/>
                    </a:lnTo>
                    <a:lnTo>
                      <a:pt x="84" y="26"/>
                    </a:lnTo>
                    <a:lnTo>
                      <a:pt x="85" y="27"/>
                    </a:lnTo>
                    <a:lnTo>
                      <a:pt x="88" y="29"/>
                    </a:lnTo>
                    <a:lnTo>
                      <a:pt x="89" y="29"/>
                    </a:lnTo>
                    <a:lnTo>
                      <a:pt x="92" y="30"/>
                    </a:lnTo>
                    <a:lnTo>
                      <a:pt x="95" y="30"/>
                    </a:lnTo>
                    <a:lnTo>
                      <a:pt x="97" y="33"/>
                    </a:lnTo>
                    <a:lnTo>
                      <a:pt x="98" y="36"/>
                    </a:lnTo>
                    <a:lnTo>
                      <a:pt x="95" y="35"/>
                    </a:lnTo>
                    <a:lnTo>
                      <a:pt x="92" y="35"/>
                    </a:lnTo>
                    <a:lnTo>
                      <a:pt x="89" y="35"/>
                    </a:lnTo>
                    <a:lnTo>
                      <a:pt x="87" y="36"/>
                    </a:lnTo>
                    <a:lnTo>
                      <a:pt x="84" y="38"/>
                    </a:lnTo>
                    <a:lnTo>
                      <a:pt x="82" y="40"/>
                    </a:lnTo>
                    <a:lnTo>
                      <a:pt x="81" y="45"/>
                    </a:lnTo>
                    <a:lnTo>
                      <a:pt x="81" y="55"/>
                    </a:lnTo>
                    <a:lnTo>
                      <a:pt x="79" y="59"/>
                    </a:lnTo>
                    <a:lnTo>
                      <a:pt x="76" y="63"/>
                    </a:lnTo>
                    <a:lnTo>
                      <a:pt x="75" y="61"/>
                    </a:lnTo>
                    <a:lnTo>
                      <a:pt x="75" y="61"/>
                    </a:lnTo>
                    <a:lnTo>
                      <a:pt x="74" y="62"/>
                    </a:lnTo>
                    <a:lnTo>
                      <a:pt x="72" y="63"/>
                    </a:lnTo>
                    <a:lnTo>
                      <a:pt x="72" y="66"/>
                    </a:lnTo>
                    <a:lnTo>
                      <a:pt x="72" y="69"/>
                    </a:lnTo>
                    <a:lnTo>
                      <a:pt x="72" y="75"/>
                    </a:lnTo>
                    <a:lnTo>
                      <a:pt x="69" y="75"/>
                    </a:lnTo>
                    <a:lnTo>
                      <a:pt x="66" y="75"/>
                    </a:lnTo>
                    <a:lnTo>
                      <a:pt x="65" y="73"/>
                    </a:lnTo>
                    <a:lnTo>
                      <a:pt x="64" y="71"/>
                    </a:lnTo>
                    <a:lnTo>
                      <a:pt x="58" y="68"/>
                    </a:lnTo>
                    <a:lnTo>
                      <a:pt x="56" y="66"/>
                    </a:lnTo>
                    <a:lnTo>
                      <a:pt x="56" y="65"/>
                    </a:lnTo>
                    <a:lnTo>
                      <a:pt x="58" y="63"/>
                    </a:lnTo>
                    <a:lnTo>
                      <a:pt x="61" y="63"/>
                    </a:lnTo>
                    <a:lnTo>
                      <a:pt x="61" y="63"/>
                    </a:lnTo>
                    <a:lnTo>
                      <a:pt x="62" y="62"/>
                    </a:lnTo>
                    <a:lnTo>
                      <a:pt x="61" y="61"/>
                    </a:lnTo>
                    <a:lnTo>
                      <a:pt x="59" y="59"/>
                    </a:lnTo>
                    <a:lnTo>
                      <a:pt x="58" y="58"/>
                    </a:lnTo>
                    <a:lnTo>
                      <a:pt x="59" y="56"/>
                    </a:lnTo>
                    <a:lnTo>
                      <a:pt x="61" y="55"/>
                    </a:lnTo>
                    <a:lnTo>
                      <a:pt x="61" y="55"/>
                    </a:lnTo>
                    <a:lnTo>
                      <a:pt x="59" y="52"/>
                    </a:lnTo>
                    <a:lnTo>
                      <a:pt x="58" y="49"/>
                    </a:lnTo>
                    <a:lnTo>
                      <a:pt x="55" y="49"/>
                    </a:lnTo>
                    <a:lnTo>
                      <a:pt x="52" y="49"/>
                    </a:lnTo>
                    <a:lnTo>
                      <a:pt x="46" y="53"/>
                    </a:lnTo>
                    <a:lnTo>
                      <a:pt x="32" y="63"/>
                    </a:lnTo>
                    <a:lnTo>
                      <a:pt x="31" y="65"/>
                    </a:lnTo>
                    <a:lnTo>
                      <a:pt x="29" y="62"/>
                    </a:lnTo>
                    <a:lnTo>
                      <a:pt x="29" y="61"/>
                    </a:lnTo>
                    <a:lnTo>
                      <a:pt x="29" y="59"/>
                    </a:lnTo>
                    <a:lnTo>
                      <a:pt x="32" y="58"/>
                    </a:lnTo>
                    <a:lnTo>
                      <a:pt x="31" y="56"/>
                    </a:lnTo>
                    <a:lnTo>
                      <a:pt x="29" y="56"/>
                    </a:lnTo>
                    <a:lnTo>
                      <a:pt x="29" y="55"/>
                    </a:lnTo>
                    <a:lnTo>
                      <a:pt x="28" y="53"/>
                    </a:lnTo>
                    <a:lnTo>
                      <a:pt x="29" y="52"/>
                    </a:lnTo>
                    <a:lnTo>
                      <a:pt x="29" y="52"/>
                    </a:lnTo>
                    <a:lnTo>
                      <a:pt x="29" y="50"/>
                    </a:lnTo>
                    <a:lnTo>
                      <a:pt x="28" y="49"/>
                    </a:lnTo>
                    <a:lnTo>
                      <a:pt x="26" y="49"/>
                    </a:lnTo>
                    <a:lnTo>
                      <a:pt x="25" y="49"/>
                    </a:lnTo>
                    <a:lnTo>
                      <a:pt x="23" y="49"/>
                    </a:lnTo>
                    <a:lnTo>
                      <a:pt x="23" y="49"/>
                    </a:lnTo>
                    <a:lnTo>
                      <a:pt x="18" y="45"/>
                    </a:lnTo>
                    <a:lnTo>
                      <a:pt x="16" y="43"/>
                    </a:lnTo>
                    <a:lnTo>
                      <a:pt x="13" y="42"/>
                    </a:lnTo>
                    <a:lnTo>
                      <a:pt x="16" y="42"/>
                    </a:lnTo>
                    <a:lnTo>
                      <a:pt x="18" y="42"/>
                    </a:lnTo>
                    <a:lnTo>
                      <a:pt x="19" y="40"/>
                    </a:lnTo>
                    <a:lnTo>
                      <a:pt x="20" y="39"/>
                    </a:lnTo>
                    <a:lnTo>
                      <a:pt x="19" y="36"/>
                    </a:lnTo>
                    <a:lnTo>
                      <a:pt x="18" y="35"/>
                    </a:lnTo>
                    <a:lnTo>
                      <a:pt x="15" y="32"/>
                    </a:lnTo>
                    <a:lnTo>
                      <a:pt x="12" y="30"/>
                    </a:lnTo>
                    <a:lnTo>
                      <a:pt x="10" y="27"/>
                    </a:lnTo>
                    <a:lnTo>
                      <a:pt x="12" y="26"/>
                    </a:lnTo>
                    <a:lnTo>
                      <a:pt x="13" y="25"/>
                    </a:lnTo>
                    <a:lnTo>
                      <a:pt x="13" y="23"/>
                    </a:lnTo>
                    <a:lnTo>
                      <a:pt x="12" y="22"/>
                    </a:lnTo>
                    <a:lnTo>
                      <a:pt x="9" y="20"/>
                    </a:lnTo>
                    <a:lnTo>
                      <a:pt x="5" y="19"/>
                    </a:lnTo>
                    <a:lnTo>
                      <a:pt x="6" y="17"/>
                    </a:lnTo>
                    <a:lnTo>
                      <a:pt x="8" y="17"/>
                    </a:lnTo>
                    <a:lnTo>
                      <a:pt x="6" y="16"/>
                    </a:lnTo>
                    <a:lnTo>
                      <a:pt x="5" y="16"/>
                    </a:lnTo>
                    <a:lnTo>
                      <a:pt x="5" y="15"/>
                    </a:lnTo>
                    <a:lnTo>
                      <a:pt x="3" y="13"/>
                    </a:lnTo>
                    <a:lnTo>
                      <a:pt x="6" y="12"/>
                    </a:lnTo>
                    <a:lnTo>
                      <a:pt x="8" y="12"/>
                    </a:lnTo>
                    <a:lnTo>
                      <a:pt x="9" y="10"/>
                    </a:lnTo>
                    <a:lnTo>
                      <a:pt x="12" y="10"/>
                    </a:lnTo>
                    <a:lnTo>
                      <a:pt x="12" y="12"/>
                    </a:lnTo>
                    <a:lnTo>
                      <a:pt x="13" y="12"/>
                    </a:lnTo>
                    <a:lnTo>
                      <a:pt x="15" y="12"/>
                    </a:lnTo>
                    <a:lnTo>
                      <a:pt x="16" y="13"/>
                    </a:lnTo>
                    <a:lnTo>
                      <a:pt x="16" y="13"/>
                    </a:lnTo>
                    <a:lnTo>
                      <a:pt x="16" y="13"/>
                    </a:lnTo>
                    <a:lnTo>
                      <a:pt x="16" y="15"/>
                    </a:lnTo>
                    <a:lnTo>
                      <a:pt x="16" y="15"/>
                    </a:lnTo>
                    <a:lnTo>
                      <a:pt x="19" y="16"/>
                    </a:lnTo>
                    <a:lnTo>
                      <a:pt x="20" y="16"/>
                    </a:lnTo>
                    <a:lnTo>
                      <a:pt x="22" y="16"/>
                    </a:lnTo>
                    <a:lnTo>
                      <a:pt x="23" y="16"/>
                    </a:lnTo>
                    <a:lnTo>
                      <a:pt x="25" y="16"/>
                    </a:lnTo>
                    <a:lnTo>
                      <a:pt x="28" y="17"/>
                    </a:lnTo>
                    <a:lnTo>
                      <a:pt x="29" y="19"/>
                    </a:lnTo>
                    <a:lnTo>
                      <a:pt x="31" y="19"/>
                    </a:lnTo>
                    <a:lnTo>
                      <a:pt x="33" y="16"/>
                    </a:lnTo>
                    <a:lnTo>
                      <a:pt x="32" y="13"/>
                    </a:lnTo>
                    <a:lnTo>
                      <a:pt x="26" y="7"/>
                    </a:lnTo>
                    <a:lnTo>
                      <a:pt x="25" y="6"/>
                    </a:lnTo>
                    <a:lnTo>
                      <a:pt x="26" y="4"/>
                    </a:lnTo>
                    <a:lnTo>
                      <a:pt x="28" y="3"/>
                    </a:lnTo>
                    <a:lnTo>
                      <a:pt x="29" y="0"/>
                    </a:lnTo>
                    <a:close/>
                    <a:moveTo>
                      <a:pt x="13" y="27"/>
                    </a:moveTo>
                    <a:lnTo>
                      <a:pt x="13" y="27"/>
                    </a:lnTo>
                    <a:lnTo>
                      <a:pt x="12" y="29"/>
                    </a:lnTo>
                    <a:lnTo>
                      <a:pt x="13" y="29"/>
                    </a:lnTo>
                    <a:lnTo>
                      <a:pt x="13" y="2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4" name="Freeform 120">
                <a:extLst>
                  <a:ext uri="{FF2B5EF4-FFF2-40B4-BE49-F238E27FC236}">
                    <a16:creationId xmlns:a16="http://schemas.microsoft.com/office/drawing/2014/main" id="{458216E3-1C92-E53B-DBD5-795ED9D6F058}"/>
                  </a:ext>
                </a:extLst>
              </p:cNvPr>
              <p:cNvSpPr>
                <a:spLocks/>
              </p:cNvSpPr>
              <p:nvPr/>
            </p:nvSpPr>
            <p:spPr bwMode="auto">
              <a:xfrm>
                <a:off x="6645066" y="2909389"/>
                <a:ext cx="169177" cy="80974"/>
              </a:xfrm>
              <a:custGeom>
                <a:avLst/>
                <a:gdLst>
                  <a:gd name="T0" fmla="*/ 36 w 117"/>
                  <a:gd name="T1" fmla="*/ 47 h 56"/>
                  <a:gd name="T2" fmla="*/ 43 w 117"/>
                  <a:gd name="T3" fmla="*/ 47 h 56"/>
                  <a:gd name="T4" fmla="*/ 46 w 117"/>
                  <a:gd name="T5" fmla="*/ 44 h 56"/>
                  <a:gd name="T6" fmla="*/ 51 w 117"/>
                  <a:gd name="T7" fmla="*/ 47 h 56"/>
                  <a:gd name="T8" fmla="*/ 59 w 117"/>
                  <a:gd name="T9" fmla="*/ 53 h 56"/>
                  <a:gd name="T10" fmla="*/ 60 w 117"/>
                  <a:gd name="T11" fmla="*/ 54 h 56"/>
                  <a:gd name="T12" fmla="*/ 86 w 117"/>
                  <a:gd name="T13" fmla="*/ 53 h 56"/>
                  <a:gd name="T14" fmla="*/ 86 w 117"/>
                  <a:gd name="T15" fmla="*/ 52 h 56"/>
                  <a:gd name="T16" fmla="*/ 90 w 117"/>
                  <a:gd name="T17" fmla="*/ 49 h 56"/>
                  <a:gd name="T18" fmla="*/ 96 w 117"/>
                  <a:gd name="T19" fmla="*/ 47 h 56"/>
                  <a:gd name="T20" fmla="*/ 99 w 117"/>
                  <a:gd name="T21" fmla="*/ 49 h 56"/>
                  <a:gd name="T22" fmla="*/ 100 w 117"/>
                  <a:gd name="T23" fmla="*/ 50 h 56"/>
                  <a:gd name="T24" fmla="*/ 103 w 117"/>
                  <a:gd name="T25" fmla="*/ 53 h 56"/>
                  <a:gd name="T26" fmla="*/ 107 w 117"/>
                  <a:gd name="T27" fmla="*/ 53 h 56"/>
                  <a:gd name="T28" fmla="*/ 113 w 117"/>
                  <a:gd name="T29" fmla="*/ 56 h 56"/>
                  <a:gd name="T30" fmla="*/ 116 w 117"/>
                  <a:gd name="T31" fmla="*/ 50 h 56"/>
                  <a:gd name="T32" fmla="*/ 110 w 117"/>
                  <a:gd name="T33" fmla="*/ 41 h 56"/>
                  <a:gd name="T34" fmla="*/ 113 w 117"/>
                  <a:gd name="T35" fmla="*/ 37 h 56"/>
                  <a:gd name="T36" fmla="*/ 107 w 117"/>
                  <a:gd name="T37" fmla="*/ 36 h 56"/>
                  <a:gd name="T38" fmla="*/ 103 w 117"/>
                  <a:gd name="T39" fmla="*/ 33 h 56"/>
                  <a:gd name="T40" fmla="*/ 99 w 117"/>
                  <a:gd name="T41" fmla="*/ 30 h 56"/>
                  <a:gd name="T42" fmla="*/ 100 w 117"/>
                  <a:gd name="T43" fmla="*/ 26 h 56"/>
                  <a:gd name="T44" fmla="*/ 99 w 117"/>
                  <a:gd name="T45" fmla="*/ 24 h 56"/>
                  <a:gd name="T46" fmla="*/ 96 w 117"/>
                  <a:gd name="T47" fmla="*/ 23 h 56"/>
                  <a:gd name="T48" fmla="*/ 90 w 117"/>
                  <a:gd name="T49" fmla="*/ 20 h 56"/>
                  <a:gd name="T50" fmla="*/ 86 w 117"/>
                  <a:gd name="T51" fmla="*/ 18 h 56"/>
                  <a:gd name="T52" fmla="*/ 84 w 117"/>
                  <a:gd name="T53" fmla="*/ 18 h 56"/>
                  <a:gd name="T54" fmla="*/ 83 w 117"/>
                  <a:gd name="T55" fmla="*/ 20 h 56"/>
                  <a:gd name="T56" fmla="*/ 82 w 117"/>
                  <a:gd name="T57" fmla="*/ 18 h 56"/>
                  <a:gd name="T58" fmla="*/ 79 w 117"/>
                  <a:gd name="T59" fmla="*/ 18 h 56"/>
                  <a:gd name="T60" fmla="*/ 76 w 117"/>
                  <a:gd name="T61" fmla="*/ 20 h 56"/>
                  <a:gd name="T62" fmla="*/ 69 w 117"/>
                  <a:gd name="T63" fmla="*/ 23 h 56"/>
                  <a:gd name="T64" fmla="*/ 66 w 117"/>
                  <a:gd name="T65" fmla="*/ 23 h 56"/>
                  <a:gd name="T66" fmla="*/ 66 w 117"/>
                  <a:gd name="T67" fmla="*/ 20 h 56"/>
                  <a:gd name="T68" fmla="*/ 66 w 117"/>
                  <a:gd name="T69" fmla="*/ 18 h 56"/>
                  <a:gd name="T70" fmla="*/ 63 w 117"/>
                  <a:gd name="T71" fmla="*/ 17 h 56"/>
                  <a:gd name="T72" fmla="*/ 59 w 117"/>
                  <a:gd name="T73" fmla="*/ 16 h 56"/>
                  <a:gd name="T74" fmla="*/ 50 w 117"/>
                  <a:gd name="T75" fmla="*/ 10 h 56"/>
                  <a:gd name="T76" fmla="*/ 46 w 117"/>
                  <a:gd name="T77" fmla="*/ 10 h 56"/>
                  <a:gd name="T78" fmla="*/ 43 w 117"/>
                  <a:gd name="T79" fmla="*/ 8 h 56"/>
                  <a:gd name="T80" fmla="*/ 36 w 117"/>
                  <a:gd name="T81" fmla="*/ 8 h 56"/>
                  <a:gd name="T82" fmla="*/ 28 w 117"/>
                  <a:gd name="T83" fmla="*/ 8 h 56"/>
                  <a:gd name="T84" fmla="*/ 21 w 117"/>
                  <a:gd name="T85" fmla="*/ 6 h 56"/>
                  <a:gd name="T86" fmla="*/ 17 w 117"/>
                  <a:gd name="T87" fmla="*/ 4 h 56"/>
                  <a:gd name="T88" fmla="*/ 10 w 117"/>
                  <a:gd name="T89" fmla="*/ 1 h 56"/>
                  <a:gd name="T90" fmla="*/ 3 w 117"/>
                  <a:gd name="T91" fmla="*/ 0 h 56"/>
                  <a:gd name="T92" fmla="*/ 1 w 117"/>
                  <a:gd name="T93" fmla="*/ 1 h 56"/>
                  <a:gd name="T94" fmla="*/ 10 w 117"/>
                  <a:gd name="T95" fmla="*/ 10 h 56"/>
                  <a:gd name="T96" fmla="*/ 18 w 117"/>
                  <a:gd name="T97" fmla="*/ 14 h 56"/>
                  <a:gd name="T98" fmla="*/ 20 w 117"/>
                  <a:gd name="T99" fmla="*/ 17 h 56"/>
                  <a:gd name="T100" fmla="*/ 24 w 117"/>
                  <a:gd name="T101" fmla="*/ 18 h 56"/>
                  <a:gd name="T102" fmla="*/ 30 w 117"/>
                  <a:gd name="T103" fmla="*/ 37 h 56"/>
                  <a:gd name="T104" fmla="*/ 27 w 117"/>
                  <a:gd name="T105"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7" h="56">
                    <a:moveTo>
                      <a:pt x="31" y="47"/>
                    </a:moveTo>
                    <a:lnTo>
                      <a:pt x="33" y="47"/>
                    </a:lnTo>
                    <a:lnTo>
                      <a:pt x="36" y="47"/>
                    </a:lnTo>
                    <a:lnTo>
                      <a:pt x="37" y="46"/>
                    </a:lnTo>
                    <a:lnTo>
                      <a:pt x="43" y="47"/>
                    </a:lnTo>
                    <a:lnTo>
                      <a:pt x="43" y="47"/>
                    </a:lnTo>
                    <a:lnTo>
                      <a:pt x="44" y="47"/>
                    </a:lnTo>
                    <a:lnTo>
                      <a:pt x="46" y="46"/>
                    </a:lnTo>
                    <a:lnTo>
                      <a:pt x="46" y="44"/>
                    </a:lnTo>
                    <a:lnTo>
                      <a:pt x="47" y="44"/>
                    </a:lnTo>
                    <a:lnTo>
                      <a:pt x="50" y="46"/>
                    </a:lnTo>
                    <a:lnTo>
                      <a:pt x="51" y="47"/>
                    </a:lnTo>
                    <a:lnTo>
                      <a:pt x="56" y="52"/>
                    </a:lnTo>
                    <a:lnTo>
                      <a:pt x="59" y="53"/>
                    </a:lnTo>
                    <a:lnTo>
                      <a:pt x="59" y="53"/>
                    </a:lnTo>
                    <a:lnTo>
                      <a:pt x="60" y="53"/>
                    </a:lnTo>
                    <a:lnTo>
                      <a:pt x="60" y="54"/>
                    </a:lnTo>
                    <a:lnTo>
                      <a:pt x="60" y="54"/>
                    </a:lnTo>
                    <a:lnTo>
                      <a:pt x="73" y="53"/>
                    </a:lnTo>
                    <a:lnTo>
                      <a:pt x="82" y="53"/>
                    </a:lnTo>
                    <a:lnTo>
                      <a:pt x="86" y="53"/>
                    </a:lnTo>
                    <a:lnTo>
                      <a:pt x="84" y="52"/>
                    </a:lnTo>
                    <a:lnTo>
                      <a:pt x="84" y="52"/>
                    </a:lnTo>
                    <a:lnTo>
                      <a:pt x="86" y="52"/>
                    </a:lnTo>
                    <a:lnTo>
                      <a:pt x="87" y="52"/>
                    </a:lnTo>
                    <a:lnTo>
                      <a:pt x="87" y="50"/>
                    </a:lnTo>
                    <a:lnTo>
                      <a:pt x="90" y="49"/>
                    </a:lnTo>
                    <a:lnTo>
                      <a:pt x="92" y="49"/>
                    </a:lnTo>
                    <a:lnTo>
                      <a:pt x="93" y="47"/>
                    </a:lnTo>
                    <a:lnTo>
                      <a:pt x="96" y="47"/>
                    </a:lnTo>
                    <a:lnTo>
                      <a:pt x="96" y="49"/>
                    </a:lnTo>
                    <a:lnTo>
                      <a:pt x="97" y="49"/>
                    </a:lnTo>
                    <a:lnTo>
                      <a:pt x="99" y="49"/>
                    </a:lnTo>
                    <a:lnTo>
                      <a:pt x="100" y="50"/>
                    </a:lnTo>
                    <a:lnTo>
                      <a:pt x="100" y="50"/>
                    </a:lnTo>
                    <a:lnTo>
                      <a:pt x="100" y="50"/>
                    </a:lnTo>
                    <a:lnTo>
                      <a:pt x="100" y="52"/>
                    </a:lnTo>
                    <a:lnTo>
                      <a:pt x="100" y="52"/>
                    </a:lnTo>
                    <a:lnTo>
                      <a:pt x="103" y="53"/>
                    </a:lnTo>
                    <a:lnTo>
                      <a:pt x="104" y="53"/>
                    </a:lnTo>
                    <a:lnTo>
                      <a:pt x="106" y="53"/>
                    </a:lnTo>
                    <a:lnTo>
                      <a:pt x="107" y="53"/>
                    </a:lnTo>
                    <a:lnTo>
                      <a:pt x="109" y="53"/>
                    </a:lnTo>
                    <a:lnTo>
                      <a:pt x="112" y="54"/>
                    </a:lnTo>
                    <a:lnTo>
                      <a:pt x="113" y="56"/>
                    </a:lnTo>
                    <a:lnTo>
                      <a:pt x="115" y="56"/>
                    </a:lnTo>
                    <a:lnTo>
                      <a:pt x="117" y="53"/>
                    </a:lnTo>
                    <a:lnTo>
                      <a:pt x="116" y="50"/>
                    </a:lnTo>
                    <a:lnTo>
                      <a:pt x="110" y="44"/>
                    </a:lnTo>
                    <a:lnTo>
                      <a:pt x="109" y="43"/>
                    </a:lnTo>
                    <a:lnTo>
                      <a:pt x="110" y="41"/>
                    </a:lnTo>
                    <a:lnTo>
                      <a:pt x="112" y="40"/>
                    </a:lnTo>
                    <a:lnTo>
                      <a:pt x="113" y="37"/>
                    </a:lnTo>
                    <a:lnTo>
                      <a:pt x="113" y="37"/>
                    </a:lnTo>
                    <a:lnTo>
                      <a:pt x="110" y="37"/>
                    </a:lnTo>
                    <a:lnTo>
                      <a:pt x="109" y="36"/>
                    </a:lnTo>
                    <a:lnTo>
                      <a:pt x="107" y="36"/>
                    </a:lnTo>
                    <a:lnTo>
                      <a:pt x="106" y="34"/>
                    </a:lnTo>
                    <a:lnTo>
                      <a:pt x="104" y="34"/>
                    </a:lnTo>
                    <a:lnTo>
                      <a:pt x="103" y="33"/>
                    </a:lnTo>
                    <a:lnTo>
                      <a:pt x="100" y="31"/>
                    </a:lnTo>
                    <a:lnTo>
                      <a:pt x="99" y="31"/>
                    </a:lnTo>
                    <a:lnTo>
                      <a:pt x="99" y="30"/>
                    </a:lnTo>
                    <a:lnTo>
                      <a:pt x="100" y="26"/>
                    </a:lnTo>
                    <a:lnTo>
                      <a:pt x="100" y="26"/>
                    </a:lnTo>
                    <a:lnTo>
                      <a:pt x="100" y="26"/>
                    </a:lnTo>
                    <a:lnTo>
                      <a:pt x="100" y="24"/>
                    </a:lnTo>
                    <a:lnTo>
                      <a:pt x="100" y="24"/>
                    </a:lnTo>
                    <a:lnTo>
                      <a:pt x="99" y="24"/>
                    </a:lnTo>
                    <a:lnTo>
                      <a:pt x="99" y="24"/>
                    </a:lnTo>
                    <a:lnTo>
                      <a:pt x="97" y="23"/>
                    </a:lnTo>
                    <a:lnTo>
                      <a:pt x="96" y="23"/>
                    </a:lnTo>
                    <a:lnTo>
                      <a:pt x="94" y="23"/>
                    </a:lnTo>
                    <a:lnTo>
                      <a:pt x="93" y="23"/>
                    </a:lnTo>
                    <a:lnTo>
                      <a:pt x="90" y="20"/>
                    </a:lnTo>
                    <a:lnTo>
                      <a:pt x="89" y="20"/>
                    </a:lnTo>
                    <a:lnTo>
                      <a:pt x="86" y="18"/>
                    </a:lnTo>
                    <a:lnTo>
                      <a:pt x="86" y="18"/>
                    </a:lnTo>
                    <a:lnTo>
                      <a:pt x="86" y="18"/>
                    </a:lnTo>
                    <a:lnTo>
                      <a:pt x="84" y="18"/>
                    </a:lnTo>
                    <a:lnTo>
                      <a:pt x="84" y="18"/>
                    </a:lnTo>
                    <a:lnTo>
                      <a:pt x="84" y="20"/>
                    </a:lnTo>
                    <a:lnTo>
                      <a:pt x="84" y="21"/>
                    </a:lnTo>
                    <a:lnTo>
                      <a:pt x="83" y="20"/>
                    </a:lnTo>
                    <a:lnTo>
                      <a:pt x="83" y="20"/>
                    </a:lnTo>
                    <a:lnTo>
                      <a:pt x="82" y="20"/>
                    </a:lnTo>
                    <a:lnTo>
                      <a:pt x="82" y="18"/>
                    </a:lnTo>
                    <a:lnTo>
                      <a:pt x="80" y="18"/>
                    </a:lnTo>
                    <a:lnTo>
                      <a:pt x="80" y="18"/>
                    </a:lnTo>
                    <a:lnTo>
                      <a:pt x="79" y="18"/>
                    </a:lnTo>
                    <a:lnTo>
                      <a:pt x="79" y="18"/>
                    </a:lnTo>
                    <a:lnTo>
                      <a:pt x="79" y="18"/>
                    </a:lnTo>
                    <a:lnTo>
                      <a:pt x="76" y="20"/>
                    </a:lnTo>
                    <a:lnTo>
                      <a:pt x="71" y="21"/>
                    </a:lnTo>
                    <a:lnTo>
                      <a:pt x="70" y="23"/>
                    </a:lnTo>
                    <a:lnTo>
                      <a:pt x="69" y="23"/>
                    </a:lnTo>
                    <a:lnTo>
                      <a:pt x="69" y="23"/>
                    </a:lnTo>
                    <a:lnTo>
                      <a:pt x="67" y="23"/>
                    </a:lnTo>
                    <a:lnTo>
                      <a:pt x="66" y="23"/>
                    </a:lnTo>
                    <a:lnTo>
                      <a:pt x="66" y="21"/>
                    </a:lnTo>
                    <a:lnTo>
                      <a:pt x="66" y="20"/>
                    </a:lnTo>
                    <a:lnTo>
                      <a:pt x="66" y="20"/>
                    </a:lnTo>
                    <a:lnTo>
                      <a:pt x="67" y="18"/>
                    </a:lnTo>
                    <a:lnTo>
                      <a:pt x="66" y="18"/>
                    </a:lnTo>
                    <a:lnTo>
                      <a:pt x="66" y="18"/>
                    </a:lnTo>
                    <a:lnTo>
                      <a:pt x="66" y="18"/>
                    </a:lnTo>
                    <a:lnTo>
                      <a:pt x="64" y="18"/>
                    </a:lnTo>
                    <a:lnTo>
                      <a:pt x="63" y="17"/>
                    </a:lnTo>
                    <a:lnTo>
                      <a:pt x="61" y="17"/>
                    </a:lnTo>
                    <a:lnTo>
                      <a:pt x="60" y="16"/>
                    </a:lnTo>
                    <a:lnTo>
                      <a:pt x="59" y="16"/>
                    </a:lnTo>
                    <a:lnTo>
                      <a:pt x="54" y="13"/>
                    </a:lnTo>
                    <a:lnTo>
                      <a:pt x="53" y="11"/>
                    </a:lnTo>
                    <a:lnTo>
                      <a:pt x="50" y="10"/>
                    </a:lnTo>
                    <a:lnTo>
                      <a:pt x="48" y="10"/>
                    </a:lnTo>
                    <a:lnTo>
                      <a:pt x="46" y="10"/>
                    </a:lnTo>
                    <a:lnTo>
                      <a:pt x="46" y="10"/>
                    </a:lnTo>
                    <a:lnTo>
                      <a:pt x="44" y="8"/>
                    </a:lnTo>
                    <a:lnTo>
                      <a:pt x="43" y="8"/>
                    </a:lnTo>
                    <a:lnTo>
                      <a:pt x="43" y="8"/>
                    </a:lnTo>
                    <a:lnTo>
                      <a:pt x="40" y="8"/>
                    </a:lnTo>
                    <a:lnTo>
                      <a:pt x="38" y="8"/>
                    </a:lnTo>
                    <a:lnTo>
                      <a:pt x="36" y="8"/>
                    </a:lnTo>
                    <a:lnTo>
                      <a:pt x="31" y="8"/>
                    </a:lnTo>
                    <a:lnTo>
                      <a:pt x="30" y="8"/>
                    </a:lnTo>
                    <a:lnTo>
                      <a:pt x="28" y="8"/>
                    </a:lnTo>
                    <a:lnTo>
                      <a:pt x="27" y="7"/>
                    </a:lnTo>
                    <a:lnTo>
                      <a:pt x="24" y="6"/>
                    </a:lnTo>
                    <a:lnTo>
                      <a:pt x="21" y="6"/>
                    </a:lnTo>
                    <a:lnTo>
                      <a:pt x="20" y="4"/>
                    </a:lnTo>
                    <a:lnTo>
                      <a:pt x="18" y="4"/>
                    </a:lnTo>
                    <a:lnTo>
                      <a:pt x="17" y="4"/>
                    </a:lnTo>
                    <a:lnTo>
                      <a:pt x="15" y="3"/>
                    </a:lnTo>
                    <a:lnTo>
                      <a:pt x="11" y="1"/>
                    </a:lnTo>
                    <a:lnTo>
                      <a:pt x="10" y="1"/>
                    </a:lnTo>
                    <a:lnTo>
                      <a:pt x="10" y="1"/>
                    </a:lnTo>
                    <a:lnTo>
                      <a:pt x="4" y="1"/>
                    </a:lnTo>
                    <a:lnTo>
                      <a:pt x="3" y="0"/>
                    </a:lnTo>
                    <a:lnTo>
                      <a:pt x="1" y="1"/>
                    </a:lnTo>
                    <a:lnTo>
                      <a:pt x="1" y="1"/>
                    </a:lnTo>
                    <a:lnTo>
                      <a:pt x="1" y="1"/>
                    </a:lnTo>
                    <a:lnTo>
                      <a:pt x="0" y="3"/>
                    </a:lnTo>
                    <a:lnTo>
                      <a:pt x="0" y="4"/>
                    </a:lnTo>
                    <a:lnTo>
                      <a:pt x="10" y="10"/>
                    </a:lnTo>
                    <a:lnTo>
                      <a:pt x="15" y="13"/>
                    </a:lnTo>
                    <a:lnTo>
                      <a:pt x="17" y="14"/>
                    </a:lnTo>
                    <a:lnTo>
                      <a:pt x="18" y="14"/>
                    </a:lnTo>
                    <a:lnTo>
                      <a:pt x="18" y="16"/>
                    </a:lnTo>
                    <a:lnTo>
                      <a:pt x="20" y="17"/>
                    </a:lnTo>
                    <a:lnTo>
                      <a:pt x="20" y="17"/>
                    </a:lnTo>
                    <a:lnTo>
                      <a:pt x="21" y="17"/>
                    </a:lnTo>
                    <a:lnTo>
                      <a:pt x="24" y="18"/>
                    </a:lnTo>
                    <a:lnTo>
                      <a:pt x="24" y="18"/>
                    </a:lnTo>
                    <a:lnTo>
                      <a:pt x="27" y="21"/>
                    </a:lnTo>
                    <a:lnTo>
                      <a:pt x="28" y="26"/>
                    </a:lnTo>
                    <a:lnTo>
                      <a:pt x="30" y="37"/>
                    </a:lnTo>
                    <a:lnTo>
                      <a:pt x="30" y="40"/>
                    </a:lnTo>
                    <a:lnTo>
                      <a:pt x="28" y="43"/>
                    </a:lnTo>
                    <a:lnTo>
                      <a:pt x="27" y="46"/>
                    </a:lnTo>
                    <a:lnTo>
                      <a:pt x="30" y="47"/>
                    </a:lnTo>
                    <a:lnTo>
                      <a:pt x="31" y="4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5" name="Freeform 121">
                <a:extLst>
                  <a:ext uri="{FF2B5EF4-FFF2-40B4-BE49-F238E27FC236}">
                    <a16:creationId xmlns:a16="http://schemas.microsoft.com/office/drawing/2014/main" id="{CEF3BD8D-79EF-0184-6159-F39927C154B8}"/>
                  </a:ext>
                </a:extLst>
              </p:cNvPr>
              <p:cNvSpPr>
                <a:spLocks noEditPoints="1"/>
              </p:cNvSpPr>
              <p:nvPr/>
            </p:nvSpPr>
            <p:spPr bwMode="auto">
              <a:xfrm>
                <a:off x="8789425" y="2929632"/>
                <a:ext cx="161948" cy="161948"/>
              </a:xfrm>
              <a:custGeom>
                <a:avLst/>
                <a:gdLst>
                  <a:gd name="T0" fmla="*/ 111 w 112"/>
                  <a:gd name="T1" fmla="*/ 15 h 112"/>
                  <a:gd name="T2" fmla="*/ 105 w 112"/>
                  <a:gd name="T3" fmla="*/ 16 h 112"/>
                  <a:gd name="T4" fmla="*/ 98 w 112"/>
                  <a:gd name="T5" fmla="*/ 23 h 112"/>
                  <a:gd name="T6" fmla="*/ 95 w 112"/>
                  <a:gd name="T7" fmla="*/ 30 h 112"/>
                  <a:gd name="T8" fmla="*/ 95 w 112"/>
                  <a:gd name="T9" fmla="*/ 43 h 112"/>
                  <a:gd name="T10" fmla="*/ 94 w 112"/>
                  <a:gd name="T11" fmla="*/ 46 h 112"/>
                  <a:gd name="T12" fmla="*/ 88 w 112"/>
                  <a:gd name="T13" fmla="*/ 49 h 112"/>
                  <a:gd name="T14" fmla="*/ 73 w 112"/>
                  <a:gd name="T15" fmla="*/ 62 h 112"/>
                  <a:gd name="T16" fmla="*/ 63 w 112"/>
                  <a:gd name="T17" fmla="*/ 66 h 112"/>
                  <a:gd name="T18" fmla="*/ 56 w 112"/>
                  <a:gd name="T19" fmla="*/ 69 h 112"/>
                  <a:gd name="T20" fmla="*/ 56 w 112"/>
                  <a:gd name="T21" fmla="*/ 76 h 112"/>
                  <a:gd name="T22" fmla="*/ 53 w 112"/>
                  <a:gd name="T23" fmla="*/ 79 h 112"/>
                  <a:gd name="T24" fmla="*/ 55 w 112"/>
                  <a:gd name="T25" fmla="*/ 82 h 112"/>
                  <a:gd name="T26" fmla="*/ 62 w 112"/>
                  <a:gd name="T27" fmla="*/ 85 h 112"/>
                  <a:gd name="T28" fmla="*/ 71 w 112"/>
                  <a:gd name="T29" fmla="*/ 92 h 112"/>
                  <a:gd name="T30" fmla="*/ 68 w 112"/>
                  <a:gd name="T31" fmla="*/ 98 h 112"/>
                  <a:gd name="T32" fmla="*/ 63 w 112"/>
                  <a:gd name="T33" fmla="*/ 101 h 112"/>
                  <a:gd name="T34" fmla="*/ 46 w 112"/>
                  <a:gd name="T35" fmla="*/ 102 h 112"/>
                  <a:gd name="T36" fmla="*/ 38 w 112"/>
                  <a:gd name="T37" fmla="*/ 109 h 112"/>
                  <a:gd name="T38" fmla="*/ 32 w 112"/>
                  <a:gd name="T39" fmla="*/ 112 h 112"/>
                  <a:gd name="T40" fmla="*/ 26 w 112"/>
                  <a:gd name="T41" fmla="*/ 108 h 112"/>
                  <a:gd name="T42" fmla="*/ 23 w 112"/>
                  <a:gd name="T43" fmla="*/ 108 h 112"/>
                  <a:gd name="T44" fmla="*/ 19 w 112"/>
                  <a:gd name="T45" fmla="*/ 112 h 112"/>
                  <a:gd name="T46" fmla="*/ 17 w 112"/>
                  <a:gd name="T47" fmla="*/ 111 h 112"/>
                  <a:gd name="T48" fmla="*/ 16 w 112"/>
                  <a:gd name="T49" fmla="*/ 105 h 112"/>
                  <a:gd name="T50" fmla="*/ 9 w 112"/>
                  <a:gd name="T51" fmla="*/ 102 h 112"/>
                  <a:gd name="T52" fmla="*/ 12 w 112"/>
                  <a:gd name="T53" fmla="*/ 96 h 112"/>
                  <a:gd name="T54" fmla="*/ 19 w 112"/>
                  <a:gd name="T55" fmla="*/ 92 h 112"/>
                  <a:gd name="T56" fmla="*/ 17 w 112"/>
                  <a:gd name="T57" fmla="*/ 91 h 112"/>
                  <a:gd name="T58" fmla="*/ 15 w 112"/>
                  <a:gd name="T59" fmla="*/ 85 h 112"/>
                  <a:gd name="T60" fmla="*/ 17 w 112"/>
                  <a:gd name="T61" fmla="*/ 75 h 112"/>
                  <a:gd name="T62" fmla="*/ 7 w 112"/>
                  <a:gd name="T63" fmla="*/ 71 h 112"/>
                  <a:gd name="T64" fmla="*/ 4 w 112"/>
                  <a:gd name="T65" fmla="*/ 71 h 112"/>
                  <a:gd name="T66" fmla="*/ 2 w 112"/>
                  <a:gd name="T67" fmla="*/ 61 h 112"/>
                  <a:gd name="T68" fmla="*/ 30 w 112"/>
                  <a:gd name="T69" fmla="*/ 43 h 112"/>
                  <a:gd name="T70" fmla="*/ 36 w 112"/>
                  <a:gd name="T71" fmla="*/ 36 h 112"/>
                  <a:gd name="T72" fmla="*/ 39 w 112"/>
                  <a:gd name="T73" fmla="*/ 30 h 112"/>
                  <a:gd name="T74" fmla="*/ 43 w 112"/>
                  <a:gd name="T75" fmla="*/ 26 h 112"/>
                  <a:gd name="T76" fmla="*/ 48 w 112"/>
                  <a:gd name="T77" fmla="*/ 29 h 112"/>
                  <a:gd name="T78" fmla="*/ 50 w 112"/>
                  <a:gd name="T79" fmla="*/ 32 h 112"/>
                  <a:gd name="T80" fmla="*/ 59 w 112"/>
                  <a:gd name="T81" fmla="*/ 33 h 112"/>
                  <a:gd name="T82" fmla="*/ 65 w 112"/>
                  <a:gd name="T83" fmla="*/ 33 h 112"/>
                  <a:gd name="T84" fmla="*/ 69 w 112"/>
                  <a:gd name="T85" fmla="*/ 32 h 112"/>
                  <a:gd name="T86" fmla="*/ 65 w 112"/>
                  <a:gd name="T87" fmla="*/ 22 h 112"/>
                  <a:gd name="T88" fmla="*/ 75 w 112"/>
                  <a:gd name="T89" fmla="*/ 20 h 112"/>
                  <a:gd name="T90" fmla="*/ 82 w 112"/>
                  <a:gd name="T91" fmla="*/ 19 h 112"/>
                  <a:gd name="T92" fmla="*/ 86 w 112"/>
                  <a:gd name="T93" fmla="*/ 13 h 112"/>
                  <a:gd name="T94" fmla="*/ 91 w 112"/>
                  <a:gd name="T95" fmla="*/ 12 h 112"/>
                  <a:gd name="T96" fmla="*/ 96 w 112"/>
                  <a:gd name="T97" fmla="*/ 2 h 112"/>
                  <a:gd name="T98" fmla="*/ 102 w 112"/>
                  <a:gd name="T99" fmla="*/ 0 h 112"/>
                  <a:gd name="T100" fmla="*/ 104 w 112"/>
                  <a:gd name="T101" fmla="*/ 4 h 112"/>
                  <a:gd name="T102" fmla="*/ 106 w 112"/>
                  <a:gd name="T103" fmla="*/ 7 h 112"/>
                  <a:gd name="T104" fmla="*/ 109 w 112"/>
                  <a:gd name="T105" fmla="*/ 10 h 112"/>
                  <a:gd name="T106" fmla="*/ 111 w 112"/>
                  <a:gd name="T107" fmla="*/ 13 h 112"/>
                  <a:gd name="T108" fmla="*/ 10 w 112"/>
                  <a:gd name="T109" fmla="*/ 73 h 112"/>
                  <a:gd name="T110" fmla="*/ 9 w 112"/>
                  <a:gd name="T111" fmla="*/ 73 h 112"/>
                  <a:gd name="T112" fmla="*/ 10 w 112"/>
                  <a:gd name="T113" fmla="*/ 7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2" h="112">
                    <a:moveTo>
                      <a:pt x="111" y="15"/>
                    </a:moveTo>
                    <a:lnTo>
                      <a:pt x="112" y="15"/>
                    </a:lnTo>
                    <a:lnTo>
                      <a:pt x="111" y="15"/>
                    </a:lnTo>
                    <a:lnTo>
                      <a:pt x="108" y="15"/>
                    </a:lnTo>
                    <a:lnTo>
                      <a:pt x="106" y="15"/>
                    </a:lnTo>
                    <a:lnTo>
                      <a:pt x="105" y="16"/>
                    </a:lnTo>
                    <a:lnTo>
                      <a:pt x="105" y="17"/>
                    </a:lnTo>
                    <a:lnTo>
                      <a:pt x="102" y="19"/>
                    </a:lnTo>
                    <a:lnTo>
                      <a:pt x="98" y="23"/>
                    </a:lnTo>
                    <a:lnTo>
                      <a:pt x="96" y="25"/>
                    </a:lnTo>
                    <a:lnTo>
                      <a:pt x="95" y="27"/>
                    </a:lnTo>
                    <a:lnTo>
                      <a:pt x="95" y="30"/>
                    </a:lnTo>
                    <a:lnTo>
                      <a:pt x="94" y="33"/>
                    </a:lnTo>
                    <a:lnTo>
                      <a:pt x="95" y="42"/>
                    </a:lnTo>
                    <a:lnTo>
                      <a:pt x="95" y="43"/>
                    </a:lnTo>
                    <a:lnTo>
                      <a:pt x="95" y="45"/>
                    </a:lnTo>
                    <a:lnTo>
                      <a:pt x="95" y="46"/>
                    </a:lnTo>
                    <a:lnTo>
                      <a:pt x="94" y="46"/>
                    </a:lnTo>
                    <a:lnTo>
                      <a:pt x="92" y="48"/>
                    </a:lnTo>
                    <a:lnTo>
                      <a:pt x="89" y="48"/>
                    </a:lnTo>
                    <a:lnTo>
                      <a:pt x="88" y="49"/>
                    </a:lnTo>
                    <a:lnTo>
                      <a:pt x="86" y="50"/>
                    </a:lnTo>
                    <a:lnTo>
                      <a:pt x="82" y="55"/>
                    </a:lnTo>
                    <a:lnTo>
                      <a:pt x="73" y="62"/>
                    </a:lnTo>
                    <a:lnTo>
                      <a:pt x="71" y="63"/>
                    </a:lnTo>
                    <a:lnTo>
                      <a:pt x="65" y="65"/>
                    </a:lnTo>
                    <a:lnTo>
                      <a:pt x="63" y="66"/>
                    </a:lnTo>
                    <a:lnTo>
                      <a:pt x="59" y="68"/>
                    </a:lnTo>
                    <a:lnTo>
                      <a:pt x="58" y="69"/>
                    </a:lnTo>
                    <a:lnTo>
                      <a:pt x="56" y="69"/>
                    </a:lnTo>
                    <a:lnTo>
                      <a:pt x="56" y="71"/>
                    </a:lnTo>
                    <a:lnTo>
                      <a:pt x="56" y="72"/>
                    </a:lnTo>
                    <a:lnTo>
                      <a:pt x="56" y="76"/>
                    </a:lnTo>
                    <a:lnTo>
                      <a:pt x="56" y="78"/>
                    </a:lnTo>
                    <a:lnTo>
                      <a:pt x="55" y="78"/>
                    </a:lnTo>
                    <a:lnTo>
                      <a:pt x="53" y="79"/>
                    </a:lnTo>
                    <a:lnTo>
                      <a:pt x="53" y="79"/>
                    </a:lnTo>
                    <a:lnTo>
                      <a:pt x="53" y="82"/>
                    </a:lnTo>
                    <a:lnTo>
                      <a:pt x="55" y="82"/>
                    </a:lnTo>
                    <a:lnTo>
                      <a:pt x="59" y="84"/>
                    </a:lnTo>
                    <a:lnTo>
                      <a:pt x="60" y="84"/>
                    </a:lnTo>
                    <a:lnTo>
                      <a:pt x="62" y="85"/>
                    </a:lnTo>
                    <a:lnTo>
                      <a:pt x="66" y="89"/>
                    </a:lnTo>
                    <a:lnTo>
                      <a:pt x="69" y="92"/>
                    </a:lnTo>
                    <a:lnTo>
                      <a:pt x="71" y="92"/>
                    </a:lnTo>
                    <a:lnTo>
                      <a:pt x="71" y="94"/>
                    </a:lnTo>
                    <a:lnTo>
                      <a:pt x="69" y="95"/>
                    </a:lnTo>
                    <a:lnTo>
                      <a:pt x="68" y="98"/>
                    </a:lnTo>
                    <a:lnTo>
                      <a:pt x="68" y="99"/>
                    </a:lnTo>
                    <a:lnTo>
                      <a:pt x="65" y="101"/>
                    </a:lnTo>
                    <a:lnTo>
                      <a:pt x="63" y="101"/>
                    </a:lnTo>
                    <a:lnTo>
                      <a:pt x="56" y="101"/>
                    </a:lnTo>
                    <a:lnTo>
                      <a:pt x="50" y="101"/>
                    </a:lnTo>
                    <a:lnTo>
                      <a:pt x="46" y="102"/>
                    </a:lnTo>
                    <a:lnTo>
                      <a:pt x="43" y="107"/>
                    </a:lnTo>
                    <a:lnTo>
                      <a:pt x="40" y="111"/>
                    </a:lnTo>
                    <a:lnTo>
                      <a:pt x="38" y="109"/>
                    </a:lnTo>
                    <a:lnTo>
                      <a:pt x="35" y="109"/>
                    </a:lnTo>
                    <a:lnTo>
                      <a:pt x="33" y="109"/>
                    </a:lnTo>
                    <a:lnTo>
                      <a:pt x="32" y="112"/>
                    </a:lnTo>
                    <a:lnTo>
                      <a:pt x="30" y="111"/>
                    </a:lnTo>
                    <a:lnTo>
                      <a:pt x="29" y="109"/>
                    </a:lnTo>
                    <a:lnTo>
                      <a:pt x="26" y="108"/>
                    </a:lnTo>
                    <a:lnTo>
                      <a:pt x="25" y="107"/>
                    </a:lnTo>
                    <a:lnTo>
                      <a:pt x="25" y="108"/>
                    </a:lnTo>
                    <a:lnTo>
                      <a:pt x="23" y="108"/>
                    </a:lnTo>
                    <a:lnTo>
                      <a:pt x="22" y="109"/>
                    </a:lnTo>
                    <a:lnTo>
                      <a:pt x="22" y="111"/>
                    </a:lnTo>
                    <a:lnTo>
                      <a:pt x="19" y="112"/>
                    </a:lnTo>
                    <a:lnTo>
                      <a:pt x="19" y="112"/>
                    </a:lnTo>
                    <a:lnTo>
                      <a:pt x="19" y="111"/>
                    </a:lnTo>
                    <a:lnTo>
                      <a:pt x="17" y="111"/>
                    </a:lnTo>
                    <a:lnTo>
                      <a:pt x="13" y="108"/>
                    </a:lnTo>
                    <a:lnTo>
                      <a:pt x="12" y="108"/>
                    </a:lnTo>
                    <a:lnTo>
                      <a:pt x="16" y="105"/>
                    </a:lnTo>
                    <a:lnTo>
                      <a:pt x="13" y="105"/>
                    </a:lnTo>
                    <a:lnTo>
                      <a:pt x="6" y="104"/>
                    </a:lnTo>
                    <a:lnTo>
                      <a:pt x="9" y="102"/>
                    </a:lnTo>
                    <a:lnTo>
                      <a:pt x="9" y="101"/>
                    </a:lnTo>
                    <a:lnTo>
                      <a:pt x="10" y="98"/>
                    </a:lnTo>
                    <a:lnTo>
                      <a:pt x="12" y="96"/>
                    </a:lnTo>
                    <a:lnTo>
                      <a:pt x="15" y="94"/>
                    </a:lnTo>
                    <a:lnTo>
                      <a:pt x="16" y="94"/>
                    </a:lnTo>
                    <a:lnTo>
                      <a:pt x="19" y="92"/>
                    </a:lnTo>
                    <a:lnTo>
                      <a:pt x="22" y="92"/>
                    </a:lnTo>
                    <a:lnTo>
                      <a:pt x="19" y="91"/>
                    </a:lnTo>
                    <a:lnTo>
                      <a:pt x="17" y="91"/>
                    </a:lnTo>
                    <a:lnTo>
                      <a:pt x="16" y="91"/>
                    </a:lnTo>
                    <a:lnTo>
                      <a:pt x="15" y="88"/>
                    </a:lnTo>
                    <a:lnTo>
                      <a:pt x="15" y="85"/>
                    </a:lnTo>
                    <a:lnTo>
                      <a:pt x="17" y="81"/>
                    </a:lnTo>
                    <a:lnTo>
                      <a:pt x="19" y="78"/>
                    </a:lnTo>
                    <a:lnTo>
                      <a:pt x="17" y="75"/>
                    </a:lnTo>
                    <a:lnTo>
                      <a:pt x="16" y="73"/>
                    </a:lnTo>
                    <a:lnTo>
                      <a:pt x="9" y="71"/>
                    </a:lnTo>
                    <a:lnTo>
                      <a:pt x="7" y="71"/>
                    </a:lnTo>
                    <a:lnTo>
                      <a:pt x="7" y="72"/>
                    </a:lnTo>
                    <a:lnTo>
                      <a:pt x="4" y="73"/>
                    </a:lnTo>
                    <a:lnTo>
                      <a:pt x="4" y="71"/>
                    </a:lnTo>
                    <a:lnTo>
                      <a:pt x="0" y="66"/>
                    </a:lnTo>
                    <a:lnTo>
                      <a:pt x="0" y="65"/>
                    </a:lnTo>
                    <a:lnTo>
                      <a:pt x="2" y="61"/>
                    </a:lnTo>
                    <a:lnTo>
                      <a:pt x="6" y="58"/>
                    </a:lnTo>
                    <a:lnTo>
                      <a:pt x="27" y="45"/>
                    </a:lnTo>
                    <a:lnTo>
                      <a:pt x="30" y="43"/>
                    </a:lnTo>
                    <a:lnTo>
                      <a:pt x="32" y="40"/>
                    </a:lnTo>
                    <a:lnTo>
                      <a:pt x="36" y="38"/>
                    </a:lnTo>
                    <a:lnTo>
                      <a:pt x="36" y="36"/>
                    </a:lnTo>
                    <a:lnTo>
                      <a:pt x="38" y="35"/>
                    </a:lnTo>
                    <a:lnTo>
                      <a:pt x="39" y="32"/>
                    </a:lnTo>
                    <a:lnTo>
                      <a:pt x="39" y="30"/>
                    </a:lnTo>
                    <a:lnTo>
                      <a:pt x="40" y="29"/>
                    </a:lnTo>
                    <a:lnTo>
                      <a:pt x="42" y="27"/>
                    </a:lnTo>
                    <a:lnTo>
                      <a:pt x="43" y="26"/>
                    </a:lnTo>
                    <a:lnTo>
                      <a:pt x="45" y="26"/>
                    </a:lnTo>
                    <a:lnTo>
                      <a:pt x="46" y="27"/>
                    </a:lnTo>
                    <a:lnTo>
                      <a:pt x="48" y="29"/>
                    </a:lnTo>
                    <a:lnTo>
                      <a:pt x="48" y="30"/>
                    </a:lnTo>
                    <a:lnTo>
                      <a:pt x="49" y="30"/>
                    </a:lnTo>
                    <a:lnTo>
                      <a:pt x="50" y="32"/>
                    </a:lnTo>
                    <a:lnTo>
                      <a:pt x="53" y="33"/>
                    </a:lnTo>
                    <a:lnTo>
                      <a:pt x="58" y="33"/>
                    </a:lnTo>
                    <a:lnTo>
                      <a:pt x="59" y="33"/>
                    </a:lnTo>
                    <a:lnTo>
                      <a:pt x="62" y="33"/>
                    </a:lnTo>
                    <a:lnTo>
                      <a:pt x="63" y="33"/>
                    </a:lnTo>
                    <a:lnTo>
                      <a:pt x="65" y="33"/>
                    </a:lnTo>
                    <a:lnTo>
                      <a:pt x="66" y="35"/>
                    </a:lnTo>
                    <a:lnTo>
                      <a:pt x="66" y="35"/>
                    </a:lnTo>
                    <a:lnTo>
                      <a:pt x="69" y="32"/>
                    </a:lnTo>
                    <a:lnTo>
                      <a:pt x="68" y="29"/>
                    </a:lnTo>
                    <a:lnTo>
                      <a:pt x="66" y="26"/>
                    </a:lnTo>
                    <a:lnTo>
                      <a:pt x="65" y="22"/>
                    </a:lnTo>
                    <a:lnTo>
                      <a:pt x="66" y="22"/>
                    </a:lnTo>
                    <a:lnTo>
                      <a:pt x="69" y="20"/>
                    </a:lnTo>
                    <a:lnTo>
                      <a:pt x="75" y="20"/>
                    </a:lnTo>
                    <a:lnTo>
                      <a:pt x="78" y="20"/>
                    </a:lnTo>
                    <a:lnTo>
                      <a:pt x="79" y="20"/>
                    </a:lnTo>
                    <a:lnTo>
                      <a:pt x="82" y="19"/>
                    </a:lnTo>
                    <a:lnTo>
                      <a:pt x="83" y="19"/>
                    </a:lnTo>
                    <a:lnTo>
                      <a:pt x="85" y="17"/>
                    </a:lnTo>
                    <a:lnTo>
                      <a:pt x="86" y="13"/>
                    </a:lnTo>
                    <a:lnTo>
                      <a:pt x="88" y="12"/>
                    </a:lnTo>
                    <a:lnTo>
                      <a:pt x="89" y="12"/>
                    </a:lnTo>
                    <a:lnTo>
                      <a:pt x="91" y="12"/>
                    </a:lnTo>
                    <a:lnTo>
                      <a:pt x="92" y="12"/>
                    </a:lnTo>
                    <a:lnTo>
                      <a:pt x="95" y="9"/>
                    </a:lnTo>
                    <a:lnTo>
                      <a:pt x="96" y="2"/>
                    </a:lnTo>
                    <a:lnTo>
                      <a:pt x="99" y="0"/>
                    </a:lnTo>
                    <a:lnTo>
                      <a:pt x="101" y="0"/>
                    </a:lnTo>
                    <a:lnTo>
                      <a:pt x="102" y="0"/>
                    </a:lnTo>
                    <a:lnTo>
                      <a:pt x="104" y="2"/>
                    </a:lnTo>
                    <a:lnTo>
                      <a:pt x="104" y="3"/>
                    </a:lnTo>
                    <a:lnTo>
                      <a:pt x="104" y="4"/>
                    </a:lnTo>
                    <a:lnTo>
                      <a:pt x="105" y="4"/>
                    </a:lnTo>
                    <a:lnTo>
                      <a:pt x="105" y="6"/>
                    </a:lnTo>
                    <a:lnTo>
                      <a:pt x="106" y="7"/>
                    </a:lnTo>
                    <a:lnTo>
                      <a:pt x="106" y="7"/>
                    </a:lnTo>
                    <a:lnTo>
                      <a:pt x="109" y="9"/>
                    </a:lnTo>
                    <a:lnTo>
                      <a:pt x="109" y="10"/>
                    </a:lnTo>
                    <a:lnTo>
                      <a:pt x="109" y="12"/>
                    </a:lnTo>
                    <a:lnTo>
                      <a:pt x="111" y="12"/>
                    </a:lnTo>
                    <a:lnTo>
                      <a:pt x="111" y="13"/>
                    </a:lnTo>
                    <a:lnTo>
                      <a:pt x="111" y="15"/>
                    </a:lnTo>
                    <a:close/>
                    <a:moveTo>
                      <a:pt x="10" y="73"/>
                    </a:moveTo>
                    <a:lnTo>
                      <a:pt x="10" y="73"/>
                    </a:lnTo>
                    <a:lnTo>
                      <a:pt x="10" y="73"/>
                    </a:lnTo>
                    <a:lnTo>
                      <a:pt x="9" y="73"/>
                    </a:lnTo>
                    <a:lnTo>
                      <a:pt x="9" y="73"/>
                    </a:lnTo>
                    <a:lnTo>
                      <a:pt x="9" y="75"/>
                    </a:lnTo>
                    <a:lnTo>
                      <a:pt x="10" y="73"/>
                    </a:lnTo>
                    <a:lnTo>
                      <a:pt x="10" y="7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6" name="Freeform 122">
                <a:extLst>
                  <a:ext uri="{FF2B5EF4-FFF2-40B4-BE49-F238E27FC236}">
                    <a16:creationId xmlns:a16="http://schemas.microsoft.com/office/drawing/2014/main" id="{4CAD577B-70C1-14A0-DA39-9BBC3A074EBC}"/>
                  </a:ext>
                </a:extLst>
              </p:cNvPr>
              <p:cNvSpPr>
                <a:spLocks noEditPoints="1"/>
              </p:cNvSpPr>
              <p:nvPr/>
            </p:nvSpPr>
            <p:spPr bwMode="auto">
              <a:xfrm>
                <a:off x="6747729" y="3032295"/>
                <a:ext cx="488735" cy="417882"/>
              </a:xfrm>
              <a:custGeom>
                <a:avLst/>
                <a:gdLst>
                  <a:gd name="T0" fmla="*/ 295 w 338"/>
                  <a:gd name="T1" fmla="*/ 287 h 289"/>
                  <a:gd name="T2" fmla="*/ 285 w 338"/>
                  <a:gd name="T3" fmla="*/ 284 h 289"/>
                  <a:gd name="T4" fmla="*/ 263 w 338"/>
                  <a:gd name="T5" fmla="*/ 281 h 289"/>
                  <a:gd name="T6" fmla="*/ 236 w 338"/>
                  <a:gd name="T7" fmla="*/ 276 h 289"/>
                  <a:gd name="T8" fmla="*/ 212 w 338"/>
                  <a:gd name="T9" fmla="*/ 250 h 289"/>
                  <a:gd name="T10" fmla="*/ 191 w 338"/>
                  <a:gd name="T11" fmla="*/ 260 h 289"/>
                  <a:gd name="T12" fmla="*/ 166 w 338"/>
                  <a:gd name="T13" fmla="*/ 254 h 289"/>
                  <a:gd name="T14" fmla="*/ 150 w 338"/>
                  <a:gd name="T15" fmla="*/ 243 h 289"/>
                  <a:gd name="T16" fmla="*/ 124 w 338"/>
                  <a:gd name="T17" fmla="*/ 224 h 289"/>
                  <a:gd name="T18" fmla="*/ 120 w 338"/>
                  <a:gd name="T19" fmla="*/ 214 h 289"/>
                  <a:gd name="T20" fmla="*/ 117 w 338"/>
                  <a:gd name="T21" fmla="*/ 207 h 289"/>
                  <a:gd name="T22" fmla="*/ 104 w 338"/>
                  <a:gd name="T23" fmla="*/ 189 h 289"/>
                  <a:gd name="T24" fmla="*/ 91 w 338"/>
                  <a:gd name="T25" fmla="*/ 186 h 289"/>
                  <a:gd name="T26" fmla="*/ 85 w 338"/>
                  <a:gd name="T27" fmla="*/ 188 h 289"/>
                  <a:gd name="T28" fmla="*/ 77 w 338"/>
                  <a:gd name="T29" fmla="*/ 191 h 289"/>
                  <a:gd name="T30" fmla="*/ 69 w 338"/>
                  <a:gd name="T31" fmla="*/ 175 h 289"/>
                  <a:gd name="T32" fmla="*/ 67 w 338"/>
                  <a:gd name="T33" fmla="*/ 158 h 289"/>
                  <a:gd name="T34" fmla="*/ 54 w 338"/>
                  <a:gd name="T35" fmla="*/ 146 h 289"/>
                  <a:gd name="T36" fmla="*/ 36 w 338"/>
                  <a:gd name="T37" fmla="*/ 135 h 289"/>
                  <a:gd name="T38" fmla="*/ 32 w 338"/>
                  <a:gd name="T39" fmla="*/ 125 h 289"/>
                  <a:gd name="T40" fmla="*/ 26 w 338"/>
                  <a:gd name="T41" fmla="*/ 112 h 289"/>
                  <a:gd name="T42" fmla="*/ 31 w 338"/>
                  <a:gd name="T43" fmla="*/ 97 h 289"/>
                  <a:gd name="T44" fmla="*/ 35 w 338"/>
                  <a:gd name="T45" fmla="*/ 83 h 289"/>
                  <a:gd name="T46" fmla="*/ 31 w 338"/>
                  <a:gd name="T47" fmla="*/ 79 h 289"/>
                  <a:gd name="T48" fmla="*/ 18 w 338"/>
                  <a:gd name="T49" fmla="*/ 64 h 289"/>
                  <a:gd name="T50" fmla="*/ 8 w 338"/>
                  <a:gd name="T51" fmla="*/ 41 h 289"/>
                  <a:gd name="T52" fmla="*/ 6 w 338"/>
                  <a:gd name="T53" fmla="*/ 30 h 289"/>
                  <a:gd name="T54" fmla="*/ 2 w 338"/>
                  <a:gd name="T55" fmla="*/ 15 h 289"/>
                  <a:gd name="T56" fmla="*/ 5 w 338"/>
                  <a:gd name="T57" fmla="*/ 7 h 289"/>
                  <a:gd name="T58" fmla="*/ 12 w 338"/>
                  <a:gd name="T59" fmla="*/ 1 h 289"/>
                  <a:gd name="T60" fmla="*/ 41 w 338"/>
                  <a:gd name="T61" fmla="*/ 17 h 289"/>
                  <a:gd name="T62" fmla="*/ 74 w 338"/>
                  <a:gd name="T63" fmla="*/ 7 h 289"/>
                  <a:gd name="T64" fmla="*/ 74 w 338"/>
                  <a:gd name="T65" fmla="*/ 15 h 289"/>
                  <a:gd name="T66" fmla="*/ 82 w 338"/>
                  <a:gd name="T67" fmla="*/ 27 h 289"/>
                  <a:gd name="T68" fmla="*/ 108 w 338"/>
                  <a:gd name="T69" fmla="*/ 48 h 289"/>
                  <a:gd name="T70" fmla="*/ 137 w 338"/>
                  <a:gd name="T71" fmla="*/ 64 h 289"/>
                  <a:gd name="T72" fmla="*/ 174 w 338"/>
                  <a:gd name="T73" fmla="*/ 60 h 289"/>
                  <a:gd name="T74" fmla="*/ 187 w 338"/>
                  <a:gd name="T75" fmla="*/ 46 h 289"/>
                  <a:gd name="T76" fmla="*/ 214 w 338"/>
                  <a:gd name="T77" fmla="*/ 33 h 289"/>
                  <a:gd name="T78" fmla="*/ 233 w 338"/>
                  <a:gd name="T79" fmla="*/ 34 h 289"/>
                  <a:gd name="T80" fmla="*/ 252 w 338"/>
                  <a:gd name="T81" fmla="*/ 43 h 289"/>
                  <a:gd name="T82" fmla="*/ 273 w 338"/>
                  <a:gd name="T83" fmla="*/ 53 h 289"/>
                  <a:gd name="T84" fmla="*/ 298 w 338"/>
                  <a:gd name="T85" fmla="*/ 63 h 289"/>
                  <a:gd name="T86" fmla="*/ 302 w 338"/>
                  <a:gd name="T87" fmla="*/ 87 h 289"/>
                  <a:gd name="T88" fmla="*/ 295 w 338"/>
                  <a:gd name="T89" fmla="*/ 107 h 289"/>
                  <a:gd name="T90" fmla="*/ 289 w 338"/>
                  <a:gd name="T91" fmla="*/ 122 h 289"/>
                  <a:gd name="T92" fmla="*/ 291 w 338"/>
                  <a:gd name="T93" fmla="*/ 133 h 289"/>
                  <a:gd name="T94" fmla="*/ 295 w 338"/>
                  <a:gd name="T95" fmla="*/ 165 h 289"/>
                  <a:gd name="T96" fmla="*/ 298 w 338"/>
                  <a:gd name="T97" fmla="*/ 194 h 289"/>
                  <a:gd name="T98" fmla="*/ 316 w 338"/>
                  <a:gd name="T99" fmla="*/ 222 h 289"/>
                  <a:gd name="T100" fmla="*/ 329 w 338"/>
                  <a:gd name="T101" fmla="*/ 228 h 289"/>
                  <a:gd name="T102" fmla="*/ 337 w 338"/>
                  <a:gd name="T103" fmla="*/ 248 h 289"/>
                  <a:gd name="T104" fmla="*/ 324 w 338"/>
                  <a:gd name="T105" fmla="*/ 261 h 289"/>
                  <a:gd name="T106" fmla="*/ 315 w 338"/>
                  <a:gd name="T107" fmla="*/ 267 h 289"/>
                  <a:gd name="T108" fmla="*/ 209 w 338"/>
                  <a:gd name="T109" fmla="*/ 253 h 289"/>
                  <a:gd name="T110" fmla="*/ 206 w 338"/>
                  <a:gd name="T111" fmla="*/ 258 h 289"/>
                  <a:gd name="T112" fmla="*/ 209 w 338"/>
                  <a:gd name="T113" fmla="*/ 253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8" h="289">
                    <a:moveTo>
                      <a:pt x="309" y="286"/>
                    </a:moveTo>
                    <a:lnTo>
                      <a:pt x="308" y="287"/>
                    </a:lnTo>
                    <a:lnTo>
                      <a:pt x="306" y="289"/>
                    </a:lnTo>
                    <a:lnTo>
                      <a:pt x="306" y="289"/>
                    </a:lnTo>
                    <a:lnTo>
                      <a:pt x="305" y="289"/>
                    </a:lnTo>
                    <a:lnTo>
                      <a:pt x="302" y="289"/>
                    </a:lnTo>
                    <a:lnTo>
                      <a:pt x="301" y="289"/>
                    </a:lnTo>
                    <a:lnTo>
                      <a:pt x="295" y="287"/>
                    </a:lnTo>
                    <a:lnTo>
                      <a:pt x="293" y="286"/>
                    </a:lnTo>
                    <a:lnTo>
                      <a:pt x="292" y="284"/>
                    </a:lnTo>
                    <a:lnTo>
                      <a:pt x="292" y="284"/>
                    </a:lnTo>
                    <a:lnTo>
                      <a:pt x="291" y="283"/>
                    </a:lnTo>
                    <a:lnTo>
                      <a:pt x="289" y="283"/>
                    </a:lnTo>
                    <a:lnTo>
                      <a:pt x="288" y="284"/>
                    </a:lnTo>
                    <a:lnTo>
                      <a:pt x="286" y="284"/>
                    </a:lnTo>
                    <a:lnTo>
                      <a:pt x="285" y="284"/>
                    </a:lnTo>
                    <a:lnTo>
                      <a:pt x="282" y="284"/>
                    </a:lnTo>
                    <a:lnTo>
                      <a:pt x="279" y="283"/>
                    </a:lnTo>
                    <a:lnTo>
                      <a:pt x="276" y="283"/>
                    </a:lnTo>
                    <a:lnTo>
                      <a:pt x="272" y="283"/>
                    </a:lnTo>
                    <a:lnTo>
                      <a:pt x="270" y="283"/>
                    </a:lnTo>
                    <a:lnTo>
                      <a:pt x="266" y="283"/>
                    </a:lnTo>
                    <a:lnTo>
                      <a:pt x="265" y="283"/>
                    </a:lnTo>
                    <a:lnTo>
                      <a:pt x="263" y="281"/>
                    </a:lnTo>
                    <a:lnTo>
                      <a:pt x="260" y="281"/>
                    </a:lnTo>
                    <a:lnTo>
                      <a:pt x="259" y="280"/>
                    </a:lnTo>
                    <a:lnTo>
                      <a:pt x="256" y="280"/>
                    </a:lnTo>
                    <a:lnTo>
                      <a:pt x="250" y="280"/>
                    </a:lnTo>
                    <a:lnTo>
                      <a:pt x="249" y="280"/>
                    </a:lnTo>
                    <a:lnTo>
                      <a:pt x="246" y="278"/>
                    </a:lnTo>
                    <a:lnTo>
                      <a:pt x="242" y="278"/>
                    </a:lnTo>
                    <a:lnTo>
                      <a:pt x="236" y="276"/>
                    </a:lnTo>
                    <a:lnTo>
                      <a:pt x="233" y="274"/>
                    </a:lnTo>
                    <a:lnTo>
                      <a:pt x="232" y="271"/>
                    </a:lnTo>
                    <a:lnTo>
                      <a:pt x="230" y="268"/>
                    </a:lnTo>
                    <a:lnTo>
                      <a:pt x="229" y="258"/>
                    </a:lnTo>
                    <a:lnTo>
                      <a:pt x="226" y="253"/>
                    </a:lnTo>
                    <a:lnTo>
                      <a:pt x="222" y="248"/>
                    </a:lnTo>
                    <a:lnTo>
                      <a:pt x="214" y="248"/>
                    </a:lnTo>
                    <a:lnTo>
                      <a:pt x="212" y="250"/>
                    </a:lnTo>
                    <a:lnTo>
                      <a:pt x="204" y="253"/>
                    </a:lnTo>
                    <a:lnTo>
                      <a:pt x="203" y="254"/>
                    </a:lnTo>
                    <a:lnTo>
                      <a:pt x="202" y="255"/>
                    </a:lnTo>
                    <a:lnTo>
                      <a:pt x="200" y="255"/>
                    </a:lnTo>
                    <a:lnTo>
                      <a:pt x="197" y="257"/>
                    </a:lnTo>
                    <a:lnTo>
                      <a:pt x="196" y="257"/>
                    </a:lnTo>
                    <a:lnTo>
                      <a:pt x="194" y="258"/>
                    </a:lnTo>
                    <a:lnTo>
                      <a:pt x="191" y="260"/>
                    </a:lnTo>
                    <a:lnTo>
                      <a:pt x="190" y="261"/>
                    </a:lnTo>
                    <a:lnTo>
                      <a:pt x="186" y="261"/>
                    </a:lnTo>
                    <a:lnTo>
                      <a:pt x="179" y="258"/>
                    </a:lnTo>
                    <a:lnTo>
                      <a:pt x="176" y="257"/>
                    </a:lnTo>
                    <a:lnTo>
                      <a:pt x="171" y="257"/>
                    </a:lnTo>
                    <a:lnTo>
                      <a:pt x="168" y="257"/>
                    </a:lnTo>
                    <a:lnTo>
                      <a:pt x="167" y="255"/>
                    </a:lnTo>
                    <a:lnTo>
                      <a:pt x="166" y="254"/>
                    </a:lnTo>
                    <a:lnTo>
                      <a:pt x="164" y="253"/>
                    </a:lnTo>
                    <a:lnTo>
                      <a:pt x="163" y="251"/>
                    </a:lnTo>
                    <a:lnTo>
                      <a:pt x="161" y="251"/>
                    </a:lnTo>
                    <a:lnTo>
                      <a:pt x="157" y="248"/>
                    </a:lnTo>
                    <a:lnTo>
                      <a:pt x="156" y="248"/>
                    </a:lnTo>
                    <a:lnTo>
                      <a:pt x="154" y="247"/>
                    </a:lnTo>
                    <a:lnTo>
                      <a:pt x="153" y="245"/>
                    </a:lnTo>
                    <a:lnTo>
                      <a:pt x="150" y="243"/>
                    </a:lnTo>
                    <a:lnTo>
                      <a:pt x="148" y="240"/>
                    </a:lnTo>
                    <a:lnTo>
                      <a:pt x="144" y="238"/>
                    </a:lnTo>
                    <a:lnTo>
                      <a:pt x="141" y="235"/>
                    </a:lnTo>
                    <a:lnTo>
                      <a:pt x="134" y="234"/>
                    </a:lnTo>
                    <a:lnTo>
                      <a:pt x="131" y="232"/>
                    </a:lnTo>
                    <a:lnTo>
                      <a:pt x="130" y="231"/>
                    </a:lnTo>
                    <a:lnTo>
                      <a:pt x="127" y="227"/>
                    </a:lnTo>
                    <a:lnTo>
                      <a:pt x="124" y="224"/>
                    </a:lnTo>
                    <a:lnTo>
                      <a:pt x="124" y="221"/>
                    </a:lnTo>
                    <a:lnTo>
                      <a:pt x="124" y="221"/>
                    </a:lnTo>
                    <a:lnTo>
                      <a:pt x="124" y="218"/>
                    </a:lnTo>
                    <a:lnTo>
                      <a:pt x="123" y="218"/>
                    </a:lnTo>
                    <a:lnTo>
                      <a:pt x="123" y="217"/>
                    </a:lnTo>
                    <a:lnTo>
                      <a:pt x="121" y="215"/>
                    </a:lnTo>
                    <a:lnTo>
                      <a:pt x="121" y="215"/>
                    </a:lnTo>
                    <a:lnTo>
                      <a:pt x="120" y="214"/>
                    </a:lnTo>
                    <a:lnTo>
                      <a:pt x="120" y="212"/>
                    </a:lnTo>
                    <a:lnTo>
                      <a:pt x="120" y="211"/>
                    </a:lnTo>
                    <a:lnTo>
                      <a:pt x="118" y="209"/>
                    </a:lnTo>
                    <a:lnTo>
                      <a:pt x="117" y="209"/>
                    </a:lnTo>
                    <a:lnTo>
                      <a:pt x="117" y="209"/>
                    </a:lnTo>
                    <a:lnTo>
                      <a:pt x="117" y="208"/>
                    </a:lnTo>
                    <a:lnTo>
                      <a:pt x="117" y="207"/>
                    </a:lnTo>
                    <a:lnTo>
                      <a:pt x="117" y="207"/>
                    </a:lnTo>
                    <a:lnTo>
                      <a:pt x="115" y="204"/>
                    </a:lnTo>
                    <a:lnTo>
                      <a:pt x="110" y="198"/>
                    </a:lnTo>
                    <a:lnTo>
                      <a:pt x="108" y="195"/>
                    </a:lnTo>
                    <a:lnTo>
                      <a:pt x="108" y="194"/>
                    </a:lnTo>
                    <a:lnTo>
                      <a:pt x="107" y="192"/>
                    </a:lnTo>
                    <a:lnTo>
                      <a:pt x="107" y="191"/>
                    </a:lnTo>
                    <a:lnTo>
                      <a:pt x="105" y="189"/>
                    </a:lnTo>
                    <a:lnTo>
                      <a:pt x="104" y="189"/>
                    </a:lnTo>
                    <a:lnTo>
                      <a:pt x="100" y="192"/>
                    </a:lnTo>
                    <a:lnTo>
                      <a:pt x="98" y="192"/>
                    </a:lnTo>
                    <a:lnTo>
                      <a:pt x="95" y="192"/>
                    </a:lnTo>
                    <a:lnTo>
                      <a:pt x="92" y="191"/>
                    </a:lnTo>
                    <a:lnTo>
                      <a:pt x="89" y="188"/>
                    </a:lnTo>
                    <a:lnTo>
                      <a:pt x="87" y="186"/>
                    </a:lnTo>
                    <a:lnTo>
                      <a:pt x="88" y="186"/>
                    </a:lnTo>
                    <a:lnTo>
                      <a:pt x="91" y="186"/>
                    </a:lnTo>
                    <a:lnTo>
                      <a:pt x="91" y="185"/>
                    </a:lnTo>
                    <a:lnTo>
                      <a:pt x="91" y="185"/>
                    </a:lnTo>
                    <a:lnTo>
                      <a:pt x="89" y="184"/>
                    </a:lnTo>
                    <a:lnTo>
                      <a:pt x="88" y="184"/>
                    </a:lnTo>
                    <a:lnTo>
                      <a:pt x="87" y="184"/>
                    </a:lnTo>
                    <a:lnTo>
                      <a:pt x="88" y="185"/>
                    </a:lnTo>
                    <a:lnTo>
                      <a:pt x="85" y="185"/>
                    </a:lnTo>
                    <a:lnTo>
                      <a:pt x="85" y="188"/>
                    </a:lnTo>
                    <a:lnTo>
                      <a:pt x="85" y="189"/>
                    </a:lnTo>
                    <a:lnTo>
                      <a:pt x="85" y="191"/>
                    </a:lnTo>
                    <a:lnTo>
                      <a:pt x="84" y="192"/>
                    </a:lnTo>
                    <a:lnTo>
                      <a:pt x="82" y="192"/>
                    </a:lnTo>
                    <a:lnTo>
                      <a:pt x="81" y="194"/>
                    </a:lnTo>
                    <a:lnTo>
                      <a:pt x="79" y="194"/>
                    </a:lnTo>
                    <a:lnTo>
                      <a:pt x="78" y="192"/>
                    </a:lnTo>
                    <a:lnTo>
                      <a:pt x="77" y="191"/>
                    </a:lnTo>
                    <a:lnTo>
                      <a:pt x="77" y="189"/>
                    </a:lnTo>
                    <a:lnTo>
                      <a:pt x="75" y="188"/>
                    </a:lnTo>
                    <a:lnTo>
                      <a:pt x="74" y="186"/>
                    </a:lnTo>
                    <a:lnTo>
                      <a:pt x="71" y="185"/>
                    </a:lnTo>
                    <a:lnTo>
                      <a:pt x="71" y="184"/>
                    </a:lnTo>
                    <a:lnTo>
                      <a:pt x="69" y="181"/>
                    </a:lnTo>
                    <a:lnTo>
                      <a:pt x="69" y="178"/>
                    </a:lnTo>
                    <a:lnTo>
                      <a:pt x="69" y="175"/>
                    </a:lnTo>
                    <a:lnTo>
                      <a:pt x="69" y="175"/>
                    </a:lnTo>
                    <a:lnTo>
                      <a:pt x="67" y="174"/>
                    </a:lnTo>
                    <a:lnTo>
                      <a:pt x="65" y="174"/>
                    </a:lnTo>
                    <a:lnTo>
                      <a:pt x="65" y="174"/>
                    </a:lnTo>
                    <a:lnTo>
                      <a:pt x="64" y="172"/>
                    </a:lnTo>
                    <a:lnTo>
                      <a:pt x="64" y="168"/>
                    </a:lnTo>
                    <a:lnTo>
                      <a:pt x="67" y="162"/>
                    </a:lnTo>
                    <a:lnTo>
                      <a:pt x="67" y="158"/>
                    </a:lnTo>
                    <a:lnTo>
                      <a:pt x="65" y="156"/>
                    </a:lnTo>
                    <a:lnTo>
                      <a:pt x="62" y="153"/>
                    </a:lnTo>
                    <a:lnTo>
                      <a:pt x="59" y="148"/>
                    </a:lnTo>
                    <a:lnTo>
                      <a:pt x="58" y="148"/>
                    </a:lnTo>
                    <a:lnTo>
                      <a:pt x="58" y="146"/>
                    </a:lnTo>
                    <a:lnTo>
                      <a:pt x="56" y="146"/>
                    </a:lnTo>
                    <a:lnTo>
                      <a:pt x="55" y="146"/>
                    </a:lnTo>
                    <a:lnTo>
                      <a:pt x="54" y="146"/>
                    </a:lnTo>
                    <a:lnTo>
                      <a:pt x="52" y="145"/>
                    </a:lnTo>
                    <a:lnTo>
                      <a:pt x="44" y="139"/>
                    </a:lnTo>
                    <a:lnTo>
                      <a:pt x="42" y="138"/>
                    </a:lnTo>
                    <a:lnTo>
                      <a:pt x="41" y="138"/>
                    </a:lnTo>
                    <a:lnTo>
                      <a:pt x="38" y="138"/>
                    </a:lnTo>
                    <a:lnTo>
                      <a:pt x="36" y="138"/>
                    </a:lnTo>
                    <a:lnTo>
                      <a:pt x="36" y="136"/>
                    </a:lnTo>
                    <a:lnTo>
                      <a:pt x="36" y="135"/>
                    </a:lnTo>
                    <a:lnTo>
                      <a:pt x="36" y="133"/>
                    </a:lnTo>
                    <a:lnTo>
                      <a:pt x="36" y="133"/>
                    </a:lnTo>
                    <a:lnTo>
                      <a:pt x="36" y="132"/>
                    </a:lnTo>
                    <a:lnTo>
                      <a:pt x="36" y="130"/>
                    </a:lnTo>
                    <a:lnTo>
                      <a:pt x="35" y="129"/>
                    </a:lnTo>
                    <a:lnTo>
                      <a:pt x="33" y="128"/>
                    </a:lnTo>
                    <a:lnTo>
                      <a:pt x="32" y="126"/>
                    </a:lnTo>
                    <a:lnTo>
                      <a:pt x="32" y="125"/>
                    </a:lnTo>
                    <a:lnTo>
                      <a:pt x="32" y="125"/>
                    </a:lnTo>
                    <a:lnTo>
                      <a:pt x="31" y="125"/>
                    </a:lnTo>
                    <a:lnTo>
                      <a:pt x="31" y="125"/>
                    </a:lnTo>
                    <a:lnTo>
                      <a:pt x="25" y="119"/>
                    </a:lnTo>
                    <a:lnTo>
                      <a:pt x="25" y="117"/>
                    </a:lnTo>
                    <a:lnTo>
                      <a:pt x="25" y="116"/>
                    </a:lnTo>
                    <a:lnTo>
                      <a:pt x="26" y="113"/>
                    </a:lnTo>
                    <a:lnTo>
                      <a:pt x="26" y="112"/>
                    </a:lnTo>
                    <a:lnTo>
                      <a:pt x="26" y="109"/>
                    </a:lnTo>
                    <a:lnTo>
                      <a:pt x="25" y="107"/>
                    </a:lnTo>
                    <a:lnTo>
                      <a:pt x="25" y="106"/>
                    </a:lnTo>
                    <a:lnTo>
                      <a:pt x="25" y="105"/>
                    </a:lnTo>
                    <a:lnTo>
                      <a:pt x="28" y="105"/>
                    </a:lnTo>
                    <a:lnTo>
                      <a:pt x="29" y="103"/>
                    </a:lnTo>
                    <a:lnTo>
                      <a:pt x="29" y="100"/>
                    </a:lnTo>
                    <a:lnTo>
                      <a:pt x="31" y="97"/>
                    </a:lnTo>
                    <a:lnTo>
                      <a:pt x="33" y="96"/>
                    </a:lnTo>
                    <a:lnTo>
                      <a:pt x="35" y="94"/>
                    </a:lnTo>
                    <a:lnTo>
                      <a:pt x="36" y="93"/>
                    </a:lnTo>
                    <a:lnTo>
                      <a:pt x="36" y="90"/>
                    </a:lnTo>
                    <a:lnTo>
                      <a:pt x="35" y="89"/>
                    </a:lnTo>
                    <a:lnTo>
                      <a:pt x="35" y="87"/>
                    </a:lnTo>
                    <a:lnTo>
                      <a:pt x="33" y="84"/>
                    </a:lnTo>
                    <a:lnTo>
                      <a:pt x="35" y="83"/>
                    </a:lnTo>
                    <a:lnTo>
                      <a:pt x="36" y="82"/>
                    </a:lnTo>
                    <a:lnTo>
                      <a:pt x="38" y="82"/>
                    </a:lnTo>
                    <a:lnTo>
                      <a:pt x="39" y="82"/>
                    </a:lnTo>
                    <a:lnTo>
                      <a:pt x="39" y="80"/>
                    </a:lnTo>
                    <a:lnTo>
                      <a:pt x="38" y="80"/>
                    </a:lnTo>
                    <a:lnTo>
                      <a:pt x="36" y="80"/>
                    </a:lnTo>
                    <a:lnTo>
                      <a:pt x="32" y="80"/>
                    </a:lnTo>
                    <a:lnTo>
                      <a:pt x="31" y="79"/>
                    </a:lnTo>
                    <a:lnTo>
                      <a:pt x="31" y="79"/>
                    </a:lnTo>
                    <a:lnTo>
                      <a:pt x="29" y="79"/>
                    </a:lnTo>
                    <a:lnTo>
                      <a:pt x="28" y="77"/>
                    </a:lnTo>
                    <a:lnTo>
                      <a:pt x="25" y="76"/>
                    </a:lnTo>
                    <a:lnTo>
                      <a:pt x="23" y="76"/>
                    </a:lnTo>
                    <a:lnTo>
                      <a:pt x="22" y="74"/>
                    </a:lnTo>
                    <a:lnTo>
                      <a:pt x="21" y="70"/>
                    </a:lnTo>
                    <a:lnTo>
                      <a:pt x="18" y="64"/>
                    </a:lnTo>
                    <a:lnTo>
                      <a:pt x="12" y="53"/>
                    </a:lnTo>
                    <a:lnTo>
                      <a:pt x="13" y="50"/>
                    </a:lnTo>
                    <a:lnTo>
                      <a:pt x="12" y="48"/>
                    </a:lnTo>
                    <a:lnTo>
                      <a:pt x="11" y="47"/>
                    </a:lnTo>
                    <a:lnTo>
                      <a:pt x="9" y="46"/>
                    </a:lnTo>
                    <a:lnTo>
                      <a:pt x="9" y="43"/>
                    </a:lnTo>
                    <a:lnTo>
                      <a:pt x="9" y="41"/>
                    </a:lnTo>
                    <a:lnTo>
                      <a:pt x="8" y="41"/>
                    </a:lnTo>
                    <a:lnTo>
                      <a:pt x="6" y="38"/>
                    </a:lnTo>
                    <a:lnTo>
                      <a:pt x="5" y="38"/>
                    </a:lnTo>
                    <a:lnTo>
                      <a:pt x="3" y="38"/>
                    </a:lnTo>
                    <a:lnTo>
                      <a:pt x="3" y="37"/>
                    </a:lnTo>
                    <a:lnTo>
                      <a:pt x="3" y="36"/>
                    </a:lnTo>
                    <a:lnTo>
                      <a:pt x="3" y="36"/>
                    </a:lnTo>
                    <a:lnTo>
                      <a:pt x="6" y="31"/>
                    </a:lnTo>
                    <a:lnTo>
                      <a:pt x="6" y="30"/>
                    </a:lnTo>
                    <a:lnTo>
                      <a:pt x="6" y="28"/>
                    </a:lnTo>
                    <a:lnTo>
                      <a:pt x="5" y="28"/>
                    </a:lnTo>
                    <a:lnTo>
                      <a:pt x="5" y="27"/>
                    </a:lnTo>
                    <a:lnTo>
                      <a:pt x="3" y="25"/>
                    </a:lnTo>
                    <a:lnTo>
                      <a:pt x="3" y="21"/>
                    </a:lnTo>
                    <a:lnTo>
                      <a:pt x="3" y="20"/>
                    </a:lnTo>
                    <a:lnTo>
                      <a:pt x="2" y="15"/>
                    </a:lnTo>
                    <a:lnTo>
                      <a:pt x="2" y="15"/>
                    </a:lnTo>
                    <a:lnTo>
                      <a:pt x="2" y="13"/>
                    </a:lnTo>
                    <a:lnTo>
                      <a:pt x="2" y="13"/>
                    </a:lnTo>
                    <a:lnTo>
                      <a:pt x="2" y="11"/>
                    </a:lnTo>
                    <a:lnTo>
                      <a:pt x="0" y="10"/>
                    </a:lnTo>
                    <a:lnTo>
                      <a:pt x="0" y="8"/>
                    </a:lnTo>
                    <a:lnTo>
                      <a:pt x="0" y="7"/>
                    </a:lnTo>
                    <a:lnTo>
                      <a:pt x="2" y="7"/>
                    </a:lnTo>
                    <a:lnTo>
                      <a:pt x="5" y="7"/>
                    </a:lnTo>
                    <a:lnTo>
                      <a:pt x="6" y="5"/>
                    </a:lnTo>
                    <a:lnTo>
                      <a:pt x="6" y="4"/>
                    </a:lnTo>
                    <a:lnTo>
                      <a:pt x="8" y="2"/>
                    </a:lnTo>
                    <a:lnTo>
                      <a:pt x="8" y="0"/>
                    </a:lnTo>
                    <a:lnTo>
                      <a:pt x="9" y="0"/>
                    </a:lnTo>
                    <a:lnTo>
                      <a:pt x="11" y="0"/>
                    </a:lnTo>
                    <a:lnTo>
                      <a:pt x="11" y="0"/>
                    </a:lnTo>
                    <a:lnTo>
                      <a:pt x="12" y="1"/>
                    </a:lnTo>
                    <a:lnTo>
                      <a:pt x="13" y="1"/>
                    </a:lnTo>
                    <a:lnTo>
                      <a:pt x="18" y="7"/>
                    </a:lnTo>
                    <a:lnTo>
                      <a:pt x="22" y="11"/>
                    </a:lnTo>
                    <a:lnTo>
                      <a:pt x="25" y="14"/>
                    </a:lnTo>
                    <a:lnTo>
                      <a:pt x="29" y="15"/>
                    </a:lnTo>
                    <a:lnTo>
                      <a:pt x="32" y="17"/>
                    </a:lnTo>
                    <a:lnTo>
                      <a:pt x="36" y="17"/>
                    </a:lnTo>
                    <a:lnTo>
                      <a:pt x="41" y="17"/>
                    </a:lnTo>
                    <a:lnTo>
                      <a:pt x="44" y="17"/>
                    </a:lnTo>
                    <a:lnTo>
                      <a:pt x="45" y="15"/>
                    </a:lnTo>
                    <a:lnTo>
                      <a:pt x="59" y="5"/>
                    </a:lnTo>
                    <a:lnTo>
                      <a:pt x="65" y="1"/>
                    </a:lnTo>
                    <a:lnTo>
                      <a:pt x="68" y="1"/>
                    </a:lnTo>
                    <a:lnTo>
                      <a:pt x="71" y="1"/>
                    </a:lnTo>
                    <a:lnTo>
                      <a:pt x="72" y="4"/>
                    </a:lnTo>
                    <a:lnTo>
                      <a:pt x="74" y="7"/>
                    </a:lnTo>
                    <a:lnTo>
                      <a:pt x="74" y="7"/>
                    </a:lnTo>
                    <a:lnTo>
                      <a:pt x="72" y="8"/>
                    </a:lnTo>
                    <a:lnTo>
                      <a:pt x="71" y="10"/>
                    </a:lnTo>
                    <a:lnTo>
                      <a:pt x="72" y="11"/>
                    </a:lnTo>
                    <a:lnTo>
                      <a:pt x="74" y="13"/>
                    </a:lnTo>
                    <a:lnTo>
                      <a:pt x="75" y="14"/>
                    </a:lnTo>
                    <a:lnTo>
                      <a:pt x="74" y="15"/>
                    </a:lnTo>
                    <a:lnTo>
                      <a:pt x="74" y="15"/>
                    </a:lnTo>
                    <a:lnTo>
                      <a:pt x="71" y="15"/>
                    </a:lnTo>
                    <a:lnTo>
                      <a:pt x="69" y="17"/>
                    </a:lnTo>
                    <a:lnTo>
                      <a:pt x="69" y="18"/>
                    </a:lnTo>
                    <a:lnTo>
                      <a:pt x="71" y="20"/>
                    </a:lnTo>
                    <a:lnTo>
                      <a:pt x="77" y="23"/>
                    </a:lnTo>
                    <a:lnTo>
                      <a:pt x="78" y="25"/>
                    </a:lnTo>
                    <a:lnTo>
                      <a:pt x="79" y="27"/>
                    </a:lnTo>
                    <a:lnTo>
                      <a:pt x="82" y="27"/>
                    </a:lnTo>
                    <a:lnTo>
                      <a:pt x="85" y="27"/>
                    </a:lnTo>
                    <a:lnTo>
                      <a:pt x="85" y="33"/>
                    </a:lnTo>
                    <a:lnTo>
                      <a:pt x="87" y="38"/>
                    </a:lnTo>
                    <a:lnTo>
                      <a:pt x="89" y="43"/>
                    </a:lnTo>
                    <a:lnTo>
                      <a:pt x="95" y="46"/>
                    </a:lnTo>
                    <a:lnTo>
                      <a:pt x="102" y="47"/>
                    </a:lnTo>
                    <a:lnTo>
                      <a:pt x="105" y="47"/>
                    </a:lnTo>
                    <a:lnTo>
                      <a:pt x="108" y="48"/>
                    </a:lnTo>
                    <a:lnTo>
                      <a:pt x="108" y="50"/>
                    </a:lnTo>
                    <a:lnTo>
                      <a:pt x="110" y="51"/>
                    </a:lnTo>
                    <a:lnTo>
                      <a:pt x="111" y="53"/>
                    </a:lnTo>
                    <a:lnTo>
                      <a:pt x="112" y="54"/>
                    </a:lnTo>
                    <a:lnTo>
                      <a:pt x="115" y="57"/>
                    </a:lnTo>
                    <a:lnTo>
                      <a:pt x="124" y="60"/>
                    </a:lnTo>
                    <a:lnTo>
                      <a:pt x="130" y="63"/>
                    </a:lnTo>
                    <a:lnTo>
                      <a:pt x="137" y="64"/>
                    </a:lnTo>
                    <a:lnTo>
                      <a:pt x="144" y="63"/>
                    </a:lnTo>
                    <a:lnTo>
                      <a:pt x="166" y="57"/>
                    </a:lnTo>
                    <a:lnTo>
                      <a:pt x="174" y="57"/>
                    </a:lnTo>
                    <a:lnTo>
                      <a:pt x="173" y="59"/>
                    </a:lnTo>
                    <a:lnTo>
                      <a:pt x="171" y="59"/>
                    </a:lnTo>
                    <a:lnTo>
                      <a:pt x="170" y="59"/>
                    </a:lnTo>
                    <a:lnTo>
                      <a:pt x="170" y="59"/>
                    </a:lnTo>
                    <a:lnTo>
                      <a:pt x="174" y="60"/>
                    </a:lnTo>
                    <a:lnTo>
                      <a:pt x="176" y="57"/>
                    </a:lnTo>
                    <a:lnTo>
                      <a:pt x="174" y="53"/>
                    </a:lnTo>
                    <a:lnTo>
                      <a:pt x="174" y="48"/>
                    </a:lnTo>
                    <a:lnTo>
                      <a:pt x="177" y="48"/>
                    </a:lnTo>
                    <a:lnTo>
                      <a:pt x="180" y="48"/>
                    </a:lnTo>
                    <a:lnTo>
                      <a:pt x="183" y="48"/>
                    </a:lnTo>
                    <a:lnTo>
                      <a:pt x="186" y="47"/>
                    </a:lnTo>
                    <a:lnTo>
                      <a:pt x="187" y="46"/>
                    </a:lnTo>
                    <a:lnTo>
                      <a:pt x="189" y="44"/>
                    </a:lnTo>
                    <a:lnTo>
                      <a:pt x="190" y="41"/>
                    </a:lnTo>
                    <a:lnTo>
                      <a:pt x="194" y="37"/>
                    </a:lnTo>
                    <a:lnTo>
                      <a:pt x="199" y="36"/>
                    </a:lnTo>
                    <a:lnTo>
                      <a:pt x="204" y="34"/>
                    </a:lnTo>
                    <a:lnTo>
                      <a:pt x="212" y="34"/>
                    </a:lnTo>
                    <a:lnTo>
                      <a:pt x="213" y="34"/>
                    </a:lnTo>
                    <a:lnTo>
                      <a:pt x="214" y="33"/>
                    </a:lnTo>
                    <a:lnTo>
                      <a:pt x="216" y="33"/>
                    </a:lnTo>
                    <a:lnTo>
                      <a:pt x="219" y="31"/>
                    </a:lnTo>
                    <a:lnTo>
                      <a:pt x="220" y="30"/>
                    </a:lnTo>
                    <a:lnTo>
                      <a:pt x="223" y="30"/>
                    </a:lnTo>
                    <a:lnTo>
                      <a:pt x="230" y="31"/>
                    </a:lnTo>
                    <a:lnTo>
                      <a:pt x="232" y="31"/>
                    </a:lnTo>
                    <a:lnTo>
                      <a:pt x="233" y="33"/>
                    </a:lnTo>
                    <a:lnTo>
                      <a:pt x="233" y="34"/>
                    </a:lnTo>
                    <a:lnTo>
                      <a:pt x="233" y="36"/>
                    </a:lnTo>
                    <a:lnTo>
                      <a:pt x="235" y="36"/>
                    </a:lnTo>
                    <a:lnTo>
                      <a:pt x="236" y="37"/>
                    </a:lnTo>
                    <a:lnTo>
                      <a:pt x="243" y="38"/>
                    </a:lnTo>
                    <a:lnTo>
                      <a:pt x="245" y="40"/>
                    </a:lnTo>
                    <a:lnTo>
                      <a:pt x="249" y="41"/>
                    </a:lnTo>
                    <a:lnTo>
                      <a:pt x="250" y="43"/>
                    </a:lnTo>
                    <a:lnTo>
                      <a:pt x="252" y="43"/>
                    </a:lnTo>
                    <a:lnTo>
                      <a:pt x="253" y="43"/>
                    </a:lnTo>
                    <a:lnTo>
                      <a:pt x="259" y="43"/>
                    </a:lnTo>
                    <a:lnTo>
                      <a:pt x="260" y="43"/>
                    </a:lnTo>
                    <a:lnTo>
                      <a:pt x="262" y="43"/>
                    </a:lnTo>
                    <a:lnTo>
                      <a:pt x="265" y="44"/>
                    </a:lnTo>
                    <a:lnTo>
                      <a:pt x="268" y="46"/>
                    </a:lnTo>
                    <a:lnTo>
                      <a:pt x="270" y="50"/>
                    </a:lnTo>
                    <a:lnTo>
                      <a:pt x="273" y="53"/>
                    </a:lnTo>
                    <a:lnTo>
                      <a:pt x="281" y="56"/>
                    </a:lnTo>
                    <a:lnTo>
                      <a:pt x="282" y="57"/>
                    </a:lnTo>
                    <a:lnTo>
                      <a:pt x="283" y="59"/>
                    </a:lnTo>
                    <a:lnTo>
                      <a:pt x="285" y="60"/>
                    </a:lnTo>
                    <a:lnTo>
                      <a:pt x="285" y="61"/>
                    </a:lnTo>
                    <a:lnTo>
                      <a:pt x="288" y="63"/>
                    </a:lnTo>
                    <a:lnTo>
                      <a:pt x="291" y="63"/>
                    </a:lnTo>
                    <a:lnTo>
                      <a:pt x="298" y="63"/>
                    </a:lnTo>
                    <a:lnTo>
                      <a:pt x="299" y="63"/>
                    </a:lnTo>
                    <a:lnTo>
                      <a:pt x="301" y="64"/>
                    </a:lnTo>
                    <a:lnTo>
                      <a:pt x="301" y="67"/>
                    </a:lnTo>
                    <a:lnTo>
                      <a:pt x="302" y="77"/>
                    </a:lnTo>
                    <a:lnTo>
                      <a:pt x="302" y="80"/>
                    </a:lnTo>
                    <a:lnTo>
                      <a:pt x="302" y="84"/>
                    </a:lnTo>
                    <a:lnTo>
                      <a:pt x="303" y="86"/>
                    </a:lnTo>
                    <a:lnTo>
                      <a:pt x="302" y="87"/>
                    </a:lnTo>
                    <a:lnTo>
                      <a:pt x="301" y="89"/>
                    </a:lnTo>
                    <a:lnTo>
                      <a:pt x="301" y="90"/>
                    </a:lnTo>
                    <a:lnTo>
                      <a:pt x="301" y="96"/>
                    </a:lnTo>
                    <a:lnTo>
                      <a:pt x="299" y="99"/>
                    </a:lnTo>
                    <a:lnTo>
                      <a:pt x="299" y="100"/>
                    </a:lnTo>
                    <a:lnTo>
                      <a:pt x="295" y="106"/>
                    </a:lnTo>
                    <a:lnTo>
                      <a:pt x="293" y="107"/>
                    </a:lnTo>
                    <a:lnTo>
                      <a:pt x="295" y="107"/>
                    </a:lnTo>
                    <a:lnTo>
                      <a:pt x="296" y="110"/>
                    </a:lnTo>
                    <a:lnTo>
                      <a:pt x="293" y="110"/>
                    </a:lnTo>
                    <a:lnTo>
                      <a:pt x="292" y="110"/>
                    </a:lnTo>
                    <a:lnTo>
                      <a:pt x="291" y="112"/>
                    </a:lnTo>
                    <a:lnTo>
                      <a:pt x="289" y="113"/>
                    </a:lnTo>
                    <a:lnTo>
                      <a:pt x="289" y="115"/>
                    </a:lnTo>
                    <a:lnTo>
                      <a:pt x="289" y="120"/>
                    </a:lnTo>
                    <a:lnTo>
                      <a:pt x="289" y="122"/>
                    </a:lnTo>
                    <a:lnTo>
                      <a:pt x="291" y="123"/>
                    </a:lnTo>
                    <a:lnTo>
                      <a:pt x="293" y="125"/>
                    </a:lnTo>
                    <a:lnTo>
                      <a:pt x="295" y="126"/>
                    </a:lnTo>
                    <a:lnTo>
                      <a:pt x="296" y="126"/>
                    </a:lnTo>
                    <a:lnTo>
                      <a:pt x="296" y="128"/>
                    </a:lnTo>
                    <a:lnTo>
                      <a:pt x="292" y="130"/>
                    </a:lnTo>
                    <a:lnTo>
                      <a:pt x="291" y="133"/>
                    </a:lnTo>
                    <a:lnTo>
                      <a:pt x="291" y="133"/>
                    </a:lnTo>
                    <a:lnTo>
                      <a:pt x="291" y="135"/>
                    </a:lnTo>
                    <a:lnTo>
                      <a:pt x="291" y="138"/>
                    </a:lnTo>
                    <a:lnTo>
                      <a:pt x="292" y="140"/>
                    </a:lnTo>
                    <a:lnTo>
                      <a:pt x="295" y="148"/>
                    </a:lnTo>
                    <a:lnTo>
                      <a:pt x="295" y="152"/>
                    </a:lnTo>
                    <a:lnTo>
                      <a:pt x="295" y="158"/>
                    </a:lnTo>
                    <a:lnTo>
                      <a:pt x="293" y="162"/>
                    </a:lnTo>
                    <a:lnTo>
                      <a:pt x="295" y="165"/>
                    </a:lnTo>
                    <a:lnTo>
                      <a:pt x="298" y="166"/>
                    </a:lnTo>
                    <a:lnTo>
                      <a:pt x="306" y="166"/>
                    </a:lnTo>
                    <a:lnTo>
                      <a:pt x="309" y="166"/>
                    </a:lnTo>
                    <a:lnTo>
                      <a:pt x="314" y="172"/>
                    </a:lnTo>
                    <a:lnTo>
                      <a:pt x="311" y="179"/>
                    </a:lnTo>
                    <a:lnTo>
                      <a:pt x="305" y="186"/>
                    </a:lnTo>
                    <a:lnTo>
                      <a:pt x="301" y="191"/>
                    </a:lnTo>
                    <a:lnTo>
                      <a:pt x="298" y="194"/>
                    </a:lnTo>
                    <a:lnTo>
                      <a:pt x="298" y="194"/>
                    </a:lnTo>
                    <a:lnTo>
                      <a:pt x="295" y="197"/>
                    </a:lnTo>
                    <a:lnTo>
                      <a:pt x="301" y="202"/>
                    </a:lnTo>
                    <a:lnTo>
                      <a:pt x="303" y="207"/>
                    </a:lnTo>
                    <a:lnTo>
                      <a:pt x="308" y="214"/>
                    </a:lnTo>
                    <a:lnTo>
                      <a:pt x="309" y="217"/>
                    </a:lnTo>
                    <a:lnTo>
                      <a:pt x="312" y="220"/>
                    </a:lnTo>
                    <a:lnTo>
                      <a:pt x="316" y="222"/>
                    </a:lnTo>
                    <a:lnTo>
                      <a:pt x="322" y="224"/>
                    </a:lnTo>
                    <a:lnTo>
                      <a:pt x="324" y="225"/>
                    </a:lnTo>
                    <a:lnTo>
                      <a:pt x="325" y="225"/>
                    </a:lnTo>
                    <a:lnTo>
                      <a:pt x="326" y="227"/>
                    </a:lnTo>
                    <a:lnTo>
                      <a:pt x="326" y="227"/>
                    </a:lnTo>
                    <a:lnTo>
                      <a:pt x="328" y="227"/>
                    </a:lnTo>
                    <a:lnTo>
                      <a:pt x="329" y="227"/>
                    </a:lnTo>
                    <a:lnTo>
                      <a:pt x="329" y="228"/>
                    </a:lnTo>
                    <a:lnTo>
                      <a:pt x="329" y="232"/>
                    </a:lnTo>
                    <a:lnTo>
                      <a:pt x="329" y="240"/>
                    </a:lnTo>
                    <a:lnTo>
                      <a:pt x="329" y="241"/>
                    </a:lnTo>
                    <a:lnTo>
                      <a:pt x="329" y="245"/>
                    </a:lnTo>
                    <a:lnTo>
                      <a:pt x="329" y="247"/>
                    </a:lnTo>
                    <a:lnTo>
                      <a:pt x="331" y="247"/>
                    </a:lnTo>
                    <a:lnTo>
                      <a:pt x="334" y="247"/>
                    </a:lnTo>
                    <a:lnTo>
                      <a:pt x="337" y="248"/>
                    </a:lnTo>
                    <a:lnTo>
                      <a:pt x="338" y="250"/>
                    </a:lnTo>
                    <a:lnTo>
                      <a:pt x="338" y="251"/>
                    </a:lnTo>
                    <a:lnTo>
                      <a:pt x="338" y="254"/>
                    </a:lnTo>
                    <a:lnTo>
                      <a:pt x="337" y="257"/>
                    </a:lnTo>
                    <a:lnTo>
                      <a:pt x="335" y="258"/>
                    </a:lnTo>
                    <a:lnTo>
                      <a:pt x="328" y="260"/>
                    </a:lnTo>
                    <a:lnTo>
                      <a:pt x="325" y="260"/>
                    </a:lnTo>
                    <a:lnTo>
                      <a:pt x="324" y="261"/>
                    </a:lnTo>
                    <a:lnTo>
                      <a:pt x="322" y="261"/>
                    </a:lnTo>
                    <a:lnTo>
                      <a:pt x="321" y="261"/>
                    </a:lnTo>
                    <a:lnTo>
                      <a:pt x="321" y="263"/>
                    </a:lnTo>
                    <a:lnTo>
                      <a:pt x="321" y="264"/>
                    </a:lnTo>
                    <a:lnTo>
                      <a:pt x="319" y="264"/>
                    </a:lnTo>
                    <a:lnTo>
                      <a:pt x="319" y="264"/>
                    </a:lnTo>
                    <a:lnTo>
                      <a:pt x="318" y="264"/>
                    </a:lnTo>
                    <a:lnTo>
                      <a:pt x="315" y="267"/>
                    </a:lnTo>
                    <a:lnTo>
                      <a:pt x="314" y="268"/>
                    </a:lnTo>
                    <a:lnTo>
                      <a:pt x="312" y="270"/>
                    </a:lnTo>
                    <a:lnTo>
                      <a:pt x="312" y="274"/>
                    </a:lnTo>
                    <a:lnTo>
                      <a:pt x="311" y="276"/>
                    </a:lnTo>
                    <a:lnTo>
                      <a:pt x="309" y="278"/>
                    </a:lnTo>
                    <a:lnTo>
                      <a:pt x="309" y="280"/>
                    </a:lnTo>
                    <a:lnTo>
                      <a:pt x="309" y="286"/>
                    </a:lnTo>
                    <a:close/>
                    <a:moveTo>
                      <a:pt x="209" y="253"/>
                    </a:moveTo>
                    <a:lnTo>
                      <a:pt x="206" y="253"/>
                    </a:lnTo>
                    <a:lnTo>
                      <a:pt x="206" y="255"/>
                    </a:lnTo>
                    <a:lnTo>
                      <a:pt x="203" y="257"/>
                    </a:lnTo>
                    <a:lnTo>
                      <a:pt x="200" y="258"/>
                    </a:lnTo>
                    <a:lnTo>
                      <a:pt x="197" y="258"/>
                    </a:lnTo>
                    <a:lnTo>
                      <a:pt x="199" y="260"/>
                    </a:lnTo>
                    <a:lnTo>
                      <a:pt x="202" y="260"/>
                    </a:lnTo>
                    <a:lnTo>
                      <a:pt x="206" y="258"/>
                    </a:lnTo>
                    <a:lnTo>
                      <a:pt x="207" y="257"/>
                    </a:lnTo>
                    <a:lnTo>
                      <a:pt x="209" y="257"/>
                    </a:lnTo>
                    <a:lnTo>
                      <a:pt x="210" y="257"/>
                    </a:lnTo>
                    <a:lnTo>
                      <a:pt x="212" y="255"/>
                    </a:lnTo>
                    <a:lnTo>
                      <a:pt x="213" y="254"/>
                    </a:lnTo>
                    <a:lnTo>
                      <a:pt x="214" y="253"/>
                    </a:lnTo>
                    <a:lnTo>
                      <a:pt x="213" y="251"/>
                    </a:lnTo>
                    <a:lnTo>
                      <a:pt x="209" y="25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7" name="Freeform 123">
                <a:extLst>
                  <a:ext uri="{FF2B5EF4-FFF2-40B4-BE49-F238E27FC236}">
                    <a16:creationId xmlns:a16="http://schemas.microsoft.com/office/drawing/2014/main" id="{1A76FA98-F551-6EF3-D6BE-03A20B873AF2}"/>
                  </a:ext>
                </a:extLst>
              </p:cNvPr>
              <p:cNvSpPr>
                <a:spLocks noEditPoints="1"/>
              </p:cNvSpPr>
              <p:nvPr/>
            </p:nvSpPr>
            <p:spPr bwMode="auto">
              <a:xfrm>
                <a:off x="8228393" y="3732140"/>
                <a:ext cx="135920" cy="112785"/>
              </a:xfrm>
              <a:custGeom>
                <a:avLst/>
                <a:gdLst>
                  <a:gd name="T0" fmla="*/ 35 w 94"/>
                  <a:gd name="T1" fmla="*/ 76 h 78"/>
                  <a:gd name="T2" fmla="*/ 26 w 94"/>
                  <a:gd name="T3" fmla="*/ 75 h 78"/>
                  <a:gd name="T4" fmla="*/ 23 w 94"/>
                  <a:gd name="T5" fmla="*/ 72 h 78"/>
                  <a:gd name="T6" fmla="*/ 25 w 94"/>
                  <a:gd name="T7" fmla="*/ 69 h 78"/>
                  <a:gd name="T8" fmla="*/ 23 w 94"/>
                  <a:gd name="T9" fmla="*/ 65 h 78"/>
                  <a:gd name="T10" fmla="*/ 21 w 94"/>
                  <a:gd name="T11" fmla="*/ 66 h 78"/>
                  <a:gd name="T12" fmla="*/ 18 w 94"/>
                  <a:gd name="T13" fmla="*/ 69 h 78"/>
                  <a:gd name="T14" fmla="*/ 15 w 94"/>
                  <a:gd name="T15" fmla="*/ 66 h 78"/>
                  <a:gd name="T16" fmla="*/ 13 w 94"/>
                  <a:gd name="T17" fmla="*/ 59 h 78"/>
                  <a:gd name="T18" fmla="*/ 12 w 94"/>
                  <a:gd name="T19" fmla="*/ 53 h 78"/>
                  <a:gd name="T20" fmla="*/ 12 w 94"/>
                  <a:gd name="T21" fmla="*/ 55 h 78"/>
                  <a:gd name="T22" fmla="*/ 8 w 94"/>
                  <a:gd name="T23" fmla="*/ 46 h 78"/>
                  <a:gd name="T24" fmla="*/ 8 w 94"/>
                  <a:gd name="T25" fmla="*/ 40 h 78"/>
                  <a:gd name="T26" fmla="*/ 3 w 94"/>
                  <a:gd name="T27" fmla="*/ 36 h 78"/>
                  <a:gd name="T28" fmla="*/ 0 w 94"/>
                  <a:gd name="T29" fmla="*/ 26 h 78"/>
                  <a:gd name="T30" fmla="*/ 2 w 94"/>
                  <a:gd name="T31" fmla="*/ 20 h 78"/>
                  <a:gd name="T32" fmla="*/ 5 w 94"/>
                  <a:gd name="T33" fmla="*/ 20 h 78"/>
                  <a:gd name="T34" fmla="*/ 5 w 94"/>
                  <a:gd name="T35" fmla="*/ 19 h 78"/>
                  <a:gd name="T36" fmla="*/ 15 w 94"/>
                  <a:gd name="T37" fmla="*/ 7 h 78"/>
                  <a:gd name="T38" fmla="*/ 23 w 94"/>
                  <a:gd name="T39" fmla="*/ 6 h 78"/>
                  <a:gd name="T40" fmla="*/ 42 w 94"/>
                  <a:gd name="T41" fmla="*/ 4 h 78"/>
                  <a:gd name="T42" fmla="*/ 48 w 94"/>
                  <a:gd name="T43" fmla="*/ 9 h 78"/>
                  <a:gd name="T44" fmla="*/ 52 w 94"/>
                  <a:gd name="T45" fmla="*/ 9 h 78"/>
                  <a:gd name="T46" fmla="*/ 59 w 94"/>
                  <a:gd name="T47" fmla="*/ 11 h 78"/>
                  <a:gd name="T48" fmla="*/ 68 w 94"/>
                  <a:gd name="T49" fmla="*/ 13 h 78"/>
                  <a:gd name="T50" fmla="*/ 66 w 94"/>
                  <a:gd name="T51" fmla="*/ 6 h 78"/>
                  <a:gd name="T52" fmla="*/ 69 w 94"/>
                  <a:gd name="T53" fmla="*/ 4 h 78"/>
                  <a:gd name="T54" fmla="*/ 72 w 94"/>
                  <a:gd name="T55" fmla="*/ 4 h 78"/>
                  <a:gd name="T56" fmla="*/ 77 w 94"/>
                  <a:gd name="T57" fmla="*/ 4 h 78"/>
                  <a:gd name="T58" fmla="*/ 84 w 94"/>
                  <a:gd name="T59" fmla="*/ 6 h 78"/>
                  <a:gd name="T60" fmla="*/ 89 w 94"/>
                  <a:gd name="T61" fmla="*/ 1 h 78"/>
                  <a:gd name="T62" fmla="*/ 92 w 94"/>
                  <a:gd name="T63" fmla="*/ 3 h 78"/>
                  <a:gd name="T64" fmla="*/ 89 w 94"/>
                  <a:gd name="T65" fmla="*/ 14 h 78"/>
                  <a:gd name="T66" fmla="*/ 94 w 94"/>
                  <a:gd name="T67" fmla="*/ 24 h 78"/>
                  <a:gd name="T68" fmla="*/ 92 w 94"/>
                  <a:gd name="T69" fmla="*/ 39 h 78"/>
                  <a:gd name="T70" fmla="*/ 89 w 94"/>
                  <a:gd name="T71" fmla="*/ 45 h 78"/>
                  <a:gd name="T72" fmla="*/ 87 w 94"/>
                  <a:gd name="T73" fmla="*/ 43 h 78"/>
                  <a:gd name="T74" fmla="*/ 84 w 94"/>
                  <a:gd name="T75" fmla="*/ 46 h 78"/>
                  <a:gd name="T76" fmla="*/ 78 w 94"/>
                  <a:gd name="T77" fmla="*/ 49 h 78"/>
                  <a:gd name="T78" fmla="*/ 74 w 94"/>
                  <a:gd name="T79" fmla="*/ 50 h 78"/>
                  <a:gd name="T80" fmla="*/ 71 w 94"/>
                  <a:gd name="T81" fmla="*/ 55 h 78"/>
                  <a:gd name="T82" fmla="*/ 65 w 94"/>
                  <a:gd name="T83" fmla="*/ 55 h 78"/>
                  <a:gd name="T84" fmla="*/ 62 w 94"/>
                  <a:gd name="T85" fmla="*/ 59 h 78"/>
                  <a:gd name="T86" fmla="*/ 65 w 94"/>
                  <a:gd name="T87" fmla="*/ 63 h 78"/>
                  <a:gd name="T88" fmla="*/ 68 w 94"/>
                  <a:gd name="T89" fmla="*/ 68 h 78"/>
                  <a:gd name="T90" fmla="*/ 66 w 94"/>
                  <a:gd name="T91" fmla="*/ 70 h 78"/>
                  <a:gd name="T92" fmla="*/ 61 w 94"/>
                  <a:gd name="T93" fmla="*/ 68 h 78"/>
                  <a:gd name="T94" fmla="*/ 55 w 94"/>
                  <a:gd name="T95" fmla="*/ 68 h 78"/>
                  <a:gd name="T96" fmla="*/ 54 w 94"/>
                  <a:gd name="T97" fmla="*/ 69 h 78"/>
                  <a:gd name="T98" fmla="*/ 51 w 94"/>
                  <a:gd name="T99" fmla="*/ 69 h 78"/>
                  <a:gd name="T100" fmla="*/ 48 w 94"/>
                  <a:gd name="T101" fmla="*/ 69 h 78"/>
                  <a:gd name="T102" fmla="*/ 49 w 94"/>
                  <a:gd name="T103" fmla="*/ 70 h 78"/>
                  <a:gd name="T104" fmla="*/ 46 w 94"/>
                  <a:gd name="T105" fmla="*/ 73 h 78"/>
                  <a:gd name="T106" fmla="*/ 39 w 94"/>
                  <a:gd name="T107" fmla="*/ 76 h 78"/>
                  <a:gd name="T108" fmla="*/ 18 w 94"/>
                  <a:gd name="T109" fmla="*/ 73 h 78"/>
                  <a:gd name="T110" fmla="*/ 18 w 94"/>
                  <a:gd name="T111" fmla="*/ 72 h 78"/>
                  <a:gd name="T112" fmla="*/ 12 w 94"/>
                  <a:gd name="T113" fmla="*/ 60 h 78"/>
                  <a:gd name="T114" fmla="*/ 13 w 94"/>
                  <a:gd name="T115"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4" h="78">
                    <a:moveTo>
                      <a:pt x="39" y="76"/>
                    </a:moveTo>
                    <a:lnTo>
                      <a:pt x="38" y="78"/>
                    </a:lnTo>
                    <a:lnTo>
                      <a:pt x="35" y="76"/>
                    </a:lnTo>
                    <a:lnTo>
                      <a:pt x="31" y="75"/>
                    </a:lnTo>
                    <a:lnTo>
                      <a:pt x="28" y="73"/>
                    </a:lnTo>
                    <a:lnTo>
                      <a:pt x="26" y="75"/>
                    </a:lnTo>
                    <a:lnTo>
                      <a:pt x="25" y="75"/>
                    </a:lnTo>
                    <a:lnTo>
                      <a:pt x="23" y="75"/>
                    </a:lnTo>
                    <a:lnTo>
                      <a:pt x="23" y="72"/>
                    </a:lnTo>
                    <a:lnTo>
                      <a:pt x="23" y="70"/>
                    </a:lnTo>
                    <a:lnTo>
                      <a:pt x="25" y="70"/>
                    </a:lnTo>
                    <a:lnTo>
                      <a:pt x="25" y="69"/>
                    </a:lnTo>
                    <a:lnTo>
                      <a:pt x="25" y="68"/>
                    </a:lnTo>
                    <a:lnTo>
                      <a:pt x="25" y="66"/>
                    </a:lnTo>
                    <a:lnTo>
                      <a:pt x="23" y="65"/>
                    </a:lnTo>
                    <a:lnTo>
                      <a:pt x="22" y="65"/>
                    </a:lnTo>
                    <a:lnTo>
                      <a:pt x="22" y="65"/>
                    </a:lnTo>
                    <a:lnTo>
                      <a:pt x="21" y="66"/>
                    </a:lnTo>
                    <a:lnTo>
                      <a:pt x="19" y="66"/>
                    </a:lnTo>
                    <a:lnTo>
                      <a:pt x="19" y="68"/>
                    </a:lnTo>
                    <a:lnTo>
                      <a:pt x="18" y="69"/>
                    </a:lnTo>
                    <a:lnTo>
                      <a:pt x="16" y="68"/>
                    </a:lnTo>
                    <a:lnTo>
                      <a:pt x="15" y="68"/>
                    </a:lnTo>
                    <a:lnTo>
                      <a:pt x="15" y="66"/>
                    </a:lnTo>
                    <a:lnTo>
                      <a:pt x="15" y="65"/>
                    </a:lnTo>
                    <a:lnTo>
                      <a:pt x="15" y="62"/>
                    </a:lnTo>
                    <a:lnTo>
                      <a:pt x="13" y="59"/>
                    </a:lnTo>
                    <a:lnTo>
                      <a:pt x="13" y="56"/>
                    </a:lnTo>
                    <a:lnTo>
                      <a:pt x="12" y="53"/>
                    </a:lnTo>
                    <a:lnTo>
                      <a:pt x="12" y="53"/>
                    </a:lnTo>
                    <a:lnTo>
                      <a:pt x="12" y="53"/>
                    </a:lnTo>
                    <a:lnTo>
                      <a:pt x="12" y="53"/>
                    </a:lnTo>
                    <a:lnTo>
                      <a:pt x="12" y="55"/>
                    </a:lnTo>
                    <a:lnTo>
                      <a:pt x="9" y="49"/>
                    </a:lnTo>
                    <a:lnTo>
                      <a:pt x="8" y="47"/>
                    </a:lnTo>
                    <a:lnTo>
                      <a:pt x="8" y="46"/>
                    </a:lnTo>
                    <a:lnTo>
                      <a:pt x="8" y="43"/>
                    </a:lnTo>
                    <a:lnTo>
                      <a:pt x="8" y="42"/>
                    </a:lnTo>
                    <a:lnTo>
                      <a:pt x="8" y="40"/>
                    </a:lnTo>
                    <a:lnTo>
                      <a:pt x="5" y="39"/>
                    </a:lnTo>
                    <a:lnTo>
                      <a:pt x="5" y="37"/>
                    </a:lnTo>
                    <a:lnTo>
                      <a:pt x="3" y="36"/>
                    </a:lnTo>
                    <a:lnTo>
                      <a:pt x="3" y="32"/>
                    </a:lnTo>
                    <a:lnTo>
                      <a:pt x="3" y="30"/>
                    </a:lnTo>
                    <a:lnTo>
                      <a:pt x="0" y="26"/>
                    </a:lnTo>
                    <a:lnTo>
                      <a:pt x="0" y="23"/>
                    </a:lnTo>
                    <a:lnTo>
                      <a:pt x="2" y="20"/>
                    </a:lnTo>
                    <a:lnTo>
                      <a:pt x="2" y="20"/>
                    </a:lnTo>
                    <a:lnTo>
                      <a:pt x="5" y="20"/>
                    </a:lnTo>
                    <a:lnTo>
                      <a:pt x="5" y="20"/>
                    </a:lnTo>
                    <a:lnTo>
                      <a:pt x="5" y="20"/>
                    </a:lnTo>
                    <a:lnTo>
                      <a:pt x="5" y="19"/>
                    </a:lnTo>
                    <a:lnTo>
                      <a:pt x="5" y="19"/>
                    </a:lnTo>
                    <a:lnTo>
                      <a:pt x="5" y="19"/>
                    </a:lnTo>
                    <a:lnTo>
                      <a:pt x="6" y="17"/>
                    </a:lnTo>
                    <a:lnTo>
                      <a:pt x="12" y="10"/>
                    </a:lnTo>
                    <a:lnTo>
                      <a:pt x="15" y="7"/>
                    </a:lnTo>
                    <a:lnTo>
                      <a:pt x="18" y="6"/>
                    </a:lnTo>
                    <a:lnTo>
                      <a:pt x="22" y="6"/>
                    </a:lnTo>
                    <a:lnTo>
                      <a:pt x="23" y="6"/>
                    </a:lnTo>
                    <a:lnTo>
                      <a:pt x="29" y="6"/>
                    </a:lnTo>
                    <a:lnTo>
                      <a:pt x="31" y="6"/>
                    </a:lnTo>
                    <a:lnTo>
                      <a:pt x="42" y="4"/>
                    </a:lnTo>
                    <a:lnTo>
                      <a:pt x="46" y="6"/>
                    </a:lnTo>
                    <a:lnTo>
                      <a:pt x="46" y="7"/>
                    </a:lnTo>
                    <a:lnTo>
                      <a:pt x="48" y="9"/>
                    </a:lnTo>
                    <a:lnTo>
                      <a:pt x="49" y="9"/>
                    </a:lnTo>
                    <a:lnTo>
                      <a:pt x="51" y="7"/>
                    </a:lnTo>
                    <a:lnTo>
                      <a:pt x="52" y="9"/>
                    </a:lnTo>
                    <a:lnTo>
                      <a:pt x="54" y="10"/>
                    </a:lnTo>
                    <a:lnTo>
                      <a:pt x="56" y="10"/>
                    </a:lnTo>
                    <a:lnTo>
                      <a:pt x="59" y="11"/>
                    </a:lnTo>
                    <a:lnTo>
                      <a:pt x="64" y="14"/>
                    </a:lnTo>
                    <a:lnTo>
                      <a:pt x="66" y="14"/>
                    </a:lnTo>
                    <a:lnTo>
                      <a:pt x="68" y="13"/>
                    </a:lnTo>
                    <a:lnTo>
                      <a:pt x="66" y="10"/>
                    </a:lnTo>
                    <a:lnTo>
                      <a:pt x="66" y="9"/>
                    </a:lnTo>
                    <a:lnTo>
                      <a:pt x="66" y="6"/>
                    </a:lnTo>
                    <a:lnTo>
                      <a:pt x="66" y="6"/>
                    </a:lnTo>
                    <a:lnTo>
                      <a:pt x="68" y="6"/>
                    </a:lnTo>
                    <a:lnTo>
                      <a:pt x="69" y="4"/>
                    </a:lnTo>
                    <a:lnTo>
                      <a:pt x="69" y="4"/>
                    </a:lnTo>
                    <a:lnTo>
                      <a:pt x="71" y="4"/>
                    </a:lnTo>
                    <a:lnTo>
                      <a:pt x="72" y="4"/>
                    </a:lnTo>
                    <a:lnTo>
                      <a:pt x="74" y="3"/>
                    </a:lnTo>
                    <a:lnTo>
                      <a:pt x="74" y="3"/>
                    </a:lnTo>
                    <a:lnTo>
                      <a:pt x="77" y="4"/>
                    </a:lnTo>
                    <a:lnTo>
                      <a:pt x="78" y="6"/>
                    </a:lnTo>
                    <a:lnTo>
                      <a:pt x="81" y="6"/>
                    </a:lnTo>
                    <a:lnTo>
                      <a:pt x="84" y="6"/>
                    </a:lnTo>
                    <a:lnTo>
                      <a:pt x="88" y="3"/>
                    </a:lnTo>
                    <a:lnTo>
                      <a:pt x="89" y="3"/>
                    </a:lnTo>
                    <a:lnTo>
                      <a:pt x="89" y="1"/>
                    </a:lnTo>
                    <a:lnTo>
                      <a:pt x="91" y="1"/>
                    </a:lnTo>
                    <a:lnTo>
                      <a:pt x="92" y="0"/>
                    </a:lnTo>
                    <a:lnTo>
                      <a:pt x="92" y="3"/>
                    </a:lnTo>
                    <a:lnTo>
                      <a:pt x="89" y="9"/>
                    </a:lnTo>
                    <a:lnTo>
                      <a:pt x="89" y="11"/>
                    </a:lnTo>
                    <a:lnTo>
                      <a:pt x="89" y="14"/>
                    </a:lnTo>
                    <a:lnTo>
                      <a:pt x="92" y="19"/>
                    </a:lnTo>
                    <a:lnTo>
                      <a:pt x="94" y="22"/>
                    </a:lnTo>
                    <a:lnTo>
                      <a:pt x="94" y="24"/>
                    </a:lnTo>
                    <a:lnTo>
                      <a:pt x="92" y="30"/>
                    </a:lnTo>
                    <a:lnTo>
                      <a:pt x="92" y="33"/>
                    </a:lnTo>
                    <a:lnTo>
                      <a:pt x="92" y="39"/>
                    </a:lnTo>
                    <a:lnTo>
                      <a:pt x="92" y="42"/>
                    </a:lnTo>
                    <a:lnTo>
                      <a:pt x="91" y="43"/>
                    </a:lnTo>
                    <a:lnTo>
                      <a:pt x="89" y="45"/>
                    </a:lnTo>
                    <a:lnTo>
                      <a:pt x="88" y="43"/>
                    </a:lnTo>
                    <a:lnTo>
                      <a:pt x="88" y="43"/>
                    </a:lnTo>
                    <a:lnTo>
                      <a:pt x="87" y="43"/>
                    </a:lnTo>
                    <a:lnTo>
                      <a:pt x="85" y="45"/>
                    </a:lnTo>
                    <a:lnTo>
                      <a:pt x="85" y="45"/>
                    </a:lnTo>
                    <a:lnTo>
                      <a:pt x="84" y="46"/>
                    </a:lnTo>
                    <a:lnTo>
                      <a:pt x="81" y="47"/>
                    </a:lnTo>
                    <a:lnTo>
                      <a:pt x="79" y="47"/>
                    </a:lnTo>
                    <a:lnTo>
                      <a:pt x="78" y="49"/>
                    </a:lnTo>
                    <a:lnTo>
                      <a:pt x="75" y="49"/>
                    </a:lnTo>
                    <a:lnTo>
                      <a:pt x="74" y="49"/>
                    </a:lnTo>
                    <a:lnTo>
                      <a:pt x="74" y="50"/>
                    </a:lnTo>
                    <a:lnTo>
                      <a:pt x="72" y="52"/>
                    </a:lnTo>
                    <a:lnTo>
                      <a:pt x="72" y="53"/>
                    </a:lnTo>
                    <a:lnTo>
                      <a:pt x="71" y="55"/>
                    </a:lnTo>
                    <a:lnTo>
                      <a:pt x="68" y="55"/>
                    </a:lnTo>
                    <a:lnTo>
                      <a:pt x="66" y="53"/>
                    </a:lnTo>
                    <a:lnTo>
                      <a:pt x="65" y="55"/>
                    </a:lnTo>
                    <a:lnTo>
                      <a:pt x="64" y="55"/>
                    </a:lnTo>
                    <a:lnTo>
                      <a:pt x="62" y="57"/>
                    </a:lnTo>
                    <a:lnTo>
                      <a:pt x="62" y="59"/>
                    </a:lnTo>
                    <a:lnTo>
                      <a:pt x="64" y="60"/>
                    </a:lnTo>
                    <a:lnTo>
                      <a:pt x="64" y="62"/>
                    </a:lnTo>
                    <a:lnTo>
                      <a:pt x="65" y="63"/>
                    </a:lnTo>
                    <a:lnTo>
                      <a:pt x="68" y="65"/>
                    </a:lnTo>
                    <a:lnTo>
                      <a:pt x="68" y="66"/>
                    </a:lnTo>
                    <a:lnTo>
                      <a:pt x="68" y="68"/>
                    </a:lnTo>
                    <a:lnTo>
                      <a:pt x="68" y="69"/>
                    </a:lnTo>
                    <a:lnTo>
                      <a:pt x="68" y="70"/>
                    </a:lnTo>
                    <a:lnTo>
                      <a:pt x="66" y="70"/>
                    </a:lnTo>
                    <a:lnTo>
                      <a:pt x="64" y="69"/>
                    </a:lnTo>
                    <a:lnTo>
                      <a:pt x="62" y="68"/>
                    </a:lnTo>
                    <a:lnTo>
                      <a:pt x="61" y="68"/>
                    </a:lnTo>
                    <a:lnTo>
                      <a:pt x="59" y="68"/>
                    </a:lnTo>
                    <a:lnTo>
                      <a:pt x="58" y="68"/>
                    </a:lnTo>
                    <a:lnTo>
                      <a:pt x="55" y="68"/>
                    </a:lnTo>
                    <a:lnTo>
                      <a:pt x="55" y="68"/>
                    </a:lnTo>
                    <a:lnTo>
                      <a:pt x="54" y="69"/>
                    </a:lnTo>
                    <a:lnTo>
                      <a:pt x="54" y="69"/>
                    </a:lnTo>
                    <a:lnTo>
                      <a:pt x="52" y="69"/>
                    </a:lnTo>
                    <a:lnTo>
                      <a:pt x="52" y="69"/>
                    </a:lnTo>
                    <a:lnTo>
                      <a:pt x="51" y="69"/>
                    </a:lnTo>
                    <a:lnTo>
                      <a:pt x="51" y="69"/>
                    </a:lnTo>
                    <a:lnTo>
                      <a:pt x="49" y="69"/>
                    </a:lnTo>
                    <a:lnTo>
                      <a:pt x="48" y="69"/>
                    </a:lnTo>
                    <a:lnTo>
                      <a:pt x="48" y="69"/>
                    </a:lnTo>
                    <a:lnTo>
                      <a:pt x="48" y="70"/>
                    </a:lnTo>
                    <a:lnTo>
                      <a:pt x="49" y="70"/>
                    </a:lnTo>
                    <a:lnTo>
                      <a:pt x="49" y="70"/>
                    </a:lnTo>
                    <a:lnTo>
                      <a:pt x="48" y="72"/>
                    </a:lnTo>
                    <a:lnTo>
                      <a:pt x="46" y="73"/>
                    </a:lnTo>
                    <a:lnTo>
                      <a:pt x="46" y="75"/>
                    </a:lnTo>
                    <a:lnTo>
                      <a:pt x="44" y="75"/>
                    </a:lnTo>
                    <a:lnTo>
                      <a:pt x="39" y="76"/>
                    </a:lnTo>
                    <a:close/>
                    <a:moveTo>
                      <a:pt x="16" y="72"/>
                    </a:moveTo>
                    <a:lnTo>
                      <a:pt x="16" y="72"/>
                    </a:lnTo>
                    <a:lnTo>
                      <a:pt x="18" y="73"/>
                    </a:lnTo>
                    <a:lnTo>
                      <a:pt x="18" y="72"/>
                    </a:lnTo>
                    <a:lnTo>
                      <a:pt x="18" y="72"/>
                    </a:lnTo>
                    <a:lnTo>
                      <a:pt x="18" y="72"/>
                    </a:lnTo>
                    <a:lnTo>
                      <a:pt x="16" y="72"/>
                    </a:lnTo>
                    <a:close/>
                    <a:moveTo>
                      <a:pt x="13" y="60"/>
                    </a:moveTo>
                    <a:lnTo>
                      <a:pt x="12" y="60"/>
                    </a:lnTo>
                    <a:lnTo>
                      <a:pt x="12" y="62"/>
                    </a:lnTo>
                    <a:lnTo>
                      <a:pt x="13" y="62"/>
                    </a:lnTo>
                    <a:lnTo>
                      <a:pt x="13" y="60"/>
                    </a:lnTo>
                    <a:lnTo>
                      <a:pt x="13" y="60"/>
                    </a:lnTo>
                    <a:lnTo>
                      <a:pt x="13" y="6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8" name="Freeform 124">
                <a:extLst>
                  <a:ext uri="{FF2B5EF4-FFF2-40B4-BE49-F238E27FC236}">
                    <a16:creationId xmlns:a16="http://schemas.microsoft.com/office/drawing/2014/main" id="{290AB991-12D0-477B-0572-7F40244494CF}"/>
                  </a:ext>
                </a:extLst>
              </p:cNvPr>
              <p:cNvSpPr>
                <a:spLocks noEditPoints="1"/>
              </p:cNvSpPr>
              <p:nvPr/>
            </p:nvSpPr>
            <p:spPr bwMode="auto">
              <a:xfrm>
                <a:off x="7340573" y="2990363"/>
                <a:ext cx="196651" cy="133028"/>
              </a:xfrm>
              <a:custGeom>
                <a:avLst/>
                <a:gdLst>
                  <a:gd name="T0" fmla="*/ 110 w 136"/>
                  <a:gd name="T1" fmla="*/ 39 h 92"/>
                  <a:gd name="T2" fmla="*/ 112 w 136"/>
                  <a:gd name="T3" fmla="*/ 46 h 92"/>
                  <a:gd name="T4" fmla="*/ 118 w 136"/>
                  <a:gd name="T5" fmla="*/ 53 h 92"/>
                  <a:gd name="T6" fmla="*/ 123 w 136"/>
                  <a:gd name="T7" fmla="*/ 52 h 92"/>
                  <a:gd name="T8" fmla="*/ 130 w 136"/>
                  <a:gd name="T9" fmla="*/ 57 h 92"/>
                  <a:gd name="T10" fmla="*/ 133 w 136"/>
                  <a:gd name="T11" fmla="*/ 69 h 92"/>
                  <a:gd name="T12" fmla="*/ 135 w 136"/>
                  <a:gd name="T13" fmla="*/ 73 h 92"/>
                  <a:gd name="T14" fmla="*/ 132 w 136"/>
                  <a:gd name="T15" fmla="*/ 80 h 92"/>
                  <a:gd name="T16" fmla="*/ 113 w 136"/>
                  <a:gd name="T17" fmla="*/ 80 h 92"/>
                  <a:gd name="T18" fmla="*/ 112 w 136"/>
                  <a:gd name="T19" fmla="*/ 79 h 92"/>
                  <a:gd name="T20" fmla="*/ 110 w 136"/>
                  <a:gd name="T21" fmla="*/ 76 h 92"/>
                  <a:gd name="T22" fmla="*/ 100 w 136"/>
                  <a:gd name="T23" fmla="*/ 77 h 92"/>
                  <a:gd name="T24" fmla="*/ 93 w 136"/>
                  <a:gd name="T25" fmla="*/ 85 h 92"/>
                  <a:gd name="T26" fmla="*/ 82 w 136"/>
                  <a:gd name="T27" fmla="*/ 89 h 92"/>
                  <a:gd name="T28" fmla="*/ 72 w 136"/>
                  <a:gd name="T29" fmla="*/ 85 h 92"/>
                  <a:gd name="T30" fmla="*/ 74 w 136"/>
                  <a:gd name="T31" fmla="*/ 67 h 92"/>
                  <a:gd name="T32" fmla="*/ 72 w 136"/>
                  <a:gd name="T33" fmla="*/ 66 h 92"/>
                  <a:gd name="T34" fmla="*/ 69 w 136"/>
                  <a:gd name="T35" fmla="*/ 63 h 92"/>
                  <a:gd name="T36" fmla="*/ 63 w 136"/>
                  <a:gd name="T37" fmla="*/ 56 h 92"/>
                  <a:gd name="T38" fmla="*/ 51 w 136"/>
                  <a:gd name="T39" fmla="*/ 65 h 92"/>
                  <a:gd name="T40" fmla="*/ 50 w 136"/>
                  <a:gd name="T41" fmla="*/ 70 h 92"/>
                  <a:gd name="T42" fmla="*/ 44 w 136"/>
                  <a:gd name="T43" fmla="*/ 73 h 92"/>
                  <a:gd name="T44" fmla="*/ 36 w 136"/>
                  <a:gd name="T45" fmla="*/ 82 h 92"/>
                  <a:gd name="T46" fmla="*/ 26 w 136"/>
                  <a:gd name="T47" fmla="*/ 79 h 92"/>
                  <a:gd name="T48" fmla="*/ 7 w 136"/>
                  <a:gd name="T49" fmla="*/ 82 h 92"/>
                  <a:gd name="T50" fmla="*/ 14 w 136"/>
                  <a:gd name="T51" fmla="*/ 66 h 92"/>
                  <a:gd name="T52" fmla="*/ 14 w 136"/>
                  <a:gd name="T53" fmla="*/ 46 h 92"/>
                  <a:gd name="T54" fmla="*/ 5 w 136"/>
                  <a:gd name="T55" fmla="*/ 43 h 92"/>
                  <a:gd name="T56" fmla="*/ 0 w 136"/>
                  <a:gd name="T57" fmla="*/ 39 h 92"/>
                  <a:gd name="T58" fmla="*/ 3 w 136"/>
                  <a:gd name="T59" fmla="*/ 33 h 92"/>
                  <a:gd name="T60" fmla="*/ 21 w 136"/>
                  <a:gd name="T61" fmla="*/ 30 h 92"/>
                  <a:gd name="T62" fmla="*/ 26 w 136"/>
                  <a:gd name="T63" fmla="*/ 26 h 92"/>
                  <a:gd name="T64" fmla="*/ 27 w 136"/>
                  <a:gd name="T65" fmla="*/ 24 h 92"/>
                  <a:gd name="T66" fmla="*/ 28 w 136"/>
                  <a:gd name="T67" fmla="*/ 20 h 92"/>
                  <a:gd name="T68" fmla="*/ 23 w 136"/>
                  <a:gd name="T69" fmla="*/ 19 h 92"/>
                  <a:gd name="T70" fmla="*/ 34 w 136"/>
                  <a:gd name="T71" fmla="*/ 16 h 92"/>
                  <a:gd name="T72" fmla="*/ 33 w 136"/>
                  <a:gd name="T73" fmla="*/ 10 h 92"/>
                  <a:gd name="T74" fmla="*/ 37 w 136"/>
                  <a:gd name="T75" fmla="*/ 7 h 92"/>
                  <a:gd name="T76" fmla="*/ 49 w 136"/>
                  <a:gd name="T77" fmla="*/ 4 h 92"/>
                  <a:gd name="T78" fmla="*/ 59 w 136"/>
                  <a:gd name="T79" fmla="*/ 8 h 92"/>
                  <a:gd name="T80" fmla="*/ 54 w 136"/>
                  <a:gd name="T81" fmla="*/ 14 h 92"/>
                  <a:gd name="T82" fmla="*/ 57 w 136"/>
                  <a:gd name="T83" fmla="*/ 19 h 92"/>
                  <a:gd name="T84" fmla="*/ 59 w 136"/>
                  <a:gd name="T85" fmla="*/ 20 h 92"/>
                  <a:gd name="T86" fmla="*/ 57 w 136"/>
                  <a:gd name="T87" fmla="*/ 23 h 92"/>
                  <a:gd name="T88" fmla="*/ 47 w 136"/>
                  <a:gd name="T89" fmla="*/ 19 h 92"/>
                  <a:gd name="T90" fmla="*/ 37 w 136"/>
                  <a:gd name="T91" fmla="*/ 24 h 92"/>
                  <a:gd name="T92" fmla="*/ 33 w 136"/>
                  <a:gd name="T93" fmla="*/ 29 h 92"/>
                  <a:gd name="T94" fmla="*/ 49 w 136"/>
                  <a:gd name="T95" fmla="*/ 31 h 92"/>
                  <a:gd name="T96" fmla="*/ 57 w 136"/>
                  <a:gd name="T97" fmla="*/ 33 h 92"/>
                  <a:gd name="T98" fmla="*/ 63 w 136"/>
                  <a:gd name="T99" fmla="*/ 34 h 92"/>
                  <a:gd name="T100" fmla="*/ 72 w 136"/>
                  <a:gd name="T101" fmla="*/ 31 h 92"/>
                  <a:gd name="T102" fmla="*/ 77 w 136"/>
                  <a:gd name="T103" fmla="*/ 36 h 92"/>
                  <a:gd name="T104" fmla="*/ 79 w 136"/>
                  <a:gd name="T105" fmla="*/ 37 h 92"/>
                  <a:gd name="T106" fmla="*/ 86 w 136"/>
                  <a:gd name="T107" fmla="*/ 39 h 92"/>
                  <a:gd name="T108" fmla="*/ 92 w 136"/>
                  <a:gd name="T109" fmla="*/ 36 h 92"/>
                  <a:gd name="T110" fmla="*/ 105 w 136"/>
                  <a:gd name="T111" fmla="*/ 36 h 92"/>
                  <a:gd name="T112" fmla="*/ 57 w 136"/>
                  <a:gd name="T113" fmla="*/ 1 h 92"/>
                  <a:gd name="T114" fmla="*/ 57 w 136"/>
                  <a:gd name="T115" fmla="*/ 26 h 92"/>
                  <a:gd name="T116" fmla="*/ 57 w 136"/>
                  <a:gd name="T117" fmla="*/ 2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6" h="92">
                    <a:moveTo>
                      <a:pt x="107" y="34"/>
                    </a:moveTo>
                    <a:lnTo>
                      <a:pt x="110" y="34"/>
                    </a:lnTo>
                    <a:lnTo>
                      <a:pt x="110" y="36"/>
                    </a:lnTo>
                    <a:lnTo>
                      <a:pt x="110" y="39"/>
                    </a:lnTo>
                    <a:lnTo>
                      <a:pt x="110" y="39"/>
                    </a:lnTo>
                    <a:lnTo>
                      <a:pt x="110" y="40"/>
                    </a:lnTo>
                    <a:lnTo>
                      <a:pt x="112" y="43"/>
                    </a:lnTo>
                    <a:lnTo>
                      <a:pt x="113" y="43"/>
                    </a:lnTo>
                    <a:lnTo>
                      <a:pt x="113" y="44"/>
                    </a:lnTo>
                    <a:lnTo>
                      <a:pt x="112" y="46"/>
                    </a:lnTo>
                    <a:lnTo>
                      <a:pt x="112" y="47"/>
                    </a:lnTo>
                    <a:lnTo>
                      <a:pt x="112" y="50"/>
                    </a:lnTo>
                    <a:lnTo>
                      <a:pt x="113" y="52"/>
                    </a:lnTo>
                    <a:lnTo>
                      <a:pt x="115" y="53"/>
                    </a:lnTo>
                    <a:lnTo>
                      <a:pt x="118" y="53"/>
                    </a:lnTo>
                    <a:lnTo>
                      <a:pt x="118" y="53"/>
                    </a:lnTo>
                    <a:lnTo>
                      <a:pt x="119" y="52"/>
                    </a:lnTo>
                    <a:lnTo>
                      <a:pt x="120" y="52"/>
                    </a:lnTo>
                    <a:lnTo>
                      <a:pt x="122" y="52"/>
                    </a:lnTo>
                    <a:lnTo>
                      <a:pt x="123" y="52"/>
                    </a:lnTo>
                    <a:lnTo>
                      <a:pt x="128" y="53"/>
                    </a:lnTo>
                    <a:lnTo>
                      <a:pt x="129" y="54"/>
                    </a:lnTo>
                    <a:lnTo>
                      <a:pt x="130" y="54"/>
                    </a:lnTo>
                    <a:lnTo>
                      <a:pt x="130" y="56"/>
                    </a:lnTo>
                    <a:lnTo>
                      <a:pt x="130" y="57"/>
                    </a:lnTo>
                    <a:lnTo>
                      <a:pt x="130" y="57"/>
                    </a:lnTo>
                    <a:lnTo>
                      <a:pt x="130" y="59"/>
                    </a:lnTo>
                    <a:lnTo>
                      <a:pt x="130" y="62"/>
                    </a:lnTo>
                    <a:lnTo>
                      <a:pt x="132" y="66"/>
                    </a:lnTo>
                    <a:lnTo>
                      <a:pt x="133" y="69"/>
                    </a:lnTo>
                    <a:lnTo>
                      <a:pt x="133" y="69"/>
                    </a:lnTo>
                    <a:lnTo>
                      <a:pt x="132" y="72"/>
                    </a:lnTo>
                    <a:lnTo>
                      <a:pt x="133" y="72"/>
                    </a:lnTo>
                    <a:lnTo>
                      <a:pt x="133" y="73"/>
                    </a:lnTo>
                    <a:lnTo>
                      <a:pt x="135" y="73"/>
                    </a:lnTo>
                    <a:lnTo>
                      <a:pt x="135" y="75"/>
                    </a:lnTo>
                    <a:lnTo>
                      <a:pt x="135" y="76"/>
                    </a:lnTo>
                    <a:lnTo>
                      <a:pt x="136" y="77"/>
                    </a:lnTo>
                    <a:lnTo>
                      <a:pt x="135" y="79"/>
                    </a:lnTo>
                    <a:lnTo>
                      <a:pt x="132" y="80"/>
                    </a:lnTo>
                    <a:lnTo>
                      <a:pt x="129" y="77"/>
                    </a:lnTo>
                    <a:lnTo>
                      <a:pt x="125" y="77"/>
                    </a:lnTo>
                    <a:lnTo>
                      <a:pt x="120" y="77"/>
                    </a:lnTo>
                    <a:lnTo>
                      <a:pt x="115" y="80"/>
                    </a:lnTo>
                    <a:lnTo>
                      <a:pt x="113" y="80"/>
                    </a:lnTo>
                    <a:lnTo>
                      <a:pt x="112" y="80"/>
                    </a:lnTo>
                    <a:lnTo>
                      <a:pt x="110" y="79"/>
                    </a:lnTo>
                    <a:lnTo>
                      <a:pt x="110" y="79"/>
                    </a:lnTo>
                    <a:lnTo>
                      <a:pt x="112" y="79"/>
                    </a:lnTo>
                    <a:lnTo>
                      <a:pt x="112" y="79"/>
                    </a:lnTo>
                    <a:lnTo>
                      <a:pt x="112" y="79"/>
                    </a:lnTo>
                    <a:lnTo>
                      <a:pt x="112" y="77"/>
                    </a:lnTo>
                    <a:lnTo>
                      <a:pt x="112" y="77"/>
                    </a:lnTo>
                    <a:lnTo>
                      <a:pt x="112" y="76"/>
                    </a:lnTo>
                    <a:lnTo>
                      <a:pt x="110" y="76"/>
                    </a:lnTo>
                    <a:lnTo>
                      <a:pt x="109" y="76"/>
                    </a:lnTo>
                    <a:lnTo>
                      <a:pt x="107" y="76"/>
                    </a:lnTo>
                    <a:lnTo>
                      <a:pt x="106" y="76"/>
                    </a:lnTo>
                    <a:lnTo>
                      <a:pt x="103" y="76"/>
                    </a:lnTo>
                    <a:lnTo>
                      <a:pt x="100" y="77"/>
                    </a:lnTo>
                    <a:lnTo>
                      <a:pt x="97" y="79"/>
                    </a:lnTo>
                    <a:lnTo>
                      <a:pt x="96" y="80"/>
                    </a:lnTo>
                    <a:lnTo>
                      <a:pt x="95" y="82"/>
                    </a:lnTo>
                    <a:lnTo>
                      <a:pt x="93" y="83"/>
                    </a:lnTo>
                    <a:lnTo>
                      <a:pt x="93" y="85"/>
                    </a:lnTo>
                    <a:lnTo>
                      <a:pt x="92" y="85"/>
                    </a:lnTo>
                    <a:lnTo>
                      <a:pt x="87" y="86"/>
                    </a:lnTo>
                    <a:lnTo>
                      <a:pt x="86" y="86"/>
                    </a:lnTo>
                    <a:lnTo>
                      <a:pt x="84" y="88"/>
                    </a:lnTo>
                    <a:lnTo>
                      <a:pt x="82" y="89"/>
                    </a:lnTo>
                    <a:lnTo>
                      <a:pt x="79" y="90"/>
                    </a:lnTo>
                    <a:lnTo>
                      <a:pt x="77" y="92"/>
                    </a:lnTo>
                    <a:lnTo>
                      <a:pt x="74" y="90"/>
                    </a:lnTo>
                    <a:lnTo>
                      <a:pt x="73" y="88"/>
                    </a:lnTo>
                    <a:lnTo>
                      <a:pt x="72" y="85"/>
                    </a:lnTo>
                    <a:lnTo>
                      <a:pt x="72" y="83"/>
                    </a:lnTo>
                    <a:lnTo>
                      <a:pt x="72" y="80"/>
                    </a:lnTo>
                    <a:lnTo>
                      <a:pt x="73" y="73"/>
                    </a:lnTo>
                    <a:lnTo>
                      <a:pt x="74" y="69"/>
                    </a:lnTo>
                    <a:lnTo>
                      <a:pt x="74" y="67"/>
                    </a:lnTo>
                    <a:lnTo>
                      <a:pt x="73" y="66"/>
                    </a:lnTo>
                    <a:lnTo>
                      <a:pt x="73" y="66"/>
                    </a:lnTo>
                    <a:lnTo>
                      <a:pt x="73" y="66"/>
                    </a:lnTo>
                    <a:lnTo>
                      <a:pt x="72" y="66"/>
                    </a:lnTo>
                    <a:lnTo>
                      <a:pt x="72" y="66"/>
                    </a:lnTo>
                    <a:lnTo>
                      <a:pt x="70" y="66"/>
                    </a:lnTo>
                    <a:lnTo>
                      <a:pt x="70" y="66"/>
                    </a:lnTo>
                    <a:lnTo>
                      <a:pt x="69" y="66"/>
                    </a:lnTo>
                    <a:lnTo>
                      <a:pt x="69" y="65"/>
                    </a:lnTo>
                    <a:lnTo>
                      <a:pt x="69" y="63"/>
                    </a:lnTo>
                    <a:lnTo>
                      <a:pt x="70" y="62"/>
                    </a:lnTo>
                    <a:lnTo>
                      <a:pt x="70" y="62"/>
                    </a:lnTo>
                    <a:lnTo>
                      <a:pt x="69" y="59"/>
                    </a:lnTo>
                    <a:lnTo>
                      <a:pt x="66" y="56"/>
                    </a:lnTo>
                    <a:lnTo>
                      <a:pt x="63" y="56"/>
                    </a:lnTo>
                    <a:lnTo>
                      <a:pt x="59" y="56"/>
                    </a:lnTo>
                    <a:lnTo>
                      <a:pt x="57" y="57"/>
                    </a:lnTo>
                    <a:lnTo>
                      <a:pt x="56" y="60"/>
                    </a:lnTo>
                    <a:lnTo>
                      <a:pt x="53" y="65"/>
                    </a:lnTo>
                    <a:lnTo>
                      <a:pt x="51" y="65"/>
                    </a:lnTo>
                    <a:lnTo>
                      <a:pt x="51" y="66"/>
                    </a:lnTo>
                    <a:lnTo>
                      <a:pt x="50" y="66"/>
                    </a:lnTo>
                    <a:lnTo>
                      <a:pt x="50" y="67"/>
                    </a:lnTo>
                    <a:lnTo>
                      <a:pt x="50" y="69"/>
                    </a:lnTo>
                    <a:lnTo>
                      <a:pt x="50" y="70"/>
                    </a:lnTo>
                    <a:lnTo>
                      <a:pt x="51" y="72"/>
                    </a:lnTo>
                    <a:lnTo>
                      <a:pt x="50" y="73"/>
                    </a:lnTo>
                    <a:lnTo>
                      <a:pt x="49" y="73"/>
                    </a:lnTo>
                    <a:lnTo>
                      <a:pt x="46" y="73"/>
                    </a:lnTo>
                    <a:lnTo>
                      <a:pt x="44" y="73"/>
                    </a:lnTo>
                    <a:lnTo>
                      <a:pt x="41" y="73"/>
                    </a:lnTo>
                    <a:lnTo>
                      <a:pt x="39" y="73"/>
                    </a:lnTo>
                    <a:lnTo>
                      <a:pt x="37" y="75"/>
                    </a:lnTo>
                    <a:lnTo>
                      <a:pt x="36" y="79"/>
                    </a:lnTo>
                    <a:lnTo>
                      <a:pt x="36" y="82"/>
                    </a:lnTo>
                    <a:lnTo>
                      <a:pt x="33" y="82"/>
                    </a:lnTo>
                    <a:lnTo>
                      <a:pt x="31" y="80"/>
                    </a:lnTo>
                    <a:lnTo>
                      <a:pt x="28" y="79"/>
                    </a:lnTo>
                    <a:lnTo>
                      <a:pt x="27" y="79"/>
                    </a:lnTo>
                    <a:lnTo>
                      <a:pt x="26" y="79"/>
                    </a:lnTo>
                    <a:lnTo>
                      <a:pt x="24" y="79"/>
                    </a:lnTo>
                    <a:lnTo>
                      <a:pt x="24" y="79"/>
                    </a:lnTo>
                    <a:lnTo>
                      <a:pt x="14" y="85"/>
                    </a:lnTo>
                    <a:lnTo>
                      <a:pt x="10" y="85"/>
                    </a:lnTo>
                    <a:lnTo>
                      <a:pt x="7" y="82"/>
                    </a:lnTo>
                    <a:lnTo>
                      <a:pt x="8" y="79"/>
                    </a:lnTo>
                    <a:lnTo>
                      <a:pt x="8" y="75"/>
                    </a:lnTo>
                    <a:lnTo>
                      <a:pt x="8" y="73"/>
                    </a:lnTo>
                    <a:lnTo>
                      <a:pt x="10" y="72"/>
                    </a:lnTo>
                    <a:lnTo>
                      <a:pt x="14" y="66"/>
                    </a:lnTo>
                    <a:lnTo>
                      <a:pt x="17" y="63"/>
                    </a:lnTo>
                    <a:lnTo>
                      <a:pt x="17" y="60"/>
                    </a:lnTo>
                    <a:lnTo>
                      <a:pt x="13" y="56"/>
                    </a:lnTo>
                    <a:lnTo>
                      <a:pt x="13" y="53"/>
                    </a:lnTo>
                    <a:lnTo>
                      <a:pt x="14" y="46"/>
                    </a:lnTo>
                    <a:lnTo>
                      <a:pt x="13" y="44"/>
                    </a:lnTo>
                    <a:lnTo>
                      <a:pt x="11" y="44"/>
                    </a:lnTo>
                    <a:lnTo>
                      <a:pt x="8" y="44"/>
                    </a:lnTo>
                    <a:lnTo>
                      <a:pt x="5" y="44"/>
                    </a:lnTo>
                    <a:lnTo>
                      <a:pt x="5" y="43"/>
                    </a:lnTo>
                    <a:lnTo>
                      <a:pt x="5" y="42"/>
                    </a:lnTo>
                    <a:lnTo>
                      <a:pt x="4" y="40"/>
                    </a:lnTo>
                    <a:lnTo>
                      <a:pt x="3" y="40"/>
                    </a:lnTo>
                    <a:lnTo>
                      <a:pt x="1" y="40"/>
                    </a:lnTo>
                    <a:lnTo>
                      <a:pt x="0" y="39"/>
                    </a:lnTo>
                    <a:lnTo>
                      <a:pt x="0" y="37"/>
                    </a:lnTo>
                    <a:lnTo>
                      <a:pt x="0" y="36"/>
                    </a:lnTo>
                    <a:lnTo>
                      <a:pt x="1" y="34"/>
                    </a:lnTo>
                    <a:lnTo>
                      <a:pt x="1" y="33"/>
                    </a:lnTo>
                    <a:lnTo>
                      <a:pt x="3" y="33"/>
                    </a:lnTo>
                    <a:lnTo>
                      <a:pt x="5" y="31"/>
                    </a:lnTo>
                    <a:lnTo>
                      <a:pt x="8" y="31"/>
                    </a:lnTo>
                    <a:lnTo>
                      <a:pt x="16" y="33"/>
                    </a:lnTo>
                    <a:lnTo>
                      <a:pt x="20" y="31"/>
                    </a:lnTo>
                    <a:lnTo>
                      <a:pt x="21" y="30"/>
                    </a:lnTo>
                    <a:lnTo>
                      <a:pt x="21" y="29"/>
                    </a:lnTo>
                    <a:lnTo>
                      <a:pt x="23" y="26"/>
                    </a:lnTo>
                    <a:lnTo>
                      <a:pt x="24" y="26"/>
                    </a:lnTo>
                    <a:lnTo>
                      <a:pt x="24" y="26"/>
                    </a:lnTo>
                    <a:lnTo>
                      <a:pt x="26" y="26"/>
                    </a:lnTo>
                    <a:lnTo>
                      <a:pt x="26" y="24"/>
                    </a:lnTo>
                    <a:lnTo>
                      <a:pt x="26" y="24"/>
                    </a:lnTo>
                    <a:lnTo>
                      <a:pt x="26" y="24"/>
                    </a:lnTo>
                    <a:lnTo>
                      <a:pt x="26" y="24"/>
                    </a:lnTo>
                    <a:lnTo>
                      <a:pt x="27" y="24"/>
                    </a:lnTo>
                    <a:lnTo>
                      <a:pt x="26" y="24"/>
                    </a:lnTo>
                    <a:lnTo>
                      <a:pt x="26" y="23"/>
                    </a:lnTo>
                    <a:lnTo>
                      <a:pt x="26" y="23"/>
                    </a:lnTo>
                    <a:lnTo>
                      <a:pt x="28" y="21"/>
                    </a:lnTo>
                    <a:lnTo>
                      <a:pt x="28" y="20"/>
                    </a:lnTo>
                    <a:lnTo>
                      <a:pt x="27" y="20"/>
                    </a:lnTo>
                    <a:lnTo>
                      <a:pt x="26" y="20"/>
                    </a:lnTo>
                    <a:lnTo>
                      <a:pt x="24" y="20"/>
                    </a:lnTo>
                    <a:lnTo>
                      <a:pt x="24" y="20"/>
                    </a:lnTo>
                    <a:lnTo>
                      <a:pt x="23" y="19"/>
                    </a:lnTo>
                    <a:lnTo>
                      <a:pt x="26" y="19"/>
                    </a:lnTo>
                    <a:lnTo>
                      <a:pt x="34" y="19"/>
                    </a:lnTo>
                    <a:lnTo>
                      <a:pt x="33" y="17"/>
                    </a:lnTo>
                    <a:lnTo>
                      <a:pt x="34" y="16"/>
                    </a:lnTo>
                    <a:lnTo>
                      <a:pt x="34" y="16"/>
                    </a:lnTo>
                    <a:lnTo>
                      <a:pt x="34" y="14"/>
                    </a:lnTo>
                    <a:lnTo>
                      <a:pt x="33" y="13"/>
                    </a:lnTo>
                    <a:lnTo>
                      <a:pt x="33" y="11"/>
                    </a:lnTo>
                    <a:lnTo>
                      <a:pt x="33" y="10"/>
                    </a:lnTo>
                    <a:lnTo>
                      <a:pt x="33" y="10"/>
                    </a:lnTo>
                    <a:lnTo>
                      <a:pt x="34" y="10"/>
                    </a:lnTo>
                    <a:lnTo>
                      <a:pt x="34" y="10"/>
                    </a:lnTo>
                    <a:lnTo>
                      <a:pt x="36" y="7"/>
                    </a:lnTo>
                    <a:lnTo>
                      <a:pt x="36" y="6"/>
                    </a:lnTo>
                    <a:lnTo>
                      <a:pt x="37" y="7"/>
                    </a:lnTo>
                    <a:lnTo>
                      <a:pt x="40" y="8"/>
                    </a:lnTo>
                    <a:lnTo>
                      <a:pt x="41" y="8"/>
                    </a:lnTo>
                    <a:lnTo>
                      <a:pt x="44" y="7"/>
                    </a:lnTo>
                    <a:lnTo>
                      <a:pt x="47" y="6"/>
                    </a:lnTo>
                    <a:lnTo>
                      <a:pt x="49" y="4"/>
                    </a:lnTo>
                    <a:lnTo>
                      <a:pt x="53" y="1"/>
                    </a:lnTo>
                    <a:lnTo>
                      <a:pt x="54" y="0"/>
                    </a:lnTo>
                    <a:lnTo>
                      <a:pt x="56" y="1"/>
                    </a:lnTo>
                    <a:lnTo>
                      <a:pt x="60" y="7"/>
                    </a:lnTo>
                    <a:lnTo>
                      <a:pt x="59" y="8"/>
                    </a:lnTo>
                    <a:lnTo>
                      <a:pt x="54" y="11"/>
                    </a:lnTo>
                    <a:lnTo>
                      <a:pt x="53" y="13"/>
                    </a:lnTo>
                    <a:lnTo>
                      <a:pt x="53" y="14"/>
                    </a:lnTo>
                    <a:lnTo>
                      <a:pt x="53" y="14"/>
                    </a:lnTo>
                    <a:lnTo>
                      <a:pt x="54" y="14"/>
                    </a:lnTo>
                    <a:lnTo>
                      <a:pt x="56" y="16"/>
                    </a:lnTo>
                    <a:lnTo>
                      <a:pt x="56" y="16"/>
                    </a:lnTo>
                    <a:lnTo>
                      <a:pt x="57" y="17"/>
                    </a:lnTo>
                    <a:lnTo>
                      <a:pt x="57" y="17"/>
                    </a:lnTo>
                    <a:lnTo>
                      <a:pt x="57" y="19"/>
                    </a:lnTo>
                    <a:lnTo>
                      <a:pt x="59" y="19"/>
                    </a:lnTo>
                    <a:lnTo>
                      <a:pt x="63" y="17"/>
                    </a:lnTo>
                    <a:lnTo>
                      <a:pt x="63" y="19"/>
                    </a:lnTo>
                    <a:lnTo>
                      <a:pt x="62" y="20"/>
                    </a:lnTo>
                    <a:lnTo>
                      <a:pt x="59" y="20"/>
                    </a:lnTo>
                    <a:lnTo>
                      <a:pt x="57" y="21"/>
                    </a:lnTo>
                    <a:lnTo>
                      <a:pt x="57" y="21"/>
                    </a:lnTo>
                    <a:lnTo>
                      <a:pt x="57" y="23"/>
                    </a:lnTo>
                    <a:lnTo>
                      <a:pt x="57" y="23"/>
                    </a:lnTo>
                    <a:lnTo>
                      <a:pt x="57" y="23"/>
                    </a:lnTo>
                    <a:lnTo>
                      <a:pt x="56" y="23"/>
                    </a:lnTo>
                    <a:lnTo>
                      <a:pt x="56" y="23"/>
                    </a:lnTo>
                    <a:lnTo>
                      <a:pt x="56" y="23"/>
                    </a:lnTo>
                    <a:lnTo>
                      <a:pt x="54" y="21"/>
                    </a:lnTo>
                    <a:lnTo>
                      <a:pt x="47" y="19"/>
                    </a:lnTo>
                    <a:lnTo>
                      <a:pt x="43" y="19"/>
                    </a:lnTo>
                    <a:lnTo>
                      <a:pt x="39" y="20"/>
                    </a:lnTo>
                    <a:lnTo>
                      <a:pt x="39" y="21"/>
                    </a:lnTo>
                    <a:lnTo>
                      <a:pt x="37" y="23"/>
                    </a:lnTo>
                    <a:lnTo>
                      <a:pt x="37" y="24"/>
                    </a:lnTo>
                    <a:lnTo>
                      <a:pt x="36" y="24"/>
                    </a:lnTo>
                    <a:lnTo>
                      <a:pt x="34" y="24"/>
                    </a:lnTo>
                    <a:lnTo>
                      <a:pt x="34" y="24"/>
                    </a:lnTo>
                    <a:lnTo>
                      <a:pt x="33" y="26"/>
                    </a:lnTo>
                    <a:lnTo>
                      <a:pt x="33" y="29"/>
                    </a:lnTo>
                    <a:lnTo>
                      <a:pt x="33" y="31"/>
                    </a:lnTo>
                    <a:lnTo>
                      <a:pt x="34" y="33"/>
                    </a:lnTo>
                    <a:lnTo>
                      <a:pt x="36" y="33"/>
                    </a:lnTo>
                    <a:lnTo>
                      <a:pt x="41" y="31"/>
                    </a:lnTo>
                    <a:lnTo>
                      <a:pt x="49" y="31"/>
                    </a:lnTo>
                    <a:lnTo>
                      <a:pt x="53" y="31"/>
                    </a:lnTo>
                    <a:lnTo>
                      <a:pt x="54" y="31"/>
                    </a:lnTo>
                    <a:lnTo>
                      <a:pt x="56" y="31"/>
                    </a:lnTo>
                    <a:lnTo>
                      <a:pt x="57" y="33"/>
                    </a:lnTo>
                    <a:lnTo>
                      <a:pt x="57" y="33"/>
                    </a:lnTo>
                    <a:lnTo>
                      <a:pt x="60" y="34"/>
                    </a:lnTo>
                    <a:lnTo>
                      <a:pt x="60" y="36"/>
                    </a:lnTo>
                    <a:lnTo>
                      <a:pt x="62" y="36"/>
                    </a:lnTo>
                    <a:lnTo>
                      <a:pt x="63" y="36"/>
                    </a:lnTo>
                    <a:lnTo>
                      <a:pt x="63" y="34"/>
                    </a:lnTo>
                    <a:lnTo>
                      <a:pt x="64" y="34"/>
                    </a:lnTo>
                    <a:lnTo>
                      <a:pt x="66" y="33"/>
                    </a:lnTo>
                    <a:lnTo>
                      <a:pt x="69" y="31"/>
                    </a:lnTo>
                    <a:lnTo>
                      <a:pt x="70" y="31"/>
                    </a:lnTo>
                    <a:lnTo>
                      <a:pt x="72" y="31"/>
                    </a:lnTo>
                    <a:lnTo>
                      <a:pt x="73" y="31"/>
                    </a:lnTo>
                    <a:lnTo>
                      <a:pt x="73" y="33"/>
                    </a:lnTo>
                    <a:lnTo>
                      <a:pt x="73" y="33"/>
                    </a:lnTo>
                    <a:lnTo>
                      <a:pt x="76" y="34"/>
                    </a:lnTo>
                    <a:lnTo>
                      <a:pt x="77" y="36"/>
                    </a:lnTo>
                    <a:lnTo>
                      <a:pt x="77" y="36"/>
                    </a:lnTo>
                    <a:lnTo>
                      <a:pt x="77" y="37"/>
                    </a:lnTo>
                    <a:lnTo>
                      <a:pt x="77" y="37"/>
                    </a:lnTo>
                    <a:lnTo>
                      <a:pt x="77" y="37"/>
                    </a:lnTo>
                    <a:lnTo>
                      <a:pt x="79" y="37"/>
                    </a:lnTo>
                    <a:lnTo>
                      <a:pt x="80" y="37"/>
                    </a:lnTo>
                    <a:lnTo>
                      <a:pt x="82" y="36"/>
                    </a:lnTo>
                    <a:lnTo>
                      <a:pt x="83" y="37"/>
                    </a:lnTo>
                    <a:lnTo>
                      <a:pt x="84" y="39"/>
                    </a:lnTo>
                    <a:lnTo>
                      <a:pt x="86" y="39"/>
                    </a:lnTo>
                    <a:lnTo>
                      <a:pt x="87" y="39"/>
                    </a:lnTo>
                    <a:lnTo>
                      <a:pt x="89" y="37"/>
                    </a:lnTo>
                    <a:lnTo>
                      <a:pt x="90" y="36"/>
                    </a:lnTo>
                    <a:lnTo>
                      <a:pt x="90" y="36"/>
                    </a:lnTo>
                    <a:lnTo>
                      <a:pt x="92" y="36"/>
                    </a:lnTo>
                    <a:lnTo>
                      <a:pt x="92" y="36"/>
                    </a:lnTo>
                    <a:lnTo>
                      <a:pt x="93" y="36"/>
                    </a:lnTo>
                    <a:lnTo>
                      <a:pt x="100" y="36"/>
                    </a:lnTo>
                    <a:lnTo>
                      <a:pt x="103" y="36"/>
                    </a:lnTo>
                    <a:lnTo>
                      <a:pt x="105" y="36"/>
                    </a:lnTo>
                    <a:lnTo>
                      <a:pt x="106" y="34"/>
                    </a:lnTo>
                    <a:lnTo>
                      <a:pt x="107" y="34"/>
                    </a:lnTo>
                    <a:close/>
                    <a:moveTo>
                      <a:pt x="57" y="3"/>
                    </a:moveTo>
                    <a:lnTo>
                      <a:pt x="57" y="3"/>
                    </a:lnTo>
                    <a:lnTo>
                      <a:pt x="57" y="1"/>
                    </a:lnTo>
                    <a:lnTo>
                      <a:pt x="57" y="1"/>
                    </a:lnTo>
                    <a:lnTo>
                      <a:pt x="56" y="1"/>
                    </a:lnTo>
                    <a:lnTo>
                      <a:pt x="57" y="1"/>
                    </a:lnTo>
                    <a:lnTo>
                      <a:pt x="57" y="3"/>
                    </a:lnTo>
                    <a:close/>
                    <a:moveTo>
                      <a:pt x="57" y="26"/>
                    </a:moveTo>
                    <a:lnTo>
                      <a:pt x="56" y="26"/>
                    </a:lnTo>
                    <a:lnTo>
                      <a:pt x="54" y="26"/>
                    </a:lnTo>
                    <a:lnTo>
                      <a:pt x="56" y="26"/>
                    </a:lnTo>
                    <a:lnTo>
                      <a:pt x="56" y="27"/>
                    </a:lnTo>
                    <a:lnTo>
                      <a:pt x="57" y="27"/>
                    </a:lnTo>
                    <a:lnTo>
                      <a:pt x="59" y="26"/>
                    </a:lnTo>
                    <a:lnTo>
                      <a:pt x="59" y="26"/>
                    </a:lnTo>
                    <a:lnTo>
                      <a:pt x="57" y="2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9" name="Freeform 125">
                <a:extLst>
                  <a:ext uri="{FF2B5EF4-FFF2-40B4-BE49-F238E27FC236}">
                    <a16:creationId xmlns:a16="http://schemas.microsoft.com/office/drawing/2014/main" id="{44644F6F-FBD2-C6A9-CF88-0E19C96EBF9A}"/>
                  </a:ext>
                </a:extLst>
              </p:cNvPr>
              <p:cNvSpPr>
                <a:spLocks noEditPoints="1"/>
              </p:cNvSpPr>
              <p:nvPr/>
            </p:nvSpPr>
            <p:spPr bwMode="auto">
              <a:xfrm>
                <a:off x="6731824" y="2981687"/>
                <a:ext cx="80974" cy="75190"/>
              </a:xfrm>
              <a:custGeom>
                <a:avLst/>
                <a:gdLst>
                  <a:gd name="T0" fmla="*/ 53 w 56"/>
                  <a:gd name="T1" fmla="*/ 46 h 52"/>
                  <a:gd name="T2" fmla="*/ 55 w 56"/>
                  <a:gd name="T3" fmla="*/ 43 h 52"/>
                  <a:gd name="T4" fmla="*/ 53 w 56"/>
                  <a:gd name="T5" fmla="*/ 42 h 52"/>
                  <a:gd name="T6" fmla="*/ 53 w 56"/>
                  <a:gd name="T7" fmla="*/ 39 h 52"/>
                  <a:gd name="T8" fmla="*/ 53 w 56"/>
                  <a:gd name="T9" fmla="*/ 37 h 52"/>
                  <a:gd name="T10" fmla="*/ 50 w 56"/>
                  <a:gd name="T11" fmla="*/ 36 h 52"/>
                  <a:gd name="T12" fmla="*/ 47 w 56"/>
                  <a:gd name="T13" fmla="*/ 36 h 52"/>
                  <a:gd name="T14" fmla="*/ 42 w 56"/>
                  <a:gd name="T15" fmla="*/ 32 h 52"/>
                  <a:gd name="T16" fmla="*/ 37 w 56"/>
                  <a:gd name="T17" fmla="*/ 29 h 52"/>
                  <a:gd name="T18" fmla="*/ 42 w 56"/>
                  <a:gd name="T19" fmla="*/ 29 h 52"/>
                  <a:gd name="T20" fmla="*/ 44 w 56"/>
                  <a:gd name="T21" fmla="*/ 26 h 52"/>
                  <a:gd name="T22" fmla="*/ 42 w 56"/>
                  <a:gd name="T23" fmla="*/ 22 h 52"/>
                  <a:gd name="T24" fmla="*/ 36 w 56"/>
                  <a:gd name="T25" fmla="*/ 17 h 52"/>
                  <a:gd name="T26" fmla="*/ 36 w 56"/>
                  <a:gd name="T27" fmla="*/ 13 h 52"/>
                  <a:gd name="T28" fmla="*/ 37 w 56"/>
                  <a:gd name="T29" fmla="*/ 10 h 52"/>
                  <a:gd name="T30" fmla="*/ 33 w 56"/>
                  <a:gd name="T31" fmla="*/ 7 h 52"/>
                  <a:gd name="T32" fmla="*/ 30 w 56"/>
                  <a:gd name="T33" fmla="*/ 4 h 52"/>
                  <a:gd name="T34" fmla="*/ 30 w 56"/>
                  <a:gd name="T35" fmla="*/ 3 h 52"/>
                  <a:gd name="T36" fmla="*/ 29 w 56"/>
                  <a:gd name="T37" fmla="*/ 2 h 52"/>
                  <a:gd name="T38" fmla="*/ 27 w 56"/>
                  <a:gd name="T39" fmla="*/ 2 h 52"/>
                  <a:gd name="T40" fmla="*/ 24 w 56"/>
                  <a:gd name="T41" fmla="*/ 2 h 52"/>
                  <a:gd name="T42" fmla="*/ 26 w 56"/>
                  <a:gd name="T43" fmla="*/ 3 h 52"/>
                  <a:gd name="T44" fmla="*/ 13 w 56"/>
                  <a:gd name="T45" fmla="*/ 3 h 52"/>
                  <a:gd name="T46" fmla="*/ 1 w 56"/>
                  <a:gd name="T47" fmla="*/ 6 h 52"/>
                  <a:gd name="T48" fmla="*/ 3 w 56"/>
                  <a:gd name="T49" fmla="*/ 7 h 52"/>
                  <a:gd name="T50" fmla="*/ 4 w 56"/>
                  <a:gd name="T51" fmla="*/ 12 h 52"/>
                  <a:gd name="T52" fmla="*/ 4 w 56"/>
                  <a:gd name="T53" fmla="*/ 14 h 52"/>
                  <a:gd name="T54" fmla="*/ 3 w 56"/>
                  <a:gd name="T55" fmla="*/ 19 h 52"/>
                  <a:gd name="T56" fmla="*/ 3 w 56"/>
                  <a:gd name="T57" fmla="*/ 22 h 52"/>
                  <a:gd name="T58" fmla="*/ 4 w 56"/>
                  <a:gd name="T59" fmla="*/ 23 h 52"/>
                  <a:gd name="T60" fmla="*/ 4 w 56"/>
                  <a:gd name="T61" fmla="*/ 26 h 52"/>
                  <a:gd name="T62" fmla="*/ 10 w 56"/>
                  <a:gd name="T63" fmla="*/ 27 h 52"/>
                  <a:gd name="T64" fmla="*/ 14 w 56"/>
                  <a:gd name="T65" fmla="*/ 27 h 52"/>
                  <a:gd name="T66" fmla="*/ 20 w 56"/>
                  <a:gd name="T67" fmla="*/ 30 h 52"/>
                  <a:gd name="T68" fmla="*/ 24 w 56"/>
                  <a:gd name="T69" fmla="*/ 35 h 52"/>
                  <a:gd name="T70" fmla="*/ 27 w 56"/>
                  <a:gd name="T71" fmla="*/ 33 h 52"/>
                  <a:gd name="T72" fmla="*/ 30 w 56"/>
                  <a:gd name="T73" fmla="*/ 35 h 52"/>
                  <a:gd name="T74" fmla="*/ 30 w 56"/>
                  <a:gd name="T75" fmla="*/ 37 h 52"/>
                  <a:gd name="T76" fmla="*/ 32 w 56"/>
                  <a:gd name="T77" fmla="*/ 37 h 52"/>
                  <a:gd name="T78" fmla="*/ 34 w 56"/>
                  <a:gd name="T79" fmla="*/ 39 h 52"/>
                  <a:gd name="T80" fmla="*/ 39 w 56"/>
                  <a:gd name="T81" fmla="*/ 37 h 52"/>
                  <a:gd name="T82" fmla="*/ 42 w 56"/>
                  <a:gd name="T83" fmla="*/ 39 h 52"/>
                  <a:gd name="T84" fmla="*/ 43 w 56"/>
                  <a:gd name="T85" fmla="*/ 43 h 52"/>
                  <a:gd name="T86" fmla="*/ 44 w 56"/>
                  <a:gd name="T87" fmla="*/ 45 h 52"/>
                  <a:gd name="T88" fmla="*/ 44 w 56"/>
                  <a:gd name="T89" fmla="*/ 45 h 52"/>
                  <a:gd name="T90" fmla="*/ 44 w 56"/>
                  <a:gd name="T91" fmla="*/ 46 h 52"/>
                  <a:gd name="T92" fmla="*/ 52 w 56"/>
                  <a:gd name="T93" fmla="*/ 52 h 52"/>
                  <a:gd name="T94" fmla="*/ 53 w 56"/>
                  <a:gd name="T95" fmla="*/ 49 h 52"/>
                  <a:gd name="T96" fmla="*/ 29 w 56"/>
                  <a:gd name="T97" fmla="*/ 7 h 52"/>
                  <a:gd name="T98" fmla="*/ 27 w 56"/>
                  <a:gd name="T99" fmla="*/ 6 h 52"/>
                  <a:gd name="T100" fmla="*/ 29 w 56"/>
                  <a:gd name="T101" fmla="*/ 7 h 52"/>
                  <a:gd name="T102" fmla="*/ 37 w 56"/>
                  <a:gd name="T103" fmla="*/ 14 h 52"/>
                  <a:gd name="T104" fmla="*/ 36 w 56"/>
                  <a:gd name="T105"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6" h="52">
                    <a:moveTo>
                      <a:pt x="53" y="48"/>
                    </a:moveTo>
                    <a:lnTo>
                      <a:pt x="53" y="46"/>
                    </a:lnTo>
                    <a:lnTo>
                      <a:pt x="56" y="45"/>
                    </a:lnTo>
                    <a:lnTo>
                      <a:pt x="55" y="43"/>
                    </a:lnTo>
                    <a:lnTo>
                      <a:pt x="53" y="43"/>
                    </a:lnTo>
                    <a:lnTo>
                      <a:pt x="53" y="42"/>
                    </a:lnTo>
                    <a:lnTo>
                      <a:pt x="52" y="40"/>
                    </a:lnTo>
                    <a:lnTo>
                      <a:pt x="53" y="39"/>
                    </a:lnTo>
                    <a:lnTo>
                      <a:pt x="53" y="39"/>
                    </a:lnTo>
                    <a:lnTo>
                      <a:pt x="53" y="37"/>
                    </a:lnTo>
                    <a:lnTo>
                      <a:pt x="52" y="36"/>
                    </a:lnTo>
                    <a:lnTo>
                      <a:pt x="50" y="36"/>
                    </a:lnTo>
                    <a:lnTo>
                      <a:pt x="49" y="36"/>
                    </a:lnTo>
                    <a:lnTo>
                      <a:pt x="47" y="36"/>
                    </a:lnTo>
                    <a:lnTo>
                      <a:pt x="47" y="36"/>
                    </a:lnTo>
                    <a:lnTo>
                      <a:pt x="42" y="32"/>
                    </a:lnTo>
                    <a:lnTo>
                      <a:pt x="40" y="30"/>
                    </a:lnTo>
                    <a:lnTo>
                      <a:pt x="37" y="29"/>
                    </a:lnTo>
                    <a:lnTo>
                      <a:pt x="40" y="29"/>
                    </a:lnTo>
                    <a:lnTo>
                      <a:pt x="42" y="29"/>
                    </a:lnTo>
                    <a:lnTo>
                      <a:pt x="43" y="27"/>
                    </a:lnTo>
                    <a:lnTo>
                      <a:pt x="44" y="26"/>
                    </a:lnTo>
                    <a:lnTo>
                      <a:pt x="43" y="23"/>
                    </a:lnTo>
                    <a:lnTo>
                      <a:pt x="42" y="22"/>
                    </a:lnTo>
                    <a:lnTo>
                      <a:pt x="39" y="19"/>
                    </a:lnTo>
                    <a:lnTo>
                      <a:pt x="36" y="17"/>
                    </a:lnTo>
                    <a:lnTo>
                      <a:pt x="34" y="14"/>
                    </a:lnTo>
                    <a:lnTo>
                      <a:pt x="36" y="13"/>
                    </a:lnTo>
                    <a:lnTo>
                      <a:pt x="37" y="12"/>
                    </a:lnTo>
                    <a:lnTo>
                      <a:pt x="37" y="10"/>
                    </a:lnTo>
                    <a:lnTo>
                      <a:pt x="36" y="9"/>
                    </a:lnTo>
                    <a:lnTo>
                      <a:pt x="33" y="7"/>
                    </a:lnTo>
                    <a:lnTo>
                      <a:pt x="29" y="6"/>
                    </a:lnTo>
                    <a:lnTo>
                      <a:pt x="30" y="4"/>
                    </a:lnTo>
                    <a:lnTo>
                      <a:pt x="32" y="4"/>
                    </a:lnTo>
                    <a:lnTo>
                      <a:pt x="30" y="3"/>
                    </a:lnTo>
                    <a:lnTo>
                      <a:pt x="29" y="3"/>
                    </a:lnTo>
                    <a:lnTo>
                      <a:pt x="29" y="2"/>
                    </a:lnTo>
                    <a:lnTo>
                      <a:pt x="27" y="0"/>
                    </a:lnTo>
                    <a:lnTo>
                      <a:pt x="27" y="2"/>
                    </a:lnTo>
                    <a:lnTo>
                      <a:pt x="26" y="2"/>
                    </a:lnTo>
                    <a:lnTo>
                      <a:pt x="24" y="2"/>
                    </a:lnTo>
                    <a:lnTo>
                      <a:pt x="24" y="2"/>
                    </a:lnTo>
                    <a:lnTo>
                      <a:pt x="26" y="3"/>
                    </a:lnTo>
                    <a:lnTo>
                      <a:pt x="22" y="3"/>
                    </a:lnTo>
                    <a:lnTo>
                      <a:pt x="13" y="3"/>
                    </a:lnTo>
                    <a:lnTo>
                      <a:pt x="0" y="4"/>
                    </a:lnTo>
                    <a:lnTo>
                      <a:pt x="1" y="6"/>
                    </a:lnTo>
                    <a:lnTo>
                      <a:pt x="1" y="7"/>
                    </a:lnTo>
                    <a:lnTo>
                      <a:pt x="3" y="7"/>
                    </a:lnTo>
                    <a:lnTo>
                      <a:pt x="4" y="9"/>
                    </a:lnTo>
                    <a:lnTo>
                      <a:pt x="4" y="12"/>
                    </a:lnTo>
                    <a:lnTo>
                      <a:pt x="6" y="13"/>
                    </a:lnTo>
                    <a:lnTo>
                      <a:pt x="4" y="14"/>
                    </a:lnTo>
                    <a:lnTo>
                      <a:pt x="4" y="17"/>
                    </a:lnTo>
                    <a:lnTo>
                      <a:pt x="3" y="19"/>
                    </a:lnTo>
                    <a:lnTo>
                      <a:pt x="3" y="19"/>
                    </a:lnTo>
                    <a:lnTo>
                      <a:pt x="3" y="22"/>
                    </a:lnTo>
                    <a:lnTo>
                      <a:pt x="4" y="22"/>
                    </a:lnTo>
                    <a:lnTo>
                      <a:pt x="4" y="23"/>
                    </a:lnTo>
                    <a:lnTo>
                      <a:pt x="4" y="25"/>
                    </a:lnTo>
                    <a:lnTo>
                      <a:pt x="4" y="26"/>
                    </a:lnTo>
                    <a:lnTo>
                      <a:pt x="7" y="27"/>
                    </a:lnTo>
                    <a:lnTo>
                      <a:pt x="10" y="27"/>
                    </a:lnTo>
                    <a:lnTo>
                      <a:pt x="11" y="27"/>
                    </a:lnTo>
                    <a:lnTo>
                      <a:pt x="14" y="27"/>
                    </a:lnTo>
                    <a:lnTo>
                      <a:pt x="17" y="29"/>
                    </a:lnTo>
                    <a:lnTo>
                      <a:pt x="20" y="30"/>
                    </a:lnTo>
                    <a:lnTo>
                      <a:pt x="22" y="33"/>
                    </a:lnTo>
                    <a:lnTo>
                      <a:pt x="24" y="35"/>
                    </a:lnTo>
                    <a:lnTo>
                      <a:pt x="26" y="35"/>
                    </a:lnTo>
                    <a:lnTo>
                      <a:pt x="27" y="33"/>
                    </a:lnTo>
                    <a:lnTo>
                      <a:pt x="29" y="35"/>
                    </a:lnTo>
                    <a:lnTo>
                      <a:pt x="30" y="35"/>
                    </a:lnTo>
                    <a:lnTo>
                      <a:pt x="30" y="36"/>
                    </a:lnTo>
                    <a:lnTo>
                      <a:pt x="30" y="37"/>
                    </a:lnTo>
                    <a:lnTo>
                      <a:pt x="30" y="37"/>
                    </a:lnTo>
                    <a:lnTo>
                      <a:pt x="32" y="37"/>
                    </a:lnTo>
                    <a:lnTo>
                      <a:pt x="34" y="39"/>
                    </a:lnTo>
                    <a:lnTo>
                      <a:pt x="34" y="39"/>
                    </a:lnTo>
                    <a:lnTo>
                      <a:pt x="36" y="39"/>
                    </a:lnTo>
                    <a:lnTo>
                      <a:pt x="39" y="37"/>
                    </a:lnTo>
                    <a:lnTo>
                      <a:pt x="40" y="37"/>
                    </a:lnTo>
                    <a:lnTo>
                      <a:pt x="42" y="39"/>
                    </a:lnTo>
                    <a:lnTo>
                      <a:pt x="42" y="40"/>
                    </a:lnTo>
                    <a:lnTo>
                      <a:pt x="43" y="43"/>
                    </a:lnTo>
                    <a:lnTo>
                      <a:pt x="43" y="43"/>
                    </a:lnTo>
                    <a:lnTo>
                      <a:pt x="44" y="45"/>
                    </a:lnTo>
                    <a:lnTo>
                      <a:pt x="44" y="45"/>
                    </a:lnTo>
                    <a:lnTo>
                      <a:pt x="44" y="45"/>
                    </a:lnTo>
                    <a:lnTo>
                      <a:pt x="44" y="46"/>
                    </a:lnTo>
                    <a:lnTo>
                      <a:pt x="44" y="46"/>
                    </a:lnTo>
                    <a:lnTo>
                      <a:pt x="47" y="52"/>
                    </a:lnTo>
                    <a:lnTo>
                      <a:pt x="52" y="52"/>
                    </a:lnTo>
                    <a:lnTo>
                      <a:pt x="55" y="52"/>
                    </a:lnTo>
                    <a:lnTo>
                      <a:pt x="53" y="49"/>
                    </a:lnTo>
                    <a:lnTo>
                      <a:pt x="53" y="48"/>
                    </a:lnTo>
                    <a:close/>
                    <a:moveTo>
                      <a:pt x="29" y="7"/>
                    </a:moveTo>
                    <a:lnTo>
                      <a:pt x="27" y="6"/>
                    </a:lnTo>
                    <a:lnTo>
                      <a:pt x="27" y="6"/>
                    </a:lnTo>
                    <a:lnTo>
                      <a:pt x="29" y="6"/>
                    </a:lnTo>
                    <a:lnTo>
                      <a:pt x="29" y="7"/>
                    </a:lnTo>
                    <a:close/>
                    <a:moveTo>
                      <a:pt x="37" y="14"/>
                    </a:moveTo>
                    <a:lnTo>
                      <a:pt x="37" y="14"/>
                    </a:lnTo>
                    <a:lnTo>
                      <a:pt x="37" y="16"/>
                    </a:lnTo>
                    <a:lnTo>
                      <a:pt x="36" y="16"/>
                    </a:lnTo>
                    <a:lnTo>
                      <a:pt x="37" y="1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0" name="Freeform 126">
                <a:extLst>
                  <a:ext uri="{FF2B5EF4-FFF2-40B4-BE49-F238E27FC236}">
                    <a16:creationId xmlns:a16="http://schemas.microsoft.com/office/drawing/2014/main" id="{2B27DCAA-C880-BBDC-3319-D070EE58B95E}"/>
                  </a:ext>
                </a:extLst>
              </p:cNvPr>
              <p:cNvSpPr>
                <a:spLocks noEditPoints="1"/>
              </p:cNvSpPr>
              <p:nvPr/>
            </p:nvSpPr>
            <p:spPr bwMode="auto">
              <a:xfrm>
                <a:off x="7051381" y="2844321"/>
                <a:ext cx="433788" cy="264611"/>
              </a:xfrm>
              <a:custGeom>
                <a:avLst/>
                <a:gdLst>
                  <a:gd name="T0" fmla="*/ 19 w 300"/>
                  <a:gd name="T1" fmla="*/ 94 h 183"/>
                  <a:gd name="T2" fmla="*/ 23 w 300"/>
                  <a:gd name="T3" fmla="*/ 78 h 183"/>
                  <a:gd name="T4" fmla="*/ 35 w 300"/>
                  <a:gd name="T5" fmla="*/ 71 h 183"/>
                  <a:gd name="T6" fmla="*/ 42 w 300"/>
                  <a:gd name="T7" fmla="*/ 71 h 183"/>
                  <a:gd name="T8" fmla="*/ 50 w 300"/>
                  <a:gd name="T9" fmla="*/ 68 h 183"/>
                  <a:gd name="T10" fmla="*/ 60 w 300"/>
                  <a:gd name="T11" fmla="*/ 74 h 183"/>
                  <a:gd name="T12" fmla="*/ 71 w 300"/>
                  <a:gd name="T13" fmla="*/ 79 h 183"/>
                  <a:gd name="T14" fmla="*/ 73 w 300"/>
                  <a:gd name="T15" fmla="*/ 85 h 183"/>
                  <a:gd name="T16" fmla="*/ 72 w 300"/>
                  <a:gd name="T17" fmla="*/ 91 h 183"/>
                  <a:gd name="T18" fmla="*/ 88 w 300"/>
                  <a:gd name="T19" fmla="*/ 97 h 183"/>
                  <a:gd name="T20" fmla="*/ 104 w 300"/>
                  <a:gd name="T21" fmla="*/ 101 h 183"/>
                  <a:gd name="T22" fmla="*/ 115 w 300"/>
                  <a:gd name="T23" fmla="*/ 125 h 183"/>
                  <a:gd name="T24" fmla="*/ 148 w 300"/>
                  <a:gd name="T25" fmla="*/ 147 h 183"/>
                  <a:gd name="T26" fmla="*/ 175 w 300"/>
                  <a:gd name="T27" fmla="*/ 161 h 183"/>
                  <a:gd name="T28" fmla="*/ 185 w 300"/>
                  <a:gd name="T29" fmla="*/ 173 h 183"/>
                  <a:gd name="T30" fmla="*/ 195 w 300"/>
                  <a:gd name="T31" fmla="*/ 180 h 183"/>
                  <a:gd name="T32" fmla="*/ 207 w 300"/>
                  <a:gd name="T33" fmla="*/ 183 h 183"/>
                  <a:gd name="T34" fmla="*/ 217 w 300"/>
                  <a:gd name="T35" fmla="*/ 161 h 183"/>
                  <a:gd name="T36" fmla="*/ 205 w 300"/>
                  <a:gd name="T37" fmla="*/ 145 h 183"/>
                  <a:gd name="T38" fmla="*/ 200 w 300"/>
                  <a:gd name="T39" fmla="*/ 138 h 183"/>
                  <a:gd name="T40" fmla="*/ 216 w 300"/>
                  <a:gd name="T41" fmla="*/ 134 h 183"/>
                  <a:gd name="T42" fmla="*/ 226 w 300"/>
                  <a:gd name="T43" fmla="*/ 127 h 183"/>
                  <a:gd name="T44" fmla="*/ 226 w 300"/>
                  <a:gd name="T45" fmla="*/ 124 h 183"/>
                  <a:gd name="T46" fmla="*/ 224 w 300"/>
                  <a:gd name="T47" fmla="*/ 121 h 183"/>
                  <a:gd name="T48" fmla="*/ 234 w 300"/>
                  <a:gd name="T49" fmla="*/ 115 h 183"/>
                  <a:gd name="T50" fmla="*/ 236 w 300"/>
                  <a:gd name="T51" fmla="*/ 108 h 183"/>
                  <a:gd name="T52" fmla="*/ 249 w 300"/>
                  <a:gd name="T53" fmla="*/ 105 h 183"/>
                  <a:gd name="T54" fmla="*/ 253 w 300"/>
                  <a:gd name="T55" fmla="*/ 114 h 183"/>
                  <a:gd name="T56" fmla="*/ 257 w 300"/>
                  <a:gd name="T57" fmla="*/ 118 h 183"/>
                  <a:gd name="T58" fmla="*/ 284 w 300"/>
                  <a:gd name="T59" fmla="*/ 115 h 183"/>
                  <a:gd name="T60" fmla="*/ 289 w 300"/>
                  <a:gd name="T61" fmla="*/ 114 h 183"/>
                  <a:gd name="T62" fmla="*/ 295 w 300"/>
                  <a:gd name="T63" fmla="*/ 111 h 183"/>
                  <a:gd name="T64" fmla="*/ 293 w 300"/>
                  <a:gd name="T65" fmla="*/ 104 h 183"/>
                  <a:gd name="T66" fmla="*/ 284 w 300"/>
                  <a:gd name="T67" fmla="*/ 99 h 183"/>
                  <a:gd name="T68" fmla="*/ 279 w 300"/>
                  <a:gd name="T69" fmla="*/ 94 h 183"/>
                  <a:gd name="T70" fmla="*/ 272 w 300"/>
                  <a:gd name="T71" fmla="*/ 97 h 183"/>
                  <a:gd name="T72" fmla="*/ 260 w 300"/>
                  <a:gd name="T73" fmla="*/ 97 h 183"/>
                  <a:gd name="T74" fmla="*/ 256 w 300"/>
                  <a:gd name="T75" fmla="*/ 94 h 183"/>
                  <a:gd name="T76" fmla="*/ 256 w 300"/>
                  <a:gd name="T77" fmla="*/ 84 h 183"/>
                  <a:gd name="T78" fmla="*/ 263 w 300"/>
                  <a:gd name="T79" fmla="*/ 79 h 183"/>
                  <a:gd name="T80" fmla="*/ 263 w 300"/>
                  <a:gd name="T81" fmla="*/ 75 h 183"/>
                  <a:gd name="T82" fmla="*/ 250 w 300"/>
                  <a:gd name="T83" fmla="*/ 81 h 183"/>
                  <a:gd name="T84" fmla="*/ 233 w 300"/>
                  <a:gd name="T85" fmla="*/ 92 h 183"/>
                  <a:gd name="T86" fmla="*/ 224 w 300"/>
                  <a:gd name="T87" fmla="*/ 101 h 183"/>
                  <a:gd name="T88" fmla="*/ 220 w 300"/>
                  <a:gd name="T89" fmla="*/ 111 h 183"/>
                  <a:gd name="T90" fmla="*/ 211 w 300"/>
                  <a:gd name="T91" fmla="*/ 105 h 183"/>
                  <a:gd name="T92" fmla="*/ 193 w 300"/>
                  <a:gd name="T93" fmla="*/ 99 h 183"/>
                  <a:gd name="T94" fmla="*/ 184 w 300"/>
                  <a:gd name="T95" fmla="*/ 81 h 183"/>
                  <a:gd name="T96" fmla="*/ 174 w 300"/>
                  <a:gd name="T97" fmla="*/ 61 h 183"/>
                  <a:gd name="T98" fmla="*/ 155 w 300"/>
                  <a:gd name="T99" fmla="*/ 43 h 183"/>
                  <a:gd name="T100" fmla="*/ 109 w 300"/>
                  <a:gd name="T101" fmla="*/ 48 h 183"/>
                  <a:gd name="T102" fmla="*/ 88 w 300"/>
                  <a:gd name="T103" fmla="*/ 26 h 183"/>
                  <a:gd name="T104" fmla="*/ 257 w 300"/>
                  <a:gd name="T105" fmla="*/ 102 h 183"/>
                  <a:gd name="T106" fmla="*/ 267 w 300"/>
                  <a:gd name="T107" fmla="*/ 122 h 183"/>
                  <a:gd name="T108" fmla="*/ 264 w 300"/>
                  <a:gd name="T109" fmla="*/ 124 h 183"/>
                  <a:gd name="T110" fmla="*/ 277 w 300"/>
                  <a:gd name="T111" fmla="*/ 124 h 183"/>
                  <a:gd name="T112" fmla="*/ 277 w 300"/>
                  <a:gd name="T113" fmla="*/ 12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183">
                    <a:moveTo>
                      <a:pt x="17" y="97"/>
                    </a:moveTo>
                    <a:lnTo>
                      <a:pt x="17" y="97"/>
                    </a:lnTo>
                    <a:lnTo>
                      <a:pt x="19" y="95"/>
                    </a:lnTo>
                    <a:lnTo>
                      <a:pt x="20" y="95"/>
                    </a:lnTo>
                    <a:lnTo>
                      <a:pt x="19" y="94"/>
                    </a:lnTo>
                    <a:lnTo>
                      <a:pt x="19" y="94"/>
                    </a:lnTo>
                    <a:lnTo>
                      <a:pt x="19" y="94"/>
                    </a:lnTo>
                    <a:lnTo>
                      <a:pt x="19" y="92"/>
                    </a:lnTo>
                    <a:lnTo>
                      <a:pt x="17" y="88"/>
                    </a:lnTo>
                    <a:lnTo>
                      <a:pt x="17" y="86"/>
                    </a:lnTo>
                    <a:lnTo>
                      <a:pt x="17" y="85"/>
                    </a:lnTo>
                    <a:lnTo>
                      <a:pt x="17" y="84"/>
                    </a:lnTo>
                    <a:lnTo>
                      <a:pt x="22" y="79"/>
                    </a:lnTo>
                    <a:lnTo>
                      <a:pt x="23" y="78"/>
                    </a:lnTo>
                    <a:lnTo>
                      <a:pt x="25" y="76"/>
                    </a:lnTo>
                    <a:lnTo>
                      <a:pt x="26" y="76"/>
                    </a:lnTo>
                    <a:lnTo>
                      <a:pt x="30" y="76"/>
                    </a:lnTo>
                    <a:lnTo>
                      <a:pt x="32" y="76"/>
                    </a:lnTo>
                    <a:lnTo>
                      <a:pt x="33" y="75"/>
                    </a:lnTo>
                    <a:lnTo>
                      <a:pt x="35" y="72"/>
                    </a:lnTo>
                    <a:lnTo>
                      <a:pt x="35" y="71"/>
                    </a:lnTo>
                    <a:lnTo>
                      <a:pt x="37" y="69"/>
                    </a:lnTo>
                    <a:lnTo>
                      <a:pt x="39" y="71"/>
                    </a:lnTo>
                    <a:lnTo>
                      <a:pt x="40" y="72"/>
                    </a:lnTo>
                    <a:lnTo>
                      <a:pt x="42" y="74"/>
                    </a:lnTo>
                    <a:lnTo>
                      <a:pt x="43" y="74"/>
                    </a:lnTo>
                    <a:lnTo>
                      <a:pt x="43" y="74"/>
                    </a:lnTo>
                    <a:lnTo>
                      <a:pt x="42" y="71"/>
                    </a:lnTo>
                    <a:lnTo>
                      <a:pt x="39" y="68"/>
                    </a:lnTo>
                    <a:lnTo>
                      <a:pt x="39" y="66"/>
                    </a:lnTo>
                    <a:lnTo>
                      <a:pt x="39" y="65"/>
                    </a:lnTo>
                    <a:lnTo>
                      <a:pt x="45" y="65"/>
                    </a:lnTo>
                    <a:lnTo>
                      <a:pt x="46" y="63"/>
                    </a:lnTo>
                    <a:lnTo>
                      <a:pt x="49" y="66"/>
                    </a:lnTo>
                    <a:lnTo>
                      <a:pt x="50" y="68"/>
                    </a:lnTo>
                    <a:lnTo>
                      <a:pt x="52" y="68"/>
                    </a:lnTo>
                    <a:lnTo>
                      <a:pt x="55" y="68"/>
                    </a:lnTo>
                    <a:lnTo>
                      <a:pt x="56" y="69"/>
                    </a:lnTo>
                    <a:lnTo>
                      <a:pt x="56" y="69"/>
                    </a:lnTo>
                    <a:lnTo>
                      <a:pt x="58" y="72"/>
                    </a:lnTo>
                    <a:lnTo>
                      <a:pt x="59" y="72"/>
                    </a:lnTo>
                    <a:lnTo>
                      <a:pt x="60" y="74"/>
                    </a:lnTo>
                    <a:lnTo>
                      <a:pt x="62" y="74"/>
                    </a:lnTo>
                    <a:lnTo>
                      <a:pt x="65" y="74"/>
                    </a:lnTo>
                    <a:lnTo>
                      <a:pt x="66" y="74"/>
                    </a:lnTo>
                    <a:lnTo>
                      <a:pt x="69" y="75"/>
                    </a:lnTo>
                    <a:lnTo>
                      <a:pt x="69" y="75"/>
                    </a:lnTo>
                    <a:lnTo>
                      <a:pt x="71" y="79"/>
                    </a:lnTo>
                    <a:lnTo>
                      <a:pt x="71" y="79"/>
                    </a:lnTo>
                    <a:lnTo>
                      <a:pt x="69" y="81"/>
                    </a:lnTo>
                    <a:lnTo>
                      <a:pt x="71" y="81"/>
                    </a:lnTo>
                    <a:lnTo>
                      <a:pt x="71" y="82"/>
                    </a:lnTo>
                    <a:lnTo>
                      <a:pt x="72" y="82"/>
                    </a:lnTo>
                    <a:lnTo>
                      <a:pt x="73" y="84"/>
                    </a:lnTo>
                    <a:lnTo>
                      <a:pt x="73" y="84"/>
                    </a:lnTo>
                    <a:lnTo>
                      <a:pt x="73" y="85"/>
                    </a:lnTo>
                    <a:lnTo>
                      <a:pt x="73" y="85"/>
                    </a:lnTo>
                    <a:lnTo>
                      <a:pt x="72" y="85"/>
                    </a:lnTo>
                    <a:lnTo>
                      <a:pt x="72" y="85"/>
                    </a:lnTo>
                    <a:lnTo>
                      <a:pt x="72" y="86"/>
                    </a:lnTo>
                    <a:lnTo>
                      <a:pt x="73" y="88"/>
                    </a:lnTo>
                    <a:lnTo>
                      <a:pt x="73" y="89"/>
                    </a:lnTo>
                    <a:lnTo>
                      <a:pt x="72" y="91"/>
                    </a:lnTo>
                    <a:lnTo>
                      <a:pt x="72" y="92"/>
                    </a:lnTo>
                    <a:lnTo>
                      <a:pt x="73" y="94"/>
                    </a:lnTo>
                    <a:lnTo>
                      <a:pt x="75" y="95"/>
                    </a:lnTo>
                    <a:lnTo>
                      <a:pt x="78" y="97"/>
                    </a:lnTo>
                    <a:lnTo>
                      <a:pt x="81" y="97"/>
                    </a:lnTo>
                    <a:lnTo>
                      <a:pt x="86" y="97"/>
                    </a:lnTo>
                    <a:lnTo>
                      <a:pt x="88" y="97"/>
                    </a:lnTo>
                    <a:lnTo>
                      <a:pt x="91" y="98"/>
                    </a:lnTo>
                    <a:lnTo>
                      <a:pt x="92" y="98"/>
                    </a:lnTo>
                    <a:lnTo>
                      <a:pt x="93" y="98"/>
                    </a:lnTo>
                    <a:lnTo>
                      <a:pt x="95" y="97"/>
                    </a:lnTo>
                    <a:lnTo>
                      <a:pt x="95" y="97"/>
                    </a:lnTo>
                    <a:lnTo>
                      <a:pt x="101" y="98"/>
                    </a:lnTo>
                    <a:lnTo>
                      <a:pt x="104" y="101"/>
                    </a:lnTo>
                    <a:lnTo>
                      <a:pt x="109" y="111"/>
                    </a:lnTo>
                    <a:lnTo>
                      <a:pt x="111" y="115"/>
                    </a:lnTo>
                    <a:lnTo>
                      <a:pt x="112" y="117"/>
                    </a:lnTo>
                    <a:lnTo>
                      <a:pt x="112" y="118"/>
                    </a:lnTo>
                    <a:lnTo>
                      <a:pt x="114" y="121"/>
                    </a:lnTo>
                    <a:lnTo>
                      <a:pt x="114" y="122"/>
                    </a:lnTo>
                    <a:lnTo>
                      <a:pt x="115" y="125"/>
                    </a:lnTo>
                    <a:lnTo>
                      <a:pt x="118" y="127"/>
                    </a:lnTo>
                    <a:lnTo>
                      <a:pt x="132" y="137"/>
                    </a:lnTo>
                    <a:lnTo>
                      <a:pt x="137" y="141"/>
                    </a:lnTo>
                    <a:lnTo>
                      <a:pt x="139" y="144"/>
                    </a:lnTo>
                    <a:lnTo>
                      <a:pt x="142" y="145"/>
                    </a:lnTo>
                    <a:lnTo>
                      <a:pt x="147" y="145"/>
                    </a:lnTo>
                    <a:lnTo>
                      <a:pt x="148" y="147"/>
                    </a:lnTo>
                    <a:lnTo>
                      <a:pt x="149" y="147"/>
                    </a:lnTo>
                    <a:lnTo>
                      <a:pt x="151" y="150"/>
                    </a:lnTo>
                    <a:lnTo>
                      <a:pt x="152" y="150"/>
                    </a:lnTo>
                    <a:lnTo>
                      <a:pt x="167" y="158"/>
                    </a:lnTo>
                    <a:lnTo>
                      <a:pt x="168" y="160"/>
                    </a:lnTo>
                    <a:lnTo>
                      <a:pt x="170" y="160"/>
                    </a:lnTo>
                    <a:lnTo>
                      <a:pt x="175" y="161"/>
                    </a:lnTo>
                    <a:lnTo>
                      <a:pt x="177" y="161"/>
                    </a:lnTo>
                    <a:lnTo>
                      <a:pt x="183" y="164"/>
                    </a:lnTo>
                    <a:lnTo>
                      <a:pt x="185" y="166"/>
                    </a:lnTo>
                    <a:lnTo>
                      <a:pt x="187" y="166"/>
                    </a:lnTo>
                    <a:lnTo>
                      <a:pt x="187" y="167"/>
                    </a:lnTo>
                    <a:lnTo>
                      <a:pt x="187" y="168"/>
                    </a:lnTo>
                    <a:lnTo>
                      <a:pt x="185" y="173"/>
                    </a:lnTo>
                    <a:lnTo>
                      <a:pt x="185" y="174"/>
                    </a:lnTo>
                    <a:lnTo>
                      <a:pt x="185" y="176"/>
                    </a:lnTo>
                    <a:lnTo>
                      <a:pt x="185" y="178"/>
                    </a:lnTo>
                    <a:lnTo>
                      <a:pt x="190" y="178"/>
                    </a:lnTo>
                    <a:lnTo>
                      <a:pt x="193" y="178"/>
                    </a:lnTo>
                    <a:lnTo>
                      <a:pt x="194" y="178"/>
                    </a:lnTo>
                    <a:lnTo>
                      <a:pt x="195" y="180"/>
                    </a:lnTo>
                    <a:lnTo>
                      <a:pt x="197" y="180"/>
                    </a:lnTo>
                    <a:lnTo>
                      <a:pt x="198" y="181"/>
                    </a:lnTo>
                    <a:lnTo>
                      <a:pt x="200" y="181"/>
                    </a:lnTo>
                    <a:lnTo>
                      <a:pt x="201" y="181"/>
                    </a:lnTo>
                    <a:lnTo>
                      <a:pt x="203" y="181"/>
                    </a:lnTo>
                    <a:lnTo>
                      <a:pt x="205" y="181"/>
                    </a:lnTo>
                    <a:lnTo>
                      <a:pt x="207" y="183"/>
                    </a:lnTo>
                    <a:lnTo>
                      <a:pt x="208" y="180"/>
                    </a:lnTo>
                    <a:lnTo>
                      <a:pt x="208" y="176"/>
                    </a:lnTo>
                    <a:lnTo>
                      <a:pt x="208" y="174"/>
                    </a:lnTo>
                    <a:lnTo>
                      <a:pt x="210" y="173"/>
                    </a:lnTo>
                    <a:lnTo>
                      <a:pt x="214" y="167"/>
                    </a:lnTo>
                    <a:lnTo>
                      <a:pt x="217" y="164"/>
                    </a:lnTo>
                    <a:lnTo>
                      <a:pt x="217" y="161"/>
                    </a:lnTo>
                    <a:lnTo>
                      <a:pt x="213" y="157"/>
                    </a:lnTo>
                    <a:lnTo>
                      <a:pt x="213" y="154"/>
                    </a:lnTo>
                    <a:lnTo>
                      <a:pt x="214" y="147"/>
                    </a:lnTo>
                    <a:lnTo>
                      <a:pt x="213" y="145"/>
                    </a:lnTo>
                    <a:lnTo>
                      <a:pt x="211" y="145"/>
                    </a:lnTo>
                    <a:lnTo>
                      <a:pt x="208" y="145"/>
                    </a:lnTo>
                    <a:lnTo>
                      <a:pt x="205" y="145"/>
                    </a:lnTo>
                    <a:lnTo>
                      <a:pt x="205" y="144"/>
                    </a:lnTo>
                    <a:lnTo>
                      <a:pt x="205" y="143"/>
                    </a:lnTo>
                    <a:lnTo>
                      <a:pt x="204" y="141"/>
                    </a:lnTo>
                    <a:lnTo>
                      <a:pt x="203" y="141"/>
                    </a:lnTo>
                    <a:lnTo>
                      <a:pt x="201" y="141"/>
                    </a:lnTo>
                    <a:lnTo>
                      <a:pt x="200" y="140"/>
                    </a:lnTo>
                    <a:lnTo>
                      <a:pt x="200" y="138"/>
                    </a:lnTo>
                    <a:lnTo>
                      <a:pt x="200" y="137"/>
                    </a:lnTo>
                    <a:lnTo>
                      <a:pt x="201" y="135"/>
                    </a:lnTo>
                    <a:lnTo>
                      <a:pt x="201" y="134"/>
                    </a:lnTo>
                    <a:lnTo>
                      <a:pt x="203" y="134"/>
                    </a:lnTo>
                    <a:lnTo>
                      <a:pt x="205" y="132"/>
                    </a:lnTo>
                    <a:lnTo>
                      <a:pt x="208" y="132"/>
                    </a:lnTo>
                    <a:lnTo>
                      <a:pt x="216" y="134"/>
                    </a:lnTo>
                    <a:lnTo>
                      <a:pt x="220" y="132"/>
                    </a:lnTo>
                    <a:lnTo>
                      <a:pt x="221" y="131"/>
                    </a:lnTo>
                    <a:lnTo>
                      <a:pt x="221" y="130"/>
                    </a:lnTo>
                    <a:lnTo>
                      <a:pt x="223" y="127"/>
                    </a:lnTo>
                    <a:lnTo>
                      <a:pt x="224" y="127"/>
                    </a:lnTo>
                    <a:lnTo>
                      <a:pt x="224" y="127"/>
                    </a:lnTo>
                    <a:lnTo>
                      <a:pt x="226" y="127"/>
                    </a:lnTo>
                    <a:lnTo>
                      <a:pt x="226" y="125"/>
                    </a:lnTo>
                    <a:lnTo>
                      <a:pt x="226" y="125"/>
                    </a:lnTo>
                    <a:lnTo>
                      <a:pt x="226" y="125"/>
                    </a:lnTo>
                    <a:lnTo>
                      <a:pt x="226" y="125"/>
                    </a:lnTo>
                    <a:lnTo>
                      <a:pt x="227" y="125"/>
                    </a:lnTo>
                    <a:lnTo>
                      <a:pt x="226" y="125"/>
                    </a:lnTo>
                    <a:lnTo>
                      <a:pt x="226" y="124"/>
                    </a:lnTo>
                    <a:lnTo>
                      <a:pt x="226" y="124"/>
                    </a:lnTo>
                    <a:lnTo>
                      <a:pt x="228" y="122"/>
                    </a:lnTo>
                    <a:lnTo>
                      <a:pt x="228" y="121"/>
                    </a:lnTo>
                    <a:lnTo>
                      <a:pt x="227" y="121"/>
                    </a:lnTo>
                    <a:lnTo>
                      <a:pt x="226" y="121"/>
                    </a:lnTo>
                    <a:lnTo>
                      <a:pt x="224" y="121"/>
                    </a:lnTo>
                    <a:lnTo>
                      <a:pt x="224" y="121"/>
                    </a:lnTo>
                    <a:lnTo>
                      <a:pt x="223" y="120"/>
                    </a:lnTo>
                    <a:lnTo>
                      <a:pt x="226" y="120"/>
                    </a:lnTo>
                    <a:lnTo>
                      <a:pt x="234" y="120"/>
                    </a:lnTo>
                    <a:lnTo>
                      <a:pt x="233" y="118"/>
                    </a:lnTo>
                    <a:lnTo>
                      <a:pt x="234" y="117"/>
                    </a:lnTo>
                    <a:lnTo>
                      <a:pt x="234" y="117"/>
                    </a:lnTo>
                    <a:lnTo>
                      <a:pt x="234" y="115"/>
                    </a:lnTo>
                    <a:lnTo>
                      <a:pt x="233" y="114"/>
                    </a:lnTo>
                    <a:lnTo>
                      <a:pt x="233" y="112"/>
                    </a:lnTo>
                    <a:lnTo>
                      <a:pt x="233" y="111"/>
                    </a:lnTo>
                    <a:lnTo>
                      <a:pt x="233" y="111"/>
                    </a:lnTo>
                    <a:lnTo>
                      <a:pt x="234" y="111"/>
                    </a:lnTo>
                    <a:lnTo>
                      <a:pt x="234" y="111"/>
                    </a:lnTo>
                    <a:lnTo>
                      <a:pt x="236" y="108"/>
                    </a:lnTo>
                    <a:lnTo>
                      <a:pt x="236" y="107"/>
                    </a:lnTo>
                    <a:lnTo>
                      <a:pt x="237" y="108"/>
                    </a:lnTo>
                    <a:lnTo>
                      <a:pt x="240" y="109"/>
                    </a:lnTo>
                    <a:lnTo>
                      <a:pt x="241" y="109"/>
                    </a:lnTo>
                    <a:lnTo>
                      <a:pt x="244" y="108"/>
                    </a:lnTo>
                    <a:lnTo>
                      <a:pt x="247" y="107"/>
                    </a:lnTo>
                    <a:lnTo>
                      <a:pt x="249" y="105"/>
                    </a:lnTo>
                    <a:lnTo>
                      <a:pt x="253" y="102"/>
                    </a:lnTo>
                    <a:lnTo>
                      <a:pt x="254" y="101"/>
                    </a:lnTo>
                    <a:lnTo>
                      <a:pt x="256" y="102"/>
                    </a:lnTo>
                    <a:lnTo>
                      <a:pt x="260" y="108"/>
                    </a:lnTo>
                    <a:lnTo>
                      <a:pt x="259" y="109"/>
                    </a:lnTo>
                    <a:lnTo>
                      <a:pt x="254" y="112"/>
                    </a:lnTo>
                    <a:lnTo>
                      <a:pt x="253" y="114"/>
                    </a:lnTo>
                    <a:lnTo>
                      <a:pt x="253" y="115"/>
                    </a:lnTo>
                    <a:lnTo>
                      <a:pt x="253" y="115"/>
                    </a:lnTo>
                    <a:lnTo>
                      <a:pt x="254" y="115"/>
                    </a:lnTo>
                    <a:lnTo>
                      <a:pt x="256" y="117"/>
                    </a:lnTo>
                    <a:lnTo>
                      <a:pt x="256" y="117"/>
                    </a:lnTo>
                    <a:lnTo>
                      <a:pt x="257" y="118"/>
                    </a:lnTo>
                    <a:lnTo>
                      <a:pt x="257" y="118"/>
                    </a:lnTo>
                    <a:lnTo>
                      <a:pt x="257" y="120"/>
                    </a:lnTo>
                    <a:lnTo>
                      <a:pt x="259" y="120"/>
                    </a:lnTo>
                    <a:lnTo>
                      <a:pt x="263" y="118"/>
                    </a:lnTo>
                    <a:lnTo>
                      <a:pt x="267" y="118"/>
                    </a:lnTo>
                    <a:lnTo>
                      <a:pt x="276" y="120"/>
                    </a:lnTo>
                    <a:lnTo>
                      <a:pt x="279" y="118"/>
                    </a:lnTo>
                    <a:lnTo>
                      <a:pt x="284" y="115"/>
                    </a:lnTo>
                    <a:lnTo>
                      <a:pt x="286" y="114"/>
                    </a:lnTo>
                    <a:lnTo>
                      <a:pt x="286" y="114"/>
                    </a:lnTo>
                    <a:lnTo>
                      <a:pt x="287" y="114"/>
                    </a:lnTo>
                    <a:lnTo>
                      <a:pt x="287" y="114"/>
                    </a:lnTo>
                    <a:lnTo>
                      <a:pt x="289" y="114"/>
                    </a:lnTo>
                    <a:lnTo>
                      <a:pt x="289" y="114"/>
                    </a:lnTo>
                    <a:lnTo>
                      <a:pt x="289" y="114"/>
                    </a:lnTo>
                    <a:lnTo>
                      <a:pt x="287" y="112"/>
                    </a:lnTo>
                    <a:lnTo>
                      <a:pt x="287" y="112"/>
                    </a:lnTo>
                    <a:lnTo>
                      <a:pt x="289" y="112"/>
                    </a:lnTo>
                    <a:lnTo>
                      <a:pt x="290" y="112"/>
                    </a:lnTo>
                    <a:lnTo>
                      <a:pt x="290" y="111"/>
                    </a:lnTo>
                    <a:lnTo>
                      <a:pt x="293" y="111"/>
                    </a:lnTo>
                    <a:lnTo>
                      <a:pt x="295" y="111"/>
                    </a:lnTo>
                    <a:lnTo>
                      <a:pt x="299" y="108"/>
                    </a:lnTo>
                    <a:lnTo>
                      <a:pt x="300" y="107"/>
                    </a:lnTo>
                    <a:lnTo>
                      <a:pt x="300" y="105"/>
                    </a:lnTo>
                    <a:lnTo>
                      <a:pt x="300" y="105"/>
                    </a:lnTo>
                    <a:lnTo>
                      <a:pt x="296" y="105"/>
                    </a:lnTo>
                    <a:lnTo>
                      <a:pt x="295" y="105"/>
                    </a:lnTo>
                    <a:lnTo>
                      <a:pt x="293" y="104"/>
                    </a:lnTo>
                    <a:lnTo>
                      <a:pt x="292" y="104"/>
                    </a:lnTo>
                    <a:lnTo>
                      <a:pt x="290" y="102"/>
                    </a:lnTo>
                    <a:lnTo>
                      <a:pt x="290" y="102"/>
                    </a:lnTo>
                    <a:lnTo>
                      <a:pt x="287" y="102"/>
                    </a:lnTo>
                    <a:lnTo>
                      <a:pt x="286" y="101"/>
                    </a:lnTo>
                    <a:lnTo>
                      <a:pt x="286" y="101"/>
                    </a:lnTo>
                    <a:lnTo>
                      <a:pt x="284" y="99"/>
                    </a:lnTo>
                    <a:lnTo>
                      <a:pt x="284" y="99"/>
                    </a:lnTo>
                    <a:lnTo>
                      <a:pt x="284" y="99"/>
                    </a:lnTo>
                    <a:lnTo>
                      <a:pt x="282" y="98"/>
                    </a:lnTo>
                    <a:lnTo>
                      <a:pt x="280" y="98"/>
                    </a:lnTo>
                    <a:lnTo>
                      <a:pt x="280" y="97"/>
                    </a:lnTo>
                    <a:lnTo>
                      <a:pt x="279" y="97"/>
                    </a:lnTo>
                    <a:lnTo>
                      <a:pt x="279" y="94"/>
                    </a:lnTo>
                    <a:lnTo>
                      <a:pt x="276" y="91"/>
                    </a:lnTo>
                    <a:lnTo>
                      <a:pt x="276" y="91"/>
                    </a:lnTo>
                    <a:lnTo>
                      <a:pt x="274" y="92"/>
                    </a:lnTo>
                    <a:lnTo>
                      <a:pt x="274" y="94"/>
                    </a:lnTo>
                    <a:lnTo>
                      <a:pt x="273" y="95"/>
                    </a:lnTo>
                    <a:lnTo>
                      <a:pt x="272" y="95"/>
                    </a:lnTo>
                    <a:lnTo>
                      <a:pt x="272" y="97"/>
                    </a:lnTo>
                    <a:lnTo>
                      <a:pt x="272" y="98"/>
                    </a:lnTo>
                    <a:lnTo>
                      <a:pt x="270" y="99"/>
                    </a:lnTo>
                    <a:lnTo>
                      <a:pt x="267" y="99"/>
                    </a:lnTo>
                    <a:lnTo>
                      <a:pt x="266" y="99"/>
                    </a:lnTo>
                    <a:lnTo>
                      <a:pt x="264" y="98"/>
                    </a:lnTo>
                    <a:lnTo>
                      <a:pt x="262" y="98"/>
                    </a:lnTo>
                    <a:lnTo>
                      <a:pt x="260" y="97"/>
                    </a:lnTo>
                    <a:lnTo>
                      <a:pt x="260" y="95"/>
                    </a:lnTo>
                    <a:lnTo>
                      <a:pt x="260" y="94"/>
                    </a:lnTo>
                    <a:lnTo>
                      <a:pt x="259" y="94"/>
                    </a:lnTo>
                    <a:lnTo>
                      <a:pt x="259" y="92"/>
                    </a:lnTo>
                    <a:lnTo>
                      <a:pt x="257" y="92"/>
                    </a:lnTo>
                    <a:lnTo>
                      <a:pt x="257" y="92"/>
                    </a:lnTo>
                    <a:lnTo>
                      <a:pt x="256" y="94"/>
                    </a:lnTo>
                    <a:lnTo>
                      <a:pt x="254" y="94"/>
                    </a:lnTo>
                    <a:lnTo>
                      <a:pt x="253" y="92"/>
                    </a:lnTo>
                    <a:lnTo>
                      <a:pt x="251" y="92"/>
                    </a:lnTo>
                    <a:lnTo>
                      <a:pt x="250" y="91"/>
                    </a:lnTo>
                    <a:lnTo>
                      <a:pt x="250" y="89"/>
                    </a:lnTo>
                    <a:lnTo>
                      <a:pt x="250" y="89"/>
                    </a:lnTo>
                    <a:lnTo>
                      <a:pt x="256" y="84"/>
                    </a:lnTo>
                    <a:lnTo>
                      <a:pt x="257" y="84"/>
                    </a:lnTo>
                    <a:lnTo>
                      <a:pt x="259" y="82"/>
                    </a:lnTo>
                    <a:lnTo>
                      <a:pt x="260" y="82"/>
                    </a:lnTo>
                    <a:lnTo>
                      <a:pt x="260" y="82"/>
                    </a:lnTo>
                    <a:lnTo>
                      <a:pt x="262" y="81"/>
                    </a:lnTo>
                    <a:lnTo>
                      <a:pt x="262" y="79"/>
                    </a:lnTo>
                    <a:lnTo>
                      <a:pt x="263" y="79"/>
                    </a:lnTo>
                    <a:lnTo>
                      <a:pt x="264" y="78"/>
                    </a:lnTo>
                    <a:lnTo>
                      <a:pt x="267" y="78"/>
                    </a:lnTo>
                    <a:lnTo>
                      <a:pt x="269" y="76"/>
                    </a:lnTo>
                    <a:lnTo>
                      <a:pt x="267" y="75"/>
                    </a:lnTo>
                    <a:lnTo>
                      <a:pt x="266" y="75"/>
                    </a:lnTo>
                    <a:lnTo>
                      <a:pt x="264" y="75"/>
                    </a:lnTo>
                    <a:lnTo>
                      <a:pt x="263" y="75"/>
                    </a:lnTo>
                    <a:lnTo>
                      <a:pt x="259" y="78"/>
                    </a:lnTo>
                    <a:lnTo>
                      <a:pt x="257" y="78"/>
                    </a:lnTo>
                    <a:lnTo>
                      <a:pt x="256" y="79"/>
                    </a:lnTo>
                    <a:lnTo>
                      <a:pt x="254" y="78"/>
                    </a:lnTo>
                    <a:lnTo>
                      <a:pt x="254" y="78"/>
                    </a:lnTo>
                    <a:lnTo>
                      <a:pt x="251" y="79"/>
                    </a:lnTo>
                    <a:lnTo>
                      <a:pt x="250" y="81"/>
                    </a:lnTo>
                    <a:lnTo>
                      <a:pt x="250" y="82"/>
                    </a:lnTo>
                    <a:lnTo>
                      <a:pt x="249" y="84"/>
                    </a:lnTo>
                    <a:lnTo>
                      <a:pt x="246" y="85"/>
                    </a:lnTo>
                    <a:lnTo>
                      <a:pt x="240" y="88"/>
                    </a:lnTo>
                    <a:lnTo>
                      <a:pt x="239" y="88"/>
                    </a:lnTo>
                    <a:lnTo>
                      <a:pt x="234" y="92"/>
                    </a:lnTo>
                    <a:lnTo>
                      <a:pt x="233" y="92"/>
                    </a:lnTo>
                    <a:lnTo>
                      <a:pt x="231" y="92"/>
                    </a:lnTo>
                    <a:lnTo>
                      <a:pt x="231" y="94"/>
                    </a:lnTo>
                    <a:lnTo>
                      <a:pt x="230" y="94"/>
                    </a:lnTo>
                    <a:lnTo>
                      <a:pt x="230" y="97"/>
                    </a:lnTo>
                    <a:lnTo>
                      <a:pt x="228" y="97"/>
                    </a:lnTo>
                    <a:lnTo>
                      <a:pt x="227" y="98"/>
                    </a:lnTo>
                    <a:lnTo>
                      <a:pt x="224" y="101"/>
                    </a:lnTo>
                    <a:lnTo>
                      <a:pt x="223" y="102"/>
                    </a:lnTo>
                    <a:lnTo>
                      <a:pt x="223" y="105"/>
                    </a:lnTo>
                    <a:lnTo>
                      <a:pt x="221" y="107"/>
                    </a:lnTo>
                    <a:lnTo>
                      <a:pt x="221" y="107"/>
                    </a:lnTo>
                    <a:lnTo>
                      <a:pt x="221" y="108"/>
                    </a:lnTo>
                    <a:lnTo>
                      <a:pt x="221" y="109"/>
                    </a:lnTo>
                    <a:lnTo>
                      <a:pt x="220" y="111"/>
                    </a:lnTo>
                    <a:lnTo>
                      <a:pt x="220" y="111"/>
                    </a:lnTo>
                    <a:lnTo>
                      <a:pt x="218" y="109"/>
                    </a:lnTo>
                    <a:lnTo>
                      <a:pt x="217" y="109"/>
                    </a:lnTo>
                    <a:lnTo>
                      <a:pt x="214" y="108"/>
                    </a:lnTo>
                    <a:lnTo>
                      <a:pt x="213" y="108"/>
                    </a:lnTo>
                    <a:lnTo>
                      <a:pt x="213" y="107"/>
                    </a:lnTo>
                    <a:lnTo>
                      <a:pt x="211" y="105"/>
                    </a:lnTo>
                    <a:lnTo>
                      <a:pt x="213" y="102"/>
                    </a:lnTo>
                    <a:lnTo>
                      <a:pt x="213" y="101"/>
                    </a:lnTo>
                    <a:lnTo>
                      <a:pt x="211" y="99"/>
                    </a:lnTo>
                    <a:lnTo>
                      <a:pt x="211" y="99"/>
                    </a:lnTo>
                    <a:lnTo>
                      <a:pt x="208" y="98"/>
                    </a:lnTo>
                    <a:lnTo>
                      <a:pt x="204" y="98"/>
                    </a:lnTo>
                    <a:lnTo>
                      <a:pt x="193" y="99"/>
                    </a:lnTo>
                    <a:lnTo>
                      <a:pt x="188" y="98"/>
                    </a:lnTo>
                    <a:lnTo>
                      <a:pt x="187" y="95"/>
                    </a:lnTo>
                    <a:lnTo>
                      <a:pt x="187" y="91"/>
                    </a:lnTo>
                    <a:lnTo>
                      <a:pt x="185" y="84"/>
                    </a:lnTo>
                    <a:lnTo>
                      <a:pt x="185" y="82"/>
                    </a:lnTo>
                    <a:lnTo>
                      <a:pt x="184" y="81"/>
                    </a:lnTo>
                    <a:lnTo>
                      <a:pt x="184" y="81"/>
                    </a:lnTo>
                    <a:lnTo>
                      <a:pt x="178" y="79"/>
                    </a:lnTo>
                    <a:lnTo>
                      <a:pt x="177" y="79"/>
                    </a:lnTo>
                    <a:lnTo>
                      <a:pt x="177" y="76"/>
                    </a:lnTo>
                    <a:lnTo>
                      <a:pt x="177" y="72"/>
                    </a:lnTo>
                    <a:lnTo>
                      <a:pt x="178" y="58"/>
                    </a:lnTo>
                    <a:lnTo>
                      <a:pt x="175" y="59"/>
                    </a:lnTo>
                    <a:lnTo>
                      <a:pt x="174" y="61"/>
                    </a:lnTo>
                    <a:lnTo>
                      <a:pt x="172" y="61"/>
                    </a:lnTo>
                    <a:lnTo>
                      <a:pt x="171" y="59"/>
                    </a:lnTo>
                    <a:lnTo>
                      <a:pt x="168" y="53"/>
                    </a:lnTo>
                    <a:lnTo>
                      <a:pt x="167" y="52"/>
                    </a:lnTo>
                    <a:lnTo>
                      <a:pt x="160" y="45"/>
                    </a:lnTo>
                    <a:lnTo>
                      <a:pt x="157" y="43"/>
                    </a:lnTo>
                    <a:lnTo>
                      <a:pt x="155" y="43"/>
                    </a:lnTo>
                    <a:lnTo>
                      <a:pt x="152" y="45"/>
                    </a:lnTo>
                    <a:lnTo>
                      <a:pt x="149" y="46"/>
                    </a:lnTo>
                    <a:lnTo>
                      <a:pt x="145" y="46"/>
                    </a:lnTo>
                    <a:lnTo>
                      <a:pt x="131" y="45"/>
                    </a:lnTo>
                    <a:lnTo>
                      <a:pt x="124" y="45"/>
                    </a:lnTo>
                    <a:lnTo>
                      <a:pt x="121" y="45"/>
                    </a:lnTo>
                    <a:lnTo>
                      <a:pt x="109" y="48"/>
                    </a:lnTo>
                    <a:lnTo>
                      <a:pt x="106" y="48"/>
                    </a:lnTo>
                    <a:lnTo>
                      <a:pt x="104" y="46"/>
                    </a:lnTo>
                    <a:lnTo>
                      <a:pt x="92" y="33"/>
                    </a:lnTo>
                    <a:lnTo>
                      <a:pt x="92" y="32"/>
                    </a:lnTo>
                    <a:lnTo>
                      <a:pt x="91" y="30"/>
                    </a:lnTo>
                    <a:lnTo>
                      <a:pt x="89" y="28"/>
                    </a:lnTo>
                    <a:lnTo>
                      <a:pt x="88" y="26"/>
                    </a:lnTo>
                    <a:lnTo>
                      <a:pt x="45" y="0"/>
                    </a:lnTo>
                    <a:lnTo>
                      <a:pt x="43" y="0"/>
                    </a:lnTo>
                    <a:lnTo>
                      <a:pt x="0" y="13"/>
                    </a:lnTo>
                    <a:lnTo>
                      <a:pt x="0" y="95"/>
                    </a:lnTo>
                    <a:lnTo>
                      <a:pt x="14" y="97"/>
                    </a:lnTo>
                    <a:lnTo>
                      <a:pt x="17" y="97"/>
                    </a:lnTo>
                    <a:close/>
                    <a:moveTo>
                      <a:pt x="257" y="102"/>
                    </a:moveTo>
                    <a:lnTo>
                      <a:pt x="257" y="102"/>
                    </a:lnTo>
                    <a:lnTo>
                      <a:pt x="257" y="104"/>
                    </a:lnTo>
                    <a:lnTo>
                      <a:pt x="257" y="104"/>
                    </a:lnTo>
                    <a:lnTo>
                      <a:pt x="257" y="102"/>
                    </a:lnTo>
                    <a:lnTo>
                      <a:pt x="256" y="102"/>
                    </a:lnTo>
                    <a:lnTo>
                      <a:pt x="257" y="102"/>
                    </a:lnTo>
                    <a:close/>
                    <a:moveTo>
                      <a:pt x="267" y="122"/>
                    </a:moveTo>
                    <a:lnTo>
                      <a:pt x="269" y="122"/>
                    </a:lnTo>
                    <a:lnTo>
                      <a:pt x="267" y="124"/>
                    </a:lnTo>
                    <a:lnTo>
                      <a:pt x="267" y="125"/>
                    </a:lnTo>
                    <a:lnTo>
                      <a:pt x="266" y="127"/>
                    </a:lnTo>
                    <a:lnTo>
                      <a:pt x="264" y="125"/>
                    </a:lnTo>
                    <a:lnTo>
                      <a:pt x="264" y="124"/>
                    </a:lnTo>
                    <a:lnTo>
                      <a:pt x="264" y="124"/>
                    </a:lnTo>
                    <a:lnTo>
                      <a:pt x="263" y="122"/>
                    </a:lnTo>
                    <a:lnTo>
                      <a:pt x="263" y="121"/>
                    </a:lnTo>
                    <a:lnTo>
                      <a:pt x="264" y="121"/>
                    </a:lnTo>
                    <a:lnTo>
                      <a:pt x="266" y="122"/>
                    </a:lnTo>
                    <a:lnTo>
                      <a:pt x="267" y="122"/>
                    </a:lnTo>
                    <a:close/>
                    <a:moveTo>
                      <a:pt x="277" y="124"/>
                    </a:moveTo>
                    <a:lnTo>
                      <a:pt x="277" y="124"/>
                    </a:lnTo>
                    <a:lnTo>
                      <a:pt x="277" y="125"/>
                    </a:lnTo>
                    <a:lnTo>
                      <a:pt x="277" y="125"/>
                    </a:lnTo>
                    <a:lnTo>
                      <a:pt x="277" y="125"/>
                    </a:lnTo>
                    <a:lnTo>
                      <a:pt x="276" y="125"/>
                    </a:lnTo>
                    <a:lnTo>
                      <a:pt x="276" y="124"/>
                    </a:lnTo>
                    <a:lnTo>
                      <a:pt x="277" y="124"/>
                    </a:lnTo>
                    <a:lnTo>
                      <a:pt x="277" y="12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1" name="Freeform 127">
                <a:extLst>
                  <a:ext uri="{FF2B5EF4-FFF2-40B4-BE49-F238E27FC236}">
                    <a16:creationId xmlns:a16="http://schemas.microsoft.com/office/drawing/2014/main" id="{A9FB6BDA-E768-3A1F-F6C7-D5346F0037F0}"/>
                  </a:ext>
                </a:extLst>
              </p:cNvPr>
              <p:cNvSpPr>
                <a:spLocks noEditPoints="1"/>
              </p:cNvSpPr>
              <p:nvPr/>
            </p:nvSpPr>
            <p:spPr bwMode="auto">
              <a:xfrm>
                <a:off x="6961732" y="2935416"/>
                <a:ext cx="360044" cy="231354"/>
              </a:xfrm>
              <a:custGeom>
                <a:avLst/>
                <a:gdLst>
                  <a:gd name="T0" fmla="*/ 153 w 249"/>
                  <a:gd name="T1" fmla="*/ 134 h 160"/>
                  <a:gd name="T2" fmla="*/ 140 w 249"/>
                  <a:gd name="T3" fmla="*/ 130 h 160"/>
                  <a:gd name="T4" fmla="*/ 133 w 249"/>
                  <a:gd name="T5" fmla="*/ 123 h 160"/>
                  <a:gd name="T6" fmla="*/ 114 w 249"/>
                  <a:gd name="T7" fmla="*/ 110 h 160"/>
                  <a:gd name="T8" fmla="*/ 102 w 249"/>
                  <a:gd name="T9" fmla="*/ 110 h 160"/>
                  <a:gd name="T10" fmla="*/ 87 w 249"/>
                  <a:gd name="T11" fmla="*/ 103 h 160"/>
                  <a:gd name="T12" fmla="*/ 82 w 249"/>
                  <a:gd name="T13" fmla="*/ 98 h 160"/>
                  <a:gd name="T14" fmla="*/ 66 w 249"/>
                  <a:gd name="T15" fmla="*/ 100 h 160"/>
                  <a:gd name="T16" fmla="*/ 46 w 249"/>
                  <a:gd name="T17" fmla="*/ 104 h 160"/>
                  <a:gd name="T18" fmla="*/ 35 w 249"/>
                  <a:gd name="T19" fmla="*/ 115 h 160"/>
                  <a:gd name="T20" fmla="*/ 25 w 249"/>
                  <a:gd name="T21" fmla="*/ 85 h 160"/>
                  <a:gd name="T22" fmla="*/ 18 w 249"/>
                  <a:gd name="T23" fmla="*/ 75 h 160"/>
                  <a:gd name="T24" fmla="*/ 13 w 249"/>
                  <a:gd name="T25" fmla="*/ 71 h 160"/>
                  <a:gd name="T26" fmla="*/ 20 w 249"/>
                  <a:gd name="T27" fmla="*/ 71 h 160"/>
                  <a:gd name="T28" fmla="*/ 18 w 249"/>
                  <a:gd name="T29" fmla="*/ 64 h 160"/>
                  <a:gd name="T30" fmla="*/ 9 w 249"/>
                  <a:gd name="T31" fmla="*/ 62 h 160"/>
                  <a:gd name="T32" fmla="*/ 9 w 249"/>
                  <a:gd name="T33" fmla="*/ 38 h 160"/>
                  <a:gd name="T34" fmla="*/ 15 w 249"/>
                  <a:gd name="T35" fmla="*/ 44 h 160"/>
                  <a:gd name="T36" fmla="*/ 23 w 249"/>
                  <a:gd name="T37" fmla="*/ 46 h 160"/>
                  <a:gd name="T38" fmla="*/ 33 w 249"/>
                  <a:gd name="T39" fmla="*/ 45 h 160"/>
                  <a:gd name="T40" fmla="*/ 38 w 249"/>
                  <a:gd name="T41" fmla="*/ 35 h 160"/>
                  <a:gd name="T42" fmla="*/ 25 w 249"/>
                  <a:gd name="T43" fmla="*/ 18 h 160"/>
                  <a:gd name="T44" fmla="*/ 16 w 249"/>
                  <a:gd name="T45" fmla="*/ 15 h 160"/>
                  <a:gd name="T46" fmla="*/ 6 w 249"/>
                  <a:gd name="T47" fmla="*/ 29 h 160"/>
                  <a:gd name="T48" fmla="*/ 9 w 249"/>
                  <a:gd name="T49" fmla="*/ 16 h 160"/>
                  <a:gd name="T50" fmla="*/ 31 w 249"/>
                  <a:gd name="T51" fmla="*/ 11 h 160"/>
                  <a:gd name="T52" fmla="*/ 52 w 249"/>
                  <a:gd name="T53" fmla="*/ 32 h 160"/>
                  <a:gd name="T54" fmla="*/ 76 w 249"/>
                  <a:gd name="T55" fmla="*/ 34 h 160"/>
                  <a:gd name="T56" fmla="*/ 81 w 249"/>
                  <a:gd name="T57" fmla="*/ 31 h 160"/>
                  <a:gd name="T58" fmla="*/ 79 w 249"/>
                  <a:gd name="T59" fmla="*/ 23 h 160"/>
                  <a:gd name="T60" fmla="*/ 87 w 249"/>
                  <a:gd name="T61" fmla="*/ 13 h 160"/>
                  <a:gd name="T62" fmla="*/ 97 w 249"/>
                  <a:gd name="T63" fmla="*/ 9 h 160"/>
                  <a:gd name="T64" fmla="*/ 104 w 249"/>
                  <a:gd name="T65" fmla="*/ 11 h 160"/>
                  <a:gd name="T66" fmla="*/ 101 w 249"/>
                  <a:gd name="T67" fmla="*/ 3 h 160"/>
                  <a:gd name="T68" fmla="*/ 112 w 249"/>
                  <a:gd name="T69" fmla="*/ 5 h 160"/>
                  <a:gd name="T70" fmla="*/ 120 w 249"/>
                  <a:gd name="T71" fmla="*/ 9 h 160"/>
                  <a:gd name="T72" fmla="*/ 128 w 249"/>
                  <a:gd name="T73" fmla="*/ 11 h 160"/>
                  <a:gd name="T74" fmla="*/ 131 w 249"/>
                  <a:gd name="T75" fmla="*/ 18 h 160"/>
                  <a:gd name="T76" fmla="*/ 135 w 249"/>
                  <a:gd name="T77" fmla="*/ 21 h 160"/>
                  <a:gd name="T78" fmla="*/ 134 w 249"/>
                  <a:gd name="T79" fmla="*/ 23 h 160"/>
                  <a:gd name="T80" fmla="*/ 135 w 249"/>
                  <a:gd name="T81" fmla="*/ 31 h 160"/>
                  <a:gd name="T82" fmla="*/ 150 w 249"/>
                  <a:gd name="T83" fmla="*/ 34 h 160"/>
                  <a:gd name="T84" fmla="*/ 157 w 249"/>
                  <a:gd name="T85" fmla="*/ 34 h 160"/>
                  <a:gd name="T86" fmla="*/ 174 w 249"/>
                  <a:gd name="T87" fmla="*/ 54 h 160"/>
                  <a:gd name="T88" fmla="*/ 180 w 249"/>
                  <a:gd name="T89" fmla="*/ 64 h 160"/>
                  <a:gd name="T90" fmla="*/ 209 w 249"/>
                  <a:gd name="T91" fmla="*/ 82 h 160"/>
                  <a:gd name="T92" fmla="*/ 229 w 249"/>
                  <a:gd name="T93" fmla="*/ 95 h 160"/>
                  <a:gd name="T94" fmla="*/ 245 w 249"/>
                  <a:gd name="T95" fmla="*/ 101 h 160"/>
                  <a:gd name="T96" fmla="*/ 247 w 249"/>
                  <a:gd name="T97" fmla="*/ 110 h 160"/>
                  <a:gd name="T98" fmla="*/ 236 w 249"/>
                  <a:gd name="T99" fmla="*/ 113 h 160"/>
                  <a:gd name="T100" fmla="*/ 229 w 249"/>
                  <a:gd name="T101" fmla="*/ 118 h 160"/>
                  <a:gd name="T102" fmla="*/ 216 w 249"/>
                  <a:gd name="T103" fmla="*/ 123 h 160"/>
                  <a:gd name="T104" fmla="*/ 204 w 249"/>
                  <a:gd name="T105" fmla="*/ 141 h 160"/>
                  <a:gd name="T106" fmla="*/ 189 w 249"/>
                  <a:gd name="T107" fmla="*/ 147 h 160"/>
                  <a:gd name="T108" fmla="*/ 187 w 249"/>
                  <a:gd name="T109" fmla="*/ 151 h 160"/>
                  <a:gd name="T110" fmla="*/ 180 w 249"/>
                  <a:gd name="T111" fmla="*/ 157 h 160"/>
                  <a:gd name="T112" fmla="*/ 171 w 249"/>
                  <a:gd name="T113" fmla="*/ 157 h 160"/>
                  <a:gd name="T114" fmla="*/ 161 w 249"/>
                  <a:gd name="T115" fmla="*/ 154 h 160"/>
                  <a:gd name="T116" fmla="*/ 155 w 249"/>
                  <a:gd name="T117" fmla="*/ 151 h 160"/>
                  <a:gd name="T118" fmla="*/ 10 w 249"/>
                  <a:gd name="T119" fmla="*/ 81 h 160"/>
                  <a:gd name="T120" fmla="*/ 10 w 249"/>
                  <a:gd name="T121" fmla="*/ 8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9" h="160">
                    <a:moveTo>
                      <a:pt x="155" y="151"/>
                    </a:moveTo>
                    <a:lnTo>
                      <a:pt x="154" y="151"/>
                    </a:lnTo>
                    <a:lnTo>
                      <a:pt x="154" y="147"/>
                    </a:lnTo>
                    <a:lnTo>
                      <a:pt x="154" y="144"/>
                    </a:lnTo>
                    <a:lnTo>
                      <a:pt x="153" y="134"/>
                    </a:lnTo>
                    <a:lnTo>
                      <a:pt x="153" y="131"/>
                    </a:lnTo>
                    <a:lnTo>
                      <a:pt x="151" y="130"/>
                    </a:lnTo>
                    <a:lnTo>
                      <a:pt x="150" y="130"/>
                    </a:lnTo>
                    <a:lnTo>
                      <a:pt x="143" y="130"/>
                    </a:lnTo>
                    <a:lnTo>
                      <a:pt x="140" y="130"/>
                    </a:lnTo>
                    <a:lnTo>
                      <a:pt x="137" y="128"/>
                    </a:lnTo>
                    <a:lnTo>
                      <a:pt x="137" y="127"/>
                    </a:lnTo>
                    <a:lnTo>
                      <a:pt x="135" y="126"/>
                    </a:lnTo>
                    <a:lnTo>
                      <a:pt x="134" y="124"/>
                    </a:lnTo>
                    <a:lnTo>
                      <a:pt x="133" y="123"/>
                    </a:lnTo>
                    <a:lnTo>
                      <a:pt x="125" y="120"/>
                    </a:lnTo>
                    <a:lnTo>
                      <a:pt x="122" y="117"/>
                    </a:lnTo>
                    <a:lnTo>
                      <a:pt x="120" y="113"/>
                    </a:lnTo>
                    <a:lnTo>
                      <a:pt x="117" y="111"/>
                    </a:lnTo>
                    <a:lnTo>
                      <a:pt x="114" y="110"/>
                    </a:lnTo>
                    <a:lnTo>
                      <a:pt x="112" y="110"/>
                    </a:lnTo>
                    <a:lnTo>
                      <a:pt x="111" y="110"/>
                    </a:lnTo>
                    <a:lnTo>
                      <a:pt x="105" y="110"/>
                    </a:lnTo>
                    <a:lnTo>
                      <a:pt x="104" y="110"/>
                    </a:lnTo>
                    <a:lnTo>
                      <a:pt x="102" y="110"/>
                    </a:lnTo>
                    <a:lnTo>
                      <a:pt x="101" y="108"/>
                    </a:lnTo>
                    <a:lnTo>
                      <a:pt x="97" y="107"/>
                    </a:lnTo>
                    <a:lnTo>
                      <a:pt x="95" y="105"/>
                    </a:lnTo>
                    <a:lnTo>
                      <a:pt x="88" y="104"/>
                    </a:lnTo>
                    <a:lnTo>
                      <a:pt x="87" y="103"/>
                    </a:lnTo>
                    <a:lnTo>
                      <a:pt x="85" y="103"/>
                    </a:lnTo>
                    <a:lnTo>
                      <a:pt x="85" y="101"/>
                    </a:lnTo>
                    <a:lnTo>
                      <a:pt x="85" y="100"/>
                    </a:lnTo>
                    <a:lnTo>
                      <a:pt x="84" y="98"/>
                    </a:lnTo>
                    <a:lnTo>
                      <a:pt x="82" y="98"/>
                    </a:lnTo>
                    <a:lnTo>
                      <a:pt x="75" y="97"/>
                    </a:lnTo>
                    <a:lnTo>
                      <a:pt x="72" y="97"/>
                    </a:lnTo>
                    <a:lnTo>
                      <a:pt x="71" y="98"/>
                    </a:lnTo>
                    <a:lnTo>
                      <a:pt x="68" y="100"/>
                    </a:lnTo>
                    <a:lnTo>
                      <a:pt x="66" y="100"/>
                    </a:lnTo>
                    <a:lnTo>
                      <a:pt x="65" y="101"/>
                    </a:lnTo>
                    <a:lnTo>
                      <a:pt x="64" y="101"/>
                    </a:lnTo>
                    <a:lnTo>
                      <a:pt x="56" y="101"/>
                    </a:lnTo>
                    <a:lnTo>
                      <a:pt x="51" y="103"/>
                    </a:lnTo>
                    <a:lnTo>
                      <a:pt x="46" y="104"/>
                    </a:lnTo>
                    <a:lnTo>
                      <a:pt x="42" y="108"/>
                    </a:lnTo>
                    <a:lnTo>
                      <a:pt x="41" y="111"/>
                    </a:lnTo>
                    <a:lnTo>
                      <a:pt x="39" y="113"/>
                    </a:lnTo>
                    <a:lnTo>
                      <a:pt x="38" y="114"/>
                    </a:lnTo>
                    <a:lnTo>
                      <a:pt x="35" y="115"/>
                    </a:lnTo>
                    <a:lnTo>
                      <a:pt x="32" y="115"/>
                    </a:lnTo>
                    <a:lnTo>
                      <a:pt x="29" y="115"/>
                    </a:lnTo>
                    <a:lnTo>
                      <a:pt x="26" y="115"/>
                    </a:lnTo>
                    <a:lnTo>
                      <a:pt x="25" y="110"/>
                    </a:lnTo>
                    <a:lnTo>
                      <a:pt x="25" y="85"/>
                    </a:lnTo>
                    <a:lnTo>
                      <a:pt x="25" y="82"/>
                    </a:lnTo>
                    <a:lnTo>
                      <a:pt x="23" y="80"/>
                    </a:lnTo>
                    <a:lnTo>
                      <a:pt x="22" y="78"/>
                    </a:lnTo>
                    <a:lnTo>
                      <a:pt x="20" y="77"/>
                    </a:lnTo>
                    <a:lnTo>
                      <a:pt x="18" y="75"/>
                    </a:lnTo>
                    <a:lnTo>
                      <a:pt x="15" y="75"/>
                    </a:lnTo>
                    <a:lnTo>
                      <a:pt x="12" y="77"/>
                    </a:lnTo>
                    <a:lnTo>
                      <a:pt x="12" y="74"/>
                    </a:lnTo>
                    <a:lnTo>
                      <a:pt x="12" y="72"/>
                    </a:lnTo>
                    <a:lnTo>
                      <a:pt x="13" y="71"/>
                    </a:lnTo>
                    <a:lnTo>
                      <a:pt x="13" y="69"/>
                    </a:lnTo>
                    <a:lnTo>
                      <a:pt x="15" y="69"/>
                    </a:lnTo>
                    <a:lnTo>
                      <a:pt x="16" y="71"/>
                    </a:lnTo>
                    <a:lnTo>
                      <a:pt x="19" y="71"/>
                    </a:lnTo>
                    <a:lnTo>
                      <a:pt x="20" y="71"/>
                    </a:lnTo>
                    <a:lnTo>
                      <a:pt x="19" y="69"/>
                    </a:lnTo>
                    <a:lnTo>
                      <a:pt x="18" y="68"/>
                    </a:lnTo>
                    <a:lnTo>
                      <a:pt x="18" y="67"/>
                    </a:lnTo>
                    <a:lnTo>
                      <a:pt x="18" y="65"/>
                    </a:lnTo>
                    <a:lnTo>
                      <a:pt x="18" y="64"/>
                    </a:lnTo>
                    <a:lnTo>
                      <a:pt x="18" y="62"/>
                    </a:lnTo>
                    <a:lnTo>
                      <a:pt x="18" y="62"/>
                    </a:lnTo>
                    <a:lnTo>
                      <a:pt x="15" y="61"/>
                    </a:lnTo>
                    <a:lnTo>
                      <a:pt x="10" y="61"/>
                    </a:lnTo>
                    <a:lnTo>
                      <a:pt x="9" y="62"/>
                    </a:lnTo>
                    <a:lnTo>
                      <a:pt x="10" y="65"/>
                    </a:lnTo>
                    <a:lnTo>
                      <a:pt x="6" y="59"/>
                    </a:lnTo>
                    <a:lnTo>
                      <a:pt x="5" y="52"/>
                    </a:lnTo>
                    <a:lnTo>
                      <a:pt x="6" y="45"/>
                    </a:lnTo>
                    <a:lnTo>
                      <a:pt x="9" y="38"/>
                    </a:lnTo>
                    <a:lnTo>
                      <a:pt x="9" y="39"/>
                    </a:lnTo>
                    <a:lnTo>
                      <a:pt x="10" y="41"/>
                    </a:lnTo>
                    <a:lnTo>
                      <a:pt x="12" y="42"/>
                    </a:lnTo>
                    <a:lnTo>
                      <a:pt x="13" y="44"/>
                    </a:lnTo>
                    <a:lnTo>
                      <a:pt x="15" y="44"/>
                    </a:lnTo>
                    <a:lnTo>
                      <a:pt x="19" y="44"/>
                    </a:lnTo>
                    <a:lnTo>
                      <a:pt x="20" y="44"/>
                    </a:lnTo>
                    <a:lnTo>
                      <a:pt x="22" y="44"/>
                    </a:lnTo>
                    <a:lnTo>
                      <a:pt x="22" y="46"/>
                    </a:lnTo>
                    <a:lnTo>
                      <a:pt x="23" y="46"/>
                    </a:lnTo>
                    <a:lnTo>
                      <a:pt x="25" y="46"/>
                    </a:lnTo>
                    <a:lnTo>
                      <a:pt x="26" y="46"/>
                    </a:lnTo>
                    <a:lnTo>
                      <a:pt x="26" y="46"/>
                    </a:lnTo>
                    <a:lnTo>
                      <a:pt x="28" y="45"/>
                    </a:lnTo>
                    <a:lnTo>
                      <a:pt x="33" y="45"/>
                    </a:lnTo>
                    <a:lnTo>
                      <a:pt x="33" y="44"/>
                    </a:lnTo>
                    <a:lnTo>
                      <a:pt x="36" y="42"/>
                    </a:lnTo>
                    <a:lnTo>
                      <a:pt x="39" y="41"/>
                    </a:lnTo>
                    <a:lnTo>
                      <a:pt x="39" y="36"/>
                    </a:lnTo>
                    <a:lnTo>
                      <a:pt x="38" y="35"/>
                    </a:lnTo>
                    <a:lnTo>
                      <a:pt x="32" y="31"/>
                    </a:lnTo>
                    <a:lnTo>
                      <a:pt x="31" y="29"/>
                    </a:lnTo>
                    <a:lnTo>
                      <a:pt x="29" y="28"/>
                    </a:lnTo>
                    <a:lnTo>
                      <a:pt x="28" y="25"/>
                    </a:lnTo>
                    <a:lnTo>
                      <a:pt x="25" y="18"/>
                    </a:lnTo>
                    <a:lnTo>
                      <a:pt x="25" y="16"/>
                    </a:lnTo>
                    <a:lnTo>
                      <a:pt x="23" y="15"/>
                    </a:lnTo>
                    <a:lnTo>
                      <a:pt x="20" y="15"/>
                    </a:lnTo>
                    <a:lnTo>
                      <a:pt x="19" y="15"/>
                    </a:lnTo>
                    <a:lnTo>
                      <a:pt x="16" y="15"/>
                    </a:lnTo>
                    <a:lnTo>
                      <a:pt x="13" y="15"/>
                    </a:lnTo>
                    <a:lnTo>
                      <a:pt x="12" y="16"/>
                    </a:lnTo>
                    <a:lnTo>
                      <a:pt x="8" y="19"/>
                    </a:lnTo>
                    <a:lnTo>
                      <a:pt x="6" y="25"/>
                    </a:lnTo>
                    <a:lnTo>
                      <a:pt x="6" y="29"/>
                    </a:lnTo>
                    <a:lnTo>
                      <a:pt x="6" y="35"/>
                    </a:lnTo>
                    <a:lnTo>
                      <a:pt x="3" y="29"/>
                    </a:lnTo>
                    <a:lnTo>
                      <a:pt x="0" y="22"/>
                    </a:lnTo>
                    <a:lnTo>
                      <a:pt x="5" y="19"/>
                    </a:lnTo>
                    <a:lnTo>
                      <a:pt x="9" y="16"/>
                    </a:lnTo>
                    <a:lnTo>
                      <a:pt x="13" y="13"/>
                    </a:lnTo>
                    <a:lnTo>
                      <a:pt x="18" y="12"/>
                    </a:lnTo>
                    <a:lnTo>
                      <a:pt x="23" y="11"/>
                    </a:lnTo>
                    <a:lnTo>
                      <a:pt x="28" y="11"/>
                    </a:lnTo>
                    <a:lnTo>
                      <a:pt x="31" y="11"/>
                    </a:lnTo>
                    <a:lnTo>
                      <a:pt x="36" y="13"/>
                    </a:lnTo>
                    <a:lnTo>
                      <a:pt x="39" y="16"/>
                    </a:lnTo>
                    <a:lnTo>
                      <a:pt x="42" y="19"/>
                    </a:lnTo>
                    <a:lnTo>
                      <a:pt x="51" y="31"/>
                    </a:lnTo>
                    <a:lnTo>
                      <a:pt x="52" y="32"/>
                    </a:lnTo>
                    <a:lnTo>
                      <a:pt x="54" y="34"/>
                    </a:lnTo>
                    <a:lnTo>
                      <a:pt x="55" y="34"/>
                    </a:lnTo>
                    <a:lnTo>
                      <a:pt x="59" y="32"/>
                    </a:lnTo>
                    <a:lnTo>
                      <a:pt x="62" y="32"/>
                    </a:lnTo>
                    <a:lnTo>
                      <a:pt x="76" y="34"/>
                    </a:lnTo>
                    <a:lnTo>
                      <a:pt x="79" y="34"/>
                    </a:lnTo>
                    <a:lnTo>
                      <a:pt x="79" y="34"/>
                    </a:lnTo>
                    <a:lnTo>
                      <a:pt x="81" y="32"/>
                    </a:lnTo>
                    <a:lnTo>
                      <a:pt x="82" y="32"/>
                    </a:lnTo>
                    <a:lnTo>
                      <a:pt x="81" y="31"/>
                    </a:lnTo>
                    <a:lnTo>
                      <a:pt x="81" y="31"/>
                    </a:lnTo>
                    <a:lnTo>
                      <a:pt x="81" y="31"/>
                    </a:lnTo>
                    <a:lnTo>
                      <a:pt x="81" y="29"/>
                    </a:lnTo>
                    <a:lnTo>
                      <a:pt x="79" y="25"/>
                    </a:lnTo>
                    <a:lnTo>
                      <a:pt x="79" y="23"/>
                    </a:lnTo>
                    <a:lnTo>
                      <a:pt x="79" y="22"/>
                    </a:lnTo>
                    <a:lnTo>
                      <a:pt x="79" y="21"/>
                    </a:lnTo>
                    <a:lnTo>
                      <a:pt x="84" y="16"/>
                    </a:lnTo>
                    <a:lnTo>
                      <a:pt x="85" y="15"/>
                    </a:lnTo>
                    <a:lnTo>
                      <a:pt x="87" y="13"/>
                    </a:lnTo>
                    <a:lnTo>
                      <a:pt x="88" y="13"/>
                    </a:lnTo>
                    <a:lnTo>
                      <a:pt x="92" y="13"/>
                    </a:lnTo>
                    <a:lnTo>
                      <a:pt x="94" y="13"/>
                    </a:lnTo>
                    <a:lnTo>
                      <a:pt x="95" y="12"/>
                    </a:lnTo>
                    <a:lnTo>
                      <a:pt x="97" y="9"/>
                    </a:lnTo>
                    <a:lnTo>
                      <a:pt x="97" y="8"/>
                    </a:lnTo>
                    <a:lnTo>
                      <a:pt x="99" y="6"/>
                    </a:lnTo>
                    <a:lnTo>
                      <a:pt x="101" y="8"/>
                    </a:lnTo>
                    <a:lnTo>
                      <a:pt x="102" y="9"/>
                    </a:lnTo>
                    <a:lnTo>
                      <a:pt x="104" y="11"/>
                    </a:lnTo>
                    <a:lnTo>
                      <a:pt x="105" y="11"/>
                    </a:lnTo>
                    <a:lnTo>
                      <a:pt x="105" y="11"/>
                    </a:lnTo>
                    <a:lnTo>
                      <a:pt x="104" y="8"/>
                    </a:lnTo>
                    <a:lnTo>
                      <a:pt x="101" y="5"/>
                    </a:lnTo>
                    <a:lnTo>
                      <a:pt x="101" y="3"/>
                    </a:lnTo>
                    <a:lnTo>
                      <a:pt x="101" y="2"/>
                    </a:lnTo>
                    <a:lnTo>
                      <a:pt x="107" y="2"/>
                    </a:lnTo>
                    <a:lnTo>
                      <a:pt x="108" y="0"/>
                    </a:lnTo>
                    <a:lnTo>
                      <a:pt x="111" y="3"/>
                    </a:lnTo>
                    <a:lnTo>
                      <a:pt x="112" y="5"/>
                    </a:lnTo>
                    <a:lnTo>
                      <a:pt x="114" y="5"/>
                    </a:lnTo>
                    <a:lnTo>
                      <a:pt x="117" y="5"/>
                    </a:lnTo>
                    <a:lnTo>
                      <a:pt x="118" y="6"/>
                    </a:lnTo>
                    <a:lnTo>
                      <a:pt x="118" y="6"/>
                    </a:lnTo>
                    <a:lnTo>
                      <a:pt x="120" y="9"/>
                    </a:lnTo>
                    <a:lnTo>
                      <a:pt x="121" y="9"/>
                    </a:lnTo>
                    <a:lnTo>
                      <a:pt x="122" y="11"/>
                    </a:lnTo>
                    <a:lnTo>
                      <a:pt x="124" y="11"/>
                    </a:lnTo>
                    <a:lnTo>
                      <a:pt x="127" y="11"/>
                    </a:lnTo>
                    <a:lnTo>
                      <a:pt x="128" y="11"/>
                    </a:lnTo>
                    <a:lnTo>
                      <a:pt x="131" y="12"/>
                    </a:lnTo>
                    <a:lnTo>
                      <a:pt x="131" y="12"/>
                    </a:lnTo>
                    <a:lnTo>
                      <a:pt x="133" y="16"/>
                    </a:lnTo>
                    <a:lnTo>
                      <a:pt x="133" y="16"/>
                    </a:lnTo>
                    <a:lnTo>
                      <a:pt x="131" y="18"/>
                    </a:lnTo>
                    <a:lnTo>
                      <a:pt x="133" y="18"/>
                    </a:lnTo>
                    <a:lnTo>
                      <a:pt x="133" y="19"/>
                    </a:lnTo>
                    <a:lnTo>
                      <a:pt x="134" y="19"/>
                    </a:lnTo>
                    <a:lnTo>
                      <a:pt x="135" y="21"/>
                    </a:lnTo>
                    <a:lnTo>
                      <a:pt x="135" y="21"/>
                    </a:lnTo>
                    <a:lnTo>
                      <a:pt x="135" y="22"/>
                    </a:lnTo>
                    <a:lnTo>
                      <a:pt x="135" y="22"/>
                    </a:lnTo>
                    <a:lnTo>
                      <a:pt x="134" y="22"/>
                    </a:lnTo>
                    <a:lnTo>
                      <a:pt x="134" y="22"/>
                    </a:lnTo>
                    <a:lnTo>
                      <a:pt x="134" y="23"/>
                    </a:lnTo>
                    <a:lnTo>
                      <a:pt x="135" y="25"/>
                    </a:lnTo>
                    <a:lnTo>
                      <a:pt x="135" y="26"/>
                    </a:lnTo>
                    <a:lnTo>
                      <a:pt x="134" y="28"/>
                    </a:lnTo>
                    <a:lnTo>
                      <a:pt x="134" y="29"/>
                    </a:lnTo>
                    <a:lnTo>
                      <a:pt x="135" y="31"/>
                    </a:lnTo>
                    <a:lnTo>
                      <a:pt x="137" y="32"/>
                    </a:lnTo>
                    <a:lnTo>
                      <a:pt x="140" y="34"/>
                    </a:lnTo>
                    <a:lnTo>
                      <a:pt x="143" y="34"/>
                    </a:lnTo>
                    <a:lnTo>
                      <a:pt x="148" y="34"/>
                    </a:lnTo>
                    <a:lnTo>
                      <a:pt x="150" y="34"/>
                    </a:lnTo>
                    <a:lnTo>
                      <a:pt x="153" y="35"/>
                    </a:lnTo>
                    <a:lnTo>
                      <a:pt x="154" y="35"/>
                    </a:lnTo>
                    <a:lnTo>
                      <a:pt x="155" y="35"/>
                    </a:lnTo>
                    <a:lnTo>
                      <a:pt x="157" y="34"/>
                    </a:lnTo>
                    <a:lnTo>
                      <a:pt x="157" y="34"/>
                    </a:lnTo>
                    <a:lnTo>
                      <a:pt x="163" y="35"/>
                    </a:lnTo>
                    <a:lnTo>
                      <a:pt x="166" y="38"/>
                    </a:lnTo>
                    <a:lnTo>
                      <a:pt x="171" y="48"/>
                    </a:lnTo>
                    <a:lnTo>
                      <a:pt x="173" y="52"/>
                    </a:lnTo>
                    <a:lnTo>
                      <a:pt x="174" y="54"/>
                    </a:lnTo>
                    <a:lnTo>
                      <a:pt x="174" y="55"/>
                    </a:lnTo>
                    <a:lnTo>
                      <a:pt x="176" y="58"/>
                    </a:lnTo>
                    <a:lnTo>
                      <a:pt x="176" y="59"/>
                    </a:lnTo>
                    <a:lnTo>
                      <a:pt x="177" y="62"/>
                    </a:lnTo>
                    <a:lnTo>
                      <a:pt x="180" y="64"/>
                    </a:lnTo>
                    <a:lnTo>
                      <a:pt x="194" y="74"/>
                    </a:lnTo>
                    <a:lnTo>
                      <a:pt x="199" y="78"/>
                    </a:lnTo>
                    <a:lnTo>
                      <a:pt x="201" y="81"/>
                    </a:lnTo>
                    <a:lnTo>
                      <a:pt x="204" y="82"/>
                    </a:lnTo>
                    <a:lnTo>
                      <a:pt x="209" y="82"/>
                    </a:lnTo>
                    <a:lnTo>
                      <a:pt x="210" y="84"/>
                    </a:lnTo>
                    <a:lnTo>
                      <a:pt x="211" y="84"/>
                    </a:lnTo>
                    <a:lnTo>
                      <a:pt x="213" y="87"/>
                    </a:lnTo>
                    <a:lnTo>
                      <a:pt x="214" y="87"/>
                    </a:lnTo>
                    <a:lnTo>
                      <a:pt x="229" y="95"/>
                    </a:lnTo>
                    <a:lnTo>
                      <a:pt x="230" y="97"/>
                    </a:lnTo>
                    <a:lnTo>
                      <a:pt x="232" y="97"/>
                    </a:lnTo>
                    <a:lnTo>
                      <a:pt x="237" y="98"/>
                    </a:lnTo>
                    <a:lnTo>
                      <a:pt x="239" y="98"/>
                    </a:lnTo>
                    <a:lnTo>
                      <a:pt x="245" y="101"/>
                    </a:lnTo>
                    <a:lnTo>
                      <a:pt x="247" y="103"/>
                    </a:lnTo>
                    <a:lnTo>
                      <a:pt x="249" y="103"/>
                    </a:lnTo>
                    <a:lnTo>
                      <a:pt x="249" y="104"/>
                    </a:lnTo>
                    <a:lnTo>
                      <a:pt x="249" y="105"/>
                    </a:lnTo>
                    <a:lnTo>
                      <a:pt x="247" y="110"/>
                    </a:lnTo>
                    <a:lnTo>
                      <a:pt x="247" y="111"/>
                    </a:lnTo>
                    <a:lnTo>
                      <a:pt x="247" y="113"/>
                    </a:lnTo>
                    <a:lnTo>
                      <a:pt x="247" y="115"/>
                    </a:lnTo>
                    <a:lnTo>
                      <a:pt x="243" y="115"/>
                    </a:lnTo>
                    <a:lnTo>
                      <a:pt x="236" y="113"/>
                    </a:lnTo>
                    <a:lnTo>
                      <a:pt x="233" y="113"/>
                    </a:lnTo>
                    <a:lnTo>
                      <a:pt x="232" y="114"/>
                    </a:lnTo>
                    <a:lnTo>
                      <a:pt x="230" y="115"/>
                    </a:lnTo>
                    <a:lnTo>
                      <a:pt x="230" y="117"/>
                    </a:lnTo>
                    <a:lnTo>
                      <a:pt x="229" y="118"/>
                    </a:lnTo>
                    <a:lnTo>
                      <a:pt x="227" y="118"/>
                    </a:lnTo>
                    <a:lnTo>
                      <a:pt x="223" y="118"/>
                    </a:lnTo>
                    <a:lnTo>
                      <a:pt x="220" y="118"/>
                    </a:lnTo>
                    <a:lnTo>
                      <a:pt x="217" y="121"/>
                    </a:lnTo>
                    <a:lnTo>
                      <a:pt x="216" y="123"/>
                    </a:lnTo>
                    <a:lnTo>
                      <a:pt x="214" y="130"/>
                    </a:lnTo>
                    <a:lnTo>
                      <a:pt x="213" y="134"/>
                    </a:lnTo>
                    <a:lnTo>
                      <a:pt x="211" y="136"/>
                    </a:lnTo>
                    <a:lnTo>
                      <a:pt x="209" y="138"/>
                    </a:lnTo>
                    <a:lnTo>
                      <a:pt x="204" y="141"/>
                    </a:lnTo>
                    <a:lnTo>
                      <a:pt x="201" y="143"/>
                    </a:lnTo>
                    <a:lnTo>
                      <a:pt x="200" y="143"/>
                    </a:lnTo>
                    <a:lnTo>
                      <a:pt x="191" y="146"/>
                    </a:lnTo>
                    <a:lnTo>
                      <a:pt x="190" y="146"/>
                    </a:lnTo>
                    <a:lnTo>
                      <a:pt x="189" y="147"/>
                    </a:lnTo>
                    <a:lnTo>
                      <a:pt x="189" y="147"/>
                    </a:lnTo>
                    <a:lnTo>
                      <a:pt x="187" y="149"/>
                    </a:lnTo>
                    <a:lnTo>
                      <a:pt x="187" y="149"/>
                    </a:lnTo>
                    <a:lnTo>
                      <a:pt x="187" y="151"/>
                    </a:lnTo>
                    <a:lnTo>
                      <a:pt x="187" y="151"/>
                    </a:lnTo>
                    <a:lnTo>
                      <a:pt x="186" y="153"/>
                    </a:lnTo>
                    <a:lnTo>
                      <a:pt x="186" y="154"/>
                    </a:lnTo>
                    <a:lnTo>
                      <a:pt x="184" y="156"/>
                    </a:lnTo>
                    <a:lnTo>
                      <a:pt x="181" y="157"/>
                    </a:lnTo>
                    <a:lnTo>
                      <a:pt x="180" y="157"/>
                    </a:lnTo>
                    <a:lnTo>
                      <a:pt x="178" y="159"/>
                    </a:lnTo>
                    <a:lnTo>
                      <a:pt x="174" y="160"/>
                    </a:lnTo>
                    <a:lnTo>
                      <a:pt x="173" y="160"/>
                    </a:lnTo>
                    <a:lnTo>
                      <a:pt x="173" y="159"/>
                    </a:lnTo>
                    <a:lnTo>
                      <a:pt x="171" y="157"/>
                    </a:lnTo>
                    <a:lnTo>
                      <a:pt x="170" y="156"/>
                    </a:lnTo>
                    <a:lnTo>
                      <a:pt x="168" y="156"/>
                    </a:lnTo>
                    <a:lnTo>
                      <a:pt x="167" y="154"/>
                    </a:lnTo>
                    <a:lnTo>
                      <a:pt x="167" y="154"/>
                    </a:lnTo>
                    <a:lnTo>
                      <a:pt x="161" y="154"/>
                    </a:lnTo>
                    <a:lnTo>
                      <a:pt x="160" y="154"/>
                    </a:lnTo>
                    <a:lnTo>
                      <a:pt x="158" y="153"/>
                    </a:lnTo>
                    <a:lnTo>
                      <a:pt x="157" y="153"/>
                    </a:lnTo>
                    <a:lnTo>
                      <a:pt x="157" y="151"/>
                    </a:lnTo>
                    <a:lnTo>
                      <a:pt x="155" y="151"/>
                    </a:lnTo>
                    <a:close/>
                    <a:moveTo>
                      <a:pt x="10" y="85"/>
                    </a:moveTo>
                    <a:lnTo>
                      <a:pt x="12" y="87"/>
                    </a:lnTo>
                    <a:lnTo>
                      <a:pt x="12" y="85"/>
                    </a:lnTo>
                    <a:lnTo>
                      <a:pt x="10" y="84"/>
                    </a:lnTo>
                    <a:lnTo>
                      <a:pt x="10" y="81"/>
                    </a:lnTo>
                    <a:lnTo>
                      <a:pt x="10" y="80"/>
                    </a:lnTo>
                    <a:lnTo>
                      <a:pt x="10" y="80"/>
                    </a:lnTo>
                    <a:lnTo>
                      <a:pt x="10" y="80"/>
                    </a:lnTo>
                    <a:lnTo>
                      <a:pt x="10" y="81"/>
                    </a:lnTo>
                    <a:lnTo>
                      <a:pt x="10" y="84"/>
                    </a:lnTo>
                    <a:lnTo>
                      <a:pt x="10" y="8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2" name="Freeform 128">
                <a:extLst>
                  <a:ext uri="{FF2B5EF4-FFF2-40B4-BE49-F238E27FC236}">
                    <a16:creationId xmlns:a16="http://schemas.microsoft.com/office/drawing/2014/main" id="{FCB85840-EC91-3359-9DB4-EAD976EC27FC}"/>
                  </a:ext>
                </a:extLst>
              </p:cNvPr>
              <p:cNvSpPr>
                <a:spLocks/>
              </p:cNvSpPr>
              <p:nvPr/>
            </p:nvSpPr>
            <p:spPr bwMode="auto">
              <a:xfrm>
                <a:off x="6909677" y="3418367"/>
                <a:ext cx="4338" cy="13014"/>
              </a:xfrm>
              <a:custGeom>
                <a:avLst/>
                <a:gdLst>
                  <a:gd name="T0" fmla="*/ 3 w 3"/>
                  <a:gd name="T1" fmla="*/ 0 h 9"/>
                  <a:gd name="T2" fmla="*/ 0 w 3"/>
                  <a:gd name="T3" fmla="*/ 1 h 9"/>
                  <a:gd name="T4" fmla="*/ 0 w 3"/>
                  <a:gd name="T5" fmla="*/ 3 h 9"/>
                  <a:gd name="T6" fmla="*/ 2 w 3"/>
                  <a:gd name="T7" fmla="*/ 6 h 9"/>
                  <a:gd name="T8" fmla="*/ 3 w 3"/>
                  <a:gd name="T9" fmla="*/ 9 h 9"/>
                  <a:gd name="T10" fmla="*/ 3 w 3"/>
                  <a:gd name="T11" fmla="*/ 7 h 9"/>
                  <a:gd name="T12" fmla="*/ 3 w 3"/>
                  <a:gd name="T13" fmla="*/ 6 h 9"/>
                  <a:gd name="T14" fmla="*/ 3 w 3"/>
                  <a:gd name="T15" fmla="*/ 6 h 9"/>
                  <a:gd name="T16" fmla="*/ 3 w 3"/>
                  <a:gd name="T17" fmla="*/ 4 h 9"/>
                  <a:gd name="T18" fmla="*/ 3 w 3"/>
                  <a:gd name="T19" fmla="*/ 3 h 9"/>
                  <a:gd name="T20" fmla="*/ 3 w 3"/>
                  <a:gd name="T21" fmla="*/ 1 h 9"/>
                  <a:gd name="T22" fmla="*/ 3 w 3"/>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3" y="0"/>
                    </a:moveTo>
                    <a:lnTo>
                      <a:pt x="0" y="1"/>
                    </a:lnTo>
                    <a:lnTo>
                      <a:pt x="0" y="3"/>
                    </a:lnTo>
                    <a:lnTo>
                      <a:pt x="2" y="6"/>
                    </a:lnTo>
                    <a:lnTo>
                      <a:pt x="3" y="9"/>
                    </a:lnTo>
                    <a:lnTo>
                      <a:pt x="3" y="7"/>
                    </a:lnTo>
                    <a:lnTo>
                      <a:pt x="3" y="6"/>
                    </a:lnTo>
                    <a:lnTo>
                      <a:pt x="3" y="6"/>
                    </a:lnTo>
                    <a:lnTo>
                      <a:pt x="3" y="4"/>
                    </a:lnTo>
                    <a:lnTo>
                      <a:pt x="3" y="3"/>
                    </a:lnTo>
                    <a:lnTo>
                      <a:pt x="3" y="1"/>
                    </a:lnTo>
                    <a:lnTo>
                      <a:pt x="3"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3" name="Freeform 129">
                <a:extLst>
                  <a:ext uri="{FF2B5EF4-FFF2-40B4-BE49-F238E27FC236}">
                    <a16:creationId xmlns:a16="http://schemas.microsoft.com/office/drawing/2014/main" id="{9E959ABD-8A31-EE08-685E-D3A0824766EE}"/>
                  </a:ext>
                </a:extLst>
              </p:cNvPr>
              <p:cNvSpPr>
                <a:spLocks noEditPoints="1"/>
              </p:cNvSpPr>
              <p:nvPr/>
            </p:nvSpPr>
            <p:spPr bwMode="auto">
              <a:xfrm>
                <a:off x="6811352" y="3308474"/>
                <a:ext cx="49163" cy="43379"/>
              </a:xfrm>
              <a:custGeom>
                <a:avLst/>
                <a:gdLst>
                  <a:gd name="T0" fmla="*/ 21 w 34"/>
                  <a:gd name="T1" fmla="*/ 1 h 30"/>
                  <a:gd name="T2" fmla="*/ 25 w 34"/>
                  <a:gd name="T3" fmla="*/ 3 h 30"/>
                  <a:gd name="T4" fmla="*/ 25 w 34"/>
                  <a:gd name="T5" fmla="*/ 4 h 30"/>
                  <a:gd name="T6" fmla="*/ 27 w 34"/>
                  <a:gd name="T7" fmla="*/ 7 h 30"/>
                  <a:gd name="T8" fmla="*/ 27 w 34"/>
                  <a:gd name="T9" fmla="*/ 8 h 30"/>
                  <a:gd name="T10" fmla="*/ 28 w 34"/>
                  <a:gd name="T11" fmla="*/ 10 h 30"/>
                  <a:gd name="T12" fmla="*/ 25 w 34"/>
                  <a:gd name="T13" fmla="*/ 10 h 30"/>
                  <a:gd name="T14" fmla="*/ 24 w 34"/>
                  <a:gd name="T15" fmla="*/ 11 h 30"/>
                  <a:gd name="T16" fmla="*/ 23 w 34"/>
                  <a:gd name="T17" fmla="*/ 13 h 30"/>
                  <a:gd name="T18" fmla="*/ 21 w 34"/>
                  <a:gd name="T19" fmla="*/ 14 h 30"/>
                  <a:gd name="T20" fmla="*/ 24 w 34"/>
                  <a:gd name="T21" fmla="*/ 14 h 30"/>
                  <a:gd name="T22" fmla="*/ 25 w 34"/>
                  <a:gd name="T23" fmla="*/ 16 h 30"/>
                  <a:gd name="T24" fmla="*/ 27 w 34"/>
                  <a:gd name="T25" fmla="*/ 16 h 30"/>
                  <a:gd name="T26" fmla="*/ 34 w 34"/>
                  <a:gd name="T27" fmla="*/ 30 h 30"/>
                  <a:gd name="T28" fmla="*/ 23 w 34"/>
                  <a:gd name="T29" fmla="*/ 30 h 30"/>
                  <a:gd name="T30" fmla="*/ 20 w 34"/>
                  <a:gd name="T31" fmla="*/ 30 h 30"/>
                  <a:gd name="T32" fmla="*/ 20 w 34"/>
                  <a:gd name="T33" fmla="*/ 29 h 30"/>
                  <a:gd name="T34" fmla="*/ 18 w 34"/>
                  <a:gd name="T35" fmla="*/ 27 h 30"/>
                  <a:gd name="T36" fmla="*/ 17 w 34"/>
                  <a:gd name="T37" fmla="*/ 26 h 30"/>
                  <a:gd name="T38" fmla="*/ 14 w 34"/>
                  <a:gd name="T39" fmla="*/ 21 h 30"/>
                  <a:gd name="T40" fmla="*/ 10 w 34"/>
                  <a:gd name="T41" fmla="*/ 20 h 30"/>
                  <a:gd name="T42" fmla="*/ 0 w 34"/>
                  <a:gd name="T43" fmla="*/ 20 h 30"/>
                  <a:gd name="T44" fmla="*/ 5 w 34"/>
                  <a:gd name="T45" fmla="*/ 13 h 30"/>
                  <a:gd name="T46" fmla="*/ 7 w 34"/>
                  <a:gd name="T47" fmla="*/ 11 h 30"/>
                  <a:gd name="T48" fmla="*/ 8 w 34"/>
                  <a:gd name="T49" fmla="*/ 6 h 30"/>
                  <a:gd name="T50" fmla="*/ 10 w 34"/>
                  <a:gd name="T51" fmla="*/ 3 h 30"/>
                  <a:gd name="T52" fmla="*/ 14 w 34"/>
                  <a:gd name="T53" fmla="*/ 1 h 30"/>
                  <a:gd name="T54" fmla="*/ 17 w 34"/>
                  <a:gd name="T55" fmla="*/ 0 h 30"/>
                  <a:gd name="T56" fmla="*/ 21 w 34"/>
                  <a:gd name="T57" fmla="*/ 1 h 30"/>
                  <a:gd name="T58" fmla="*/ 28 w 34"/>
                  <a:gd name="T59" fmla="*/ 4 h 30"/>
                  <a:gd name="T60" fmla="*/ 27 w 34"/>
                  <a:gd name="T61" fmla="*/ 6 h 30"/>
                  <a:gd name="T62" fmla="*/ 27 w 34"/>
                  <a:gd name="T63" fmla="*/ 7 h 30"/>
                  <a:gd name="T64" fmla="*/ 28 w 34"/>
                  <a:gd name="T65" fmla="*/ 8 h 30"/>
                  <a:gd name="T66" fmla="*/ 30 w 34"/>
                  <a:gd name="T67" fmla="*/ 10 h 30"/>
                  <a:gd name="T68" fmla="*/ 31 w 34"/>
                  <a:gd name="T69" fmla="*/ 10 h 30"/>
                  <a:gd name="T70" fmla="*/ 31 w 34"/>
                  <a:gd name="T71" fmla="*/ 8 h 30"/>
                  <a:gd name="T72" fmla="*/ 31 w 34"/>
                  <a:gd name="T73" fmla="*/ 7 h 30"/>
                  <a:gd name="T74" fmla="*/ 30 w 34"/>
                  <a:gd name="T75" fmla="*/ 4 h 30"/>
                  <a:gd name="T76" fmla="*/ 28 w 34"/>
                  <a:gd name="T77" fmla="*/ 3 h 30"/>
                  <a:gd name="T78" fmla="*/ 28 w 34"/>
                  <a:gd name="T7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 h="30">
                    <a:moveTo>
                      <a:pt x="21" y="1"/>
                    </a:moveTo>
                    <a:lnTo>
                      <a:pt x="25" y="3"/>
                    </a:lnTo>
                    <a:lnTo>
                      <a:pt x="25" y="4"/>
                    </a:lnTo>
                    <a:lnTo>
                      <a:pt x="27" y="7"/>
                    </a:lnTo>
                    <a:lnTo>
                      <a:pt x="27" y="8"/>
                    </a:lnTo>
                    <a:lnTo>
                      <a:pt x="28" y="10"/>
                    </a:lnTo>
                    <a:lnTo>
                      <a:pt x="25" y="10"/>
                    </a:lnTo>
                    <a:lnTo>
                      <a:pt x="24" y="11"/>
                    </a:lnTo>
                    <a:lnTo>
                      <a:pt x="23" y="13"/>
                    </a:lnTo>
                    <a:lnTo>
                      <a:pt x="21" y="14"/>
                    </a:lnTo>
                    <a:lnTo>
                      <a:pt x="24" y="14"/>
                    </a:lnTo>
                    <a:lnTo>
                      <a:pt x="25" y="16"/>
                    </a:lnTo>
                    <a:lnTo>
                      <a:pt x="27" y="16"/>
                    </a:lnTo>
                    <a:lnTo>
                      <a:pt x="34" y="30"/>
                    </a:lnTo>
                    <a:lnTo>
                      <a:pt x="23" y="30"/>
                    </a:lnTo>
                    <a:lnTo>
                      <a:pt x="20" y="30"/>
                    </a:lnTo>
                    <a:lnTo>
                      <a:pt x="20" y="29"/>
                    </a:lnTo>
                    <a:lnTo>
                      <a:pt x="18" y="27"/>
                    </a:lnTo>
                    <a:lnTo>
                      <a:pt x="17" y="26"/>
                    </a:lnTo>
                    <a:lnTo>
                      <a:pt x="14" y="21"/>
                    </a:lnTo>
                    <a:lnTo>
                      <a:pt x="10" y="20"/>
                    </a:lnTo>
                    <a:lnTo>
                      <a:pt x="0" y="20"/>
                    </a:lnTo>
                    <a:lnTo>
                      <a:pt x="5" y="13"/>
                    </a:lnTo>
                    <a:lnTo>
                      <a:pt x="7" y="11"/>
                    </a:lnTo>
                    <a:lnTo>
                      <a:pt x="8" y="6"/>
                    </a:lnTo>
                    <a:lnTo>
                      <a:pt x="10" y="3"/>
                    </a:lnTo>
                    <a:lnTo>
                      <a:pt x="14" y="1"/>
                    </a:lnTo>
                    <a:lnTo>
                      <a:pt x="17" y="0"/>
                    </a:lnTo>
                    <a:lnTo>
                      <a:pt x="21" y="1"/>
                    </a:lnTo>
                    <a:close/>
                    <a:moveTo>
                      <a:pt x="28" y="4"/>
                    </a:moveTo>
                    <a:lnTo>
                      <a:pt x="27" y="6"/>
                    </a:lnTo>
                    <a:lnTo>
                      <a:pt x="27" y="7"/>
                    </a:lnTo>
                    <a:lnTo>
                      <a:pt x="28" y="8"/>
                    </a:lnTo>
                    <a:lnTo>
                      <a:pt x="30" y="10"/>
                    </a:lnTo>
                    <a:lnTo>
                      <a:pt x="31" y="10"/>
                    </a:lnTo>
                    <a:lnTo>
                      <a:pt x="31" y="8"/>
                    </a:lnTo>
                    <a:lnTo>
                      <a:pt x="31" y="7"/>
                    </a:lnTo>
                    <a:lnTo>
                      <a:pt x="30" y="4"/>
                    </a:lnTo>
                    <a:lnTo>
                      <a:pt x="28" y="3"/>
                    </a:lnTo>
                    <a:lnTo>
                      <a:pt x="28" y="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4" name="Freeform 130">
                <a:extLst>
                  <a:ext uri="{FF2B5EF4-FFF2-40B4-BE49-F238E27FC236}">
                    <a16:creationId xmlns:a16="http://schemas.microsoft.com/office/drawing/2014/main" id="{E62F740E-7400-8FD5-AE62-371853CB78ED}"/>
                  </a:ext>
                </a:extLst>
              </p:cNvPr>
              <p:cNvSpPr>
                <a:spLocks noEditPoints="1"/>
              </p:cNvSpPr>
              <p:nvPr/>
            </p:nvSpPr>
            <p:spPr bwMode="auto">
              <a:xfrm>
                <a:off x="6507700" y="3253527"/>
                <a:ext cx="533559" cy="435234"/>
              </a:xfrm>
              <a:custGeom>
                <a:avLst/>
                <a:gdLst>
                  <a:gd name="T0" fmla="*/ 250 w 369"/>
                  <a:gd name="T1" fmla="*/ 82 h 301"/>
                  <a:gd name="T2" fmla="*/ 251 w 369"/>
                  <a:gd name="T3" fmla="*/ 87 h 301"/>
                  <a:gd name="T4" fmla="*/ 263 w 369"/>
                  <a:gd name="T5" fmla="*/ 97 h 301"/>
                  <a:gd name="T6" fmla="*/ 274 w 369"/>
                  <a:gd name="T7" fmla="*/ 111 h 301"/>
                  <a:gd name="T8" fmla="*/ 273 w 369"/>
                  <a:gd name="T9" fmla="*/ 117 h 301"/>
                  <a:gd name="T10" fmla="*/ 273 w 369"/>
                  <a:gd name="T11" fmla="*/ 123 h 301"/>
                  <a:gd name="T12" fmla="*/ 283 w 369"/>
                  <a:gd name="T13" fmla="*/ 138 h 301"/>
                  <a:gd name="T14" fmla="*/ 290 w 369"/>
                  <a:gd name="T15" fmla="*/ 146 h 301"/>
                  <a:gd name="T16" fmla="*/ 294 w 369"/>
                  <a:gd name="T17" fmla="*/ 147 h 301"/>
                  <a:gd name="T18" fmla="*/ 294 w 369"/>
                  <a:gd name="T19" fmla="*/ 151 h 301"/>
                  <a:gd name="T20" fmla="*/ 313 w 369"/>
                  <a:gd name="T21" fmla="*/ 174 h 301"/>
                  <a:gd name="T22" fmla="*/ 359 w 369"/>
                  <a:gd name="T23" fmla="*/ 183 h 301"/>
                  <a:gd name="T24" fmla="*/ 369 w 369"/>
                  <a:gd name="T25" fmla="*/ 197 h 301"/>
                  <a:gd name="T26" fmla="*/ 356 w 369"/>
                  <a:gd name="T27" fmla="*/ 235 h 301"/>
                  <a:gd name="T28" fmla="*/ 241 w 369"/>
                  <a:gd name="T29" fmla="*/ 266 h 301"/>
                  <a:gd name="T30" fmla="*/ 224 w 369"/>
                  <a:gd name="T31" fmla="*/ 288 h 301"/>
                  <a:gd name="T32" fmla="*/ 215 w 369"/>
                  <a:gd name="T33" fmla="*/ 288 h 301"/>
                  <a:gd name="T34" fmla="*/ 202 w 369"/>
                  <a:gd name="T35" fmla="*/ 285 h 301"/>
                  <a:gd name="T36" fmla="*/ 187 w 369"/>
                  <a:gd name="T37" fmla="*/ 282 h 301"/>
                  <a:gd name="T38" fmla="*/ 161 w 369"/>
                  <a:gd name="T39" fmla="*/ 282 h 301"/>
                  <a:gd name="T40" fmla="*/ 154 w 369"/>
                  <a:gd name="T41" fmla="*/ 281 h 301"/>
                  <a:gd name="T42" fmla="*/ 151 w 369"/>
                  <a:gd name="T43" fmla="*/ 284 h 301"/>
                  <a:gd name="T44" fmla="*/ 151 w 369"/>
                  <a:gd name="T45" fmla="*/ 285 h 301"/>
                  <a:gd name="T46" fmla="*/ 149 w 369"/>
                  <a:gd name="T47" fmla="*/ 295 h 301"/>
                  <a:gd name="T48" fmla="*/ 142 w 369"/>
                  <a:gd name="T49" fmla="*/ 294 h 301"/>
                  <a:gd name="T50" fmla="*/ 135 w 369"/>
                  <a:gd name="T51" fmla="*/ 281 h 301"/>
                  <a:gd name="T52" fmla="*/ 123 w 369"/>
                  <a:gd name="T53" fmla="*/ 269 h 301"/>
                  <a:gd name="T54" fmla="*/ 100 w 369"/>
                  <a:gd name="T55" fmla="*/ 232 h 301"/>
                  <a:gd name="T56" fmla="*/ 80 w 369"/>
                  <a:gd name="T57" fmla="*/ 213 h 301"/>
                  <a:gd name="T58" fmla="*/ 80 w 369"/>
                  <a:gd name="T59" fmla="*/ 206 h 301"/>
                  <a:gd name="T60" fmla="*/ 77 w 369"/>
                  <a:gd name="T61" fmla="*/ 197 h 301"/>
                  <a:gd name="T62" fmla="*/ 79 w 369"/>
                  <a:gd name="T63" fmla="*/ 184 h 301"/>
                  <a:gd name="T64" fmla="*/ 75 w 369"/>
                  <a:gd name="T65" fmla="*/ 176 h 301"/>
                  <a:gd name="T66" fmla="*/ 63 w 369"/>
                  <a:gd name="T67" fmla="*/ 157 h 301"/>
                  <a:gd name="T68" fmla="*/ 50 w 369"/>
                  <a:gd name="T69" fmla="*/ 148 h 301"/>
                  <a:gd name="T70" fmla="*/ 46 w 369"/>
                  <a:gd name="T71" fmla="*/ 141 h 301"/>
                  <a:gd name="T72" fmla="*/ 43 w 369"/>
                  <a:gd name="T73" fmla="*/ 130 h 301"/>
                  <a:gd name="T74" fmla="*/ 37 w 369"/>
                  <a:gd name="T75" fmla="*/ 123 h 301"/>
                  <a:gd name="T76" fmla="*/ 10 w 369"/>
                  <a:gd name="T77" fmla="*/ 79 h 301"/>
                  <a:gd name="T78" fmla="*/ 0 w 369"/>
                  <a:gd name="T79" fmla="*/ 75 h 301"/>
                  <a:gd name="T80" fmla="*/ 23 w 369"/>
                  <a:gd name="T81" fmla="*/ 55 h 301"/>
                  <a:gd name="T82" fmla="*/ 36 w 369"/>
                  <a:gd name="T83" fmla="*/ 46 h 301"/>
                  <a:gd name="T84" fmla="*/ 50 w 369"/>
                  <a:gd name="T85" fmla="*/ 41 h 301"/>
                  <a:gd name="T86" fmla="*/ 54 w 369"/>
                  <a:gd name="T87" fmla="*/ 33 h 301"/>
                  <a:gd name="T88" fmla="*/ 72 w 369"/>
                  <a:gd name="T89" fmla="*/ 5 h 301"/>
                  <a:gd name="T90" fmla="*/ 100 w 369"/>
                  <a:gd name="T91" fmla="*/ 3 h 301"/>
                  <a:gd name="T92" fmla="*/ 178 w 369"/>
                  <a:gd name="T93" fmla="*/ 55 h 301"/>
                  <a:gd name="T94" fmla="*/ 205 w 369"/>
                  <a:gd name="T95" fmla="*/ 58 h 301"/>
                  <a:gd name="T96" fmla="*/ 227 w 369"/>
                  <a:gd name="T97" fmla="*/ 64 h 301"/>
                  <a:gd name="T98" fmla="*/ 233 w 369"/>
                  <a:gd name="T99" fmla="*/ 68 h 301"/>
                  <a:gd name="T100" fmla="*/ 129 w 369"/>
                  <a:gd name="T101" fmla="*/ 295 h 301"/>
                  <a:gd name="T102" fmla="*/ 133 w 369"/>
                  <a:gd name="T103" fmla="*/ 295 h 301"/>
                  <a:gd name="T104" fmla="*/ 131 w 369"/>
                  <a:gd name="T105" fmla="*/ 294 h 301"/>
                  <a:gd name="T106" fmla="*/ 129 w 369"/>
                  <a:gd name="T107" fmla="*/ 292 h 301"/>
                  <a:gd name="T108" fmla="*/ 128 w 369"/>
                  <a:gd name="T109" fmla="*/ 291 h 301"/>
                  <a:gd name="T110" fmla="*/ 34 w 369"/>
                  <a:gd name="T111" fmla="*/ 124 h 301"/>
                  <a:gd name="T112" fmla="*/ 34 w 369"/>
                  <a:gd name="T113" fmla="*/ 123 h 301"/>
                  <a:gd name="T114" fmla="*/ 42 w 369"/>
                  <a:gd name="T115" fmla="*/ 130 h 301"/>
                  <a:gd name="T116" fmla="*/ 34 w 369"/>
                  <a:gd name="T117" fmla="*/ 127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9" h="301">
                    <a:moveTo>
                      <a:pt x="233" y="68"/>
                    </a:moveTo>
                    <a:lnTo>
                      <a:pt x="244" y="68"/>
                    </a:lnTo>
                    <a:lnTo>
                      <a:pt x="247" y="75"/>
                    </a:lnTo>
                    <a:lnTo>
                      <a:pt x="250" y="82"/>
                    </a:lnTo>
                    <a:lnTo>
                      <a:pt x="250" y="84"/>
                    </a:lnTo>
                    <a:lnTo>
                      <a:pt x="250" y="84"/>
                    </a:lnTo>
                    <a:lnTo>
                      <a:pt x="250" y="85"/>
                    </a:lnTo>
                    <a:lnTo>
                      <a:pt x="251" y="87"/>
                    </a:lnTo>
                    <a:lnTo>
                      <a:pt x="253" y="87"/>
                    </a:lnTo>
                    <a:lnTo>
                      <a:pt x="257" y="90"/>
                    </a:lnTo>
                    <a:lnTo>
                      <a:pt x="258" y="92"/>
                    </a:lnTo>
                    <a:lnTo>
                      <a:pt x="263" y="97"/>
                    </a:lnTo>
                    <a:lnTo>
                      <a:pt x="273" y="105"/>
                    </a:lnTo>
                    <a:lnTo>
                      <a:pt x="271" y="105"/>
                    </a:lnTo>
                    <a:lnTo>
                      <a:pt x="271" y="107"/>
                    </a:lnTo>
                    <a:lnTo>
                      <a:pt x="274" y="111"/>
                    </a:lnTo>
                    <a:lnTo>
                      <a:pt x="274" y="113"/>
                    </a:lnTo>
                    <a:lnTo>
                      <a:pt x="274" y="114"/>
                    </a:lnTo>
                    <a:lnTo>
                      <a:pt x="273" y="117"/>
                    </a:lnTo>
                    <a:lnTo>
                      <a:pt x="273" y="117"/>
                    </a:lnTo>
                    <a:lnTo>
                      <a:pt x="273" y="117"/>
                    </a:lnTo>
                    <a:lnTo>
                      <a:pt x="271" y="117"/>
                    </a:lnTo>
                    <a:lnTo>
                      <a:pt x="273" y="118"/>
                    </a:lnTo>
                    <a:lnTo>
                      <a:pt x="273" y="123"/>
                    </a:lnTo>
                    <a:lnTo>
                      <a:pt x="274" y="125"/>
                    </a:lnTo>
                    <a:lnTo>
                      <a:pt x="278" y="130"/>
                    </a:lnTo>
                    <a:lnTo>
                      <a:pt x="280" y="133"/>
                    </a:lnTo>
                    <a:lnTo>
                      <a:pt x="283" y="138"/>
                    </a:lnTo>
                    <a:lnTo>
                      <a:pt x="284" y="143"/>
                    </a:lnTo>
                    <a:lnTo>
                      <a:pt x="286" y="144"/>
                    </a:lnTo>
                    <a:lnTo>
                      <a:pt x="289" y="146"/>
                    </a:lnTo>
                    <a:lnTo>
                      <a:pt x="290" y="146"/>
                    </a:lnTo>
                    <a:lnTo>
                      <a:pt x="293" y="146"/>
                    </a:lnTo>
                    <a:lnTo>
                      <a:pt x="294" y="146"/>
                    </a:lnTo>
                    <a:lnTo>
                      <a:pt x="294" y="146"/>
                    </a:lnTo>
                    <a:lnTo>
                      <a:pt x="294" y="147"/>
                    </a:lnTo>
                    <a:lnTo>
                      <a:pt x="296" y="147"/>
                    </a:lnTo>
                    <a:lnTo>
                      <a:pt x="296" y="147"/>
                    </a:lnTo>
                    <a:lnTo>
                      <a:pt x="294" y="150"/>
                    </a:lnTo>
                    <a:lnTo>
                      <a:pt x="294" y="151"/>
                    </a:lnTo>
                    <a:lnTo>
                      <a:pt x="299" y="151"/>
                    </a:lnTo>
                    <a:lnTo>
                      <a:pt x="299" y="156"/>
                    </a:lnTo>
                    <a:lnTo>
                      <a:pt x="301" y="160"/>
                    </a:lnTo>
                    <a:lnTo>
                      <a:pt x="313" y="174"/>
                    </a:lnTo>
                    <a:lnTo>
                      <a:pt x="316" y="177"/>
                    </a:lnTo>
                    <a:lnTo>
                      <a:pt x="320" y="179"/>
                    </a:lnTo>
                    <a:lnTo>
                      <a:pt x="353" y="183"/>
                    </a:lnTo>
                    <a:lnTo>
                      <a:pt x="359" y="183"/>
                    </a:lnTo>
                    <a:lnTo>
                      <a:pt x="362" y="181"/>
                    </a:lnTo>
                    <a:lnTo>
                      <a:pt x="368" y="190"/>
                    </a:lnTo>
                    <a:lnTo>
                      <a:pt x="369" y="193"/>
                    </a:lnTo>
                    <a:lnTo>
                      <a:pt x="369" y="197"/>
                    </a:lnTo>
                    <a:lnTo>
                      <a:pt x="369" y="200"/>
                    </a:lnTo>
                    <a:lnTo>
                      <a:pt x="360" y="230"/>
                    </a:lnTo>
                    <a:lnTo>
                      <a:pt x="359" y="233"/>
                    </a:lnTo>
                    <a:lnTo>
                      <a:pt x="356" y="235"/>
                    </a:lnTo>
                    <a:lnTo>
                      <a:pt x="306" y="252"/>
                    </a:lnTo>
                    <a:lnTo>
                      <a:pt x="260" y="259"/>
                    </a:lnTo>
                    <a:lnTo>
                      <a:pt x="250" y="262"/>
                    </a:lnTo>
                    <a:lnTo>
                      <a:pt x="241" y="266"/>
                    </a:lnTo>
                    <a:lnTo>
                      <a:pt x="233" y="275"/>
                    </a:lnTo>
                    <a:lnTo>
                      <a:pt x="227" y="284"/>
                    </a:lnTo>
                    <a:lnTo>
                      <a:pt x="225" y="286"/>
                    </a:lnTo>
                    <a:lnTo>
                      <a:pt x="224" y="288"/>
                    </a:lnTo>
                    <a:lnTo>
                      <a:pt x="222" y="289"/>
                    </a:lnTo>
                    <a:lnTo>
                      <a:pt x="220" y="289"/>
                    </a:lnTo>
                    <a:lnTo>
                      <a:pt x="217" y="289"/>
                    </a:lnTo>
                    <a:lnTo>
                      <a:pt x="215" y="288"/>
                    </a:lnTo>
                    <a:lnTo>
                      <a:pt x="215" y="285"/>
                    </a:lnTo>
                    <a:lnTo>
                      <a:pt x="212" y="284"/>
                    </a:lnTo>
                    <a:lnTo>
                      <a:pt x="211" y="284"/>
                    </a:lnTo>
                    <a:lnTo>
                      <a:pt x="202" y="285"/>
                    </a:lnTo>
                    <a:lnTo>
                      <a:pt x="194" y="284"/>
                    </a:lnTo>
                    <a:lnTo>
                      <a:pt x="192" y="284"/>
                    </a:lnTo>
                    <a:lnTo>
                      <a:pt x="189" y="282"/>
                    </a:lnTo>
                    <a:lnTo>
                      <a:pt x="187" y="282"/>
                    </a:lnTo>
                    <a:lnTo>
                      <a:pt x="185" y="281"/>
                    </a:lnTo>
                    <a:lnTo>
                      <a:pt x="182" y="281"/>
                    </a:lnTo>
                    <a:lnTo>
                      <a:pt x="164" y="282"/>
                    </a:lnTo>
                    <a:lnTo>
                      <a:pt x="161" y="282"/>
                    </a:lnTo>
                    <a:lnTo>
                      <a:pt x="158" y="281"/>
                    </a:lnTo>
                    <a:lnTo>
                      <a:pt x="156" y="281"/>
                    </a:lnTo>
                    <a:lnTo>
                      <a:pt x="155" y="279"/>
                    </a:lnTo>
                    <a:lnTo>
                      <a:pt x="154" y="281"/>
                    </a:lnTo>
                    <a:lnTo>
                      <a:pt x="152" y="281"/>
                    </a:lnTo>
                    <a:lnTo>
                      <a:pt x="152" y="282"/>
                    </a:lnTo>
                    <a:lnTo>
                      <a:pt x="151" y="282"/>
                    </a:lnTo>
                    <a:lnTo>
                      <a:pt x="151" y="284"/>
                    </a:lnTo>
                    <a:lnTo>
                      <a:pt x="151" y="284"/>
                    </a:lnTo>
                    <a:lnTo>
                      <a:pt x="151" y="284"/>
                    </a:lnTo>
                    <a:lnTo>
                      <a:pt x="151" y="285"/>
                    </a:lnTo>
                    <a:lnTo>
                      <a:pt x="151" y="285"/>
                    </a:lnTo>
                    <a:lnTo>
                      <a:pt x="151" y="288"/>
                    </a:lnTo>
                    <a:lnTo>
                      <a:pt x="151" y="292"/>
                    </a:lnTo>
                    <a:lnTo>
                      <a:pt x="151" y="294"/>
                    </a:lnTo>
                    <a:lnTo>
                      <a:pt x="149" y="295"/>
                    </a:lnTo>
                    <a:lnTo>
                      <a:pt x="148" y="298"/>
                    </a:lnTo>
                    <a:lnTo>
                      <a:pt x="143" y="301"/>
                    </a:lnTo>
                    <a:lnTo>
                      <a:pt x="143" y="296"/>
                    </a:lnTo>
                    <a:lnTo>
                      <a:pt x="142" y="294"/>
                    </a:lnTo>
                    <a:lnTo>
                      <a:pt x="138" y="288"/>
                    </a:lnTo>
                    <a:lnTo>
                      <a:pt x="136" y="286"/>
                    </a:lnTo>
                    <a:lnTo>
                      <a:pt x="136" y="282"/>
                    </a:lnTo>
                    <a:lnTo>
                      <a:pt x="135" y="281"/>
                    </a:lnTo>
                    <a:lnTo>
                      <a:pt x="133" y="279"/>
                    </a:lnTo>
                    <a:lnTo>
                      <a:pt x="132" y="278"/>
                    </a:lnTo>
                    <a:lnTo>
                      <a:pt x="128" y="275"/>
                    </a:lnTo>
                    <a:lnTo>
                      <a:pt x="123" y="269"/>
                    </a:lnTo>
                    <a:lnTo>
                      <a:pt x="119" y="263"/>
                    </a:lnTo>
                    <a:lnTo>
                      <a:pt x="110" y="242"/>
                    </a:lnTo>
                    <a:lnTo>
                      <a:pt x="106" y="236"/>
                    </a:lnTo>
                    <a:lnTo>
                      <a:pt x="100" y="232"/>
                    </a:lnTo>
                    <a:lnTo>
                      <a:pt x="92" y="226"/>
                    </a:lnTo>
                    <a:lnTo>
                      <a:pt x="89" y="223"/>
                    </a:lnTo>
                    <a:lnTo>
                      <a:pt x="82" y="215"/>
                    </a:lnTo>
                    <a:lnTo>
                      <a:pt x="80" y="213"/>
                    </a:lnTo>
                    <a:lnTo>
                      <a:pt x="80" y="210"/>
                    </a:lnTo>
                    <a:lnTo>
                      <a:pt x="80" y="209"/>
                    </a:lnTo>
                    <a:lnTo>
                      <a:pt x="80" y="207"/>
                    </a:lnTo>
                    <a:lnTo>
                      <a:pt x="80" y="206"/>
                    </a:lnTo>
                    <a:lnTo>
                      <a:pt x="80" y="204"/>
                    </a:lnTo>
                    <a:lnTo>
                      <a:pt x="79" y="203"/>
                    </a:lnTo>
                    <a:lnTo>
                      <a:pt x="77" y="200"/>
                    </a:lnTo>
                    <a:lnTo>
                      <a:pt x="77" y="197"/>
                    </a:lnTo>
                    <a:lnTo>
                      <a:pt x="77" y="196"/>
                    </a:lnTo>
                    <a:lnTo>
                      <a:pt x="79" y="190"/>
                    </a:lnTo>
                    <a:lnTo>
                      <a:pt x="79" y="187"/>
                    </a:lnTo>
                    <a:lnTo>
                      <a:pt x="79" y="184"/>
                    </a:lnTo>
                    <a:lnTo>
                      <a:pt x="77" y="181"/>
                    </a:lnTo>
                    <a:lnTo>
                      <a:pt x="75" y="179"/>
                    </a:lnTo>
                    <a:lnTo>
                      <a:pt x="76" y="179"/>
                    </a:lnTo>
                    <a:lnTo>
                      <a:pt x="75" y="176"/>
                    </a:lnTo>
                    <a:lnTo>
                      <a:pt x="69" y="166"/>
                    </a:lnTo>
                    <a:lnTo>
                      <a:pt x="67" y="163"/>
                    </a:lnTo>
                    <a:lnTo>
                      <a:pt x="66" y="160"/>
                    </a:lnTo>
                    <a:lnTo>
                      <a:pt x="63" y="157"/>
                    </a:lnTo>
                    <a:lnTo>
                      <a:pt x="60" y="156"/>
                    </a:lnTo>
                    <a:lnTo>
                      <a:pt x="53" y="151"/>
                    </a:lnTo>
                    <a:lnTo>
                      <a:pt x="50" y="150"/>
                    </a:lnTo>
                    <a:lnTo>
                      <a:pt x="50" y="148"/>
                    </a:lnTo>
                    <a:lnTo>
                      <a:pt x="47" y="146"/>
                    </a:lnTo>
                    <a:lnTo>
                      <a:pt x="46" y="143"/>
                    </a:lnTo>
                    <a:lnTo>
                      <a:pt x="46" y="141"/>
                    </a:lnTo>
                    <a:lnTo>
                      <a:pt x="46" y="141"/>
                    </a:lnTo>
                    <a:lnTo>
                      <a:pt x="47" y="140"/>
                    </a:lnTo>
                    <a:lnTo>
                      <a:pt x="46" y="136"/>
                    </a:lnTo>
                    <a:lnTo>
                      <a:pt x="44" y="133"/>
                    </a:lnTo>
                    <a:lnTo>
                      <a:pt x="43" y="130"/>
                    </a:lnTo>
                    <a:lnTo>
                      <a:pt x="42" y="127"/>
                    </a:lnTo>
                    <a:lnTo>
                      <a:pt x="40" y="125"/>
                    </a:lnTo>
                    <a:lnTo>
                      <a:pt x="39" y="124"/>
                    </a:lnTo>
                    <a:lnTo>
                      <a:pt x="37" y="123"/>
                    </a:lnTo>
                    <a:lnTo>
                      <a:pt x="37" y="121"/>
                    </a:lnTo>
                    <a:lnTo>
                      <a:pt x="36" y="118"/>
                    </a:lnTo>
                    <a:lnTo>
                      <a:pt x="13" y="82"/>
                    </a:lnTo>
                    <a:lnTo>
                      <a:pt x="10" y="79"/>
                    </a:lnTo>
                    <a:lnTo>
                      <a:pt x="7" y="77"/>
                    </a:lnTo>
                    <a:lnTo>
                      <a:pt x="4" y="77"/>
                    </a:lnTo>
                    <a:lnTo>
                      <a:pt x="0" y="78"/>
                    </a:lnTo>
                    <a:lnTo>
                      <a:pt x="0" y="75"/>
                    </a:lnTo>
                    <a:lnTo>
                      <a:pt x="3" y="65"/>
                    </a:lnTo>
                    <a:lnTo>
                      <a:pt x="6" y="52"/>
                    </a:lnTo>
                    <a:lnTo>
                      <a:pt x="19" y="55"/>
                    </a:lnTo>
                    <a:lnTo>
                      <a:pt x="23" y="55"/>
                    </a:lnTo>
                    <a:lnTo>
                      <a:pt x="26" y="55"/>
                    </a:lnTo>
                    <a:lnTo>
                      <a:pt x="30" y="52"/>
                    </a:lnTo>
                    <a:lnTo>
                      <a:pt x="33" y="49"/>
                    </a:lnTo>
                    <a:lnTo>
                      <a:pt x="36" y="46"/>
                    </a:lnTo>
                    <a:lnTo>
                      <a:pt x="39" y="44"/>
                    </a:lnTo>
                    <a:lnTo>
                      <a:pt x="42" y="42"/>
                    </a:lnTo>
                    <a:lnTo>
                      <a:pt x="46" y="42"/>
                    </a:lnTo>
                    <a:lnTo>
                      <a:pt x="50" y="41"/>
                    </a:lnTo>
                    <a:lnTo>
                      <a:pt x="52" y="39"/>
                    </a:lnTo>
                    <a:lnTo>
                      <a:pt x="52" y="36"/>
                    </a:lnTo>
                    <a:lnTo>
                      <a:pt x="53" y="35"/>
                    </a:lnTo>
                    <a:lnTo>
                      <a:pt x="54" y="33"/>
                    </a:lnTo>
                    <a:lnTo>
                      <a:pt x="56" y="32"/>
                    </a:lnTo>
                    <a:lnTo>
                      <a:pt x="59" y="31"/>
                    </a:lnTo>
                    <a:lnTo>
                      <a:pt x="42" y="12"/>
                    </a:lnTo>
                    <a:lnTo>
                      <a:pt x="72" y="5"/>
                    </a:lnTo>
                    <a:lnTo>
                      <a:pt x="76" y="2"/>
                    </a:lnTo>
                    <a:lnTo>
                      <a:pt x="80" y="0"/>
                    </a:lnTo>
                    <a:lnTo>
                      <a:pt x="95" y="2"/>
                    </a:lnTo>
                    <a:lnTo>
                      <a:pt x="100" y="3"/>
                    </a:lnTo>
                    <a:lnTo>
                      <a:pt x="108" y="6"/>
                    </a:lnTo>
                    <a:lnTo>
                      <a:pt x="132" y="21"/>
                    </a:lnTo>
                    <a:lnTo>
                      <a:pt x="175" y="54"/>
                    </a:lnTo>
                    <a:lnTo>
                      <a:pt x="178" y="55"/>
                    </a:lnTo>
                    <a:lnTo>
                      <a:pt x="181" y="56"/>
                    </a:lnTo>
                    <a:lnTo>
                      <a:pt x="192" y="56"/>
                    </a:lnTo>
                    <a:lnTo>
                      <a:pt x="201" y="58"/>
                    </a:lnTo>
                    <a:lnTo>
                      <a:pt x="205" y="58"/>
                    </a:lnTo>
                    <a:lnTo>
                      <a:pt x="210" y="58"/>
                    </a:lnTo>
                    <a:lnTo>
                      <a:pt x="220" y="58"/>
                    </a:lnTo>
                    <a:lnTo>
                      <a:pt x="224" y="59"/>
                    </a:lnTo>
                    <a:lnTo>
                      <a:pt x="227" y="64"/>
                    </a:lnTo>
                    <a:lnTo>
                      <a:pt x="228" y="65"/>
                    </a:lnTo>
                    <a:lnTo>
                      <a:pt x="230" y="67"/>
                    </a:lnTo>
                    <a:lnTo>
                      <a:pt x="230" y="68"/>
                    </a:lnTo>
                    <a:lnTo>
                      <a:pt x="233" y="68"/>
                    </a:lnTo>
                    <a:close/>
                    <a:moveTo>
                      <a:pt x="128" y="291"/>
                    </a:moveTo>
                    <a:lnTo>
                      <a:pt x="126" y="292"/>
                    </a:lnTo>
                    <a:lnTo>
                      <a:pt x="128" y="294"/>
                    </a:lnTo>
                    <a:lnTo>
                      <a:pt x="129" y="295"/>
                    </a:lnTo>
                    <a:lnTo>
                      <a:pt x="132" y="295"/>
                    </a:lnTo>
                    <a:lnTo>
                      <a:pt x="133" y="296"/>
                    </a:lnTo>
                    <a:lnTo>
                      <a:pt x="133" y="295"/>
                    </a:lnTo>
                    <a:lnTo>
                      <a:pt x="133" y="295"/>
                    </a:lnTo>
                    <a:lnTo>
                      <a:pt x="132" y="294"/>
                    </a:lnTo>
                    <a:lnTo>
                      <a:pt x="131" y="292"/>
                    </a:lnTo>
                    <a:lnTo>
                      <a:pt x="131" y="294"/>
                    </a:lnTo>
                    <a:lnTo>
                      <a:pt x="131" y="294"/>
                    </a:lnTo>
                    <a:lnTo>
                      <a:pt x="131" y="294"/>
                    </a:lnTo>
                    <a:lnTo>
                      <a:pt x="131" y="294"/>
                    </a:lnTo>
                    <a:lnTo>
                      <a:pt x="129" y="294"/>
                    </a:lnTo>
                    <a:lnTo>
                      <a:pt x="129" y="292"/>
                    </a:lnTo>
                    <a:lnTo>
                      <a:pt x="129" y="291"/>
                    </a:lnTo>
                    <a:lnTo>
                      <a:pt x="128" y="289"/>
                    </a:lnTo>
                    <a:lnTo>
                      <a:pt x="128" y="289"/>
                    </a:lnTo>
                    <a:lnTo>
                      <a:pt x="128" y="291"/>
                    </a:lnTo>
                    <a:lnTo>
                      <a:pt x="128" y="291"/>
                    </a:lnTo>
                    <a:close/>
                    <a:moveTo>
                      <a:pt x="34" y="123"/>
                    </a:moveTo>
                    <a:lnTo>
                      <a:pt x="34" y="123"/>
                    </a:lnTo>
                    <a:lnTo>
                      <a:pt x="34" y="124"/>
                    </a:lnTo>
                    <a:lnTo>
                      <a:pt x="34" y="124"/>
                    </a:lnTo>
                    <a:lnTo>
                      <a:pt x="34" y="123"/>
                    </a:lnTo>
                    <a:lnTo>
                      <a:pt x="34" y="121"/>
                    </a:lnTo>
                    <a:lnTo>
                      <a:pt x="34" y="123"/>
                    </a:lnTo>
                    <a:close/>
                    <a:moveTo>
                      <a:pt x="34" y="127"/>
                    </a:moveTo>
                    <a:lnTo>
                      <a:pt x="37" y="128"/>
                    </a:lnTo>
                    <a:lnTo>
                      <a:pt x="40" y="130"/>
                    </a:lnTo>
                    <a:lnTo>
                      <a:pt x="42" y="130"/>
                    </a:lnTo>
                    <a:lnTo>
                      <a:pt x="37" y="127"/>
                    </a:lnTo>
                    <a:lnTo>
                      <a:pt x="36" y="125"/>
                    </a:lnTo>
                    <a:lnTo>
                      <a:pt x="34" y="124"/>
                    </a:lnTo>
                    <a:lnTo>
                      <a:pt x="34" y="12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5" name="Freeform 131">
                <a:extLst>
                  <a:ext uri="{FF2B5EF4-FFF2-40B4-BE49-F238E27FC236}">
                    <a16:creationId xmlns:a16="http://schemas.microsoft.com/office/drawing/2014/main" id="{B7C13DCD-BA17-C5D4-F54C-E1E69A8377F8}"/>
                  </a:ext>
                </a:extLst>
              </p:cNvPr>
              <p:cNvSpPr>
                <a:spLocks noEditPoints="1"/>
              </p:cNvSpPr>
              <p:nvPr/>
            </p:nvSpPr>
            <p:spPr bwMode="auto">
              <a:xfrm>
                <a:off x="6940042" y="3422705"/>
                <a:ext cx="121461" cy="95433"/>
              </a:xfrm>
              <a:custGeom>
                <a:avLst/>
                <a:gdLst>
                  <a:gd name="T0" fmla="*/ 14 w 84"/>
                  <a:gd name="T1" fmla="*/ 57 h 66"/>
                  <a:gd name="T2" fmla="*/ 21 w 84"/>
                  <a:gd name="T3" fmla="*/ 62 h 66"/>
                  <a:gd name="T4" fmla="*/ 60 w 84"/>
                  <a:gd name="T5" fmla="*/ 66 h 66"/>
                  <a:gd name="T6" fmla="*/ 63 w 84"/>
                  <a:gd name="T7" fmla="*/ 62 h 66"/>
                  <a:gd name="T8" fmla="*/ 64 w 84"/>
                  <a:gd name="T9" fmla="*/ 54 h 66"/>
                  <a:gd name="T10" fmla="*/ 69 w 84"/>
                  <a:gd name="T11" fmla="*/ 46 h 66"/>
                  <a:gd name="T12" fmla="*/ 69 w 84"/>
                  <a:gd name="T13" fmla="*/ 41 h 66"/>
                  <a:gd name="T14" fmla="*/ 74 w 84"/>
                  <a:gd name="T15" fmla="*/ 40 h 66"/>
                  <a:gd name="T16" fmla="*/ 77 w 84"/>
                  <a:gd name="T17" fmla="*/ 39 h 66"/>
                  <a:gd name="T18" fmla="*/ 76 w 84"/>
                  <a:gd name="T19" fmla="*/ 37 h 66"/>
                  <a:gd name="T20" fmla="*/ 74 w 84"/>
                  <a:gd name="T21" fmla="*/ 36 h 66"/>
                  <a:gd name="T22" fmla="*/ 73 w 84"/>
                  <a:gd name="T23" fmla="*/ 33 h 66"/>
                  <a:gd name="T24" fmla="*/ 74 w 84"/>
                  <a:gd name="T25" fmla="*/ 23 h 66"/>
                  <a:gd name="T26" fmla="*/ 76 w 84"/>
                  <a:gd name="T27" fmla="*/ 21 h 66"/>
                  <a:gd name="T28" fmla="*/ 77 w 84"/>
                  <a:gd name="T29" fmla="*/ 23 h 66"/>
                  <a:gd name="T30" fmla="*/ 77 w 84"/>
                  <a:gd name="T31" fmla="*/ 24 h 66"/>
                  <a:gd name="T32" fmla="*/ 79 w 84"/>
                  <a:gd name="T33" fmla="*/ 26 h 66"/>
                  <a:gd name="T34" fmla="*/ 81 w 84"/>
                  <a:gd name="T35" fmla="*/ 24 h 66"/>
                  <a:gd name="T36" fmla="*/ 84 w 84"/>
                  <a:gd name="T37" fmla="*/ 21 h 66"/>
                  <a:gd name="T38" fmla="*/ 84 w 84"/>
                  <a:gd name="T39" fmla="*/ 14 h 66"/>
                  <a:gd name="T40" fmla="*/ 83 w 84"/>
                  <a:gd name="T41" fmla="*/ 8 h 66"/>
                  <a:gd name="T42" fmla="*/ 80 w 84"/>
                  <a:gd name="T43" fmla="*/ 6 h 66"/>
                  <a:gd name="T44" fmla="*/ 79 w 84"/>
                  <a:gd name="T45" fmla="*/ 0 h 66"/>
                  <a:gd name="T46" fmla="*/ 74 w 84"/>
                  <a:gd name="T47" fmla="*/ 6 h 66"/>
                  <a:gd name="T48" fmla="*/ 67 w 84"/>
                  <a:gd name="T49" fmla="*/ 13 h 66"/>
                  <a:gd name="T50" fmla="*/ 61 w 84"/>
                  <a:gd name="T51" fmla="*/ 20 h 66"/>
                  <a:gd name="T52" fmla="*/ 54 w 84"/>
                  <a:gd name="T53" fmla="*/ 26 h 66"/>
                  <a:gd name="T54" fmla="*/ 50 w 84"/>
                  <a:gd name="T55" fmla="*/ 34 h 66"/>
                  <a:gd name="T56" fmla="*/ 44 w 84"/>
                  <a:gd name="T57" fmla="*/ 37 h 66"/>
                  <a:gd name="T58" fmla="*/ 23 w 84"/>
                  <a:gd name="T59" fmla="*/ 37 h 66"/>
                  <a:gd name="T60" fmla="*/ 10 w 84"/>
                  <a:gd name="T61" fmla="*/ 40 h 66"/>
                  <a:gd name="T62" fmla="*/ 4 w 84"/>
                  <a:gd name="T63" fmla="*/ 40 h 66"/>
                  <a:gd name="T64" fmla="*/ 2 w 84"/>
                  <a:gd name="T65" fmla="*/ 36 h 66"/>
                  <a:gd name="T66" fmla="*/ 2 w 84"/>
                  <a:gd name="T67" fmla="*/ 36 h 66"/>
                  <a:gd name="T68" fmla="*/ 1 w 84"/>
                  <a:gd name="T69" fmla="*/ 34 h 66"/>
                  <a:gd name="T70" fmla="*/ 0 w 84"/>
                  <a:gd name="T71" fmla="*/ 34 h 66"/>
                  <a:gd name="T72" fmla="*/ 2 w 84"/>
                  <a:gd name="T73" fmla="*/ 43 h 66"/>
                  <a:gd name="T74" fmla="*/ 81 w 84"/>
                  <a:gd name="T75" fmla="*/ 16 h 66"/>
                  <a:gd name="T76" fmla="*/ 81 w 84"/>
                  <a:gd name="T77" fmla="*/ 17 h 66"/>
                  <a:gd name="T78" fmla="*/ 48 w 84"/>
                  <a:gd name="T79" fmla="*/ 30 h 66"/>
                  <a:gd name="T80" fmla="*/ 50 w 84"/>
                  <a:gd name="T81" fmla="*/ 31 h 66"/>
                  <a:gd name="T82" fmla="*/ 48 w 84"/>
                  <a:gd name="T83" fmla="*/ 31 h 66"/>
                  <a:gd name="T84" fmla="*/ 48 w 84"/>
                  <a:gd name="T85" fmla="*/ 31 h 66"/>
                  <a:gd name="T86" fmla="*/ 30 w 84"/>
                  <a:gd name="T87" fmla="*/ 33 h 66"/>
                  <a:gd name="T88" fmla="*/ 33 w 84"/>
                  <a:gd name="T89" fmla="*/ 33 h 66"/>
                  <a:gd name="T90" fmla="*/ 30 w 84"/>
                  <a:gd name="T91" fmla="*/ 36 h 66"/>
                  <a:gd name="T92" fmla="*/ 28 w 84"/>
                  <a:gd name="T93" fmla="*/ 34 h 66"/>
                  <a:gd name="T94" fmla="*/ 30 w 84"/>
                  <a:gd name="T95" fmla="*/ 33 h 66"/>
                  <a:gd name="T96" fmla="*/ 18 w 84"/>
                  <a:gd name="T97" fmla="*/ 34 h 66"/>
                  <a:gd name="T98" fmla="*/ 18 w 84"/>
                  <a:gd name="T99" fmla="*/ 34 h 66"/>
                  <a:gd name="T100" fmla="*/ 17 w 84"/>
                  <a:gd name="T101" fmla="*/ 34 h 66"/>
                  <a:gd name="T102" fmla="*/ 38 w 84"/>
                  <a:gd name="T103" fmla="*/ 36 h 66"/>
                  <a:gd name="T104" fmla="*/ 41 w 84"/>
                  <a:gd name="T105" fmla="*/ 37 h 66"/>
                  <a:gd name="T106" fmla="*/ 37 w 84"/>
                  <a:gd name="T107" fmla="*/ 37 h 66"/>
                  <a:gd name="T108" fmla="*/ 37 w 84"/>
                  <a:gd name="T109" fmla="*/ 3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 h="66">
                    <a:moveTo>
                      <a:pt x="2" y="43"/>
                    </a:moveTo>
                    <a:lnTo>
                      <a:pt x="14" y="57"/>
                    </a:lnTo>
                    <a:lnTo>
                      <a:pt x="17" y="60"/>
                    </a:lnTo>
                    <a:lnTo>
                      <a:pt x="21" y="62"/>
                    </a:lnTo>
                    <a:lnTo>
                      <a:pt x="54" y="66"/>
                    </a:lnTo>
                    <a:lnTo>
                      <a:pt x="60" y="66"/>
                    </a:lnTo>
                    <a:lnTo>
                      <a:pt x="63" y="64"/>
                    </a:lnTo>
                    <a:lnTo>
                      <a:pt x="63" y="62"/>
                    </a:lnTo>
                    <a:lnTo>
                      <a:pt x="64" y="59"/>
                    </a:lnTo>
                    <a:lnTo>
                      <a:pt x="64" y="54"/>
                    </a:lnTo>
                    <a:lnTo>
                      <a:pt x="66" y="52"/>
                    </a:lnTo>
                    <a:lnTo>
                      <a:pt x="69" y="46"/>
                    </a:lnTo>
                    <a:lnTo>
                      <a:pt x="69" y="44"/>
                    </a:lnTo>
                    <a:lnTo>
                      <a:pt x="69" y="41"/>
                    </a:lnTo>
                    <a:lnTo>
                      <a:pt x="70" y="40"/>
                    </a:lnTo>
                    <a:lnTo>
                      <a:pt x="74" y="40"/>
                    </a:lnTo>
                    <a:lnTo>
                      <a:pt x="76" y="40"/>
                    </a:lnTo>
                    <a:lnTo>
                      <a:pt x="77" y="39"/>
                    </a:lnTo>
                    <a:lnTo>
                      <a:pt x="76" y="37"/>
                    </a:lnTo>
                    <a:lnTo>
                      <a:pt x="76" y="37"/>
                    </a:lnTo>
                    <a:lnTo>
                      <a:pt x="74" y="36"/>
                    </a:lnTo>
                    <a:lnTo>
                      <a:pt x="74" y="36"/>
                    </a:lnTo>
                    <a:lnTo>
                      <a:pt x="74" y="34"/>
                    </a:lnTo>
                    <a:lnTo>
                      <a:pt x="73" y="33"/>
                    </a:lnTo>
                    <a:lnTo>
                      <a:pt x="73" y="27"/>
                    </a:lnTo>
                    <a:lnTo>
                      <a:pt x="74" y="23"/>
                    </a:lnTo>
                    <a:lnTo>
                      <a:pt x="74" y="23"/>
                    </a:lnTo>
                    <a:lnTo>
                      <a:pt x="76" y="21"/>
                    </a:lnTo>
                    <a:lnTo>
                      <a:pt x="77" y="21"/>
                    </a:lnTo>
                    <a:lnTo>
                      <a:pt x="77" y="23"/>
                    </a:lnTo>
                    <a:lnTo>
                      <a:pt x="77" y="23"/>
                    </a:lnTo>
                    <a:lnTo>
                      <a:pt x="77" y="24"/>
                    </a:lnTo>
                    <a:lnTo>
                      <a:pt x="79" y="26"/>
                    </a:lnTo>
                    <a:lnTo>
                      <a:pt x="79" y="26"/>
                    </a:lnTo>
                    <a:lnTo>
                      <a:pt x="80" y="24"/>
                    </a:lnTo>
                    <a:lnTo>
                      <a:pt x="81" y="24"/>
                    </a:lnTo>
                    <a:lnTo>
                      <a:pt x="83" y="23"/>
                    </a:lnTo>
                    <a:lnTo>
                      <a:pt x="84" y="21"/>
                    </a:lnTo>
                    <a:lnTo>
                      <a:pt x="84" y="19"/>
                    </a:lnTo>
                    <a:lnTo>
                      <a:pt x="84" y="14"/>
                    </a:lnTo>
                    <a:lnTo>
                      <a:pt x="84" y="11"/>
                    </a:lnTo>
                    <a:lnTo>
                      <a:pt x="83" y="8"/>
                    </a:lnTo>
                    <a:lnTo>
                      <a:pt x="80" y="8"/>
                    </a:lnTo>
                    <a:lnTo>
                      <a:pt x="80" y="6"/>
                    </a:lnTo>
                    <a:lnTo>
                      <a:pt x="80" y="1"/>
                    </a:lnTo>
                    <a:lnTo>
                      <a:pt x="79" y="0"/>
                    </a:lnTo>
                    <a:lnTo>
                      <a:pt x="77" y="4"/>
                    </a:lnTo>
                    <a:lnTo>
                      <a:pt x="74" y="6"/>
                    </a:lnTo>
                    <a:lnTo>
                      <a:pt x="70" y="11"/>
                    </a:lnTo>
                    <a:lnTo>
                      <a:pt x="67" y="13"/>
                    </a:lnTo>
                    <a:lnTo>
                      <a:pt x="64" y="17"/>
                    </a:lnTo>
                    <a:lnTo>
                      <a:pt x="61" y="20"/>
                    </a:lnTo>
                    <a:lnTo>
                      <a:pt x="57" y="24"/>
                    </a:lnTo>
                    <a:lnTo>
                      <a:pt x="54" y="26"/>
                    </a:lnTo>
                    <a:lnTo>
                      <a:pt x="51" y="31"/>
                    </a:lnTo>
                    <a:lnTo>
                      <a:pt x="50" y="34"/>
                    </a:lnTo>
                    <a:lnTo>
                      <a:pt x="47" y="36"/>
                    </a:lnTo>
                    <a:lnTo>
                      <a:pt x="44" y="37"/>
                    </a:lnTo>
                    <a:lnTo>
                      <a:pt x="37" y="39"/>
                    </a:lnTo>
                    <a:lnTo>
                      <a:pt x="23" y="37"/>
                    </a:lnTo>
                    <a:lnTo>
                      <a:pt x="15" y="39"/>
                    </a:lnTo>
                    <a:lnTo>
                      <a:pt x="10" y="40"/>
                    </a:lnTo>
                    <a:lnTo>
                      <a:pt x="7" y="41"/>
                    </a:lnTo>
                    <a:lnTo>
                      <a:pt x="4" y="40"/>
                    </a:lnTo>
                    <a:lnTo>
                      <a:pt x="4" y="39"/>
                    </a:lnTo>
                    <a:lnTo>
                      <a:pt x="2" y="36"/>
                    </a:lnTo>
                    <a:lnTo>
                      <a:pt x="2" y="36"/>
                    </a:lnTo>
                    <a:lnTo>
                      <a:pt x="2" y="36"/>
                    </a:lnTo>
                    <a:lnTo>
                      <a:pt x="1" y="34"/>
                    </a:lnTo>
                    <a:lnTo>
                      <a:pt x="1" y="34"/>
                    </a:lnTo>
                    <a:lnTo>
                      <a:pt x="0" y="34"/>
                    </a:lnTo>
                    <a:lnTo>
                      <a:pt x="0" y="34"/>
                    </a:lnTo>
                    <a:lnTo>
                      <a:pt x="0" y="39"/>
                    </a:lnTo>
                    <a:lnTo>
                      <a:pt x="2" y="43"/>
                    </a:lnTo>
                    <a:close/>
                    <a:moveTo>
                      <a:pt x="81" y="16"/>
                    </a:moveTo>
                    <a:lnTo>
                      <a:pt x="81" y="16"/>
                    </a:lnTo>
                    <a:lnTo>
                      <a:pt x="81" y="17"/>
                    </a:lnTo>
                    <a:lnTo>
                      <a:pt x="81" y="17"/>
                    </a:lnTo>
                    <a:lnTo>
                      <a:pt x="81" y="16"/>
                    </a:lnTo>
                    <a:close/>
                    <a:moveTo>
                      <a:pt x="48" y="30"/>
                    </a:moveTo>
                    <a:lnTo>
                      <a:pt x="50" y="31"/>
                    </a:lnTo>
                    <a:lnTo>
                      <a:pt x="50" y="31"/>
                    </a:lnTo>
                    <a:lnTo>
                      <a:pt x="50" y="31"/>
                    </a:lnTo>
                    <a:lnTo>
                      <a:pt x="48" y="31"/>
                    </a:lnTo>
                    <a:lnTo>
                      <a:pt x="48" y="31"/>
                    </a:lnTo>
                    <a:lnTo>
                      <a:pt x="48" y="31"/>
                    </a:lnTo>
                    <a:lnTo>
                      <a:pt x="48" y="30"/>
                    </a:lnTo>
                    <a:close/>
                    <a:moveTo>
                      <a:pt x="30" y="33"/>
                    </a:moveTo>
                    <a:lnTo>
                      <a:pt x="31" y="33"/>
                    </a:lnTo>
                    <a:lnTo>
                      <a:pt x="33" y="33"/>
                    </a:lnTo>
                    <a:lnTo>
                      <a:pt x="31" y="34"/>
                    </a:lnTo>
                    <a:lnTo>
                      <a:pt x="30" y="36"/>
                    </a:lnTo>
                    <a:lnTo>
                      <a:pt x="30" y="36"/>
                    </a:lnTo>
                    <a:lnTo>
                      <a:pt x="28" y="34"/>
                    </a:lnTo>
                    <a:lnTo>
                      <a:pt x="30" y="34"/>
                    </a:lnTo>
                    <a:lnTo>
                      <a:pt x="30" y="33"/>
                    </a:lnTo>
                    <a:close/>
                    <a:moveTo>
                      <a:pt x="17" y="33"/>
                    </a:moveTo>
                    <a:lnTo>
                      <a:pt x="18" y="34"/>
                    </a:lnTo>
                    <a:lnTo>
                      <a:pt x="18" y="34"/>
                    </a:lnTo>
                    <a:lnTo>
                      <a:pt x="18" y="34"/>
                    </a:lnTo>
                    <a:lnTo>
                      <a:pt x="17" y="34"/>
                    </a:lnTo>
                    <a:lnTo>
                      <a:pt x="17" y="34"/>
                    </a:lnTo>
                    <a:lnTo>
                      <a:pt x="17" y="33"/>
                    </a:lnTo>
                    <a:close/>
                    <a:moveTo>
                      <a:pt x="38" y="36"/>
                    </a:moveTo>
                    <a:lnTo>
                      <a:pt x="40" y="36"/>
                    </a:lnTo>
                    <a:lnTo>
                      <a:pt x="41" y="37"/>
                    </a:lnTo>
                    <a:lnTo>
                      <a:pt x="38" y="37"/>
                    </a:lnTo>
                    <a:lnTo>
                      <a:pt x="37" y="37"/>
                    </a:lnTo>
                    <a:lnTo>
                      <a:pt x="35" y="37"/>
                    </a:lnTo>
                    <a:lnTo>
                      <a:pt x="37" y="36"/>
                    </a:lnTo>
                    <a:lnTo>
                      <a:pt x="38" y="3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6" name="Freeform 132">
                <a:extLst>
                  <a:ext uri="{FF2B5EF4-FFF2-40B4-BE49-F238E27FC236}">
                    <a16:creationId xmlns:a16="http://schemas.microsoft.com/office/drawing/2014/main" id="{9688F83C-80E4-B204-2CB5-8B3763832D98}"/>
                  </a:ext>
                </a:extLst>
              </p:cNvPr>
              <p:cNvSpPr>
                <a:spLocks/>
              </p:cNvSpPr>
              <p:nvPr/>
            </p:nvSpPr>
            <p:spPr bwMode="auto">
              <a:xfrm>
                <a:off x="8261650" y="4073387"/>
                <a:ext cx="11568" cy="4338"/>
              </a:xfrm>
              <a:custGeom>
                <a:avLst/>
                <a:gdLst>
                  <a:gd name="T0" fmla="*/ 3 w 8"/>
                  <a:gd name="T1" fmla="*/ 0 h 3"/>
                  <a:gd name="T2" fmla="*/ 2 w 8"/>
                  <a:gd name="T3" fmla="*/ 1 h 3"/>
                  <a:gd name="T4" fmla="*/ 0 w 8"/>
                  <a:gd name="T5" fmla="*/ 3 h 3"/>
                  <a:gd name="T6" fmla="*/ 3 w 8"/>
                  <a:gd name="T7" fmla="*/ 3 h 3"/>
                  <a:gd name="T8" fmla="*/ 5 w 8"/>
                  <a:gd name="T9" fmla="*/ 3 h 3"/>
                  <a:gd name="T10" fmla="*/ 6 w 8"/>
                  <a:gd name="T11" fmla="*/ 3 h 3"/>
                  <a:gd name="T12" fmla="*/ 8 w 8"/>
                  <a:gd name="T13" fmla="*/ 1 h 3"/>
                  <a:gd name="T14" fmla="*/ 6 w 8"/>
                  <a:gd name="T15" fmla="*/ 1 h 3"/>
                  <a:gd name="T16" fmla="*/ 3 w 8"/>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3">
                    <a:moveTo>
                      <a:pt x="3" y="0"/>
                    </a:moveTo>
                    <a:lnTo>
                      <a:pt x="2" y="1"/>
                    </a:lnTo>
                    <a:lnTo>
                      <a:pt x="0" y="3"/>
                    </a:lnTo>
                    <a:lnTo>
                      <a:pt x="3" y="3"/>
                    </a:lnTo>
                    <a:lnTo>
                      <a:pt x="5" y="3"/>
                    </a:lnTo>
                    <a:lnTo>
                      <a:pt x="6" y="3"/>
                    </a:lnTo>
                    <a:lnTo>
                      <a:pt x="8" y="1"/>
                    </a:lnTo>
                    <a:lnTo>
                      <a:pt x="6" y="1"/>
                    </a:lnTo>
                    <a:lnTo>
                      <a:pt x="3"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7" name="Freeform 133">
                <a:extLst>
                  <a:ext uri="{FF2B5EF4-FFF2-40B4-BE49-F238E27FC236}">
                    <a16:creationId xmlns:a16="http://schemas.microsoft.com/office/drawing/2014/main" id="{DD73B495-143B-A373-2C8D-FC79C387190A}"/>
                  </a:ext>
                </a:extLst>
              </p:cNvPr>
              <p:cNvSpPr>
                <a:spLocks noEditPoints="1"/>
              </p:cNvSpPr>
              <p:nvPr/>
            </p:nvSpPr>
            <p:spPr bwMode="auto">
              <a:xfrm>
                <a:off x="8961494" y="3912885"/>
                <a:ext cx="89650" cy="120015"/>
              </a:xfrm>
              <a:custGeom>
                <a:avLst/>
                <a:gdLst>
                  <a:gd name="T0" fmla="*/ 59 w 62"/>
                  <a:gd name="T1" fmla="*/ 4 h 83"/>
                  <a:gd name="T2" fmla="*/ 61 w 62"/>
                  <a:gd name="T3" fmla="*/ 3 h 83"/>
                  <a:gd name="T4" fmla="*/ 62 w 62"/>
                  <a:gd name="T5" fmla="*/ 0 h 83"/>
                  <a:gd name="T6" fmla="*/ 62 w 62"/>
                  <a:gd name="T7" fmla="*/ 3 h 83"/>
                  <a:gd name="T8" fmla="*/ 62 w 62"/>
                  <a:gd name="T9" fmla="*/ 4 h 83"/>
                  <a:gd name="T10" fmla="*/ 61 w 62"/>
                  <a:gd name="T11" fmla="*/ 6 h 83"/>
                  <a:gd name="T12" fmla="*/ 59 w 62"/>
                  <a:gd name="T13" fmla="*/ 6 h 83"/>
                  <a:gd name="T14" fmla="*/ 59 w 62"/>
                  <a:gd name="T15" fmla="*/ 4 h 83"/>
                  <a:gd name="T16" fmla="*/ 2 w 62"/>
                  <a:gd name="T17" fmla="*/ 83 h 83"/>
                  <a:gd name="T18" fmla="*/ 2 w 62"/>
                  <a:gd name="T19" fmla="*/ 83 h 83"/>
                  <a:gd name="T20" fmla="*/ 0 w 62"/>
                  <a:gd name="T21" fmla="*/ 83 h 83"/>
                  <a:gd name="T22" fmla="*/ 0 w 62"/>
                  <a:gd name="T23" fmla="*/ 83 h 83"/>
                  <a:gd name="T24" fmla="*/ 0 w 62"/>
                  <a:gd name="T25" fmla="*/ 83 h 83"/>
                  <a:gd name="T26" fmla="*/ 0 w 62"/>
                  <a:gd name="T27" fmla="*/ 83 h 83"/>
                  <a:gd name="T28" fmla="*/ 0 w 62"/>
                  <a:gd name="T29" fmla="*/ 83 h 83"/>
                  <a:gd name="T30" fmla="*/ 0 w 62"/>
                  <a:gd name="T31" fmla="*/ 83 h 83"/>
                  <a:gd name="T32" fmla="*/ 2 w 62"/>
                  <a:gd name="T33"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83">
                    <a:moveTo>
                      <a:pt x="59" y="4"/>
                    </a:moveTo>
                    <a:lnTo>
                      <a:pt x="61" y="3"/>
                    </a:lnTo>
                    <a:lnTo>
                      <a:pt x="62" y="0"/>
                    </a:lnTo>
                    <a:lnTo>
                      <a:pt x="62" y="3"/>
                    </a:lnTo>
                    <a:lnTo>
                      <a:pt x="62" y="4"/>
                    </a:lnTo>
                    <a:lnTo>
                      <a:pt x="61" y="6"/>
                    </a:lnTo>
                    <a:lnTo>
                      <a:pt x="59" y="6"/>
                    </a:lnTo>
                    <a:lnTo>
                      <a:pt x="59" y="4"/>
                    </a:lnTo>
                    <a:close/>
                    <a:moveTo>
                      <a:pt x="2" y="83"/>
                    </a:moveTo>
                    <a:lnTo>
                      <a:pt x="2" y="83"/>
                    </a:lnTo>
                    <a:lnTo>
                      <a:pt x="0" y="83"/>
                    </a:lnTo>
                    <a:lnTo>
                      <a:pt x="0" y="83"/>
                    </a:lnTo>
                    <a:lnTo>
                      <a:pt x="0" y="83"/>
                    </a:lnTo>
                    <a:lnTo>
                      <a:pt x="0" y="83"/>
                    </a:lnTo>
                    <a:lnTo>
                      <a:pt x="0" y="83"/>
                    </a:lnTo>
                    <a:lnTo>
                      <a:pt x="0" y="83"/>
                    </a:lnTo>
                    <a:lnTo>
                      <a:pt x="2" y="8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8" name="Freeform 134">
                <a:extLst>
                  <a:ext uri="{FF2B5EF4-FFF2-40B4-BE49-F238E27FC236}">
                    <a16:creationId xmlns:a16="http://schemas.microsoft.com/office/drawing/2014/main" id="{CCBC453B-3BF9-69AF-5CA8-B56A2E391136}"/>
                  </a:ext>
                </a:extLst>
              </p:cNvPr>
              <p:cNvSpPr>
                <a:spLocks noEditPoints="1"/>
              </p:cNvSpPr>
              <p:nvPr/>
            </p:nvSpPr>
            <p:spPr bwMode="auto">
              <a:xfrm>
                <a:off x="8225501" y="3499340"/>
                <a:ext cx="183637" cy="390409"/>
              </a:xfrm>
              <a:custGeom>
                <a:avLst/>
                <a:gdLst>
                  <a:gd name="T0" fmla="*/ 81 w 127"/>
                  <a:gd name="T1" fmla="*/ 46 h 270"/>
                  <a:gd name="T2" fmla="*/ 91 w 127"/>
                  <a:gd name="T3" fmla="*/ 43 h 270"/>
                  <a:gd name="T4" fmla="*/ 94 w 127"/>
                  <a:gd name="T5" fmla="*/ 43 h 270"/>
                  <a:gd name="T6" fmla="*/ 84 w 127"/>
                  <a:gd name="T7" fmla="*/ 49 h 270"/>
                  <a:gd name="T8" fmla="*/ 30 w 127"/>
                  <a:gd name="T9" fmla="*/ 239 h 270"/>
                  <a:gd name="T10" fmla="*/ 91 w 127"/>
                  <a:gd name="T11" fmla="*/ 40 h 270"/>
                  <a:gd name="T12" fmla="*/ 80 w 127"/>
                  <a:gd name="T13" fmla="*/ 45 h 270"/>
                  <a:gd name="T14" fmla="*/ 80 w 127"/>
                  <a:gd name="T15" fmla="*/ 50 h 270"/>
                  <a:gd name="T16" fmla="*/ 64 w 127"/>
                  <a:gd name="T17" fmla="*/ 69 h 270"/>
                  <a:gd name="T18" fmla="*/ 67 w 127"/>
                  <a:gd name="T19" fmla="*/ 93 h 270"/>
                  <a:gd name="T20" fmla="*/ 74 w 127"/>
                  <a:gd name="T21" fmla="*/ 105 h 270"/>
                  <a:gd name="T22" fmla="*/ 100 w 127"/>
                  <a:gd name="T23" fmla="*/ 132 h 270"/>
                  <a:gd name="T24" fmla="*/ 124 w 127"/>
                  <a:gd name="T25" fmla="*/ 177 h 270"/>
                  <a:gd name="T26" fmla="*/ 127 w 127"/>
                  <a:gd name="T27" fmla="*/ 198 h 270"/>
                  <a:gd name="T28" fmla="*/ 124 w 127"/>
                  <a:gd name="T29" fmla="*/ 203 h 270"/>
                  <a:gd name="T30" fmla="*/ 122 w 127"/>
                  <a:gd name="T31" fmla="*/ 217 h 270"/>
                  <a:gd name="T32" fmla="*/ 104 w 127"/>
                  <a:gd name="T33" fmla="*/ 230 h 270"/>
                  <a:gd name="T34" fmla="*/ 86 w 127"/>
                  <a:gd name="T35" fmla="*/ 237 h 270"/>
                  <a:gd name="T36" fmla="*/ 80 w 127"/>
                  <a:gd name="T37" fmla="*/ 236 h 270"/>
                  <a:gd name="T38" fmla="*/ 76 w 127"/>
                  <a:gd name="T39" fmla="*/ 240 h 270"/>
                  <a:gd name="T40" fmla="*/ 70 w 127"/>
                  <a:gd name="T41" fmla="*/ 241 h 270"/>
                  <a:gd name="T42" fmla="*/ 64 w 127"/>
                  <a:gd name="T43" fmla="*/ 246 h 270"/>
                  <a:gd name="T44" fmla="*/ 56 w 127"/>
                  <a:gd name="T45" fmla="*/ 267 h 270"/>
                  <a:gd name="T46" fmla="*/ 47 w 127"/>
                  <a:gd name="T47" fmla="*/ 253 h 270"/>
                  <a:gd name="T48" fmla="*/ 46 w 127"/>
                  <a:gd name="T49" fmla="*/ 241 h 270"/>
                  <a:gd name="T50" fmla="*/ 46 w 127"/>
                  <a:gd name="T51" fmla="*/ 236 h 270"/>
                  <a:gd name="T52" fmla="*/ 50 w 127"/>
                  <a:gd name="T53" fmla="*/ 230 h 270"/>
                  <a:gd name="T54" fmla="*/ 57 w 127"/>
                  <a:gd name="T55" fmla="*/ 229 h 270"/>
                  <a:gd name="T56" fmla="*/ 70 w 127"/>
                  <a:gd name="T57" fmla="*/ 231 h 270"/>
                  <a:gd name="T58" fmla="*/ 64 w 127"/>
                  <a:gd name="T59" fmla="*/ 220 h 270"/>
                  <a:gd name="T60" fmla="*/ 74 w 127"/>
                  <a:gd name="T61" fmla="*/ 213 h 270"/>
                  <a:gd name="T62" fmla="*/ 87 w 127"/>
                  <a:gd name="T63" fmla="*/ 206 h 270"/>
                  <a:gd name="T64" fmla="*/ 94 w 127"/>
                  <a:gd name="T65" fmla="*/ 200 h 270"/>
                  <a:gd name="T66" fmla="*/ 91 w 127"/>
                  <a:gd name="T67" fmla="*/ 170 h 270"/>
                  <a:gd name="T68" fmla="*/ 96 w 127"/>
                  <a:gd name="T69" fmla="*/ 152 h 270"/>
                  <a:gd name="T70" fmla="*/ 91 w 127"/>
                  <a:gd name="T71" fmla="*/ 137 h 270"/>
                  <a:gd name="T72" fmla="*/ 74 w 127"/>
                  <a:gd name="T73" fmla="*/ 118 h 270"/>
                  <a:gd name="T74" fmla="*/ 56 w 127"/>
                  <a:gd name="T75" fmla="*/ 96 h 270"/>
                  <a:gd name="T76" fmla="*/ 48 w 127"/>
                  <a:gd name="T77" fmla="*/ 86 h 270"/>
                  <a:gd name="T78" fmla="*/ 33 w 127"/>
                  <a:gd name="T79" fmla="*/ 70 h 270"/>
                  <a:gd name="T80" fmla="*/ 47 w 127"/>
                  <a:gd name="T81" fmla="*/ 66 h 270"/>
                  <a:gd name="T82" fmla="*/ 44 w 127"/>
                  <a:gd name="T83" fmla="*/ 57 h 270"/>
                  <a:gd name="T84" fmla="*/ 40 w 127"/>
                  <a:gd name="T85" fmla="*/ 49 h 270"/>
                  <a:gd name="T86" fmla="*/ 24 w 127"/>
                  <a:gd name="T87" fmla="*/ 49 h 270"/>
                  <a:gd name="T88" fmla="*/ 14 w 127"/>
                  <a:gd name="T89" fmla="*/ 32 h 270"/>
                  <a:gd name="T90" fmla="*/ 1 w 127"/>
                  <a:gd name="T91" fmla="*/ 22 h 270"/>
                  <a:gd name="T92" fmla="*/ 15 w 127"/>
                  <a:gd name="T93" fmla="*/ 16 h 270"/>
                  <a:gd name="T94" fmla="*/ 23 w 127"/>
                  <a:gd name="T95" fmla="*/ 14 h 270"/>
                  <a:gd name="T96" fmla="*/ 31 w 127"/>
                  <a:gd name="T97" fmla="*/ 14 h 270"/>
                  <a:gd name="T98" fmla="*/ 37 w 127"/>
                  <a:gd name="T99" fmla="*/ 11 h 270"/>
                  <a:gd name="T100" fmla="*/ 46 w 127"/>
                  <a:gd name="T101" fmla="*/ 7 h 270"/>
                  <a:gd name="T102" fmla="*/ 64 w 127"/>
                  <a:gd name="T103" fmla="*/ 7 h 270"/>
                  <a:gd name="T104" fmla="*/ 77 w 127"/>
                  <a:gd name="T105" fmla="*/ 9 h 270"/>
                  <a:gd name="T106" fmla="*/ 77 w 127"/>
                  <a:gd name="T107" fmla="*/ 19 h 270"/>
                  <a:gd name="T108" fmla="*/ 91 w 127"/>
                  <a:gd name="T109" fmla="*/ 33 h 270"/>
                  <a:gd name="T110" fmla="*/ 87 w 127"/>
                  <a:gd name="T111" fmla="*/ 23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7" h="270">
                    <a:moveTo>
                      <a:pt x="81" y="46"/>
                    </a:moveTo>
                    <a:lnTo>
                      <a:pt x="83" y="47"/>
                    </a:lnTo>
                    <a:lnTo>
                      <a:pt x="83" y="47"/>
                    </a:lnTo>
                    <a:lnTo>
                      <a:pt x="81" y="47"/>
                    </a:lnTo>
                    <a:lnTo>
                      <a:pt x="81" y="47"/>
                    </a:lnTo>
                    <a:lnTo>
                      <a:pt x="81" y="47"/>
                    </a:lnTo>
                    <a:lnTo>
                      <a:pt x="81" y="46"/>
                    </a:lnTo>
                    <a:lnTo>
                      <a:pt x="81" y="46"/>
                    </a:lnTo>
                    <a:close/>
                    <a:moveTo>
                      <a:pt x="96" y="40"/>
                    </a:moveTo>
                    <a:lnTo>
                      <a:pt x="96" y="40"/>
                    </a:lnTo>
                    <a:lnTo>
                      <a:pt x="94" y="40"/>
                    </a:lnTo>
                    <a:lnTo>
                      <a:pt x="93" y="39"/>
                    </a:lnTo>
                    <a:lnTo>
                      <a:pt x="93" y="40"/>
                    </a:lnTo>
                    <a:lnTo>
                      <a:pt x="93" y="42"/>
                    </a:lnTo>
                    <a:lnTo>
                      <a:pt x="93" y="42"/>
                    </a:lnTo>
                    <a:lnTo>
                      <a:pt x="91" y="43"/>
                    </a:lnTo>
                    <a:lnTo>
                      <a:pt x="93" y="43"/>
                    </a:lnTo>
                    <a:lnTo>
                      <a:pt x="94" y="42"/>
                    </a:lnTo>
                    <a:lnTo>
                      <a:pt x="94" y="42"/>
                    </a:lnTo>
                    <a:lnTo>
                      <a:pt x="96" y="40"/>
                    </a:lnTo>
                    <a:close/>
                    <a:moveTo>
                      <a:pt x="93" y="46"/>
                    </a:moveTo>
                    <a:lnTo>
                      <a:pt x="94" y="46"/>
                    </a:lnTo>
                    <a:lnTo>
                      <a:pt x="94" y="45"/>
                    </a:lnTo>
                    <a:lnTo>
                      <a:pt x="94" y="43"/>
                    </a:lnTo>
                    <a:lnTo>
                      <a:pt x="94" y="45"/>
                    </a:lnTo>
                    <a:lnTo>
                      <a:pt x="91" y="46"/>
                    </a:lnTo>
                    <a:lnTo>
                      <a:pt x="93" y="46"/>
                    </a:lnTo>
                    <a:close/>
                    <a:moveTo>
                      <a:pt x="84" y="49"/>
                    </a:moveTo>
                    <a:lnTo>
                      <a:pt x="86" y="49"/>
                    </a:lnTo>
                    <a:lnTo>
                      <a:pt x="86" y="47"/>
                    </a:lnTo>
                    <a:lnTo>
                      <a:pt x="84" y="47"/>
                    </a:lnTo>
                    <a:lnTo>
                      <a:pt x="84" y="49"/>
                    </a:lnTo>
                    <a:close/>
                    <a:moveTo>
                      <a:pt x="31" y="240"/>
                    </a:moveTo>
                    <a:lnTo>
                      <a:pt x="31" y="241"/>
                    </a:lnTo>
                    <a:lnTo>
                      <a:pt x="33" y="243"/>
                    </a:lnTo>
                    <a:lnTo>
                      <a:pt x="33" y="246"/>
                    </a:lnTo>
                    <a:lnTo>
                      <a:pt x="34" y="243"/>
                    </a:lnTo>
                    <a:lnTo>
                      <a:pt x="34" y="240"/>
                    </a:lnTo>
                    <a:lnTo>
                      <a:pt x="33" y="239"/>
                    </a:lnTo>
                    <a:lnTo>
                      <a:pt x="30" y="239"/>
                    </a:lnTo>
                    <a:lnTo>
                      <a:pt x="31" y="240"/>
                    </a:lnTo>
                    <a:close/>
                    <a:moveTo>
                      <a:pt x="99" y="33"/>
                    </a:moveTo>
                    <a:lnTo>
                      <a:pt x="102" y="34"/>
                    </a:lnTo>
                    <a:lnTo>
                      <a:pt x="100" y="36"/>
                    </a:lnTo>
                    <a:lnTo>
                      <a:pt x="97" y="36"/>
                    </a:lnTo>
                    <a:lnTo>
                      <a:pt x="94" y="37"/>
                    </a:lnTo>
                    <a:lnTo>
                      <a:pt x="91" y="40"/>
                    </a:lnTo>
                    <a:lnTo>
                      <a:pt x="91" y="40"/>
                    </a:lnTo>
                    <a:lnTo>
                      <a:pt x="91" y="42"/>
                    </a:lnTo>
                    <a:lnTo>
                      <a:pt x="91" y="43"/>
                    </a:lnTo>
                    <a:lnTo>
                      <a:pt x="90" y="45"/>
                    </a:lnTo>
                    <a:lnTo>
                      <a:pt x="89" y="45"/>
                    </a:lnTo>
                    <a:lnTo>
                      <a:pt x="87" y="45"/>
                    </a:lnTo>
                    <a:lnTo>
                      <a:pt x="87" y="45"/>
                    </a:lnTo>
                    <a:lnTo>
                      <a:pt x="86" y="45"/>
                    </a:lnTo>
                    <a:lnTo>
                      <a:pt x="80" y="45"/>
                    </a:lnTo>
                    <a:lnTo>
                      <a:pt x="80" y="45"/>
                    </a:lnTo>
                    <a:lnTo>
                      <a:pt x="80" y="45"/>
                    </a:lnTo>
                    <a:lnTo>
                      <a:pt x="80" y="46"/>
                    </a:lnTo>
                    <a:lnTo>
                      <a:pt x="80" y="46"/>
                    </a:lnTo>
                    <a:lnTo>
                      <a:pt x="80" y="47"/>
                    </a:lnTo>
                    <a:lnTo>
                      <a:pt x="80" y="49"/>
                    </a:lnTo>
                    <a:lnTo>
                      <a:pt x="80" y="49"/>
                    </a:lnTo>
                    <a:lnTo>
                      <a:pt x="80" y="50"/>
                    </a:lnTo>
                    <a:lnTo>
                      <a:pt x="80" y="50"/>
                    </a:lnTo>
                    <a:lnTo>
                      <a:pt x="79" y="52"/>
                    </a:lnTo>
                    <a:lnTo>
                      <a:pt x="77" y="56"/>
                    </a:lnTo>
                    <a:lnTo>
                      <a:pt x="76" y="59"/>
                    </a:lnTo>
                    <a:lnTo>
                      <a:pt x="73" y="60"/>
                    </a:lnTo>
                    <a:lnTo>
                      <a:pt x="68" y="65"/>
                    </a:lnTo>
                    <a:lnTo>
                      <a:pt x="66" y="66"/>
                    </a:lnTo>
                    <a:lnTo>
                      <a:pt x="64" y="69"/>
                    </a:lnTo>
                    <a:lnTo>
                      <a:pt x="63" y="76"/>
                    </a:lnTo>
                    <a:lnTo>
                      <a:pt x="63" y="79"/>
                    </a:lnTo>
                    <a:lnTo>
                      <a:pt x="61" y="82"/>
                    </a:lnTo>
                    <a:lnTo>
                      <a:pt x="61" y="82"/>
                    </a:lnTo>
                    <a:lnTo>
                      <a:pt x="61" y="85"/>
                    </a:lnTo>
                    <a:lnTo>
                      <a:pt x="63" y="85"/>
                    </a:lnTo>
                    <a:lnTo>
                      <a:pt x="66" y="91"/>
                    </a:lnTo>
                    <a:lnTo>
                      <a:pt x="67" y="93"/>
                    </a:lnTo>
                    <a:lnTo>
                      <a:pt x="74" y="98"/>
                    </a:lnTo>
                    <a:lnTo>
                      <a:pt x="76" y="99"/>
                    </a:lnTo>
                    <a:lnTo>
                      <a:pt x="76" y="101"/>
                    </a:lnTo>
                    <a:lnTo>
                      <a:pt x="76" y="102"/>
                    </a:lnTo>
                    <a:lnTo>
                      <a:pt x="76" y="105"/>
                    </a:lnTo>
                    <a:lnTo>
                      <a:pt x="76" y="106"/>
                    </a:lnTo>
                    <a:lnTo>
                      <a:pt x="74" y="105"/>
                    </a:lnTo>
                    <a:lnTo>
                      <a:pt x="74" y="105"/>
                    </a:lnTo>
                    <a:lnTo>
                      <a:pt x="77" y="106"/>
                    </a:lnTo>
                    <a:lnTo>
                      <a:pt x="84" y="116"/>
                    </a:lnTo>
                    <a:lnTo>
                      <a:pt x="89" y="121"/>
                    </a:lnTo>
                    <a:lnTo>
                      <a:pt x="89" y="121"/>
                    </a:lnTo>
                    <a:lnTo>
                      <a:pt x="93" y="124"/>
                    </a:lnTo>
                    <a:lnTo>
                      <a:pt x="99" y="129"/>
                    </a:lnTo>
                    <a:lnTo>
                      <a:pt x="100" y="131"/>
                    </a:lnTo>
                    <a:lnTo>
                      <a:pt x="100" y="132"/>
                    </a:lnTo>
                    <a:lnTo>
                      <a:pt x="103" y="131"/>
                    </a:lnTo>
                    <a:lnTo>
                      <a:pt x="103" y="131"/>
                    </a:lnTo>
                    <a:lnTo>
                      <a:pt x="104" y="132"/>
                    </a:lnTo>
                    <a:lnTo>
                      <a:pt x="116" y="149"/>
                    </a:lnTo>
                    <a:lnTo>
                      <a:pt x="119" y="154"/>
                    </a:lnTo>
                    <a:lnTo>
                      <a:pt x="126" y="175"/>
                    </a:lnTo>
                    <a:lnTo>
                      <a:pt x="126" y="178"/>
                    </a:lnTo>
                    <a:lnTo>
                      <a:pt x="124" y="177"/>
                    </a:lnTo>
                    <a:lnTo>
                      <a:pt x="124" y="183"/>
                    </a:lnTo>
                    <a:lnTo>
                      <a:pt x="126" y="188"/>
                    </a:lnTo>
                    <a:lnTo>
                      <a:pt x="126" y="188"/>
                    </a:lnTo>
                    <a:lnTo>
                      <a:pt x="127" y="191"/>
                    </a:lnTo>
                    <a:lnTo>
                      <a:pt x="127" y="193"/>
                    </a:lnTo>
                    <a:lnTo>
                      <a:pt x="127" y="194"/>
                    </a:lnTo>
                    <a:lnTo>
                      <a:pt x="127" y="197"/>
                    </a:lnTo>
                    <a:lnTo>
                      <a:pt x="127" y="198"/>
                    </a:lnTo>
                    <a:lnTo>
                      <a:pt x="127" y="198"/>
                    </a:lnTo>
                    <a:lnTo>
                      <a:pt x="126" y="197"/>
                    </a:lnTo>
                    <a:lnTo>
                      <a:pt x="126" y="197"/>
                    </a:lnTo>
                    <a:lnTo>
                      <a:pt x="124" y="197"/>
                    </a:lnTo>
                    <a:lnTo>
                      <a:pt x="124" y="200"/>
                    </a:lnTo>
                    <a:lnTo>
                      <a:pt x="124" y="201"/>
                    </a:lnTo>
                    <a:lnTo>
                      <a:pt x="126" y="203"/>
                    </a:lnTo>
                    <a:lnTo>
                      <a:pt x="124" y="203"/>
                    </a:lnTo>
                    <a:lnTo>
                      <a:pt x="124" y="211"/>
                    </a:lnTo>
                    <a:lnTo>
                      <a:pt x="124" y="210"/>
                    </a:lnTo>
                    <a:lnTo>
                      <a:pt x="123" y="211"/>
                    </a:lnTo>
                    <a:lnTo>
                      <a:pt x="123" y="213"/>
                    </a:lnTo>
                    <a:lnTo>
                      <a:pt x="123" y="214"/>
                    </a:lnTo>
                    <a:lnTo>
                      <a:pt x="123" y="214"/>
                    </a:lnTo>
                    <a:lnTo>
                      <a:pt x="123" y="217"/>
                    </a:lnTo>
                    <a:lnTo>
                      <a:pt x="122" y="217"/>
                    </a:lnTo>
                    <a:lnTo>
                      <a:pt x="120" y="218"/>
                    </a:lnTo>
                    <a:lnTo>
                      <a:pt x="120" y="220"/>
                    </a:lnTo>
                    <a:lnTo>
                      <a:pt x="120" y="221"/>
                    </a:lnTo>
                    <a:lnTo>
                      <a:pt x="119" y="221"/>
                    </a:lnTo>
                    <a:lnTo>
                      <a:pt x="116" y="224"/>
                    </a:lnTo>
                    <a:lnTo>
                      <a:pt x="107" y="229"/>
                    </a:lnTo>
                    <a:lnTo>
                      <a:pt x="107" y="229"/>
                    </a:lnTo>
                    <a:lnTo>
                      <a:pt x="104" y="230"/>
                    </a:lnTo>
                    <a:lnTo>
                      <a:pt x="104" y="230"/>
                    </a:lnTo>
                    <a:lnTo>
                      <a:pt x="103" y="230"/>
                    </a:lnTo>
                    <a:lnTo>
                      <a:pt x="103" y="233"/>
                    </a:lnTo>
                    <a:lnTo>
                      <a:pt x="102" y="233"/>
                    </a:lnTo>
                    <a:lnTo>
                      <a:pt x="100" y="234"/>
                    </a:lnTo>
                    <a:lnTo>
                      <a:pt x="91" y="237"/>
                    </a:lnTo>
                    <a:lnTo>
                      <a:pt x="89" y="237"/>
                    </a:lnTo>
                    <a:lnTo>
                      <a:pt x="86" y="237"/>
                    </a:lnTo>
                    <a:lnTo>
                      <a:pt x="86" y="234"/>
                    </a:lnTo>
                    <a:lnTo>
                      <a:pt x="84" y="236"/>
                    </a:lnTo>
                    <a:lnTo>
                      <a:pt x="84" y="237"/>
                    </a:lnTo>
                    <a:lnTo>
                      <a:pt x="84" y="239"/>
                    </a:lnTo>
                    <a:lnTo>
                      <a:pt x="83" y="239"/>
                    </a:lnTo>
                    <a:lnTo>
                      <a:pt x="81" y="239"/>
                    </a:lnTo>
                    <a:lnTo>
                      <a:pt x="81" y="237"/>
                    </a:lnTo>
                    <a:lnTo>
                      <a:pt x="80" y="236"/>
                    </a:lnTo>
                    <a:lnTo>
                      <a:pt x="79" y="237"/>
                    </a:lnTo>
                    <a:lnTo>
                      <a:pt x="79" y="237"/>
                    </a:lnTo>
                    <a:lnTo>
                      <a:pt x="80" y="237"/>
                    </a:lnTo>
                    <a:lnTo>
                      <a:pt x="81" y="239"/>
                    </a:lnTo>
                    <a:lnTo>
                      <a:pt x="81" y="240"/>
                    </a:lnTo>
                    <a:lnTo>
                      <a:pt x="80" y="240"/>
                    </a:lnTo>
                    <a:lnTo>
                      <a:pt x="79" y="240"/>
                    </a:lnTo>
                    <a:lnTo>
                      <a:pt x="76" y="240"/>
                    </a:lnTo>
                    <a:lnTo>
                      <a:pt x="80" y="243"/>
                    </a:lnTo>
                    <a:lnTo>
                      <a:pt x="81" y="244"/>
                    </a:lnTo>
                    <a:lnTo>
                      <a:pt x="79" y="247"/>
                    </a:lnTo>
                    <a:lnTo>
                      <a:pt x="77" y="247"/>
                    </a:lnTo>
                    <a:lnTo>
                      <a:pt x="77" y="247"/>
                    </a:lnTo>
                    <a:lnTo>
                      <a:pt x="76" y="247"/>
                    </a:lnTo>
                    <a:lnTo>
                      <a:pt x="74" y="246"/>
                    </a:lnTo>
                    <a:lnTo>
                      <a:pt x="70" y="241"/>
                    </a:lnTo>
                    <a:lnTo>
                      <a:pt x="71" y="244"/>
                    </a:lnTo>
                    <a:lnTo>
                      <a:pt x="76" y="247"/>
                    </a:lnTo>
                    <a:lnTo>
                      <a:pt x="77" y="250"/>
                    </a:lnTo>
                    <a:lnTo>
                      <a:pt x="77" y="253"/>
                    </a:lnTo>
                    <a:lnTo>
                      <a:pt x="74" y="253"/>
                    </a:lnTo>
                    <a:lnTo>
                      <a:pt x="70" y="252"/>
                    </a:lnTo>
                    <a:lnTo>
                      <a:pt x="67" y="247"/>
                    </a:lnTo>
                    <a:lnTo>
                      <a:pt x="64" y="246"/>
                    </a:lnTo>
                    <a:lnTo>
                      <a:pt x="68" y="250"/>
                    </a:lnTo>
                    <a:lnTo>
                      <a:pt x="70" y="253"/>
                    </a:lnTo>
                    <a:lnTo>
                      <a:pt x="71" y="254"/>
                    </a:lnTo>
                    <a:lnTo>
                      <a:pt x="70" y="257"/>
                    </a:lnTo>
                    <a:lnTo>
                      <a:pt x="68" y="259"/>
                    </a:lnTo>
                    <a:lnTo>
                      <a:pt x="63" y="260"/>
                    </a:lnTo>
                    <a:lnTo>
                      <a:pt x="58" y="263"/>
                    </a:lnTo>
                    <a:lnTo>
                      <a:pt x="56" y="267"/>
                    </a:lnTo>
                    <a:lnTo>
                      <a:pt x="51" y="270"/>
                    </a:lnTo>
                    <a:lnTo>
                      <a:pt x="46" y="270"/>
                    </a:lnTo>
                    <a:lnTo>
                      <a:pt x="47" y="270"/>
                    </a:lnTo>
                    <a:lnTo>
                      <a:pt x="47" y="269"/>
                    </a:lnTo>
                    <a:lnTo>
                      <a:pt x="48" y="269"/>
                    </a:lnTo>
                    <a:lnTo>
                      <a:pt x="47" y="266"/>
                    </a:lnTo>
                    <a:lnTo>
                      <a:pt x="47" y="263"/>
                    </a:lnTo>
                    <a:lnTo>
                      <a:pt x="47" y="253"/>
                    </a:lnTo>
                    <a:lnTo>
                      <a:pt x="47" y="252"/>
                    </a:lnTo>
                    <a:lnTo>
                      <a:pt x="48" y="250"/>
                    </a:lnTo>
                    <a:lnTo>
                      <a:pt x="51" y="247"/>
                    </a:lnTo>
                    <a:lnTo>
                      <a:pt x="51" y="246"/>
                    </a:lnTo>
                    <a:lnTo>
                      <a:pt x="50" y="244"/>
                    </a:lnTo>
                    <a:lnTo>
                      <a:pt x="48" y="243"/>
                    </a:lnTo>
                    <a:lnTo>
                      <a:pt x="47" y="241"/>
                    </a:lnTo>
                    <a:lnTo>
                      <a:pt x="46" y="241"/>
                    </a:lnTo>
                    <a:lnTo>
                      <a:pt x="44" y="243"/>
                    </a:lnTo>
                    <a:lnTo>
                      <a:pt x="44" y="243"/>
                    </a:lnTo>
                    <a:lnTo>
                      <a:pt x="43" y="241"/>
                    </a:lnTo>
                    <a:lnTo>
                      <a:pt x="43" y="241"/>
                    </a:lnTo>
                    <a:lnTo>
                      <a:pt x="41" y="239"/>
                    </a:lnTo>
                    <a:lnTo>
                      <a:pt x="40" y="239"/>
                    </a:lnTo>
                    <a:lnTo>
                      <a:pt x="41" y="237"/>
                    </a:lnTo>
                    <a:lnTo>
                      <a:pt x="46" y="236"/>
                    </a:lnTo>
                    <a:lnTo>
                      <a:pt x="48" y="236"/>
                    </a:lnTo>
                    <a:lnTo>
                      <a:pt x="48" y="234"/>
                    </a:lnTo>
                    <a:lnTo>
                      <a:pt x="50" y="233"/>
                    </a:lnTo>
                    <a:lnTo>
                      <a:pt x="51" y="231"/>
                    </a:lnTo>
                    <a:lnTo>
                      <a:pt x="51" y="231"/>
                    </a:lnTo>
                    <a:lnTo>
                      <a:pt x="50" y="231"/>
                    </a:lnTo>
                    <a:lnTo>
                      <a:pt x="50" y="230"/>
                    </a:lnTo>
                    <a:lnTo>
                      <a:pt x="50" y="230"/>
                    </a:lnTo>
                    <a:lnTo>
                      <a:pt x="51" y="230"/>
                    </a:lnTo>
                    <a:lnTo>
                      <a:pt x="53" y="230"/>
                    </a:lnTo>
                    <a:lnTo>
                      <a:pt x="53" y="230"/>
                    </a:lnTo>
                    <a:lnTo>
                      <a:pt x="54" y="230"/>
                    </a:lnTo>
                    <a:lnTo>
                      <a:pt x="54" y="230"/>
                    </a:lnTo>
                    <a:lnTo>
                      <a:pt x="56" y="230"/>
                    </a:lnTo>
                    <a:lnTo>
                      <a:pt x="56" y="230"/>
                    </a:lnTo>
                    <a:lnTo>
                      <a:pt x="57" y="229"/>
                    </a:lnTo>
                    <a:lnTo>
                      <a:pt x="57" y="229"/>
                    </a:lnTo>
                    <a:lnTo>
                      <a:pt x="60" y="229"/>
                    </a:lnTo>
                    <a:lnTo>
                      <a:pt x="61" y="229"/>
                    </a:lnTo>
                    <a:lnTo>
                      <a:pt x="63" y="229"/>
                    </a:lnTo>
                    <a:lnTo>
                      <a:pt x="64" y="229"/>
                    </a:lnTo>
                    <a:lnTo>
                      <a:pt x="66" y="230"/>
                    </a:lnTo>
                    <a:lnTo>
                      <a:pt x="68" y="231"/>
                    </a:lnTo>
                    <a:lnTo>
                      <a:pt x="70" y="231"/>
                    </a:lnTo>
                    <a:lnTo>
                      <a:pt x="70" y="230"/>
                    </a:lnTo>
                    <a:lnTo>
                      <a:pt x="70" y="229"/>
                    </a:lnTo>
                    <a:lnTo>
                      <a:pt x="70" y="227"/>
                    </a:lnTo>
                    <a:lnTo>
                      <a:pt x="70" y="226"/>
                    </a:lnTo>
                    <a:lnTo>
                      <a:pt x="67" y="224"/>
                    </a:lnTo>
                    <a:lnTo>
                      <a:pt x="66" y="223"/>
                    </a:lnTo>
                    <a:lnTo>
                      <a:pt x="66" y="221"/>
                    </a:lnTo>
                    <a:lnTo>
                      <a:pt x="64" y="220"/>
                    </a:lnTo>
                    <a:lnTo>
                      <a:pt x="64" y="218"/>
                    </a:lnTo>
                    <a:lnTo>
                      <a:pt x="66" y="216"/>
                    </a:lnTo>
                    <a:lnTo>
                      <a:pt x="67" y="216"/>
                    </a:lnTo>
                    <a:lnTo>
                      <a:pt x="68" y="214"/>
                    </a:lnTo>
                    <a:lnTo>
                      <a:pt x="70" y="216"/>
                    </a:lnTo>
                    <a:lnTo>
                      <a:pt x="73" y="216"/>
                    </a:lnTo>
                    <a:lnTo>
                      <a:pt x="74" y="214"/>
                    </a:lnTo>
                    <a:lnTo>
                      <a:pt x="74" y="213"/>
                    </a:lnTo>
                    <a:lnTo>
                      <a:pt x="76" y="211"/>
                    </a:lnTo>
                    <a:lnTo>
                      <a:pt x="76" y="210"/>
                    </a:lnTo>
                    <a:lnTo>
                      <a:pt x="77" y="210"/>
                    </a:lnTo>
                    <a:lnTo>
                      <a:pt x="80" y="210"/>
                    </a:lnTo>
                    <a:lnTo>
                      <a:pt x="81" y="208"/>
                    </a:lnTo>
                    <a:lnTo>
                      <a:pt x="83" y="208"/>
                    </a:lnTo>
                    <a:lnTo>
                      <a:pt x="86" y="207"/>
                    </a:lnTo>
                    <a:lnTo>
                      <a:pt x="87" y="206"/>
                    </a:lnTo>
                    <a:lnTo>
                      <a:pt x="87" y="206"/>
                    </a:lnTo>
                    <a:lnTo>
                      <a:pt x="89" y="204"/>
                    </a:lnTo>
                    <a:lnTo>
                      <a:pt x="90" y="204"/>
                    </a:lnTo>
                    <a:lnTo>
                      <a:pt x="90" y="204"/>
                    </a:lnTo>
                    <a:lnTo>
                      <a:pt x="91" y="206"/>
                    </a:lnTo>
                    <a:lnTo>
                      <a:pt x="93" y="204"/>
                    </a:lnTo>
                    <a:lnTo>
                      <a:pt x="94" y="203"/>
                    </a:lnTo>
                    <a:lnTo>
                      <a:pt x="94" y="200"/>
                    </a:lnTo>
                    <a:lnTo>
                      <a:pt x="94" y="194"/>
                    </a:lnTo>
                    <a:lnTo>
                      <a:pt x="94" y="191"/>
                    </a:lnTo>
                    <a:lnTo>
                      <a:pt x="96" y="185"/>
                    </a:lnTo>
                    <a:lnTo>
                      <a:pt x="96" y="183"/>
                    </a:lnTo>
                    <a:lnTo>
                      <a:pt x="94" y="180"/>
                    </a:lnTo>
                    <a:lnTo>
                      <a:pt x="91" y="175"/>
                    </a:lnTo>
                    <a:lnTo>
                      <a:pt x="91" y="172"/>
                    </a:lnTo>
                    <a:lnTo>
                      <a:pt x="91" y="170"/>
                    </a:lnTo>
                    <a:lnTo>
                      <a:pt x="94" y="164"/>
                    </a:lnTo>
                    <a:lnTo>
                      <a:pt x="94" y="161"/>
                    </a:lnTo>
                    <a:lnTo>
                      <a:pt x="94" y="160"/>
                    </a:lnTo>
                    <a:lnTo>
                      <a:pt x="93" y="157"/>
                    </a:lnTo>
                    <a:lnTo>
                      <a:pt x="93" y="155"/>
                    </a:lnTo>
                    <a:lnTo>
                      <a:pt x="94" y="155"/>
                    </a:lnTo>
                    <a:lnTo>
                      <a:pt x="94" y="154"/>
                    </a:lnTo>
                    <a:lnTo>
                      <a:pt x="96" y="152"/>
                    </a:lnTo>
                    <a:lnTo>
                      <a:pt x="96" y="151"/>
                    </a:lnTo>
                    <a:lnTo>
                      <a:pt x="96" y="148"/>
                    </a:lnTo>
                    <a:lnTo>
                      <a:pt x="90" y="145"/>
                    </a:lnTo>
                    <a:lnTo>
                      <a:pt x="89" y="142"/>
                    </a:lnTo>
                    <a:lnTo>
                      <a:pt x="89" y="139"/>
                    </a:lnTo>
                    <a:lnTo>
                      <a:pt x="90" y="139"/>
                    </a:lnTo>
                    <a:lnTo>
                      <a:pt x="91" y="138"/>
                    </a:lnTo>
                    <a:lnTo>
                      <a:pt x="91" y="137"/>
                    </a:lnTo>
                    <a:lnTo>
                      <a:pt x="89" y="134"/>
                    </a:lnTo>
                    <a:lnTo>
                      <a:pt x="84" y="131"/>
                    </a:lnTo>
                    <a:lnTo>
                      <a:pt x="81" y="128"/>
                    </a:lnTo>
                    <a:lnTo>
                      <a:pt x="80" y="129"/>
                    </a:lnTo>
                    <a:lnTo>
                      <a:pt x="79" y="128"/>
                    </a:lnTo>
                    <a:lnTo>
                      <a:pt x="77" y="122"/>
                    </a:lnTo>
                    <a:lnTo>
                      <a:pt x="76" y="119"/>
                    </a:lnTo>
                    <a:lnTo>
                      <a:pt x="74" y="118"/>
                    </a:lnTo>
                    <a:lnTo>
                      <a:pt x="73" y="115"/>
                    </a:lnTo>
                    <a:lnTo>
                      <a:pt x="64" y="108"/>
                    </a:lnTo>
                    <a:lnTo>
                      <a:pt x="63" y="106"/>
                    </a:lnTo>
                    <a:lnTo>
                      <a:pt x="61" y="103"/>
                    </a:lnTo>
                    <a:lnTo>
                      <a:pt x="60" y="101"/>
                    </a:lnTo>
                    <a:lnTo>
                      <a:pt x="58" y="99"/>
                    </a:lnTo>
                    <a:lnTo>
                      <a:pt x="57" y="98"/>
                    </a:lnTo>
                    <a:lnTo>
                      <a:pt x="56" y="96"/>
                    </a:lnTo>
                    <a:lnTo>
                      <a:pt x="54" y="96"/>
                    </a:lnTo>
                    <a:lnTo>
                      <a:pt x="54" y="95"/>
                    </a:lnTo>
                    <a:lnTo>
                      <a:pt x="53" y="93"/>
                    </a:lnTo>
                    <a:lnTo>
                      <a:pt x="51" y="92"/>
                    </a:lnTo>
                    <a:lnTo>
                      <a:pt x="51" y="91"/>
                    </a:lnTo>
                    <a:lnTo>
                      <a:pt x="51" y="89"/>
                    </a:lnTo>
                    <a:lnTo>
                      <a:pt x="50" y="88"/>
                    </a:lnTo>
                    <a:lnTo>
                      <a:pt x="48" y="86"/>
                    </a:lnTo>
                    <a:lnTo>
                      <a:pt x="44" y="85"/>
                    </a:lnTo>
                    <a:lnTo>
                      <a:pt x="43" y="83"/>
                    </a:lnTo>
                    <a:lnTo>
                      <a:pt x="35" y="79"/>
                    </a:lnTo>
                    <a:lnTo>
                      <a:pt x="33" y="78"/>
                    </a:lnTo>
                    <a:lnTo>
                      <a:pt x="31" y="76"/>
                    </a:lnTo>
                    <a:lnTo>
                      <a:pt x="34" y="72"/>
                    </a:lnTo>
                    <a:lnTo>
                      <a:pt x="34" y="70"/>
                    </a:lnTo>
                    <a:lnTo>
                      <a:pt x="33" y="70"/>
                    </a:lnTo>
                    <a:lnTo>
                      <a:pt x="33" y="70"/>
                    </a:lnTo>
                    <a:lnTo>
                      <a:pt x="34" y="69"/>
                    </a:lnTo>
                    <a:lnTo>
                      <a:pt x="35" y="69"/>
                    </a:lnTo>
                    <a:lnTo>
                      <a:pt x="38" y="69"/>
                    </a:lnTo>
                    <a:lnTo>
                      <a:pt x="40" y="70"/>
                    </a:lnTo>
                    <a:lnTo>
                      <a:pt x="41" y="70"/>
                    </a:lnTo>
                    <a:lnTo>
                      <a:pt x="44" y="69"/>
                    </a:lnTo>
                    <a:lnTo>
                      <a:pt x="47" y="66"/>
                    </a:lnTo>
                    <a:lnTo>
                      <a:pt x="48" y="63"/>
                    </a:lnTo>
                    <a:lnTo>
                      <a:pt x="48" y="60"/>
                    </a:lnTo>
                    <a:lnTo>
                      <a:pt x="47" y="60"/>
                    </a:lnTo>
                    <a:lnTo>
                      <a:pt x="47" y="59"/>
                    </a:lnTo>
                    <a:lnTo>
                      <a:pt x="46" y="59"/>
                    </a:lnTo>
                    <a:lnTo>
                      <a:pt x="46" y="59"/>
                    </a:lnTo>
                    <a:lnTo>
                      <a:pt x="44" y="57"/>
                    </a:lnTo>
                    <a:lnTo>
                      <a:pt x="44" y="57"/>
                    </a:lnTo>
                    <a:lnTo>
                      <a:pt x="41" y="56"/>
                    </a:lnTo>
                    <a:lnTo>
                      <a:pt x="40" y="56"/>
                    </a:lnTo>
                    <a:lnTo>
                      <a:pt x="38" y="55"/>
                    </a:lnTo>
                    <a:lnTo>
                      <a:pt x="41" y="53"/>
                    </a:lnTo>
                    <a:lnTo>
                      <a:pt x="43" y="53"/>
                    </a:lnTo>
                    <a:lnTo>
                      <a:pt x="43" y="52"/>
                    </a:lnTo>
                    <a:lnTo>
                      <a:pt x="41" y="50"/>
                    </a:lnTo>
                    <a:lnTo>
                      <a:pt x="40" y="49"/>
                    </a:lnTo>
                    <a:lnTo>
                      <a:pt x="37" y="47"/>
                    </a:lnTo>
                    <a:lnTo>
                      <a:pt x="35" y="46"/>
                    </a:lnTo>
                    <a:lnTo>
                      <a:pt x="34" y="46"/>
                    </a:lnTo>
                    <a:lnTo>
                      <a:pt x="33" y="46"/>
                    </a:lnTo>
                    <a:lnTo>
                      <a:pt x="30" y="47"/>
                    </a:lnTo>
                    <a:lnTo>
                      <a:pt x="27" y="49"/>
                    </a:lnTo>
                    <a:lnTo>
                      <a:pt x="25" y="49"/>
                    </a:lnTo>
                    <a:lnTo>
                      <a:pt x="24" y="49"/>
                    </a:lnTo>
                    <a:lnTo>
                      <a:pt x="20" y="47"/>
                    </a:lnTo>
                    <a:lnTo>
                      <a:pt x="17" y="46"/>
                    </a:lnTo>
                    <a:lnTo>
                      <a:pt x="14" y="43"/>
                    </a:lnTo>
                    <a:lnTo>
                      <a:pt x="12" y="39"/>
                    </a:lnTo>
                    <a:lnTo>
                      <a:pt x="12" y="37"/>
                    </a:lnTo>
                    <a:lnTo>
                      <a:pt x="14" y="34"/>
                    </a:lnTo>
                    <a:lnTo>
                      <a:pt x="14" y="33"/>
                    </a:lnTo>
                    <a:lnTo>
                      <a:pt x="14" y="32"/>
                    </a:lnTo>
                    <a:lnTo>
                      <a:pt x="12" y="30"/>
                    </a:lnTo>
                    <a:lnTo>
                      <a:pt x="12" y="30"/>
                    </a:lnTo>
                    <a:lnTo>
                      <a:pt x="11" y="29"/>
                    </a:lnTo>
                    <a:lnTo>
                      <a:pt x="11" y="32"/>
                    </a:lnTo>
                    <a:lnTo>
                      <a:pt x="10" y="32"/>
                    </a:lnTo>
                    <a:lnTo>
                      <a:pt x="8" y="29"/>
                    </a:lnTo>
                    <a:lnTo>
                      <a:pt x="5" y="26"/>
                    </a:lnTo>
                    <a:lnTo>
                      <a:pt x="1" y="22"/>
                    </a:lnTo>
                    <a:lnTo>
                      <a:pt x="0" y="19"/>
                    </a:lnTo>
                    <a:lnTo>
                      <a:pt x="2" y="16"/>
                    </a:lnTo>
                    <a:lnTo>
                      <a:pt x="4" y="13"/>
                    </a:lnTo>
                    <a:lnTo>
                      <a:pt x="5" y="11"/>
                    </a:lnTo>
                    <a:lnTo>
                      <a:pt x="10" y="13"/>
                    </a:lnTo>
                    <a:lnTo>
                      <a:pt x="12" y="16"/>
                    </a:lnTo>
                    <a:lnTo>
                      <a:pt x="14" y="17"/>
                    </a:lnTo>
                    <a:lnTo>
                      <a:pt x="15" y="16"/>
                    </a:lnTo>
                    <a:lnTo>
                      <a:pt x="17" y="16"/>
                    </a:lnTo>
                    <a:lnTo>
                      <a:pt x="18" y="14"/>
                    </a:lnTo>
                    <a:lnTo>
                      <a:pt x="20" y="11"/>
                    </a:lnTo>
                    <a:lnTo>
                      <a:pt x="20" y="11"/>
                    </a:lnTo>
                    <a:lnTo>
                      <a:pt x="20" y="11"/>
                    </a:lnTo>
                    <a:lnTo>
                      <a:pt x="21" y="11"/>
                    </a:lnTo>
                    <a:lnTo>
                      <a:pt x="21" y="11"/>
                    </a:lnTo>
                    <a:lnTo>
                      <a:pt x="23" y="14"/>
                    </a:lnTo>
                    <a:lnTo>
                      <a:pt x="23" y="14"/>
                    </a:lnTo>
                    <a:lnTo>
                      <a:pt x="24" y="14"/>
                    </a:lnTo>
                    <a:lnTo>
                      <a:pt x="25" y="11"/>
                    </a:lnTo>
                    <a:lnTo>
                      <a:pt x="25" y="11"/>
                    </a:lnTo>
                    <a:lnTo>
                      <a:pt x="27" y="11"/>
                    </a:lnTo>
                    <a:lnTo>
                      <a:pt x="28" y="13"/>
                    </a:lnTo>
                    <a:lnTo>
                      <a:pt x="30" y="14"/>
                    </a:lnTo>
                    <a:lnTo>
                      <a:pt x="31" y="14"/>
                    </a:lnTo>
                    <a:lnTo>
                      <a:pt x="33" y="14"/>
                    </a:lnTo>
                    <a:lnTo>
                      <a:pt x="33" y="13"/>
                    </a:lnTo>
                    <a:lnTo>
                      <a:pt x="34" y="11"/>
                    </a:lnTo>
                    <a:lnTo>
                      <a:pt x="35" y="10"/>
                    </a:lnTo>
                    <a:lnTo>
                      <a:pt x="35" y="10"/>
                    </a:lnTo>
                    <a:lnTo>
                      <a:pt x="37" y="11"/>
                    </a:lnTo>
                    <a:lnTo>
                      <a:pt x="37" y="11"/>
                    </a:lnTo>
                    <a:lnTo>
                      <a:pt x="37" y="11"/>
                    </a:lnTo>
                    <a:lnTo>
                      <a:pt x="38" y="11"/>
                    </a:lnTo>
                    <a:lnTo>
                      <a:pt x="40" y="11"/>
                    </a:lnTo>
                    <a:lnTo>
                      <a:pt x="40" y="11"/>
                    </a:lnTo>
                    <a:lnTo>
                      <a:pt x="41" y="10"/>
                    </a:lnTo>
                    <a:lnTo>
                      <a:pt x="43" y="10"/>
                    </a:lnTo>
                    <a:lnTo>
                      <a:pt x="44" y="10"/>
                    </a:lnTo>
                    <a:lnTo>
                      <a:pt x="46" y="9"/>
                    </a:lnTo>
                    <a:lnTo>
                      <a:pt x="46" y="7"/>
                    </a:lnTo>
                    <a:lnTo>
                      <a:pt x="47" y="4"/>
                    </a:lnTo>
                    <a:lnTo>
                      <a:pt x="48" y="4"/>
                    </a:lnTo>
                    <a:lnTo>
                      <a:pt x="48" y="3"/>
                    </a:lnTo>
                    <a:lnTo>
                      <a:pt x="53" y="1"/>
                    </a:lnTo>
                    <a:lnTo>
                      <a:pt x="54" y="0"/>
                    </a:lnTo>
                    <a:lnTo>
                      <a:pt x="57" y="1"/>
                    </a:lnTo>
                    <a:lnTo>
                      <a:pt x="61" y="6"/>
                    </a:lnTo>
                    <a:lnTo>
                      <a:pt x="64" y="7"/>
                    </a:lnTo>
                    <a:lnTo>
                      <a:pt x="66" y="7"/>
                    </a:lnTo>
                    <a:lnTo>
                      <a:pt x="68" y="7"/>
                    </a:lnTo>
                    <a:lnTo>
                      <a:pt x="70" y="7"/>
                    </a:lnTo>
                    <a:lnTo>
                      <a:pt x="70" y="7"/>
                    </a:lnTo>
                    <a:lnTo>
                      <a:pt x="71" y="9"/>
                    </a:lnTo>
                    <a:lnTo>
                      <a:pt x="73" y="9"/>
                    </a:lnTo>
                    <a:lnTo>
                      <a:pt x="76" y="9"/>
                    </a:lnTo>
                    <a:lnTo>
                      <a:pt x="77" y="9"/>
                    </a:lnTo>
                    <a:lnTo>
                      <a:pt x="80" y="9"/>
                    </a:lnTo>
                    <a:lnTo>
                      <a:pt x="81" y="10"/>
                    </a:lnTo>
                    <a:lnTo>
                      <a:pt x="81" y="11"/>
                    </a:lnTo>
                    <a:lnTo>
                      <a:pt x="80" y="13"/>
                    </a:lnTo>
                    <a:lnTo>
                      <a:pt x="79" y="14"/>
                    </a:lnTo>
                    <a:lnTo>
                      <a:pt x="77" y="14"/>
                    </a:lnTo>
                    <a:lnTo>
                      <a:pt x="77" y="17"/>
                    </a:lnTo>
                    <a:lnTo>
                      <a:pt x="77" y="19"/>
                    </a:lnTo>
                    <a:lnTo>
                      <a:pt x="79" y="19"/>
                    </a:lnTo>
                    <a:lnTo>
                      <a:pt x="79" y="20"/>
                    </a:lnTo>
                    <a:lnTo>
                      <a:pt x="79" y="22"/>
                    </a:lnTo>
                    <a:lnTo>
                      <a:pt x="79" y="26"/>
                    </a:lnTo>
                    <a:lnTo>
                      <a:pt x="81" y="26"/>
                    </a:lnTo>
                    <a:lnTo>
                      <a:pt x="84" y="27"/>
                    </a:lnTo>
                    <a:lnTo>
                      <a:pt x="89" y="32"/>
                    </a:lnTo>
                    <a:lnTo>
                      <a:pt x="91" y="33"/>
                    </a:lnTo>
                    <a:lnTo>
                      <a:pt x="99" y="33"/>
                    </a:lnTo>
                    <a:close/>
                    <a:moveTo>
                      <a:pt x="79" y="269"/>
                    </a:moveTo>
                    <a:lnTo>
                      <a:pt x="79" y="267"/>
                    </a:lnTo>
                    <a:lnTo>
                      <a:pt x="77" y="269"/>
                    </a:lnTo>
                    <a:lnTo>
                      <a:pt x="79" y="269"/>
                    </a:lnTo>
                    <a:lnTo>
                      <a:pt x="79" y="269"/>
                    </a:lnTo>
                    <a:lnTo>
                      <a:pt x="79" y="269"/>
                    </a:lnTo>
                    <a:close/>
                    <a:moveTo>
                      <a:pt x="87" y="239"/>
                    </a:moveTo>
                    <a:lnTo>
                      <a:pt x="89" y="237"/>
                    </a:lnTo>
                    <a:lnTo>
                      <a:pt x="86" y="239"/>
                    </a:lnTo>
                    <a:lnTo>
                      <a:pt x="87" y="239"/>
                    </a:lnTo>
                    <a:lnTo>
                      <a:pt x="87" y="239"/>
                    </a:lnTo>
                    <a:lnTo>
                      <a:pt x="87" y="23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9" name="Freeform 135">
                <a:extLst>
                  <a:ext uri="{FF2B5EF4-FFF2-40B4-BE49-F238E27FC236}">
                    <a16:creationId xmlns:a16="http://schemas.microsoft.com/office/drawing/2014/main" id="{C392BAC6-2B01-C457-9246-1CC238E83F3D}"/>
                  </a:ext>
                </a:extLst>
              </p:cNvPr>
              <p:cNvSpPr>
                <a:spLocks noEditPoints="1"/>
              </p:cNvSpPr>
              <p:nvPr/>
            </p:nvSpPr>
            <p:spPr bwMode="auto">
              <a:xfrm>
                <a:off x="6950164" y="3416921"/>
                <a:ext cx="199543" cy="263165"/>
              </a:xfrm>
              <a:custGeom>
                <a:avLst/>
                <a:gdLst>
                  <a:gd name="T0" fmla="*/ 72 w 138"/>
                  <a:gd name="T1" fmla="*/ 4 h 182"/>
                  <a:gd name="T2" fmla="*/ 74 w 138"/>
                  <a:gd name="T3" fmla="*/ 1 h 182"/>
                  <a:gd name="T4" fmla="*/ 77 w 138"/>
                  <a:gd name="T5" fmla="*/ 0 h 182"/>
                  <a:gd name="T6" fmla="*/ 77 w 138"/>
                  <a:gd name="T7" fmla="*/ 5 h 182"/>
                  <a:gd name="T8" fmla="*/ 73 w 138"/>
                  <a:gd name="T9" fmla="*/ 12 h 182"/>
                  <a:gd name="T10" fmla="*/ 73 w 138"/>
                  <a:gd name="T11" fmla="*/ 5 h 182"/>
                  <a:gd name="T12" fmla="*/ 74 w 138"/>
                  <a:gd name="T13" fmla="*/ 20 h 182"/>
                  <a:gd name="T14" fmla="*/ 74 w 138"/>
                  <a:gd name="T15" fmla="*/ 21 h 182"/>
                  <a:gd name="T16" fmla="*/ 76 w 138"/>
                  <a:gd name="T17" fmla="*/ 27 h 182"/>
                  <a:gd name="T18" fmla="*/ 80 w 138"/>
                  <a:gd name="T19" fmla="*/ 33 h 182"/>
                  <a:gd name="T20" fmla="*/ 90 w 138"/>
                  <a:gd name="T21" fmla="*/ 44 h 182"/>
                  <a:gd name="T22" fmla="*/ 112 w 138"/>
                  <a:gd name="T23" fmla="*/ 51 h 182"/>
                  <a:gd name="T24" fmla="*/ 122 w 138"/>
                  <a:gd name="T25" fmla="*/ 57 h 182"/>
                  <a:gd name="T26" fmla="*/ 129 w 138"/>
                  <a:gd name="T27" fmla="*/ 68 h 182"/>
                  <a:gd name="T28" fmla="*/ 135 w 138"/>
                  <a:gd name="T29" fmla="*/ 71 h 182"/>
                  <a:gd name="T30" fmla="*/ 138 w 138"/>
                  <a:gd name="T31" fmla="*/ 76 h 182"/>
                  <a:gd name="T32" fmla="*/ 135 w 138"/>
                  <a:gd name="T33" fmla="*/ 81 h 182"/>
                  <a:gd name="T34" fmla="*/ 122 w 138"/>
                  <a:gd name="T35" fmla="*/ 99 h 182"/>
                  <a:gd name="T36" fmla="*/ 118 w 138"/>
                  <a:gd name="T37" fmla="*/ 107 h 182"/>
                  <a:gd name="T38" fmla="*/ 113 w 138"/>
                  <a:gd name="T39" fmla="*/ 112 h 182"/>
                  <a:gd name="T40" fmla="*/ 109 w 138"/>
                  <a:gd name="T41" fmla="*/ 112 h 182"/>
                  <a:gd name="T42" fmla="*/ 105 w 138"/>
                  <a:gd name="T43" fmla="*/ 112 h 182"/>
                  <a:gd name="T44" fmla="*/ 100 w 138"/>
                  <a:gd name="T45" fmla="*/ 127 h 182"/>
                  <a:gd name="T46" fmla="*/ 100 w 138"/>
                  <a:gd name="T47" fmla="*/ 139 h 182"/>
                  <a:gd name="T48" fmla="*/ 92 w 138"/>
                  <a:gd name="T49" fmla="*/ 140 h 182"/>
                  <a:gd name="T50" fmla="*/ 84 w 138"/>
                  <a:gd name="T51" fmla="*/ 143 h 182"/>
                  <a:gd name="T52" fmla="*/ 80 w 138"/>
                  <a:gd name="T53" fmla="*/ 150 h 182"/>
                  <a:gd name="T54" fmla="*/ 79 w 138"/>
                  <a:gd name="T55" fmla="*/ 156 h 182"/>
                  <a:gd name="T56" fmla="*/ 72 w 138"/>
                  <a:gd name="T57" fmla="*/ 159 h 182"/>
                  <a:gd name="T58" fmla="*/ 62 w 138"/>
                  <a:gd name="T59" fmla="*/ 160 h 182"/>
                  <a:gd name="T60" fmla="*/ 57 w 138"/>
                  <a:gd name="T61" fmla="*/ 165 h 182"/>
                  <a:gd name="T62" fmla="*/ 56 w 138"/>
                  <a:gd name="T63" fmla="*/ 173 h 182"/>
                  <a:gd name="T64" fmla="*/ 49 w 138"/>
                  <a:gd name="T65" fmla="*/ 176 h 182"/>
                  <a:gd name="T66" fmla="*/ 39 w 138"/>
                  <a:gd name="T67" fmla="*/ 176 h 182"/>
                  <a:gd name="T68" fmla="*/ 30 w 138"/>
                  <a:gd name="T69" fmla="*/ 179 h 182"/>
                  <a:gd name="T70" fmla="*/ 18 w 138"/>
                  <a:gd name="T71" fmla="*/ 182 h 182"/>
                  <a:gd name="T72" fmla="*/ 50 w 138"/>
                  <a:gd name="T73" fmla="*/ 122 h 182"/>
                  <a:gd name="T74" fmla="*/ 54 w 138"/>
                  <a:gd name="T75" fmla="*/ 117 h 182"/>
                  <a:gd name="T76" fmla="*/ 63 w 138"/>
                  <a:gd name="T77" fmla="*/ 84 h 182"/>
                  <a:gd name="T78" fmla="*/ 62 w 138"/>
                  <a:gd name="T79" fmla="*/ 77 h 182"/>
                  <a:gd name="T80" fmla="*/ 56 w 138"/>
                  <a:gd name="T81" fmla="*/ 66 h 182"/>
                  <a:gd name="T82" fmla="*/ 57 w 138"/>
                  <a:gd name="T83" fmla="*/ 58 h 182"/>
                  <a:gd name="T84" fmla="*/ 62 w 138"/>
                  <a:gd name="T85" fmla="*/ 50 h 182"/>
                  <a:gd name="T86" fmla="*/ 62 w 138"/>
                  <a:gd name="T87" fmla="*/ 45 h 182"/>
                  <a:gd name="T88" fmla="*/ 67 w 138"/>
                  <a:gd name="T89" fmla="*/ 44 h 182"/>
                  <a:gd name="T90" fmla="*/ 70 w 138"/>
                  <a:gd name="T91" fmla="*/ 43 h 182"/>
                  <a:gd name="T92" fmla="*/ 69 w 138"/>
                  <a:gd name="T93" fmla="*/ 41 h 182"/>
                  <a:gd name="T94" fmla="*/ 67 w 138"/>
                  <a:gd name="T95" fmla="*/ 40 h 182"/>
                  <a:gd name="T96" fmla="*/ 66 w 138"/>
                  <a:gd name="T97" fmla="*/ 37 h 182"/>
                  <a:gd name="T98" fmla="*/ 67 w 138"/>
                  <a:gd name="T99" fmla="*/ 27 h 182"/>
                  <a:gd name="T100" fmla="*/ 69 w 138"/>
                  <a:gd name="T101" fmla="*/ 25 h 182"/>
                  <a:gd name="T102" fmla="*/ 70 w 138"/>
                  <a:gd name="T103" fmla="*/ 27 h 182"/>
                  <a:gd name="T104" fmla="*/ 70 w 138"/>
                  <a:gd name="T105" fmla="*/ 28 h 182"/>
                  <a:gd name="T106" fmla="*/ 72 w 138"/>
                  <a:gd name="T107" fmla="*/ 30 h 182"/>
                  <a:gd name="T108" fmla="*/ 74 w 138"/>
                  <a:gd name="T109" fmla="*/ 28 h 182"/>
                  <a:gd name="T110" fmla="*/ 119 w 138"/>
                  <a:gd name="T111" fmla="*/ 110 h 182"/>
                  <a:gd name="T112" fmla="*/ 118 w 138"/>
                  <a:gd name="T113" fmla="*/ 114 h 182"/>
                  <a:gd name="T114" fmla="*/ 119 w 138"/>
                  <a:gd name="T115" fmla="*/ 114 h 182"/>
                  <a:gd name="T116" fmla="*/ 122 w 138"/>
                  <a:gd name="T117" fmla="*/ 110 h 182"/>
                  <a:gd name="T118" fmla="*/ 119 w 138"/>
                  <a:gd name="T119" fmla="*/ 11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8" h="182">
                    <a:moveTo>
                      <a:pt x="73" y="5"/>
                    </a:moveTo>
                    <a:lnTo>
                      <a:pt x="72" y="4"/>
                    </a:lnTo>
                    <a:lnTo>
                      <a:pt x="73" y="2"/>
                    </a:lnTo>
                    <a:lnTo>
                      <a:pt x="74" y="1"/>
                    </a:lnTo>
                    <a:lnTo>
                      <a:pt x="76" y="0"/>
                    </a:lnTo>
                    <a:lnTo>
                      <a:pt x="77" y="0"/>
                    </a:lnTo>
                    <a:lnTo>
                      <a:pt x="79" y="2"/>
                    </a:lnTo>
                    <a:lnTo>
                      <a:pt x="77" y="5"/>
                    </a:lnTo>
                    <a:lnTo>
                      <a:pt x="76" y="12"/>
                    </a:lnTo>
                    <a:lnTo>
                      <a:pt x="73" y="12"/>
                    </a:lnTo>
                    <a:lnTo>
                      <a:pt x="73" y="10"/>
                    </a:lnTo>
                    <a:lnTo>
                      <a:pt x="73" y="5"/>
                    </a:lnTo>
                    <a:close/>
                    <a:moveTo>
                      <a:pt x="74" y="20"/>
                    </a:moveTo>
                    <a:lnTo>
                      <a:pt x="74" y="20"/>
                    </a:lnTo>
                    <a:lnTo>
                      <a:pt x="74" y="21"/>
                    </a:lnTo>
                    <a:lnTo>
                      <a:pt x="74" y="21"/>
                    </a:lnTo>
                    <a:lnTo>
                      <a:pt x="74" y="20"/>
                    </a:lnTo>
                    <a:close/>
                    <a:moveTo>
                      <a:pt x="76" y="27"/>
                    </a:moveTo>
                    <a:lnTo>
                      <a:pt x="77" y="25"/>
                    </a:lnTo>
                    <a:lnTo>
                      <a:pt x="80" y="33"/>
                    </a:lnTo>
                    <a:lnTo>
                      <a:pt x="84" y="40"/>
                    </a:lnTo>
                    <a:lnTo>
                      <a:pt x="90" y="44"/>
                    </a:lnTo>
                    <a:lnTo>
                      <a:pt x="99" y="48"/>
                    </a:lnTo>
                    <a:lnTo>
                      <a:pt x="112" y="51"/>
                    </a:lnTo>
                    <a:lnTo>
                      <a:pt x="118" y="53"/>
                    </a:lnTo>
                    <a:lnTo>
                      <a:pt x="122" y="57"/>
                    </a:lnTo>
                    <a:lnTo>
                      <a:pt x="125" y="63"/>
                    </a:lnTo>
                    <a:lnTo>
                      <a:pt x="129" y="68"/>
                    </a:lnTo>
                    <a:lnTo>
                      <a:pt x="132" y="71"/>
                    </a:lnTo>
                    <a:lnTo>
                      <a:pt x="135" y="71"/>
                    </a:lnTo>
                    <a:lnTo>
                      <a:pt x="136" y="73"/>
                    </a:lnTo>
                    <a:lnTo>
                      <a:pt x="138" y="76"/>
                    </a:lnTo>
                    <a:lnTo>
                      <a:pt x="136" y="79"/>
                    </a:lnTo>
                    <a:lnTo>
                      <a:pt x="135" y="81"/>
                    </a:lnTo>
                    <a:lnTo>
                      <a:pt x="129" y="90"/>
                    </a:lnTo>
                    <a:lnTo>
                      <a:pt x="122" y="99"/>
                    </a:lnTo>
                    <a:lnTo>
                      <a:pt x="120" y="102"/>
                    </a:lnTo>
                    <a:lnTo>
                      <a:pt x="118" y="107"/>
                    </a:lnTo>
                    <a:lnTo>
                      <a:pt x="115" y="110"/>
                    </a:lnTo>
                    <a:lnTo>
                      <a:pt x="113" y="112"/>
                    </a:lnTo>
                    <a:lnTo>
                      <a:pt x="110" y="113"/>
                    </a:lnTo>
                    <a:lnTo>
                      <a:pt x="109" y="112"/>
                    </a:lnTo>
                    <a:lnTo>
                      <a:pt x="110" y="109"/>
                    </a:lnTo>
                    <a:lnTo>
                      <a:pt x="105" y="112"/>
                    </a:lnTo>
                    <a:lnTo>
                      <a:pt x="102" y="119"/>
                    </a:lnTo>
                    <a:lnTo>
                      <a:pt x="100" y="127"/>
                    </a:lnTo>
                    <a:lnTo>
                      <a:pt x="102" y="137"/>
                    </a:lnTo>
                    <a:lnTo>
                      <a:pt x="100" y="139"/>
                    </a:lnTo>
                    <a:lnTo>
                      <a:pt x="99" y="140"/>
                    </a:lnTo>
                    <a:lnTo>
                      <a:pt x="92" y="140"/>
                    </a:lnTo>
                    <a:lnTo>
                      <a:pt x="87" y="142"/>
                    </a:lnTo>
                    <a:lnTo>
                      <a:pt x="84" y="143"/>
                    </a:lnTo>
                    <a:lnTo>
                      <a:pt x="82" y="146"/>
                    </a:lnTo>
                    <a:lnTo>
                      <a:pt x="80" y="150"/>
                    </a:lnTo>
                    <a:lnTo>
                      <a:pt x="80" y="153"/>
                    </a:lnTo>
                    <a:lnTo>
                      <a:pt x="79" y="156"/>
                    </a:lnTo>
                    <a:lnTo>
                      <a:pt x="74" y="159"/>
                    </a:lnTo>
                    <a:lnTo>
                      <a:pt x="72" y="159"/>
                    </a:lnTo>
                    <a:lnTo>
                      <a:pt x="64" y="159"/>
                    </a:lnTo>
                    <a:lnTo>
                      <a:pt x="62" y="160"/>
                    </a:lnTo>
                    <a:lnTo>
                      <a:pt x="59" y="163"/>
                    </a:lnTo>
                    <a:lnTo>
                      <a:pt x="57" y="165"/>
                    </a:lnTo>
                    <a:lnTo>
                      <a:pt x="57" y="171"/>
                    </a:lnTo>
                    <a:lnTo>
                      <a:pt x="56" y="173"/>
                    </a:lnTo>
                    <a:lnTo>
                      <a:pt x="53" y="175"/>
                    </a:lnTo>
                    <a:lnTo>
                      <a:pt x="49" y="176"/>
                    </a:lnTo>
                    <a:lnTo>
                      <a:pt x="41" y="175"/>
                    </a:lnTo>
                    <a:lnTo>
                      <a:pt x="39" y="176"/>
                    </a:lnTo>
                    <a:lnTo>
                      <a:pt x="36" y="176"/>
                    </a:lnTo>
                    <a:lnTo>
                      <a:pt x="30" y="179"/>
                    </a:lnTo>
                    <a:lnTo>
                      <a:pt x="23" y="181"/>
                    </a:lnTo>
                    <a:lnTo>
                      <a:pt x="18" y="182"/>
                    </a:lnTo>
                    <a:lnTo>
                      <a:pt x="0" y="139"/>
                    </a:lnTo>
                    <a:lnTo>
                      <a:pt x="50" y="122"/>
                    </a:lnTo>
                    <a:lnTo>
                      <a:pt x="53" y="120"/>
                    </a:lnTo>
                    <a:lnTo>
                      <a:pt x="54" y="117"/>
                    </a:lnTo>
                    <a:lnTo>
                      <a:pt x="63" y="87"/>
                    </a:lnTo>
                    <a:lnTo>
                      <a:pt x="63" y="84"/>
                    </a:lnTo>
                    <a:lnTo>
                      <a:pt x="63" y="80"/>
                    </a:lnTo>
                    <a:lnTo>
                      <a:pt x="62" y="77"/>
                    </a:lnTo>
                    <a:lnTo>
                      <a:pt x="56" y="68"/>
                    </a:lnTo>
                    <a:lnTo>
                      <a:pt x="56" y="66"/>
                    </a:lnTo>
                    <a:lnTo>
                      <a:pt x="57" y="63"/>
                    </a:lnTo>
                    <a:lnTo>
                      <a:pt x="57" y="58"/>
                    </a:lnTo>
                    <a:lnTo>
                      <a:pt x="59" y="56"/>
                    </a:lnTo>
                    <a:lnTo>
                      <a:pt x="62" y="50"/>
                    </a:lnTo>
                    <a:lnTo>
                      <a:pt x="62" y="48"/>
                    </a:lnTo>
                    <a:lnTo>
                      <a:pt x="62" y="45"/>
                    </a:lnTo>
                    <a:lnTo>
                      <a:pt x="63" y="44"/>
                    </a:lnTo>
                    <a:lnTo>
                      <a:pt x="67" y="44"/>
                    </a:lnTo>
                    <a:lnTo>
                      <a:pt x="69" y="44"/>
                    </a:lnTo>
                    <a:lnTo>
                      <a:pt x="70" y="43"/>
                    </a:lnTo>
                    <a:lnTo>
                      <a:pt x="69" y="41"/>
                    </a:lnTo>
                    <a:lnTo>
                      <a:pt x="69" y="41"/>
                    </a:lnTo>
                    <a:lnTo>
                      <a:pt x="67" y="40"/>
                    </a:lnTo>
                    <a:lnTo>
                      <a:pt x="67" y="40"/>
                    </a:lnTo>
                    <a:lnTo>
                      <a:pt x="67" y="38"/>
                    </a:lnTo>
                    <a:lnTo>
                      <a:pt x="66" y="37"/>
                    </a:lnTo>
                    <a:lnTo>
                      <a:pt x="66" y="31"/>
                    </a:lnTo>
                    <a:lnTo>
                      <a:pt x="67" y="27"/>
                    </a:lnTo>
                    <a:lnTo>
                      <a:pt x="67" y="27"/>
                    </a:lnTo>
                    <a:lnTo>
                      <a:pt x="69" y="25"/>
                    </a:lnTo>
                    <a:lnTo>
                      <a:pt x="70" y="25"/>
                    </a:lnTo>
                    <a:lnTo>
                      <a:pt x="70" y="27"/>
                    </a:lnTo>
                    <a:lnTo>
                      <a:pt x="70" y="27"/>
                    </a:lnTo>
                    <a:lnTo>
                      <a:pt x="70" y="28"/>
                    </a:lnTo>
                    <a:lnTo>
                      <a:pt x="72" y="30"/>
                    </a:lnTo>
                    <a:lnTo>
                      <a:pt x="72" y="30"/>
                    </a:lnTo>
                    <a:lnTo>
                      <a:pt x="73" y="28"/>
                    </a:lnTo>
                    <a:lnTo>
                      <a:pt x="74" y="28"/>
                    </a:lnTo>
                    <a:lnTo>
                      <a:pt x="76" y="27"/>
                    </a:lnTo>
                    <a:close/>
                    <a:moveTo>
                      <a:pt x="119" y="110"/>
                    </a:moveTo>
                    <a:lnTo>
                      <a:pt x="118" y="112"/>
                    </a:lnTo>
                    <a:lnTo>
                      <a:pt x="118" y="114"/>
                    </a:lnTo>
                    <a:lnTo>
                      <a:pt x="116" y="116"/>
                    </a:lnTo>
                    <a:lnTo>
                      <a:pt x="119" y="114"/>
                    </a:lnTo>
                    <a:lnTo>
                      <a:pt x="120" y="113"/>
                    </a:lnTo>
                    <a:lnTo>
                      <a:pt x="122" y="110"/>
                    </a:lnTo>
                    <a:lnTo>
                      <a:pt x="120" y="107"/>
                    </a:lnTo>
                    <a:lnTo>
                      <a:pt x="119" y="11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0" name="Freeform 136">
                <a:extLst>
                  <a:ext uri="{FF2B5EF4-FFF2-40B4-BE49-F238E27FC236}">
                    <a16:creationId xmlns:a16="http://schemas.microsoft.com/office/drawing/2014/main" id="{4C19E877-8838-267E-77B8-ADE656F81741}"/>
                  </a:ext>
                </a:extLst>
              </p:cNvPr>
              <p:cNvSpPr>
                <a:spLocks noEditPoints="1"/>
              </p:cNvSpPr>
              <p:nvPr/>
            </p:nvSpPr>
            <p:spPr bwMode="auto">
              <a:xfrm>
                <a:off x="6708689" y="3617909"/>
                <a:ext cx="305098" cy="176407"/>
              </a:xfrm>
              <a:custGeom>
                <a:avLst/>
                <a:gdLst>
                  <a:gd name="T0" fmla="*/ 2 w 211"/>
                  <a:gd name="T1" fmla="*/ 67 h 122"/>
                  <a:gd name="T2" fmla="*/ 0 w 211"/>
                  <a:gd name="T3" fmla="*/ 67 h 122"/>
                  <a:gd name="T4" fmla="*/ 4 w 211"/>
                  <a:gd name="T5" fmla="*/ 96 h 122"/>
                  <a:gd name="T6" fmla="*/ 4 w 211"/>
                  <a:gd name="T7" fmla="*/ 96 h 122"/>
                  <a:gd name="T8" fmla="*/ 4 w 211"/>
                  <a:gd name="T9" fmla="*/ 96 h 122"/>
                  <a:gd name="T10" fmla="*/ 4 w 211"/>
                  <a:gd name="T11" fmla="*/ 92 h 122"/>
                  <a:gd name="T12" fmla="*/ 4 w 211"/>
                  <a:gd name="T13" fmla="*/ 90 h 122"/>
                  <a:gd name="T14" fmla="*/ 181 w 211"/>
                  <a:gd name="T15" fmla="*/ 46 h 122"/>
                  <a:gd name="T16" fmla="*/ 170 w 211"/>
                  <a:gd name="T17" fmla="*/ 56 h 122"/>
                  <a:gd name="T18" fmla="*/ 168 w 211"/>
                  <a:gd name="T19" fmla="*/ 63 h 122"/>
                  <a:gd name="T20" fmla="*/ 118 w 211"/>
                  <a:gd name="T21" fmla="*/ 82 h 122"/>
                  <a:gd name="T22" fmla="*/ 109 w 211"/>
                  <a:gd name="T23" fmla="*/ 90 h 122"/>
                  <a:gd name="T24" fmla="*/ 95 w 211"/>
                  <a:gd name="T25" fmla="*/ 92 h 122"/>
                  <a:gd name="T26" fmla="*/ 82 w 211"/>
                  <a:gd name="T27" fmla="*/ 99 h 122"/>
                  <a:gd name="T28" fmla="*/ 60 w 211"/>
                  <a:gd name="T29" fmla="*/ 102 h 122"/>
                  <a:gd name="T30" fmla="*/ 55 w 211"/>
                  <a:gd name="T31" fmla="*/ 105 h 122"/>
                  <a:gd name="T32" fmla="*/ 49 w 211"/>
                  <a:gd name="T33" fmla="*/ 109 h 122"/>
                  <a:gd name="T34" fmla="*/ 45 w 211"/>
                  <a:gd name="T35" fmla="*/ 112 h 122"/>
                  <a:gd name="T36" fmla="*/ 42 w 211"/>
                  <a:gd name="T37" fmla="*/ 113 h 122"/>
                  <a:gd name="T38" fmla="*/ 36 w 211"/>
                  <a:gd name="T39" fmla="*/ 113 h 122"/>
                  <a:gd name="T40" fmla="*/ 26 w 211"/>
                  <a:gd name="T41" fmla="*/ 116 h 122"/>
                  <a:gd name="T42" fmla="*/ 19 w 211"/>
                  <a:gd name="T43" fmla="*/ 115 h 122"/>
                  <a:gd name="T44" fmla="*/ 16 w 211"/>
                  <a:gd name="T45" fmla="*/ 111 h 122"/>
                  <a:gd name="T46" fmla="*/ 13 w 211"/>
                  <a:gd name="T47" fmla="*/ 103 h 122"/>
                  <a:gd name="T48" fmla="*/ 13 w 211"/>
                  <a:gd name="T49" fmla="*/ 95 h 122"/>
                  <a:gd name="T50" fmla="*/ 10 w 211"/>
                  <a:gd name="T51" fmla="*/ 92 h 122"/>
                  <a:gd name="T52" fmla="*/ 10 w 211"/>
                  <a:gd name="T53" fmla="*/ 88 h 122"/>
                  <a:gd name="T54" fmla="*/ 7 w 211"/>
                  <a:gd name="T55" fmla="*/ 75 h 122"/>
                  <a:gd name="T56" fmla="*/ 6 w 211"/>
                  <a:gd name="T57" fmla="*/ 72 h 122"/>
                  <a:gd name="T58" fmla="*/ 3 w 211"/>
                  <a:gd name="T59" fmla="*/ 67 h 122"/>
                  <a:gd name="T60" fmla="*/ 4 w 211"/>
                  <a:gd name="T61" fmla="*/ 66 h 122"/>
                  <a:gd name="T62" fmla="*/ 6 w 211"/>
                  <a:gd name="T63" fmla="*/ 52 h 122"/>
                  <a:gd name="T64" fmla="*/ 10 w 211"/>
                  <a:gd name="T65" fmla="*/ 43 h 122"/>
                  <a:gd name="T66" fmla="*/ 12 w 211"/>
                  <a:gd name="T67" fmla="*/ 36 h 122"/>
                  <a:gd name="T68" fmla="*/ 12 w 211"/>
                  <a:gd name="T69" fmla="*/ 32 h 122"/>
                  <a:gd name="T70" fmla="*/ 12 w 211"/>
                  <a:gd name="T71" fmla="*/ 30 h 122"/>
                  <a:gd name="T72" fmla="*/ 15 w 211"/>
                  <a:gd name="T73" fmla="*/ 29 h 122"/>
                  <a:gd name="T74" fmla="*/ 19 w 211"/>
                  <a:gd name="T75" fmla="*/ 29 h 122"/>
                  <a:gd name="T76" fmla="*/ 43 w 211"/>
                  <a:gd name="T77" fmla="*/ 29 h 122"/>
                  <a:gd name="T78" fmla="*/ 50 w 211"/>
                  <a:gd name="T79" fmla="*/ 30 h 122"/>
                  <a:gd name="T80" fmla="*/ 63 w 211"/>
                  <a:gd name="T81" fmla="*/ 33 h 122"/>
                  <a:gd name="T82" fmla="*/ 76 w 211"/>
                  <a:gd name="T83" fmla="*/ 33 h 122"/>
                  <a:gd name="T84" fmla="*/ 81 w 211"/>
                  <a:gd name="T85" fmla="*/ 37 h 122"/>
                  <a:gd name="T86" fmla="*/ 86 w 211"/>
                  <a:gd name="T87" fmla="*/ 34 h 122"/>
                  <a:gd name="T88" fmla="*/ 102 w 211"/>
                  <a:gd name="T89" fmla="*/ 14 h 122"/>
                  <a:gd name="T90" fmla="*/ 167 w 211"/>
                  <a:gd name="T91" fmla="*/ 0 h 122"/>
                  <a:gd name="T92" fmla="*/ 193 w 211"/>
                  <a:gd name="T93" fmla="*/ 116 h 122"/>
                  <a:gd name="T94" fmla="*/ 198 w 211"/>
                  <a:gd name="T95" fmla="*/ 122 h 122"/>
                  <a:gd name="T96" fmla="*/ 207 w 211"/>
                  <a:gd name="T97" fmla="*/ 121 h 122"/>
                  <a:gd name="T98" fmla="*/ 207 w 211"/>
                  <a:gd name="T99" fmla="*/ 11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1" h="122">
                    <a:moveTo>
                      <a:pt x="2" y="66"/>
                    </a:moveTo>
                    <a:lnTo>
                      <a:pt x="2" y="66"/>
                    </a:lnTo>
                    <a:lnTo>
                      <a:pt x="2" y="67"/>
                    </a:lnTo>
                    <a:lnTo>
                      <a:pt x="2" y="67"/>
                    </a:lnTo>
                    <a:lnTo>
                      <a:pt x="2" y="67"/>
                    </a:lnTo>
                    <a:lnTo>
                      <a:pt x="0" y="67"/>
                    </a:lnTo>
                    <a:lnTo>
                      <a:pt x="2" y="66"/>
                    </a:lnTo>
                    <a:lnTo>
                      <a:pt x="2" y="66"/>
                    </a:lnTo>
                    <a:close/>
                    <a:moveTo>
                      <a:pt x="4" y="96"/>
                    </a:moveTo>
                    <a:lnTo>
                      <a:pt x="3" y="98"/>
                    </a:lnTo>
                    <a:lnTo>
                      <a:pt x="4" y="98"/>
                    </a:lnTo>
                    <a:lnTo>
                      <a:pt x="4" y="96"/>
                    </a:lnTo>
                    <a:lnTo>
                      <a:pt x="4" y="96"/>
                    </a:lnTo>
                    <a:lnTo>
                      <a:pt x="4" y="96"/>
                    </a:lnTo>
                    <a:lnTo>
                      <a:pt x="4" y="96"/>
                    </a:lnTo>
                    <a:close/>
                    <a:moveTo>
                      <a:pt x="4" y="90"/>
                    </a:moveTo>
                    <a:lnTo>
                      <a:pt x="3" y="92"/>
                    </a:lnTo>
                    <a:lnTo>
                      <a:pt x="4" y="92"/>
                    </a:lnTo>
                    <a:lnTo>
                      <a:pt x="4" y="92"/>
                    </a:lnTo>
                    <a:lnTo>
                      <a:pt x="4" y="92"/>
                    </a:lnTo>
                    <a:lnTo>
                      <a:pt x="4" y="90"/>
                    </a:lnTo>
                    <a:close/>
                    <a:moveTo>
                      <a:pt x="167" y="0"/>
                    </a:moveTo>
                    <a:lnTo>
                      <a:pt x="185" y="43"/>
                    </a:lnTo>
                    <a:lnTo>
                      <a:pt x="181" y="46"/>
                    </a:lnTo>
                    <a:lnTo>
                      <a:pt x="175" y="47"/>
                    </a:lnTo>
                    <a:lnTo>
                      <a:pt x="171" y="52"/>
                    </a:lnTo>
                    <a:lnTo>
                      <a:pt x="170" y="56"/>
                    </a:lnTo>
                    <a:lnTo>
                      <a:pt x="170" y="60"/>
                    </a:lnTo>
                    <a:lnTo>
                      <a:pt x="170" y="62"/>
                    </a:lnTo>
                    <a:lnTo>
                      <a:pt x="168" y="63"/>
                    </a:lnTo>
                    <a:lnTo>
                      <a:pt x="157" y="69"/>
                    </a:lnTo>
                    <a:lnTo>
                      <a:pt x="122" y="79"/>
                    </a:lnTo>
                    <a:lnTo>
                      <a:pt x="118" y="82"/>
                    </a:lnTo>
                    <a:lnTo>
                      <a:pt x="115" y="85"/>
                    </a:lnTo>
                    <a:lnTo>
                      <a:pt x="112" y="88"/>
                    </a:lnTo>
                    <a:lnTo>
                      <a:pt x="109" y="90"/>
                    </a:lnTo>
                    <a:lnTo>
                      <a:pt x="105" y="92"/>
                    </a:lnTo>
                    <a:lnTo>
                      <a:pt x="96" y="92"/>
                    </a:lnTo>
                    <a:lnTo>
                      <a:pt x="95" y="92"/>
                    </a:lnTo>
                    <a:lnTo>
                      <a:pt x="92" y="93"/>
                    </a:lnTo>
                    <a:lnTo>
                      <a:pt x="86" y="98"/>
                    </a:lnTo>
                    <a:lnTo>
                      <a:pt x="82" y="99"/>
                    </a:lnTo>
                    <a:lnTo>
                      <a:pt x="78" y="101"/>
                    </a:lnTo>
                    <a:lnTo>
                      <a:pt x="73" y="102"/>
                    </a:lnTo>
                    <a:lnTo>
                      <a:pt x="60" y="102"/>
                    </a:lnTo>
                    <a:lnTo>
                      <a:pt x="58" y="103"/>
                    </a:lnTo>
                    <a:lnTo>
                      <a:pt x="56" y="103"/>
                    </a:lnTo>
                    <a:lnTo>
                      <a:pt x="55" y="105"/>
                    </a:lnTo>
                    <a:lnTo>
                      <a:pt x="53" y="108"/>
                    </a:lnTo>
                    <a:lnTo>
                      <a:pt x="50" y="109"/>
                    </a:lnTo>
                    <a:lnTo>
                      <a:pt x="49" y="109"/>
                    </a:lnTo>
                    <a:lnTo>
                      <a:pt x="48" y="111"/>
                    </a:lnTo>
                    <a:lnTo>
                      <a:pt x="46" y="111"/>
                    </a:lnTo>
                    <a:lnTo>
                      <a:pt x="45" y="112"/>
                    </a:lnTo>
                    <a:lnTo>
                      <a:pt x="45" y="112"/>
                    </a:lnTo>
                    <a:lnTo>
                      <a:pt x="43" y="113"/>
                    </a:lnTo>
                    <a:lnTo>
                      <a:pt x="42" y="113"/>
                    </a:lnTo>
                    <a:lnTo>
                      <a:pt x="40" y="113"/>
                    </a:lnTo>
                    <a:lnTo>
                      <a:pt x="38" y="113"/>
                    </a:lnTo>
                    <a:lnTo>
                      <a:pt x="36" y="113"/>
                    </a:lnTo>
                    <a:lnTo>
                      <a:pt x="30" y="116"/>
                    </a:lnTo>
                    <a:lnTo>
                      <a:pt x="29" y="116"/>
                    </a:lnTo>
                    <a:lnTo>
                      <a:pt x="26" y="116"/>
                    </a:lnTo>
                    <a:lnTo>
                      <a:pt x="23" y="116"/>
                    </a:lnTo>
                    <a:lnTo>
                      <a:pt x="22" y="115"/>
                    </a:lnTo>
                    <a:lnTo>
                      <a:pt x="19" y="115"/>
                    </a:lnTo>
                    <a:lnTo>
                      <a:pt x="17" y="115"/>
                    </a:lnTo>
                    <a:lnTo>
                      <a:pt x="17" y="113"/>
                    </a:lnTo>
                    <a:lnTo>
                      <a:pt x="16" y="111"/>
                    </a:lnTo>
                    <a:lnTo>
                      <a:pt x="15" y="108"/>
                    </a:lnTo>
                    <a:lnTo>
                      <a:pt x="13" y="105"/>
                    </a:lnTo>
                    <a:lnTo>
                      <a:pt x="13" y="103"/>
                    </a:lnTo>
                    <a:lnTo>
                      <a:pt x="13" y="98"/>
                    </a:lnTo>
                    <a:lnTo>
                      <a:pt x="13" y="96"/>
                    </a:lnTo>
                    <a:lnTo>
                      <a:pt x="13" y="95"/>
                    </a:lnTo>
                    <a:lnTo>
                      <a:pt x="12" y="93"/>
                    </a:lnTo>
                    <a:lnTo>
                      <a:pt x="12" y="93"/>
                    </a:lnTo>
                    <a:lnTo>
                      <a:pt x="10" y="92"/>
                    </a:lnTo>
                    <a:lnTo>
                      <a:pt x="10" y="90"/>
                    </a:lnTo>
                    <a:lnTo>
                      <a:pt x="10" y="90"/>
                    </a:lnTo>
                    <a:lnTo>
                      <a:pt x="10" y="88"/>
                    </a:lnTo>
                    <a:lnTo>
                      <a:pt x="7" y="76"/>
                    </a:lnTo>
                    <a:lnTo>
                      <a:pt x="7" y="76"/>
                    </a:lnTo>
                    <a:lnTo>
                      <a:pt x="7" y="75"/>
                    </a:lnTo>
                    <a:lnTo>
                      <a:pt x="7" y="73"/>
                    </a:lnTo>
                    <a:lnTo>
                      <a:pt x="6" y="73"/>
                    </a:lnTo>
                    <a:lnTo>
                      <a:pt x="6" y="72"/>
                    </a:lnTo>
                    <a:lnTo>
                      <a:pt x="4" y="70"/>
                    </a:lnTo>
                    <a:lnTo>
                      <a:pt x="3" y="69"/>
                    </a:lnTo>
                    <a:lnTo>
                      <a:pt x="3" y="67"/>
                    </a:lnTo>
                    <a:lnTo>
                      <a:pt x="3" y="67"/>
                    </a:lnTo>
                    <a:lnTo>
                      <a:pt x="4" y="69"/>
                    </a:lnTo>
                    <a:lnTo>
                      <a:pt x="4" y="66"/>
                    </a:lnTo>
                    <a:lnTo>
                      <a:pt x="4" y="62"/>
                    </a:lnTo>
                    <a:lnTo>
                      <a:pt x="4" y="60"/>
                    </a:lnTo>
                    <a:lnTo>
                      <a:pt x="6" y="52"/>
                    </a:lnTo>
                    <a:lnTo>
                      <a:pt x="4" y="49"/>
                    </a:lnTo>
                    <a:lnTo>
                      <a:pt x="9" y="46"/>
                    </a:lnTo>
                    <a:lnTo>
                      <a:pt x="10" y="43"/>
                    </a:lnTo>
                    <a:lnTo>
                      <a:pt x="12" y="42"/>
                    </a:lnTo>
                    <a:lnTo>
                      <a:pt x="12" y="40"/>
                    </a:lnTo>
                    <a:lnTo>
                      <a:pt x="12" y="36"/>
                    </a:lnTo>
                    <a:lnTo>
                      <a:pt x="12" y="33"/>
                    </a:lnTo>
                    <a:lnTo>
                      <a:pt x="12" y="33"/>
                    </a:lnTo>
                    <a:lnTo>
                      <a:pt x="12" y="32"/>
                    </a:lnTo>
                    <a:lnTo>
                      <a:pt x="12" y="32"/>
                    </a:lnTo>
                    <a:lnTo>
                      <a:pt x="12" y="32"/>
                    </a:lnTo>
                    <a:lnTo>
                      <a:pt x="12" y="30"/>
                    </a:lnTo>
                    <a:lnTo>
                      <a:pt x="13" y="30"/>
                    </a:lnTo>
                    <a:lnTo>
                      <a:pt x="13" y="29"/>
                    </a:lnTo>
                    <a:lnTo>
                      <a:pt x="15" y="29"/>
                    </a:lnTo>
                    <a:lnTo>
                      <a:pt x="16" y="27"/>
                    </a:lnTo>
                    <a:lnTo>
                      <a:pt x="17" y="29"/>
                    </a:lnTo>
                    <a:lnTo>
                      <a:pt x="19" y="29"/>
                    </a:lnTo>
                    <a:lnTo>
                      <a:pt x="22" y="30"/>
                    </a:lnTo>
                    <a:lnTo>
                      <a:pt x="25" y="30"/>
                    </a:lnTo>
                    <a:lnTo>
                      <a:pt x="43" y="29"/>
                    </a:lnTo>
                    <a:lnTo>
                      <a:pt x="46" y="29"/>
                    </a:lnTo>
                    <a:lnTo>
                      <a:pt x="48" y="30"/>
                    </a:lnTo>
                    <a:lnTo>
                      <a:pt x="50" y="30"/>
                    </a:lnTo>
                    <a:lnTo>
                      <a:pt x="53" y="32"/>
                    </a:lnTo>
                    <a:lnTo>
                      <a:pt x="55" y="32"/>
                    </a:lnTo>
                    <a:lnTo>
                      <a:pt x="63" y="33"/>
                    </a:lnTo>
                    <a:lnTo>
                      <a:pt x="72" y="32"/>
                    </a:lnTo>
                    <a:lnTo>
                      <a:pt x="73" y="32"/>
                    </a:lnTo>
                    <a:lnTo>
                      <a:pt x="76" y="33"/>
                    </a:lnTo>
                    <a:lnTo>
                      <a:pt x="76" y="36"/>
                    </a:lnTo>
                    <a:lnTo>
                      <a:pt x="78" y="37"/>
                    </a:lnTo>
                    <a:lnTo>
                      <a:pt x="81" y="37"/>
                    </a:lnTo>
                    <a:lnTo>
                      <a:pt x="83" y="37"/>
                    </a:lnTo>
                    <a:lnTo>
                      <a:pt x="85" y="36"/>
                    </a:lnTo>
                    <a:lnTo>
                      <a:pt x="86" y="34"/>
                    </a:lnTo>
                    <a:lnTo>
                      <a:pt x="88" y="32"/>
                    </a:lnTo>
                    <a:lnTo>
                      <a:pt x="94" y="23"/>
                    </a:lnTo>
                    <a:lnTo>
                      <a:pt x="102" y="14"/>
                    </a:lnTo>
                    <a:lnTo>
                      <a:pt x="111" y="10"/>
                    </a:lnTo>
                    <a:lnTo>
                      <a:pt x="121" y="7"/>
                    </a:lnTo>
                    <a:lnTo>
                      <a:pt x="167" y="0"/>
                    </a:lnTo>
                    <a:close/>
                    <a:moveTo>
                      <a:pt x="198" y="116"/>
                    </a:moveTo>
                    <a:lnTo>
                      <a:pt x="194" y="116"/>
                    </a:lnTo>
                    <a:lnTo>
                      <a:pt x="193" y="116"/>
                    </a:lnTo>
                    <a:lnTo>
                      <a:pt x="190" y="118"/>
                    </a:lnTo>
                    <a:lnTo>
                      <a:pt x="195" y="121"/>
                    </a:lnTo>
                    <a:lnTo>
                      <a:pt x="198" y="122"/>
                    </a:lnTo>
                    <a:lnTo>
                      <a:pt x="201" y="122"/>
                    </a:lnTo>
                    <a:lnTo>
                      <a:pt x="204" y="121"/>
                    </a:lnTo>
                    <a:lnTo>
                      <a:pt x="207" y="121"/>
                    </a:lnTo>
                    <a:lnTo>
                      <a:pt x="208" y="119"/>
                    </a:lnTo>
                    <a:lnTo>
                      <a:pt x="211" y="118"/>
                    </a:lnTo>
                    <a:lnTo>
                      <a:pt x="207" y="116"/>
                    </a:lnTo>
                    <a:lnTo>
                      <a:pt x="198" y="11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1" name="Freeform 137">
                <a:extLst>
                  <a:ext uri="{FF2B5EF4-FFF2-40B4-BE49-F238E27FC236}">
                    <a16:creationId xmlns:a16="http://schemas.microsoft.com/office/drawing/2014/main" id="{AF42C5EB-23D7-7B46-A5C7-3C83F4F423CC}"/>
                  </a:ext>
                </a:extLst>
              </p:cNvPr>
              <p:cNvSpPr>
                <a:spLocks noEditPoints="1"/>
              </p:cNvSpPr>
              <p:nvPr/>
            </p:nvSpPr>
            <p:spPr bwMode="auto">
              <a:xfrm>
                <a:off x="7971012" y="3353299"/>
                <a:ext cx="228462" cy="503194"/>
              </a:xfrm>
              <a:custGeom>
                <a:avLst/>
                <a:gdLst>
                  <a:gd name="T0" fmla="*/ 41 w 158"/>
                  <a:gd name="T1" fmla="*/ 238 h 348"/>
                  <a:gd name="T2" fmla="*/ 108 w 158"/>
                  <a:gd name="T3" fmla="*/ 304 h 348"/>
                  <a:gd name="T4" fmla="*/ 109 w 158"/>
                  <a:gd name="T5" fmla="*/ 317 h 348"/>
                  <a:gd name="T6" fmla="*/ 108 w 158"/>
                  <a:gd name="T7" fmla="*/ 345 h 348"/>
                  <a:gd name="T8" fmla="*/ 112 w 158"/>
                  <a:gd name="T9" fmla="*/ 312 h 348"/>
                  <a:gd name="T10" fmla="*/ 108 w 158"/>
                  <a:gd name="T11" fmla="*/ 294 h 348"/>
                  <a:gd name="T12" fmla="*/ 104 w 158"/>
                  <a:gd name="T13" fmla="*/ 305 h 348"/>
                  <a:gd name="T14" fmla="*/ 108 w 158"/>
                  <a:gd name="T15" fmla="*/ 315 h 348"/>
                  <a:gd name="T16" fmla="*/ 107 w 158"/>
                  <a:gd name="T17" fmla="*/ 331 h 348"/>
                  <a:gd name="T18" fmla="*/ 104 w 158"/>
                  <a:gd name="T19" fmla="*/ 318 h 348"/>
                  <a:gd name="T20" fmla="*/ 112 w 158"/>
                  <a:gd name="T21" fmla="*/ 347 h 348"/>
                  <a:gd name="T22" fmla="*/ 115 w 158"/>
                  <a:gd name="T23" fmla="*/ 315 h 348"/>
                  <a:gd name="T24" fmla="*/ 114 w 158"/>
                  <a:gd name="T25" fmla="*/ 305 h 348"/>
                  <a:gd name="T26" fmla="*/ 108 w 158"/>
                  <a:gd name="T27" fmla="*/ 281 h 348"/>
                  <a:gd name="T28" fmla="*/ 102 w 158"/>
                  <a:gd name="T29" fmla="*/ 266 h 348"/>
                  <a:gd name="T30" fmla="*/ 98 w 158"/>
                  <a:gd name="T31" fmla="*/ 227 h 348"/>
                  <a:gd name="T32" fmla="*/ 82 w 158"/>
                  <a:gd name="T33" fmla="*/ 213 h 348"/>
                  <a:gd name="T34" fmla="*/ 75 w 158"/>
                  <a:gd name="T35" fmla="*/ 229 h 348"/>
                  <a:gd name="T36" fmla="*/ 66 w 158"/>
                  <a:gd name="T37" fmla="*/ 233 h 348"/>
                  <a:gd name="T38" fmla="*/ 52 w 158"/>
                  <a:gd name="T39" fmla="*/ 242 h 348"/>
                  <a:gd name="T40" fmla="*/ 45 w 158"/>
                  <a:gd name="T41" fmla="*/ 229 h 348"/>
                  <a:gd name="T42" fmla="*/ 38 w 158"/>
                  <a:gd name="T43" fmla="*/ 192 h 348"/>
                  <a:gd name="T44" fmla="*/ 25 w 158"/>
                  <a:gd name="T45" fmla="*/ 179 h 348"/>
                  <a:gd name="T46" fmla="*/ 26 w 158"/>
                  <a:gd name="T47" fmla="*/ 169 h 348"/>
                  <a:gd name="T48" fmla="*/ 16 w 158"/>
                  <a:gd name="T49" fmla="*/ 160 h 348"/>
                  <a:gd name="T50" fmla="*/ 12 w 158"/>
                  <a:gd name="T51" fmla="*/ 156 h 348"/>
                  <a:gd name="T52" fmla="*/ 6 w 158"/>
                  <a:gd name="T53" fmla="*/ 138 h 348"/>
                  <a:gd name="T54" fmla="*/ 12 w 158"/>
                  <a:gd name="T55" fmla="*/ 125 h 348"/>
                  <a:gd name="T56" fmla="*/ 18 w 158"/>
                  <a:gd name="T57" fmla="*/ 121 h 348"/>
                  <a:gd name="T58" fmla="*/ 18 w 158"/>
                  <a:gd name="T59" fmla="*/ 107 h 348"/>
                  <a:gd name="T60" fmla="*/ 20 w 158"/>
                  <a:gd name="T61" fmla="*/ 88 h 348"/>
                  <a:gd name="T62" fmla="*/ 26 w 158"/>
                  <a:gd name="T63" fmla="*/ 88 h 348"/>
                  <a:gd name="T64" fmla="*/ 36 w 158"/>
                  <a:gd name="T65" fmla="*/ 87 h 348"/>
                  <a:gd name="T66" fmla="*/ 45 w 158"/>
                  <a:gd name="T67" fmla="*/ 67 h 348"/>
                  <a:gd name="T68" fmla="*/ 42 w 158"/>
                  <a:gd name="T69" fmla="*/ 64 h 348"/>
                  <a:gd name="T70" fmla="*/ 51 w 158"/>
                  <a:gd name="T71" fmla="*/ 54 h 348"/>
                  <a:gd name="T72" fmla="*/ 52 w 158"/>
                  <a:gd name="T73" fmla="*/ 46 h 348"/>
                  <a:gd name="T74" fmla="*/ 53 w 158"/>
                  <a:gd name="T75" fmla="*/ 38 h 348"/>
                  <a:gd name="T76" fmla="*/ 68 w 158"/>
                  <a:gd name="T77" fmla="*/ 28 h 348"/>
                  <a:gd name="T78" fmla="*/ 82 w 158"/>
                  <a:gd name="T79" fmla="*/ 26 h 348"/>
                  <a:gd name="T80" fmla="*/ 84 w 158"/>
                  <a:gd name="T81" fmla="*/ 19 h 348"/>
                  <a:gd name="T82" fmla="*/ 91 w 158"/>
                  <a:gd name="T83" fmla="*/ 12 h 348"/>
                  <a:gd name="T84" fmla="*/ 99 w 158"/>
                  <a:gd name="T85" fmla="*/ 3 h 348"/>
                  <a:gd name="T86" fmla="*/ 114 w 158"/>
                  <a:gd name="T87" fmla="*/ 18 h 348"/>
                  <a:gd name="T88" fmla="*/ 114 w 158"/>
                  <a:gd name="T89" fmla="*/ 54 h 348"/>
                  <a:gd name="T90" fmla="*/ 101 w 158"/>
                  <a:gd name="T91" fmla="*/ 64 h 348"/>
                  <a:gd name="T92" fmla="*/ 95 w 158"/>
                  <a:gd name="T93" fmla="*/ 74 h 348"/>
                  <a:gd name="T94" fmla="*/ 98 w 158"/>
                  <a:gd name="T95" fmla="*/ 89 h 348"/>
                  <a:gd name="T96" fmla="*/ 118 w 158"/>
                  <a:gd name="T97" fmla="*/ 100 h 348"/>
                  <a:gd name="T98" fmla="*/ 127 w 158"/>
                  <a:gd name="T99" fmla="*/ 112 h 348"/>
                  <a:gd name="T100" fmla="*/ 137 w 158"/>
                  <a:gd name="T101" fmla="*/ 133 h 348"/>
                  <a:gd name="T102" fmla="*/ 154 w 158"/>
                  <a:gd name="T103" fmla="*/ 133 h 348"/>
                  <a:gd name="T104" fmla="*/ 148 w 158"/>
                  <a:gd name="T105" fmla="*/ 148 h 348"/>
                  <a:gd name="T106" fmla="*/ 127 w 158"/>
                  <a:gd name="T107" fmla="*/ 163 h 348"/>
                  <a:gd name="T108" fmla="*/ 105 w 158"/>
                  <a:gd name="T109" fmla="*/ 169 h 348"/>
                  <a:gd name="T110" fmla="*/ 98 w 158"/>
                  <a:gd name="T111" fmla="*/ 189 h 348"/>
                  <a:gd name="T112" fmla="*/ 98 w 158"/>
                  <a:gd name="T113" fmla="*/ 203 h 348"/>
                  <a:gd name="T114" fmla="*/ 118 w 158"/>
                  <a:gd name="T115" fmla="*/ 233 h 348"/>
                  <a:gd name="T116" fmla="*/ 107 w 158"/>
                  <a:gd name="T117" fmla="*/ 256 h 348"/>
                  <a:gd name="T118" fmla="*/ 131 w 158"/>
                  <a:gd name="T119" fmla="*/ 312 h 348"/>
                  <a:gd name="T120" fmla="*/ 30 w 158"/>
                  <a:gd name="T121" fmla="*/ 174 h 348"/>
                  <a:gd name="T122" fmla="*/ 13 w 158"/>
                  <a:gd name="T123" fmla="*/ 163 h 348"/>
                  <a:gd name="T124" fmla="*/ 23 w 158"/>
                  <a:gd name="T125" fmla="*/ 16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8" h="348">
                    <a:moveTo>
                      <a:pt x="95" y="233"/>
                    </a:moveTo>
                    <a:lnTo>
                      <a:pt x="94" y="232"/>
                    </a:lnTo>
                    <a:lnTo>
                      <a:pt x="94" y="230"/>
                    </a:lnTo>
                    <a:lnTo>
                      <a:pt x="95" y="230"/>
                    </a:lnTo>
                    <a:lnTo>
                      <a:pt x="95" y="233"/>
                    </a:lnTo>
                    <a:close/>
                    <a:moveTo>
                      <a:pt x="45" y="242"/>
                    </a:moveTo>
                    <a:lnTo>
                      <a:pt x="46" y="242"/>
                    </a:lnTo>
                    <a:lnTo>
                      <a:pt x="46" y="242"/>
                    </a:lnTo>
                    <a:lnTo>
                      <a:pt x="46" y="240"/>
                    </a:lnTo>
                    <a:lnTo>
                      <a:pt x="46" y="239"/>
                    </a:lnTo>
                    <a:lnTo>
                      <a:pt x="45" y="242"/>
                    </a:lnTo>
                    <a:close/>
                    <a:moveTo>
                      <a:pt x="41" y="238"/>
                    </a:moveTo>
                    <a:lnTo>
                      <a:pt x="39" y="239"/>
                    </a:lnTo>
                    <a:lnTo>
                      <a:pt x="39" y="239"/>
                    </a:lnTo>
                    <a:lnTo>
                      <a:pt x="39" y="240"/>
                    </a:lnTo>
                    <a:lnTo>
                      <a:pt x="41" y="239"/>
                    </a:lnTo>
                    <a:lnTo>
                      <a:pt x="42" y="238"/>
                    </a:lnTo>
                    <a:lnTo>
                      <a:pt x="43" y="236"/>
                    </a:lnTo>
                    <a:lnTo>
                      <a:pt x="43" y="235"/>
                    </a:lnTo>
                    <a:lnTo>
                      <a:pt x="42" y="236"/>
                    </a:lnTo>
                    <a:lnTo>
                      <a:pt x="41" y="238"/>
                    </a:lnTo>
                    <a:close/>
                    <a:moveTo>
                      <a:pt x="108" y="299"/>
                    </a:moveTo>
                    <a:lnTo>
                      <a:pt x="108" y="302"/>
                    </a:lnTo>
                    <a:lnTo>
                      <a:pt x="108" y="304"/>
                    </a:lnTo>
                    <a:lnTo>
                      <a:pt x="108" y="305"/>
                    </a:lnTo>
                    <a:lnTo>
                      <a:pt x="109" y="304"/>
                    </a:lnTo>
                    <a:lnTo>
                      <a:pt x="111" y="304"/>
                    </a:lnTo>
                    <a:lnTo>
                      <a:pt x="111" y="302"/>
                    </a:lnTo>
                    <a:lnTo>
                      <a:pt x="111" y="301"/>
                    </a:lnTo>
                    <a:lnTo>
                      <a:pt x="111" y="301"/>
                    </a:lnTo>
                    <a:lnTo>
                      <a:pt x="108" y="299"/>
                    </a:lnTo>
                    <a:close/>
                    <a:moveTo>
                      <a:pt x="112" y="317"/>
                    </a:moveTo>
                    <a:lnTo>
                      <a:pt x="112" y="319"/>
                    </a:lnTo>
                    <a:lnTo>
                      <a:pt x="111" y="318"/>
                    </a:lnTo>
                    <a:lnTo>
                      <a:pt x="111" y="318"/>
                    </a:lnTo>
                    <a:lnTo>
                      <a:pt x="109" y="317"/>
                    </a:lnTo>
                    <a:lnTo>
                      <a:pt x="109" y="315"/>
                    </a:lnTo>
                    <a:lnTo>
                      <a:pt x="111" y="314"/>
                    </a:lnTo>
                    <a:lnTo>
                      <a:pt x="112" y="315"/>
                    </a:lnTo>
                    <a:lnTo>
                      <a:pt x="112" y="317"/>
                    </a:lnTo>
                    <a:close/>
                    <a:moveTo>
                      <a:pt x="107" y="347"/>
                    </a:moveTo>
                    <a:lnTo>
                      <a:pt x="107" y="348"/>
                    </a:lnTo>
                    <a:lnTo>
                      <a:pt x="105" y="348"/>
                    </a:lnTo>
                    <a:lnTo>
                      <a:pt x="105" y="348"/>
                    </a:lnTo>
                    <a:lnTo>
                      <a:pt x="105" y="348"/>
                    </a:lnTo>
                    <a:lnTo>
                      <a:pt x="105" y="347"/>
                    </a:lnTo>
                    <a:lnTo>
                      <a:pt x="107" y="345"/>
                    </a:lnTo>
                    <a:lnTo>
                      <a:pt x="108" y="345"/>
                    </a:lnTo>
                    <a:lnTo>
                      <a:pt x="107" y="347"/>
                    </a:lnTo>
                    <a:close/>
                    <a:moveTo>
                      <a:pt x="112" y="312"/>
                    </a:moveTo>
                    <a:lnTo>
                      <a:pt x="112" y="312"/>
                    </a:lnTo>
                    <a:lnTo>
                      <a:pt x="111" y="312"/>
                    </a:lnTo>
                    <a:lnTo>
                      <a:pt x="111" y="312"/>
                    </a:lnTo>
                    <a:lnTo>
                      <a:pt x="111" y="311"/>
                    </a:lnTo>
                    <a:lnTo>
                      <a:pt x="111" y="311"/>
                    </a:lnTo>
                    <a:lnTo>
                      <a:pt x="111" y="309"/>
                    </a:lnTo>
                    <a:lnTo>
                      <a:pt x="112" y="309"/>
                    </a:lnTo>
                    <a:lnTo>
                      <a:pt x="112" y="311"/>
                    </a:lnTo>
                    <a:lnTo>
                      <a:pt x="112" y="311"/>
                    </a:lnTo>
                    <a:lnTo>
                      <a:pt x="112" y="312"/>
                    </a:lnTo>
                    <a:lnTo>
                      <a:pt x="112" y="312"/>
                    </a:lnTo>
                    <a:close/>
                    <a:moveTo>
                      <a:pt x="112" y="328"/>
                    </a:moveTo>
                    <a:lnTo>
                      <a:pt x="112" y="328"/>
                    </a:lnTo>
                    <a:lnTo>
                      <a:pt x="112" y="330"/>
                    </a:lnTo>
                    <a:lnTo>
                      <a:pt x="112" y="330"/>
                    </a:lnTo>
                    <a:lnTo>
                      <a:pt x="111" y="330"/>
                    </a:lnTo>
                    <a:lnTo>
                      <a:pt x="111" y="330"/>
                    </a:lnTo>
                    <a:lnTo>
                      <a:pt x="112" y="327"/>
                    </a:lnTo>
                    <a:lnTo>
                      <a:pt x="112" y="328"/>
                    </a:lnTo>
                    <a:close/>
                    <a:moveTo>
                      <a:pt x="108" y="291"/>
                    </a:moveTo>
                    <a:lnTo>
                      <a:pt x="108" y="292"/>
                    </a:lnTo>
                    <a:lnTo>
                      <a:pt x="108" y="294"/>
                    </a:lnTo>
                    <a:lnTo>
                      <a:pt x="108" y="294"/>
                    </a:lnTo>
                    <a:lnTo>
                      <a:pt x="107" y="292"/>
                    </a:lnTo>
                    <a:lnTo>
                      <a:pt x="107" y="291"/>
                    </a:lnTo>
                    <a:lnTo>
                      <a:pt x="108" y="289"/>
                    </a:lnTo>
                    <a:lnTo>
                      <a:pt x="108" y="289"/>
                    </a:lnTo>
                    <a:lnTo>
                      <a:pt x="108" y="291"/>
                    </a:lnTo>
                    <a:lnTo>
                      <a:pt x="108" y="291"/>
                    </a:lnTo>
                    <a:close/>
                    <a:moveTo>
                      <a:pt x="102" y="304"/>
                    </a:moveTo>
                    <a:lnTo>
                      <a:pt x="104" y="304"/>
                    </a:lnTo>
                    <a:lnTo>
                      <a:pt x="104" y="305"/>
                    </a:lnTo>
                    <a:lnTo>
                      <a:pt x="104" y="305"/>
                    </a:lnTo>
                    <a:lnTo>
                      <a:pt x="104" y="305"/>
                    </a:lnTo>
                    <a:lnTo>
                      <a:pt x="102" y="307"/>
                    </a:lnTo>
                    <a:lnTo>
                      <a:pt x="102" y="305"/>
                    </a:lnTo>
                    <a:lnTo>
                      <a:pt x="102" y="304"/>
                    </a:lnTo>
                    <a:lnTo>
                      <a:pt x="102" y="304"/>
                    </a:lnTo>
                    <a:close/>
                    <a:moveTo>
                      <a:pt x="105" y="307"/>
                    </a:moveTo>
                    <a:lnTo>
                      <a:pt x="105" y="308"/>
                    </a:lnTo>
                    <a:lnTo>
                      <a:pt x="104" y="307"/>
                    </a:lnTo>
                    <a:lnTo>
                      <a:pt x="104" y="307"/>
                    </a:lnTo>
                    <a:lnTo>
                      <a:pt x="105" y="307"/>
                    </a:lnTo>
                    <a:close/>
                    <a:moveTo>
                      <a:pt x="107" y="317"/>
                    </a:moveTo>
                    <a:lnTo>
                      <a:pt x="108" y="317"/>
                    </a:lnTo>
                    <a:lnTo>
                      <a:pt x="108" y="315"/>
                    </a:lnTo>
                    <a:lnTo>
                      <a:pt x="108" y="315"/>
                    </a:lnTo>
                    <a:lnTo>
                      <a:pt x="108" y="317"/>
                    </a:lnTo>
                    <a:lnTo>
                      <a:pt x="108" y="318"/>
                    </a:lnTo>
                    <a:lnTo>
                      <a:pt x="107" y="319"/>
                    </a:lnTo>
                    <a:lnTo>
                      <a:pt x="107" y="321"/>
                    </a:lnTo>
                    <a:lnTo>
                      <a:pt x="107" y="319"/>
                    </a:lnTo>
                    <a:lnTo>
                      <a:pt x="107" y="319"/>
                    </a:lnTo>
                    <a:lnTo>
                      <a:pt x="107" y="318"/>
                    </a:lnTo>
                    <a:lnTo>
                      <a:pt x="107" y="317"/>
                    </a:lnTo>
                    <a:close/>
                    <a:moveTo>
                      <a:pt x="105" y="330"/>
                    </a:moveTo>
                    <a:lnTo>
                      <a:pt x="107" y="330"/>
                    </a:lnTo>
                    <a:lnTo>
                      <a:pt x="107" y="331"/>
                    </a:lnTo>
                    <a:lnTo>
                      <a:pt x="108" y="332"/>
                    </a:lnTo>
                    <a:lnTo>
                      <a:pt x="108" y="334"/>
                    </a:lnTo>
                    <a:lnTo>
                      <a:pt x="107" y="332"/>
                    </a:lnTo>
                    <a:lnTo>
                      <a:pt x="107" y="331"/>
                    </a:lnTo>
                    <a:lnTo>
                      <a:pt x="105" y="331"/>
                    </a:lnTo>
                    <a:lnTo>
                      <a:pt x="104" y="331"/>
                    </a:lnTo>
                    <a:lnTo>
                      <a:pt x="105" y="331"/>
                    </a:lnTo>
                    <a:lnTo>
                      <a:pt x="105" y="330"/>
                    </a:lnTo>
                    <a:lnTo>
                      <a:pt x="105" y="330"/>
                    </a:lnTo>
                    <a:lnTo>
                      <a:pt x="105" y="330"/>
                    </a:lnTo>
                    <a:close/>
                    <a:moveTo>
                      <a:pt x="104" y="317"/>
                    </a:moveTo>
                    <a:lnTo>
                      <a:pt x="104" y="318"/>
                    </a:lnTo>
                    <a:lnTo>
                      <a:pt x="104" y="317"/>
                    </a:lnTo>
                    <a:lnTo>
                      <a:pt x="102" y="315"/>
                    </a:lnTo>
                    <a:lnTo>
                      <a:pt x="102" y="315"/>
                    </a:lnTo>
                    <a:lnTo>
                      <a:pt x="102" y="314"/>
                    </a:lnTo>
                    <a:lnTo>
                      <a:pt x="104" y="314"/>
                    </a:lnTo>
                    <a:lnTo>
                      <a:pt x="104" y="315"/>
                    </a:lnTo>
                    <a:lnTo>
                      <a:pt x="104" y="317"/>
                    </a:lnTo>
                    <a:close/>
                    <a:moveTo>
                      <a:pt x="115" y="341"/>
                    </a:moveTo>
                    <a:lnTo>
                      <a:pt x="115" y="344"/>
                    </a:lnTo>
                    <a:lnTo>
                      <a:pt x="114" y="344"/>
                    </a:lnTo>
                    <a:lnTo>
                      <a:pt x="114" y="345"/>
                    </a:lnTo>
                    <a:lnTo>
                      <a:pt x="112" y="347"/>
                    </a:lnTo>
                    <a:lnTo>
                      <a:pt x="112" y="344"/>
                    </a:lnTo>
                    <a:lnTo>
                      <a:pt x="111" y="342"/>
                    </a:lnTo>
                    <a:lnTo>
                      <a:pt x="111" y="335"/>
                    </a:lnTo>
                    <a:lnTo>
                      <a:pt x="112" y="334"/>
                    </a:lnTo>
                    <a:lnTo>
                      <a:pt x="114" y="330"/>
                    </a:lnTo>
                    <a:lnTo>
                      <a:pt x="115" y="327"/>
                    </a:lnTo>
                    <a:lnTo>
                      <a:pt x="115" y="324"/>
                    </a:lnTo>
                    <a:lnTo>
                      <a:pt x="115" y="319"/>
                    </a:lnTo>
                    <a:lnTo>
                      <a:pt x="117" y="317"/>
                    </a:lnTo>
                    <a:lnTo>
                      <a:pt x="118" y="317"/>
                    </a:lnTo>
                    <a:lnTo>
                      <a:pt x="117" y="315"/>
                    </a:lnTo>
                    <a:lnTo>
                      <a:pt x="115" y="315"/>
                    </a:lnTo>
                    <a:lnTo>
                      <a:pt x="115" y="315"/>
                    </a:lnTo>
                    <a:lnTo>
                      <a:pt x="114" y="314"/>
                    </a:lnTo>
                    <a:lnTo>
                      <a:pt x="114" y="312"/>
                    </a:lnTo>
                    <a:lnTo>
                      <a:pt x="115" y="308"/>
                    </a:lnTo>
                    <a:lnTo>
                      <a:pt x="115" y="307"/>
                    </a:lnTo>
                    <a:lnTo>
                      <a:pt x="114" y="307"/>
                    </a:lnTo>
                    <a:lnTo>
                      <a:pt x="114" y="307"/>
                    </a:lnTo>
                    <a:lnTo>
                      <a:pt x="114" y="307"/>
                    </a:lnTo>
                    <a:lnTo>
                      <a:pt x="114" y="307"/>
                    </a:lnTo>
                    <a:lnTo>
                      <a:pt x="114" y="305"/>
                    </a:lnTo>
                    <a:lnTo>
                      <a:pt x="114" y="305"/>
                    </a:lnTo>
                    <a:lnTo>
                      <a:pt x="114" y="305"/>
                    </a:lnTo>
                    <a:lnTo>
                      <a:pt x="115" y="305"/>
                    </a:lnTo>
                    <a:lnTo>
                      <a:pt x="114" y="304"/>
                    </a:lnTo>
                    <a:lnTo>
                      <a:pt x="114" y="304"/>
                    </a:lnTo>
                    <a:lnTo>
                      <a:pt x="114" y="304"/>
                    </a:lnTo>
                    <a:lnTo>
                      <a:pt x="114" y="302"/>
                    </a:lnTo>
                    <a:lnTo>
                      <a:pt x="114" y="299"/>
                    </a:lnTo>
                    <a:lnTo>
                      <a:pt x="114" y="298"/>
                    </a:lnTo>
                    <a:lnTo>
                      <a:pt x="114" y="294"/>
                    </a:lnTo>
                    <a:lnTo>
                      <a:pt x="112" y="288"/>
                    </a:lnTo>
                    <a:lnTo>
                      <a:pt x="111" y="286"/>
                    </a:lnTo>
                    <a:lnTo>
                      <a:pt x="109" y="284"/>
                    </a:lnTo>
                    <a:lnTo>
                      <a:pt x="108" y="281"/>
                    </a:lnTo>
                    <a:lnTo>
                      <a:pt x="107" y="279"/>
                    </a:lnTo>
                    <a:lnTo>
                      <a:pt x="107" y="278"/>
                    </a:lnTo>
                    <a:lnTo>
                      <a:pt x="107" y="278"/>
                    </a:lnTo>
                    <a:lnTo>
                      <a:pt x="107" y="276"/>
                    </a:lnTo>
                    <a:lnTo>
                      <a:pt x="107" y="275"/>
                    </a:lnTo>
                    <a:lnTo>
                      <a:pt x="105" y="281"/>
                    </a:lnTo>
                    <a:lnTo>
                      <a:pt x="105" y="279"/>
                    </a:lnTo>
                    <a:lnTo>
                      <a:pt x="104" y="276"/>
                    </a:lnTo>
                    <a:lnTo>
                      <a:pt x="104" y="273"/>
                    </a:lnTo>
                    <a:lnTo>
                      <a:pt x="104" y="271"/>
                    </a:lnTo>
                    <a:lnTo>
                      <a:pt x="104" y="269"/>
                    </a:lnTo>
                    <a:lnTo>
                      <a:pt x="102" y="266"/>
                    </a:lnTo>
                    <a:lnTo>
                      <a:pt x="101" y="265"/>
                    </a:lnTo>
                    <a:lnTo>
                      <a:pt x="101" y="262"/>
                    </a:lnTo>
                    <a:lnTo>
                      <a:pt x="104" y="263"/>
                    </a:lnTo>
                    <a:lnTo>
                      <a:pt x="102" y="262"/>
                    </a:lnTo>
                    <a:lnTo>
                      <a:pt x="101" y="262"/>
                    </a:lnTo>
                    <a:lnTo>
                      <a:pt x="101" y="261"/>
                    </a:lnTo>
                    <a:lnTo>
                      <a:pt x="101" y="261"/>
                    </a:lnTo>
                    <a:lnTo>
                      <a:pt x="99" y="259"/>
                    </a:lnTo>
                    <a:lnTo>
                      <a:pt x="98" y="246"/>
                    </a:lnTo>
                    <a:lnTo>
                      <a:pt x="97" y="238"/>
                    </a:lnTo>
                    <a:lnTo>
                      <a:pt x="95" y="232"/>
                    </a:lnTo>
                    <a:lnTo>
                      <a:pt x="98" y="227"/>
                    </a:lnTo>
                    <a:lnTo>
                      <a:pt x="95" y="229"/>
                    </a:lnTo>
                    <a:lnTo>
                      <a:pt x="92" y="227"/>
                    </a:lnTo>
                    <a:lnTo>
                      <a:pt x="91" y="226"/>
                    </a:lnTo>
                    <a:lnTo>
                      <a:pt x="89" y="223"/>
                    </a:lnTo>
                    <a:lnTo>
                      <a:pt x="88" y="219"/>
                    </a:lnTo>
                    <a:lnTo>
                      <a:pt x="88" y="219"/>
                    </a:lnTo>
                    <a:lnTo>
                      <a:pt x="87" y="217"/>
                    </a:lnTo>
                    <a:lnTo>
                      <a:pt x="87" y="216"/>
                    </a:lnTo>
                    <a:lnTo>
                      <a:pt x="85" y="215"/>
                    </a:lnTo>
                    <a:lnTo>
                      <a:pt x="84" y="213"/>
                    </a:lnTo>
                    <a:lnTo>
                      <a:pt x="82" y="213"/>
                    </a:lnTo>
                    <a:lnTo>
                      <a:pt x="82" y="213"/>
                    </a:lnTo>
                    <a:lnTo>
                      <a:pt x="84" y="213"/>
                    </a:lnTo>
                    <a:lnTo>
                      <a:pt x="84" y="215"/>
                    </a:lnTo>
                    <a:lnTo>
                      <a:pt x="84" y="216"/>
                    </a:lnTo>
                    <a:lnTo>
                      <a:pt x="84" y="219"/>
                    </a:lnTo>
                    <a:lnTo>
                      <a:pt x="84" y="219"/>
                    </a:lnTo>
                    <a:lnTo>
                      <a:pt x="84" y="222"/>
                    </a:lnTo>
                    <a:lnTo>
                      <a:pt x="82" y="223"/>
                    </a:lnTo>
                    <a:lnTo>
                      <a:pt x="81" y="226"/>
                    </a:lnTo>
                    <a:lnTo>
                      <a:pt x="79" y="227"/>
                    </a:lnTo>
                    <a:lnTo>
                      <a:pt x="78" y="227"/>
                    </a:lnTo>
                    <a:lnTo>
                      <a:pt x="76" y="229"/>
                    </a:lnTo>
                    <a:lnTo>
                      <a:pt x="75" y="229"/>
                    </a:lnTo>
                    <a:lnTo>
                      <a:pt x="74" y="229"/>
                    </a:lnTo>
                    <a:lnTo>
                      <a:pt x="72" y="227"/>
                    </a:lnTo>
                    <a:lnTo>
                      <a:pt x="72" y="225"/>
                    </a:lnTo>
                    <a:lnTo>
                      <a:pt x="71" y="225"/>
                    </a:lnTo>
                    <a:lnTo>
                      <a:pt x="72" y="226"/>
                    </a:lnTo>
                    <a:lnTo>
                      <a:pt x="72" y="227"/>
                    </a:lnTo>
                    <a:lnTo>
                      <a:pt x="72" y="230"/>
                    </a:lnTo>
                    <a:lnTo>
                      <a:pt x="72" y="230"/>
                    </a:lnTo>
                    <a:lnTo>
                      <a:pt x="72" y="230"/>
                    </a:lnTo>
                    <a:lnTo>
                      <a:pt x="71" y="232"/>
                    </a:lnTo>
                    <a:lnTo>
                      <a:pt x="69" y="233"/>
                    </a:lnTo>
                    <a:lnTo>
                      <a:pt x="66" y="233"/>
                    </a:lnTo>
                    <a:lnTo>
                      <a:pt x="65" y="235"/>
                    </a:lnTo>
                    <a:lnTo>
                      <a:pt x="64" y="236"/>
                    </a:lnTo>
                    <a:lnTo>
                      <a:pt x="62" y="239"/>
                    </a:lnTo>
                    <a:lnTo>
                      <a:pt x="61" y="242"/>
                    </a:lnTo>
                    <a:lnTo>
                      <a:pt x="58" y="243"/>
                    </a:lnTo>
                    <a:lnTo>
                      <a:pt x="56" y="243"/>
                    </a:lnTo>
                    <a:lnTo>
                      <a:pt x="55" y="242"/>
                    </a:lnTo>
                    <a:lnTo>
                      <a:pt x="56" y="239"/>
                    </a:lnTo>
                    <a:lnTo>
                      <a:pt x="56" y="236"/>
                    </a:lnTo>
                    <a:lnTo>
                      <a:pt x="55" y="239"/>
                    </a:lnTo>
                    <a:lnTo>
                      <a:pt x="53" y="240"/>
                    </a:lnTo>
                    <a:lnTo>
                      <a:pt x="52" y="242"/>
                    </a:lnTo>
                    <a:lnTo>
                      <a:pt x="49" y="242"/>
                    </a:lnTo>
                    <a:lnTo>
                      <a:pt x="49" y="240"/>
                    </a:lnTo>
                    <a:lnTo>
                      <a:pt x="48" y="239"/>
                    </a:lnTo>
                    <a:lnTo>
                      <a:pt x="48" y="236"/>
                    </a:lnTo>
                    <a:lnTo>
                      <a:pt x="48" y="235"/>
                    </a:lnTo>
                    <a:lnTo>
                      <a:pt x="48" y="236"/>
                    </a:lnTo>
                    <a:lnTo>
                      <a:pt x="46" y="238"/>
                    </a:lnTo>
                    <a:lnTo>
                      <a:pt x="46" y="239"/>
                    </a:lnTo>
                    <a:lnTo>
                      <a:pt x="43" y="240"/>
                    </a:lnTo>
                    <a:lnTo>
                      <a:pt x="43" y="238"/>
                    </a:lnTo>
                    <a:lnTo>
                      <a:pt x="45" y="232"/>
                    </a:lnTo>
                    <a:lnTo>
                      <a:pt x="45" y="229"/>
                    </a:lnTo>
                    <a:lnTo>
                      <a:pt x="43" y="232"/>
                    </a:lnTo>
                    <a:lnTo>
                      <a:pt x="42" y="235"/>
                    </a:lnTo>
                    <a:lnTo>
                      <a:pt x="39" y="238"/>
                    </a:lnTo>
                    <a:lnTo>
                      <a:pt x="36" y="238"/>
                    </a:lnTo>
                    <a:lnTo>
                      <a:pt x="36" y="235"/>
                    </a:lnTo>
                    <a:lnTo>
                      <a:pt x="38" y="229"/>
                    </a:lnTo>
                    <a:lnTo>
                      <a:pt x="41" y="220"/>
                    </a:lnTo>
                    <a:lnTo>
                      <a:pt x="42" y="216"/>
                    </a:lnTo>
                    <a:lnTo>
                      <a:pt x="42" y="213"/>
                    </a:lnTo>
                    <a:lnTo>
                      <a:pt x="42" y="209"/>
                    </a:lnTo>
                    <a:lnTo>
                      <a:pt x="39" y="196"/>
                    </a:lnTo>
                    <a:lnTo>
                      <a:pt x="38" y="192"/>
                    </a:lnTo>
                    <a:lnTo>
                      <a:pt x="35" y="187"/>
                    </a:lnTo>
                    <a:lnTo>
                      <a:pt x="36" y="187"/>
                    </a:lnTo>
                    <a:lnTo>
                      <a:pt x="35" y="186"/>
                    </a:lnTo>
                    <a:lnTo>
                      <a:pt x="33" y="183"/>
                    </a:lnTo>
                    <a:lnTo>
                      <a:pt x="33" y="180"/>
                    </a:lnTo>
                    <a:lnTo>
                      <a:pt x="33" y="177"/>
                    </a:lnTo>
                    <a:lnTo>
                      <a:pt x="32" y="180"/>
                    </a:lnTo>
                    <a:lnTo>
                      <a:pt x="32" y="183"/>
                    </a:lnTo>
                    <a:lnTo>
                      <a:pt x="30" y="184"/>
                    </a:lnTo>
                    <a:lnTo>
                      <a:pt x="29" y="184"/>
                    </a:lnTo>
                    <a:lnTo>
                      <a:pt x="26" y="181"/>
                    </a:lnTo>
                    <a:lnTo>
                      <a:pt x="25" y="179"/>
                    </a:lnTo>
                    <a:lnTo>
                      <a:pt x="23" y="177"/>
                    </a:lnTo>
                    <a:lnTo>
                      <a:pt x="26" y="176"/>
                    </a:lnTo>
                    <a:lnTo>
                      <a:pt x="28" y="177"/>
                    </a:lnTo>
                    <a:lnTo>
                      <a:pt x="28" y="179"/>
                    </a:lnTo>
                    <a:lnTo>
                      <a:pt x="29" y="179"/>
                    </a:lnTo>
                    <a:lnTo>
                      <a:pt x="30" y="177"/>
                    </a:lnTo>
                    <a:lnTo>
                      <a:pt x="32" y="176"/>
                    </a:lnTo>
                    <a:lnTo>
                      <a:pt x="32" y="174"/>
                    </a:lnTo>
                    <a:lnTo>
                      <a:pt x="30" y="174"/>
                    </a:lnTo>
                    <a:lnTo>
                      <a:pt x="30" y="173"/>
                    </a:lnTo>
                    <a:lnTo>
                      <a:pt x="28" y="170"/>
                    </a:lnTo>
                    <a:lnTo>
                      <a:pt x="26" y="169"/>
                    </a:lnTo>
                    <a:lnTo>
                      <a:pt x="28" y="166"/>
                    </a:lnTo>
                    <a:lnTo>
                      <a:pt x="23" y="166"/>
                    </a:lnTo>
                    <a:lnTo>
                      <a:pt x="20" y="163"/>
                    </a:lnTo>
                    <a:lnTo>
                      <a:pt x="19" y="163"/>
                    </a:lnTo>
                    <a:lnTo>
                      <a:pt x="18" y="167"/>
                    </a:lnTo>
                    <a:lnTo>
                      <a:pt x="16" y="166"/>
                    </a:lnTo>
                    <a:lnTo>
                      <a:pt x="15" y="164"/>
                    </a:lnTo>
                    <a:lnTo>
                      <a:pt x="15" y="163"/>
                    </a:lnTo>
                    <a:lnTo>
                      <a:pt x="16" y="161"/>
                    </a:lnTo>
                    <a:lnTo>
                      <a:pt x="16" y="161"/>
                    </a:lnTo>
                    <a:lnTo>
                      <a:pt x="15" y="161"/>
                    </a:lnTo>
                    <a:lnTo>
                      <a:pt x="16" y="160"/>
                    </a:lnTo>
                    <a:lnTo>
                      <a:pt x="16" y="158"/>
                    </a:lnTo>
                    <a:lnTo>
                      <a:pt x="16" y="157"/>
                    </a:lnTo>
                    <a:lnTo>
                      <a:pt x="16" y="157"/>
                    </a:lnTo>
                    <a:lnTo>
                      <a:pt x="15" y="158"/>
                    </a:lnTo>
                    <a:lnTo>
                      <a:pt x="13" y="160"/>
                    </a:lnTo>
                    <a:lnTo>
                      <a:pt x="13" y="161"/>
                    </a:lnTo>
                    <a:lnTo>
                      <a:pt x="12" y="160"/>
                    </a:lnTo>
                    <a:lnTo>
                      <a:pt x="12" y="160"/>
                    </a:lnTo>
                    <a:lnTo>
                      <a:pt x="12" y="158"/>
                    </a:lnTo>
                    <a:lnTo>
                      <a:pt x="13" y="157"/>
                    </a:lnTo>
                    <a:lnTo>
                      <a:pt x="12" y="156"/>
                    </a:lnTo>
                    <a:lnTo>
                      <a:pt x="12" y="156"/>
                    </a:lnTo>
                    <a:lnTo>
                      <a:pt x="10" y="154"/>
                    </a:lnTo>
                    <a:lnTo>
                      <a:pt x="10" y="156"/>
                    </a:lnTo>
                    <a:lnTo>
                      <a:pt x="10" y="156"/>
                    </a:lnTo>
                    <a:lnTo>
                      <a:pt x="10" y="157"/>
                    </a:lnTo>
                    <a:lnTo>
                      <a:pt x="10" y="158"/>
                    </a:lnTo>
                    <a:lnTo>
                      <a:pt x="3" y="150"/>
                    </a:lnTo>
                    <a:lnTo>
                      <a:pt x="0" y="144"/>
                    </a:lnTo>
                    <a:lnTo>
                      <a:pt x="0" y="141"/>
                    </a:lnTo>
                    <a:lnTo>
                      <a:pt x="0" y="138"/>
                    </a:lnTo>
                    <a:lnTo>
                      <a:pt x="2" y="138"/>
                    </a:lnTo>
                    <a:lnTo>
                      <a:pt x="3" y="138"/>
                    </a:lnTo>
                    <a:lnTo>
                      <a:pt x="6" y="138"/>
                    </a:lnTo>
                    <a:lnTo>
                      <a:pt x="8" y="140"/>
                    </a:lnTo>
                    <a:lnTo>
                      <a:pt x="8" y="140"/>
                    </a:lnTo>
                    <a:lnTo>
                      <a:pt x="8" y="133"/>
                    </a:lnTo>
                    <a:lnTo>
                      <a:pt x="8" y="127"/>
                    </a:lnTo>
                    <a:lnTo>
                      <a:pt x="9" y="127"/>
                    </a:lnTo>
                    <a:lnTo>
                      <a:pt x="9" y="125"/>
                    </a:lnTo>
                    <a:lnTo>
                      <a:pt x="9" y="124"/>
                    </a:lnTo>
                    <a:lnTo>
                      <a:pt x="10" y="124"/>
                    </a:lnTo>
                    <a:lnTo>
                      <a:pt x="10" y="124"/>
                    </a:lnTo>
                    <a:lnTo>
                      <a:pt x="10" y="124"/>
                    </a:lnTo>
                    <a:lnTo>
                      <a:pt x="12" y="125"/>
                    </a:lnTo>
                    <a:lnTo>
                      <a:pt x="12" y="125"/>
                    </a:lnTo>
                    <a:lnTo>
                      <a:pt x="13" y="127"/>
                    </a:lnTo>
                    <a:lnTo>
                      <a:pt x="13" y="127"/>
                    </a:lnTo>
                    <a:lnTo>
                      <a:pt x="15" y="127"/>
                    </a:lnTo>
                    <a:lnTo>
                      <a:pt x="15" y="125"/>
                    </a:lnTo>
                    <a:lnTo>
                      <a:pt x="15" y="124"/>
                    </a:lnTo>
                    <a:lnTo>
                      <a:pt x="16" y="123"/>
                    </a:lnTo>
                    <a:lnTo>
                      <a:pt x="16" y="123"/>
                    </a:lnTo>
                    <a:lnTo>
                      <a:pt x="16" y="123"/>
                    </a:lnTo>
                    <a:lnTo>
                      <a:pt x="16" y="123"/>
                    </a:lnTo>
                    <a:lnTo>
                      <a:pt x="18" y="123"/>
                    </a:lnTo>
                    <a:lnTo>
                      <a:pt x="18" y="123"/>
                    </a:lnTo>
                    <a:lnTo>
                      <a:pt x="18" y="121"/>
                    </a:lnTo>
                    <a:lnTo>
                      <a:pt x="18" y="120"/>
                    </a:lnTo>
                    <a:lnTo>
                      <a:pt x="18" y="120"/>
                    </a:lnTo>
                    <a:lnTo>
                      <a:pt x="18" y="118"/>
                    </a:lnTo>
                    <a:lnTo>
                      <a:pt x="16" y="117"/>
                    </a:lnTo>
                    <a:lnTo>
                      <a:pt x="16" y="115"/>
                    </a:lnTo>
                    <a:lnTo>
                      <a:pt x="16" y="112"/>
                    </a:lnTo>
                    <a:lnTo>
                      <a:pt x="16" y="111"/>
                    </a:lnTo>
                    <a:lnTo>
                      <a:pt x="18" y="110"/>
                    </a:lnTo>
                    <a:lnTo>
                      <a:pt x="18" y="110"/>
                    </a:lnTo>
                    <a:lnTo>
                      <a:pt x="18" y="108"/>
                    </a:lnTo>
                    <a:lnTo>
                      <a:pt x="18" y="107"/>
                    </a:lnTo>
                    <a:lnTo>
                      <a:pt x="18" y="107"/>
                    </a:lnTo>
                    <a:lnTo>
                      <a:pt x="19" y="107"/>
                    </a:lnTo>
                    <a:lnTo>
                      <a:pt x="19" y="107"/>
                    </a:lnTo>
                    <a:lnTo>
                      <a:pt x="19" y="107"/>
                    </a:lnTo>
                    <a:lnTo>
                      <a:pt x="20" y="105"/>
                    </a:lnTo>
                    <a:lnTo>
                      <a:pt x="22" y="102"/>
                    </a:lnTo>
                    <a:lnTo>
                      <a:pt x="22" y="97"/>
                    </a:lnTo>
                    <a:lnTo>
                      <a:pt x="22" y="95"/>
                    </a:lnTo>
                    <a:lnTo>
                      <a:pt x="22" y="95"/>
                    </a:lnTo>
                    <a:lnTo>
                      <a:pt x="22" y="95"/>
                    </a:lnTo>
                    <a:lnTo>
                      <a:pt x="22" y="94"/>
                    </a:lnTo>
                    <a:lnTo>
                      <a:pt x="22" y="94"/>
                    </a:lnTo>
                    <a:lnTo>
                      <a:pt x="20" y="88"/>
                    </a:lnTo>
                    <a:lnTo>
                      <a:pt x="20" y="88"/>
                    </a:lnTo>
                    <a:lnTo>
                      <a:pt x="20" y="88"/>
                    </a:lnTo>
                    <a:lnTo>
                      <a:pt x="20" y="87"/>
                    </a:lnTo>
                    <a:lnTo>
                      <a:pt x="20" y="87"/>
                    </a:lnTo>
                    <a:lnTo>
                      <a:pt x="20" y="87"/>
                    </a:lnTo>
                    <a:lnTo>
                      <a:pt x="22" y="88"/>
                    </a:lnTo>
                    <a:lnTo>
                      <a:pt x="23" y="88"/>
                    </a:lnTo>
                    <a:lnTo>
                      <a:pt x="23" y="89"/>
                    </a:lnTo>
                    <a:lnTo>
                      <a:pt x="25" y="88"/>
                    </a:lnTo>
                    <a:lnTo>
                      <a:pt x="25" y="88"/>
                    </a:lnTo>
                    <a:lnTo>
                      <a:pt x="26" y="88"/>
                    </a:lnTo>
                    <a:lnTo>
                      <a:pt x="26" y="88"/>
                    </a:lnTo>
                    <a:lnTo>
                      <a:pt x="26" y="88"/>
                    </a:lnTo>
                    <a:lnTo>
                      <a:pt x="29" y="89"/>
                    </a:lnTo>
                    <a:lnTo>
                      <a:pt x="32" y="89"/>
                    </a:lnTo>
                    <a:lnTo>
                      <a:pt x="32" y="89"/>
                    </a:lnTo>
                    <a:lnTo>
                      <a:pt x="32" y="89"/>
                    </a:lnTo>
                    <a:lnTo>
                      <a:pt x="33" y="91"/>
                    </a:lnTo>
                    <a:lnTo>
                      <a:pt x="33" y="91"/>
                    </a:lnTo>
                    <a:lnTo>
                      <a:pt x="35" y="91"/>
                    </a:lnTo>
                    <a:lnTo>
                      <a:pt x="35" y="91"/>
                    </a:lnTo>
                    <a:lnTo>
                      <a:pt x="35" y="89"/>
                    </a:lnTo>
                    <a:lnTo>
                      <a:pt x="35" y="89"/>
                    </a:lnTo>
                    <a:lnTo>
                      <a:pt x="36" y="87"/>
                    </a:lnTo>
                    <a:lnTo>
                      <a:pt x="38" y="84"/>
                    </a:lnTo>
                    <a:lnTo>
                      <a:pt x="38" y="81"/>
                    </a:lnTo>
                    <a:lnTo>
                      <a:pt x="39" y="79"/>
                    </a:lnTo>
                    <a:lnTo>
                      <a:pt x="39" y="78"/>
                    </a:lnTo>
                    <a:lnTo>
                      <a:pt x="41" y="77"/>
                    </a:lnTo>
                    <a:lnTo>
                      <a:pt x="42" y="75"/>
                    </a:lnTo>
                    <a:lnTo>
                      <a:pt x="42" y="74"/>
                    </a:lnTo>
                    <a:lnTo>
                      <a:pt x="43" y="71"/>
                    </a:lnTo>
                    <a:lnTo>
                      <a:pt x="45" y="68"/>
                    </a:lnTo>
                    <a:lnTo>
                      <a:pt x="45" y="68"/>
                    </a:lnTo>
                    <a:lnTo>
                      <a:pt x="45" y="68"/>
                    </a:lnTo>
                    <a:lnTo>
                      <a:pt x="45" y="67"/>
                    </a:lnTo>
                    <a:lnTo>
                      <a:pt x="45" y="67"/>
                    </a:lnTo>
                    <a:lnTo>
                      <a:pt x="45" y="67"/>
                    </a:lnTo>
                    <a:lnTo>
                      <a:pt x="43" y="67"/>
                    </a:lnTo>
                    <a:lnTo>
                      <a:pt x="43" y="67"/>
                    </a:lnTo>
                    <a:lnTo>
                      <a:pt x="43" y="65"/>
                    </a:lnTo>
                    <a:lnTo>
                      <a:pt x="43" y="65"/>
                    </a:lnTo>
                    <a:lnTo>
                      <a:pt x="42" y="65"/>
                    </a:lnTo>
                    <a:lnTo>
                      <a:pt x="42" y="65"/>
                    </a:lnTo>
                    <a:lnTo>
                      <a:pt x="42" y="65"/>
                    </a:lnTo>
                    <a:lnTo>
                      <a:pt x="42" y="64"/>
                    </a:lnTo>
                    <a:lnTo>
                      <a:pt x="42" y="64"/>
                    </a:lnTo>
                    <a:lnTo>
                      <a:pt x="42" y="64"/>
                    </a:lnTo>
                    <a:lnTo>
                      <a:pt x="42" y="62"/>
                    </a:lnTo>
                    <a:lnTo>
                      <a:pt x="43" y="62"/>
                    </a:lnTo>
                    <a:lnTo>
                      <a:pt x="43" y="61"/>
                    </a:lnTo>
                    <a:lnTo>
                      <a:pt x="45" y="61"/>
                    </a:lnTo>
                    <a:lnTo>
                      <a:pt x="45" y="59"/>
                    </a:lnTo>
                    <a:lnTo>
                      <a:pt x="46" y="59"/>
                    </a:lnTo>
                    <a:lnTo>
                      <a:pt x="46" y="58"/>
                    </a:lnTo>
                    <a:lnTo>
                      <a:pt x="48" y="58"/>
                    </a:lnTo>
                    <a:lnTo>
                      <a:pt x="48" y="56"/>
                    </a:lnTo>
                    <a:lnTo>
                      <a:pt x="49" y="55"/>
                    </a:lnTo>
                    <a:lnTo>
                      <a:pt x="49" y="54"/>
                    </a:lnTo>
                    <a:lnTo>
                      <a:pt x="51" y="54"/>
                    </a:lnTo>
                    <a:lnTo>
                      <a:pt x="51" y="52"/>
                    </a:lnTo>
                    <a:lnTo>
                      <a:pt x="51" y="51"/>
                    </a:lnTo>
                    <a:lnTo>
                      <a:pt x="51" y="51"/>
                    </a:lnTo>
                    <a:lnTo>
                      <a:pt x="52" y="49"/>
                    </a:lnTo>
                    <a:lnTo>
                      <a:pt x="52" y="49"/>
                    </a:lnTo>
                    <a:lnTo>
                      <a:pt x="52" y="49"/>
                    </a:lnTo>
                    <a:lnTo>
                      <a:pt x="52" y="48"/>
                    </a:lnTo>
                    <a:lnTo>
                      <a:pt x="52" y="48"/>
                    </a:lnTo>
                    <a:lnTo>
                      <a:pt x="52" y="48"/>
                    </a:lnTo>
                    <a:lnTo>
                      <a:pt x="52" y="48"/>
                    </a:lnTo>
                    <a:lnTo>
                      <a:pt x="52" y="46"/>
                    </a:lnTo>
                    <a:lnTo>
                      <a:pt x="52" y="46"/>
                    </a:lnTo>
                    <a:lnTo>
                      <a:pt x="51" y="45"/>
                    </a:lnTo>
                    <a:lnTo>
                      <a:pt x="51" y="45"/>
                    </a:lnTo>
                    <a:lnTo>
                      <a:pt x="51" y="44"/>
                    </a:lnTo>
                    <a:lnTo>
                      <a:pt x="51" y="44"/>
                    </a:lnTo>
                    <a:lnTo>
                      <a:pt x="51" y="42"/>
                    </a:lnTo>
                    <a:lnTo>
                      <a:pt x="51" y="41"/>
                    </a:lnTo>
                    <a:lnTo>
                      <a:pt x="51" y="41"/>
                    </a:lnTo>
                    <a:lnTo>
                      <a:pt x="51" y="39"/>
                    </a:lnTo>
                    <a:lnTo>
                      <a:pt x="52" y="39"/>
                    </a:lnTo>
                    <a:lnTo>
                      <a:pt x="52" y="38"/>
                    </a:lnTo>
                    <a:lnTo>
                      <a:pt x="52" y="38"/>
                    </a:lnTo>
                    <a:lnTo>
                      <a:pt x="53" y="38"/>
                    </a:lnTo>
                    <a:lnTo>
                      <a:pt x="53" y="36"/>
                    </a:lnTo>
                    <a:lnTo>
                      <a:pt x="55" y="36"/>
                    </a:lnTo>
                    <a:lnTo>
                      <a:pt x="55" y="36"/>
                    </a:lnTo>
                    <a:lnTo>
                      <a:pt x="58" y="35"/>
                    </a:lnTo>
                    <a:lnTo>
                      <a:pt x="61" y="32"/>
                    </a:lnTo>
                    <a:lnTo>
                      <a:pt x="64" y="31"/>
                    </a:lnTo>
                    <a:lnTo>
                      <a:pt x="65" y="29"/>
                    </a:lnTo>
                    <a:lnTo>
                      <a:pt x="65" y="29"/>
                    </a:lnTo>
                    <a:lnTo>
                      <a:pt x="66" y="29"/>
                    </a:lnTo>
                    <a:lnTo>
                      <a:pt x="66" y="29"/>
                    </a:lnTo>
                    <a:lnTo>
                      <a:pt x="66" y="28"/>
                    </a:lnTo>
                    <a:lnTo>
                      <a:pt x="68" y="28"/>
                    </a:lnTo>
                    <a:lnTo>
                      <a:pt x="68" y="26"/>
                    </a:lnTo>
                    <a:lnTo>
                      <a:pt x="68" y="26"/>
                    </a:lnTo>
                    <a:lnTo>
                      <a:pt x="69" y="26"/>
                    </a:lnTo>
                    <a:lnTo>
                      <a:pt x="69" y="25"/>
                    </a:lnTo>
                    <a:lnTo>
                      <a:pt x="69" y="25"/>
                    </a:lnTo>
                    <a:lnTo>
                      <a:pt x="71" y="25"/>
                    </a:lnTo>
                    <a:lnTo>
                      <a:pt x="74" y="23"/>
                    </a:lnTo>
                    <a:lnTo>
                      <a:pt x="78" y="23"/>
                    </a:lnTo>
                    <a:lnTo>
                      <a:pt x="79" y="23"/>
                    </a:lnTo>
                    <a:lnTo>
                      <a:pt x="82" y="23"/>
                    </a:lnTo>
                    <a:lnTo>
                      <a:pt x="82" y="25"/>
                    </a:lnTo>
                    <a:lnTo>
                      <a:pt x="82" y="26"/>
                    </a:lnTo>
                    <a:lnTo>
                      <a:pt x="84" y="26"/>
                    </a:lnTo>
                    <a:lnTo>
                      <a:pt x="84" y="28"/>
                    </a:lnTo>
                    <a:lnTo>
                      <a:pt x="85" y="28"/>
                    </a:lnTo>
                    <a:lnTo>
                      <a:pt x="87" y="28"/>
                    </a:lnTo>
                    <a:lnTo>
                      <a:pt x="87" y="28"/>
                    </a:lnTo>
                    <a:lnTo>
                      <a:pt x="87" y="26"/>
                    </a:lnTo>
                    <a:lnTo>
                      <a:pt x="84" y="22"/>
                    </a:lnTo>
                    <a:lnTo>
                      <a:pt x="84" y="22"/>
                    </a:lnTo>
                    <a:lnTo>
                      <a:pt x="84" y="21"/>
                    </a:lnTo>
                    <a:lnTo>
                      <a:pt x="84" y="21"/>
                    </a:lnTo>
                    <a:lnTo>
                      <a:pt x="84" y="19"/>
                    </a:lnTo>
                    <a:lnTo>
                      <a:pt x="84" y="19"/>
                    </a:lnTo>
                    <a:lnTo>
                      <a:pt x="84" y="19"/>
                    </a:lnTo>
                    <a:lnTo>
                      <a:pt x="84" y="18"/>
                    </a:lnTo>
                    <a:lnTo>
                      <a:pt x="84" y="18"/>
                    </a:lnTo>
                    <a:lnTo>
                      <a:pt x="84" y="18"/>
                    </a:lnTo>
                    <a:lnTo>
                      <a:pt x="84" y="16"/>
                    </a:lnTo>
                    <a:lnTo>
                      <a:pt x="84" y="16"/>
                    </a:lnTo>
                    <a:lnTo>
                      <a:pt x="84" y="16"/>
                    </a:lnTo>
                    <a:lnTo>
                      <a:pt x="87" y="15"/>
                    </a:lnTo>
                    <a:lnTo>
                      <a:pt x="87" y="13"/>
                    </a:lnTo>
                    <a:lnTo>
                      <a:pt x="88" y="13"/>
                    </a:lnTo>
                    <a:lnTo>
                      <a:pt x="89" y="12"/>
                    </a:lnTo>
                    <a:lnTo>
                      <a:pt x="91" y="12"/>
                    </a:lnTo>
                    <a:lnTo>
                      <a:pt x="91" y="8"/>
                    </a:lnTo>
                    <a:lnTo>
                      <a:pt x="91" y="6"/>
                    </a:lnTo>
                    <a:lnTo>
                      <a:pt x="91" y="6"/>
                    </a:lnTo>
                    <a:lnTo>
                      <a:pt x="91" y="6"/>
                    </a:lnTo>
                    <a:lnTo>
                      <a:pt x="91" y="6"/>
                    </a:lnTo>
                    <a:lnTo>
                      <a:pt x="94" y="2"/>
                    </a:lnTo>
                    <a:lnTo>
                      <a:pt x="94" y="0"/>
                    </a:lnTo>
                    <a:lnTo>
                      <a:pt x="97" y="0"/>
                    </a:lnTo>
                    <a:lnTo>
                      <a:pt x="97" y="0"/>
                    </a:lnTo>
                    <a:lnTo>
                      <a:pt x="98" y="2"/>
                    </a:lnTo>
                    <a:lnTo>
                      <a:pt x="98" y="3"/>
                    </a:lnTo>
                    <a:lnTo>
                      <a:pt x="99" y="3"/>
                    </a:lnTo>
                    <a:lnTo>
                      <a:pt x="101" y="3"/>
                    </a:lnTo>
                    <a:lnTo>
                      <a:pt x="101" y="5"/>
                    </a:lnTo>
                    <a:lnTo>
                      <a:pt x="102" y="5"/>
                    </a:lnTo>
                    <a:lnTo>
                      <a:pt x="104" y="6"/>
                    </a:lnTo>
                    <a:lnTo>
                      <a:pt x="105" y="9"/>
                    </a:lnTo>
                    <a:lnTo>
                      <a:pt x="107" y="16"/>
                    </a:lnTo>
                    <a:lnTo>
                      <a:pt x="108" y="18"/>
                    </a:lnTo>
                    <a:lnTo>
                      <a:pt x="108" y="19"/>
                    </a:lnTo>
                    <a:lnTo>
                      <a:pt x="109" y="19"/>
                    </a:lnTo>
                    <a:lnTo>
                      <a:pt x="111" y="18"/>
                    </a:lnTo>
                    <a:lnTo>
                      <a:pt x="111" y="16"/>
                    </a:lnTo>
                    <a:lnTo>
                      <a:pt x="114" y="18"/>
                    </a:lnTo>
                    <a:lnTo>
                      <a:pt x="115" y="21"/>
                    </a:lnTo>
                    <a:lnTo>
                      <a:pt x="115" y="26"/>
                    </a:lnTo>
                    <a:lnTo>
                      <a:pt x="115" y="35"/>
                    </a:lnTo>
                    <a:lnTo>
                      <a:pt x="115" y="39"/>
                    </a:lnTo>
                    <a:lnTo>
                      <a:pt x="115" y="44"/>
                    </a:lnTo>
                    <a:lnTo>
                      <a:pt x="114" y="46"/>
                    </a:lnTo>
                    <a:lnTo>
                      <a:pt x="114" y="49"/>
                    </a:lnTo>
                    <a:lnTo>
                      <a:pt x="114" y="51"/>
                    </a:lnTo>
                    <a:lnTo>
                      <a:pt x="114" y="51"/>
                    </a:lnTo>
                    <a:lnTo>
                      <a:pt x="114" y="52"/>
                    </a:lnTo>
                    <a:lnTo>
                      <a:pt x="114" y="52"/>
                    </a:lnTo>
                    <a:lnTo>
                      <a:pt x="114" y="54"/>
                    </a:lnTo>
                    <a:lnTo>
                      <a:pt x="112" y="54"/>
                    </a:lnTo>
                    <a:lnTo>
                      <a:pt x="111" y="54"/>
                    </a:lnTo>
                    <a:lnTo>
                      <a:pt x="111" y="55"/>
                    </a:lnTo>
                    <a:lnTo>
                      <a:pt x="109" y="56"/>
                    </a:lnTo>
                    <a:lnTo>
                      <a:pt x="108" y="58"/>
                    </a:lnTo>
                    <a:lnTo>
                      <a:pt x="108" y="58"/>
                    </a:lnTo>
                    <a:lnTo>
                      <a:pt x="107" y="58"/>
                    </a:lnTo>
                    <a:lnTo>
                      <a:pt x="105" y="58"/>
                    </a:lnTo>
                    <a:lnTo>
                      <a:pt x="105" y="59"/>
                    </a:lnTo>
                    <a:lnTo>
                      <a:pt x="104" y="62"/>
                    </a:lnTo>
                    <a:lnTo>
                      <a:pt x="102" y="64"/>
                    </a:lnTo>
                    <a:lnTo>
                      <a:pt x="101" y="64"/>
                    </a:lnTo>
                    <a:lnTo>
                      <a:pt x="101" y="64"/>
                    </a:lnTo>
                    <a:lnTo>
                      <a:pt x="99" y="64"/>
                    </a:lnTo>
                    <a:lnTo>
                      <a:pt x="99" y="64"/>
                    </a:lnTo>
                    <a:lnTo>
                      <a:pt x="99" y="65"/>
                    </a:lnTo>
                    <a:lnTo>
                      <a:pt x="98" y="67"/>
                    </a:lnTo>
                    <a:lnTo>
                      <a:pt x="98" y="69"/>
                    </a:lnTo>
                    <a:lnTo>
                      <a:pt x="98" y="69"/>
                    </a:lnTo>
                    <a:lnTo>
                      <a:pt x="98" y="71"/>
                    </a:lnTo>
                    <a:lnTo>
                      <a:pt x="98" y="72"/>
                    </a:lnTo>
                    <a:lnTo>
                      <a:pt x="98" y="72"/>
                    </a:lnTo>
                    <a:lnTo>
                      <a:pt x="95" y="74"/>
                    </a:lnTo>
                    <a:lnTo>
                      <a:pt x="95" y="74"/>
                    </a:lnTo>
                    <a:lnTo>
                      <a:pt x="94" y="77"/>
                    </a:lnTo>
                    <a:lnTo>
                      <a:pt x="95" y="78"/>
                    </a:lnTo>
                    <a:lnTo>
                      <a:pt x="95" y="79"/>
                    </a:lnTo>
                    <a:lnTo>
                      <a:pt x="97" y="81"/>
                    </a:lnTo>
                    <a:lnTo>
                      <a:pt x="97" y="82"/>
                    </a:lnTo>
                    <a:lnTo>
                      <a:pt x="98" y="84"/>
                    </a:lnTo>
                    <a:lnTo>
                      <a:pt x="98" y="85"/>
                    </a:lnTo>
                    <a:lnTo>
                      <a:pt x="97" y="85"/>
                    </a:lnTo>
                    <a:lnTo>
                      <a:pt x="95" y="88"/>
                    </a:lnTo>
                    <a:lnTo>
                      <a:pt x="95" y="89"/>
                    </a:lnTo>
                    <a:lnTo>
                      <a:pt x="97" y="91"/>
                    </a:lnTo>
                    <a:lnTo>
                      <a:pt x="98" y="89"/>
                    </a:lnTo>
                    <a:lnTo>
                      <a:pt x="101" y="88"/>
                    </a:lnTo>
                    <a:lnTo>
                      <a:pt x="105" y="87"/>
                    </a:lnTo>
                    <a:lnTo>
                      <a:pt x="109" y="87"/>
                    </a:lnTo>
                    <a:lnTo>
                      <a:pt x="118" y="87"/>
                    </a:lnTo>
                    <a:lnTo>
                      <a:pt x="117" y="87"/>
                    </a:lnTo>
                    <a:lnTo>
                      <a:pt x="115" y="88"/>
                    </a:lnTo>
                    <a:lnTo>
                      <a:pt x="115" y="89"/>
                    </a:lnTo>
                    <a:lnTo>
                      <a:pt x="115" y="91"/>
                    </a:lnTo>
                    <a:lnTo>
                      <a:pt x="115" y="91"/>
                    </a:lnTo>
                    <a:lnTo>
                      <a:pt x="115" y="92"/>
                    </a:lnTo>
                    <a:lnTo>
                      <a:pt x="117" y="94"/>
                    </a:lnTo>
                    <a:lnTo>
                      <a:pt x="118" y="100"/>
                    </a:lnTo>
                    <a:lnTo>
                      <a:pt x="118" y="104"/>
                    </a:lnTo>
                    <a:lnTo>
                      <a:pt x="118" y="104"/>
                    </a:lnTo>
                    <a:lnTo>
                      <a:pt x="120" y="104"/>
                    </a:lnTo>
                    <a:lnTo>
                      <a:pt x="121" y="105"/>
                    </a:lnTo>
                    <a:lnTo>
                      <a:pt x="122" y="105"/>
                    </a:lnTo>
                    <a:lnTo>
                      <a:pt x="125" y="105"/>
                    </a:lnTo>
                    <a:lnTo>
                      <a:pt x="127" y="105"/>
                    </a:lnTo>
                    <a:lnTo>
                      <a:pt x="128" y="107"/>
                    </a:lnTo>
                    <a:lnTo>
                      <a:pt x="128" y="108"/>
                    </a:lnTo>
                    <a:lnTo>
                      <a:pt x="128" y="110"/>
                    </a:lnTo>
                    <a:lnTo>
                      <a:pt x="127" y="111"/>
                    </a:lnTo>
                    <a:lnTo>
                      <a:pt x="127" y="112"/>
                    </a:lnTo>
                    <a:lnTo>
                      <a:pt x="125" y="117"/>
                    </a:lnTo>
                    <a:lnTo>
                      <a:pt x="125" y="118"/>
                    </a:lnTo>
                    <a:lnTo>
                      <a:pt x="124" y="121"/>
                    </a:lnTo>
                    <a:lnTo>
                      <a:pt x="124" y="123"/>
                    </a:lnTo>
                    <a:lnTo>
                      <a:pt x="124" y="124"/>
                    </a:lnTo>
                    <a:lnTo>
                      <a:pt x="125" y="124"/>
                    </a:lnTo>
                    <a:lnTo>
                      <a:pt x="128" y="125"/>
                    </a:lnTo>
                    <a:lnTo>
                      <a:pt x="132" y="125"/>
                    </a:lnTo>
                    <a:lnTo>
                      <a:pt x="135" y="127"/>
                    </a:lnTo>
                    <a:lnTo>
                      <a:pt x="137" y="127"/>
                    </a:lnTo>
                    <a:lnTo>
                      <a:pt x="137" y="130"/>
                    </a:lnTo>
                    <a:lnTo>
                      <a:pt x="137" y="133"/>
                    </a:lnTo>
                    <a:lnTo>
                      <a:pt x="138" y="133"/>
                    </a:lnTo>
                    <a:lnTo>
                      <a:pt x="140" y="134"/>
                    </a:lnTo>
                    <a:lnTo>
                      <a:pt x="140" y="134"/>
                    </a:lnTo>
                    <a:lnTo>
                      <a:pt x="140" y="135"/>
                    </a:lnTo>
                    <a:lnTo>
                      <a:pt x="140" y="135"/>
                    </a:lnTo>
                    <a:lnTo>
                      <a:pt x="141" y="137"/>
                    </a:lnTo>
                    <a:lnTo>
                      <a:pt x="143" y="137"/>
                    </a:lnTo>
                    <a:lnTo>
                      <a:pt x="147" y="137"/>
                    </a:lnTo>
                    <a:lnTo>
                      <a:pt x="148" y="137"/>
                    </a:lnTo>
                    <a:lnTo>
                      <a:pt x="150" y="135"/>
                    </a:lnTo>
                    <a:lnTo>
                      <a:pt x="153" y="134"/>
                    </a:lnTo>
                    <a:lnTo>
                      <a:pt x="154" y="133"/>
                    </a:lnTo>
                    <a:lnTo>
                      <a:pt x="157" y="131"/>
                    </a:lnTo>
                    <a:lnTo>
                      <a:pt x="158" y="133"/>
                    </a:lnTo>
                    <a:lnTo>
                      <a:pt x="158" y="134"/>
                    </a:lnTo>
                    <a:lnTo>
                      <a:pt x="157" y="137"/>
                    </a:lnTo>
                    <a:lnTo>
                      <a:pt x="155" y="137"/>
                    </a:lnTo>
                    <a:lnTo>
                      <a:pt x="153" y="140"/>
                    </a:lnTo>
                    <a:lnTo>
                      <a:pt x="151" y="140"/>
                    </a:lnTo>
                    <a:lnTo>
                      <a:pt x="151" y="141"/>
                    </a:lnTo>
                    <a:lnTo>
                      <a:pt x="148" y="144"/>
                    </a:lnTo>
                    <a:lnTo>
                      <a:pt x="147" y="146"/>
                    </a:lnTo>
                    <a:lnTo>
                      <a:pt x="147" y="147"/>
                    </a:lnTo>
                    <a:lnTo>
                      <a:pt x="148" y="148"/>
                    </a:lnTo>
                    <a:lnTo>
                      <a:pt x="148" y="148"/>
                    </a:lnTo>
                    <a:lnTo>
                      <a:pt x="144" y="150"/>
                    </a:lnTo>
                    <a:lnTo>
                      <a:pt x="143" y="150"/>
                    </a:lnTo>
                    <a:lnTo>
                      <a:pt x="141" y="151"/>
                    </a:lnTo>
                    <a:lnTo>
                      <a:pt x="141" y="154"/>
                    </a:lnTo>
                    <a:lnTo>
                      <a:pt x="140" y="158"/>
                    </a:lnTo>
                    <a:lnTo>
                      <a:pt x="137" y="157"/>
                    </a:lnTo>
                    <a:lnTo>
                      <a:pt x="134" y="157"/>
                    </a:lnTo>
                    <a:lnTo>
                      <a:pt x="131" y="157"/>
                    </a:lnTo>
                    <a:lnTo>
                      <a:pt x="128" y="157"/>
                    </a:lnTo>
                    <a:lnTo>
                      <a:pt x="130" y="161"/>
                    </a:lnTo>
                    <a:lnTo>
                      <a:pt x="127" y="163"/>
                    </a:lnTo>
                    <a:lnTo>
                      <a:pt x="124" y="163"/>
                    </a:lnTo>
                    <a:lnTo>
                      <a:pt x="121" y="163"/>
                    </a:lnTo>
                    <a:lnTo>
                      <a:pt x="120" y="166"/>
                    </a:lnTo>
                    <a:lnTo>
                      <a:pt x="120" y="167"/>
                    </a:lnTo>
                    <a:lnTo>
                      <a:pt x="120" y="167"/>
                    </a:lnTo>
                    <a:lnTo>
                      <a:pt x="117" y="169"/>
                    </a:lnTo>
                    <a:lnTo>
                      <a:pt x="115" y="169"/>
                    </a:lnTo>
                    <a:lnTo>
                      <a:pt x="112" y="170"/>
                    </a:lnTo>
                    <a:lnTo>
                      <a:pt x="111" y="170"/>
                    </a:lnTo>
                    <a:lnTo>
                      <a:pt x="108" y="170"/>
                    </a:lnTo>
                    <a:lnTo>
                      <a:pt x="108" y="170"/>
                    </a:lnTo>
                    <a:lnTo>
                      <a:pt x="105" y="169"/>
                    </a:lnTo>
                    <a:lnTo>
                      <a:pt x="105" y="169"/>
                    </a:lnTo>
                    <a:lnTo>
                      <a:pt x="104" y="169"/>
                    </a:lnTo>
                    <a:lnTo>
                      <a:pt x="104" y="170"/>
                    </a:lnTo>
                    <a:lnTo>
                      <a:pt x="104" y="170"/>
                    </a:lnTo>
                    <a:lnTo>
                      <a:pt x="101" y="173"/>
                    </a:lnTo>
                    <a:lnTo>
                      <a:pt x="99" y="176"/>
                    </a:lnTo>
                    <a:lnTo>
                      <a:pt x="99" y="180"/>
                    </a:lnTo>
                    <a:lnTo>
                      <a:pt x="99" y="181"/>
                    </a:lnTo>
                    <a:lnTo>
                      <a:pt x="98" y="183"/>
                    </a:lnTo>
                    <a:lnTo>
                      <a:pt x="98" y="184"/>
                    </a:lnTo>
                    <a:lnTo>
                      <a:pt x="98" y="186"/>
                    </a:lnTo>
                    <a:lnTo>
                      <a:pt x="98" y="189"/>
                    </a:lnTo>
                    <a:lnTo>
                      <a:pt x="98" y="190"/>
                    </a:lnTo>
                    <a:lnTo>
                      <a:pt x="97" y="192"/>
                    </a:lnTo>
                    <a:lnTo>
                      <a:pt x="95" y="192"/>
                    </a:lnTo>
                    <a:lnTo>
                      <a:pt x="94" y="192"/>
                    </a:lnTo>
                    <a:lnTo>
                      <a:pt x="92" y="192"/>
                    </a:lnTo>
                    <a:lnTo>
                      <a:pt x="92" y="194"/>
                    </a:lnTo>
                    <a:lnTo>
                      <a:pt x="94" y="194"/>
                    </a:lnTo>
                    <a:lnTo>
                      <a:pt x="95" y="196"/>
                    </a:lnTo>
                    <a:lnTo>
                      <a:pt x="97" y="196"/>
                    </a:lnTo>
                    <a:lnTo>
                      <a:pt x="97" y="199"/>
                    </a:lnTo>
                    <a:lnTo>
                      <a:pt x="98" y="202"/>
                    </a:lnTo>
                    <a:lnTo>
                      <a:pt x="98" y="203"/>
                    </a:lnTo>
                    <a:lnTo>
                      <a:pt x="98" y="206"/>
                    </a:lnTo>
                    <a:lnTo>
                      <a:pt x="99" y="209"/>
                    </a:lnTo>
                    <a:lnTo>
                      <a:pt x="108" y="216"/>
                    </a:lnTo>
                    <a:lnTo>
                      <a:pt x="111" y="220"/>
                    </a:lnTo>
                    <a:lnTo>
                      <a:pt x="111" y="222"/>
                    </a:lnTo>
                    <a:lnTo>
                      <a:pt x="112" y="226"/>
                    </a:lnTo>
                    <a:lnTo>
                      <a:pt x="114" y="229"/>
                    </a:lnTo>
                    <a:lnTo>
                      <a:pt x="115" y="232"/>
                    </a:lnTo>
                    <a:lnTo>
                      <a:pt x="115" y="232"/>
                    </a:lnTo>
                    <a:lnTo>
                      <a:pt x="117" y="230"/>
                    </a:lnTo>
                    <a:lnTo>
                      <a:pt x="118" y="230"/>
                    </a:lnTo>
                    <a:lnTo>
                      <a:pt x="118" y="233"/>
                    </a:lnTo>
                    <a:lnTo>
                      <a:pt x="118" y="235"/>
                    </a:lnTo>
                    <a:lnTo>
                      <a:pt x="115" y="236"/>
                    </a:lnTo>
                    <a:lnTo>
                      <a:pt x="114" y="239"/>
                    </a:lnTo>
                    <a:lnTo>
                      <a:pt x="112" y="242"/>
                    </a:lnTo>
                    <a:lnTo>
                      <a:pt x="112" y="248"/>
                    </a:lnTo>
                    <a:lnTo>
                      <a:pt x="112" y="249"/>
                    </a:lnTo>
                    <a:lnTo>
                      <a:pt x="111" y="250"/>
                    </a:lnTo>
                    <a:lnTo>
                      <a:pt x="111" y="250"/>
                    </a:lnTo>
                    <a:lnTo>
                      <a:pt x="108" y="252"/>
                    </a:lnTo>
                    <a:lnTo>
                      <a:pt x="107" y="253"/>
                    </a:lnTo>
                    <a:lnTo>
                      <a:pt x="107" y="255"/>
                    </a:lnTo>
                    <a:lnTo>
                      <a:pt x="107" y="256"/>
                    </a:lnTo>
                    <a:lnTo>
                      <a:pt x="107" y="259"/>
                    </a:lnTo>
                    <a:lnTo>
                      <a:pt x="109" y="263"/>
                    </a:lnTo>
                    <a:lnTo>
                      <a:pt x="120" y="275"/>
                    </a:lnTo>
                    <a:lnTo>
                      <a:pt x="122" y="279"/>
                    </a:lnTo>
                    <a:lnTo>
                      <a:pt x="122" y="284"/>
                    </a:lnTo>
                    <a:lnTo>
                      <a:pt x="122" y="292"/>
                    </a:lnTo>
                    <a:lnTo>
                      <a:pt x="122" y="295"/>
                    </a:lnTo>
                    <a:lnTo>
                      <a:pt x="124" y="296"/>
                    </a:lnTo>
                    <a:lnTo>
                      <a:pt x="125" y="298"/>
                    </a:lnTo>
                    <a:lnTo>
                      <a:pt x="127" y="301"/>
                    </a:lnTo>
                    <a:lnTo>
                      <a:pt x="128" y="302"/>
                    </a:lnTo>
                    <a:lnTo>
                      <a:pt x="131" y="312"/>
                    </a:lnTo>
                    <a:lnTo>
                      <a:pt x="131" y="314"/>
                    </a:lnTo>
                    <a:lnTo>
                      <a:pt x="131" y="315"/>
                    </a:lnTo>
                    <a:lnTo>
                      <a:pt x="130" y="318"/>
                    </a:lnTo>
                    <a:lnTo>
                      <a:pt x="124" y="327"/>
                    </a:lnTo>
                    <a:lnTo>
                      <a:pt x="122" y="330"/>
                    </a:lnTo>
                    <a:lnTo>
                      <a:pt x="118" y="332"/>
                    </a:lnTo>
                    <a:lnTo>
                      <a:pt x="117" y="335"/>
                    </a:lnTo>
                    <a:lnTo>
                      <a:pt x="115" y="337"/>
                    </a:lnTo>
                    <a:lnTo>
                      <a:pt x="115" y="341"/>
                    </a:lnTo>
                    <a:close/>
                    <a:moveTo>
                      <a:pt x="30" y="177"/>
                    </a:moveTo>
                    <a:lnTo>
                      <a:pt x="32" y="176"/>
                    </a:lnTo>
                    <a:lnTo>
                      <a:pt x="30" y="174"/>
                    </a:lnTo>
                    <a:lnTo>
                      <a:pt x="29" y="173"/>
                    </a:lnTo>
                    <a:lnTo>
                      <a:pt x="28" y="173"/>
                    </a:lnTo>
                    <a:lnTo>
                      <a:pt x="26" y="174"/>
                    </a:lnTo>
                    <a:lnTo>
                      <a:pt x="28" y="174"/>
                    </a:lnTo>
                    <a:lnTo>
                      <a:pt x="29" y="177"/>
                    </a:lnTo>
                    <a:lnTo>
                      <a:pt x="30" y="177"/>
                    </a:lnTo>
                    <a:close/>
                    <a:moveTo>
                      <a:pt x="15" y="167"/>
                    </a:moveTo>
                    <a:lnTo>
                      <a:pt x="15" y="167"/>
                    </a:lnTo>
                    <a:lnTo>
                      <a:pt x="15" y="166"/>
                    </a:lnTo>
                    <a:lnTo>
                      <a:pt x="15" y="164"/>
                    </a:lnTo>
                    <a:lnTo>
                      <a:pt x="15" y="164"/>
                    </a:lnTo>
                    <a:lnTo>
                      <a:pt x="13" y="163"/>
                    </a:lnTo>
                    <a:lnTo>
                      <a:pt x="13" y="164"/>
                    </a:lnTo>
                    <a:lnTo>
                      <a:pt x="13" y="166"/>
                    </a:lnTo>
                    <a:lnTo>
                      <a:pt x="15" y="166"/>
                    </a:lnTo>
                    <a:lnTo>
                      <a:pt x="15" y="167"/>
                    </a:lnTo>
                    <a:close/>
                    <a:moveTo>
                      <a:pt x="23" y="169"/>
                    </a:moveTo>
                    <a:lnTo>
                      <a:pt x="23" y="167"/>
                    </a:lnTo>
                    <a:lnTo>
                      <a:pt x="23" y="167"/>
                    </a:lnTo>
                    <a:lnTo>
                      <a:pt x="23" y="166"/>
                    </a:lnTo>
                    <a:lnTo>
                      <a:pt x="22" y="166"/>
                    </a:lnTo>
                    <a:lnTo>
                      <a:pt x="22" y="166"/>
                    </a:lnTo>
                    <a:lnTo>
                      <a:pt x="22" y="167"/>
                    </a:lnTo>
                    <a:lnTo>
                      <a:pt x="23" y="169"/>
                    </a:lnTo>
                    <a:lnTo>
                      <a:pt x="23" y="169"/>
                    </a:lnTo>
                    <a:close/>
                    <a:moveTo>
                      <a:pt x="28" y="187"/>
                    </a:moveTo>
                    <a:lnTo>
                      <a:pt x="26" y="186"/>
                    </a:lnTo>
                    <a:lnTo>
                      <a:pt x="23" y="186"/>
                    </a:lnTo>
                    <a:lnTo>
                      <a:pt x="25" y="187"/>
                    </a:lnTo>
                    <a:lnTo>
                      <a:pt x="25" y="187"/>
                    </a:lnTo>
                    <a:lnTo>
                      <a:pt x="26" y="189"/>
                    </a:lnTo>
                    <a:lnTo>
                      <a:pt x="28" y="18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2" name="Freeform 138">
                <a:extLst>
                  <a:ext uri="{FF2B5EF4-FFF2-40B4-BE49-F238E27FC236}">
                    <a16:creationId xmlns:a16="http://schemas.microsoft.com/office/drawing/2014/main" id="{3C153C7E-EEEB-D8BD-7E43-B2B6C6F4B841}"/>
                  </a:ext>
                </a:extLst>
              </p:cNvPr>
              <p:cNvSpPr>
                <a:spLocks noEditPoints="1"/>
              </p:cNvSpPr>
              <p:nvPr/>
            </p:nvSpPr>
            <p:spPr bwMode="auto">
              <a:xfrm>
                <a:off x="7493845" y="4002535"/>
                <a:ext cx="4338" cy="24581"/>
              </a:xfrm>
              <a:custGeom>
                <a:avLst/>
                <a:gdLst>
                  <a:gd name="T0" fmla="*/ 0 w 3"/>
                  <a:gd name="T1" fmla="*/ 17 h 17"/>
                  <a:gd name="T2" fmla="*/ 0 w 3"/>
                  <a:gd name="T3" fmla="*/ 17 h 17"/>
                  <a:gd name="T4" fmla="*/ 0 w 3"/>
                  <a:gd name="T5" fmla="*/ 17 h 17"/>
                  <a:gd name="T6" fmla="*/ 0 w 3"/>
                  <a:gd name="T7" fmla="*/ 17 h 17"/>
                  <a:gd name="T8" fmla="*/ 0 w 3"/>
                  <a:gd name="T9" fmla="*/ 17 h 17"/>
                  <a:gd name="T10" fmla="*/ 1 w 3"/>
                  <a:gd name="T11" fmla="*/ 17 h 17"/>
                  <a:gd name="T12" fmla="*/ 0 w 3"/>
                  <a:gd name="T13" fmla="*/ 17 h 17"/>
                  <a:gd name="T14" fmla="*/ 0 w 3"/>
                  <a:gd name="T15" fmla="*/ 17 h 17"/>
                  <a:gd name="T16" fmla="*/ 0 w 3"/>
                  <a:gd name="T17" fmla="*/ 17 h 17"/>
                  <a:gd name="T18" fmla="*/ 3 w 3"/>
                  <a:gd name="T19" fmla="*/ 1 h 17"/>
                  <a:gd name="T20" fmla="*/ 3 w 3"/>
                  <a:gd name="T21" fmla="*/ 0 h 17"/>
                  <a:gd name="T22" fmla="*/ 3 w 3"/>
                  <a:gd name="T23" fmla="*/ 0 h 17"/>
                  <a:gd name="T24" fmla="*/ 1 w 3"/>
                  <a:gd name="T25" fmla="*/ 0 h 17"/>
                  <a:gd name="T26" fmla="*/ 1 w 3"/>
                  <a:gd name="T27" fmla="*/ 1 h 17"/>
                  <a:gd name="T28" fmla="*/ 1 w 3"/>
                  <a:gd name="T29" fmla="*/ 1 h 17"/>
                  <a:gd name="T30" fmla="*/ 1 w 3"/>
                  <a:gd name="T31" fmla="*/ 1 h 17"/>
                  <a:gd name="T32" fmla="*/ 1 w 3"/>
                  <a:gd name="T33" fmla="*/ 1 h 17"/>
                  <a:gd name="T34" fmla="*/ 3 w 3"/>
                  <a:gd name="T35"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17">
                    <a:moveTo>
                      <a:pt x="0" y="17"/>
                    </a:moveTo>
                    <a:lnTo>
                      <a:pt x="0" y="17"/>
                    </a:lnTo>
                    <a:lnTo>
                      <a:pt x="0" y="17"/>
                    </a:lnTo>
                    <a:lnTo>
                      <a:pt x="0" y="17"/>
                    </a:lnTo>
                    <a:lnTo>
                      <a:pt x="0" y="17"/>
                    </a:lnTo>
                    <a:lnTo>
                      <a:pt x="1" y="17"/>
                    </a:lnTo>
                    <a:lnTo>
                      <a:pt x="0" y="17"/>
                    </a:lnTo>
                    <a:lnTo>
                      <a:pt x="0" y="17"/>
                    </a:lnTo>
                    <a:lnTo>
                      <a:pt x="0" y="17"/>
                    </a:lnTo>
                    <a:close/>
                    <a:moveTo>
                      <a:pt x="3" y="1"/>
                    </a:moveTo>
                    <a:lnTo>
                      <a:pt x="3" y="0"/>
                    </a:lnTo>
                    <a:lnTo>
                      <a:pt x="3" y="0"/>
                    </a:lnTo>
                    <a:lnTo>
                      <a:pt x="1" y="0"/>
                    </a:lnTo>
                    <a:lnTo>
                      <a:pt x="1" y="1"/>
                    </a:lnTo>
                    <a:lnTo>
                      <a:pt x="1" y="1"/>
                    </a:lnTo>
                    <a:lnTo>
                      <a:pt x="1" y="1"/>
                    </a:lnTo>
                    <a:lnTo>
                      <a:pt x="1" y="1"/>
                    </a:lnTo>
                    <a:lnTo>
                      <a:pt x="3" y="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3" name="Freeform 139">
                <a:extLst>
                  <a:ext uri="{FF2B5EF4-FFF2-40B4-BE49-F238E27FC236}">
                    <a16:creationId xmlns:a16="http://schemas.microsoft.com/office/drawing/2014/main" id="{41F17CD0-075F-5257-381E-DB6B6B5E6C70}"/>
                  </a:ext>
                </a:extLst>
              </p:cNvPr>
              <p:cNvSpPr>
                <a:spLocks noEditPoints="1"/>
              </p:cNvSpPr>
              <p:nvPr/>
            </p:nvSpPr>
            <p:spPr bwMode="auto">
              <a:xfrm>
                <a:off x="8104040" y="3580314"/>
                <a:ext cx="209664" cy="386071"/>
              </a:xfrm>
              <a:custGeom>
                <a:avLst/>
                <a:gdLst>
                  <a:gd name="T0" fmla="*/ 86 w 145"/>
                  <a:gd name="T1" fmla="*/ 152 h 267"/>
                  <a:gd name="T2" fmla="*/ 91 w 145"/>
                  <a:gd name="T3" fmla="*/ 160 h 267"/>
                  <a:gd name="T4" fmla="*/ 91 w 145"/>
                  <a:gd name="T5" fmla="*/ 144 h 267"/>
                  <a:gd name="T6" fmla="*/ 88 w 145"/>
                  <a:gd name="T7" fmla="*/ 125 h 267"/>
                  <a:gd name="T8" fmla="*/ 91 w 145"/>
                  <a:gd name="T9" fmla="*/ 124 h 267"/>
                  <a:gd name="T10" fmla="*/ 115 w 145"/>
                  <a:gd name="T11" fmla="*/ 111 h 267"/>
                  <a:gd name="T12" fmla="*/ 137 w 145"/>
                  <a:gd name="T13" fmla="*/ 112 h 267"/>
                  <a:gd name="T14" fmla="*/ 145 w 145"/>
                  <a:gd name="T15" fmla="*/ 89 h 267"/>
                  <a:gd name="T16" fmla="*/ 140 w 145"/>
                  <a:gd name="T17" fmla="*/ 82 h 267"/>
                  <a:gd name="T18" fmla="*/ 130 w 145"/>
                  <a:gd name="T19" fmla="*/ 70 h 267"/>
                  <a:gd name="T20" fmla="*/ 124 w 145"/>
                  <a:gd name="T21" fmla="*/ 50 h 267"/>
                  <a:gd name="T22" fmla="*/ 105 w 145"/>
                  <a:gd name="T23" fmla="*/ 37 h 267"/>
                  <a:gd name="T24" fmla="*/ 101 w 145"/>
                  <a:gd name="T25" fmla="*/ 40 h 267"/>
                  <a:gd name="T26" fmla="*/ 94 w 145"/>
                  <a:gd name="T27" fmla="*/ 46 h 267"/>
                  <a:gd name="T28" fmla="*/ 92 w 145"/>
                  <a:gd name="T29" fmla="*/ 46 h 267"/>
                  <a:gd name="T30" fmla="*/ 82 w 145"/>
                  <a:gd name="T31" fmla="*/ 42 h 267"/>
                  <a:gd name="T32" fmla="*/ 66 w 145"/>
                  <a:gd name="T33" fmla="*/ 42 h 267"/>
                  <a:gd name="T34" fmla="*/ 66 w 145"/>
                  <a:gd name="T35" fmla="*/ 33 h 267"/>
                  <a:gd name="T36" fmla="*/ 63 w 145"/>
                  <a:gd name="T37" fmla="*/ 14 h 267"/>
                  <a:gd name="T38" fmla="*/ 55 w 145"/>
                  <a:gd name="T39" fmla="*/ 4 h 267"/>
                  <a:gd name="T40" fmla="*/ 48 w 145"/>
                  <a:gd name="T41" fmla="*/ 1 h 267"/>
                  <a:gd name="T42" fmla="*/ 32 w 145"/>
                  <a:gd name="T43" fmla="*/ 6 h 267"/>
                  <a:gd name="T44" fmla="*/ 20 w 145"/>
                  <a:gd name="T45" fmla="*/ 13 h 267"/>
                  <a:gd name="T46" fmla="*/ 12 w 145"/>
                  <a:gd name="T47" fmla="*/ 13 h 267"/>
                  <a:gd name="T48" fmla="*/ 6 w 145"/>
                  <a:gd name="T49" fmla="*/ 27 h 267"/>
                  <a:gd name="T50" fmla="*/ 0 w 145"/>
                  <a:gd name="T51" fmla="*/ 35 h 267"/>
                  <a:gd name="T52" fmla="*/ 6 w 145"/>
                  <a:gd name="T53" fmla="*/ 46 h 267"/>
                  <a:gd name="T54" fmla="*/ 22 w 145"/>
                  <a:gd name="T55" fmla="*/ 72 h 267"/>
                  <a:gd name="T56" fmla="*/ 23 w 145"/>
                  <a:gd name="T57" fmla="*/ 79 h 267"/>
                  <a:gd name="T58" fmla="*/ 16 w 145"/>
                  <a:gd name="T59" fmla="*/ 95 h 267"/>
                  <a:gd name="T60" fmla="*/ 30 w 145"/>
                  <a:gd name="T61" fmla="*/ 122 h 267"/>
                  <a:gd name="T62" fmla="*/ 36 w 145"/>
                  <a:gd name="T63" fmla="*/ 145 h 267"/>
                  <a:gd name="T64" fmla="*/ 26 w 145"/>
                  <a:gd name="T65" fmla="*/ 175 h 267"/>
                  <a:gd name="T66" fmla="*/ 17 w 145"/>
                  <a:gd name="T67" fmla="*/ 223 h 267"/>
                  <a:gd name="T68" fmla="*/ 25 w 145"/>
                  <a:gd name="T69" fmla="*/ 224 h 267"/>
                  <a:gd name="T70" fmla="*/ 29 w 145"/>
                  <a:gd name="T71" fmla="*/ 230 h 267"/>
                  <a:gd name="T72" fmla="*/ 35 w 145"/>
                  <a:gd name="T73" fmla="*/ 236 h 267"/>
                  <a:gd name="T74" fmla="*/ 39 w 145"/>
                  <a:gd name="T75" fmla="*/ 240 h 267"/>
                  <a:gd name="T76" fmla="*/ 42 w 145"/>
                  <a:gd name="T77" fmla="*/ 247 h 267"/>
                  <a:gd name="T78" fmla="*/ 56 w 145"/>
                  <a:gd name="T79" fmla="*/ 253 h 267"/>
                  <a:gd name="T80" fmla="*/ 63 w 145"/>
                  <a:gd name="T81" fmla="*/ 256 h 267"/>
                  <a:gd name="T82" fmla="*/ 68 w 145"/>
                  <a:gd name="T83" fmla="*/ 266 h 267"/>
                  <a:gd name="T84" fmla="*/ 79 w 145"/>
                  <a:gd name="T85" fmla="*/ 263 h 267"/>
                  <a:gd name="T86" fmla="*/ 75 w 145"/>
                  <a:gd name="T87" fmla="*/ 249 h 267"/>
                  <a:gd name="T88" fmla="*/ 52 w 145"/>
                  <a:gd name="T89" fmla="*/ 237 h 267"/>
                  <a:gd name="T90" fmla="*/ 53 w 145"/>
                  <a:gd name="T91" fmla="*/ 237 h 267"/>
                  <a:gd name="T92" fmla="*/ 45 w 145"/>
                  <a:gd name="T93" fmla="*/ 208 h 267"/>
                  <a:gd name="T94" fmla="*/ 33 w 145"/>
                  <a:gd name="T95" fmla="*/ 198 h 267"/>
                  <a:gd name="T96" fmla="*/ 33 w 145"/>
                  <a:gd name="T97" fmla="*/ 180 h 267"/>
                  <a:gd name="T98" fmla="*/ 45 w 145"/>
                  <a:gd name="T99" fmla="*/ 142 h 267"/>
                  <a:gd name="T100" fmla="*/ 46 w 145"/>
                  <a:gd name="T101" fmla="*/ 132 h 267"/>
                  <a:gd name="T102" fmla="*/ 56 w 145"/>
                  <a:gd name="T103" fmla="*/ 127 h 267"/>
                  <a:gd name="T104" fmla="*/ 62 w 145"/>
                  <a:gd name="T105" fmla="*/ 141 h 267"/>
                  <a:gd name="T106" fmla="*/ 79 w 145"/>
                  <a:gd name="T107" fmla="*/ 144 h 267"/>
                  <a:gd name="T108" fmla="*/ 91 w 145"/>
                  <a:gd name="T109" fmla="*/ 151 h 267"/>
                  <a:gd name="T110" fmla="*/ 45 w 145"/>
                  <a:gd name="T111" fmla="*/ 197 h 267"/>
                  <a:gd name="T112" fmla="*/ 48 w 145"/>
                  <a:gd name="T113" fmla="*/ 196 h 267"/>
                  <a:gd name="T114" fmla="*/ 16 w 145"/>
                  <a:gd name="T115" fmla="*/ 207 h 267"/>
                  <a:gd name="T116" fmla="*/ 16 w 145"/>
                  <a:gd name="T117" fmla="*/ 206 h 267"/>
                  <a:gd name="T118" fmla="*/ 22 w 145"/>
                  <a:gd name="T119" fmla="*/ 226 h 267"/>
                  <a:gd name="T120" fmla="*/ 17 w 145"/>
                  <a:gd name="T121" fmla="*/ 224 h 267"/>
                  <a:gd name="T122" fmla="*/ 29 w 145"/>
                  <a:gd name="T123" fmla="*/ 233 h 267"/>
                  <a:gd name="T124" fmla="*/ 40 w 145"/>
                  <a:gd name="T125" fmla="*/ 25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 h="267">
                    <a:moveTo>
                      <a:pt x="88" y="154"/>
                    </a:moveTo>
                    <a:lnTo>
                      <a:pt x="89" y="154"/>
                    </a:lnTo>
                    <a:lnTo>
                      <a:pt x="88" y="154"/>
                    </a:lnTo>
                    <a:lnTo>
                      <a:pt x="86" y="154"/>
                    </a:lnTo>
                    <a:lnTo>
                      <a:pt x="86" y="152"/>
                    </a:lnTo>
                    <a:lnTo>
                      <a:pt x="86" y="151"/>
                    </a:lnTo>
                    <a:lnTo>
                      <a:pt x="86" y="152"/>
                    </a:lnTo>
                    <a:lnTo>
                      <a:pt x="88" y="152"/>
                    </a:lnTo>
                    <a:lnTo>
                      <a:pt x="88" y="154"/>
                    </a:lnTo>
                    <a:close/>
                    <a:moveTo>
                      <a:pt x="91" y="160"/>
                    </a:moveTo>
                    <a:lnTo>
                      <a:pt x="91" y="161"/>
                    </a:lnTo>
                    <a:lnTo>
                      <a:pt x="92" y="161"/>
                    </a:lnTo>
                    <a:lnTo>
                      <a:pt x="92" y="160"/>
                    </a:lnTo>
                    <a:lnTo>
                      <a:pt x="91" y="160"/>
                    </a:lnTo>
                    <a:lnTo>
                      <a:pt x="91" y="160"/>
                    </a:lnTo>
                    <a:close/>
                    <a:moveTo>
                      <a:pt x="94" y="152"/>
                    </a:moveTo>
                    <a:lnTo>
                      <a:pt x="94" y="151"/>
                    </a:lnTo>
                    <a:lnTo>
                      <a:pt x="94" y="148"/>
                    </a:lnTo>
                    <a:lnTo>
                      <a:pt x="94" y="147"/>
                    </a:lnTo>
                    <a:lnTo>
                      <a:pt x="94" y="145"/>
                    </a:lnTo>
                    <a:lnTo>
                      <a:pt x="91" y="144"/>
                    </a:lnTo>
                    <a:lnTo>
                      <a:pt x="91" y="142"/>
                    </a:lnTo>
                    <a:lnTo>
                      <a:pt x="89" y="141"/>
                    </a:lnTo>
                    <a:lnTo>
                      <a:pt x="89" y="137"/>
                    </a:lnTo>
                    <a:lnTo>
                      <a:pt x="89" y="135"/>
                    </a:lnTo>
                    <a:lnTo>
                      <a:pt x="86" y="131"/>
                    </a:lnTo>
                    <a:lnTo>
                      <a:pt x="86" y="128"/>
                    </a:lnTo>
                    <a:lnTo>
                      <a:pt x="88" y="125"/>
                    </a:lnTo>
                    <a:lnTo>
                      <a:pt x="88" y="125"/>
                    </a:lnTo>
                    <a:lnTo>
                      <a:pt x="91" y="125"/>
                    </a:lnTo>
                    <a:lnTo>
                      <a:pt x="91" y="125"/>
                    </a:lnTo>
                    <a:lnTo>
                      <a:pt x="91" y="125"/>
                    </a:lnTo>
                    <a:lnTo>
                      <a:pt x="91" y="124"/>
                    </a:lnTo>
                    <a:lnTo>
                      <a:pt x="91" y="124"/>
                    </a:lnTo>
                    <a:lnTo>
                      <a:pt x="91" y="124"/>
                    </a:lnTo>
                    <a:lnTo>
                      <a:pt x="92" y="122"/>
                    </a:lnTo>
                    <a:lnTo>
                      <a:pt x="98" y="115"/>
                    </a:lnTo>
                    <a:lnTo>
                      <a:pt x="101" y="112"/>
                    </a:lnTo>
                    <a:lnTo>
                      <a:pt x="104" y="111"/>
                    </a:lnTo>
                    <a:lnTo>
                      <a:pt x="108" y="111"/>
                    </a:lnTo>
                    <a:lnTo>
                      <a:pt x="109" y="111"/>
                    </a:lnTo>
                    <a:lnTo>
                      <a:pt x="115" y="111"/>
                    </a:lnTo>
                    <a:lnTo>
                      <a:pt x="117" y="111"/>
                    </a:lnTo>
                    <a:lnTo>
                      <a:pt x="128" y="109"/>
                    </a:lnTo>
                    <a:lnTo>
                      <a:pt x="132" y="111"/>
                    </a:lnTo>
                    <a:lnTo>
                      <a:pt x="132" y="112"/>
                    </a:lnTo>
                    <a:lnTo>
                      <a:pt x="134" y="114"/>
                    </a:lnTo>
                    <a:lnTo>
                      <a:pt x="135" y="114"/>
                    </a:lnTo>
                    <a:lnTo>
                      <a:pt x="137" y="112"/>
                    </a:lnTo>
                    <a:lnTo>
                      <a:pt x="141" y="108"/>
                    </a:lnTo>
                    <a:lnTo>
                      <a:pt x="142" y="104"/>
                    </a:lnTo>
                    <a:lnTo>
                      <a:pt x="142" y="99"/>
                    </a:lnTo>
                    <a:lnTo>
                      <a:pt x="142" y="93"/>
                    </a:lnTo>
                    <a:lnTo>
                      <a:pt x="144" y="92"/>
                    </a:lnTo>
                    <a:lnTo>
                      <a:pt x="144" y="91"/>
                    </a:lnTo>
                    <a:lnTo>
                      <a:pt x="145" y="89"/>
                    </a:lnTo>
                    <a:lnTo>
                      <a:pt x="144" y="86"/>
                    </a:lnTo>
                    <a:lnTo>
                      <a:pt x="144" y="86"/>
                    </a:lnTo>
                    <a:lnTo>
                      <a:pt x="141" y="85"/>
                    </a:lnTo>
                    <a:lnTo>
                      <a:pt x="141" y="83"/>
                    </a:lnTo>
                    <a:lnTo>
                      <a:pt x="140" y="83"/>
                    </a:lnTo>
                    <a:lnTo>
                      <a:pt x="140" y="82"/>
                    </a:lnTo>
                    <a:lnTo>
                      <a:pt x="140" y="82"/>
                    </a:lnTo>
                    <a:lnTo>
                      <a:pt x="140" y="81"/>
                    </a:lnTo>
                    <a:lnTo>
                      <a:pt x="138" y="79"/>
                    </a:lnTo>
                    <a:lnTo>
                      <a:pt x="135" y="79"/>
                    </a:lnTo>
                    <a:lnTo>
                      <a:pt x="134" y="78"/>
                    </a:lnTo>
                    <a:lnTo>
                      <a:pt x="132" y="75"/>
                    </a:lnTo>
                    <a:lnTo>
                      <a:pt x="131" y="73"/>
                    </a:lnTo>
                    <a:lnTo>
                      <a:pt x="130" y="70"/>
                    </a:lnTo>
                    <a:lnTo>
                      <a:pt x="130" y="68"/>
                    </a:lnTo>
                    <a:lnTo>
                      <a:pt x="130" y="63"/>
                    </a:lnTo>
                    <a:lnTo>
                      <a:pt x="130" y="60"/>
                    </a:lnTo>
                    <a:lnTo>
                      <a:pt x="130" y="58"/>
                    </a:lnTo>
                    <a:lnTo>
                      <a:pt x="128" y="55"/>
                    </a:lnTo>
                    <a:lnTo>
                      <a:pt x="127" y="53"/>
                    </a:lnTo>
                    <a:lnTo>
                      <a:pt x="124" y="50"/>
                    </a:lnTo>
                    <a:lnTo>
                      <a:pt x="122" y="47"/>
                    </a:lnTo>
                    <a:lnTo>
                      <a:pt x="119" y="43"/>
                    </a:lnTo>
                    <a:lnTo>
                      <a:pt x="117" y="40"/>
                    </a:lnTo>
                    <a:lnTo>
                      <a:pt x="115" y="39"/>
                    </a:lnTo>
                    <a:lnTo>
                      <a:pt x="111" y="37"/>
                    </a:lnTo>
                    <a:lnTo>
                      <a:pt x="108" y="36"/>
                    </a:lnTo>
                    <a:lnTo>
                      <a:pt x="105" y="37"/>
                    </a:lnTo>
                    <a:lnTo>
                      <a:pt x="104" y="37"/>
                    </a:lnTo>
                    <a:lnTo>
                      <a:pt x="104" y="37"/>
                    </a:lnTo>
                    <a:lnTo>
                      <a:pt x="104" y="39"/>
                    </a:lnTo>
                    <a:lnTo>
                      <a:pt x="104" y="39"/>
                    </a:lnTo>
                    <a:lnTo>
                      <a:pt x="102" y="39"/>
                    </a:lnTo>
                    <a:lnTo>
                      <a:pt x="102" y="40"/>
                    </a:lnTo>
                    <a:lnTo>
                      <a:pt x="101" y="40"/>
                    </a:lnTo>
                    <a:lnTo>
                      <a:pt x="101" y="42"/>
                    </a:lnTo>
                    <a:lnTo>
                      <a:pt x="101" y="42"/>
                    </a:lnTo>
                    <a:lnTo>
                      <a:pt x="101" y="42"/>
                    </a:lnTo>
                    <a:lnTo>
                      <a:pt x="99" y="43"/>
                    </a:lnTo>
                    <a:lnTo>
                      <a:pt x="98" y="45"/>
                    </a:lnTo>
                    <a:lnTo>
                      <a:pt x="96" y="46"/>
                    </a:lnTo>
                    <a:lnTo>
                      <a:pt x="94" y="46"/>
                    </a:lnTo>
                    <a:lnTo>
                      <a:pt x="94" y="46"/>
                    </a:lnTo>
                    <a:lnTo>
                      <a:pt x="94" y="47"/>
                    </a:lnTo>
                    <a:lnTo>
                      <a:pt x="94" y="47"/>
                    </a:lnTo>
                    <a:lnTo>
                      <a:pt x="92" y="47"/>
                    </a:lnTo>
                    <a:lnTo>
                      <a:pt x="92" y="47"/>
                    </a:lnTo>
                    <a:lnTo>
                      <a:pt x="92" y="47"/>
                    </a:lnTo>
                    <a:lnTo>
                      <a:pt x="92" y="46"/>
                    </a:lnTo>
                    <a:lnTo>
                      <a:pt x="92" y="46"/>
                    </a:lnTo>
                    <a:lnTo>
                      <a:pt x="91" y="46"/>
                    </a:lnTo>
                    <a:lnTo>
                      <a:pt x="88" y="43"/>
                    </a:lnTo>
                    <a:lnTo>
                      <a:pt x="85" y="42"/>
                    </a:lnTo>
                    <a:lnTo>
                      <a:pt x="84" y="42"/>
                    </a:lnTo>
                    <a:lnTo>
                      <a:pt x="84" y="42"/>
                    </a:lnTo>
                    <a:lnTo>
                      <a:pt x="82" y="42"/>
                    </a:lnTo>
                    <a:lnTo>
                      <a:pt x="78" y="43"/>
                    </a:lnTo>
                    <a:lnTo>
                      <a:pt x="68" y="53"/>
                    </a:lnTo>
                    <a:lnTo>
                      <a:pt x="63" y="53"/>
                    </a:lnTo>
                    <a:lnTo>
                      <a:pt x="62" y="52"/>
                    </a:lnTo>
                    <a:lnTo>
                      <a:pt x="62" y="50"/>
                    </a:lnTo>
                    <a:lnTo>
                      <a:pt x="65" y="43"/>
                    </a:lnTo>
                    <a:lnTo>
                      <a:pt x="66" y="42"/>
                    </a:lnTo>
                    <a:lnTo>
                      <a:pt x="66" y="40"/>
                    </a:lnTo>
                    <a:lnTo>
                      <a:pt x="65" y="40"/>
                    </a:lnTo>
                    <a:lnTo>
                      <a:pt x="65" y="37"/>
                    </a:lnTo>
                    <a:lnTo>
                      <a:pt x="65" y="36"/>
                    </a:lnTo>
                    <a:lnTo>
                      <a:pt x="65" y="36"/>
                    </a:lnTo>
                    <a:lnTo>
                      <a:pt x="65" y="35"/>
                    </a:lnTo>
                    <a:lnTo>
                      <a:pt x="66" y="33"/>
                    </a:lnTo>
                    <a:lnTo>
                      <a:pt x="68" y="30"/>
                    </a:lnTo>
                    <a:lnTo>
                      <a:pt x="68" y="27"/>
                    </a:lnTo>
                    <a:lnTo>
                      <a:pt x="68" y="26"/>
                    </a:lnTo>
                    <a:lnTo>
                      <a:pt x="68" y="22"/>
                    </a:lnTo>
                    <a:lnTo>
                      <a:pt x="68" y="17"/>
                    </a:lnTo>
                    <a:lnTo>
                      <a:pt x="66" y="16"/>
                    </a:lnTo>
                    <a:lnTo>
                      <a:pt x="63" y="14"/>
                    </a:lnTo>
                    <a:lnTo>
                      <a:pt x="61" y="14"/>
                    </a:lnTo>
                    <a:lnTo>
                      <a:pt x="58" y="16"/>
                    </a:lnTo>
                    <a:lnTo>
                      <a:pt x="55" y="16"/>
                    </a:lnTo>
                    <a:lnTo>
                      <a:pt x="53" y="13"/>
                    </a:lnTo>
                    <a:lnTo>
                      <a:pt x="53" y="10"/>
                    </a:lnTo>
                    <a:lnTo>
                      <a:pt x="55" y="7"/>
                    </a:lnTo>
                    <a:lnTo>
                      <a:pt x="55" y="4"/>
                    </a:lnTo>
                    <a:lnTo>
                      <a:pt x="55" y="3"/>
                    </a:lnTo>
                    <a:lnTo>
                      <a:pt x="53" y="1"/>
                    </a:lnTo>
                    <a:lnTo>
                      <a:pt x="52" y="0"/>
                    </a:lnTo>
                    <a:lnTo>
                      <a:pt x="51" y="0"/>
                    </a:lnTo>
                    <a:lnTo>
                      <a:pt x="51" y="0"/>
                    </a:lnTo>
                    <a:lnTo>
                      <a:pt x="48" y="3"/>
                    </a:lnTo>
                    <a:lnTo>
                      <a:pt x="48" y="1"/>
                    </a:lnTo>
                    <a:lnTo>
                      <a:pt x="45" y="0"/>
                    </a:lnTo>
                    <a:lnTo>
                      <a:pt x="42" y="0"/>
                    </a:lnTo>
                    <a:lnTo>
                      <a:pt x="39" y="0"/>
                    </a:lnTo>
                    <a:lnTo>
                      <a:pt x="36" y="0"/>
                    </a:lnTo>
                    <a:lnTo>
                      <a:pt x="38" y="4"/>
                    </a:lnTo>
                    <a:lnTo>
                      <a:pt x="35" y="6"/>
                    </a:lnTo>
                    <a:lnTo>
                      <a:pt x="32" y="6"/>
                    </a:lnTo>
                    <a:lnTo>
                      <a:pt x="29" y="6"/>
                    </a:lnTo>
                    <a:lnTo>
                      <a:pt x="28" y="9"/>
                    </a:lnTo>
                    <a:lnTo>
                      <a:pt x="28" y="10"/>
                    </a:lnTo>
                    <a:lnTo>
                      <a:pt x="28" y="10"/>
                    </a:lnTo>
                    <a:lnTo>
                      <a:pt x="25" y="12"/>
                    </a:lnTo>
                    <a:lnTo>
                      <a:pt x="23" y="12"/>
                    </a:lnTo>
                    <a:lnTo>
                      <a:pt x="20" y="13"/>
                    </a:lnTo>
                    <a:lnTo>
                      <a:pt x="19" y="13"/>
                    </a:lnTo>
                    <a:lnTo>
                      <a:pt x="16" y="13"/>
                    </a:lnTo>
                    <a:lnTo>
                      <a:pt x="16" y="13"/>
                    </a:lnTo>
                    <a:lnTo>
                      <a:pt x="13" y="12"/>
                    </a:lnTo>
                    <a:lnTo>
                      <a:pt x="13" y="12"/>
                    </a:lnTo>
                    <a:lnTo>
                      <a:pt x="12" y="12"/>
                    </a:lnTo>
                    <a:lnTo>
                      <a:pt x="12" y="13"/>
                    </a:lnTo>
                    <a:lnTo>
                      <a:pt x="12" y="13"/>
                    </a:lnTo>
                    <a:lnTo>
                      <a:pt x="9" y="16"/>
                    </a:lnTo>
                    <a:lnTo>
                      <a:pt x="7" y="19"/>
                    </a:lnTo>
                    <a:lnTo>
                      <a:pt x="7" y="23"/>
                    </a:lnTo>
                    <a:lnTo>
                      <a:pt x="7" y="24"/>
                    </a:lnTo>
                    <a:lnTo>
                      <a:pt x="6" y="26"/>
                    </a:lnTo>
                    <a:lnTo>
                      <a:pt x="6" y="27"/>
                    </a:lnTo>
                    <a:lnTo>
                      <a:pt x="6" y="29"/>
                    </a:lnTo>
                    <a:lnTo>
                      <a:pt x="6" y="32"/>
                    </a:lnTo>
                    <a:lnTo>
                      <a:pt x="6" y="33"/>
                    </a:lnTo>
                    <a:lnTo>
                      <a:pt x="5" y="35"/>
                    </a:lnTo>
                    <a:lnTo>
                      <a:pt x="3" y="35"/>
                    </a:lnTo>
                    <a:lnTo>
                      <a:pt x="2" y="35"/>
                    </a:lnTo>
                    <a:lnTo>
                      <a:pt x="0" y="35"/>
                    </a:lnTo>
                    <a:lnTo>
                      <a:pt x="0" y="37"/>
                    </a:lnTo>
                    <a:lnTo>
                      <a:pt x="2" y="37"/>
                    </a:lnTo>
                    <a:lnTo>
                      <a:pt x="3" y="39"/>
                    </a:lnTo>
                    <a:lnTo>
                      <a:pt x="5" y="39"/>
                    </a:lnTo>
                    <a:lnTo>
                      <a:pt x="5" y="42"/>
                    </a:lnTo>
                    <a:lnTo>
                      <a:pt x="6" y="45"/>
                    </a:lnTo>
                    <a:lnTo>
                      <a:pt x="6" y="46"/>
                    </a:lnTo>
                    <a:lnTo>
                      <a:pt x="6" y="49"/>
                    </a:lnTo>
                    <a:lnTo>
                      <a:pt x="7" y="52"/>
                    </a:lnTo>
                    <a:lnTo>
                      <a:pt x="16" y="59"/>
                    </a:lnTo>
                    <a:lnTo>
                      <a:pt x="19" y="63"/>
                    </a:lnTo>
                    <a:lnTo>
                      <a:pt x="19" y="65"/>
                    </a:lnTo>
                    <a:lnTo>
                      <a:pt x="20" y="69"/>
                    </a:lnTo>
                    <a:lnTo>
                      <a:pt x="22" y="72"/>
                    </a:lnTo>
                    <a:lnTo>
                      <a:pt x="23" y="75"/>
                    </a:lnTo>
                    <a:lnTo>
                      <a:pt x="23" y="75"/>
                    </a:lnTo>
                    <a:lnTo>
                      <a:pt x="25" y="73"/>
                    </a:lnTo>
                    <a:lnTo>
                      <a:pt x="26" y="73"/>
                    </a:lnTo>
                    <a:lnTo>
                      <a:pt x="26" y="76"/>
                    </a:lnTo>
                    <a:lnTo>
                      <a:pt x="26" y="78"/>
                    </a:lnTo>
                    <a:lnTo>
                      <a:pt x="23" y="79"/>
                    </a:lnTo>
                    <a:lnTo>
                      <a:pt x="22" y="82"/>
                    </a:lnTo>
                    <a:lnTo>
                      <a:pt x="20" y="85"/>
                    </a:lnTo>
                    <a:lnTo>
                      <a:pt x="20" y="91"/>
                    </a:lnTo>
                    <a:lnTo>
                      <a:pt x="20" y="92"/>
                    </a:lnTo>
                    <a:lnTo>
                      <a:pt x="19" y="93"/>
                    </a:lnTo>
                    <a:lnTo>
                      <a:pt x="19" y="93"/>
                    </a:lnTo>
                    <a:lnTo>
                      <a:pt x="16" y="95"/>
                    </a:lnTo>
                    <a:lnTo>
                      <a:pt x="15" y="96"/>
                    </a:lnTo>
                    <a:lnTo>
                      <a:pt x="15" y="98"/>
                    </a:lnTo>
                    <a:lnTo>
                      <a:pt x="15" y="99"/>
                    </a:lnTo>
                    <a:lnTo>
                      <a:pt x="15" y="102"/>
                    </a:lnTo>
                    <a:lnTo>
                      <a:pt x="17" y="106"/>
                    </a:lnTo>
                    <a:lnTo>
                      <a:pt x="28" y="118"/>
                    </a:lnTo>
                    <a:lnTo>
                      <a:pt x="30" y="122"/>
                    </a:lnTo>
                    <a:lnTo>
                      <a:pt x="30" y="127"/>
                    </a:lnTo>
                    <a:lnTo>
                      <a:pt x="30" y="135"/>
                    </a:lnTo>
                    <a:lnTo>
                      <a:pt x="30" y="138"/>
                    </a:lnTo>
                    <a:lnTo>
                      <a:pt x="32" y="139"/>
                    </a:lnTo>
                    <a:lnTo>
                      <a:pt x="33" y="141"/>
                    </a:lnTo>
                    <a:lnTo>
                      <a:pt x="35" y="144"/>
                    </a:lnTo>
                    <a:lnTo>
                      <a:pt x="36" y="145"/>
                    </a:lnTo>
                    <a:lnTo>
                      <a:pt x="39" y="155"/>
                    </a:lnTo>
                    <a:lnTo>
                      <a:pt x="39" y="157"/>
                    </a:lnTo>
                    <a:lnTo>
                      <a:pt x="39" y="158"/>
                    </a:lnTo>
                    <a:lnTo>
                      <a:pt x="38" y="161"/>
                    </a:lnTo>
                    <a:lnTo>
                      <a:pt x="32" y="170"/>
                    </a:lnTo>
                    <a:lnTo>
                      <a:pt x="30" y="173"/>
                    </a:lnTo>
                    <a:lnTo>
                      <a:pt x="26" y="175"/>
                    </a:lnTo>
                    <a:lnTo>
                      <a:pt x="25" y="178"/>
                    </a:lnTo>
                    <a:lnTo>
                      <a:pt x="23" y="180"/>
                    </a:lnTo>
                    <a:lnTo>
                      <a:pt x="23" y="184"/>
                    </a:lnTo>
                    <a:lnTo>
                      <a:pt x="23" y="187"/>
                    </a:lnTo>
                    <a:lnTo>
                      <a:pt x="16" y="206"/>
                    </a:lnTo>
                    <a:lnTo>
                      <a:pt x="15" y="217"/>
                    </a:lnTo>
                    <a:lnTo>
                      <a:pt x="17" y="223"/>
                    </a:lnTo>
                    <a:lnTo>
                      <a:pt x="19" y="221"/>
                    </a:lnTo>
                    <a:lnTo>
                      <a:pt x="20" y="220"/>
                    </a:lnTo>
                    <a:lnTo>
                      <a:pt x="20" y="220"/>
                    </a:lnTo>
                    <a:lnTo>
                      <a:pt x="23" y="220"/>
                    </a:lnTo>
                    <a:lnTo>
                      <a:pt x="23" y="221"/>
                    </a:lnTo>
                    <a:lnTo>
                      <a:pt x="25" y="224"/>
                    </a:lnTo>
                    <a:lnTo>
                      <a:pt x="25" y="224"/>
                    </a:lnTo>
                    <a:lnTo>
                      <a:pt x="26" y="226"/>
                    </a:lnTo>
                    <a:lnTo>
                      <a:pt x="29" y="227"/>
                    </a:lnTo>
                    <a:lnTo>
                      <a:pt x="29" y="227"/>
                    </a:lnTo>
                    <a:lnTo>
                      <a:pt x="29" y="227"/>
                    </a:lnTo>
                    <a:lnTo>
                      <a:pt x="29" y="229"/>
                    </a:lnTo>
                    <a:lnTo>
                      <a:pt x="29" y="230"/>
                    </a:lnTo>
                    <a:lnTo>
                      <a:pt x="29" y="230"/>
                    </a:lnTo>
                    <a:lnTo>
                      <a:pt x="30" y="230"/>
                    </a:lnTo>
                    <a:lnTo>
                      <a:pt x="30" y="230"/>
                    </a:lnTo>
                    <a:lnTo>
                      <a:pt x="30" y="230"/>
                    </a:lnTo>
                    <a:lnTo>
                      <a:pt x="30" y="231"/>
                    </a:lnTo>
                    <a:lnTo>
                      <a:pt x="33" y="231"/>
                    </a:lnTo>
                    <a:lnTo>
                      <a:pt x="33" y="233"/>
                    </a:lnTo>
                    <a:lnTo>
                      <a:pt x="35" y="236"/>
                    </a:lnTo>
                    <a:lnTo>
                      <a:pt x="36" y="237"/>
                    </a:lnTo>
                    <a:lnTo>
                      <a:pt x="39" y="237"/>
                    </a:lnTo>
                    <a:lnTo>
                      <a:pt x="38" y="239"/>
                    </a:lnTo>
                    <a:lnTo>
                      <a:pt x="39" y="239"/>
                    </a:lnTo>
                    <a:lnTo>
                      <a:pt x="39" y="240"/>
                    </a:lnTo>
                    <a:lnTo>
                      <a:pt x="39" y="240"/>
                    </a:lnTo>
                    <a:lnTo>
                      <a:pt x="39" y="240"/>
                    </a:lnTo>
                    <a:lnTo>
                      <a:pt x="40" y="240"/>
                    </a:lnTo>
                    <a:lnTo>
                      <a:pt x="40" y="242"/>
                    </a:lnTo>
                    <a:lnTo>
                      <a:pt x="40" y="242"/>
                    </a:lnTo>
                    <a:lnTo>
                      <a:pt x="40" y="242"/>
                    </a:lnTo>
                    <a:lnTo>
                      <a:pt x="40" y="244"/>
                    </a:lnTo>
                    <a:lnTo>
                      <a:pt x="40" y="244"/>
                    </a:lnTo>
                    <a:lnTo>
                      <a:pt x="42" y="247"/>
                    </a:lnTo>
                    <a:lnTo>
                      <a:pt x="48" y="253"/>
                    </a:lnTo>
                    <a:lnTo>
                      <a:pt x="49" y="250"/>
                    </a:lnTo>
                    <a:lnTo>
                      <a:pt x="49" y="249"/>
                    </a:lnTo>
                    <a:lnTo>
                      <a:pt x="51" y="249"/>
                    </a:lnTo>
                    <a:lnTo>
                      <a:pt x="53" y="252"/>
                    </a:lnTo>
                    <a:lnTo>
                      <a:pt x="55" y="253"/>
                    </a:lnTo>
                    <a:lnTo>
                      <a:pt x="56" y="253"/>
                    </a:lnTo>
                    <a:lnTo>
                      <a:pt x="58" y="253"/>
                    </a:lnTo>
                    <a:lnTo>
                      <a:pt x="59" y="253"/>
                    </a:lnTo>
                    <a:lnTo>
                      <a:pt x="59" y="253"/>
                    </a:lnTo>
                    <a:lnTo>
                      <a:pt x="61" y="254"/>
                    </a:lnTo>
                    <a:lnTo>
                      <a:pt x="61" y="256"/>
                    </a:lnTo>
                    <a:lnTo>
                      <a:pt x="62" y="256"/>
                    </a:lnTo>
                    <a:lnTo>
                      <a:pt x="63" y="256"/>
                    </a:lnTo>
                    <a:lnTo>
                      <a:pt x="63" y="256"/>
                    </a:lnTo>
                    <a:lnTo>
                      <a:pt x="65" y="259"/>
                    </a:lnTo>
                    <a:lnTo>
                      <a:pt x="65" y="260"/>
                    </a:lnTo>
                    <a:lnTo>
                      <a:pt x="63" y="262"/>
                    </a:lnTo>
                    <a:lnTo>
                      <a:pt x="63" y="265"/>
                    </a:lnTo>
                    <a:lnTo>
                      <a:pt x="65" y="267"/>
                    </a:lnTo>
                    <a:lnTo>
                      <a:pt x="68" y="266"/>
                    </a:lnTo>
                    <a:lnTo>
                      <a:pt x="71" y="263"/>
                    </a:lnTo>
                    <a:lnTo>
                      <a:pt x="73" y="263"/>
                    </a:lnTo>
                    <a:lnTo>
                      <a:pt x="75" y="263"/>
                    </a:lnTo>
                    <a:lnTo>
                      <a:pt x="75" y="265"/>
                    </a:lnTo>
                    <a:lnTo>
                      <a:pt x="76" y="265"/>
                    </a:lnTo>
                    <a:lnTo>
                      <a:pt x="78" y="265"/>
                    </a:lnTo>
                    <a:lnTo>
                      <a:pt x="79" y="263"/>
                    </a:lnTo>
                    <a:lnTo>
                      <a:pt x="81" y="260"/>
                    </a:lnTo>
                    <a:lnTo>
                      <a:pt x="82" y="259"/>
                    </a:lnTo>
                    <a:lnTo>
                      <a:pt x="84" y="256"/>
                    </a:lnTo>
                    <a:lnTo>
                      <a:pt x="79" y="253"/>
                    </a:lnTo>
                    <a:lnTo>
                      <a:pt x="78" y="252"/>
                    </a:lnTo>
                    <a:lnTo>
                      <a:pt x="76" y="250"/>
                    </a:lnTo>
                    <a:lnTo>
                      <a:pt x="75" y="249"/>
                    </a:lnTo>
                    <a:lnTo>
                      <a:pt x="73" y="247"/>
                    </a:lnTo>
                    <a:lnTo>
                      <a:pt x="72" y="246"/>
                    </a:lnTo>
                    <a:lnTo>
                      <a:pt x="69" y="244"/>
                    </a:lnTo>
                    <a:lnTo>
                      <a:pt x="63" y="244"/>
                    </a:lnTo>
                    <a:lnTo>
                      <a:pt x="59" y="243"/>
                    </a:lnTo>
                    <a:lnTo>
                      <a:pt x="55" y="240"/>
                    </a:lnTo>
                    <a:lnTo>
                      <a:pt x="52" y="237"/>
                    </a:lnTo>
                    <a:lnTo>
                      <a:pt x="51" y="234"/>
                    </a:lnTo>
                    <a:lnTo>
                      <a:pt x="49" y="231"/>
                    </a:lnTo>
                    <a:lnTo>
                      <a:pt x="51" y="230"/>
                    </a:lnTo>
                    <a:lnTo>
                      <a:pt x="52" y="231"/>
                    </a:lnTo>
                    <a:lnTo>
                      <a:pt x="51" y="233"/>
                    </a:lnTo>
                    <a:lnTo>
                      <a:pt x="53" y="234"/>
                    </a:lnTo>
                    <a:lnTo>
                      <a:pt x="53" y="237"/>
                    </a:lnTo>
                    <a:lnTo>
                      <a:pt x="55" y="239"/>
                    </a:lnTo>
                    <a:lnTo>
                      <a:pt x="52" y="221"/>
                    </a:lnTo>
                    <a:lnTo>
                      <a:pt x="49" y="216"/>
                    </a:lnTo>
                    <a:lnTo>
                      <a:pt x="49" y="217"/>
                    </a:lnTo>
                    <a:lnTo>
                      <a:pt x="48" y="217"/>
                    </a:lnTo>
                    <a:lnTo>
                      <a:pt x="46" y="214"/>
                    </a:lnTo>
                    <a:lnTo>
                      <a:pt x="45" y="208"/>
                    </a:lnTo>
                    <a:lnTo>
                      <a:pt x="43" y="204"/>
                    </a:lnTo>
                    <a:lnTo>
                      <a:pt x="40" y="203"/>
                    </a:lnTo>
                    <a:lnTo>
                      <a:pt x="39" y="203"/>
                    </a:lnTo>
                    <a:lnTo>
                      <a:pt x="36" y="203"/>
                    </a:lnTo>
                    <a:lnTo>
                      <a:pt x="35" y="204"/>
                    </a:lnTo>
                    <a:lnTo>
                      <a:pt x="33" y="203"/>
                    </a:lnTo>
                    <a:lnTo>
                      <a:pt x="33" y="198"/>
                    </a:lnTo>
                    <a:lnTo>
                      <a:pt x="32" y="198"/>
                    </a:lnTo>
                    <a:lnTo>
                      <a:pt x="32" y="196"/>
                    </a:lnTo>
                    <a:lnTo>
                      <a:pt x="32" y="194"/>
                    </a:lnTo>
                    <a:lnTo>
                      <a:pt x="30" y="190"/>
                    </a:lnTo>
                    <a:lnTo>
                      <a:pt x="32" y="187"/>
                    </a:lnTo>
                    <a:lnTo>
                      <a:pt x="32" y="183"/>
                    </a:lnTo>
                    <a:lnTo>
                      <a:pt x="33" y="180"/>
                    </a:lnTo>
                    <a:lnTo>
                      <a:pt x="36" y="174"/>
                    </a:lnTo>
                    <a:lnTo>
                      <a:pt x="38" y="171"/>
                    </a:lnTo>
                    <a:lnTo>
                      <a:pt x="39" y="164"/>
                    </a:lnTo>
                    <a:lnTo>
                      <a:pt x="45" y="152"/>
                    </a:lnTo>
                    <a:lnTo>
                      <a:pt x="46" y="148"/>
                    </a:lnTo>
                    <a:lnTo>
                      <a:pt x="46" y="147"/>
                    </a:lnTo>
                    <a:lnTo>
                      <a:pt x="45" y="142"/>
                    </a:lnTo>
                    <a:lnTo>
                      <a:pt x="46" y="139"/>
                    </a:lnTo>
                    <a:lnTo>
                      <a:pt x="46" y="139"/>
                    </a:lnTo>
                    <a:lnTo>
                      <a:pt x="48" y="137"/>
                    </a:lnTo>
                    <a:lnTo>
                      <a:pt x="48" y="135"/>
                    </a:lnTo>
                    <a:lnTo>
                      <a:pt x="48" y="135"/>
                    </a:lnTo>
                    <a:lnTo>
                      <a:pt x="46" y="134"/>
                    </a:lnTo>
                    <a:lnTo>
                      <a:pt x="46" y="132"/>
                    </a:lnTo>
                    <a:lnTo>
                      <a:pt x="46" y="131"/>
                    </a:lnTo>
                    <a:lnTo>
                      <a:pt x="48" y="129"/>
                    </a:lnTo>
                    <a:lnTo>
                      <a:pt x="48" y="128"/>
                    </a:lnTo>
                    <a:lnTo>
                      <a:pt x="51" y="127"/>
                    </a:lnTo>
                    <a:lnTo>
                      <a:pt x="52" y="127"/>
                    </a:lnTo>
                    <a:lnTo>
                      <a:pt x="55" y="127"/>
                    </a:lnTo>
                    <a:lnTo>
                      <a:pt x="56" y="127"/>
                    </a:lnTo>
                    <a:lnTo>
                      <a:pt x="58" y="127"/>
                    </a:lnTo>
                    <a:lnTo>
                      <a:pt x="62" y="128"/>
                    </a:lnTo>
                    <a:lnTo>
                      <a:pt x="62" y="129"/>
                    </a:lnTo>
                    <a:lnTo>
                      <a:pt x="62" y="134"/>
                    </a:lnTo>
                    <a:lnTo>
                      <a:pt x="62" y="139"/>
                    </a:lnTo>
                    <a:lnTo>
                      <a:pt x="62" y="141"/>
                    </a:lnTo>
                    <a:lnTo>
                      <a:pt x="62" y="141"/>
                    </a:lnTo>
                    <a:lnTo>
                      <a:pt x="63" y="142"/>
                    </a:lnTo>
                    <a:lnTo>
                      <a:pt x="65" y="142"/>
                    </a:lnTo>
                    <a:lnTo>
                      <a:pt x="68" y="142"/>
                    </a:lnTo>
                    <a:lnTo>
                      <a:pt x="72" y="142"/>
                    </a:lnTo>
                    <a:lnTo>
                      <a:pt x="76" y="142"/>
                    </a:lnTo>
                    <a:lnTo>
                      <a:pt x="78" y="142"/>
                    </a:lnTo>
                    <a:lnTo>
                      <a:pt x="79" y="144"/>
                    </a:lnTo>
                    <a:lnTo>
                      <a:pt x="82" y="145"/>
                    </a:lnTo>
                    <a:lnTo>
                      <a:pt x="84" y="147"/>
                    </a:lnTo>
                    <a:lnTo>
                      <a:pt x="85" y="148"/>
                    </a:lnTo>
                    <a:lnTo>
                      <a:pt x="85" y="147"/>
                    </a:lnTo>
                    <a:lnTo>
                      <a:pt x="86" y="148"/>
                    </a:lnTo>
                    <a:lnTo>
                      <a:pt x="88" y="151"/>
                    </a:lnTo>
                    <a:lnTo>
                      <a:pt x="91" y="151"/>
                    </a:lnTo>
                    <a:lnTo>
                      <a:pt x="92" y="150"/>
                    </a:lnTo>
                    <a:lnTo>
                      <a:pt x="94" y="152"/>
                    </a:lnTo>
                    <a:lnTo>
                      <a:pt x="96" y="157"/>
                    </a:lnTo>
                    <a:lnTo>
                      <a:pt x="98" y="160"/>
                    </a:lnTo>
                    <a:lnTo>
                      <a:pt x="95" y="154"/>
                    </a:lnTo>
                    <a:lnTo>
                      <a:pt x="94" y="152"/>
                    </a:lnTo>
                    <a:close/>
                    <a:moveTo>
                      <a:pt x="45" y="197"/>
                    </a:moveTo>
                    <a:lnTo>
                      <a:pt x="48" y="197"/>
                    </a:lnTo>
                    <a:lnTo>
                      <a:pt x="48" y="198"/>
                    </a:lnTo>
                    <a:lnTo>
                      <a:pt x="46" y="200"/>
                    </a:lnTo>
                    <a:lnTo>
                      <a:pt x="45" y="198"/>
                    </a:lnTo>
                    <a:lnTo>
                      <a:pt x="45" y="197"/>
                    </a:lnTo>
                    <a:close/>
                    <a:moveTo>
                      <a:pt x="46" y="196"/>
                    </a:moveTo>
                    <a:lnTo>
                      <a:pt x="48" y="196"/>
                    </a:lnTo>
                    <a:lnTo>
                      <a:pt x="46" y="194"/>
                    </a:lnTo>
                    <a:lnTo>
                      <a:pt x="46" y="194"/>
                    </a:lnTo>
                    <a:lnTo>
                      <a:pt x="46" y="194"/>
                    </a:lnTo>
                    <a:lnTo>
                      <a:pt x="46" y="194"/>
                    </a:lnTo>
                    <a:lnTo>
                      <a:pt x="46" y="194"/>
                    </a:lnTo>
                    <a:lnTo>
                      <a:pt x="46" y="196"/>
                    </a:lnTo>
                    <a:close/>
                    <a:moveTo>
                      <a:pt x="16" y="207"/>
                    </a:moveTo>
                    <a:lnTo>
                      <a:pt x="15" y="207"/>
                    </a:lnTo>
                    <a:lnTo>
                      <a:pt x="15" y="206"/>
                    </a:lnTo>
                    <a:lnTo>
                      <a:pt x="16" y="206"/>
                    </a:lnTo>
                    <a:lnTo>
                      <a:pt x="16" y="206"/>
                    </a:lnTo>
                    <a:lnTo>
                      <a:pt x="16" y="206"/>
                    </a:lnTo>
                    <a:lnTo>
                      <a:pt x="16" y="206"/>
                    </a:lnTo>
                    <a:lnTo>
                      <a:pt x="16" y="206"/>
                    </a:lnTo>
                    <a:lnTo>
                      <a:pt x="16" y="207"/>
                    </a:lnTo>
                    <a:close/>
                    <a:moveTo>
                      <a:pt x="22" y="226"/>
                    </a:moveTo>
                    <a:lnTo>
                      <a:pt x="20" y="227"/>
                    </a:lnTo>
                    <a:lnTo>
                      <a:pt x="20" y="223"/>
                    </a:lnTo>
                    <a:lnTo>
                      <a:pt x="20" y="224"/>
                    </a:lnTo>
                    <a:lnTo>
                      <a:pt x="22" y="224"/>
                    </a:lnTo>
                    <a:lnTo>
                      <a:pt x="22" y="226"/>
                    </a:lnTo>
                    <a:close/>
                    <a:moveTo>
                      <a:pt x="16" y="230"/>
                    </a:moveTo>
                    <a:lnTo>
                      <a:pt x="16" y="227"/>
                    </a:lnTo>
                    <a:lnTo>
                      <a:pt x="16" y="227"/>
                    </a:lnTo>
                    <a:lnTo>
                      <a:pt x="16" y="224"/>
                    </a:lnTo>
                    <a:lnTo>
                      <a:pt x="16" y="223"/>
                    </a:lnTo>
                    <a:lnTo>
                      <a:pt x="16" y="223"/>
                    </a:lnTo>
                    <a:lnTo>
                      <a:pt x="17" y="224"/>
                    </a:lnTo>
                    <a:lnTo>
                      <a:pt x="17" y="226"/>
                    </a:lnTo>
                    <a:lnTo>
                      <a:pt x="17" y="229"/>
                    </a:lnTo>
                    <a:lnTo>
                      <a:pt x="16" y="230"/>
                    </a:lnTo>
                    <a:close/>
                    <a:moveTo>
                      <a:pt x="30" y="234"/>
                    </a:moveTo>
                    <a:lnTo>
                      <a:pt x="29" y="234"/>
                    </a:lnTo>
                    <a:lnTo>
                      <a:pt x="29" y="233"/>
                    </a:lnTo>
                    <a:lnTo>
                      <a:pt x="29" y="233"/>
                    </a:lnTo>
                    <a:lnTo>
                      <a:pt x="29" y="231"/>
                    </a:lnTo>
                    <a:lnTo>
                      <a:pt x="30" y="233"/>
                    </a:lnTo>
                    <a:lnTo>
                      <a:pt x="30" y="234"/>
                    </a:lnTo>
                    <a:lnTo>
                      <a:pt x="30" y="234"/>
                    </a:lnTo>
                    <a:lnTo>
                      <a:pt x="30" y="234"/>
                    </a:lnTo>
                    <a:close/>
                    <a:moveTo>
                      <a:pt x="40" y="249"/>
                    </a:moveTo>
                    <a:lnTo>
                      <a:pt x="40" y="250"/>
                    </a:lnTo>
                    <a:lnTo>
                      <a:pt x="40" y="252"/>
                    </a:lnTo>
                    <a:lnTo>
                      <a:pt x="39" y="252"/>
                    </a:lnTo>
                    <a:lnTo>
                      <a:pt x="39" y="250"/>
                    </a:lnTo>
                    <a:lnTo>
                      <a:pt x="39" y="250"/>
                    </a:lnTo>
                    <a:lnTo>
                      <a:pt x="40" y="249"/>
                    </a:lnTo>
                    <a:lnTo>
                      <a:pt x="40" y="24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4" name="Freeform 140">
                <a:extLst>
                  <a:ext uri="{FF2B5EF4-FFF2-40B4-BE49-F238E27FC236}">
                    <a16:creationId xmlns:a16="http://schemas.microsoft.com/office/drawing/2014/main" id="{8DFA678A-414D-6E56-E954-C1A8A7C8787D}"/>
                  </a:ext>
                </a:extLst>
              </p:cNvPr>
              <p:cNvSpPr>
                <a:spLocks noEditPoints="1"/>
              </p:cNvSpPr>
              <p:nvPr/>
            </p:nvSpPr>
            <p:spPr bwMode="auto">
              <a:xfrm>
                <a:off x="8160433" y="3923007"/>
                <a:ext cx="500302" cy="164839"/>
              </a:xfrm>
              <a:custGeom>
                <a:avLst/>
                <a:gdLst>
                  <a:gd name="T0" fmla="*/ 30 w 346"/>
                  <a:gd name="T1" fmla="*/ 75 h 114"/>
                  <a:gd name="T2" fmla="*/ 12 w 346"/>
                  <a:gd name="T3" fmla="*/ 35 h 114"/>
                  <a:gd name="T4" fmla="*/ 4 w 346"/>
                  <a:gd name="T5" fmla="*/ 17 h 114"/>
                  <a:gd name="T6" fmla="*/ 319 w 346"/>
                  <a:gd name="T7" fmla="*/ 56 h 114"/>
                  <a:gd name="T8" fmla="*/ 177 w 346"/>
                  <a:gd name="T9" fmla="*/ 101 h 114"/>
                  <a:gd name="T10" fmla="*/ 200 w 346"/>
                  <a:gd name="T11" fmla="*/ 112 h 114"/>
                  <a:gd name="T12" fmla="*/ 218 w 346"/>
                  <a:gd name="T13" fmla="*/ 109 h 114"/>
                  <a:gd name="T14" fmla="*/ 236 w 346"/>
                  <a:gd name="T15" fmla="*/ 104 h 114"/>
                  <a:gd name="T16" fmla="*/ 251 w 346"/>
                  <a:gd name="T17" fmla="*/ 105 h 114"/>
                  <a:gd name="T18" fmla="*/ 264 w 346"/>
                  <a:gd name="T19" fmla="*/ 101 h 114"/>
                  <a:gd name="T20" fmla="*/ 267 w 346"/>
                  <a:gd name="T21" fmla="*/ 94 h 114"/>
                  <a:gd name="T22" fmla="*/ 273 w 346"/>
                  <a:gd name="T23" fmla="*/ 86 h 114"/>
                  <a:gd name="T24" fmla="*/ 274 w 346"/>
                  <a:gd name="T25" fmla="*/ 78 h 114"/>
                  <a:gd name="T26" fmla="*/ 283 w 346"/>
                  <a:gd name="T27" fmla="*/ 56 h 114"/>
                  <a:gd name="T28" fmla="*/ 310 w 346"/>
                  <a:gd name="T29" fmla="*/ 53 h 114"/>
                  <a:gd name="T30" fmla="*/ 319 w 346"/>
                  <a:gd name="T31" fmla="*/ 53 h 114"/>
                  <a:gd name="T32" fmla="*/ 333 w 346"/>
                  <a:gd name="T33" fmla="*/ 51 h 114"/>
                  <a:gd name="T34" fmla="*/ 330 w 346"/>
                  <a:gd name="T35" fmla="*/ 42 h 114"/>
                  <a:gd name="T36" fmla="*/ 346 w 346"/>
                  <a:gd name="T37" fmla="*/ 36 h 114"/>
                  <a:gd name="T38" fmla="*/ 329 w 346"/>
                  <a:gd name="T39" fmla="*/ 28 h 114"/>
                  <a:gd name="T40" fmla="*/ 323 w 346"/>
                  <a:gd name="T41" fmla="*/ 28 h 114"/>
                  <a:gd name="T42" fmla="*/ 316 w 346"/>
                  <a:gd name="T43" fmla="*/ 26 h 114"/>
                  <a:gd name="T44" fmla="*/ 317 w 346"/>
                  <a:gd name="T45" fmla="*/ 16 h 114"/>
                  <a:gd name="T46" fmla="*/ 310 w 346"/>
                  <a:gd name="T47" fmla="*/ 7 h 114"/>
                  <a:gd name="T48" fmla="*/ 303 w 346"/>
                  <a:gd name="T49" fmla="*/ 9 h 114"/>
                  <a:gd name="T50" fmla="*/ 280 w 346"/>
                  <a:gd name="T51" fmla="*/ 32 h 114"/>
                  <a:gd name="T52" fmla="*/ 280 w 346"/>
                  <a:gd name="T53" fmla="*/ 38 h 114"/>
                  <a:gd name="T54" fmla="*/ 276 w 346"/>
                  <a:gd name="T55" fmla="*/ 49 h 114"/>
                  <a:gd name="T56" fmla="*/ 271 w 346"/>
                  <a:gd name="T57" fmla="*/ 43 h 114"/>
                  <a:gd name="T58" fmla="*/ 266 w 346"/>
                  <a:gd name="T59" fmla="*/ 58 h 114"/>
                  <a:gd name="T60" fmla="*/ 253 w 346"/>
                  <a:gd name="T61" fmla="*/ 51 h 114"/>
                  <a:gd name="T62" fmla="*/ 237 w 346"/>
                  <a:gd name="T63" fmla="*/ 72 h 114"/>
                  <a:gd name="T64" fmla="*/ 210 w 346"/>
                  <a:gd name="T65" fmla="*/ 81 h 114"/>
                  <a:gd name="T66" fmla="*/ 208 w 346"/>
                  <a:gd name="T67" fmla="*/ 88 h 114"/>
                  <a:gd name="T68" fmla="*/ 204 w 346"/>
                  <a:gd name="T69" fmla="*/ 91 h 114"/>
                  <a:gd name="T70" fmla="*/ 201 w 346"/>
                  <a:gd name="T71" fmla="*/ 104 h 114"/>
                  <a:gd name="T72" fmla="*/ 178 w 346"/>
                  <a:gd name="T73" fmla="*/ 98 h 114"/>
                  <a:gd name="T74" fmla="*/ 47 w 346"/>
                  <a:gd name="T75" fmla="*/ 20 h 114"/>
                  <a:gd name="T76" fmla="*/ 63 w 346"/>
                  <a:gd name="T77" fmla="*/ 38 h 114"/>
                  <a:gd name="T78" fmla="*/ 66 w 346"/>
                  <a:gd name="T79" fmla="*/ 63 h 114"/>
                  <a:gd name="T80" fmla="*/ 68 w 346"/>
                  <a:gd name="T81" fmla="*/ 78 h 114"/>
                  <a:gd name="T82" fmla="*/ 80 w 346"/>
                  <a:gd name="T83" fmla="*/ 98 h 114"/>
                  <a:gd name="T84" fmla="*/ 78 w 346"/>
                  <a:gd name="T85" fmla="*/ 101 h 114"/>
                  <a:gd name="T86" fmla="*/ 69 w 346"/>
                  <a:gd name="T87" fmla="*/ 105 h 114"/>
                  <a:gd name="T88" fmla="*/ 57 w 346"/>
                  <a:gd name="T89" fmla="*/ 98 h 114"/>
                  <a:gd name="T90" fmla="*/ 29 w 346"/>
                  <a:gd name="T91" fmla="*/ 72 h 114"/>
                  <a:gd name="T92" fmla="*/ 19 w 346"/>
                  <a:gd name="T93" fmla="*/ 55 h 114"/>
                  <a:gd name="T94" fmla="*/ 9 w 346"/>
                  <a:gd name="T95" fmla="*/ 16 h 114"/>
                  <a:gd name="T96" fmla="*/ 17 w 346"/>
                  <a:gd name="T97" fmla="*/ 16 h 114"/>
                  <a:gd name="T98" fmla="*/ 23 w 346"/>
                  <a:gd name="T99" fmla="*/ 19 h 114"/>
                  <a:gd name="T100" fmla="*/ 24 w 346"/>
                  <a:gd name="T101" fmla="*/ 28 h 114"/>
                  <a:gd name="T102" fmla="*/ 36 w 346"/>
                  <a:gd name="T103" fmla="*/ 28 h 114"/>
                  <a:gd name="T104" fmla="*/ 80 w 346"/>
                  <a:gd name="T105" fmla="*/ 79 h 114"/>
                  <a:gd name="T106" fmla="*/ 79 w 346"/>
                  <a:gd name="T107" fmla="*/ 81 h 114"/>
                  <a:gd name="T108" fmla="*/ 205 w 346"/>
                  <a:gd name="T109" fmla="*/ 81 h 114"/>
                  <a:gd name="T110" fmla="*/ 310 w 346"/>
                  <a:gd name="T111" fmla="*/ 0 h 114"/>
                  <a:gd name="T112" fmla="*/ 307 w 346"/>
                  <a:gd name="T11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6" h="114">
                    <a:moveTo>
                      <a:pt x="30" y="76"/>
                    </a:moveTo>
                    <a:lnTo>
                      <a:pt x="29" y="76"/>
                    </a:lnTo>
                    <a:lnTo>
                      <a:pt x="29" y="76"/>
                    </a:lnTo>
                    <a:lnTo>
                      <a:pt x="30" y="76"/>
                    </a:lnTo>
                    <a:lnTo>
                      <a:pt x="30" y="76"/>
                    </a:lnTo>
                    <a:lnTo>
                      <a:pt x="30" y="75"/>
                    </a:lnTo>
                    <a:lnTo>
                      <a:pt x="30" y="76"/>
                    </a:lnTo>
                    <a:lnTo>
                      <a:pt x="30" y="76"/>
                    </a:lnTo>
                    <a:close/>
                    <a:moveTo>
                      <a:pt x="10" y="33"/>
                    </a:moveTo>
                    <a:lnTo>
                      <a:pt x="10" y="36"/>
                    </a:lnTo>
                    <a:lnTo>
                      <a:pt x="13" y="36"/>
                    </a:lnTo>
                    <a:lnTo>
                      <a:pt x="12" y="35"/>
                    </a:lnTo>
                    <a:lnTo>
                      <a:pt x="10" y="33"/>
                    </a:lnTo>
                    <a:close/>
                    <a:moveTo>
                      <a:pt x="0" y="16"/>
                    </a:moveTo>
                    <a:lnTo>
                      <a:pt x="3" y="16"/>
                    </a:lnTo>
                    <a:lnTo>
                      <a:pt x="3" y="16"/>
                    </a:lnTo>
                    <a:lnTo>
                      <a:pt x="4" y="16"/>
                    </a:lnTo>
                    <a:lnTo>
                      <a:pt x="4" y="17"/>
                    </a:lnTo>
                    <a:lnTo>
                      <a:pt x="4" y="19"/>
                    </a:lnTo>
                    <a:lnTo>
                      <a:pt x="1" y="19"/>
                    </a:lnTo>
                    <a:lnTo>
                      <a:pt x="0" y="16"/>
                    </a:lnTo>
                    <a:close/>
                    <a:moveTo>
                      <a:pt x="320" y="55"/>
                    </a:moveTo>
                    <a:lnTo>
                      <a:pt x="322" y="56"/>
                    </a:lnTo>
                    <a:lnTo>
                      <a:pt x="319" y="56"/>
                    </a:lnTo>
                    <a:lnTo>
                      <a:pt x="317" y="56"/>
                    </a:lnTo>
                    <a:lnTo>
                      <a:pt x="317" y="55"/>
                    </a:lnTo>
                    <a:lnTo>
                      <a:pt x="319" y="55"/>
                    </a:lnTo>
                    <a:lnTo>
                      <a:pt x="320" y="55"/>
                    </a:lnTo>
                    <a:close/>
                    <a:moveTo>
                      <a:pt x="175" y="98"/>
                    </a:moveTo>
                    <a:lnTo>
                      <a:pt x="177" y="101"/>
                    </a:lnTo>
                    <a:lnTo>
                      <a:pt x="178" y="102"/>
                    </a:lnTo>
                    <a:lnTo>
                      <a:pt x="180" y="105"/>
                    </a:lnTo>
                    <a:lnTo>
                      <a:pt x="188" y="112"/>
                    </a:lnTo>
                    <a:lnTo>
                      <a:pt x="191" y="114"/>
                    </a:lnTo>
                    <a:lnTo>
                      <a:pt x="192" y="114"/>
                    </a:lnTo>
                    <a:lnTo>
                      <a:pt x="200" y="112"/>
                    </a:lnTo>
                    <a:lnTo>
                      <a:pt x="203" y="112"/>
                    </a:lnTo>
                    <a:lnTo>
                      <a:pt x="211" y="112"/>
                    </a:lnTo>
                    <a:lnTo>
                      <a:pt x="213" y="112"/>
                    </a:lnTo>
                    <a:lnTo>
                      <a:pt x="215" y="111"/>
                    </a:lnTo>
                    <a:lnTo>
                      <a:pt x="217" y="109"/>
                    </a:lnTo>
                    <a:lnTo>
                      <a:pt x="218" y="109"/>
                    </a:lnTo>
                    <a:lnTo>
                      <a:pt x="220" y="108"/>
                    </a:lnTo>
                    <a:lnTo>
                      <a:pt x="223" y="104"/>
                    </a:lnTo>
                    <a:lnTo>
                      <a:pt x="224" y="104"/>
                    </a:lnTo>
                    <a:lnTo>
                      <a:pt x="225" y="102"/>
                    </a:lnTo>
                    <a:lnTo>
                      <a:pt x="231" y="102"/>
                    </a:lnTo>
                    <a:lnTo>
                      <a:pt x="236" y="104"/>
                    </a:lnTo>
                    <a:lnTo>
                      <a:pt x="238" y="105"/>
                    </a:lnTo>
                    <a:lnTo>
                      <a:pt x="246" y="107"/>
                    </a:lnTo>
                    <a:lnTo>
                      <a:pt x="247" y="108"/>
                    </a:lnTo>
                    <a:lnTo>
                      <a:pt x="248" y="107"/>
                    </a:lnTo>
                    <a:lnTo>
                      <a:pt x="250" y="107"/>
                    </a:lnTo>
                    <a:lnTo>
                      <a:pt x="251" y="105"/>
                    </a:lnTo>
                    <a:lnTo>
                      <a:pt x="253" y="104"/>
                    </a:lnTo>
                    <a:lnTo>
                      <a:pt x="256" y="104"/>
                    </a:lnTo>
                    <a:lnTo>
                      <a:pt x="261" y="104"/>
                    </a:lnTo>
                    <a:lnTo>
                      <a:pt x="263" y="102"/>
                    </a:lnTo>
                    <a:lnTo>
                      <a:pt x="264" y="102"/>
                    </a:lnTo>
                    <a:lnTo>
                      <a:pt x="264" y="101"/>
                    </a:lnTo>
                    <a:lnTo>
                      <a:pt x="264" y="99"/>
                    </a:lnTo>
                    <a:lnTo>
                      <a:pt x="266" y="98"/>
                    </a:lnTo>
                    <a:lnTo>
                      <a:pt x="266" y="98"/>
                    </a:lnTo>
                    <a:lnTo>
                      <a:pt x="267" y="96"/>
                    </a:lnTo>
                    <a:lnTo>
                      <a:pt x="267" y="96"/>
                    </a:lnTo>
                    <a:lnTo>
                      <a:pt x="267" y="94"/>
                    </a:lnTo>
                    <a:lnTo>
                      <a:pt x="267" y="92"/>
                    </a:lnTo>
                    <a:lnTo>
                      <a:pt x="267" y="91"/>
                    </a:lnTo>
                    <a:lnTo>
                      <a:pt x="267" y="89"/>
                    </a:lnTo>
                    <a:lnTo>
                      <a:pt x="269" y="88"/>
                    </a:lnTo>
                    <a:lnTo>
                      <a:pt x="271" y="88"/>
                    </a:lnTo>
                    <a:lnTo>
                      <a:pt x="273" y="86"/>
                    </a:lnTo>
                    <a:lnTo>
                      <a:pt x="274" y="84"/>
                    </a:lnTo>
                    <a:lnTo>
                      <a:pt x="273" y="84"/>
                    </a:lnTo>
                    <a:lnTo>
                      <a:pt x="273" y="82"/>
                    </a:lnTo>
                    <a:lnTo>
                      <a:pt x="271" y="81"/>
                    </a:lnTo>
                    <a:lnTo>
                      <a:pt x="273" y="79"/>
                    </a:lnTo>
                    <a:lnTo>
                      <a:pt x="274" y="78"/>
                    </a:lnTo>
                    <a:lnTo>
                      <a:pt x="277" y="76"/>
                    </a:lnTo>
                    <a:lnTo>
                      <a:pt x="280" y="75"/>
                    </a:lnTo>
                    <a:lnTo>
                      <a:pt x="280" y="72"/>
                    </a:lnTo>
                    <a:lnTo>
                      <a:pt x="280" y="62"/>
                    </a:lnTo>
                    <a:lnTo>
                      <a:pt x="282" y="59"/>
                    </a:lnTo>
                    <a:lnTo>
                      <a:pt x="283" y="56"/>
                    </a:lnTo>
                    <a:lnTo>
                      <a:pt x="284" y="53"/>
                    </a:lnTo>
                    <a:lnTo>
                      <a:pt x="287" y="53"/>
                    </a:lnTo>
                    <a:lnTo>
                      <a:pt x="290" y="53"/>
                    </a:lnTo>
                    <a:lnTo>
                      <a:pt x="307" y="53"/>
                    </a:lnTo>
                    <a:lnTo>
                      <a:pt x="309" y="53"/>
                    </a:lnTo>
                    <a:lnTo>
                      <a:pt x="310" y="53"/>
                    </a:lnTo>
                    <a:lnTo>
                      <a:pt x="312" y="55"/>
                    </a:lnTo>
                    <a:lnTo>
                      <a:pt x="313" y="55"/>
                    </a:lnTo>
                    <a:lnTo>
                      <a:pt x="315" y="56"/>
                    </a:lnTo>
                    <a:lnTo>
                      <a:pt x="316" y="56"/>
                    </a:lnTo>
                    <a:lnTo>
                      <a:pt x="317" y="53"/>
                    </a:lnTo>
                    <a:lnTo>
                      <a:pt x="319" y="53"/>
                    </a:lnTo>
                    <a:lnTo>
                      <a:pt x="320" y="55"/>
                    </a:lnTo>
                    <a:lnTo>
                      <a:pt x="323" y="55"/>
                    </a:lnTo>
                    <a:lnTo>
                      <a:pt x="325" y="55"/>
                    </a:lnTo>
                    <a:lnTo>
                      <a:pt x="332" y="53"/>
                    </a:lnTo>
                    <a:lnTo>
                      <a:pt x="333" y="52"/>
                    </a:lnTo>
                    <a:lnTo>
                      <a:pt x="333" y="51"/>
                    </a:lnTo>
                    <a:lnTo>
                      <a:pt x="332" y="49"/>
                    </a:lnTo>
                    <a:lnTo>
                      <a:pt x="329" y="48"/>
                    </a:lnTo>
                    <a:lnTo>
                      <a:pt x="327" y="46"/>
                    </a:lnTo>
                    <a:lnTo>
                      <a:pt x="327" y="43"/>
                    </a:lnTo>
                    <a:lnTo>
                      <a:pt x="329" y="42"/>
                    </a:lnTo>
                    <a:lnTo>
                      <a:pt x="330" y="42"/>
                    </a:lnTo>
                    <a:lnTo>
                      <a:pt x="333" y="42"/>
                    </a:lnTo>
                    <a:lnTo>
                      <a:pt x="336" y="42"/>
                    </a:lnTo>
                    <a:lnTo>
                      <a:pt x="340" y="42"/>
                    </a:lnTo>
                    <a:lnTo>
                      <a:pt x="343" y="40"/>
                    </a:lnTo>
                    <a:lnTo>
                      <a:pt x="345" y="39"/>
                    </a:lnTo>
                    <a:lnTo>
                      <a:pt x="346" y="36"/>
                    </a:lnTo>
                    <a:lnTo>
                      <a:pt x="345" y="35"/>
                    </a:lnTo>
                    <a:lnTo>
                      <a:pt x="345" y="35"/>
                    </a:lnTo>
                    <a:lnTo>
                      <a:pt x="336" y="32"/>
                    </a:lnTo>
                    <a:lnTo>
                      <a:pt x="333" y="30"/>
                    </a:lnTo>
                    <a:lnTo>
                      <a:pt x="330" y="28"/>
                    </a:lnTo>
                    <a:lnTo>
                      <a:pt x="329" y="28"/>
                    </a:lnTo>
                    <a:lnTo>
                      <a:pt x="327" y="28"/>
                    </a:lnTo>
                    <a:lnTo>
                      <a:pt x="325" y="29"/>
                    </a:lnTo>
                    <a:lnTo>
                      <a:pt x="323" y="29"/>
                    </a:lnTo>
                    <a:lnTo>
                      <a:pt x="322" y="28"/>
                    </a:lnTo>
                    <a:lnTo>
                      <a:pt x="323" y="28"/>
                    </a:lnTo>
                    <a:lnTo>
                      <a:pt x="323" y="28"/>
                    </a:lnTo>
                    <a:lnTo>
                      <a:pt x="325" y="26"/>
                    </a:lnTo>
                    <a:lnTo>
                      <a:pt x="325" y="25"/>
                    </a:lnTo>
                    <a:lnTo>
                      <a:pt x="323" y="23"/>
                    </a:lnTo>
                    <a:lnTo>
                      <a:pt x="320" y="25"/>
                    </a:lnTo>
                    <a:lnTo>
                      <a:pt x="315" y="26"/>
                    </a:lnTo>
                    <a:lnTo>
                      <a:pt x="316" y="26"/>
                    </a:lnTo>
                    <a:lnTo>
                      <a:pt x="316" y="25"/>
                    </a:lnTo>
                    <a:lnTo>
                      <a:pt x="317" y="25"/>
                    </a:lnTo>
                    <a:lnTo>
                      <a:pt x="317" y="23"/>
                    </a:lnTo>
                    <a:lnTo>
                      <a:pt x="317" y="19"/>
                    </a:lnTo>
                    <a:lnTo>
                      <a:pt x="317" y="17"/>
                    </a:lnTo>
                    <a:lnTo>
                      <a:pt x="317" y="16"/>
                    </a:lnTo>
                    <a:lnTo>
                      <a:pt x="313" y="13"/>
                    </a:lnTo>
                    <a:lnTo>
                      <a:pt x="312" y="12"/>
                    </a:lnTo>
                    <a:lnTo>
                      <a:pt x="310" y="10"/>
                    </a:lnTo>
                    <a:lnTo>
                      <a:pt x="310" y="9"/>
                    </a:lnTo>
                    <a:lnTo>
                      <a:pt x="310" y="7"/>
                    </a:lnTo>
                    <a:lnTo>
                      <a:pt x="310" y="7"/>
                    </a:lnTo>
                    <a:lnTo>
                      <a:pt x="309" y="7"/>
                    </a:lnTo>
                    <a:lnTo>
                      <a:pt x="307" y="7"/>
                    </a:lnTo>
                    <a:lnTo>
                      <a:pt x="304" y="12"/>
                    </a:lnTo>
                    <a:lnTo>
                      <a:pt x="302" y="13"/>
                    </a:lnTo>
                    <a:lnTo>
                      <a:pt x="303" y="12"/>
                    </a:lnTo>
                    <a:lnTo>
                      <a:pt x="303" y="9"/>
                    </a:lnTo>
                    <a:lnTo>
                      <a:pt x="303" y="7"/>
                    </a:lnTo>
                    <a:lnTo>
                      <a:pt x="302" y="7"/>
                    </a:lnTo>
                    <a:lnTo>
                      <a:pt x="289" y="28"/>
                    </a:lnTo>
                    <a:lnTo>
                      <a:pt x="284" y="32"/>
                    </a:lnTo>
                    <a:lnTo>
                      <a:pt x="282" y="30"/>
                    </a:lnTo>
                    <a:lnTo>
                      <a:pt x="280" y="32"/>
                    </a:lnTo>
                    <a:lnTo>
                      <a:pt x="279" y="33"/>
                    </a:lnTo>
                    <a:lnTo>
                      <a:pt x="279" y="35"/>
                    </a:lnTo>
                    <a:lnTo>
                      <a:pt x="279" y="36"/>
                    </a:lnTo>
                    <a:lnTo>
                      <a:pt x="279" y="36"/>
                    </a:lnTo>
                    <a:lnTo>
                      <a:pt x="280" y="38"/>
                    </a:lnTo>
                    <a:lnTo>
                      <a:pt x="280" y="38"/>
                    </a:lnTo>
                    <a:lnTo>
                      <a:pt x="280" y="40"/>
                    </a:lnTo>
                    <a:lnTo>
                      <a:pt x="279" y="42"/>
                    </a:lnTo>
                    <a:lnTo>
                      <a:pt x="276" y="43"/>
                    </a:lnTo>
                    <a:lnTo>
                      <a:pt x="273" y="43"/>
                    </a:lnTo>
                    <a:lnTo>
                      <a:pt x="274" y="46"/>
                    </a:lnTo>
                    <a:lnTo>
                      <a:pt x="276" y="49"/>
                    </a:lnTo>
                    <a:lnTo>
                      <a:pt x="276" y="52"/>
                    </a:lnTo>
                    <a:lnTo>
                      <a:pt x="276" y="53"/>
                    </a:lnTo>
                    <a:lnTo>
                      <a:pt x="273" y="52"/>
                    </a:lnTo>
                    <a:lnTo>
                      <a:pt x="271" y="49"/>
                    </a:lnTo>
                    <a:lnTo>
                      <a:pt x="271" y="46"/>
                    </a:lnTo>
                    <a:lnTo>
                      <a:pt x="271" y="43"/>
                    </a:lnTo>
                    <a:lnTo>
                      <a:pt x="269" y="45"/>
                    </a:lnTo>
                    <a:lnTo>
                      <a:pt x="267" y="46"/>
                    </a:lnTo>
                    <a:lnTo>
                      <a:pt x="267" y="48"/>
                    </a:lnTo>
                    <a:lnTo>
                      <a:pt x="267" y="55"/>
                    </a:lnTo>
                    <a:lnTo>
                      <a:pt x="267" y="56"/>
                    </a:lnTo>
                    <a:lnTo>
                      <a:pt x="266" y="58"/>
                    </a:lnTo>
                    <a:lnTo>
                      <a:pt x="263" y="58"/>
                    </a:lnTo>
                    <a:lnTo>
                      <a:pt x="260" y="55"/>
                    </a:lnTo>
                    <a:lnTo>
                      <a:pt x="257" y="52"/>
                    </a:lnTo>
                    <a:lnTo>
                      <a:pt x="254" y="49"/>
                    </a:lnTo>
                    <a:lnTo>
                      <a:pt x="253" y="49"/>
                    </a:lnTo>
                    <a:lnTo>
                      <a:pt x="253" y="51"/>
                    </a:lnTo>
                    <a:lnTo>
                      <a:pt x="253" y="52"/>
                    </a:lnTo>
                    <a:lnTo>
                      <a:pt x="253" y="53"/>
                    </a:lnTo>
                    <a:lnTo>
                      <a:pt x="251" y="55"/>
                    </a:lnTo>
                    <a:lnTo>
                      <a:pt x="250" y="58"/>
                    </a:lnTo>
                    <a:lnTo>
                      <a:pt x="247" y="61"/>
                    </a:lnTo>
                    <a:lnTo>
                      <a:pt x="237" y="72"/>
                    </a:lnTo>
                    <a:lnTo>
                      <a:pt x="233" y="75"/>
                    </a:lnTo>
                    <a:lnTo>
                      <a:pt x="228" y="76"/>
                    </a:lnTo>
                    <a:lnTo>
                      <a:pt x="217" y="78"/>
                    </a:lnTo>
                    <a:lnTo>
                      <a:pt x="213" y="79"/>
                    </a:lnTo>
                    <a:lnTo>
                      <a:pt x="211" y="81"/>
                    </a:lnTo>
                    <a:lnTo>
                      <a:pt x="210" y="81"/>
                    </a:lnTo>
                    <a:lnTo>
                      <a:pt x="210" y="81"/>
                    </a:lnTo>
                    <a:lnTo>
                      <a:pt x="208" y="82"/>
                    </a:lnTo>
                    <a:lnTo>
                      <a:pt x="208" y="84"/>
                    </a:lnTo>
                    <a:lnTo>
                      <a:pt x="208" y="85"/>
                    </a:lnTo>
                    <a:lnTo>
                      <a:pt x="208" y="86"/>
                    </a:lnTo>
                    <a:lnTo>
                      <a:pt x="208" y="88"/>
                    </a:lnTo>
                    <a:lnTo>
                      <a:pt x="207" y="88"/>
                    </a:lnTo>
                    <a:lnTo>
                      <a:pt x="205" y="88"/>
                    </a:lnTo>
                    <a:lnTo>
                      <a:pt x="204" y="86"/>
                    </a:lnTo>
                    <a:lnTo>
                      <a:pt x="204" y="88"/>
                    </a:lnTo>
                    <a:lnTo>
                      <a:pt x="204" y="89"/>
                    </a:lnTo>
                    <a:lnTo>
                      <a:pt x="204" y="91"/>
                    </a:lnTo>
                    <a:lnTo>
                      <a:pt x="205" y="92"/>
                    </a:lnTo>
                    <a:lnTo>
                      <a:pt x="204" y="92"/>
                    </a:lnTo>
                    <a:lnTo>
                      <a:pt x="204" y="94"/>
                    </a:lnTo>
                    <a:lnTo>
                      <a:pt x="203" y="99"/>
                    </a:lnTo>
                    <a:lnTo>
                      <a:pt x="201" y="101"/>
                    </a:lnTo>
                    <a:lnTo>
                      <a:pt x="201" y="104"/>
                    </a:lnTo>
                    <a:lnTo>
                      <a:pt x="204" y="105"/>
                    </a:lnTo>
                    <a:lnTo>
                      <a:pt x="203" y="105"/>
                    </a:lnTo>
                    <a:lnTo>
                      <a:pt x="191" y="99"/>
                    </a:lnTo>
                    <a:lnTo>
                      <a:pt x="190" y="99"/>
                    </a:lnTo>
                    <a:lnTo>
                      <a:pt x="181" y="99"/>
                    </a:lnTo>
                    <a:lnTo>
                      <a:pt x="178" y="98"/>
                    </a:lnTo>
                    <a:lnTo>
                      <a:pt x="177" y="94"/>
                    </a:lnTo>
                    <a:lnTo>
                      <a:pt x="175" y="96"/>
                    </a:lnTo>
                    <a:lnTo>
                      <a:pt x="175" y="98"/>
                    </a:lnTo>
                    <a:close/>
                    <a:moveTo>
                      <a:pt x="43" y="22"/>
                    </a:moveTo>
                    <a:lnTo>
                      <a:pt x="45" y="19"/>
                    </a:lnTo>
                    <a:lnTo>
                      <a:pt x="47" y="20"/>
                    </a:lnTo>
                    <a:lnTo>
                      <a:pt x="50" y="23"/>
                    </a:lnTo>
                    <a:lnTo>
                      <a:pt x="52" y="26"/>
                    </a:lnTo>
                    <a:lnTo>
                      <a:pt x="55" y="29"/>
                    </a:lnTo>
                    <a:lnTo>
                      <a:pt x="60" y="33"/>
                    </a:lnTo>
                    <a:lnTo>
                      <a:pt x="62" y="35"/>
                    </a:lnTo>
                    <a:lnTo>
                      <a:pt x="63" y="38"/>
                    </a:lnTo>
                    <a:lnTo>
                      <a:pt x="66" y="42"/>
                    </a:lnTo>
                    <a:lnTo>
                      <a:pt x="68" y="45"/>
                    </a:lnTo>
                    <a:lnTo>
                      <a:pt x="68" y="49"/>
                    </a:lnTo>
                    <a:lnTo>
                      <a:pt x="68" y="52"/>
                    </a:lnTo>
                    <a:lnTo>
                      <a:pt x="66" y="62"/>
                    </a:lnTo>
                    <a:lnTo>
                      <a:pt x="66" y="63"/>
                    </a:lnTo>
                    <a:lnTo>
                      <a:pt x="68" y="65"/>
                    </a:lnTo>
                    <a:lnTo>
                      <a:pt x="68" y="66"/>
                    </a:lnTo>
                    <a:lnTo>
                      <a:pt x="68" y="68"/>
                    </a:lnTo>
                    <a:lnTo>
                      <a:pt x="68" y="71"/>
                    </a:lnTo>
                    <a:lnTo>
                      <a:pt x="68" y="75"/>
                    </a:lnTo>
                    <a:lnTo>
                      <a:pt x="68" y="78"/>
                    </a:lnTo>
                    <a:lnTo>
                      <a:pt x="69" y="81"/>
                    </a:lnTo>
                    <a:lnTo>
                      <a:pt x="70" y="82"/>
                    </a:lnTo>
                    <a:lnTo>
                      <a:pt x="73" y="84"/>
                    </a:lnTo>
                    <a:lnTo>
                      <a:pt x="75" y="85"/>
                    </a:lnTo>
                    <a:lnTo>
                      <a:pt x="75" y="86"/>
                    </a:lnTo>
                    <a:lnTo>
                      <a:pt x="80" y="98"/>
                    </a:lnTo>
                    <a:lnTo>
                      <a:pt x="82" y="102"/>
                    </a:lnTo>
                    <a:lnTo>
                      <a:pt x="82" y="105"/>
                    </a:lnTo>
                    <a:lnTo>
                      <a:pt x="80" y="105"/>
                    </a:lnTo>
                    <a:lnTo>
                      <a:pt x="79" y="104"/>
                    </a:lnTo>
                    <a:lnTo>
                      <a:pt x="78" y="102"/>
                    </a:lnTo>
                    <a:lnTo>
                      <a:pt x="78" y="101"/>
                    </a:lnTo>
                    <a:lnTo>
                      <a:pt x="78" y="104"/>
                    </a:lnTo>
                    <a:lnTo>
                      <a:pt x="76" y="104"/>
                    </a:lnTo>
                    <a:lnTo>
                      <a:pt x="75" y="104"/>
                    </a:lnTo>
                    <a:lnTo>
                      <a:pt x="75" y="104"/>
                    </a:lnTo>
                    <a:lnTo>
                      <a:pt x="70" y="105"/>
                    </a:lnTo>
                    <a:lnTo>
                      <a:pt x="69" y="105"/>
                    </a:lnTo>
                    <a:lnTo>
                      <a:pt x="68" y="105"/>
                    </a:lnTo>
                    <a:lnTo>
                      <a:pt x="68" y="105"/>
                    </a:lnTo>
                    <a:lnTo>
                      <a:pt x="65" y="102"/>
                    </a:lnTo>
                    <a:lnTo>
                      <a:pt x="65" y="102"/>
                    </a:lnTo>
                    <a:lnTo>
                      <a:pt x="63" y="101"/>
                    </a:lnTo>
                    <a:lnTo>
                      <a:pt x="57" y="98"/>
                    </a:lnTo>
                    <a:lnTo>
                      <a:pt x="32" y="81"/>
                    </a:lnTo>
                    <a:lnTo>
                      <a:pt x="30" y="79"/>
                    </a:lnTo>
                    <a:lnTo>
                      <a:pt x="30" y="78"/>
                    </a:lnTo>
                    <a:lnTo>
                      <a:pt x="30" y="76"/>
                    </a:lnTo>
                    <a:lnTo>
                      <a:pt x="30" y="75"/>
                    </a:lnTo>
                    <a:lnTo>
                      <a:pt x="29" y="72"/>
                    </a:lnTo>
                    <a:lnTo>
                      <a:pt x="27" y="69"/>
                    </a:lnTo>
                    <a:lnTo>
                      <a:pt x="23" y="63"/>
                    </a:lnTo>
                    <a:lnTo>
                      <a:pt x="22" y="62"/>
                    </a:lnTo>
                    <a:lnTo>
                      <a:pt x="20" y="61"/>
                    </a:lnTo>
                    <a:lnTo>
                      <a:pt x="20" y="59"/>
                    </a:lnTo>
                    <a:lnTo>
                      <a:pt x="19" y="55"/>
                    </a:lnTo>
                    <a:lnTo>
                      <a:pt x="17" y="52"/>
                    </a:lnTo>
                    <a:lnTo>
                      <a:pt x="14" y="35"/>
                    </a:lnTo>
                    <a:lnTo>
                      <a:pt x="13" y="29"/>
                    </a:lnTo>
                    <a:lnTo>
                      <a:pt x="13" y="25"/>
                    </a:lnTo>
                    <a:lnTo>
                      <a:pt x="10" y="19"/>
                    </a:lnTo>
                    <a:lnTo>
                      <a:pt x="9" y="16"/>
                    </a:lnTo>
                    <a:lnTo>
                      <a:pt x="10" y="13"/>
                    </a:lnTo>
                    <a:lnTo>
                      <a:pt x="10" y="12"/>
                    </a:lnTo>
                    <a:lnTo>
                      <a:pt x="12" y="12"/>
                    </a:lnTo>
                    <a:lnTo>
                      <a:pt x="14" y="15"/>
                    </a:lnTo>
                    <a:lnTo>
                      <a:pt x="16" y="16"/>
                    </a:lnTo>
                    <a:lnTo>
                      <a:pt x="17" y="16"/>
                    </a:lnTo>
                    <a:lnTo>
                      <a:pt x="19" y="16"/>
                    </a:lnTo>
                    <a:lnTo>
                      <a:pt x="20" y="16"/>
                    </a:lnTo>
                    <a:lnTo>
                      <a:pt x="20" y="16"/>
                    </a:lnTo>
                    <a:lnTo>
                      <a:pt x="22" y="17"/>
                    </a:lnTo>
                    <a:lnTo>
                      <a:pt x="22" y="19"/>
                    </a:lnTo>
                    <a:lnTo>
                      <a:pt x="23" y="19"/>
                    </a:lnTo>
                    <a:lnTo>
                      <a:pt x="24" y="19"/>
                    </a:lnTo>
                    <a:lnTo>
                      <a:pt x="24" y="19"/>
                    </a:lnTo>
                    <a:lnTo>
                      <a:pt x="26" y="22"/>
                    </a:lnTo>
                    <a:lnTo>
                      <a:pt x="26" y="23"/>
                    </a:lnTo>
                    <a:lnTo>
                      <a:pt x="24" y="25"/>
                    </a:lnTo>
                    <a:lnTo>
                      <a:pt x="24" y="28"/>
                    </a:lnTo>
                    <a:lnTo>
                      <a:pt x="26" y="30"/>
                    </a:lnTo>
                    <a:lnTo>
                      <a:pt x="29" y="29"/>
                    </a:lnTo>
                    <a:lnTo>
                      <a:pt x="32" y="26"/>
                    </a:lnTo>
                    <a:lnTo>
                      <a:pt x="34" y="26"/>
                    </a:lnTo>
                    <a:lnTo>
                      <a:pt x="36" y="26"/>
                    </a:lnTo>
                    <a:lnTo>
                      <a:pt x="36" y="28"/>
                    </a:lnTo>
                    <a:lnTo>
                      <a:pt x="37" y="28"/>
                    </a:lnTo>
                    <a:lnTo>
                      <a:pt x="39" y="28"/>
                    </a:lnTo>
                    <a:lnTo>
                      <a:pt x="40" y="26"/>
                    </a:lnTo>
                    <a:lnTo>
                      <a:pt x="42" y="23"/>
                    </a:lnTo>
                    <a:lnTo>
                      <a:pt x="43" y="22"/>
                    </a:lnTo>
                    <a:close/>
                    <a:moveTo>
                      <a:pt x="80" y="79"/>
                    </a:moveTo>
                    <a:lnTo>
                      <a:pt x="80" y="79"/>
                    </a:lnTo>
                    <a:lnTo>
                      <a:pt x="80" y="81"/>
                    </a:lnTo>
                    <a:lnTo>
                      <a:pt x="80" y="81"/>
                    </a:lnTo>
                    <a:lnTo>
                      <a:pt x="80" y="81"/>
                    </a:lnTo>
                    <a:lnTo>
                      <a:pt x="79" y="81"/>
                    </a:lnTo>
                    <a:lnTo>
                      <a:pt x="79" y="81"/>
                    </a:lnTo>
                    <a:lnTo>
                      <a:pt x="80" y="79"/>
                    </a:lnTo>
                    <a:lnTo>
                      <a:pt x="80" y="79"/>
                    </a:lnTo>
                    <a:close/>
                    <a:moveTo>
                      <a:pt x="205" y="86"/>
                    </a:moveTo>
                    <a:lnTo>
                      <a:pt x="205" y="85"/>
                    </a:lnTo>
                    <a:lnTo>
                      <a:pt x="205" y="82"/>
                    </a:lnTo>
                    <a:lnTo>
                      <a:pt x="205" y="81"/>
                    </a:lnTo>
                    <a:lnTo>
                      <a:pt x="207" y="82"/>
                    </a:lnTo>
                    <a:lnTo>
                      <a:pt x="207" y="84"/>
                    </a:lnTo>
                    <a:lnTo>
                      <a:pt x="207" y="86"/>
                    </a:lnTo>
                    <a:lnTo>
                      <a:pt x="205" y="86"/>
                    </a:lnTo>
                    <a:close/>
                    <a:moveTo>
                      <a:pt x="309" y="0"/>
                    </a:moveTo>
                    <a:lnTo>
                      <a:pt x="310" y="0"/>
                    </a:lnTo>
                    <a:lnTo>
                      <a:pt x="310" y="2"/>
                    </a:lnTo>
                    <a:lnTo>
                      <a:pt x="309" y="3"/>
                    </a:lnTo>
                    <a:lnTo>
                      <a:pt x="307" y="5"/>
                    </a:lnTo>
                    <a:lnTo>
                      <a:pt x="307" y="3"/>
                    </a:lnTo>
                    <a:lnTo>
                      <a:pt x="307" y="2"/>
                    </a:lnTo>
                    <a:lnTo>
                      <a:pt x="307" y="0"/>
                    </a:lnTo>
                    <a:lnTo>
                      <a:pt x="309"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5" name="Freeform 141">
                <a:extLst>
                  <a:ext uri="{FF2B5EF4-FFF2-40B4-BE49-F238E27FC236}">
                    <a16:creationId xmlns:a16="http://schemas.microsoft.com/office/drawing/2014/main" id="{8F4B9FC9-928B-2287-99C5-DAEA80676159}"/>
                  </a:ext>
                </a:extLst>
              </p:cNvPr>
              <p:cNvSpPr>
                <a:spLocks noEditPoints="1"/>
              </p:cNvSpPr>
              <p:nvPr/>
            </p:nvSpPr>
            <p:spPr bwMode="auto">
              <a:xfrm>
                <a:off x="8602896" y="3567301"/>
                <a:ext cx="242921" cy="413545"/>
              </a:xfrm>
              <a:custGeom>
                <a:avLst/>
                <a:gdLst>
                  <a:gd name="T0" fmla="*/ 102 w 168"/>
                  <a:gd name="T1" fmla="*/ 245 h 286"/>
                  <a:gd name="T2" fmla="*/ 77 w 168"/>
                  <a:gd name="T3" fmla="*/ 269 h 286"/>
                  <a:gd name="T4" fmla="*/ 93 w 168"/>
                  <a:gd name="T5" fmla="*/ 259 h 286"/>
                  <a:gd name="T6" fmla="*/ 0 w 168"/>
                  <a:gd name="T7" fmla="*/ 235 h 286"/>
                  <a:gd name="T8" fmla="*/ 88 w 168"/>
                  <a:gd name="T9" fmla="*/ 8 h 286"/>
                  <a:gd name="T10" fmla="*/ 85 w 168"/>
                  <a:gd name="T11" fmla="*/ 2 h 286"/>
                  <a:gd name="T12" fmla="*/ 123 w 168"/>
                  <a:gd name="T13" fmla="*/ 134 h 286"/>
                  <a:gd name="T14" fmla="*/ 123 w 168"/>
                  <a:gd name="T15" fmla="*/ 133 h 286"/>
                  <a:gd name="T16" fmla="*/ 63 w 168"/>
                  <a:gd name="T17" fmla="*/ 117 h 286"/>
                  <a:gd name="T18" fmla="*/ 69 w 168"/>
                  <a:gd name="T19" fmla="*/ 130 h 286"/>
                  <a:gd name="T20" fmla="*/ 96 w 168"/>
                  <a:gd name="T21" fmla="*/ 130 h 286"/>
                  <a:gd name="T22" fmla="*/ 112 w 168"/>
                  <a:gd name="T23" fmla="*/ 144 h 286"/>
                  <a:gd name="T24" fmla="*/ 125 w 168"/>
                  <a:gd name="T25" fmla="*/ 144 h 286"/>
                  <a:gd name="T26" fmla="*/ 119 w 168"/>
                  <a:gd name="T27" fmla="*/ 130 h 286"/>
                  <a:gd name="T28" fmla="*/ 103 w 168"/>
                  <a:gd name="T29" fmla="*/ 123 h 286"/>
                  <a:gd name="T30" fmla="*/ 82 w 168"/>
                  <a:gd name="T31" fmla="*/ 114 h 286"/>
                  <a:gd name="T32" fmla="*/ 92 w 168"/>
                  <a:gd name="T33" fmla="*/ 85 h 286"/>
                  <a:gd name="T34" fmla="*/ 89 w 168"/>
                  <a:gd name="T35" fmla="*/ 46 h 286"/>
                  <a:gd name="T36" fmla="*/ 65 w 168"/>
                  <a:gd name="T37" fmla="*/ 44 h 286"/>
                  <a:gd name="T38" fmla="*/ 142 w 168"/>
                  <a:gd name="T39" fmla="*/ 153 h 286"/>
                  <a:gd name="T40" fmla="*/ 141 w 168"/>
                  <a:gd name="T41" fmla="*/ 173 h 286"/>
                  <a:gd name="T42" fmla="*/ 149 w 168"/>
                  <a:gd name="T43" fmla="*/ 169 h 286"/>
                  <a:gd name="T44" fmla="*/ 75 w 168"/>
                  <a:gd name="T45" fmla="*/ 35 h 286"/>
                  <a:gd name="T46" fmla="*/ 149 w 168"/>
                  <a:gd name="T47" fmla="*/ 215 h 286"/>
                  <a:gd name="T48" fmla="*/ 136 w 168"/>
                  <a:gd name="T49" fmla="*/ 220 h 286"/>
                  <a:gd name="T50" fmla="*/ 121 w 168"/>
                  <a:gd name="T51" fmla="*/ 232 h 286"/>
                  <a:gd name="T52" fmla="*/ 90 w 168"/>
                  <a:gd name="T53" fmla="*/ 236 h 286"/>
                  <a:gd name="T54" fmla="*/ 98 w 168"/>
                  <a:gd name="T55" fmla="*/ 239 h 286"/>
                  <a:gd name="T56" fmla="*/ 119 w 168"/>
                  <a:gd name="T57" fmla="*/ 239 h 286"/>
                  <a:gd name="T58" fmla="*/ 145 w 168"/>
                  <a:gd name="T59" fmla="*/ 269 h 286"/>
                  <a:gd name="T60" fmla="*/ 155 w 168"/>
                  <a:gd name="T61" fmla="*/ 246 h 286"/>
                  <a:gd name="T62" fmla="*/ 168 w 168"/>
                  <a:gd name="T63" fmla="*/ 246 h 286"/>
                  <a:gd name="T64" fmla="*/ 161 w 168"/>
                  <a:gd name="T65" fmla="*/ 223 h 286"/>
                  <a:gd name="T66" fmla="*/ 156 w 168"/>
                  <a:gd name="T67" fmla="*/ 205 h 286"/>
                  <a:gd name="T68" fmla="*/ 86 w 168"/>
                  <a:gd name="T69" fmla="*/ 35 h 286"/>
                  <a:gd name="T70" fmla="*/ 27 w 168"/>
                  <a:gd name="T71" fmla="*/ 210 h 286"/>
                  <a:gd name="T72" fmla="*/ 44 w 168"/>
                  <a:gd name="T73" fmla="*/ 182 h 286"/>
                  <a:gd name="T74" fmla="*/ 9 w 168"/>
                  <a:gd name="T75" fmla="*/ 219 h 286"/>
                  <a:gd name="T76" fmla="*/ 113 w 168"/>
                  <a:gd name="T77" fmla="*/ 154 h 286"/>
                  <a:gd name="T78" fmla="*/ 118 w 168"/>
                  <a:gd name="T79" fmla="*/ 151 h 286"/>
                  <a:gd name="T80" fmla="*/ 92 w 168"/>
                  <a:gd name="T81" fmla="*/ 153 h 286"/>
                  <a:gd name="T82" fmla="*/ 141 w 168"/>
                  <a:gd name="T83" fmla="*/ 199 h 286"/>
                  <a:gd name="T84" fmla="*/ 141 w 168"/>
                  <a:gd name="T85" fmla="*/ 177 h 286"/>
                  <a:gd name="T86" fmla="*/ 161 w 168"/>
                  <a:gd name="T87" fmla="*/ 202 h 286"/>
                  <a:gd name="T88" fmla="*/ 88 w 168"/>
                  <a:gd name="T89" fmla="*/ 166 h 286"/>
                  <a:gd name="T90" fmla="*/ 100 w 168"/>
                  <a:gd name="T91" fmla="*/ 183 h 286"/>
                  <a:gd name="T92" fmla="*/ 99 w 168"/>
                  <a:gd name="T93" fmla="*/ 170 h 286"/>
                  <a:gd name="T94" fmla="*/ 56 w 168"/>
                  <a:gd name="T95" fmla="*/ 130 h 286"/>
                  <a:gd name="T96" fmla="*/ 113 w 168"/>
                  <a:gd name="T97" fmla="*/ 182 h 286"/>
                  <a:gd name="T98" fmla="*/ 98 w 168"/>
                  <a:gd name="T99" fmla="*/ 207 h 286"/>
                  <a:gd name="T100" fmla="*/ 116 w 168"/>
                  <a:gd name="T101" fmla="*/ 212 h 286"/>
                  <a:gd name="T102" fmla="*/ 123 w 168"/>
                  <a:gd name="T103" fmla="*/ 190 h 286"/>
                  <a:gd name="T104" fmla="*/ 108 w 168"/>
                  <a:gd name="T105" fmla="*/ 146 h 286"/>
                  <a:gd name="T106" fmla="*/ 98 w 168"/>
                  <a:gd name="T107" fmla="*/ 192 h 286"/>
                  <a:gd name="T108" fmla="*/ 136 w 168"/>
                  <a:gd name="T109" fmla="*/ 213 h 286"/>
                  <a:gd name="T110" fmla="*/ 128 w 168"/>
                  <a:gd name="T111" fmla="*/ 206 h 286"/>
                  <a:gd name="T112" fmla="*/ 53 w 168"/>
                  <a:gd name="T113" fmla="*/ 169 h 286"/>
                  <a:gd name="T114" fmla="*/ 49 w 168"/>
                  <a:gd name="T115" fmla="*/ 173 h 286"/>
                  <a:gd name="T116" fmla="*/ 88 w 168"/>
                  <a:gd name="T117" fmla="*/ 156 h 286"/>
                  <a:gd name="T118" fmla="*/ 76 w 168"/>
                  <a:gd name="T119" fmla="*/ 138 h 286"/>
                  <a:gd name="T120" fmla="*/ 66 w 168"/>
                  <a:gd name="T121" fmla="*/ 144 h 286"/>
                  <a:gd name="T122" fmla="*/ 85 w 168"/>
                  <a:gd name="T123" fmla="*/ 138 h 286"/>
                  <a:gd name="T124" fmla="*/ 151 w 168"/>
                  <a:gd name="T125" fmla="*/ 19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8" h="286">
                    <a:moveTo>
                      <a:pt x="154" y="252"/>
                    </a:moveTo>
                    <a:lnTo>
                      <a:pt x="152" y="252"/>
                    </a:lnTo>
                    <a:lnTo>
                      <a:pt x="152" y="251"/>
                    </a:lnTo>
                    <a:lnTo>
                      <a:pt x="154" y="249"/>
                    </a:lnTo>
                    <a:lnTo>
                      <a:pt x="154" y="249"/>
                    </a:lnTo>
                    <a:lnTo>
                      <a:pt x="155" y="251"/>
                    </a:lnTo>
                    <a:lnTo>
                      <a:pt x="155" y="252"/>
                    </a:lnTo>
                    <a:lnTo>
                      <a:pt x="154" y="253"/>
                    </a:lnTo>
                    <a:lnTo>
                      <a:pt x="154" y="253"/>
                    </a:lnTo>
                    <a:lnTo>
                      <a:pt x="154" y="252"/>
                    </a:lnTo>
                    <a:close/>
                    <a:moveTo>
                      <a:pt x="102" y="246"/>
                    </a:moveTo>
                    <a:lnTo>
                      <a:pt x="103" y="246"/>
                    </a:lnTo>
                    <a:lnTo>
                      <a:pt x="103" y="245"/>
                    </a:lnTo>
                    <a:lnTo>
                      <a:pt x="102" y="245"/>
                    </a:lnTo>
                    <a:lnTo>
                      <a:pt x="102" y="246"/>
                    </a:lnTo>
                    <a:close/>
                    <a:moveTo>
                      <a:pt x="52" y="286"/>
                    </a:moveTo>
                    <a:lnTo>
                      <a:pt x="49" y="286"/>
                    </a:lnTo>
                    <a:lnTo>
                      <a:pt x="50" y="285"/>
                    </a:lnTo>
                    <a:lnTo>
                      <a:pt x="53" y="284"/>
                    </a:lnTo>
                    <a:lnTo>
                      <a:pt x="54" y="282"/>
                    </a:lnTo>
                    <a:lnTo>
                      <a:pt x="56" y="282"/>
                    </a:lnTo>
                    <a:lnTo>
                      <a:pt x="57" y="282"/>
                    </a:lnTo>
                    <a:lnTo>
                      <a:pt x="57" y="284"/>
                    </a:lnTo>
                    <a:lnTo>
                      <a:pt x="56" y="284"/>
                    </a:lnTo>
                    <a:lnTo>
                      <a:pt x="54" y="284"/>
                    </a:lnTo>
                    <a:lnTo>
                      <a:pt x="53" y="285"/>
                    </a:lnTo>
                    <a:lnTo>
                      <a:pt x="52" y="286"/>
                    </a:lnTo>
                    <a:close/>
                    <a:moveTo>
                      <a:pt x="77" y="269"/>
                    </a:moveTo>
                    <a:lnTo>
                      <a:pt x="77" y="271"/>
                    </a:lnTo>
                    <a:lnTo>
                      <a:pt x="76" y="272"/>
                    </a:lnTo>
                    <a:lnTo>
                      <a:pt x="73" y="272"/>
                    </a:lnTo>
                    <a:lnTo>
                      <a:pt x="70" y="271"/>
                    </a:lnTo>
                    <a:lnTo>
                      <a:pt x="67" y="271"/>
                    </a:lnTo>
                    <a:lnTo>
                      <a:pt x="69" y="269"/>
                    </a:lnTo>
                    <a:lnTo>
                      <a:pt x="70" y="269"/>
                    </a:lnTo>
                    <a:lnTo>
                      <a:pt x="76" y="269"/>
                    </a:lnTo>
                    <a:lnTo>
                      <a:pt x="77" y="269"/>
                    </a:lnTo>
                    <a:close/>
                    <a:moveTo>
                      <a:pt x="85" y="259"/>
                    </a:moveTo>
                    <a:lnTo>
                      <a:pt x="86" y="258"/>
                    </a:lnTo>
                    <a:lnTo>
                      <a:pt x="89" y="258"/>
                    </a:lnTo>
                    <a:lnTo>
                      <a:pt x="92" y="258"/>
                    </a:lnTo>
                    <a:lnTo>
                      <a:pt x="93" y="259"/>
                    </a:lnTo>
                    <a:lnTo>
                      <a:pt x="92" y="261"/>
                    </a:lnTo>
                    <a:lnTo>
                      <a:pt x="90" y="262"/>
                    </a:lnTo>
                    <a:lnTo>
                      <a:pt x="89" y="262"/>
                    </a:lnTo>
                    <a:lnTo>
                      <a:pt x="88" y="262"/>
                    </a:lnTo>
                    <a:lnTo>
                      <a:pt x="86" y="262"/>
                    </a:lnTo>
                    <a:lnTo>
                      <a:pt x="86" y="261"/>
                    </a:lnTo>
                    <a:lnTo>
                      <a:pt x="85" y="259"/>
                    </a:lnTo>
                    <a:lnTo>
                      <a:pt x="85" y="259"/>
                    </a:lnTo>
                    <a:close/>
                    <a:moveTo>
                      <a:pt x="1" y="233"/>
                    </a:moveTo>
                    <a:lnTo>
                      <a:pt x="1" y="236"/>
                    </a:lnTo>
                    <a:lnTo>
                      <a:pt x="1" y="236"/>
                    </a:lnTo>
                    <a:lnTo>
                      <a:pt x="0" y="238"/>
                    </a:lnTo>
                    <a:lnTo>
                      <a:pt x="0" y="236"/>
                    </a:lnTo>
                    <a:lnTo>
                      <a:pt x="0" y="235"/>
                    </a:lnTo>
                    <a:lnTo>
                      <a:pt x="0" y="233"/>
                    </a:lnTo>
                    <a:lnTo>
                      <a:pt x="1" y="233"/>
                    </a:lnTo>
                    <a:close/>
                    <a:moveTo>
                      <a:pt x="4" y="229"/>
                    </a:moveTo>
                    <a:lnTo>
                      <a:pt x="4" y="229"/>
                    </a:lnTo>
                    <a:lnTo>
                      <a:pt x="4" y="230"/>
                    </a:lnTo>
                    <a:lnTo>
                      <a:pt x="4" y="230"/>
                    </a:lnTo>
                    <a:lnTo>
                      <a:pt x="6" y="230"/>
                    </a:lnTo>
                    <a:lnTo>
                      <a:pt x="6" y="229"/>
                    </a:lnTo>
                    <a:lnTo>
                      <a:pt x="6" y="229"/>
                    </a:lnTo>
                    <a:lnTo>
                      <a:pt x="4" y="229"/>
                    </a:lnTo>
                    <a:close/>
                    <a:moveTo>
                      <a:pt x="88" y="9"/>
                    </a:moveTo>
                    <a:lnTo>
                      <a:pt x="88" y="8"/>
                    </a:lnTo>
                    <a:lnTo>
                      <a:pt x="89" y="8"/>
                    </a:lnTo>
                    <a:lnTo>
                      <a:pt x="88" y="8"/>
                    </a:lnTo>
                    <a:lnTo>
                      <a:pt x="86" y="8"/>
                    </a:lnTo>
                    <a:lnTo>
                      <a:pt x="86" y="9"/>
                    </a:lnTo>
                    <a:lnTo>
                      <a:pt x="86" y="9"/>
                    </a:lnTo>
                    <a:lnTo>
                      <a:pt x="88" y="9"/>
                    </a:lnTo>
                    <a:lnTo>
                      <a:pt x="88" y="9"/>
                    </a:lnTo>
                    <a:close/>
                    <a:moveTo>
                      <a:pt x="85" y="2"/>
                    </a:moveTo>
                    <a:lnTo>
                      <a:pt x="85" y="2"/>
                    </a:lnTo>
                    <a:lnTo>
                      <a:pt x="85" y="3"/>
                    </a:lnTo>
                    <a:lnTo>
                      <a:pt x="85" y="2"/>
                    </a:lnTo>
                    <a:lnTo>
                      <a:pt x="85" y="2"/>
                    </a:lnTo>
                    <a:lnTo>
                      <a:pt x="85" y="0"/>
                    </a:lnTo>
                    <a:lnTo>
                      <a:pt x="85" y="0"/>
                    </a:lnTo>
                    <a:lnTo>
                      <a:pt x="86" y="2"/>
                    </a:lnTo>
                    <a:lnTo>
                      <a:pt x="85" y="2"/>
                    </a:lnTo>
                    <a:close/>
                    <a:moveTo>
                      <a:pt x="86" y="114"/>
                    </a:moveTo>
                    <a:lnTo>
                      <a:pt x="86" y="113"/>
                    </a:lnTo>
                    <a:lnTo>
                      <a:pt x="86" y="113"/>
                    </a:lnTo>
                    <a:lnTo>
                      <a:pt x="85" y="111"/>
                    </a:lnTo>
                    <a:lnTo>
                      <a:pt x="85" y="110"/>
                    </a:lnTo>
                    <a:lnTo>
                      <a:pt x="86" y="108"/>
                    </a:lnTo>
                    <a:lnTo>
                      <a:pt x="86" y="108"/>
                    </a:lnTo>
                    <a:lnTo>
                      <a:pt x="88" y="108"/>
                    </a:lnTo>
                    <a:lnTo>
                      <a:pt x="89" y="110"/>
                    </a:lnTo>
                    <a:lnTo>
                      <a:pt x="88" y="111"/>
                    </a:lnTo>
                    <a:lnTo>
                      <a:pt x="88" y="113"/>
                    </a:lnTo>
                    <a:lnTo>
                      <a:pt x="88" y="114"/>
                    </a:lnTo>
                    <a:lnTo>
                      <a:pt x="86" y="114"/>
                    </a:lnTo>
                    <a:close/>
                    <a:moveTo>
                      <a:pt x="123" y="134"/>
                    </a:moveTo>
                    <a:lnTo>
                      <a:pt x="125" y="134"/>
                    </a:lnTo>
                    <a:lnTo>
                      <a:pt x="126" y="136"/>
                    </a:lnTo>
                    <a:lnTo>
                      <a:pt x="126" y="136"/>
                    </a:lnTo>
                    <a:lnTo>
                      <a:pt x="129" y="134"/>
                    </a:lnTo>
                    <a:lnTo>
                      <a:pt x="129" y="133"/>
                    </a:lnTo>
                    <a:lnTo>
                      <a:pt x="131" y="131"/>
                    </a:lnTo>
                    <a:lnTo>
                      <a:pt x="131" y="130"/>
                    </a:lnTo>
                    <a:lnTo>
                      <a:pt x="129" y="128"/>
                    </a:lnTo>
                    <a:lnTo>
                      <a:pt x="128" y="125"/>
                    </a:lnTo>
                    <a:lnTo>
                      <a:pt x="126" y="125"/>
                    </a:lnTo>
                    <a:lnTo>
                      <a:pt x="125" y="128"/>
                    </a:lnTo>
                    <a:lnTo>
                      <a:pt x="125" y="130"/>
                    </a:lnTo>
                    <a:lnTo>
                      <a:pt x="125" y="131"/>
                    </a:lnTo>
                    <a:lnTo>
                      <a:pt x="123" y="133"/>
                    </a:lnTo>
                    <a:lnTo>
                      <a:pt x="123" y="134"/>
                    </a:lnTo>
                    <a:close/>
                    <a:moveTo>
                      <a:pt x="49" y="85"/>
                    </a:moveTo>
                    <a:lnTo>
                      <a:pt x="49" y="87"/>
                    </a:lnTo>
                    <a:lnTo>
                      <a:pt x="54" y="110"/>
                    </a:lnTo>
                    <a:lnTo>
                      <a:pt x="54" y="111"/>
                    </a:lnTo>
                    <a:lnTo>
                      <a:pt x="54" y="113"/>
                    </a:lnTo>
                    <a:lnTo>
                      <a:pt x="56" y="113"/>
                    </a:lnTo>
                    <a:lnTo>
                      <a:pt x="56" y="113"/>
                    </a:lnTo>
                    <a:lnTo>
                      <a:pt x="57" y="113"/>
                    </a:lnTo>
                    <a:lnTo>
                      <a:pt x="57" y="113"/>
                    </a:lnTo>
                    <a:lnTo>
                      <a:pt x="60" y="118"/>
                    </a:lnTo>
                    <a:lnTo>
                      <a:pt x="60" y="118"/>
                    </a:lnTo>
                    <a:lnTo>
                      <a:pt x="62" y="118"/>
                    </a:lnTo>
                    <a:lnTo>
                      <a:pt x="63" y="117"/>
                    </a:lnTo>
                    <a:lnTo>
                      <a:pt x="63" y="113"/>
                    </a:lnTo>
                    <a:lnTo>
                      <a:pt x="63" y="111"/>
                    </a:lnTo>
                    <a:lnTo>
                      <a:pt x="65" y="113"/>
                    </a:lnTo>
                    <a:lnTo>
                      <a:pt x="67" y="114"/>
                    </a:lnTo>
                    <a:lnTo>
                      <a:pt x="69" y="115"/>
                    </a:lnTo>
                    <a:lnTo>
                      <a:pt x="67" y="118"/>
                    </a:lnTo>
                    <a:lnTo>
                      <a:pt x="67" y="120"/>
                    </a:lnTo>
                    <a:lnTo>
                      <a:pt x="65" y="123"/>
                    </a:lnTo>
                    <a:lnTo>
                      <a:pt x="63" y="124"/>
                    </a:lnTo>
                    <a:lnTo>
                      <a:pt x="63" y="125"/>
                    </a:lnTo>
                    <a:lnTo>
                      <a:pt x="63" y="127"/>
                    </a:lnTo>
                    <a:lnTo>
                      <a:pt x="63" y="130"/>
                    </a:lnTo>
                    <a:lnTo>
                      <a:pt x="66" y="128"/>
                    </a:lnTo>
                    <a:lnTo>
                      <a:pt x="69" y="130"/>
                    </a:lnTo>
                    <a:lnTo>
                      <a:pt x="72" y="133"/>
                    </a:lnTo>
                    <a:lnTo>
                      <a:pt x="73" y="133"/>
                    </a:lnTo>
                    <a:lnTo>
                      <a:pt x="76" y="133"/>
                    </a:lnTo>
                    <a:lnTo>
                      <a:pt x="77" y="131"/>
                    </a:lnTo>
                    <a:lnTo>
                      <a:pt x="80" y="130"/>
                    </a:lnTo>
                    <a:lnTo>
                      <a:pt x="82" y="128"/>
                    </a:lnTo>
                    <a:lnTo>
                      <a:pt x="85" y="128"/>
                    </a:lnTo>
                    <a:lnTo>
                      <a:pt x="88" y="130"/>
                    </a:lnTo>
                    <a:lnTo>
                      <a:pt x="95" y="136"/>
                    </a:lnTo>
                    <a:lnTo>
                      <a:pt x="95" y="137"/>
                    </a:lnTo>
                    <a:lnTo>
                      <a:pt x="98" y="140"/>
                    </a:lnTo>
                    <a:lnTo>
                      <a:pt x="98" y="141"/>
                    </a:lnTo>
                    <a:lnTo>
                      <a:pt x="99" y="140"/>
                    </a:lnTo>
                    <a:lnTo>
                      <a:pt x="96" y="130"/>
                    </a:lnTo>
                    <a:lnTo>
                      <a:pt x="98" y="128"/>
                    </a:lnTo>
                    <a:lnTo>
                      <a:pt x="99" y="130"/>
                    </a:lnTo>
                    <a:lnTo>
                      <a:pt x="100" y="130"/>
                    </a:lnTo>
                    <a:lnTo>
                      <a:pt x="102" y="133"/>
                    </a:lnTo>
                    <a:lnTo>
                      <a:pt x="102" y="133"/>
                    </a:lnTo>
                    <a:lnTo>
                      <a:pt x="103" y="134"/>
                    </a:lnTo>
                    <a:lnTo>
                      <a:pt x="106" y="136"/>
                    </a:lnTo>
                    <a:lnTo>
                      <a:pt x="108" y="137"/>
                    </a:lnTo>
                    <a:lnTo>
                      <a:pt x="109" y="137"/>
                    </a:lnTo>
                    <a:lnTo>
                      <a:pt x="109" y="138"/>
                    </a:lnTo>
                    <a:lnTo>
                      <a:pt x="111" y="140"/>
                    </a:lnTo>
                    <a:lnTo>
                      <a:pt x="111" y="143"/>
                    </a:lnTo>
                    <a:lnTo>
                      <a:pt x="112" y="143"/>
                    </a:lnTo>
                    <a:lnTo>
                      <a:pt x="112" y="144"/>
                    </a:lnTo>
                    <a:lnTo>
                      <a:pt x="113" y="146"/>
                    </a:lnTo>
                    <a:lnTo>
                      <a:pt x="116" y="146"/>
                    </a:lnTo>
                    <a:lnTo>
                      <a:pt x="119" y="147"/>
                    </a:lnTo>
                    <a:lnTo>
                      <a:pt x="121" y="147"/>
                    </a:lnTo>
                    <a:lnTo>
                      <a:pt x="121" y="147"/>
                    </a:lnTo>
                    <a:lnTo>
                      <a:pt x="121" y="146"/>
                    </a:lnTo>
                    <a:lnTo>
                      <a:pt x="122" y="147"/>
                    </a:lnTo>
                    <a:lnTo>
                      <a:pt x="122" y="150"/>
                    </a:lnTo>
                    <a:lnTo>
                      <a:pt x="122" y="153"/>
                    </a:lnTo>
                    <a:lnTo>
                      <a:pt x="123" y="153"/>
                    </a:lnTo>
                    <a:lnTo>
                      <a:pt x="125" y="151"/>
                    </a:lnTo>
                    <a:lnTo>
                      <a:pt x="125" y="148"/>
                    </a:lnTo>
                    <a:lnTo>
                      <a:pt x="125" y="144"/>
                    </a:lnTo>
                    <a:lnTo>
                      <a:pt x="125" y="144"/>
                    </a:lnTo>
                    <a:lnTo>
                      <a:pt x="123" y="144"/>
                    </a:lnTo>
                    <a:lnTo>
                      <a:pt x="122" y="143"/>
                    </a:lnTo>
                    <a:lnTo>
                      <a:pt x="122" y="143"/>
                    </a:lnTo>
                    <a:lnTo>
                      <a:pt x="121" y="143"/>
                    </a:lnTo>
                    <a:lnTo>
                      <a:pt x="119" y="143"/>
                    </a:lnTo>
                    <a:lnTo>
                      <a:pt x="119" y="140"/>
                    </a:lnTo>
                    <a:lnTo>
                      <a:pt x="119" y="138"/>
                    </a:lnTo>
                    <a:lnTo>
                      <a:pt x="118" y="137"/>
                    </a:lnTo>
                    <a:lnTo>
                      <a:pt x="116" y="136"/>
                    </a:lnTo>
                    <a:lnTo>
                      <a:pt x="116" y="133"/>
                    </a:lnTo>
                    <a:lnTo>
                      <a:pt x="118" y="133"/>
                    </a:lnTo>
                    <a:lnTo>
                      <a:pt x="119" y="131"/>
                    </a:lnTo>
                    <a:lnTo>
                      <a:pt x="121" y="130"/>
                    </a:lnTo>
                    <a:lnTo>
                      <a:pt x="119" y="130"/>
                    </a:lnTo>
                    <a:lnTo>
                      <a:pt x="118" y="128"/>
                    </a:lnTo>
                    <a:lnTo>
                      <a:pt x="113" y="127"/>
                    </a:lnTo>
                    <a:lnTo>
                      <a:pt x="113" y="127"/>
                    </a:lnTo>
                    <a:lnTo>
                      <a:pt x="112" y="127"/>
                    </a:lnTo>
                    <a:lnTo>
                      <a:pt x="112" y="125"/>
                    </a:lnTo>
                    <a:lnTo>
                      <a:pt x="111" y="125"/>
                    </a:lnTo>
                    <a:lnTo>
                      <a:pt x="111" y="127"/>
                    </a:lnTo>
                    <a:lnTo>
                      <a:pt x="111" y="127"/>
                    </a:lnTo>
                    <a:lnTo>
                      <a:pt x="111" y="128"/>
                    </a:lnTo>
                    <a:lnTo>
                      <a:pt x="111" y="128"/>
                    </a:lnTo>
                    <a:lnTo>
                      <a:pt x="108" y="131"/>
                    </a:lnTo>
                    <a:lnTo>
                      <a:pt x="106" y="130"/>
                    </a:lnTo>
                    <a:lnTo>
                      <a:pt x="105" y="125"/>
                    </a:lnTo>
                    <a:lnTo>
                      <a:pt x="103" y="123"/>
                    </a:lnTo>
                    <a:lnTo>
                      <a:pt x="99" y="121"/>
                    </a:lnTo>
                    <a:lnTo>
                      <a:pt x="95" y="123"/>
                    </a:lnTo>
                    <a:lnTo>
                      <a:pt x="92" y="124"/>
                    </a:lnTo>
                    <a:lnTo>
                      <a:pt x="93" y="127"/>
                    </a:lnTo>
                    <a:lnTo>
                      <a:pt x="90" y="128"/>
                    </a:lnTo>
                    <a:lnTo>
                      <a:pt x="89" y="127"/>
                    </a:lnTo>
                    <a:lnTo>
                      <a:pt x="86" y="127"/>
                    </a:lnTo>
                    <a:lnTo>
                      <a:pt x="85" y="124"/>
                    </a:lnTo>
                    <a:lnTo>
                      <a:pt x="83" y="124"/>
                    </a:lnTo>
                    <a:lnTo>
                      <a:pt x="83" y="123"/>
                    </a:lnTo>
                    <a:lnTo>
                      <a:pt x="82" y="117"/>
                    </a:lnTo>
                    <a:lnTo>
                      <a:pt x="82" y="117"/>
                    </a:lnTo>
                    <a:lnTo>
                      <a:pt x="82" y="115"/>
                    </a:lnTo>
                    <a:lnTo>
                      <a:pt x="82" y="114"/>
                    </a:lnTo>
                    <a:lnTo>
                      <a:pt x="82" y="111"/>
                    </a:lnTo>
                    <a:lnTo>
                      <a:pt x="77" y="105"/>
                    </a:lnTo>
                    <a:lnTo>
                      <a:pt x="77" y="102"/>
                    </a:lnTo>
                    <a:lnTo>
                      <a:pt x="77" y="101"/>
                    </a:lnTo>
                    <a:lnTo>
                      <a:pt x="79" y="98"/>
                    </a:lnTo>
                    <a:lnTo>
                      <a:pt x="80" y="97"/>
                    </a:lnTo>
                    <a:lnTo>
                      <a:pt x="80" y="92"/>
                    </a:lnTo>
                    <a:lnTo>
                      <a:pt x="82" y="91"/>
                    </a:lnTo>
                    <a:lnTo>
                      <a:pt x="82" y="91"/>
                    </a:lnTo>
                    <a:lnTo>
                      <a:pt x="83" y="90"/>
                    </a:lnTo>
                    <a:lnTo>
                      <a:pt x="85" y="88"/>
                    </a:lnTo>
                    <a:lnTo>
                      <a:pt x="89" y="88"/>
                    </a:lnTo>
                    <a:lnTo>
                      <a:pt x="90" y="87"/>
                    </a:lnTo>
                    <a:lnTo>
                      <a:pt x="92" y="85"/>
                    </a:lnTo>
                    <a:lnTo>
                      <a:pt x="96" y="72"/>
                    </a:lnTo>
                    <a:lnTo>
                      <a:pt x="96" y="69"/>
                    </a:lnTo>
                    <a:lnTo>
                      <a:pt x="96" y="68"/>
                    </a:lnTo>
                    <a:lnTo>
                      <a:pt x="95" y="67"/>
                    </a:lnTo>
                    <a:lnTo>
                      <a:pt x="92" y="64"/>
                    </a:lnTo>
                    <a:lnTo>
                      <a:pt x="92" y="61"/>
                    </a:lnTo>
                    <a:lnTo>
                      <a:pt x="90" y="58"/>
                    </a:lnTo>
                    <a:lnTo>
                      <a:pt x="90" y="55"/>
                    </a:lnTo>
                    <a:lnTo>
                      <a:pt x="93" y="49"/>
                    </a:lnTo>
                    <a:lnTo>
                      <a:pt x="93" y="46"/>
                    </a:lnTo>
                    <a:lnTo>
                      <a:pt x="92" y="44"/>
                    </a:lnTo>
                    <a:lnTo>
                      <a:pt x="90" y="45"/>
                    </a:lnTo>
                    <a:lnTo>
                      <a:pt x="89" y="45"/>
                    </a:lnTo>
                    <a:lnTo>
                      <a:pt x="89" y="46"/>
                    </a:lnTo>
                    <a:lnTo>
                      <a:pt x="88" y="48"/>
                    </a:lnTo>
                    <a:lnTo>
                      <a:pt x="86" y="48"/>
                    </a:lnTo>
                    <a:lnTo>
                      <a:pt x="85" y="48"/>
                    </a:lnTo>
                    <a:lnTo>
                      <a:pt x="83" y="48"/>
                    </a:lnTo>
                    <a:lnTo>
                      <a:pt x="82" y="48"/>
                    </a:lnTo>
                    <a:lnTo>
                      <a:pt x="79" y="46"/>
                    </a:lnTo>
                    <a:lnTo>
                      <a:pt x="76" y="44"/>
                    </a:lnTo>
                    <a:lnTo>
                      <a:pt x="73" y="44"/>
                    </a:lnTo>
                    <a:lnTo>
                      <a:pt x="70" y="42"/>
                    </a:lnTo>
                    <a:lnTo>
                      <a:pt x="69" y="42"/>
                    </a:lnTo>
                    <a:lnTo>
                      <a:pt x="67" y="42"/>
                    </a:lnTo>
                    <a:lnTo>
                      <a:pt x="66" y="42"/>
                    </a:lnTo>
                    <a:lnTo>
                      <a:pt x="66" y="44"/>
                    </a:lnTo>
                    <a:lnTo>
                      <a:pt x="65" y="44"/>
                    </a:lnTo>
                    <a:lnTo>
                      <a:pt x="63" y="45"/>
                    </a:lnTo>
                    <a:lnTo>
                      <a:pt x="60" y="56"/>
                    </a:lnTo>
                    <a:lnTo>
                      <a:pt x="60" y="59"/>
                    </a:lnTo>
                    <a:lnTo>
                      <a:pt x="59" y="69"/>
                    </a:lnTo>
                    <a:lnTo>
                      <a:pt x="59" y="77"/>
                    </a:lnTo>
                    <a:lnTo>
                      <a:pt x="59" y="79"/>
                    </a:lnTo>
                    <a:lnTo>
                      <a:pt x="59" y="85"/>
                    </a:lnTo>
                    <a:lnTo>
                      <a:pt x="59" y="88"/>
                    </a:lnTo>
                    <a:lnTo>
                      <a:pt x="57" y="90"/>
                    </a:lnTo>
                    <a:lnTo>
                      <a:pt x="54" y="90"/>
                    </a:lnTo>
                    <a:lnTo>
                      <a:pt x="52" y="85"/>
                    </a:lnTo>
                    <a:lnTo>
                      <a:pt x="49" y="85"/>
                    </a:lnTo>
                    <a:close/>
                    <a:moveTo>
                      <a:pt x="144" y="153"/>
                    </a:moveTo>
                    <a:lnTo>
                      <a:pt x="142" y="153"/>
                    </a:lnTo>
                    <a:lnTo>
                      <a:pt x="136" y="153"/>
                    </a:lnTo>
                    <a:lnTo>
                      <a:pt x="132" y="153"/>
                    </a:lnTo>
                    <a:lnTo>
                      <a:pt x="128" y="153"/>
                    </a:lnTo>
                    <a:lnTo>
                      <a:pt x="129" y="156"/>
                    </a:lnTo>
                    <a:lnTo>
                      <a:pt x="131" y="159"/>
                    </a:lnTo>
                    <a:lnTo>
                      <a:pt x="132" y="160"/>
                    </a:lnTo>
                    <a:lnTo>
                      <a:pt x="135" y="164"/>
                    </a:lnTo>
                    <a:lnTo>
                      <a:pt x="136" y="166"/>
                    </a:lnTo>
                    <a:lnTo>
                      <a:pt x="139" y="167"/>
                    </a:lnTo>
                    <a:lnTo>
                      <a:pt x="141" y="167"/>
                    </a:lnTo>
                    <a:lnTo>
                      <a:pt x="141" y="169"/>
                    </a:lnTo>
                    <a:lnTo>
                      <a:pt x="139" y="171"/>
                    </a:lnTo>
                    <a:lnTo>
                      <a:pt x="139" y="173"/>
                    </a:lnTo>
                    <a:lnTo>
                      <a:pt x="141" y="173"/>
                    </a:lnTo>
                    <a:lnTo>
                      <a:pt x="141" y="174"/>
                    </a:lnTo>
                    <a:lnTo>
                      <a:pt x="145" y="179"/>
                    </a:lnTo>
                    <a:lnTo>
                      <a:pt x="146" y="179"/>
                    </a:lnTo>
                    <a:lnTo>
                      <a:pt x="149" y="179"/>
                    </a:lnTo>
                    <a:lnTo>
                      <a:pt x="152" y="179"/>
                    </a:lnTo>
                    <a:lnTo>
                      <a:pt x="152" y="179"/>
                    </a:lnTo>
                    <a:lnTo>
                      <a:pt x="154" y="180"/>
                    </a:lnTo>
                    <a:lnTo>
                      <a:pt x="154" y="179"/>
                    </a:lnTo>
                    <a:lnTo>
                      <a:pt x="152" y="177"/>
                    </a:lnTo>
                    <a:lnTo>
                      <a:pt x="152" y="177"/>
                    </a:lnTo>
                    <a:lnTo>
                      <a:pt x="151" y="177"/>
                    </a:lnTo>
                    <a:lnTo>
                      <a:pt x="151" y="174"/>
                    </a:lnTo>
                    <a:lnTo>
                      <a:pt x="151" y="173"/>
                    </a:lnTo>
                    <a:lnTo>
                      <a:pt x="149" y="169"/>
                    </a:lnTo>
                    <a:lnTo>
                      <a:pt x="149" y="166"/>
                    </a:lnTo>
                    <a:lnTo>
                      <a:pt x="149" y="160"/>
                    </a:lnTo>
                    <a:lnTo>
                      <a:pt x="149" y="159"/>
                    </a:lnTo>
                    <a:lnTo>
                      <a:pt x="146" y="157"/>
                    </a:lnTo>
                    <a:lnTo>
                      <a:pt x="145" y="156"/>
                    </a:lnTo>
                    <a:lnTo>
                      <a:pt x="145" y="154"/>
                    </a:lnTo>
                    <a:lnTo>
                      <a:pt x="145" y="153"/>
                    </a:lnTo>
                    <a:lnTo>
                      <a:pt x="144" y="153"/>
                    </a:lnTo>
                    <a:close/>
                    <a:moveTo>
                      <a:pt x="75" y="32"/>
                    </a:moveTo>
                    <a:lnTo>
                      <a:pt x="73" y="32"/>
                    </a:lnTo>
                    <a:lnTo>
                      <a:pt x="73" y="33"/>
                    </a:lnTo>
                    <a:lnTo>
                      <a:pt x="73" y="33"/>
                    </a:lnTo>
                    <a:lnTo>
                      <a:pt x="75" y="35"/>
                    </a:lnTo>
                    <a:lnTo>
                      <a:pt x="75" y="35"/>
                    </a:lnTo>
                    <a:lnTo>
                      <a:pt x="75" y="33"/>
                    </a:lnTo>
                    <a:lnTo>
                      <a:pt x="75" y="33"/>
                    </a:lnTo>
                    <a:lnTo>
                      <a:pt x="75" y="32"/>
                    </a:lnTo>
                    <a:lnTo>
                      <a:pt x="75" y="32"/>
                    </a:lnTo>
                    <a:close/>
                    <a:moveTo>
                      <a:pt x="89" y="125"/>
                    </a:moveTo>
                    <a:lnTo>
                      <a:pt x="90" y="125"/>
                    </a:lnTo>
                    <a:lnTo>
                      <a:pt x="90" y="125"/>
                    </a:lnTo>
                    <a:lnTo>
                      <a:pt x="88" y="123"/>
                    </a:lnTo>
                    <a:lnTo>
                      <a:pt x="88" y="124"/>
                    </a:lnTo>
                    <a:lnTo>
                      <a:pt x="89" y="125"/>
                    </a:lnTo>
                    <a:close/>
                    <a:moveTo>
                      <a:pt x="149" y="203"/>
                    </a:moveTo>
                    <a:lnTo>
                      <a:pt x="148" y="207"/>
                    </a:lnTo>
                    <a:lnTo>
                      <a:pt x="149" y="213"/>
                    </a:lnTo>
                    <a:lnTo>
                      <a:pt x="149" y="215"/>
                    </a:lnTo>
                    <a:lnTo>
                      <a:pt x="148" y="216"/>
                    </a:lnTo>
                    <a:lnTo>
                      <a:pt x="146" y="216"/>
                    </a:lnTo>
                    <a:lnTo>
                      <a:pt x="145" y="216"/>
                    </a:lnTo>
                    <a:lnTo>
                      <a:pt x="144" y="216"/>
                    </a:lnTo>
                    <a:lnTo>
                      <a:pt x="144" y="216"/>
                    </a:lnTo>
                    <a:lnTo>
                      <a:pt x="144" y="217"/>
                    </a:lnTo>
                    <a:lnTo>
                      <a:pt x="144" y="219"/>
                    </a:lnTo>
                    <a:lnTo>
                      <a:pt x="141" y="219"/>
                    </a:lnTo>
                    <a:lnTo>
                      <a:pt x="141" y="219"/>
                    </a:lnTo>
                    <a:lnTo>
                      <a:pt x="139" y="217"/>
                    </a:lnTo>
                    <a:lnTo>
                      <a:pt x="139" y="217"/>
                    </a:lnTo>
                    <a:lnTo>
                      <a:pt x="138" y="217"/>
                    </a:lnTo>
                    <a:lnTo>
                      <a:pt x="136" y="219"/>
                    </a:lnTo>
                    <a:lnTo>
                      <a:pt x="136" y="220"/>
                    </a:lnTo>
                    <a:lnTo>
                      <a:pt x="136" y="220"/>
                    </a:lnTo>
                    <a:lnTo>
                      <a:pt x="136" y="222"/>
                    </a:lnTo>
                    <a:lnTo>
                      <a:pt x="135" y="225"/>
                    </a:lnTo>
                    <a:lnTo>
                      <a:pt x="133" y="225"/>
                    </a:lnTo>
                    <a:lnTo>
                      <a:pt x="132" y="223"/>
                    </a:lnTo>
                    <a:lnTo>
                      <a:pt x="129" y="225"/>
                    </a:lnTo>
                    <a:lnTo>
                      <a:pt x="129" y="225"/>
                    </a:lnTo>
                    <a:lnTo>
                      <a:pt x="128" y="229"/>
                    </a:lnTo>
                    <a:lnTo>
                      <a:pt x="126" y="230"/>
                    </a:lnTo>
                    <a:lnTo>
                      <a:pt x="125" y="232"/>
                    </a:lnTo>
                    <a:lnTo>
                      <a:pt x="122" y="232"/>
                    </a:lnTo>
                    <a:lnTo>
                      <a:pt x="121" y="233"/>
                    </a:lnTo>
                    <a:lnTo>
                      <a:pt x="119" y="233"/>
                    </a:lnTo>
                    <a:lnTo>
                      <a:pt x="121" y="232"/>
                    </a:lnTo>
                    <a:lnTo>
                      <a:pt x="121" y="229"/>
                    </a:lnTo>
                    <a:lnTo>
                      <a:pt x="119" y="226"/>
                    </a:lnTo>
                    <a:lnTo>
                      <a:pt x="118" y="223"/>
                    </a:lnTo>
                    <a:lnTo>
                      <a:pt x="115" y="223"/>
                    </a:lnTo>
                    <a:lnTo>
                      <a:pt x="113" y="223"/>
                    </a:lnTo>
                    <a:lnTo>
                      <a:pt x="111" y="223"/>
                    </a:lnTo>
                    <a:lnTo>
                      <a:pt x="109" y="225"/>
                    </a:lnTo>
                    <a:lnTo>
                      <a:pt x="106" y="228"/>
                    </a:lnTo>
                    <a:lnTo>
                      <a:pt x="105" y="230"/>
                    </a:lnTo>
                    <a:lnTo>
                      <a:pt x="103" y="232"/>
                    </a:lnTo>
                    <a:lnTo>
                      <a:pt x="99" y="233"/>
                    </a:lnTo>
                    <a:lnTo>
                      <a:pt x="96" y="233"/>
                    </a:lnTo>
                    <a:lnTo>
                      <a:pt x="93" y="235"/>
                    </a:lnTo>
                    <a:lnTo>
                      <a:pt x="90" y="236"/>
                    </a:lnTo>
                    <a:lnTo>
                      <a:pt x="90" y="238"/>
                    </a:lnTo>
                    <a:lnTo>
                      <a:pt x="90" y="239"/>
                    </a:lnTo>
                    <a:lnTo>
                      <a:pt x="89" y="242"/>
                    </a:lnTo>
                    <a:lnTo>
                      <a:pt x="89" y="245"/>
                    </a:lnTo>
                    <a:lnTo>
                      <a:pt x="88" y="248"/>
                    </a:lnTo>
                    <a:lnTo>
                      <a:pt x="86" y="249"/>
                    </a:lnTo>
                    <a:lnTo>
                      <a:pt x="86" y="251"/>
                    </a:lnTo>
                    <a:lnTo>
                      <a:pt x="88" y="252"/>
                    </a:lnTo>
                    <a:lnTo>
                      <a:pt x="88" y="253"/>
                    </a:lnTo>
                    <a:lnTo>
                      <a:pt x="89" y="253"/>
                    </a:lnTo>
                    <a:lnTo>
                      <a:pt x="90" y="253"/>
                    </a:lnTo>
                    <a:lnTo>
                      <a:pt x="92" y="252"/>
                    </a:lnTo>
                    <a:lnTo>
                      <a:pt x="95" y="242"/>
                    </a:lnTo>
                    <a:lnTo>
                      <a:pt x="98" y="239"/>
                    </a:lnTo>
                    <a:lnTo>
                      <a:pt x="99" y="239"/>
                    </a:lnTo>
                    <a:lnTo>
                      <a:pt x="102" y="240"/>
                    </a:lnTo>
                    <a:lnTo>
                      <a:pt x="103" y="242"/>
                    </a:lnTo>
                    <a:lnTo>
                      <a:pt x="105" y="243"/>
                    </a:lnTo>
                    <a:lnTo>
                      <a:pt x="108" y="239"/>
                    </a:lnTo>
                    <a:lnTo>
                      <a:pt x="108" y="242"/>
                    </a:lnTo>
                    <a:lnTo>
                      <a:pt x="109" y="243"/>
                    </a:lnTo>
                    <a:lnTo>
                      <a:pt x="111" y="243"/>
                    </a:lnTo>
                    <a:lnTo>
                      <a:pt x="112" y="245"/>
                    </a:lnTo>
                    <a:lnTo>
                      <a:pt x="113" y="240"/>
                    </a:lnTo>
                    <a:lnTo>
                      <a:pt x="113" y="239"/>
                    </a:lnTo>
                    <a:lnTo>
                      <a:pt x="115" y="238"/>
                    </a:lnTo>
                    <a:lnTo>
                      <a:pt x="116" y="238"/>
                    </a:lnTo>
                    <a:lnTo>
                      <a:pt x="119" y="239"/>
                    </a:lnTo>
                    <a:lnTo>
                      <a:pt x="123" y="240"/>
                    </a:lnTo>
                    <a:lnTo>
                      <a:pt x="126" y="245"/>
                    </a:lnTo>
                    <a:lnTo>
                      <a:pt x="125" y="248"/>
                    </a:lnTo>
                    <a:lnTo>
                      <a:pt x="123" y="252"/>
                    </a:lnTo>
                    <a:lnTo>
                      <a:pt x="123" y="256"/>
                    </a:lnTo>
                    <a:lnTo>
                      <a:pt x="125" y="262"/>
                    </a:lnTo>
                    <a:lnTo>
                      <a:pt x="128" y="266"/>
                    </a:lnTo>
                    <a:lnTo>
                      <a:pt x="133" y="271"/>
                    </a:lnTo>
                    <a:lnTo>
                      <a:pt x="139" y="272"/>
                    </a:lnTo>
                    <a:lnTo>
                      <a:pt x="141" y="272"/>
                    </a:lnTo>
                    <a:lnTo>
                      <a:pt x="142" y="271"/>
                    </a:lnTo>
                    <a:lnTo>
                      <a:pt x="144" y="269"/>
                    </a:lnTo>
                    <a:lnTo>
                      <a:pt x="145" y="269"/>
                    </a:lnTo>
                    <a:lnTo>
                      <a:pt x="145" y="269"/>
                    </a:lnTo>
                    <a:lnTo>
                      <a:pt x="145" y="272"/>
                    </a:lnTo>
                    <a:lnTo>
                      <a:pt x="145" y="275"/>
                    </a:lnTo>
                    <a:lnTo>
                      <a:pt x="146" y="276"/>
                    </a:lnTo>
                    <a:lnTo>
                      <a:pt x="149" y="275"/>
                    </a:lnTo>
                    <a:lnTo>
                      <a:pt x="152" y="271"/>
                    </a:lnTo>
                    <a:lnTo>
                      <a:pt x="152" y="266"/>
                    </a:lnTo>
                    <a:lnTo>
                      <a:pt x="151" y="263"/>
                    </a:lnTo>
                    <a:lnTo>
                      <a:pt x="148" y="258"/>
                    </a:lnTo>
                    <a:lnTo>
                      <a:pt x="148" y="256"/>
                    </a:lnTo>
                    <a:lnTo>
                      <a:pt x="149" y="252"/>
                    </a:lnTo>
                    <a:lnTo>
                      <a:pt x="152" y="249"/>
                    </a:lnTo>
                    <a:lnTo>
                      <a:pt x="152" y="248"/>
                    </a:lnTo>
                    <a:lnTo>
                      <a:pt x="154" y="246"/>
                    </a:lnTo>
                    <a:lnTo>
                      <a:pt x="155" y="246"/>
                    </a:lnTo>
                    <a:lnTo>
                      <a:pt x="155" y="248"/>
                    </a:lnTo>
                    <a:lnTo>
                      <a:pt x="156" y="249"/>
                    </a:lnTo>
                    <a:lnTo>
                      <a:pt x="158" y="252"/>
                    </a:lnTo>
                    <a:lnTo>
                      <a:pt x="159" y="261"/>
                    </a:lnTo>
                    <a:lnTo>
                      <a:pt x="161" y="265"/>
                    </a:lnTo>
                    <a:lnTo>
                      <a:pt x="162" y="262"/>
                    </a:lnTo>
                    <a:lnTo>
                      <a:pt x="161" y="258"/>
                    </a:lnTo>
                    <a:lnTo>
                      <a:pt x="162" y="255"/>
                    </a:lnTo>
                    <a:lnTo>
                      <a:pt x="162" y="255"/>
                    </a:lnTo>
                    <a:lnTo>
                      <a:pt x="165" y="253"/>
                    </a:lnTo>
                    <a:lnTo>
                      <a:pt x="167" y="252"/>
                    </a:lnTo>
                    <a:lnTo>
                      <a:pt x="167" y="251"/>
                    </a:lnTo>
                    <a:lnTo>
                      <a:pt x="168" y="248"/>
                    </a:lnTo>
                    <a:lnTo>
                      <a:pt x="168" y="246"/>
                    </a:lnTo>
                    <a:lnTo>
                      <a:pt x="168" y="245"/>
                    </a:lnTo>
                    <a:lnTo>
                      <a:pt x="168" y="242"/>
                    </a:lnTo>
                    <a:lnTo>
                      <a:pt x="168" y="240"/>
                    </a:lnTo>
                    <a:lnTo>
                      <a:pt x="167" y="239"/>
                    </a:lnTo>
                    <a:lnTo>
                      <a:pt x="167" y="238"/>
                    </a:lnTo>
                    <a:lnTo>
                      <a:pt x="167" y="236"/>
                    </a:lnTo>
                    <a:lnTo>
                      <a:pt x="167" y="232"/>
                    </a:lnTo>
                    <a:lnTo>
                      <a:pt x="167" y="230"/>
                    </a:lnTo>
                    <a:lnTo>
                      <a:pt x="165" y="226"/>
                    </a:lnTo>
                    <a:lnTo>
                      <a:pt x="165" y="226"/>
                    </a:lnTo>
                    <a:lnTo>
                      <a:pt x="164" y="226"/>
                    </a:lnTo>
                    <a:lnTo>
                      <a:pt x="162" y="225"/>
                    </a:lnTo>
                    <a:lnTo>
                      <a:pt x="161" y="225"/>
                    </a:lnTo>
                    <a:lnTo>
                      <a:pt x="161" y="223"/>
                    </a:lnTo>
                    <a:lnTo>
                      <a:pt x="162" y="222"/>
                    </a:lnTo>
                    <a:lnTo>
                      <a:pt x="164" y="220"/>
                    </a:lnTo>
                    <a:lnTo>
                      <a:pt x="164" y="219"/>
                    </a:lnTo>
                    <a:lnTo>
                      <a:pt x="164" y="217"/>
                    </a:lnTo>
                    <a:lnTo>
                      <a:pt x="162" y="213"/>
                    </a:lnTo>
                    <a:lnTo>
                      <a:pt x="162" y="212"/>
                    </a:lnTo>
                    <a:lnTo>
                      <a:pt x="158" y="210"/>
                    </a:lnTo>
                    <a:lnTo>
                      <a:pt x="154" y="206"/>
                    </a:lnTo>
                    <a:lnTo>
                      <a:pt x="149" y="203"/>
                    </a:lnTo>
                    <a:close/>
                    <a:moveTo>
                      <a:pt x="158" y="206"/>
                    </a:moveTo>
                    <a:lnTo>
                      <a:pt x="158" y="205"/>
                    </a:lnTo>
                    <a:lnTo>
                      <a:pt x="158" y="205"/>
                    </a:lnTo>
                    <a:lnTo>
                      <a:pt x="158" y="203"/>
                    </a:lnTo>
                    <a:lnTo>
                      <a:pt x="156" y="205"/>
                    </a:lnTo>
                    <a:lnTo>
                      <a:pt x="156" y="205"/>
                    </a:lnTo>
                    <a:lnTo>
                      <a:pt x="156" y="206"/>
                    </a:lnTo>
                    <a:lnTo>
                      <a:pt x="158" y="206"/>
                    </a:lnTo>
                    <a:lnTo>
                      <a:pt x="158" y="206"/>
                    </a:lnTo>
                    <a:close/>
                    <a:moveTo>
                      <a:pt x="77" y="28"/>
                    </a:moveTo>
                    <a:lnTo>
                      <a:pt x="77" y="28"/>
                    </a:lnTo>
                    <a:lnTo>
                      <a:pt x="77" y="29"/>
                    </a:lnTo>
                    <a:lnTo>
                      <a:pt x="77" y="29"/>
                    </a:lnTo>
                    <a:lnTo>
                      <a:pt x="79" y="29"/>
                    </a:lnTo>
                    <a:lnTo>
                      <a:pt x="79" y="29"/>
                    </a:lnTo>
                    <a:lnTo>
                      <a:pt x="79" y="29"/>
                    </a:lnTo>
                    <a:lnTo>
                      <a:pt x="79" y="28"/>
                    </a:lnTo>
                    <a:lnTo>
                      <a:pt x="77" y="28"/>
                    </a:lnTo>
                    <a:close/>
                    <a:moveTo>
                      <a:pt x="86" y="35"/>
                    </a:moveTo>
                    <a:lnTo>
                      <a:pt x="86" y="35"/>
                    </a:lnTo>
                    <a:lnTo>
                      <a:pt x="85" y="38"/>
                    </a:lnTo>
                    <a:lnTo>
                      <a:pt x="86" y="36"/>
                    </a:lnTo>
                    <a:lnTo>
                      <a:pt x="86" y="35"/>
                    </a:lnTo>
                    <a:close/>
                    <a:moveTo>
                      <a:pt x="6" y="223"/>
                    </a:moveTo>
                    <a:lnTo>
                      <a:pt x="4" y="228"/>
                    </a:lnTo>
                    <a:lnTo>
                      <a:pt x="7" y="226"/>
                    </a:lnTo>
                    <a:lnTo>
                      <a:pt x="16" y="220"/>
                    </a:lnTo>
                    <a:lnTo>
                      <a:pt x="17" y="219"/>
                    </a:lnTo>
                    <a:lnTo>
                      <a:pt x="19" y="216"/>
                    </a:lnTo>
                    <a:lnTo>
                      <a:pt x="20" y="215"/>
                    </a:lnTo>
                    <a:lnTo>
                      <a:pt x="21" y="213"/>
                    </a:lnTo>
                    <a:lnTo>
                      <a:pt x="26" y="212"/>
                    </a:lnTo>
                    <a:lnTo>
                      <a:pt x="27" y="210"/>
                    </a:lnTo>
                    <a:lnTo>
                      <a:pt x="29" y="207"/>
                    </a:lnTo>
                    <a:lnTo>
                      <a:pt x="32" y="202"/>
                    </a:lnTo>
                    <a:lnTo>
                      <a:pt x="32" y="200"/>
                    </a:lnTo>
                    <a:lnTo>
                      <a:pt x="33" y="200"/>
                    </a:lnTo>
                    <a:lnTo>
                      <a:pt x="36" y="199"/>
                    </a:lnTo>
                    <a:lnTo>
                      <a:pt x="37" y="197"/>
                    </a:lnTo>
                    <a:lnTo>
                      <a:pt x="39" y="196"/>
                    </a:lnTo>
                    <a:lnTo>
                      <a:pt x="40" y="194"/>
                    </a:lnTo>
                    <a:lnTo>
                      <a:pt x="42" y="193"/>
                    </a:lnTo>
                    <a:lnTo>
                      <a:pt x="43" y="193"/>
                    </a:lnTo>
                    <a:lnTo>
                      <a:pt x="44" y="192"/>
                    </a:lnTo>
                    <a:lnTo>
                      <a:pt x="46" y="192"/>
                    </a:lnTo>
                    <a:lnTo>
                      <a:pt x="47" y="190"/>
                    </a:lnTo>
                    <a:lnTo>
                      <a:pt x="44" y="182"/>
                    </a:lnTo>
                    <a:lnTo>
                      <a:pt x="44" y="179"/>
                    </a:lnTo>
                    <a:lnTo>
                      <a:pt x="44" y="177"/>
                    </a:lnTo>
                    <a:lnTo>
                      <a:pt x="44" y="176"/>
                    </a:lnTo>
                    <a:lnTo>
                      <a:pt x="43" y="176"/>
                    </a:lnTo>
                    <a:lnTo>
                      <a:pt x="40" y="182"/>
                    </a:lnTo>
                    <a:lnTo>
                      <a:pt x="40" y="183"/>
                    </a:lnTo>
                    <a:lnTo>
                      <a:pt x="40" y="184"/>
                    </a:lnTo>
                    <a:lnTo>
                      <a:pt x="40" y="186"/>
                    </a:lnTo>
                    <a:lnTo>
                      <a:pt x="40" y="187"/>
                    </a:lnTo>
                    <a:lnTo>
                      <a:pt x="40" y="189"/>
                    </a:lnTo>
                    <a:lnTo>
                      <a:pt x="39" y="190"/>
                    </a:lnTo>
                    <a:lnTo>
                      <a:pt x="33" y="194"/>
                    </a:lnTo>
                    <a:lnTo>
                      <a:pt x="21" y="209"/>
                    </a:lnTo>
                    <a:lnTo>
                      <a:pt x="9" y="219"/>
                    </a:lnTo>
                    <a:lnTo>
                      <a:pt x="6" y="223"/>
                    </a:lnTo>
                    <a:close/>
                    <a:moveTo>
                      <a:pt x="109" y="153"/>
                    </a:moveTo>
                    <a:lnTo>
                      <a:pt x="109" y="156"/>
                    </a:lnTo>
                    <a:lnTo>
                      <a:pt x="108" y="164"/>
                    </a:lnTo>
                    <a:lnTo>
                      <a:pt x="111" y="161"/>
                    </a:lnTo>
                    <a:lnTo>
                      <a:pt x="112" y="160"/>
                    </a:lnTo>
                    <a:lnTo>
                      <a:pt x="113" y="160"/>
                    </a:lnTo>
                    <a:lnTo>
                      <a:pt x="116" y="161"/>
                    </a:lnTo>
                    <a:lnTo>
                      <a:pt x="122" y="166"/>
                    </a:lnTo>
                    <a:lnTo>
                      <a:pt x="123" y="167"/>
                    </a:lnTo>
                    <a:lnTo>
                      <a:pt x="123" y="166"/>
                    </a:lnTo>
                    <a:lnTo>
                      <a:pt x="122" y="161"/>
                    </a:lnTo>
                    <a:lnTo>
                      <a:pt x="119" y="157"/>
                    </a:lnTo>
                    <a:lnTo>
                      <a:pt x="113" y="154"/>
                    </a:lnTo>
                    <a:lnTo>
                      <a:pt x="109" y="153"/>
                    </a:lnTo>
                    <a:close/>
                    <a:moveTo>
                      <a:pt x="98" y="157"/>
                    </a:moveTo>
                    <a:lnTo>
                      <a:pt x="99" y="157"/>
                    </a:lnTo>
                    <a:lnTo>
                      <a:pt x="100" y="156"/>
                    </a:lnTo>
                    <a:lnTo>
                      <a:pt x="99" y="154"/>
                    </a:lnTo>
                    <a:lnTo>
                      <a:pt x="98" y="154"/>
                    </a:lnTo>
                    <a:lnTo>
                      <a:pt x="96" y="154"/>
                    </a:lnTo>
                    <a:lnTo>
                      <a:pt x="95" y="154"/>
                    </a:lnTo>
                    <a:lnTo>
                      <a:pt x="96" y="156"/>
                    </a:lnTo>
                    <a:lnTo>
                      <a:pt x="98" y="157"/>
                    </a:lnTo>
                    <a:close/>
                    <a:moveTo>
                      <a:pt x="119" y="156"/>
                    </a:moveTo>
                    <a:lnTo>
                      <a:pt x="119" y="154"/>
                    </a:lnTo>
                    <a:lnTo>
                      <a:pt x="118" y="153"/>
                    </a:lnTo>
                    <a:lnTo>
                      <a:pt x="118" y="151"/>
                    </a:lnTo>
                    <a:lnTo>
                      <a:pt x="116" y="151"/>
                    </a:lnTo>
                    <a:lnTo>
                      <a:pt x="116" y="153"/>
                    </a:lnTo>
                    <a:lnTo>
                      <a:pt x="116" y="154"/>
                    </a:lnTo>
                    <a:lnTo>
                      <a:pt x="118" y="156"/>
                    </a:lnTo>
                    <a:lnTo>
                      <a:pt x="119" y="156"/>
                    </a:lnTo>
                    <a:close/>
                    <a:moveTo>
                      <a:pt x="93" y="154"/>
                    </a:moveTo>
                    <a:lnTo>
                      <a:pt x="93" y="153"/>
                    </a:lnTo>
                    <a:lnTo>
                      <a:pt x="93" y="153"/>
                    </a:lnTo>
                    <a:lnTo>
                      <a:pt x="93" y="153"/>
                    </a:lnTo>
                    <a:lnTo>
                      <a:pt x="93" y="153"/>
                    </a:lnTo>
                    <a:lnTo>
                      <a:pt x="93" y="153"/>
                    </a:lnTo>
                    <a:lnTo>
                      <a:pt x="92" y="153"/>
                    </a:lnTo>
                    <a:lnTo>
                      <a:pt x="92" y="153"/>
                    </a:lnTo>
                    <a:lnTo>
                      <a:pt x="92" y="153"/>
                    </a:lnTo>
                    <a:lnTo>
                      <a:pt x="92" y="154"/>
                    </a:lnTo>
                    <a:lnTo>
                      <a:pt x="93" y="154"/>
                    </a:lnTo>
                    <a:lnTo>
                      <a:pt x="93" y="154"/>
                    </a:lnTo>
                    <a:close/>
                    <a:moveTo>
                      <a:pt x="129" y="174"/>
                    </a:moveTo>
                    <a:lnTo>
                      <a:pt x="129" y="179"/>
                    </a:lnTo>
                    <a:lnTo>
                      <a:pt x="131" y="182"/>
                    </a:lnTo>
                    <a:lnTo>
                      <a:pt x="133" y="182"/>
                    </a:lnTo>
                    <a:lnTo>
                      <a:pt x="136" y="183"/>
                    </a:lnTo>
                    <a:lnTo>
                      <a:pt x="136" y="184"/>
                    </a:lnTo>
                    <a:lnTo>
                      <a:pt x="136" y="190"/>
                    </a:lnTo>
                    <a:lnTo>
                      <a:pt x="136" y="193"/>
                    </a:lnTo>
                    <a:lnTo>
                      <a:pt x="138" y="194"/>
                    </a:lnTo>
                    <a:lnTo>
                      <a:pt x="139" y="196"/>
                    </a:lnTo>
                    <a:lnTo>
                      <a:pt x="141" y="199"/>
                    </a:lnTo>
                    <a:lnTo>
                      <a:pt x="141" y="192"/>
                    </a:lnTo>
                    <a:lnTo>
                      <a:pt x="144" y="196"/>
                    </a:lnTo>
                    <a:lnTo>
                      <a:pt x="144" y="194"/>
                    </a:lnTo>
                    <a:lnTo>
                      <a:pt x="144" y="194"/>
                    </a:lnTo>
                    <a:lnTo>
                      <a:pt x="145" y="194"/>
                    </a:lnTo>
                    <a:lnTo>
                      <a:pt x="145" y="193"/>
                    </a:lnTo>
                    <a:lnTo>
                      <a:pt x="145" y="193"/>
                    </a:lnTo>
                    <a:lnTo>
                      <a:pt x="145" y="192"/>
                    </a:lnTo>
                    <a:lnTo>
                      <a:pt x="144" y="189"/>
                    </a:lnTo>
                    <a:lnTo>
                      <a:pt x="142" y="186"/>
                    </a:lnTo>
                    <a:lnTo>
                      <a:pt x="142" y="184"/>
                    </a:lnTo>
                    <a:lnTo>
                      <a:pt x="141" y="182"/>
                    </a:lnTo>
                    <a:lnTo>
                      <a:pt x="141" y="179"/>
                    </a:lnTo>
                    <a:lnTo>
                      <a:pt x="141" y="177"/>
                    </a:lnTo>
                    <a:lnTo>
                      <a:pt x="139" y="174"/>
                    </a:lnTo>
                    <a:lnTo>
                      <a:pt x="139" y="174"/>
                    </a:lnTo>
                    <a:lnTo>
                      <a:pt x="138" y="174"/>
                    </a:lnTo>
                    <a:lnTo>
                      <a:pt x="138" y="174"/>
                    </a:lnTo>
                    <a:lnTo>
                      <a:pt x="136" y="174"/>
                    </a:lnTo>
                    <a:lnTo>
                      <a:pt x="136" y="174"/>
                    </a:lnTo>
                    <a:lnTo>
                      <a:pt x="133" y="174"/>
                    </a:lnTo>
                    <a:lnTo>
                      <a:pt x="132" y="174"/>
                    </a:lnTo>
                    <a:lnTo>
                      <a:pt x="129" y="171"/>
                    </a:lnTo>
                    <a:lnTo>
                      <a:pt x="129" y="174"/>
                    </a:lnTo>
                    <a:close/>
                    <a:moveTo>
                      <a:pt x="158" y="202"/>
                    </a:moveTo>
                    <a:lnTo>
                      <a:pt x="159" y="203"/>
                    </a:lnTo>
                    <a:lnTo>
                      <a:pt x="159" y="203"/>
                    </a:lnTo>
                    <a:lnTo>
                      <a:pt x="161" y="202"/>
                    </a:lnTo>
                    <a:lnTo>
                      <a:pt x="159" y="197"/>
                    </a:lnTo>
                    <a:lnTo>
                      <a:pt x="158" y="199"/>
                    </a:lnTo>
                    <a:lnTo>
                      <a:pt x="158" y="200"/>
                    </a:lnTo>
                    <a:lnTo>
                      <a:pt x="158" y="202"/>
                    </a:lnTo>
                    <a:close/>
                    <a:moveTo>
                      <a:pt x="132" y="171"/>
                    </a:moveTo>
                    <a:lnTo>
                      <a:pt x="133" y="171"/>
                    </a:lnTo>
                    <a:lnTo>
                      <a:pt x="133" y="170"/>
                    </a:lnTo>
                    <a:lnTo>
                      <a:pt x="132" y="169"/>
                    </a:lnTo>
                    <a:lnTo>
                      <a:pt x="131" y="169"/>
                    </a:lnTo>
                    <a:lnTo>
                      <a:pt x="129" y="169"/>
                    </a:lnTo>
                    <a:lnTo>
                      <a:pt x="131" y="170"/>
                    </a:lnTo>
                    <a:lnTo>
                      <a:pt x="131" y="171"/>
                    </a:lnTo>
                    <a:lnTo>
                      <a:pt x="132" y="171"/>
                    </a:lnTo>
                    <a:close/>
                    <a:moveTo>
                      <a:pt x="88" y="166"/>
                    </a:moveTo>
                    <a:lnTo>
                      <a:pt x="86" y="167"/>
                    </a:lnTo>
                    <a:lnTo>
                      <a:pt x="88" y="167"/>
                    </a:lnTo>
                    <a:lnTo>
                      <a:pt x="88" y="169"/>
                    </a:lnTo>
                    <a:lnTo>
                      <a:pt x="89" y="169"/>
                    </a:lnTo>
                    <a:lnTo>
                      <a:pt x="89" y="170"/>
                    </a:lnTo>
                    <a:lnTo>
                      <a:pt x="89" y="171"/>
                    </a:lnTo>
                    <a:lnTo>
                      <a:pt x="88" y="187"/>
                    </a:lnTo>
                    <a:lnTo>
                      <a:pt x="88" y="190"/>
                    </a:lnTo>
                    <a:lnTo>
                      <a:pt x="89" y="189"/>
                    </a:lnTo>
                    <a:lnTo>
                      <a:pt x="90" y="189"/>
                    </a:lnTo>
                    <a:lnTo>
                      <a:pt x="98" y="186"/>
                    </a:lnTo>
                    <a:lnTo>
                      <a:pt x="99" y="184"/>
                    </a:lnTo>
                    <a:lnTo>
                      <a:pt x="100" y="184"/>
                    </a:lnTo>
                    <a:lnTo>
                      <a:pt x="100" y="183"/>
                    </a:lnTo>
                    <a:lnTo>
                      <a:pt x="102" y="182"/>
                    </a:lnTo>
                    <a:lnTo>
                      <a:pt x="102" y="182"/>
                    </a:lnTo>
                    <a:lnTo>
                      <a:pt x="105" y="179"/>
                    </a:lnTo>
                    <a:lnTo>
                      <a:pt x="106" y="177"/>
                    </a:lnTo>
                    <a:lnTo>
                      <a:pt x="108" y="176"/>
                    </a:lnTo>
                    <a:lnTo>
                      <a:pt x="108" y="173"/>
                    </a:lnTo>
                    <a:lnTo>
                      <a:pt x="108" y="171"/>
                    </a:lnTo>
                    <a:lnTo>
                      <a:pt x="106" y="171"/>
                    </a:lnTo>
                    <a:lnTo>
                      <a:pt x="103" y="173"/>
                    </a:lnTo>
                    <a:lnTo>
                      <a:pt x="103" y="171"/>
                    </a:lnTo>
                    <a:lnTo>
                      <a:pt x="103" y="170"/>
                    </a:lnTo>
                    <a:lnTo>
                      <a:pt x="102" y="170"/>
                    </a:lnTo>
                    <a:lnTo>
                      <a:pt x="100" y="170"/>
                    </a:lnTo>
                    <a:lnTo>
                      <a:pt x="99" y="170"/>
                    </a:lnTo>
                    <a:lnTo>
                      <a:pt x="99" y="170"/>
                    </a:lnTo>
                    <a:lnTo>
                      <a:pt x="98" y="170"/>
                    </a:lnTo>
                    <a:lnTo>
                      <a:pt x="98" y="170"/>
                    </a:lnTo>
                    <a:lnTo>
                      <a:pt x="96" y="170"/>
                    </a:lnTo>
                    <a:lnTo>
                      <a:pt x="95" y="169"/>
                    </a:lnTo>
                    <a:lnTo>
                      <a:pt x="95" y="169"/>
                    </a:lnTo>
                    <a:lnTo>
                      <a:pt x="92" y="167"/>
                    </a:lnTo>
                    <a:lnTo>
                      <a:pt x="89" y="166"/>
                    </a:lnTo>
                    <a:lnTo>
                      <a:pt x="88" y="166"/>
                    </a:lnTo>
                    <a:close/>
                    <a:moveTo>
                      <a:pt x="56" y="130"/>
                    </a:moveTo>
                    <a:lnTo>
                      <a:pt x="54" y="130"/>
                    </a:lnTo>
                    <a:lnTo>
                      <a:pt x="54" y="131"/>
                    </a:lnTo>
                    <a:lnTo>
                      <a:pt x="57" y="133"/>
                    </a:lnTo>
                    <a:lnTo>
                      <a:pt x="56" y="130"/>
                    </a:lnTo>
                    <a:close/>
                    <a:moveTo>
                      <a:pt x="138" y="170"/>
                    </a:moveTo>
                    <a:lnTo>
                      <a:pt x="138" y="170"/>
                    </a:lnTo>
                    <a:lnTo>
                      <a:pt x="138" y="170"/>
                    </a:lnTo>
                    <a:lnTo>
                      <a:pt x="136" y="169"/>
                    </a:lnTo>
                    <a:lnTo>
                      <a:pt x="136" y="169"/>
                    </a:lnTo>
                    <a:lnTo>
                      <a:pt x="136" y="169"/>
                    </a:lnTo>
                    <a:lnTo>
                      <a:pt x="136" y="169"/>
                    </a:lnTo>
                    <a:lnTo>
                      <a:pt x="136" y="170"/>
                    </a:lnTo>
                    <a:lnTo>
                      <a:pt x="138" y="170"/>
                    </a:lnTo>
                    <a:close/>
                    <a:moveTo>
                      <a:pt x="109" y="199"/>
                    </a:moveTo>
                    <a:lnTo>
                      <a:pt x="112" y="193"/>
                    </a:lnTo>
                    <a:lnTo>
                      <a:pt x="115" y="187"/>
                    </a:lnTo>
                    <a:lnTo>
                      <a:pt x="115" y="184"/>
                    </a:lnTo>
                    <a:lnTo>
                      <a:pt x="113" y="182"/>
                    </a:lnTo>
                    <a:lnTo>
                      <a:pt x="112" y="182"/>
                    </a:lnTo>
                    <a:lnTo>
                      <a:pt x="109" y="182"/>
                    </a:lnTo>
                    <a:lnTo>
                      <a:pt x="106" y="183"/>
                    </a:lnTo>
                    <a:lnTo>
                      <a:pt x="105" y="184"/>
                    </a:lnTo>
                    <a:lnTo>
                      <a:pt x="103" y="189"/>
                    </a:lnTo>
                    <a:lnTo>
                      <a:pt x="102" y="189"/>
                    </a:lnTo>
                    <a:lnTo>
                      <a:pt x="102" y="190"/>
                    </a:lnTo>
                    <a:lnTo>
                      <a:pt x="103" y="194"/>
                    </a:lnTo>
                    <a:lnTo>
                      <a:pt x="103" y="196"/>
                    </a:lnTo>
                    <a:lnTo>
                      <a:pt x="102" y="197"/>
                    </a:lnTo>
                    <a:lnTo>
                      <a:pt x="96" y="200"/>
                    </a:lnTo>
                    <a:lnTo>
                      <a:pt x="95" y="202"/>
                    </a:lnTo>
                    <a:lnTo>
                      <a:pt x="96" y="206"/>
                    </a:lnTo>
                    <a:lnTo>
                      <a:pt x="98" y="207"/>
                    </a:lnTo>
                    <a:lnTo>
                      <a:pt x="100" y="209"/>
                    </a:lnTo>
                    <a:lnTo>
                      <a:pt x="103" y="210"/>
                    </a:lnTo>
                    <a:lnTo>
                      <a:pt x="106" y="215"/>
                    </a:lnTo>
                    <a:lnTo>
                      <a:pt x="108" y="216"/>
                    </a:lnTo>
                    <a:lnTo>
                      <a:pt x="111" y="213"/>
                    </a:lnTo>
                    <a:lnTo>
                      <a:pt x="111" y="212"/>
                    </a:lnTo>
                    <a:lnTo>
                      <a:pt x="111" y="209"/>
                    </a:lnTo>
                    <a:lnTo>
                      <a:pt x="109" y="207"/>
                    </a:lnTo>
                    <a:lnTo>
                      <a:pt x="108" y="205"/>
                    </a:lnTo>
                    <a:lnTo>
                      <a:pt x="108" y="202"/>
                    </a:lnTo>
                    <a:lnTo>
                      <a:pt x="109" y="199"/>
                    </a:lnTo>
                    <a:close/>
                    <a:moveTo>
                      <a:pt x="116" y="215"/>
                    </a:moveTo>
                    <a:lnTo>
                      <a:pt x="118" y="213"/>
                    </a:lnTo>
                    <a:lnTo>
                      <a:pt x="116" y="212"/>
                    </a:lnTo>
                    <a:lnTo>
                      <a:pt x="113" y="213"/>
                    </a:lnTo>
                    <a:lnTo>
                      <a:pt x="116" y="215"/>
                    </a:lnTo>
                    <a:close/>
                    <a:moveTo>
                      <a:pt x="123" y="176"/>
                    </a:moveTo>
                    <a:lnTo>
                      <a:pt x="122" y="179"/>
                    </a:lnTo>
                    <a:lnTo>
                      <a:pt x="118" y="190"/>
                    </a:lnTo>
                    <a:lnTo>
                      <a:pt x="113" y="199"/>
                    </a:lnTo>
                    <a:lnTo>
                      <a:pt x="111" y="205"/>
                    </a:lnTo>
                    <a:lnTo>
                      <a:pt x="111" y="209"/>
                    </a:lnTo>
                    <a:lnTo>
                      <a:pt x="113" y="207"/>
                    </a:lnTo>
                    <a:lnTo>
                      <a:pt x="115" y="205"/>
                    </a:lnTo>
                    <a:lnTo>
                      <a:pt x="118" y="199"/>
                    </a:lnTo>
                    <a:lnTo>
                      <a:pt x="118" y="197"/>
                    </a:lnTo>
                    <a:lnTo>
                      <a:pt x="121" y="194"/>
                    </a:lnTo>
                    <a:lnTo>
                      <a:pt x="123" y="190"/>
                    </a:lnTo>
                    <a:lnTo>
                      <a:pt x="123" y="186"/>
                    </a:lnTo>
                    <a:lnTo>
                      <a:pt x="123" y="182"/>
                    </a:lnTo>
                    <a:lnTo>
                      <a:pt x="123" y="177"/>
                    </a:lnTo>
                    <a:lnTo>
                      <a:pt x="123" y="176"/>
                    </a:lnTo>
                    <a:close/>
                    <a:moveTo>
                      <a:pt x="119" y="179"/>
                    </a:moveTo>
                    <a:lnTo>
                      <a:pt x="119" y="177"/>
                    </a:lnTo>
                    <a:lnTo>
                      <a:pt x="119" y="176"/>
                    </a:lnTo>
                    <a:lnTo>
                      <a:pt x="119" y="176"/>
                    </a:lnTo>
                    <a:lnTo>
                      <a:pt x="118" y="176"/>
                    </a:lnTo>
                    <a:lnTo>
                      <a:pt x="118" y="176"/>
                    </a:lnTo>
                    <a:lnTo>
                      <a:pt x="118" y="177"/>
                    </a:lnTo>
                    <a:lnTo>
                      <a:pt x="119" y="179"/>
                    </a:lnTo>
                    <a:lnTo>
                      <a:pt x="119" y="179"/>
                    </a:lnTo>
                    <a:close/>
                    <a:moveTo>
                      <a:pt x="108" y="146"/>
                    </a:moveTo>
                    <a:lnTo>
                      <a:pt x="106" y="143"/>
                    </a:lnTo>
                    <a:lnTo>
                      <a:pt x="105" y="143"/>
                    </a:lnTo>
                    <a:lnTo>
                      <a:pt x="106" y="146"/>
                    </a:lnTo>
                    <a:lnTo>
                      <a:pt x="111" y="148"/>
                    </a:lnTo>
                    <a:lnTo>
                      <a:pt x="112" y="150"/>
                    </a:lnTo>
                    <a:lnTo>
                      <a:pt x="111" y="148"/>
                    </a:lnTo>
                    <a:lnTo>
                      <a:pt x="108" y="146"/>
                    </a:lnTo>
                    <a:close/>
                    <a:moveTo>
                      <a:pt x="99" y="190"/>
                    </a:moveTo>
                    <a:lnTo>
                      <a:pt x="100" y="189"/>
                    </a:lnTo>
                    <a:lnTo>
                      <a:pt x="100" y="187"/>
                    </a:lnTo>
                    <a:lnTo>
                      <a:pt x="99" y="186"/>
                    </a:lnTo>
                    <a:lnTo>
                      <a:pt x="98" y="187"/>
                    </a:lnTo>
                    <a:lnTo>
                      <a:pt x="98" y="189"/>
                    </a:lnTo>
                    <a:lnTo>
                      <a:pt x="98" y="192"/>
                    </a:lnTo>
                    <a:lnTo>
                      <a:pt x="99" y="190"/>
                    </a:lnTo>
                    <a:lnTo>
                      <a:pt x="99" y="190"/>
                    </a:lnTo>
                    <a:close/>
                    <a:moveTo>
                      <a:pt x="144" y="196"/>
                    </a:moveTo>
                    <a:lnTo>
                      <a:pt x="144" y="197"/>
                    </a:lnTo>
                    <a:lnTo>
                      <a:pt x="144" y="199"/>
                    </a:lnTo>
                    <a:lnTo>
                      <a:pt x="145" y="199"/>
                    </a:lnTo>
                    <a:lnTo>
                      <a:pt x="145" y="200"/>
                    </a:lnTo>
                    <a:lnTo>
                      <a:pt x="145" y="199"/>
                    </a:lnTo>
                    <a:lnTo>
                      <a:pt x="145" y="197"/>
                    </a:lnTo>
                    <a:lnTo>
                      <a:pt x="144" y="196"/>
                    </a:lnTo>
                    <a:lnTo>
                      <a:pt x="144" y="196"/>
                    </a:lnTo>
                    <a:close/>
                    <a:moveTo>
                      <a:pt x="133" y="213"/>
                    </a:moveTo>
                    <a:lnTo>
                      <a:pt x="136" y="215"/>
                    </a:lnTo>
                    <a:lnTo>
                      <a:pt x="136" y="213"/>
                    </a:lnTo>
                    <a:lnTo>
                      <a:pt x="136" y="212"/>
                    </a:lnTo>
                    <a:lnTo>
                      <a:pt x="133" y="213"/>
                    </a:lnTo>
                    <a:close/>
                    <a:moveTo>
                      <a:pt x="129" y="187"/>
                    </a:moveTo>
                    <a:lnTo>
                      <a:pt x="129" y="187"/>
                    </a:lnTo>
                    <a:lnTo>
                      <a:pt x="129" y="186"/>
                    </a:lnTo>
                    <a:lnTo>
                      <a:pt x="128" y="187"/>
                    </a:lnTo>
                    <a:lnTo>
                      <a:pt x="129" y="187"/>
                    </a:lnTo>
                    <a:close/>
                    <a:moveTo>
                      <a:pt x="125" y="197"/>
                    </a:moveTo>
                    <a:lnTo>
                      <a:pt x="122" y="199"/>
                    </a:lnTo>
                    <a:lnTo>
                      <a:pt x="121" y="202"/>
                    </a:lnTo>
                    <a:lnTo>
                      <a:pt x="121" y="203"/>
                    </a:lnTo>
                    <a:lnTo>
                      <a:pt x="122" y="205"/>
                    </a:lnTo>
                    <a:lnTo>
                      <a:pt x="125" y="206"/>
                    </a:lnTo>
                    <a:lnTo>
                      <a:pt x="128" y="206"/>
                    </a:lnTo>
                    <a:lnTo>
                      <a:pt x="129" y="205"/>
                    </a:lnTo>
                    <a:lnTo>
                      <a:pt x="133" y="203"/>
                    </a:lnTo>
                    <a:lnTo>
                      <a:pt x="132" y="199"/>
                    </a:lnTo>
                    <a:lnTo>
                      <a:pt x="131" y="196"/>
                    </a:lnTo>
                    <a:lnTo>
                      <a:pt x="126" y="196"/>
                    </a:lnTo>
                    <a:lnTo>
                      <a:pt x="125" y="197"/>
                    </a:lnTo>
                    <a:close/>
                    <a:moveTo>
                      <a:pt x="53" y="169"/>
                    </a:moveTo>
                    <a:lnTo>
                      <a:pt x="54" y="167"/>
                    </a:lnTo>
                    <a:lnTo>
                      <a:pt x="53" y="166"/>
                    </a:lnTo>
                    <a:lnTo>
                      <a:pt x="53" y="164"/>
                    </a:lnTo>
                    <a:lnTo>
                      <a:pt x="52" y="163"/>
                    </a:lnTo>
                    <a:lnTo>
                      <a:pt x="50" y="164"/>
                    </a:lnTo>
                    <a:lnTo>
                      <a:pt x="52" y="167"/>
                    </a:lnTo>
                    <a:lnTo>
                      <a:pt x="53" y="169"/>
                    </a:lnTo>
                    <a:close/>
                    <a:moveTo>
                      <a:pt x="57" y="160"/>
                    </a:moveTo>
                    <a:lnTo>
                      <a:pt x="56" y="159"/>
                    </a:lnTo>
                    <a:lnTo>
                      <a:pt x="54" y="160"/>
                    </a:lnTo>
                    <a:lnTo>
                      <a:pt x="52" y="157"/>
                    </a:lnTo>
                    <a:lnTo>
                      <a:pt x="50" y="159"/>
                    </a:lnTo>
                    <a:lnTo>
                      <a:pt x="52" y="161"/>
                    </a:lnTo>
                    <a:lnTo>
                      <a:pt x="54" y="163"/>
                    </a:lnTo>
                    <a:lnTo>
                      <a:pt x="57" y="161"/>
                    </a:lnTo>
                    <a:lnTo>
                      <a:pt x="57" y="160"/>
                    </a:lnTo>
                    <a:close/>
                    <a:moveTo>
                      <a:pt x="49" y="171"/>
                    </a:moveTo>
                    <a:lnTo>
                      <a:pt x="49" y="171"/>
                    </a:lnTo>
                    <a:lnTo>
                      <a:pt x="49" y="173"/>
                    </a:lnTo>
                    <a:lnTo>
                      <a:pt x="47" y="173"/>
                    </a:lnTo>
                    <a:lnTo>
                      <a:pt x="49" y="173"/>
                    </a:lnTo>
                    <a:lnTo>
                      <a:pt x="50" y="173"/>
                    </a:lnTo>
                    <a:lnTo>
                      <a:pt x="50" y="173"/>
                    </a:lnTo>
                    <a:lnTo>
                      <a:pt x="50" y="171"/>
                    </a:lnTo>
                    <a:lnTo>
                      <a:pt x="49" y="171"/>
                    </a:lnTo>
                    <a:close/>
                    <a:moveTo>
                      <a:pt x="50" y="190"/>
                    </a:moveTo>
                    <a:lnTo>
                      <a:pt x="52" y="190"/>
                    </a:lnTo>
                    <a:lnTo>
                      <a:pt x="53" y="189"/>
                    </a:lnTo>
                    <a:lnTo>
                      <a:pt x="52" y="187"/>
                    </a:lnTo>
                    <a:lnTo>
                      <a:pt x="50" y="187"/>
                    </a:lnTo>
                    <a:lnTo>
                      <a:pt x="49" y="187"/>
                    </a:lnTo>
                    <a:lnTo>
                      <a:pt x="49" y="189"/>
                    </a:lnTo>
                    <a:lnTo>
                      <a:pt x="49" y="190"/>
                    </a:lnTo>
                    <a:lnTo>
                      <a:pt x="50" y="190"/>
                    </a:lnTo>
                    <a:close/>
                    <a:moveTo>
                      <a:pt x="88" y="156"/>
                    </a:moveTo>
                    <a:lnTo>
                      <a:pt x="88" y="159"/>
                    </a:lnTo>
                    <a:lnTo>
                      <a:pt x="88" y="161"/>
                    </a:lnTo>
                    <a:lnTo>
                      <a:pt x="89" y="156"/>
                    </a:lnTo>
                    <a:lnTo>
                      <a:pt x="90" y="151"/>
                    </a:lnTo>
                    <a:lnTo>
                      <a:pt x="88" y="153"/>
                    </a:lnTo>
                    <a:lnTo>
                      <a:pt x="88" y="156"/>
                    </a:lnTo>
                    <a:close/>
                    <a:moveTo>
                      <a:pt x="80" y="151"/>
                    </a:moveTo>
                    <a:lnTo>
                      <a:pt x="79" y="148"/>
                    </a:lnTo>
                    <a:lnTo>
                      <a:pt x="79" y="144"/>
                    </a:lnTo>
                    <a:lnTo>
                      <a:pt x="79" y="143"/>
                    </a:lnTo>
                    <a:lnTo>
                      <a:pt x="79" y="141"/>
                    </a:lnTo>
                    <a:lnTo>
                      <a:pt x="76" y="140"/>
                    </a:lnTo>
                    <a:lnTo>
                      <a:pt x="76" y="138"/>
                    </a:lnTo>
                    <a:lnTo>
                      <a:pt x="76" y="138"/>
                    </a:lnTo>
                    <a:lnTo>
                      <a:pt x="75" y="137"/>
                    </a:lnTo>
                    <a:lnTo>
                      <a:pt x="75" y="137"/>
                    </a:lnTo>
                    <a:lnTo>
                      <a:pt x="73" y="137"/>
                    </a:lnTo>
                    <a:lnTo>
                      <a:pt x="73" y="138"/>
                    </a:lnTo>
                    <a:lnTo>
                      <a:pt x="72" y="138"/>
                    </a:lnTo>
                    <a:lnTo>
                      <a:pt x="69" y="137"/>
                    </a:lnTo>
                    <a:lnTo>
                      <a:pt x="65" y="136"/>
                    </a:lnTo>
                    <a:lnTo>
                      <a:pt x="60" y="136"/>
                    </a:lnTo>
                    <a:lnTo>
                      <a:pt x="59" y="137"/>
                    </a:lnTo>
                    <a:lnTo>
                      <a:pt x="60" y="138"/>
                    </a:lnTo>
                    <a:lnTo>
                      <a:pt x="62" y="140"/>
                    </a:lnTo>
                    <a:lnTo>
                      <a:pt x="63" y="141"/>
                    </a:lnTo>
                    <a:lnTo>
                      <a:pt x="65" y="143"/>
                    </a:lnTo>
                    <a:lnTo>
                      <a:pt x="66" y="144"/>
                    </a:lnTo>
                    <a:lnTo>
                      <a:pt x="69" y="154"/>
                    </a:lnTo>
                    <a:lnTo>
                      <a:pt x="70" y="156"/>
                    </a:lnTo>
                    <a:lnTo>
                      <a:pt x="72" y="157"/>
                    </a:lnTo>
                    <a:lnTo>
                      <a:pt x="73" y="159"/>
                    </a:lnTo>
                    <a:lnTo>
                      <a:pt x="75" y="159"/>
                    </a:lnTo>
                    <a:lnTo>
                      <a:pt x="76" y="157"/>
                    </a:lnTo>
                    <a:lnTo>
                      <a:pt x="77" y="157"/>
                    </a:lnTo>
                    <a:lnTo>
                      <a:pt x="77" y="156"/>
                    </a:lnTo>
                    <a:lnTo>
                      <a:pt x="77" y="154"/>
                    </a:lnTo>
                    <a:lnTo>
                      <a:pt x="80" y="151"/>
                    </a:lnTo>
                    <a:close/>
                    <a:moveTo>
                      <a:pt x="89" y="136"/>
                    </a:moveTo>
                    <a:lnTo>
                      <a:pt x="88" y="136"/>
                    </a:lnTo>
                    <a:lnTo>
                      <a:pt x="86" y="134"/>
                    </a:lnTo>
                    <a:lnTo>
                      <a:pt x="85" y="138"/>
                    </a:lnTo>
                    <a:lnTo>
                      <a:pt x="86" y="140"/>
                    </a:lnTo>
                    <a:lnTo>
                      <a:pt x="88" y="140"/>
                    </a:lnTo>
                    <a:lnTo>
                      <a:pt x="90" y="138"/>
                    </a:lnTo>
                    <a:lnTo>
                      <a:pt x="89" y="137"/>
                    </a:lnTo>
                    <a:lnTo>
                      <a:pt x="89" y="136"/>
                    </a:lnTo>
                    <a:close/>
                    <a:moveTo>
                      <a:pt x="152" y="200"/>
                    </a:moveTo>
                    <a:lnTo>
                      <a:pt x="152" y="199"/>
                    </a:lnTo>
                    <a:lnTo>
                      <a:pt x="152" y="196"/>
                    </a:lnTo>
                    <a:lnTo>
                      <a:pt x="152" y="190"/>
                    </a:lnTo>
                    <a:lnTo>
                      <a:pt x="151" y="192"/>
                    </a:lnTo>
                    <a:lnTo>
                      <a:pt x="151" y="193"/>
                    </a:lnTo>
                    <a:lnTo>
                      <a:pt x="149" y="194"/>
                    </a:lnTo>
                    <a:lnTo>
                      <a:pt x="149" y="196"/>
                    </a:lnTo>
                    <a:lnTo>
                      <a:pt x="151" y="199"/>
                    </a:lnTo>
                    <a:lnTo>
                      <a:pt x="152" y="20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6" name="Freeform 142">
                <a:extLst>
                  <a:ext uri="{FF2B5EF4-FFF2-40B4-BE49-F238E27FC236}">
                    <a16:creationId xmlns:a16="http://schemas.microsoft.com/office/drawing/2014/main" id="{069DFC0A-1A18-333C-4E18-F07DD0372C30}"/>
                  </a:ext>
                </a:extLst>
              </p:cNvPr>
              <p:cNvSpPr>
                <a:spLocks noEditPoints="1"/>
              </p:cNvSpPr>
              <p:nvPr/>
            </p:nvSpPr>
            <p:spPr bwMode="auto">
              <a:xfrm>
                <a:off x="8831358" y="3065552"/>
                <a:ext cx="127244" cy="157610"/>
              </a:xfrm>
              <a:custGeom>
                <a:avLst/>
                <a:gdLst>
                  <a:gd name="T0" fmla="*/ 47 w 88"/>
                  <a:gd name="T1" fmla="*/ 11 h 109"/>
                  <a:gd name="T2" fmla="*/ 60 w 88"/>
                  <a:gd name="T3" fmla="*/ 31 h 109"/>
                  <a:gd name="T4" fmla="*/ 60 w 88"/>
                  <a:gd name="T5" fmla="*/ 51 h 109"/>
                  <a:gd name="T6" fmla="*/ 62 w 88"/>
                  <a:gd name="T7" fmla="*/ 57 h 109"/>
                  <a:gd name="T8" fmla="*/ 56 w 88"/>
                  <a:gd name="T9" fmla="*/ 70 h 109"/>
                  <a:gd name="T10" fmla="*/ 43 w 88"/>
                  <a:gd name="T11" fmla="*/ 71 h 109"/>
                  <a:gd name="T12" fmla="*/ 34 w 88"/>
                  <a:gd name="T13" fmla="*/ 73 h 109"/>
                  <a:gd name="T14" fmla="*/ 30 w 88"/>
                  <a:gd name="T15" fmla="*/ 74 h 109"/>
                  <a:gd name="T16" fmla="*/ 30 w 88"/>
                  <a:gd name="T17" fmla="*/ 77 h 109"/>
                  <a:gd name="T18" fmla="*/ 29 w 88"/>
                  <a:gd name="T19" fmla="*/ 79 h 109"/>
                  <a:gd name="T20" fmla="*/ 26 w 88"/>
                  <a:gd name="T21" fmla="*/ 76 h 109"/>
                  <a:gd name="T22" fmla="*/ 26 w 88"/>
                  <a:gd name="T23" fmla="*/ 80 h 109"/>
                  <a:gd name="T24" fmla="*/ 23 w 88"/>
                  <a:gd name="T25" fmla="*/ 84 h 109"/>
                  <a:gd name="T26" fmla="*/ 21 w 88"/>
                  <a:gd name="T27" fmla="*/ 82 h 109"/>
                  <a:gd name="T28" fmla="*/ 21 w 88"/>
                  <a:gd name="T29" fmla="*/ 79 h 109"/>
                  <a:gd name="T30" fmla="*/ 14 w 88"/>
                  <a:gd name="T31" fmla="*/ 84 h 109"/>
                  <a:gd name="T32" fmla="*/ 13 w 88"/>
                  <a:gd name="T33" fmla="*/ 83 h 109"/>
                  <a:gd name="T34" fmla="*/ 10 w 88"/>
                  <a:gd name="T35" fmla="*/ 86 h 109"/>
                  <a:gd name="T36" fmla="*/ 6 w 88"/>
                  <a:gd name="T37" fmla="*/ 80 h 109"/>
                  <a:gd name="T38" fmla="*/ 10 w 88"/>
                  <a:gd name="T39" fmla="*/ 79 h 109"/>
                  <a:gd name="T40" fmla="*/ 10 w 88"/>
                  <a:gd name="T41" fmla="*/ 77 h 109"/>
                  <a:gd name="T42" fmla="*/ 7 w 88"/>
                  <a:gd name="T43" fmla="*/ 76 h 109"/>
                  <a:gd name="T44" fmla="*/ 6 w 88"/>
                  <a:gd name="T45" fmla="*/ 69 h 109"/>
                  <a:gd name="T46" fmla="*/ 11 w 88"/>
                  <a:gd name="T47" fmla="*/ 61 h 109"/>
                  <a:gd name="T48" fmla="*/ 11 w 88"/>
                  <a:gd name="T49" fmla="*/ 59 h 109"/>
                  <a:gd name="T50" fmla="*/ 13 w 88"/>
                  <a:gd name="T51" fmla="*/ 56 h 109"/>
                  <a:gd name="T52" fmla="*/ 10 w 88"/>
                  <a:gd name="T53" fmla="*/ 47 h 109"/>
                  <a:gd name="T54" fmla="*/ 4 w 88"/>
                  <a:gd name="T55" fmla="*/ 38 h 109"/>
                  <a:gd name="T56" fmla="*/ 9 w 88"/>
                  <a:gd name="T57" fmla="*/ 33 h 109"/>
                  <a:gd name="T58" fmla="*/ 16 w 88"/>
                  <a:gd name="T59" fmla="*/ 37 h 109"/>
                  <a:gd name="T60" fmla="*/ 16 w 88"/>
                  <a:gd name="T61" fmla="*/ 34 h 109"/>
                  <a:gd name="T62" fmla="*/ 14 w 88"/>
                  <a:gd name="T63" fmla="*/ 30 h 109"/>
                  <a:gd name="T64" fmla="*/ 11 w 88"/>
                  <a:gd name="T65" fmla="*/ 21 h 109"/>
                  <a:gd name="T66" fmla="*/ 14 w 88"/>
                  <a:gd name="T67" fmla="*/ 13 h 109"/>
                  <a:gd name="T68" fmla="*/ 27 w 88"/>
                  <a:gd name="T69" fmla="*/ 7 h 109"/>
                  <a:gd name="T70" fmla="*/ 39 w 88"/>
                  <a:gd name="T71" fmla="*/ 5 h 109"/>
                  <a:gd name="T72" fmla="*/ 44 w 88"/>
                  <a:gd name="T73" fmla="*/ 74 h 109"/>
                  <a:gd name="T74" fmla="*/ 49 w 88"/>
                  <a:gd name="T75" fmla="*/ 77 h 109"/>
                  <a:gd name="T76" fmla="*/ 9 w 88"/>
                  <a:gd name="T77" fmla="*/ 20 h 109"/>
                  <a:gd name="T78" fmla="*/ 9 w 88"/>
                  <a:gd name="T79" fmla="*/ 17 h 109"/>
                  <a:gd name="T80" fmla="*/ 7 w 88"/>
                  <a:gd name="T81" fmla="*/ 18 h 109"/>
                  <a:gd name="T82" fmla="*/ 7 w 88"/>
                  <a:gd name="T83" fmla="*/ 44 h 109"/>
                  <a:gd name="T84" fmla="*/ 7 w 88"/>
                  <a:gd name="T85" fmla="*/ 41 h 109"/>
                  <a:gd name="T86" fmla="*/ 6 w 88"/>
                  <a:gd name="T87" fmla="*/ 43 h 109"/>
                  <a:gd name="T88" fmla="*/ 13 w 88"/>
                  <a:gd name="T89" fmla="*/ 87 h 109"/>
                  <a:gd name="T90" fmla="*/ 13 w 88"/>
                  <a:gd name="T91" fmla="*/ 86 h 109"/>
                  <a:gd name="T92" fmla="*/ 11 w 88"/>
                  <a:gd name="T93" fmla="*/ 86 h 109"/>
                  <a:gd name="T94" fmla="*/ 4 w 88"/>
                  <a:gd name="T95" fmla="*/ 105 h 109"/>
                  <a:gd name="T96" fmla="*/ 10 w 88"/>
                  <a:gd name="T97" fmla="*/ 109 h 109"/>
                  <a:gd name="T98" fmla="*/ 13 w 88"/>
                  <a:gd name="T99" fmla="*/ 102 h 109"/>
                  <a:gd name="T100" fmla="*/ 36 w 88"/>
                  <a:gd name="T101" fmla="*/ 79 h 109"/>
                  <a:gd name="T102" fmla="*/ 36 w 88"/>
                  <a:gd name="T103" fmla="*/ 77 h 109"/>
                  <a:gd name="T104" fmla="*/ 33 w 88"/>
                  <a:gd name="T105" fmla="*/ 77 h 109"/>
                  <a:gd name="T106" fmla="*/ 31 w 88"/>
                  <a:gd name="T107" fmla="*/ 80 h 109"/>
                  <a:gd name="T108" fmla="*/ 31 w 88"/>
                  <a:gd name="T109" fmla="*/ 82 h 109"/>
                  <a:gd name="T110" fmla="*/ 1 w 88"/>
                  <a:gd name="T111" fmla="*/ 76 h 109"/>
                  <a:gd name="T112" fmla="*/ 3 w 88"/>
                  <a:gd name="T113" fmla="*/ 79 h 109"/>
                  <a:gd name="T114" fmla="*/ 3 w 88"/>
                  <a:gd name="T115" fmla="*/ 76 h 109"/>
                  <a:gd name="T116" fmla="*/ 3 w 88"/>
                  <a:gd name="T117" fmla="*/ 84 h 109"/>
                  <a:gd name="T118" fmla="*/ 6 w 88"/>
                  <a:gd name="T119" fmla="*/ 84 h 109"/>
                  <a:gd name="T120" fmla="*/ 4 w 88"/>
                  <a:gd name="T121" fmla="*/ 83 h 109"/>
                  <a:gd name="T122" fmla="*/ 88 w 88"/>
                  <a:gd name="T123"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8" h="109">
                    <a:moveTo>
                      <a:pt x="40" y="1"/>
                    </a:moveTo>
                    <a:lnTo>
                      <a:pt x="42" y="0"/>
                    </a:lnTo>
                    <a:lnTo>
                      <a:pt x="47" y="11"/>
                    </a:lnTo>
                    <a:lnTo>
                      <a:pt x="56" y="23"/>
                    </a:lnTo>
                    <a:lnTo>
                      <a:pt x="59" y="27"/>
                    </a:lnTo>
                    <a:lnTo>
                      <a:pt x="60" y="31"/>
                    </a:lnTo>
                    <a:lnTo>
                      <a:pt x="60" y="34"/>
                    </a:lnTo>
                    <a:lnTo>
                      <a:pt x="60" y="38"/>
                    </a:lnTo>
                    <a:lnTo>
                      <a:pt x="60" y="51"/>
                    </a:lnTo>
                    <a:lnTo>
                      <a:pt x="60" y="53"/>
                    </a:lnTo>
                    <a:lnTo>
                      <a:pt x="63" y="51"/>
                    </a:lnTo>
                    <a:lnTo>
                      <a:pt x="62" y="57"/>
                    </a:lnTo>
                    <a:lnTo>
                      <a:pt x="60" y="61"/>
                    </a:lnTo>
                    <a:lnTo>
                      <a:pt x="59" y="67"/>
                    </a:lnTo>
                    <a:lnTo>
                      <a:pt x="56" y="70"/>
                    </a:lnTo>
                    <a:lnTo>
                      <a:pt x="52" y="71"/>
                    </a:lnTo>
                    <a:lnTo>
                      <a:pt x="47" y="71"/>
                    </a:lnTo>
                    <a:lnTo>
                      <a:pt x="43" y="71"/>
                    </a:lnTo>
                    <a:lnTo>
                      <a:pt x="43" y="76"/>
                    </a:lnTo>
                    <a:lnTo>
                      <a:pt x="37" y="74"/>
                    </a:lnTo>
                    <a:lnTo>
                      <a:pt x="34" y="73"/>
                    </a:lnTo>
                    <a:lnTo>
                      <a:pt x="33" y="74"/>
                    </a:lnTo>
                    <a:lnTo>
                      <a:pt x="30" y="74"/>
                    </a:lnTo>
                    <a:lnTo>
                      <a:pt x="30" y="74"/>
                    </a:lnTo>
                    <a:lnTo>
                      <a:pt x="30" y="76"/>
                    </a:lnTo>
                    <a:lnTo>
                      <a:pt x="29" y="76"/>
                    </a:lnTo>
                    <a:lnTo>
                      <a:pt x="30" y="77"/>
                    </a:lnTo>
                    <a:lnTo>
                      <a:pt x="30" y="79"/>
                    </a:lnTo>
                    <a:lnTo>
                      <a:pt x="30" y="79"/>
                    </a:lnTo>
                    <a:lnTo>
                      <a:pt x="29" y="79"/>
                    </a:lnTo>
                    <a:lnTo>
                      <a:pt x="27" y="79"/>
                    </a:lnTo>
                    <a:lnTo>
                      <a:pt x="27" y="77"/>
                    </a:lnTo>
                    <a:lnTo>
                      <a:pt x="26" y="76"/>
                    </a:lnTo>
                    <a:lnTo>
                      <a:pt x="24" y="77"/>
                    </a:lnTo>
                    <a:lnTo>
                      <a:pt x="24" y="79"/>
                    </a:lnTo>
                    <a:lnTo>
                      <a:pt x="26" y="80"/>
                    </a:lnTo>
                    <a:lnTo>
                      <a:pt x="24" y="82"/>
                    </a:lnTo>
                    <a:lnTo>
                      <a:pt x="24" y="83"/>
                    </a:lnTo>
                    <a:lnTo>
                      <a:pt x="23" y="84"/>
                    </a:lnTo>
                    <a:lnTo>
                      <a:pt x="21" y="84"/>
                    </a:lnTo>
                    <a:lnTo>
                      <a:pt x="21" y="83"/>
                    </a:lnTo>
                    <a:lnTo>
                      <a:pt x="21" y="82"/>
                    </a:lnTo>
                    <a:lnTo>
                      <a:pt x="21" y="80"/>
                    </a:lnTo>
                    <a:lnTo>
                      <a:pt x="21" y="79"/>
                    </a:lnTo>
                    <a:lnTo>
                      <a:pt x="21" y="79"/>
                    </a:lnTo>
                    <a:lnTo>
                      <a:pt x="17" y="83"/>
                    </a:lnTo>
                    <a:lnTo>
                      <a:pt x="14" y="84"/>
                    </a:lnTo>
                    <a:lnTo>
                      <a:pt x="14" y="84"/>
                    </a:lnTo>
                    <a:lnTo>
                      <a:pt x="14" y="83"/>
                    </a:lnTo>
                    <a:lnTo>
                      <a:pt x="14" y="83"/>
                    </a:lnTo>
                    <a:lnTo>
                      <a:pt x="13" y="83"/>
                    </a:lnTo>
                    <a:lnTo>
                      <a:pt x="13" y="84"/>
                    </a:lnTo>
                    <a:lnTo>
                      <a:pt x="10" y="86"/>
                    </a:lnTo>
                    <a:lnTo>
                      <a:pt x="10" y="86"/>
                    </a:lnTo>
                    <a:lnTo>
                      <a:pt x="9" y="84"/>
                    </a:lnTo>
                    <a:lnTo>
                      <a:pt x="7" y="83"/>
                    </a:lnTo>
                    <a:lnTo>
                      <a:pt x="6" y="80"/>
                    </a:lnTo>
                    <a:lnTo>
                      <a:pt x="6" y="79"/>
                    </a:lnTo>
                    <a:lnTo>
                      <a:pt x="7" y="79"/>
                    </a:lnTo>
                    <a:lnTo>
                      <a:pt x="10" y="79"/>
                    </a:lnTo>
                    <a:lnTo>
                      <a:pt x="9" y="79"/>
                    </a:lnTo>
                    <a:lnTo>
                      <a:pt x="9" y="77"/>
                    </a:lnTo>
                    <a:lnTo>
                      <a:pt x="10" y="77"/>
                    </a:lnTo>
                    <a:lnTo>
                      <a:pt x="10" y="77"/>
                    </a:lnTo>
                    <a:lnTo>
                      <a:pt x="9" y="77"/>
                    </a:lnTo>
                    <a:lnTo>
                      <a:pt x="7" y="76"/>
                    </a:lnTo>
                    <a:lnTo>
                      <a:pt x="6" y="73"/>
                    </a:lnTo>
                    <a:lnTo>
                      <a:pt x="6" y="70"/>
                    </a:lnTo>
                    <a:lnTo>
                      <a:pt x="6" y="69"/>
                    </a:lnTo>
                    <a:lnTo>
                      <a:pt x="7" y="66"/>
                    </a:lnTo>
                    <a:lnTo>
                      <a:pt x="9" y="63"/>
                    </a:lnTo>
                    <a:lnTo>
                      <a:pt x="11" y="61"/>
                    </a:lnTo>
                    <a:lnTo>
                      <a:pt x="9" y="61"/>
                    </a:lnTo>
                    <a:lnTo>
                      <a:pt x="9" y="60"/>
                    </a:lnTo>
                    <a:lnTo>
                      <a:pt x="11" y="59"/>
                    </a:lnTo>
                    <a:lnTo>
                      <a:pt x="13" y="57"/>
                    </a:lnTo>
                    <a:lnTo>
                      <a:pt x="13" y="56"/>
                    </a:lnTo>
                    <a:lnTo>
                      <a:pt x="13" y="56"/>
                    </a:lnTo>
                    <a:lnTo>
                      <a:pt x="11" y="54"/>
                    </a:lnTo>
                    <a:lnTo>
                      <a:pt x="10" y="51"/>
                    </a:lnTo>
                    <a:lnTo>
                      <a:pt x="10" y="47"/>
                    </a:lnTo>
                    <a:lnTo>
                      <a:pt x="9" y="38"/>
                    </a:lnTo>
                    <a:lnTo>
                      <a:pt x="6" y="40"/>
                    </a:lnTo>
                    <a:lnTo>
                      <a:pt x="4" y="38"/>
                    </a:lnTo>
                    <a:lnTo>
                      <a:pt x="4" y="37"/>
                    </a:lnTo>
                    <a:lnTo>
                      <a:pt x="6" y="34"/>
                    </a:lnTo>
                    <a:lnTo>
                      <a:pt x="9" y="33"/>
                    </a:lnTo>
                    <a:lnTo>
                      <a:pt x="11" y="33"/>
                    </a:lnTo>
                    <a:lnTo>
                      <a:pt x="14" y="34"/>
                    </a:lnTo>
                    <a:lnTo>
                      <a:pt x="16" y="37"/>
                    </a:lnTo>
                    <a:lnTo>
                      <a:pt x="17" y="36"/>
                    </a:lnTo>
                    <a:lnTo>
                      <a:pt x="17" y="34"/>
                    </a:lnTo>
                    <a:lnTo>
                      <a:pt x="16" y="34"/>
                    </a:lnTo>
                    <a:lnTo>
                      <a:pt x="16" y="33"/>
                    </a:lnTo>
                    <a:lnTo>
                      <a:pt x="14" y="31"/>
                    </a:lnTo>
                    <a:lnTo>
                      <a:pt x="14" y="30"/>
                    </a:lnTo>
                    <a:lnTo>
                      <a:pt x="14" y="28"/>
                    </a:lnTo>
                    <a:lnTo>
                      <a:pt x="14" y="27"/>
                    </a:lnTo>
                    <a:lnTo>
                      <a:pt x="11" y="21"/>
                    </a:lnTo>
                    <a:lnTo>
                      <a:pt x="10" y="20"/>
                    </a:lnTo>
                    <a:lnTo>
                      <a:pt x="11" y="17"/>
                    </a:lnTo>
                    <a:lnTo>
                      <a:pt x="14" y="13"/>
                    </a:lnTo>
                    <a:lnTo>
                      <a:pt x="17" y="8"/>
                    </a:lnTo>
                    <a:lnTo>
                      <a:pt x="21" y="7"/>
                    </a:lnTo>
                    <a:lnTo>
                      <a:pt x="27" y="7"/>
                    </a:lnTo>
                    <a:lnTo>
                      <a:pt x="34" y="7"/>
                    </a:lnTo>
                    <a:lnTo>
                      <a:pt x="36" y="7"/>
                    </a:lnTo>
                    <a:lnTo>
                      <a:pt x="39" y="5"/>
                    </a:lnTo>
                    <a:lnTo>
                      <a:pt x="39" y="4"/>
                    </a:lnTo>
                    <a:lnTo>
                      <a:pt x="40" y="1"/>
                    </a:lnTo>
                    <a:close/>
                    <a:moveTo>
                      <a:pt x="44" y="74"/>
                    </a:moveTo>
                    <a:lnTo>
                      <a:pt x="44" y="77"/>
                    </a:lnTo>
                    <a:lnTo>
                      <a:pt x="46" y="79"/>
                    </a:lnTo>
                    <a:lnTo>
                      <a:pt x="49" y="77"/>
                    </a:lnTo>
                    <a:lnTo>
                      <a:pt x="47" y="73"/>
                    </a:lnTo>
                    <a:lnTo>
                      <a:pt x="44" y="74"/>
                    </a:lnTo>
                    <a:close/>
                    <a:moveTo>
                      <a:pt x="9" y="20"/>
                    </a:moveTo>
                    <a:lnTo>
                      <a:pt x="9" y="21"/>
                    </a:lnTo>
                    <a:lnTo>
                      <a:pt x="10" y="18"/>
                    </a:lnTo>
                    <a:lnTo>
                      <a:pt x="9" y="17"/>
                    </a:lnTo>
                    <a:lnTo>
                      <a:pt x="9" y="17"/>
                    </a:lnTo>
                    <a:lnTo>
                      <a:pt x="7" y="17"/>
                    </a:lnTo>
                    <a:lnTo>
                      <a:pt x="7" y="18"/>
                    </a:lnTo>
                    <a:lnTo>
                      <a:pt x="7" y="20"/>
                    </a:lnTo>
                    <a:lnTo>
                      <a:pt x="9" y="20"/>
                    </a:lnTo>
                    <a:close/>
                    <a:moveTo>
                      <a:pt x="7" y="44"/>
                    </a:moveTo>
                    <a:lnTo>
                      <a:pt x="7" y="43"/>
                    </a:lnTo>
                    <a:lnTo>
                      <a:pt x="7" y="43"/>
                    </a:lnTo>
                    <a:lnTo>
                      <a:pt x="7" y="41"/>
                    </a:lnTo>
                    <a:lnTo>
                      <a:pt x="6" y="41"/>
                    </a:lnTo>
                    <a:lnTo>
                      <a:pt x="6" y="41"/>
                    </a:lnTo>
                    <a:lnTo>
                      <a:pt x="6" y="43"/>
                    </a:lnTo>
                    <a:lnTo>
                      <a:pt x="7" y="44"/>
                    </a:lnTo>
                    <a:lnTo>
                      <a:pt x="7" y="44"/>
                    </a:lnTo>
                    <a:close/>
                    <a:moveTo>
                      <a:pt x="13" y="87"/>
                    </a:moveTo>
                    <a:lnTo>
                      <a:pt x="14" y="87"/>
                    </a:lnTo>
                    <a:lnTo>
                      <a:pt x="13" y="86"/>
                    </a:lnTo>
                    <a:lnTo>
                      <a:pt x="13" y="86"/>
                    </a:lnTo>
                    <a:lnTo>
                      <a:pt x="13" y="86"/>
                    </a:lnTo>
                    <a:lnTo>
                      <a:pt x="11" y="86"/>
                    </a:lnTo>
                    <a:lnTo>
                      <a:pt x="11" y="86"/>
                    </a:lnTo>
                    <a:lnTo>
                      <a:pt x="11" y="87"/>
                    </a:lnTo>
                    <a:lnTo>
                      <a:pt x="13" y="87"/>
                    </a:lnTo>
                    <a:close/>
                    <a:moveTo>
                      <a:pt x="4" y="105"/>
                    </a:moveTo>
                    <a:lnTo>
                      <a:pt x="4" y="109"/>
                    </a:lnTo>
                    <a:lnTo>
                      <a:pt x="6" y="109"/>
                    </a:lnTo>
                    <a:lnTo>
                      <a:pt x="10" y="109"/>
                    </a:lnTo>
                    <a:lnTo>
                      <a:pt x="14" y="107"/>
                    </a:lnTo>
                    <a:lnTo>
                      <a:pt x="17" y="105"/>
                    </a:lnTo>
                    <a:lnTo>
                      <a:pt x="13" y="102"/>
                    </a:lnTo>
                    <a:lnTo>
                      <a:pt x="9" y="103"/>
                    </a:lnTo>
                    <a:lnTo>
                      <a:pt x="4" y="105"/>
                    </a:lnTo>
                    <a:close/>
                    <a:moveTo>
                      <a:pt x="36" y="79"/>
                    </a:moveTo>
                    <a:lnTo>
                      <a:pt x="36" y="79"/>
                    </a:lnTo>
                    <a:lnTo>
                      <a:pt x="36" y="79"/>
                    </a:lnTo>
                    <a:lnTo>
                      <a:pt x="36" y="77"/>
                    </a:lnTo>
                    <a:lnTo>
                      <a:pt x="34" y="74"/>
                    </a:lnTo>
                    <a:lnTo>
                      <a:pt x="33" y="76"/>
                    </a:lnTo>
                    <a:lnTo>
                      <a:pt x="33" y="77"/>
                    </a:lnTo>
                    <a:lnTo>
                      <a:pt x="34" y="77"/>
                    </a:lnTo>
                    <a:lnTo>
                      <a:pt x="36" y="79"/>
                    </a:lnTo>
                    <a:close/>
                    <a:moveTo>
                      <a:pt x="31" y="80"/>
                    </a:moveTo>
                    <a:lnTo>
                      <a:pt x="31" y="80"/>
                    </a:lnTo>
                    <a:lnTo>
                      <a:pt x="31" y="82"/>
                    </a:lnTo>
                    <a:lnTo>
                      <a:pt x="31" y="82"/>
                    </a:lnTo>
                    <a:lnTo>
                      <a:pt x="31" y="80"/>
                    </a:lnTo>
                    <a:close/>
                    <a:moveTo>
                      <a:pt x="3" y="76"/>
                    </a:moveTo>
                    <a:lnTo>
                      <a:pt x="1" y="76"/>
                    </a:lnTo>
                    <a:lnTo>
                      <a:pt x="0" y="76"/>
                    </a:lnTo>
                    <a:lnTo>
                      <a:pt x="1" y="79"/>
                    </a:lnTo>
                    <a:lnTo>
                      <a:pt x="3" y="79"/>
                    </a:lnTo>
                    <a:lnTo>
                      <a:pt x="3" y="79"/>
                    </a:lnTo>
                    <a:lnTo>
                      <a:pt x="3" y="77"/>
                    </a:lnTo>
                    <a:lnTo>
                      <a:pt x="3" y="76"/>
                    </a:lnTo>
                    <a:close/>
                    <a:moveTo>
                      <a:pt x="4" y="83"/>
                    </a:moveTo>
                    <a:lnTo>
                      <a:pt x="3" y="83"/>
                    </a:lnTo>
                    <a:lnTo>
                      <a:pt x="3" y="84"/>
                    </a:lnTo>
                    <a:lnTo>
                      <a:pt x="3" y="86"/>
                    </a:lnTo>
                    <a:lnTo>
                      <a:pt x="4" y="86"/>
                    </a:lnTo>
                    <a:lnTo>
                      <a:pt x="6" y="84"/>
                    </a:lnTo>
                    <a:lnTo>
                      <a:pt x="7" y="83"/>
                    </a:lnTo>
                    <a:lnTo>
                      <a:pt x="6" y="83"/>
                    </a:lnTo>
                    <a:lnTo>
                      <a:pt x="4" y="83"/>
                    </a:lnTo>
                    <a:close/>
                    <a:moveTo>
                      <a:pt x="85" y="23"/>
                    </a:moveTo>
                    <a:lnTo>
                      <a:pt x="86" y="23"/>
                    </a:lnTo>
                    <a:lnTo>
                      <a:pt x="88" y="23"/>
                    </a:lnTo>
                    <a:lnTo>
                      <a:pt x="85" y="23"/>
                    </a:lnTo>
                    <a:lnTo>
                      <a:pt x="85" y="2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7" name="Freeform 143">
                <a:extLst>
                  <a:ext uri="{FF2B5EF4-FFF2-40B4-BE49-F238E27FC236}">
                    <a16:creationId xmlns:a16="http://schemas.microsoft.com/office/drawing/2014/main" id="{CA809D54-B264-EB8F-6102-002E1AB8EBE0}"/>
                  </a:ext>
                </a:extLst>
              </p:cNvPr>
              <p:cNvSpPr>
                <a:spLocks noEditPoints="1"/>
              </p:cNvSpPr>
              <p:nvPr/>
            </p:nvSpPr>
            <p:spPr bwMode="auto">
              <a:xfrm>
                <a:off x="8773520" y="2847212"/>
                <a:ext cx="562478" cy="627547"/>
              </a:xfrm>
              <a:custGeom>
                <a:avLst/>
                <a:gdLst>
                  <a:gd name="T0" fmla="*/ 288 w 389"/>
                  <a:gd name="T1" fmla="*/ 90 h 434"/>
                  <a:gd name="T2" fmla="*/ 293 w 389"/>
                  <a:gd name="T3" fmla="*/ 70 h 434"/>
                  <a:gd name="T4" fmla="*/ 324 w 389"/>
                  <a:gd name="T5" fmla="*/ 69 h 434"/>
                  <a:gd name="T6" fmla="*/ 360 w 389"/>
                  <a:gd name="T7" fmla="*/ 57 h 434"/>
                  <a:gd name="T8" fmla="*/ 383 w 389"/>
                  <a:gd name="T9" fmla="*/ 50 h 434"/>
                  <a:gd name="T10" fmla="*/ 350 w 389"/>
                  <a:gd name="T11" fmla="*/ 28 h 434"/>
                  <a:gd name="T12" fmla="*/ 317 w 389"/>
                  <a:gd name="T13" fmla="*/ 20 h 434"/>
                  <a:gd name="T14" fmla="*/ 294 w 389"/>
                  <a:gd name="T15" fmla="*/ 49 h 434"/>
                  <a:gd name="T16" fmla="*/ 303 w 389"/>
                  <a:gd name="T17" fmla="*/ 0 h 434"/>
                  <a:gd name="T18" fmla="*/ 261 w 389"/>
                  <a:gd name="T19" fmla="*/ 165 h 434"/>
                  <a:gd name="T20" fmla="*/ 96 w 389"/>
                  <a:gd name="T21" fmla="*/ 356 h 434"/>
                  <a:gd name="T22" fmla="*/ 117 w 389"/>
                  <a:gd name="T23" fmla="*/ 276 h 434"/>
                  <a:gd name="T24" fmla="*/ 186 w 389"/>
                  <a:gd name="T25" fmla="*/ 234 h 434"/>
                  <a:gd name="T26" fmla="*/ 198 w 389"/>
                  <a:gd name="T27" fmla="*/ 234 h 434"/>
                  <a:gd name="T28" fmla="*/ 156 w 389"/>
                  <a:gd name="T29" fmla="*/ 251 h 434"/>
                  <a:gd name="T30" fmla="*/ 176 w 389"/>
                  <a:gd name="T31" fmla="*/ 240 h 434"/>
                  <a:gd name="T32" fmla="*/ 191 w 389"/>
                  <a:gd name="T33" fmla="*/ 250 h 434"/>
                  <a:gd name="T34" fmla="*/ 158 w 389"/>
                  <a:gd name="T35" fmla="*/ 268 h 434"/>
                  <a:gd name="T36" fmla="*/ 153 w 389"/>
                  <a:gd name="T37" fmla="*/ 257 h 434"/>
                  <a:gd name="T38" fmla="*/ 93 w 389"/>
                  <a:gd name="T39" fmla="*/ 363 h 434"/>
                  <a:gd name="T40" fmla="*/ 1 w 389"/>
                  <a:gd name="T41" fmla="*/ 431 h 434"/>
                  <a:gd name="T42" fmla="*/ 27 w 389"/>
                  <a:gd name="T43" fmla="*/ 424 h 434"/>
                  <a:gd name="T44" fmla="*/ 102 w 389"/>
                  <a:gd name="T45" fmla="*/ 355 h 434"/>
                  <a:gd name="T46" fmla="*/ 106 w 389"/>
                  <a:gd name="T47" fmla="*/ 248 h 434"/>
                  <a:gd name="T48" fmla="*/ 123 w 389"/>
                  <a:gd name="T49" fmla="*/ 245 h 434"/>
                  <a:gd name="T50" fmla="*/ 143 w 389"/>
                  <a:gd name="T51" fmla="*/ 263 h 434"/>
                  <a:gd name="T52" fmla="*/ 133 w 389"/>
                  <a:gd name="T53" fmla="*/ 294 h 434"/>
                  <a:gd name="T54" fmla="*/ 123 w 389"/>
                  <a:gd name="T55" fmla="*/ 300 h 434"/>
                  <a:gd name="T56" fmla="*/ 115 w 389"/>
                  <a:gd name="T57" fmla="*/ 296 h 434"/>
                  <a:gd name="T58" fmla="*/ 117 w 389"/>
                  <a:gd name="T59" fmla="*/ 263 h 434"/>
                  <a:gd name="T60" fmla="*/ 110 w 389"/>
                  <a:gd name="T61" fmla="*/ 270 h 434"/>
                  <a:gd name="T62" fmla="*/ 106 w 389"/>
                  <a:gd name="T63" fmla="*/ 263 h 434"/>
                  <a:gd name="T64" fmla="*/ 204 w 389"/>
                  <a:gd name="T65" fmla="*/ 212 h 434"/>
                  <a:gd name="T66" fmla="*/ 217 w 389"/>
                  <a:gd name="T67" fmla="*/ 204 h 434"/>
                  <a:gd name="T68" fmla="*/ 234 w 389"/>
                  <a:gd name="T69" fmla="*/ 179 h 434"/>
                  <a:gd name="T70" fmla="*/ 257 w 389"/>
                  <a:gd name="T71" fmla="*/ 179 h 434"/>
                  <a:gd name="T72" fmla="*/ 287 w 389"/>
                  <a:gd name="T73" fmla="*/ 135 h 434"/>
                  <a:gd name="T74" fmla="*/ 287 w 389"/>
                  <a:gd name="T75" fmla="*/ 106 h 434"/>
                  <a:gd name="T76" fmla="*/ 301 w 389"/>
                  <a:gd name="T77" fmla="*/ 103 h 434"/>
                  <a:gd name="T78" fmla="*/ 300 w 389"/>
                  <a:gd name="T79" fmla="*/ 95 h 434"/>
                  <a:gd name="T80" fmla="*/ 316 w 389"/>
                  <a:gd name="T81" fmla="*/ 113 h 434"/>
                  <a:gd name="T82" fmla="*/ 313 w 389"/>
                  <a:gd name="T83" fmla="*/ 153 h 434"/>
                  <a:gd name="T84" fmla="*/ 297 w 389"/>
                  <a:gd name="T85" fmla="*/ 198 h 434"/>
                  <a:gd name="T86" fmla="*/ 285 w 389"/>
                  <a:gd name="T87" fmla="*/ 227 h 434"/>
                  <a:gd name="T88" fmla="*/ 283 w 389"/>
                  <a:gd name="T89" fmla="*/ 212 h 434"/>
                  <a:gd name="T90" fmla="*/ 264 w 389"/>
                  <a:gd name="T91" fmla="*/ 230 h 434"/>
                  <a:gd name="T92" fmla="*/ 238 w 389"/>
                  <a:gd name="T93" fmla="*/ 230 h 434"/>
                  <a:gd name="T94" fmla="*/ 228 w 389"/>
                  <a:gd name="T95" fmla="*/ 225 h 434"/>
                  <a:gd name="T96" fmla="*/ 209 w 389"/>
                  <a:gd name="T97" fmla="*/ 254 h 434"/>
                  <a:gd name="T98" fmla="*/ 204 w 389"/>
                  <a:gd name="T99" fmla="*/ 231 h 434"/>
                  <a:gd name="T100" fmla="*/ 148 w 389"/>
                  <a:gd name="T101" fmla="*/ 245 h 434"/>
                  <a:gd name="T102" fmla="*/ 129 w 389"/>
                  <a:gd name="T103" fmla="*/ 237 h 434"/>
                  <a:gd name="T104" fmla="*/ 171 w 389"/>
                  <a:gd name="T105" fmla="*/ 199 h 434"/>
                  <a:gd name="T106" fmla="*/ 93 w 389"/>
                  <a:gd name="T107" fmla="*/ 266 h 434"/>
                  <a:gd name="T108" fmla="*/ 99 w 389"/>
                  <a:gd name="T109" fmla="*/ 261 h 434"/>
                  <a:gd name="T110" fmla="*/ 74 w 389"/>
                  <a:gd name="T111" fmla="*/ 388 h 434"/>
                  <a:gd name="T112" fmla="*/ 80 w 389"/>
                  <a:gd name="T113" fmla="*/ 382 h 434"/>
                  <a:gd name="T114" fmla="*/ 105 w 389"/>
                  <a:gd name="T115" fmla="*/ 290 h 434"/>
                  <a:gd name="T116" fmla="*/ 115 w 389"/>
                  <a:gd name="T117" fmla="*/ 277 h 434"/>
                  <a:gd name="T118" fmla="*/ 129 w 389"/>
                  <a:gd name="T119" fmla="*/ 309 h 434"/>
                  <a:gd name="T120" fmla="*/ 284 w 389"/>
                  <a:gd name="T121" fmla="*/ 263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9" h="434">
                    <a:moveTo>
                      <a:pt x="278" y="76"/>
                    </a:moveTo>
                    <a:lnTo>
                      <a:pt x="277" y="76"/>
                    </a:lnTo>
                    <a:lnTo>
                      <a:pt x="277" y="74"/>
                    </a:lnTo>
                    <a:lnTo>
                      <a:pt x="278" y="73"/>
                    </a:lnTo>
                    <a:lnTo>
                      <a:pt x="278" y="76"/>
                    </a:lnTo>
                    <a:close/>
                    <a:moveTo>
                      <a:pt x="284" y="64"/>
                    </a:moveTo>
                    <a:lnTo>
                      <a:pt x="283" y="70"/>
                    </a:lnTo>
                    <a:lnTo>
                      <a:pt x="284" y="73"/>
                    </a:lnTo>
                    <a:lnTo>
                      <a:pt x="287" y="77"/>
                    </a:lnTo>
                    <a:lnTo>
                      <a:pt x="288" y="80"/>
                    </a:lnTo>
                    <a:lnTo>
                      <a:pt x="287" y="83"/>
                    </a:lnTo>
                    <a:lnTo>
                      <a:pt x="287" y="86"/>
                    </a:lnTo>
                    <a:lnTo>
                      <a:pt x="287" y="89"/>
                    </a:lnTo>
                    <a:lnTo>
                      <a:pt x="288" y="90"/>
                    </a:lnTo>
                    <a:lnTo>
                      <a:pt x="290" y="90"/>
                    </a:lnTo>
                    <a:lnTo>
                      <a:pt x="293" y="89"/>
                    </a:lnTo>
                    <a:lnTo>
                      <a:pt x="296" y="84"/>
                    </a:lnTo>
                    <a:lnTo>
                      <a:pt x="298" y="83"/>
                    </a:lnTo>
                    <a:lnTo>
                      <a:pt x="304" y="84"/>
                    </a:lnTo>
                    <a:lnTo>
                      <a:pt x="307" y="83"/>
                    </a:lnTo>
                    <a:lnTo>
                      <a:pt x="306" y="82"/>
                    </a:lnTo>
                    <a:lnTo>
                      <a:pt x="300" y="77"/>
                    </a:lnTo>
                    <a:lnTo>
                      <a:pt x="298" y="77"/>
                    </a:lnTo>
                    <a:lnTo>
                      <a:pt x="298" y="76"/>
                    </a:lnTo>
                    <a:lnTo>
                      <a:pt x="296" y="76"/>
                    </a:lnTo>
                    <a:lnTo>
                      <a:pt x="294" y="74"/>
                    </a:lnTo>
                    <a:lnTo>
                      <a:pt x="293" y="72"/>
                    </a:lnTo>
                    <a:lnTo>
                      <a:pt x="293" y="70"/>
                    </a:lnTo>
                    <a:lnTo>
                      <a:pt x="293" y="67"/>
                    </a:lnTo>
                    <a:lnTo>
                      <a:pt x="296" y="66"/>
                    </a:lnTo>
                    <a:lnTo>
                      <a:pt x="298" y="67"/>
                    </a:lnTo>
                    <a:lnTo>
                      <a:pt x="301" y="69"/>
                    </a:lnTo>
                    <a:lnTo>
                      <a:pt x="303" y="70"/>
                    </a:lnTo>
                    <a:lnTo>
                      <a:pt x="304" y="70"/>
                    </a:lnTo>
                    <a:lnTo>
                      <a:pt x="307" y="69"/>
                    </a:lnTo>
                    <a:lnTo>
                      <a:pt x="308" y="67"/>
                    </a:lnTo>
                    <a:lnTo>
                      <a:pt x="310" y="67"/>
                    </a:lnTo>
                    <a:lnTo>
                      <a:pt x="311" y="66"/>
                    </a:lnTo>
                    <a:lnTo>
                      <a:pt x="314" y="66"/>
                    </a:lnTo>
                    <a:lnTo>
                      <a:pt x="316" y="66"/>
                    </a:lnTo>
                    <a:lnTo>
                      <a:pt x="319" y="66"/>
                    </a:lnTo>
                    <a:lnTo>
                      <a:pt x="324" y="69"/>
                    </a:lnTo>
                    <a:lnTo>
                      <a:pt x="331" y="73"/>
                    </a:lnTo>
                    <a:lnTo>
                      <a:pt x="339" y="77"/>
                    </a:lnTo>
                    <a:lnTo>
                      <a:pt x="344" y="77"/>
                    </a:lnTo>
                    <a:lnTo>
                      <a:pt x="344" y="76"/>
                    </a:lnTo>
                    <a:lnTo>
                      <a:pt x="344" y="74"/>
                    </a:lnTo>
                    <a:lnTo>
                      <a:pt x="346" y="73"/>
                    </a:lnTo>
                    <a:lnTo>
                      <a:pt x="346" y="72"/>
                    </a:lnTo>
                    <a:lnTo>
                      <a:pt x="346" y="70"/>
                    </a:lnTo>
                    <a:lnTo>
                      <a:pt x="347" y="69"/>
                    </a:lnTo>
                    <a:lnTo>
                      <a:pt x="349" y="66"/>
                    </a:lnTo>
                    <a:lnTo>
                      <a:pt x="352" y="63"/>
                    </a:lnTo>
                    <a:lnTo>
                      <a:pt x="354" y="60"/>
                    </a:lnTo>
                    <a:lnTo>
                      <a:pt x="357" y="59"/>
                    </a:lnTo>
                    <a:lnTo>
                      <a:pt x="360" y="57"/>
                    </a:lnTo>
                    <a:lnTo>
                      <a:pt x="362" y="57"/>
                    </a:lnTo>
                    <a:lnTo>
                      <a:pt x="366" y="57"/>
                    </a:lnTo>
                    <a:lnTo>
                      <a:pt x="369" y="57"/>
                    </a:lnTo>
                    <a:lnTo>
                      <a:pt x="370" y="57"/>
                    </a:lnTo>
                    <a:lnTo>
                      <a:pt x="373" y="56"/>
                    </a:lnTo>
                    <a:lnTo>
                      <a:pt x="376" y="54"/>
                    </a:lnTo>
                    <a:lnTo>
                      <a:pt x="379" y="53"/>
                    </a:lnTo>
                    <a:lnTo>
                      <a:pt x="382" y="53"/>
                    </a:lnTo>
                    <a:lnTo>
                      <a:pt x="383" y="53"/>
                    </a:lnTo>
                    <a:lnTo>
                      <a:pt x="385" y="51"/>
                    </a:lnTo>
                    <a:lnTo>
                      <a:pt x="387" y="49"/>
                    </a:lnTo>
                    <a:lnTo>
                      <a:pt x="389" y="47"/>
                    </a:lnTo>
                    <a:lnTo>
                      <a:pt x="386" y="47"/>
                    </a:lnTo>
                    <a:lnTo>
                      <a:pt x="383" y="50"/>
                    </a:lnTo>
                    <a:lnTo>
                      <a:pt x="380" y="50"/>
                    </a:lnTo>
                    <a:lnTo>
                      <a:pt x="376" y="40"/>
                    </a:lnTo>
                    <a:lnTo>
                      <a:pt x="376" y="39"/>
                    </a:lnTo>
                    <a:lnTo>
                      <a:pt x="377" y="34"/>
                    </a:lnTo>
                    <a:lnTo>
                      <a:pt x="380" y="30"/>
                    </a:lnTo>
                    <a:lnTo>
                      <a:pt x="380" y="26"/>
                    </a:lnTo>
                    <a:lnTo>
                      <a:pt x="379" y="27"/>
                    </a:lnTo>
                    <a:lnTo>
                      <a:pt x="375" y="33"/>
                    </a:lnTo>
                    <a:lnTo>
                      <a:pt x="372" y="34"/>
                    </a:lnTo>
                    <a:lnTo>
                      <a:pt x="369" y="36"/>
                    </a:lnTo>
                    <a:lnTo>
                      <a:pt x="366" y="34"/>
                    </a:lnTo>
                    <a:lnTo>
                      <a:pt x="360" y="33"/>
                    </a:lnTo>
                    <a:lnTo>
                      <a:pt x="353" y="30"/>
                    </a:lnTo>
                    <a:lnTo>
                      <a:pt x="350" y="28"/>
                    </a:lnTo>
                    <a:lnTo>
                      <a:pt x="346" y="26"/>
                    </a:lnTo>
                    <a:lnTo>
                      <a:pt x="340" y="21"/>
                    </a:lnTo>
                    <a:lnTo>
                      <a:pt x="336" y="17"/>
                    </a:lnTo>
                    <a:lnTo>
                      <a:pt x="323" y="1"/>
                    </a:lnTo>
                    <a:lnTo>
                      <a:pt x="321" y="0"/>
                    </a:lnTo>
                    <a:lnTo>
                      <a:pt x="320" y="0"/>
                    </a:lnTo>
                    <a:lnTo>
                      <a:pt x="317" y="1"/>
                    </a:lnTo>
                    <a:lnTo>
                      <a:pt x="316" y="3"/>
                    </a:lnTo>
                    <a:lnTo>
                      <a:pt x="316" y="3"/>
                    </a:lnTo>
                    <a:lnTo>
                      <a:pt x="314" y="5"/>
                    </a:lnTo>
                    <a:lnTo>
                      <a:pt x="314" y="7"/>
                    </a:lnTo>
                    <a:lnTo>
                      <a:pt x="314" y="10"/>
                    </a:lnTo>
                    <a:lnTo>
                      <a:pt x="317" y="16"/>
                    </a:lnTo>
                    <a:lnTo>
                      <a:pt x="317" y="20"/>
                    </a:lnTo>
                    <a:lnTo>
                      <a:pt x="317" y="23"/>
                    </a:lnTo>
                    <a:lnTo>
                      <a:pt x="316" y="31"/>
                    </a:lnTo>
                    <a:lnTo>
                      <a:pt x="314" y="34"/>
                    </a:lnTo>
                    <a:lnTo>
                      <a:pt x="311" y="40"/>
                    </a:lnTo>
                    <a:lnTo>
                      <a:pt x="311" y="41"/>
                    </a:lnTo>
                    <a:lnTo>
                      <a:pt x="311" y="44"/>
                    </a:lnTo>
                    <a:lnTo>
                      <a:pt x="311" y="47"/>
                    </a:lnTo>
                    <a:lnTo>
                      <a:pt x="310" y="50"/>
                    </a:lnTo>
                    <a:lnTo>
                      <a:pt x="308" y="51"/>
                    </a:lnTo>
                    <a:lnTo>
                      <a:pt x="306" y="53"/>
                    </a:lnTo>
                    <a:lnTo>
                      <a:pt x="303" y="51"/>
                    </a:lnTo>
                    <a:lnTo>
                      <a:pt x="298" y="50"/>
                    </a:lnTo>
                    <a:lnTo>
                      <a:pt x="296" y="49"/>
                    </a:lnTo>
                    <a:lnTo>
                      <a:pt x="294" y="49"/>
                    </a:lnTo>
                    <a:lnTo>
                      <a:pt x="293" y="50"/>
                    </a:lnTo>
                    <a:lnTo>
                      <a:pt x="293" y="51"/>
                    </a:lnTo>
                    <a:lnTo>
                      <a:pt x="294" y="53"/>
                    </a:lnTo>
                    <a:lnTo>
                      <a:pt x="294" y="54"/>
                    </a:lnTo>
                    <a:lnTo>
                      <a:pt x="296" y="54"/>
                    </a:lnTo>
                    <a:lnTo>
                      <a:pt x="293" y="60"/>
                    </a:lnTo>
                    <a:lnTo>
                      <a:pt x="284" y="64"/>
                    </a:lnTo>
                    <a:close/>
                    <a:moveTo>
                      <a:pt x="304" y="4"/>
                    </a:moveTo>
                    <a:lnTo>
                      <a:pt x="304" y="4"/>
                    </a:lnTo>
                    <a:lnTo>
                      <a:pt x="306" y="3"/>
                    </a:lnTo>
                    <a:lnTo>
                      <a:pt x="306" y="1"/>
                    </a:lnTo>
                    <a:lnTo>
                      <a:pt x="306" y="1"/>
                    </a:lnTo>
                    <a:lnTo>
                      <a:pt x="304" y="0"/>
                    </a:lnTo>
                    <a:lnTo>
                      <a:pt x="303" y="0"/>
                    </a:lnTo>
                    <a:lnTo>
                      <a:pt x="303" y="1"/>
                    </a:lnTo>
                    <a:lnTo>
                      <a:pt x="304" y="3"/>
                    </a:lnTo>
                    <a:lnTo>
                      <a:pt x="304" y="4"/>
                    </a:lnTo>
                    <a:close/>
                    <a:moveTo>
                      <a:pt x="308" y="5"/>
                    </a:moveTo>
                    <a:lnTo>
                      <a:pt x="307" y="7"/>
                    </a:lnTo>
                    <a:lnTo>
                      <a:pt x="307" y="8"/>
                    </a:lnTo>
                    <a:lnTo>
                      <a:pt x="310" y="7"/>
                    </a:lnTo>
                    <a:lnTo>
                      <a:pt x="308" y="5"/>
                    </a:lnTo>
                    <a:close/>
                    <a:moveTo>
                      <a:pt x="257" y="165"/>
                    </a:moveTo>
                    <a:lnTo>
                      <a:pt x="255" y="166"/>
                    </a:lnTo>
                    <a:lnTo>
                      <a:pt x="255" y="166"/>
                    </a:lnTo>
                    <a:lnTo>
                      <a:pt x="257" y="166"/>
                    </a:lnTo>
                    <a:lnTo>
                      <a:pt x="260" y="166"/>
                    </a:lnTo>
                    <a:lnTo>
                      <a:pt x="261" y="165"/>
                    </a:lnTo>
                    <a:lnTo>
                      <a:pt x="261" y="162"/>
                    </a:lnTo>
                    <a:lnTo>
                      <a:pt x="260" y="162"/>
                    </a:lnTo>
                    <a:lnTo>
                      <a:pt x="260" y="159"/>
                    </a:lnTo>
                    <a:lnTo>
                      <a:pt x="260" y="158"/>
                    </a:lnTo>
                    <a:lnTo>
                      <a:pt x="260" y="158"/>
                    </a:lnTo>
                    <a:lnTo>
                      <a:pt x="258" y="158"/>
                    </a:lnTo>
                    <a:lnTo>
                      <a:pt x="257" y="161"/>
                    </a:lnTo>
                    <a:lnTo>
                      <a:pt x="255" y="162"/>
                    </a:lnTo>
                    <a:lnTo>
                      <a:pt x="257" y="164"/>
                    </a:lnTo>
                    <a:lnTo>
                      <a:pt x="257" y="165"/>
                    </a:lnTo>
                    <a:lnTo>
                      <a:pt x="257" y="165"/>
                    </a:lnTo>
                    <a:close/>
                    <a:moveTo>
                      <a:pt x="97" y="358"/>
                    </a:moveTo>
                    <a:lnTo>
                      <a:pt x="97" y="356"/>
                    </a:lnTo>
                    <a:lnTo>
                      <a:pt x="96" y="356"/>
                    </a:lnTo>
                    <a:lnTo>
                      <a:pt x="96" y="358"/>
                    </a:lnTo>
                    <a:lnTo>
                      <a:pt x="97" y="358"/>
                    </a:lnTo>
                    <a:lnTo>
                      <a:pt x="97" y="358"/>
                    </a:lnTo>
                    <a:lnTo>
                      <a:pt x="99" y="359"/>
                    </a:lnTo>
                    <a:lnTo>
                      <a:pt x="99" y="358"/>
                    </a:lnTo>
                    <a:lnTo>
                      <a:pt x="97" y="358"/>
                    </a:lnTo>
                    <a:close/>
                    <a:moveTo>
                      <a:pt x="116" y="276"/>
                    </a:moveTo>
                    <a:lnTo>
                      <a:pt x="115" y="274"/>
                    </a:lnTo>
                    <a:lnTo>
                      <a:pt x="116" y="274"/>
                    </a:lnTo>
                    <a:lnTo>
                      <a:pt x="116" y="273"/>
                    </a:lnTo>
                    <a:lnTo>
                      <a:pt x="117" y="273"/>
                    </a:lnTo>
                    <a:lnTo>
                      <a:pt x="119" y="273"/>
                    </a:lnTo>
                    <a:lnTo>
                      <a:pt x="117" y="274"/>
                    </a:lnTo>
                    <a:lnTo>
                      <a:pt x="117" y="276"/>
                    </a:lnTo>
                    <a:lnTo>
                      <a:pt x="116" y="276"/>
                    </a:lnTo>
                    <a:close/>
                    <a:moveTo>
                      <a:pt x="150" y="247"/>
                    </a:moveTo>
                    <a:lnTo>
                      <a:pt x="150" y="247"/>
                    </a:lnTo>
                    <a:lnTo>
                      <a:pt x="149" y="247"/>
                    </a:lnTo>
                    <a:lnTo>
                      <a:pt x="149" y="245"/>
                    </a:lnTo>
                    <a:lnTo>
                      <a:pt x="150" y="245"/>
                    </a:lnTo>
                    <a:lnTo>
                      <a:pt x="153" y="245"/>
                    </a:lnTo>
                    <a:lnTo>
                      <a:pt x="152" y="247"/>
                    </a:lnTo>
                    <a:lnTo>
                      <a:pt x="150" y="247"/>
                    </a:lnTo>
                    <a:close/>
                    <a:moveTo>
                      <a:pt x="185" y="235"/>
                    </a:moveTo>
                    <a:lnTo>
                      <a:pt x="184" y="234"/>
                    </a:lnTo>
                    <a:lnTo>
                      <a:pt x="185" y="234"/>
                    </a:lnTo>
                    <a:lnTo>
                      <a:pt x="185" y="234"/>
                    </a:lnTo>
                    <a:lnTo>
                      <a:pt x="186" y="234"/>
                    </a:lnTo>
                    <a:lnTo>
                      <a:pt x="188" y="234"/>
                    </a:lnTo>
                    <a:lnTo>
                      <a:pt x="186" y="234"/>
                    </a:lnTo>
                    <a:lnTo>
                      <a:pt x="186" y="235"/>
                    </a:lnTo>
                    <a:lnTo>
                      <a:pt x="186" y="235"/>
                    </a:lnTo>
                    <a:lnTo>
                      <a:pt x="185" y="235"/>
                    </a:lnTo>
                    <a:lnTo>
                      <a:pt x="185" y="235"/>
                    </a:lnTo>
                    <a:close/>
                    <a:moveTo>
                      <a:pt x="198" y="234"/>
                    </a:moveTo>
                    <a:lnTo>
                      <a:pt x="196" y="238"/>
                    </a:lnTo>
                    <a:lnTo>
                      <a:pt x="195" y="240"/>
                    </a:lnTo>
                    <a:lnTo>
                      <a:pt x="194" y="240"/>
                    </a:lnTo>
                    <a:lnTo>
                      <a:pt x="194" y="238"/>
                    </a:lnTo>
                    <a:lnTo>
                      <a:pt x="195" y="235"/>
                    </a:lnTo>
                    <a:lnTo>
                      <a:pt x="196" y="234"/>
                    </a:lnTo>
                    <a:lnTo>
                      <a:pt x="198" y="234"/>
                    </a:lnTo>
                    <a:close/>
                    <a:moveTo>
                      <a:pt x="155" y="243"/>
                    </a:moveTo>
                    <a:lnTo>
                      <a:pt x="153" y="243"/>
                    </a:lnTo>
                    <a:lnTo>
                      <a:pt x="153" y="243"/>
                    </a:lnTo>
                    <a:lnTo>
                      <a:pt x="155" y="241"/>
                    </a:lnTo>
                    <a:lnTo>
                      <a:pt x="155" y="241"/>
                    </a:lnTo>
                    <a:lnTo>
                      <a:pt x="155" y="241"/>
                    </a:lnTo>
                    <a:lnTo>
                      <a:pt x="155" y="241"/>
                    </a:lnTo>
                    <a:lnTo>
                      <a:pt x="156" y="241"/>
                    </a:lnTo>
                    <a:lnTo>
                      <a:pt x="156" y="243"/>
                    </a:lnTo>
                    <a:lnTo>
                      <a:pt x="155" y="243"/>
                    </a:lnTo>
                    <a:lnTo>
                      <a:pt x="155" y="243"/>
                    </a:lnTo>
                    <a:close/>
                    <a:moveTo>
                      <a:pt x="149" y="256"/>
                    </a:moveTo>
                    <a:lnTo>
                      <a:pt x="153" y="253"/>
                    </a:lnTo>
                    <a:lnTo>
                      <a:pt x="156" y="251"/>
                    </a:lnTo>
                    <a:lnTo>
                      <a:pt x="158" y="250"/>
                    </a:lnTo>
                    <a:lnTo>
                      <a:pt x="159" y="245"/>
                    </a:lnTo>
                    <a:lnTo>
                      <a:pt x="161" y="244"/>
                    </a:lnTo>
                    <a:lnTo>
                      <a:pt x="162" y="243"/>
                    </a:lnTo>
                    <a:lnTo>
                      <a:pt x="162" y="243"/>
                    </a:lnTo>
                    <a:lnTo>
                      <a:pt x="163" y="244"/>
                    </a:lnTo>
                    <a:lnTo>
                      <a:pt x="163" y="244"/>
                    </a:lnTo>
                    <a:lnTo>
                      <a:pt x="166" y="245"/>
                    </a:lnTo>
                    <a:lnTo>
                      <a:pt x="166" y="245"/>
                    </a:lnTo>
                    <a:lnTo>
                      <a:pt x="171" y="244"/>
                    </a:lnTo>
                    <a:lnTo>
                      <a:pt x="173" y="244"/>
                    </a:lnTo>
                    <a:lnTo>
                      <a:pt x="175" y="243"/>
                    </a:lnTo>
                    <a:lnTo>
                      <a:pt x="173" y="240"/>
                    </a:lnTo>
                    <a:lnTo>
                      <a:pt x="176" y="240"/>
                    </a:lnTo>
                    <a:lnTo>
                      <a:pt x="179" y="237"/>
                    </a:lnTo>
                    <a:lnTo>
                      <a:pt x="182" y="237"/>
                    </a:lnTo>
                    <a:lnTo>
                      <a:pt x="185" y="238"/>
                    </a:lnTo>
                    <a:lnTo>
                      <a:pt x="186" y="238"/>
                    </a:lnTo>
                    <a:lnTo>
                      <a:pt x="189" y="240"/>
                    </a:lnTo>
                    <a:lnTo>
                      <a:pt x="192" y="240"/>
                    </a:lnTo>
                    <a:lnTo>
                      <a:pt x="192" y="243"/>
                    </a:lnTo>
                    <a:lnTo>
                      <a:pt x="192" y="244"/>
                    </a:lnTo>
                    <a:lnTo>
                      <a:pt x="192" y="244"/>
                    </a:lnTo>
                    <a:lnTo>
                      <a:pt x="192" y="245"/>
                    </a:lnTo>
                    <a:lnTo>
                      <a:pt x="192" y="247"/>
                    </a:lnTo>
                    <a:lnTo>
                      <a:pt x="194" y="247"/>
                    </a:lnTo>
                    <a:lnTo>
                      <a:pt x="194" y="248"/>
                    </a:lnTo>
                    <a:lnTo>
                      <a:pt x="191" y="250"/>
                    </a:lnTo>
                    <a:lnTo>
                      <a:pt x="188" y="253"/>
                    </a:lnTo>
                    <a:lnTo>
                      <a:pt x="185" y="256"/>
                    </a:lnTo>
                    <a:lnTo>
                      <a:pt x="184" y="260"/>
                    </a:lnTo>
                    <a:lnTo>
                      <a:pt x="181" y="256"/>
                    </a:lnTo>
                    <a:lnTo>
                      <a:pt x="178" y="254"/>
                    </a:lnTo>
                    <a:lnTo>
                      <a:pt x="175" y="254"/>
                    </a:lnTo>
                    <a:lnTo>
                      <a:pt x="172" y="254"/>
                    </a:lnTo>
                    <a:lnTo>
                      <a:pt x="171" y="256"/>
                    </a:lnTo>
                    <a:lnTo>
                      <a:pt x="169" y="257"/>
                    </a:lnTo>
                    <a:lnTo>
                      <a:pt x="162" y="267"/>
                    </a:lnTo>
                    <a:lnTo>
                      <a:pt x="161" y="268"/>
                    </a:lnTo>
                    <a:lnTo>
                      <a:pt x="159" y="268"/>
                    </a:lnTo>
                    <a:lnTo>
                      <a:pt x="156" y="268"/>
                    </a:lnTo>
                    <a:lnTo>
                      <a:pt x="158" y="268"/>
                    </a:lnTo>
                    <a:lnTo>
                      <a:pt x="158" y="267"/>
                    </a:lnTo>
                    <a:lnTo>
                      <a:pt x="158" y="266"/>
                    </a:lnTo>
                    <a:lnTo>
                      <a:pt x="158" y="266"/>
                    </a:lnTo>
                    <a:lnTo>
                      <a:pt x="155" y="266"/>
                    </a:lnTo>
                    <a:lnTo>
                      <a:pt x="155" y="266"/>
                    </a:lnTo>
                    <a:lnTo>
                      <a:pt x="153" y="264"/>
                    </a:lnTo>
                    <a:lnTo>
                      <a:pt x="153" y="263"/>
                    </a:lnTo>
                    <a:lnTo>
                      <a:pt x="153" y="263"/>
                    </a:lnTo>
                    <a:lnTo>
                      <a:pt x="153" y="261"/>
                    </a:lnTo>
                    <a:lnTo>
                      <a:pt x="155" y="260"/>
                    </a:lnTo>
                    <a:lnTo>
                      <a:pt x="155" y="260"/>
                    </a:lnTo>
                    <a:lnTo>
                      <a:pt x="153" y="258"/>
                    </a:lnTo>
                    <a:lnTo>
                      <a:pt x="153" y="258"/>
                    </a:lnTo>
                    <a:lnTo>
                      <a:pt x="153" y="257"/>
                    </a:lnTo>
                    <a:lnTo>
                      <a:pt x="153" y="256"/>
                    </a:lnTo>
                    <a:lnTo>
                      <a:pt x="150" y="256"/>
                    </a:lnTo>
                    <a:lnTo>
                      <a:pt x="148" y="257"/>
                    </a:lnTo>
                    <a:lnTo>
                      <a:pt x="146" y="257"/>
                    </a:lnTo>
                    <a:lnTo>
                      <a:pt x="149" y="256"/>
                    </a:lnTo>
                    <a:close/>
                    <a:moveTo>
                      <a:pt x="93" y="363"/>
                    </a:moveTo>
                    <a:lnTo>
                      <a:pt x="93" y="365"/>
                    </a:lnTo>
                    <a:lnTo>
                      <a:pt x="93" y="365"/>
                    </a:lnTo>
                    <a:lnTo>
                      <a:pt x="92" y="365"/>
                    </a:lnTo>
                    <a:lnTo>
                      <a:pt x="90" y="365"/>
                    </a:lnTo>
                    <a:lnTo>
                      <a:pt x="90" y="363"/>
                    </a:lnTo>
                    <a:lnTo>
                      <a:pt x="92" y="362"/>
                    </a:lnTo>
                    <a:lnTo>
                      <a:pt x="92" y="362"/>
                    </a:lnTo>
                    <a:lnTo>
                      <a:pt x="93" y="363"/>
                    </a:lnTo>
                    <a:close/>
                    <a:moveTo>
                      <a:pt x="90" y="270"/>
                    </a:moveTo>
                    <a:lnTo>
                      <a:pt x="92" y="271"/>
                    </a:lnTo>
                    <a:lnTo>
                      <a:pt x="89" y="271"/>
                    </a:lnTo>
                    <a:lnTo>
                      <a:pt x="87" y="271"/>
                    </a:lnTo>
                    <a:lnTo>
                      <a:pt x="86" y="271"/>
                    </a:lnTo>
                    <a:lnTo>
                      <a:pt x="87" y="268"/>
                    </a:lnTo>
                    <a:lnTo>
                      <a:pt x="89" y="268"/>
                    </a:lnTo>
                    <a:lnTo>
                      <a:pt x="90" y="268"/>
                    </a:lnTo>
                    <a:lnTo>
                      <a:pt x="90" y="270"/>
                    </a:lnTo>
                    <a:close/>
                    <a:moveTo>
                      <a:pt x="3" y="434"/>
                    </a:moveTo>
                    <a:lnTo>
                      <a:pt x="1" y="434"/>
                    </a:lnTo>
                    <a:lnTo>
                      <a:pt x="0" y="432"/>
                    </a:lnTo>
                    <a:lnTo>
                      <a:pt x="0" y="431"/>
                    </a:lnTo>
                    <a:lnTo>
                      <a:pt x="1" y="431"/>
                    </a:lnTo>
                    <a:lnTo>
                      <a:pt x="3" y="431"/>
                    </a:lnTo>
                    <a:lnTo>
                      <a:pt x="4" y="431"/>
                    </a:lnTo>
                    <a:lnTo>
                      <a:pt x="3" y="432"/>
                    </a:lnTo>
                    <a:lnTo>
                      <a:pt x="3" y="434"/>
                    </a:lnTo>
                    <a:close/>
                    <a:moveTo>
                      <a:pt x="7" y="431"/>
                    </a:moveTo>
                    <a:lnTo>
                      <a:pt x="7" y="429"/>
                    </a:lnTo>
                    <a:lnTo>
                      <a:pt x="7" y="429"/>
                    </a:lnTo>
                    <a:lnTo>
                      <a:pt x="11" y="428"/>
                    </a:lnTo>
                    <a:lnTo>
                      <a:pt x="10" y="431"/>
                    </a:lnTo>
                    <a:lnTo>
                      <a:pt x="8" y="432"/>
                    </a:lnTo>
                    <a:lnTo>
                      <a:pt x="8" y="432"/>
                    </a:lnTo>
                    <a:lnTo>
                      <a:pt x="7" y="431"/>
                    </a:lnTo>
                    <a:lnTo>
                      <a:pt x="7" y="431"/>
                    </a:lnTo>
                    <a:close/>
                    <a:moveTo>
                      <a:pt x="27" y="424"/>
                    </a:moveTo>
                    <a:lnTo>
                      <a:pt x="27" y="424"/>
                    </a:lnTo>
                    <a:lnTo>
                      <a:pt x="27" y="421"/>
                    </a:lnTo>
                    <a:lnTo>
                      <a:pt x="28" y="422"/>
                    </a:lnTo>
                    <a:lnTo>
                      <a:pt x="30" y="424"/>
                    </a:lnTo>
                    <a:lnTo>
                      <a:pt x="28" y="424"/>
                    </a:lnTo>
                    <a:lnTo>
                      <a:pt x="27" y="424"/>
                    </a:lnTo>
                    <a:close/>
                    <a:moveTo>
                      <a:pt x="96" y="355"/>
                    </a:moveTo>
                    <a:lnTo>
                      <a:pt x="100" y="353"/>
                    </a:lnTo>
                    <a:lnTo>
                      <a:pt x="102" y="352"/>
                    </a:lnTo>
                    <a:lnTo>
                      <a:pt x="103" y="350"/>
                    </a:lnTo>
                    <a:lnTo>
                      <a:pt x="105" y="349"/>
                    </a:lnTo>
                    <a:lnTo>
                      <a:pt x="105" y="350"/>
                    </a:lnTo>
                    <a:lnTo>
                      <a:pt x="105" y="352"/>
                    </a:lnTo>
                    <a:lnTo>
                      <a:pt x="102" y="355"/>
                    </a:lnTo>
                    <a:lnTo>
                      <a:pt x="102" y="355"/>
                    </a:lnTo>
                    <a:lnTo>
                      <a:pt x="100" y="356"/>
                    </a:lnTo>
                    <a:lnTo>
                      <a:pt x="100" y="356"/>
                    </a:lnTo>
                    <a:lnTo>
                      <a:pt x="99" y="356"/>
                    </a:lnTo>
                    <a:lnTo>
                      <a:pt x="97" y="356"/>
                    </a:lnTo>
                    <a:lnTo>
                      <a:pt x="97" y="356"/>
                    </a:lnTo>
                    <a:lnTo>
                      <a:pt x="96" y="355"/>
                    </a:lnTo>
                    <a:close/>
                    <a:moveTo>
                      <a:pt x="106" y="250"/>
                    </a:moveTo>
                    <a:lnTo>
                      <a:pt x="105" y="250"/>
                    </a:lnTo>
                    <a:lnTo>
                      <a:pt x="105" y="248"/>
                    </a:lnTo>
                    <a:lnTo>
                      <a:pt x="105" y="248"/>
                    </a:lnTo>
                    <a:lnTo>
                      <a:pt x="105" y="248"/>
                    </a:lnTo>
                    <a:lnTo>
                      <a:pt x="106" y="247"/>
                    </a:lnTo>
                    <a:lnTo>
                      <a:pt x="106" y="248"/>
                    </a:lnTo>
                    <a:lnTo>
                      <a:pt x="106" y="250"/>
                    </a:lnTo>
                    <a:lnTo>
                      <a:pt x="106" y="250"/>
                    </a:lnTo>
                    <a:close/>
                    <a:moveTo>
                      <a:pt x="105" y="257"/>
                    </a:moveTo>
                    <a:lnTo>
                      <a:pt x="106" y="257"/>
                    </a:lnTo>
                    <a:lnTo>
                      <a:pt x="107" y="258"/>
                    </a:lnTo>
                    <a:lnTo>
                      <a:pt x="107" y="256"/>
                    </a:lnTo>
                    <a:lnTo>
                      <a:pt x="109" y="254"/>
                    </a:lnTo>
                    <a:lnTo>
                      <a:pt x="112" y="253"/>
                    </a:lnTo>
                    <a:lnTo>
                      <a:pt x="115" y="251"/>
                    </a:lnTo>
                    <a:lnTo>
                      <a:pt x="116" y="251"/>
                    </a:lnTo>
                    <a:lnTo>
                      <a:pt x="119" y="248"/>
                    </a:lnTo>
                    <a:lnTo>
                      <a:pt x="120" y="247"/>
                    </a:lnTo>
                    <a:lnTo>
                      <a:pt x="122" y="247"/>
                    </a:lnTo>
                    <a:lnTo>
                      <a:pt x="123" y="245"/>
                    </a:lnTo>
                    <a:lnTo>
                      <a:pt x="126" y="247"/>
                    </a:lnTo>
                    <a:lnTo>
                      <a:pt x="132" y="251"/>
                    </a:lnTo>
                    <a:lnTo>
                      <a:pt x="135" y="253"/>
                    </a:lnTo>
                    <a:lnTo>
                      <a:pt x="136" y="253"/>
                    </a:lnTo>
                    <a:lnTo>
                      <a:pt x="138" y="251"/>
                    </a:lnTo>
                    <a:lnTo>
                      <a:pt x="139" y="251"/>
                    </a:lnTo>
                    <a:lnTo>
                      <a:pt x="140" y="253"/>
                    </a:lnTo>
                    <a:lnTo>
                      <a:pt x="140" y="254"/>
                    </a:lnTo>
                    <a:lnTo>
                      <a:pt x="139" y="256"/>
                    </a:lnTo>
                    <a:lnTo>
                      <a:pt x="138" y="258"/>
                    </a:lnTo>
                    <a:lnTo>
                      <a:pt x="140" y="260"/>
                    </a:lnTo>
                    <a:lnTo>
                      <a:pt x="143" y="260"/>
                    </a:lnTo>
                    <a:lnTo>
                      <a:pt x="143" y="261"/>
                    </a:lnTo>
                    <a:lnTo>
                      <a:pt x="143" y="263"/>
                    </a:lnTo>
                    <a:lnTo>
                      <a:pt x="145" y="266"/>
                    </a:lnTo>
                    <a:lnTo>
                      <a:pt x="145" y="267"/>
                    </a:lnTo>
                    <a:lnTo>
                      <a:pt x="145" y="268"/>
                    </a:lnTo>
                    <a:lnTo>
                      <a:pt x="142" y="271"/>
                    </a:lnTo>
                    <a:lnTo>
                      <a:pt x="140" y="273"/>
                    </a:lnTo>
                    <a:lnTo>
                      <a:pt x="139" y="276"/>
                    </a:lnTo>
                    <a:lnTo>
                      <a:pt x="138" y="279"/>
                    </a:lnTo>
                    <a:lnTo>
                      <a:pt x="138" y="283"/>
                    </a:lnTo>
                    <a:lnTo>
                      <a:pt x="136" y="289"/>
                    </a:lnTo>
                    <a:lnTo>
                      <a:pt x="136" y="290"/>
                    </a:lnTo>
                    <a:lnTo>
                      <a:pt x="135" y="291"/>
                    </a:lnTo>
                    <a:lnTo>
                      <a:pt x="135" y="293"/>
                    </a:lnTo>
                    <a:lnTo>
                      <a:pt x="133" y="294"/>
                    </a:lnTo>
                    <a:lnTo>
                      <a:pt x="133" y="294"/>
                    </a:lnTo>
                    <a:lnTo>
                      <a:pt x="133" y="294"/>
                    </a:lnTo>
                    <a:lnTo>
                      <a:pt x="132" y="294"/>
                    </a:lnTo>
                    <a:lnTo>
                      <a:pt x="132" y="294"/>
                    </a:lnTo>
                    <a:lnTo>
                      <a:pt x="130" y="294"/>
                    </a:lnTo>
                    <a:lnTo>
                      <a:pt x="130" y="294"/>
                    </a:lnTo>
                    <a:lnTo>
                      <a:pt x="129" y="294"/>
                    </a:lnTo>
                    <a:lnTo>
                      <a:pt x="129" y="294"/>
                    </a:lnTo>
                    <a:lnTo>
                      <a:pt x="129" y="296"/>
                    </a:lnTo>
                    <a:lnTo>
                      <a:pt x="129" y="296"/>
                    </a:lnTo>
                    <a:lnTo>
                      <a:pt x="129" y="297"/>
                    </a:lnTo>
                    <a:lnTo>
                      <a:pt x="129" y="299"/>
                    </a:lnTo>
                    <a:lnTo>
                      <a:pt x="126" y="300"/>
                    </a:lnTo>
                    <a:lnTo>
                      <a:pt x="123" y="302"/>
                    </a:lnTo>
                    <a:lnTo>
                      <a:pt x="123" y="300"/>
                    </a:lnTo>
                    <a:lnTo>
                      <a:pt x="123" y="300"/>
                    </a:lnTo>
                    <a:lnTo>
                      <a:pt x="123" y="297"/>
                    </a:lnTo>
                    <a:lnTo>
                      <a:pt x="123" y="294"/>
                    </a:lnTo>
                    <a:lnTo>
                      <a:pt x="123" y="293"/>
                    </a:lnTo>
                    <a:lnTo>
                      <a:pt x="125" y="290"/>
                    </a:lnTo>
                    <a:lnTo>
                      <a:pt x="125" y="289"/>
                    </a:lnTo>
                    <a:lnTo>
                      <a:pt x="122" y="289"/>
                    </a:lnTo>
                    <a:lnTo>
                      <a:pt x="120" y="290"/>
                    </a:lnTo>
                    <a:lnTo>
                      <a:pt x="120" y="293"/>
                    </a:lnTo>
                    <a:lnTo>
                      <a:pt x="122" y="296"/>
                    </a:lnTo>
                    <a:lnTo>
                      <a:pt x="122" y="299"/>
                    </a:lnTo>
                    <a:lnTo>
                      <a:pt x="119" y="299"/>
                    </a:lnTo>
                    <a:lnTo>
                      <a:pt x="117" y="297"/>
                    </a:lnTo>
                    <a:lnTo>
                      <a:pt x="115" y="296"/>
                    </a:lnTo>
                    <a:lnTo>
                      <a:pt x="113" y="294"/>
                    </a:lnTo>
                    <a:lnTo>
                      <a:pt x="116" y="293"/>
                    </a:lnTo>
                    <a:lnTo>
                      <a:pt x="116" y="290"/>
                    </a:lnTo>
                    <a:lnTo>
                      <a:pt x="115" y="287"/>
                    </a:lnTo>
                    <a:lnTo>
                      <a:pt x="115" y="284"/>
                    </a:lnTo>
                    <a:lnTo>
                      <a:pt x="115" y="281"/>
                    </a:lnTo>
                    <a:lnTo>
                      <a:pt x="120" y="276"/>
                    </a:lnTo>
                    <a:lnTo>
                      <a:pt x="122" y="271"/>
                    </a:lnTo>
                    <a:lnTo>
                      <a:pt x="120" y="271"/>
                    </a:lnTo>
                    <a:lnTo>
                      <a:pt x="120" y="271"/>
                    </a:lnTo>
                    <a:lnTo>
                      <a:pt x="119" y="271"/>
                    </a:lnTo>
                    <a:lnTo>
                      <a:pt x="120" y="268"/>
                    </a:lnTo>
                    <a:lnTo>
                      <a:pt x="119" y="266"/>
                    </a:lnTo>
                    <a:lnTo>
                      <a:pt x="117" y="263"/>
                    </a:lnTo>
                    <a:lnTo>
                      <a:pt x="115" y="261"/>
                    </a:lnTo>
                    <a:lnTo>
                      <a:pt x="113" y="261"/>
                    </a:lnTo>
                    <a:lnTo>
                      <a:pt x="113" y="261"/>
                    </a:lnTo>
                    <a:lnTo>
                      <a:pt x="113" y="264"/>
                    </a:lnTo>
                    <a:lnTo>
                      <a:pt x="113" y="266"/>
                    </a:lnTo>
                    <a:lnTo>
                      <a:pt x="113" y="266"/>
                    </a:lnTo>
                    <a:lnTo>
                      <a:pt x="115" y="267"/>
                    </a:lnTo>
                    <a:lnTo>
                      <a:pt x="116" y="268"/>
                    </a:lnTo>
                    <a:lnTo>
                      <a:pt x="116" y="270"/>
                    </a:lnTo>
                    <a:lnTo>
                      <a:pt x="115" y="270"/>
                    </a:lnTo>
                    <a:lnTo>
                      <a:pt x="115" y="270"/>
                    </a:lnTo>
                    <a:lnTo>
                      <a:pt x="112" y="268"/>
                    </a:lnTo>
                    <a:lnTo>
                      <a:pt x="112" y="268"/>
                    </a:lnTo>
                    <a:lnTo>
                      <a:pt x="110" y="270"/>
                    </a:lnTo>
                    <a:lnTo>
                      <a:pt x="109" y="270"/>
                    </a:lnTo>
                    <a:lnTo>
                      <a:pt x="107" y="271"/>
                    </a:lnTo>
                    <a:lnTo>
                      <a:pt x="106" y="273"/>
                    </a:lnTo>
                    <a:lnTo>
                      <a:pt x="107" y="270"/>
                    </a:lnTo>
                    <a:lnTo>
                      <a:pt x="106" y="268"/>
                    </a:lnTo>
                    <a:lnTo>
                      <a:pt x="105" y="266"/>
                    </a:lnTo>
                    <a:lnTo>
                      <a:pt x="105" y="263"/>
                    </a:lnTo>
                    <a:lnTo>
                      <a:pt x="106" y="264"/>
                    </a:lnTo>
                    <a:lnTo>
                      <a:pt x="107" y="266"/>
                    </a:lnTo>
                    <a:lnTo>
                      <a:pt x="109" y="267"/>
                    </a:lnTo>
                    <a:lnTo>
                      <a:pt x="110" y="267"/>
                    </a:lnTo>
                    <a:lnTo>
                      <a:pt x="109" y="266"/>
                    </a:lnTo>
                    <a:lnTo>
                      <a:pt x="107" y="263"/>
                    </a:lnTo>
                    <a:lnTo>
                      <a:pt x="106" y="263"/>
                    </a:lnTo>
                    <a:lnTo>
                      <a:pt x="105" y="260"/>
                    </a:lnTo>
                    <a:lnTo>
                      <a:pt x="103" y="258"/>
                    </a:lnTo>
                    <a:lnTo>
                      <a:pt x="105" y="257"/>
                    </a:lnTo>
                    <a:close/>
                    <a:moveTo>
                      <a:pt x="165" y="214"/>
                    </a:moveTo>
                    <a:lnTo>
                      <a:pt x="172" y="214"/>
                    </a:lnTo>
                    <a:lnTo>
                      <a:pt x="175" y="215"/>
                    </a:lnTo>
                    <a:lnTo>
                      <a:pt x="179" y="214"/>
                    </a:lnTo>
                    <a:lnTo>
                      <a:pt x="195" y="211"/>
                    </a:lnTo>
                    <a:lnTo>
                      <a:pt x="201" y="210"/>
                    </a:lnTo>
                    <a:lnTo>
                      <a:pt x="202" y="210"/>
                    </a:lnTo>
                    <a:lnTo>
                      <a:pt x="202" y="210"/>
                    </a:lnTo>
                    <a:lnTo>
                      <a:pt x="202" y="211"/>
                    </a:lnTo>
                    <a:lnTo>
                      <a:pt x="202" y="212"/>
                    </a:lnTo>
                    <a:lnTo>
                      <a:pt x="204" y="212"/>
                    </a:lnTo>
                    <a:lnTo>
                      <a:pt x="204" y="214"/>
                    </a:lnTo>
                    <a:lnTo>
                      <a:pt x="206" y="214"/>
                    </a:lnTo>
                    <a:lnTo>
                      <a:pt x="208" y="214"/>
                    </a:lnTo>
                    <a:lnTo>
                      <a:pt x="211" y="214"/>
                    </a:lnTo>
                    <a:lnTo>
                      <a:pt x="212" y="214"/>
                    </a:lnTo>
                    <a:lnTo>
                      <a:pt x="214" y="212"/>
                    </a:lnTo>
                    <a:lnTo>
                      <a:pt x="217" y="211"/>
                    </a:lnTo>
                    <a:lnTo>
                      <a:pt x="217" y="211"/>
                    </a:lnTo>
                    <a:lnTo>
                      <a:pt x="217" y="210"/>
                    </a:lnTo>
                    <a:lnTo>
                      <a:pt x="217" y="208"/>
                    </a:lnTo>
                    <a:lnTo>
                      <a:pt x="217" y="208"/>
                    </a:lnTo>
                    <a:lnTo>
                      <a:pt x="217" y="208"/>
                    </a:lnTo>
                    <a:lnTo>
                      <a:pt x="217" y="207"/>
                    </a:lnTo>
                    <a:lnTo>
                      <a:pt x="217" y="204"/>
                    </a:lnTo>
                    <a:lnTo>
                      <a:pt x="218" y="201"/>
                    </a:lnTo>
                    <a:lnTo>
                      <a:pt x="225" y="192"/>
                    </a:lnTo>
                    <a:lnTo>
                      <a:pt x="227" y="191"/>
                    </a:lnTo>
                    <a:lnTo>
                      <a:pt x="228" y="189"/>
                    </a:lnTo>
                    <a:lnTo>
                      <a:pt x="229" y="187"/>
                    </a:lnTo>
                    <a:lnTo>
                      <a:pt x="228" y="182"/>
                    </a:lnTo>
                    <a:lnTo>
                      <a:pt x="228" y="181"/>
                    </a:lnTo>
                    <a:lnTo>
                      <a:pt x="231" y="178"/>
                    </a:lnTo>
                    <a:lnTo>
                      <a:pt x="234" y="175"/>
                    </a:lnTo>
                    <a:lnTo>
                      <a:pt x="237" y="174"/>
                    </a:lnTo>
                    <a:lnTo>
                      <a:pt x="240" y="174"/>
                    </a:lnTo>
                    <a:lnTo>
                      <a:pt x="240" y="176"/>
                    </a:lnTo>
                    <a:lnTo>
                      <a:pt x="237" y="178"/>
                    </a:lnTo>
                    <a:lnTo>
                      <a:pt x="234" y="179"/>
                    </a:lnTo>
                    <a:lnTo>
                      <a:pt x="232" y="181"/>
                    </a:lnTo>
                    <a:lnTo>
                      <a:pt x="234" y="187"/>
                    </a:lnTo>
                    <a:lnTo>
                      <a:pt x="235" y="187"/>
                    </a:lnTo>
                    <a:lnTo>
                      <a:pt x="235" y="188"/>
                    </a:lnTo>
                    <a:lnTo>
                      <a:pt x="237" y="189"/>
                    </a:lnTo>
                    <a:lnTo>
                      <a:pt x="238" y="189"/>
                    </a:lnTo>
                    <a:lnTo>
                      <a:pt x="240" y="188"/>
                    </a:lnTo>
                    <a:lnTo>
                      <a:pt x="241" y="188"/>
                    </a:lnTo>
                    <a:lnTo>
                      <a:pt x="241" y="187"/>
                    </a:lnTo>
                    <a:lnTo>
                      <a:pt x="242" y="185"/>
                    </a:lnTo>
                    <a:lnTo>
                      <a:pt x="244" y="184"/>
                    </a:lnTo>
                    <a:lnTo>
                      <a:pt x="250" y="182"/>
                    </a:lnTo>
                    <a:lnTo>
                      <a:pt x="254" y="181"/>
                    </a:lnTo>
                    <a:lnTo>
                      <a:pt x="257" y="179"/>
                    </a:lnTo>
                    <a:lnTo>
                      <a:pt x="260" y="176"/>
                    </a:lnTo>
                    <a:lnTo>
                      <a:pt x="262" y="174"/>
                    </a:lnTo>
                    <a:lnTo>
                      <a:pt x="264" y="172"/>
                    </a:lnTo>
                    <a:lnTo>
                      <a:pt x="265" y="169"/>
                    </a:lnTo>
                    <a:lnTo>
                      <a:pt x="265" y="168"/>
                    </a:lnTo>
                    <a:lnTo>
                      <a:pt x="267" y="166"/>
                    </a:lnTo>
                    <a:lnTo>
                      <a:pt x="268" y="165"/>
                    </a:lnTo>
                    <a:lnTo>
                      <a:pt x="271" y="165"/>
                    </a:lnTo>
                    <a:lnTo>
                      <a:pt x="273" y="164"/>
                    </a:lnTo>
                    <a:lnTo>
                      <a:pt x="275" y="161"/>
                    </a:lnTo>
                    <a:lnTo>
                      <a:pt x="277" y="159"/>
                    </a:lnTo>
                    <a:lnTo>
                      <a:pt x="278" y="152"/>
                    </a:lnTo>
                    <a:lnTo>
                      <a:pt x="283" y="143"/>
                    </a:lnTo>
                    <a:lnTo>
                      <a:pt x="287" y="135"/>
                    </a:lnTo>
                    <a:lnTo>
                      <a:pt x="287" y="132"/>
                    </a:lnTo>
                    <a:lnTo>
                      <a:pt x="287" y="129"/>
                    </a:lnTo>
                    <a:lnTo>
                      <a:pt x="287" y="128"/>
                    </a:lnTo>
                    <a:lnTo>
                      <a:pt x="287" y="126"/>
                    </a:lnTo>
                    <a:lnTo>
                      <a:pt x="287" y="125"/>
                    </a:lnTo>
                    <a:lnTo>
                      <a:pt x="285" y="125"/>
                    </a:lnTo>
                    <a:lnTo>
                      <a:pt x="284" y="123"/>
                    </a:lnTo>
                    <a:lnTo>
                      <a:pt x="283" y="123"/>
                    </a:lnTo>
                    <a:lnTo>
                      <a:pt x="283" y="123"/>
                    </a:lnTo>
                    <a:lnTo>
                      <a:pt x="283" y="122"/>
                    </a:lnTo>
                    <a:lnTo>
                      <a:pt x="285" y="120"/>
                    </a:lnTo>
                    <a:lnTo>
                      <a:pt x="285" y="115"/>
                    </a:lnTo>
                    <a:lnTo>
                      <a:pt x="285" y="110"/>
                    </a:lnTo>
                    <a:lnTo>
                      <a:pt x="287" y="106"/>
                    </a:lnTo>
                    <a:lnTo>
                      <a:pt x="288" y="105"/>
                    </a:lnTo>
                    <a:lnTo>
                      <a:pt x="290" y="105"/>
                    </a:lnTo>
                    <a:lnTo>
                      <a:pt x="291" y="103"/>
                    </a:lnTo>
                    <a:lnTo>
                      <a:pt x="293" y="102"/>
                    </a:lnTo>
                    <a:lnTo>
                      <a:pt x="293" y="99"/>
                    </a:lnTo>
                    <a:lnTo>
                      <a:pt x="293" y="97"/>
                    </a:lnTo>
                    <a:lnTo>
                      <a:pt x="293" y="96"/>
                    </a:lnTo>
                    <a:lnTo>
                      <a:pt x="294" y="96"/>
                    </a:lnTo>
                    <a:lnTo>
                      <a:pt x="297" y="96"/>
                    </a:lnTo>
                    <a:lnTo>
                      <a:pt x="297" y="97"/>
                    </a:lnTo>
                    <a:lnTo>
                      <a:pt x="297" y="100"/>
                    </a:lnTo>
                    <a:lnTo>
                      <a:pt x="298" y="102"/>
                    </a:lnTo>
                    <a:lnTo>
                      <a:pt x="300" y="103"/>
                    </a:lnTo>
                    <a:lnTo>
                      <a:pt x="301" y="103"/>
                    </a:lnTo>
                    <a:lnTo>
                      <a:pt x="301" y="102"/>
                    </a:lnTo>
                    <a:lnTo>
                      <a:pt x="303" y="102"/>
                    </a:lnTo>
                    <a:lnTo>
                      <a:pt x="304" y="102"/>
                    </a:lnTo>
                    <a:lnTo>
                      <a:pt x="306" y="102"/>
                    </a:lnTo>
                    <a:lnTo>
                      <a:pt x="306" y="102"/>
                    </a:lnTo>
                    <a:lnTo>
                      <a:pt x="307" y="102"/>
                    </a:lnTo>
                    <a:lnTo>
                      <a:pt x="308" y="100"/>
                    </a:lnTo>
                    <a:lnTo>
                      <a:pt x="308" y="99"/>
                    </a:lnTo>
                    <a:lnTo>
                      <a:pt x="308" y="97"/>
                    </a:lnTo>
                    <a:lnTo>
                      <a:pt x="308" y="96"/>
                    </a:lnTo>
                    <a:lnTo>
                      <a:pt x="307" y="95"/>
                    </a:lnTo>
                    <a:lnTo>
                      <a:pt x="304" y="96"/>
                    </a:lnTo>
                    <a:lnTo>
                      <a:pt x="300" y="97"/>
                    </a:lnTo>
                    <a:lnTo>
                      <a:pt x="300" y="95"/>
                    </a:lnTo>
                    <a:lnTo>
                      <a:pt x="301" y="92"/>
                    </a:lnTo>
                    <a:lnTo>
                      <a:pt x="301" y="90"/>
                    </a:lnTo>
                    <a:lnTo>
                      <a:pt x="304" y="89"/>
                    </a:lnTo>
                    <a:lnTo>
                      <a:pt x="306" y="90"/>
                    </a:lnTo>
                    <a:lnTo>
                      <a:pt x="307" y="92"/>
                    </a:lnTo>
                    <a:lnTo>
                      <a:pt x="310" y="92"/>
                    </a:lnTo>
                    <a:lnTo>
                      <a:pt x="311" y="92"/>
                    </a:lnTo>
                    <a:lnTo>
                      <a:pt x="311" y="95"/>
                    </a:lnTo>
                    <a:lnTo>
                      <a:pt x="311" y="99"/>
                    </a:lnTo>
                    <a:lnTo>
                      <a:pt x="311" y="103"/>
                    </a:lnTo>
                    <a:lnTo>
                      <a:pt x="311" y="106"/>
                    </a:lnTo>
                    <a:lnTo>
                      <a:pt x="313" y="109"/>
                    </a:lnTo>
                    <a:lnTo>
                      <a:pt x="314" y="110"/>
                    </a:lnTo>
                    <a:lnTo>
                      <a:pt x="316" y="113"/>
                    </a:lnTo>
                    <a:lnTo>
                      <a:pt x="317" y="115"/>
                    </a:lnTo>
                    <a:lnTo>
                      <a:pt x="319" y="116"/>
                    </a:lnTo>
                    <a:lnTo>
                      <a:pt x="320" y="120"/>
                    </a:lnTo>
                    <a:lnTo>
                      <a:pt x="321" y="126"/>
                    </a:lnTo>
                    <a:lnTo>
                      <a:pt x="321" y="132"/>
                    </a:lnTo>
                    <a:lnTo>
                      <a:pt x="320" y="138"/>
                    </a:lnTo>
                    <a:lnTo>
                      <a:pt x="317" y="142"/>
                    </a:lnTo>
                    <a:lnTo>
                      <a:pt x="317" y="143"/>
                    </a:lnTo>
                    <a:lnTo>
                      <a:pt x="316" y="143"/>
                    </a:lnTo>
                    <a:lnTo>
                      <a:pt x="316" y="145"/>
                    </a:lnTo>
                    <a:lnTo>
                      <a:pt x="314" y="146"/>
                    </a:lnTo>
                    <a:lnTo>
                      <a:pt x="314" y="148"/>
                    </a:lnTo>
                    <a:lnTo>
                      <a:pt x="313" y="149"/>
                    </a:lnTo>
                    <a:lnTo>
                      <a:pt x="313" y="153"/>
                    </a:lnTo>
                    <a:lnTo>
                      <a:pt x="311" y="155"/>
                    </a:lnTo>
                    <a:lnTo>
                      <a:pt x="310" y="156"/>
                    </a:lnTo>
                    <a:lnTo>
                      <a:pt x="308" y="156"/>
                    </a:lnTo>
                    <a:lnTo>
                      <a:pt x="307" y="156"/>
                    </a:lnTo>
                    <a:lnTo>
                      <a:pt x="306" y="156"/>
                    </a:lnTo>
                    <a:lnTo>
                      <a:pt x="306" y="158"/>
                    </a:lnTo>
                    <a:lnTo>
                      <a:pt x="303" y="161"/>
                    </a:lnTo>
                    <a:lnTo>
                      <a:pt x="303" y="165"/>
                    </a:lnTo>
                    <a:lnTo>
                      <a:pt x="304" y="172"/>
                    </a:lnTo>
                    <a:lnTo>
                      <a:pt x="304" y="176"/>
                    </a:lnTo>
                    <a:lnTo>
                      <a:pt x="304" y="179"/>
                    </a:lnTo>
                    <a:lnTo>
                      <a:pt x="303" y="182"/>
                    </a:lnTo>
                    <a:lnTo>
                      <a:pt x="298" y="192"/>
                    </a:lnTo>
                    <a:lnTo>
                      <a:pt x="297" y="198"/>
                    </a:lnTo>
                    <a:lnTo>
                      <a:pt x="298" y="204"/>
                    </a:lnTo>
                    <a:lnTo>
                      <a:pt x="301" y="210"/>
                    </a:lnTo>
                    <a:lnTo>
                      <a:pt x="298" y="211"/>
                    </a:lnTo>
                    <a:lnTo>
                      <a:pt x="297" y="211"/>
                    </a:lnTo>
                    <a:lnTo>
                      <a:pt x="296" y="212"/>
                    </a:lnTo>
                    <a:lnTo>
                      <a:pt x="294" y="214"/>
                    </a:lnTo>
                    <a:lnTo>
                      <a:pt x="294" y="215"/>
                    </a:lnTo>
                    <a:lnTo>
                      <a:pt x="294" y="217"/>
                    </a:lnTo>
                    <a:lnTo>
                      <a:pt x="294" y="218"/>
                    </a:lnTo>
                    <a:lnTo>
                      <a:pt x="293" y="220"/>
                    </a:lnTo>
                    <a:lnTo>
                      <a:pt x="293" y="221"/>
                    </a:lnTo>
                    <a:lnTo>
                      <a:pt x="290" y="222"/>
                    </a:lnTo>
                    <a:lnTo>
                      <a:pt x="285" y="225"/>
                    </a:lnTo>
                    <a:lnTo>
                      <a:pt x="285" y="227"/>
                    </a:lnTo>
                    <a:lnTo>
                      <a:pt x="283" y="225"/>
                    </a:lnTo>
                    <a:lnTo>
                      <a:pt x="283" y="222"/>
                    </a:lnTo>
                    <a:lnTo>
                      <a:pt x="284" y="218"/>
                    </a:lnTo>
                    <a:lnTo>
                      <a:pt x="285" y="217"/>
                    </a:lnTo>
                    <a:lnTo>
                      <a:pt x="285" y="215"/>
                    </a:lnTo>
                    <a:lnTo>
                      <a:pt x="287" y="214"/>
                    </a:lnTo>
                    <a:lnTo>
                      <a:pt x="287" y="214"/>
                    </a:lnTo>
                    <a:lnTo>
                      <a:pt x="287" y="212"/>
                    </a:lnTo>
                    <a:lnTo>
                      <a:pt x="287" y="211"/>
                    </a:lnTo>
                    <a:lnTo>
                      <a:pt x="285" y="211"/>
                    </a:lnTo>
                    <a:lnTo>
                      <a:pt x="284" y="211"/>
                    </a:lnTo>
                    <a:lnTo>
                      <a:pt x="283" y="211"/>
                    </a:lnTo>
                    <a:lnTo>
                      <a:pt x="283" y="212"/>
                    </a:lnTo>
                    <a:lnTo>
                      <a:pt x="283" y="212"/>
                    </a:lnTo>
                    <a:lnTo>
                      <a:pt x="281" y="215"/>
                    </a:lnTo>
                    <a:lnTo>
                      <a:pt x="281" y="217"/>
                    </a:lnTo>
                    <a:lnTo>
                      <a:pt x="280" y="218"/>
                    </a:lnTo>
                    <a:lnTo>
                      <a:pt x="281" y="218"/>
                    </a:lnTo>
                    <a:lnTo>
                      <a:pt x="281" y="218"/>
                    </a:lnTo>
                    <a:lnTo>
                      <a:pt x="281" y="220"/>
                    </a:lnTo>
                    <a:lnTo>
                      <a:pt x="280" y="221"/>
                    </a:lnTo>
                    <a:lnTo>
                      <a:pt x="275" y="218"/>
                    </a:lnTo>
                    <a:lnTo>
                      <a:pt x="273" y="220"/>
                    </a:lnTo>
                    <a:lnTo>
                      <a:pt x="271" y="221"/>
                    </a:lnTo>
                    <a:lnTo>
                      <a:pt x="270" y="228"/>
                    </a:lnTo>
                    <a:lnTo>
                      <a:pt x="268" y="230"/>
                    </a:lnTo>
                    <a:lnTo>
                      <a:pt x="265" y="231"/>
                    </a:lnTo>
                    <a:lnTo>
                      <a:pt x="264" y="230"/>
                    </a:lnTo>
                    <a:lnTo>
                      <a:pt x="265" y="225"/>
                    </a:lnTo>
                    <a:lnTo>
                      <a:pt x="267" y="224"/>
                    </a:lnTo>
                    <a:lnTo>
                      <a:pt x="262" y="221"/>
                    </a:lnTo>
                    <a:lnTo>
                      <a:pt x="260" y="224"/>
                    </a:lnTo>
                    <a:lnTo>
                      <a:pt x="257" y="230"/>
                    </a:lnTo>
                    <a:lnTo>
                      <a:pt x="254" y="233"/>
                    </a:lnTo>
                    <a:lnTo>
                      <a:pt x="252" y="233"/>
                    </a:lnTo>
                    <a:lnTo>
                      <a:pt x="244" y="231"/>
                    </a:lnTo>
                    <a:lnTo>
                      <a:pt x="242" y="231"/>
                    </a:lnTo>
                    <a:lnTo>
                      <a:pt x="240" y="231"/>
                    </a:lnTo>
                    <a:lnTo>
                      <a:pt x="235" y="233"/>
                    </a:lnTo>
                    <a:lnTo>
                      <a:pt x="235" y="231"/>
                    </a:lnTo>
                    <a:lnTo>
                      <a:pt x="238" y="231"/>
                    </a:lnTo>
                    <a:lnTo>
                      <a:pt x="238" y="230"/>
                    </a:lnTo>
                    <a:lnTo>
                      <a:pt x="238" y="228"/>
                    </a:lnTo>
                    <a:lnTo>
                      <a:pt x="238" y="228"/>
                    </a:lnTo>
                    <a:lnTo>
                      <a:pt x="234" y="228"/>
                    </a:lnTo>
                    <a:lnTo>
                      <a:pt x="234" y="228"/>
                    </a:lnTo>
                    <a:lnTo>
                      <a:pt x="232" y="228"/>
                    </a:lnTo>
                    <a:lnTo>
                      <a:pt x="232" y="230"/>
                    </a:lnTo>
                    <a:lnTo>
                      <a:pt x="232" y="230"/>
                    </a:lnTo>
                    <a:lnTo>
                      <a:pt x="231" y="228"/>
                    </a:lnTo>
                    <a:lnTo>
                      <a:pt x="231" y="227"/>
                    </a:lnTo>
                    <a:lnTo>
                      <a:pt x="231" y="225"/>
                    </a:lnTo>
                    <a:lnTo>
                      <a:pt x="232" y="224"/>
                    </a:lnTo>
                    <a:lnTo>
                      <a:pt x="229" y="224"/>
                    </a:lnTo>
                    <a:lnTo>
                      <a:pt x="229" y="224"/>
                    </a:lnTo>
                    <a:lnTo>
                      <a:pt x="228" y="225"/>
                    </a:lnTo>
                    <a:lnTo>
                      <a:pt x="227" y="228"/>
                    </a:lnTo>
                    <a:lnTo>
                      <a:pt x="225" y="230"/>
                    </a:lnTo>
                    <a:lnTo>
                      <a:pt x="227" y="231"/>
                    </a:lnTo>
                    <a:lnTo>
                      <a:pt x="228" y="233"/>
                    </a:lnTo>
                    <a:lnTo>
                      <a:pt x="231" y="235"/>
                    </a:lnTo>
                    <a:lnTo>
                      <a:pt x="231" y="235"/>
                    </a:lnTo>
                    <a:lnTo>
                      <a:pt x="231" y="238"/>
                    </a:lnTo>
                    <a:lnTo>
                      <a:pt x="229" y="238"/>
                    </a:lnTo>
                    <a:lnTo>
                      <a:pt x="224" y="240"/>
                    </a:lnTo>
                    <a:lnTo>
                      <a:pt x="222" y="240"/>
                    </a:lnTo>
                    <a:lnTo>
                      <a:pt x="219" y="244"/>
                    </a:lnTo>
                    <a:lnTo>
                      <a:pt x="215" y="251"/>
                    </a:lnTo>
                    <a:lnTo>
                      <a:pt x="212" y="254"/>
                    </a:lnTo>
                    <a:lnTo>
                      <a:pt x="209" y="254"/>
                    </a:lnTo>
                    <a:lnTo>
                      <a:pt x="206" y="253"/>
                    </a:lnTo>
                    <a:lnTo>
                      <a:pt x="204" y="250"/>
                    </a:lnTo>
                    <a:lnTo>
                      <a:pt x="201" y="247"/>
                    </a:lnTo>
                    <a:lnTo>
                      <a:pt x="201" y="244"/>
                    </a:lnTo>
                    <a:lnTo>
                      <a:pt x="201" y="243"/>
                    </a:lnTo>
                    <a:lnTo>
                      <a:pt x="201" y="241"/>
                    </a:lnTo>
                    <a:lnTo>
                      <a:pt x="201" y="238"/>
                    </a:lnTo>
                    <a:lnTo>
                      <a:pt x="201" y="238"/>
                    </a:lnTo>
                    <a:lnTo>
                      <a:pt x="204" y="237"/>
                    </a:lnTo>
                    <a:lnTo>
                      <a:pt x="205" y="235"/>
                    </a:lnTo>
                    <a:lnTo>
                      <a:pt x="205" y="234"/>
                    </a:lnTo>
                    <a:lnTo>
                      <a:pt x="205" y="233"/>
                    </a:lnTo>
                    <a:lnTo>
                      <a:pt x="205" y="231"/>
                    </a:lnTo>
                    <a:lnTo>
                      <a:pt x="204" y="231"/>
                    </a:lnTo>
                    <a:lnTo>
                      <a:pt x="201" y="231"/>
                    </a:lnTo>
                    <a:lnTo>
                      <a:pt x="198" y="231"/>
                    </a:lnTo>
                    <a:lnTo>
                      <a:pt x="192" y="230"/>
                    </a:lnTo>
                    <a:lnTo>
                      <a:pt x="189" y="230"/>
                    </a:lnTo>
                    <a:lnTo>
                      <a:pt x="186" y="230"/>
                    </a:lnTo>
                    <a:lnTo>
                      <a:pt x="179" y="234"/>
                    </a:lnTo>
                    <a:lnTo>
                      <a:pt x="162" y="238"/>
                    </a:lnTo>
                    <a:lnTo>
                      <a:pt x="159" y="238"/>
                    </a:lnTo>
                    <a:lnTo>
                      <a:pt x="156" y="238"/>
                    </a:lnTo>
                    <a:lnTo>
                      <a:pt x="152" y="238"/>
                    </a:lnTo>
                    <a:lnTo>
                      <a:pt x="150" y="238"/>
                    </a:lnTo>
                    <a:lnTo>
                      <a:pt x="150" y="240"/>
                    </a:lnTo>
                    <a:lnTo>
                      <a:pt x="149" y="241"/>
                    </a:lnTo>
                    <a:lnTo>
                      <a:pt x="148" y="245"/>
                    </a:lnTo>
                    <a:lnTo>
                      <a:pt x="148" y="247"/>
                    </a:lnTo>
                    <a:lnTo>
                      <a:pt x="143" y="244"/>
                    </a:lnTo>
                    <a:lnTo>
                      <a:pt x="140" y="244"/>
                    </a:lnTo>
                    <a:lnTo>
                      <a:pt x="136" y="244"/>
                    </a:lnTo>
                    <a:lnTo>
                      <a:pt x="133" y="245"/>
                    </a:lnTo>
                    <a:lnTo>
                      <a:pt x="132" y="245"/>
                    </a:lnTo>
                    <a:lnTo>
                      <a:pt x="130" y="244"/>
                    </a:lnTo>
                    <a:lnTo>
                      <a:pt x="129" y="244"/>
                    </a:lnTo>
                    <a:lnTo>
                      <a:pt x="128" y="244"/>
                    </a:lnTo>
                    <a:lnTo>
                      <a:pt x="126" y="244"/>
                    </a:lnTo>
                    <a:lnTo>
                      <a:pt x="126" y="241"/>
                    </a:lnTo>
                    <a:lnTo>
                      <a:pt x="126" y="240"/>
                    </a:lnTo>
                    <a:lnTo>
                      <a:pt x="128" y="237"/>
                    </a:lnTo>
                    <a:lnTo>
                      <a:pt x="129" y="237"/>
                    </a:lnTo>
                    <a:lnTo>
                      <a:pt x="130" y="237"/>
                    </a:lnTo>
                    <a:lnTo>
                      <a:pt x="132" y="237"/>
                    </a:lnTo>
                    <a:lnTo>
                      <a:pt x="133" y="237"/>
                    </a:lnTo>
                    <a:lnTo>
                      <a:pt x="136" y="235"/>
                    </a:lnTo>
                    <a:lnTo>
                      <a:pt x="139" y="233"/>
                    </a:lnTo>
                    <a:lnTo>
                      <a:pt x="158" y="215"/>
                    </a:lnTo>
                    <a:lnTo>
                      <a:pt x="162" y="214"/>
                    </a:lnTo>
                    <a:lnTo>
                      <a:pt x="165" y="214"/>
                    </a:lnTo>
                    <a:close/>
                    <a:moveTo>
                      <a:pt x="168" y="201"/>
                    </a:moveTo>
                    <a:lnTo>
                      <a:pt x="166" y="199"/>
                    </a:lnTo>
                    <a:lnTo>
                      <a:pt x="166" y="198"/>
                    </a:lnTo>
                    <a:lnTo>
                      <a:pt x="168" y="198"/>
                    </a:lnTo>
                    <a:lnTo>
                      <a:pt x="169" y="198"/>
                    </a:lnTo>
                    <a:lnTo>
                      <a:pt x="171" y="199"/>
                    </a:lnTo>
                    <a:lnTo>
                      <a:pt x="169" y="199"/>
                    </a:lnTo>
                    <a:lnTo>
                      <a:pt x="169" y="201"/>
                    </a:lnTo>
                    <a:lnTo>
                      <a:pt x="168" y="201"/>
                    </a:lnTo>
                    <a:close/>
                    <a:moveTo>
                      <a:pt x="97" y="238"/>
                    </a:moveTo>
                    <a:lnTo>
                      <a:pt x="99" y="238"/>
                    </a:lnTo>
                    <a:lnTo>
                      <a:pt x="99" y="240"/>
                    </a:lnTo>
                    <a:lnTo>
                      <a:pt x="97" y="241"/>
                    </a:lnTo>
                    <a:lnTo>
                      <a:pt x="96" y="243"/>
                    </a:lnTo>
                    <a:lnTo>
                      <a:pt x="96" y="241"/>
                    </a:lnTo>
                    <a:lnTo>
                      <a:pt x="96" y="241"/>
                    </a:lnTo>
                    <a:lnTo>
                      <a:pt x="97" y="238"/>
                    </a:lnTo>
                    <a:close/>
                    <a:moveTo>
                      <a:pt x="94" y="266"/>
                    </a:moveTo>
                    <a:lnTo>
                      <a:pt x="94" y="267"/>
                    </a:lnTo>
                    <a:lnTo>
                      <a:pt x="93" y="266"/>
                    </a:lnTo>
                    <a:lnTo>
                      <a:pt x="93" y="266"/>
                    </a:lnTo>
                    <a:lnTo>
                      <a:pt x="94" y="263"/>
                    </a:lnTo>
                    <a:lnTo>
                      <a:pt x="94" y="261"/>
                    </a:lnTo>
                    <a:lnTo>
                      <a:pt x="96" y="264"/>
                    </a:lnTo>
                    <a:lnTo>
                      <a:pt x="96" y="264"/>
                    </a:lnTo>
                    <a:lnTo>
                      <a:pt x="94" y="266"/>
                    </a:lnTo>
                    <a:close/>
                    <a:moveTo>
                      <a:pt x="100" y="260"/>
                    </a:moveTo>
                    <a:lnTo>
                      <a:pt x="100" y="258"/>
                    </a:lnTo>
                    <a:lnTo>
                      <a:pt x="102" y="257"/>
                    </a:lnTo>
                    <a:lnTo>
                      <a:pt x="103" y="257"/>
                    </a:lnTo>
                    <a:lnTo>
                      <a:pt x="102" y="258"/>
                    </a:lnTo>
                    <a:lnTo>
                      <a:pt x="102" y="260"/>
                    </a:lnTo>
                    <a:lnTo>
                      <a:pt x="100" y="260"/>
                    </a:lnTo>
                    <a:lnTo>
                      <a:pt x="99" y="261"/>
                    </a:lnTo>
                    <a:lnTo>
                      <a:pt x="100" y="260"/>
                    </a:lnTo>
                    <a:close/>
                    <a:moveTo>
                      <a:pt x="100" y="231"/>
                    </a:moveTo>
                    <a:lnTo>
                      <a:pt x="102" y="233"/>
                    </a:lnTo>
                    <a:lnTo>
                      <a:pt x="100" y="234"/>
                    </a:lnTo>
                    <a:lnTo>
                      <a:pt x="100" y="235"/>
                    </a:lnTo>
                    <a:lnTo>
                      <a:pt x="99" y="238"/>
                    </a:lnTo>
                    <a:lnTo>
                      <a:pt x="97" y="237"/>
                    </a:lnTo>
                    <a:lnTo>
                      <a:pt x="97" y="234"/>
                    </a:lnTo>
                    <a:lnTo>
                      <a:pt x="99" y="233"/>
                    </a:lnTo>
                    <a:lnTo>
                      <a:pt x="100" y="231"/>
                    </a:lnTo>
                    <a:close/>
                    <a:moveTo>
                      <a:pt x="70" y="394"/>
                    </a:moveTo>
                    <a:lnTo>
                      <a:pt x="71" y="391"/>
                    </a:lnTo>
                    <a:lnTo>
                      <a:pt x="71" y="391"/>
                    </a:lnTo>
                    <a:lnTo>
                      <a:pt x="74" y="388"/>
                    </a:lnTo>
                    <a:lnTo>
                      <a:pt x="74" y="388"/>
                    </a:lnTo>
                    <a:lnTo>
                      <a:pt x="73" y="386"/>
                    </a:lnTo>
                    <a:lnTo>
                      <a:pt x="73" y="386"/>
                    </a:lnTo>
                    <a:lnTo>
                      <a:pt x="74" y="386"/>
                    </a:lnTo>
                    <a:lnTo>
                      <a:pt x="74" y="386"/>
                    </a:lnTo>
                    <a:lnTo>
                      <a:pt x="74" y="386"/>
                    </a:lnTo>
                    <a:lnTo>
                      <a:pt x="74" y="386"/>
                    </a:lnTo>
                    <a:lnTo>
                      <a:pt x="76" y="386"/>
                    </a:lnTo>
                    <a:lnTo>
                      <a:pt x="77" y="386"/>
                    </a:lnTo>
                    <a:lnTo>
                      <a:pt x="77" y="386"/>
                    </a:lnTo>
                    <a:lnTo>
                      <a:pt x="77" y="385"/>
                    </a:lnTo>
                    <a:lnTo>
                      <a:pt x="79" y="385"/>
                    </a:lnTo>
                    <a:lnTo>
                      <a:pt x="79" y="383"/>
                    </a:lnTo>
                    <a:lnTo>
                      <a:pt x="80" y="382"/>
                    </a:lnTo>
                    <a:lnTo>
                      <a:pt x="82" y="383"/>
                    </a:lnTo>
                    <a:lnTo>
                      <a:pt x="80" y="386"/>
                    </a:lnTo>
                    <a:lnTo>
                      <a:pt x="74" y="391"/>
                    </a:lnTo>
                    <a:lnTo>
                      <a:pt x="73" y="394"/>
                    </a:lnTo>
                    <a:lnTo>
                      <a:pt x="73" y="394"/>
                    </a:lnTo>
                    <a:lnTo>
                      <a:pt x="71" y="396"/>
                    </a:lnTo>
                    <a:lnTo>
                      <a:pt x="70" y="398"/>
                    </a:lnTo>
                    <a:lnTo>
                      <a:pt x="69" y="398"/>
                    </a:lnTo>
                    <a:lnTo>
                      <a:pt x="69" y="396"/>
                    </a:lnTo>
                    <a:lnTo>
                      <a:pt x="70" y="394"/>
                    </a:lnTo>
                    <a:close/>
                    <a:moveTo>
                      <a:pt x="106" y="289"/>
                    </a:moveTo>
                    <a:lnTo>
                      <a:pt x="106" y="289"/>
                    </a:lnTo>
                    <a:lnTo>
                      <a:pt x="106" y="290"/>
                    </a:lnTo>
                    <a:lnTo>
                      <a:pt x="105" y="290"/>
                    </a:lnTo>
                    <a:lnTo>
                      <a:pt x="106" y="289"/>
                    </a:lnTo>
                    <a:lnTo>
                      <a:pt x="106" y="289"/>
                    </a:lnTo>
                    <a:lnTo>
                      <a:pt x="106" y="287"/>
                    </a:lnTo>
                    <a:lnTo>
                      <a:pt x="107" y="289"/>
                    </a:lnTo>
                    <a:lnTo>
                      <a:pt x="106" y="289"/>
                    </a:lnTo>
                    <a:close/>
                    <a:moveTo>
                      <a:pt x="110" y="279"/>
                    </a:moveTo>
                    <a:lnTo>
                      <a:pt x="110" y="279"/>
                    </a:lnTo>
                    <a:lnTo>
                      <a:pt x="110" y="277"/>
                    </a:lnTo>
                    <a:lnTo>
                      <a:pt x="110" y="276"/>
                    </a:lnTo>
                    <a:lnTo>
                      <a:pt x="110" y="273"/>
                    </a:lnTo>
                    <a:lnTo>
                      <a:pt x="113" y="273"/>
                    </a:lnTo>
                    <a:lnTo>
                      <a:pt x="113" y="274"/>
                    </a:lnTo>
                    <a:lnTo>
                      <a:pt x="115" y="276"/>
                    </a:lnTo>
                    <a:lnTo>
                      <a:pt x="115" y="277"/>
                    </a:lnTo>
                    <a:lnTo>
                      <a:pt x="113" y="277"/>
                    </a:lnTo>
                    <a:lnTo>
                      <a:pt x="112" y="279"/>
                    </a:lnTo>
                    <a:lnTo>
                      <a:pt x="112" y="279"/>
                    </a:lnTo>
                    <a:lnTo>
                      <a:pt x="110" y="280"/>
                    </a:lnTo>
                    <a:lnTo>
                      <a:pt x="110" y="279"/>
                    </a:lnTo>
                    <a:lnTo>
                      <a:pt x="110" y="279"/>
                    </a:lnTo>
                    <a:lnTo>
                      <a:pt x="110" y="279"/>
                    </a:lnTo>
                    <a:close/>
                    <a:moveTo>
                      <a:pt x="129" y="310"/>
                    </a:moveTo>
                    <a:lnTo>
                      <a:pt x="128" y="313"/>
                    </a:lnTo>
                    <a:lnTo>
                      <a:pt x="126" y="314"/>
                    </a:lnTo>
                    <a:lnTo>
                      <a:pt x="128" y="309"/>
                    </a:lnTo>
                    <a:lnTo>
                      <a:pt x="128" y="306"/>
                    </a:lnTo>
                    <a:lnTo>
                      <a:pt x="129" y="306"/>
                    </a:lnTo>
                    <a:lnTo>
                      <a:pt x="129" y="309"/>
                    </a:lnTo>
                    <a:lnTo>
                      <a:pt x="129" y="310"/>
                    </a:lnTo>
                    <a:close/>
                    <a:moveTo>
                      <a:pt x="119" y="316"/>
                    </a:moveTo>
                    <a:lnTo>
                      <a:pt x="117" y="316"/>
                    </a:lnTo>
                    <a:lnTo>
                      <a:pt x="117" y="314"/>
                    </a:lnTo>
                    <a:lnTo>
                      <a:pt x="117" y="313"/>
                    </a:lnTo>
                    <a:lnTo>
                      <a:pt x="119" y="313"/>
                    </a:lnTo>
                    <a:lnTo>
                      <a:pt x="120" y="313"/>
                    </a:lnTo>
                    <a:lnTo>
                      <a:pt x="122" y="314"/>
                    </a:lnTo>
                    <a:lnTo>
                      <a:pt x="122" y="316"/>
                    </a:lnTo>
                    <a:lnTo>
                      <a:pt x="119" y="316"/>
                    </a:lnTo>
                    <a:close/>
                    <a:moveTo>
                      <a:pt x="283" y="261"/>
                    </a:moveTo>
                    <a:lnTo>
                      <a:pt x="283" y="263"/>
                    </a:lnTo>
                    <a:lnTo>
                      <a:pt x="283" y="263"/>
                    </a:lnTo>
                    <a:lnTo>
                      <a:pt x="284" y="263"/>
                    </a:lnTo>
                    <a:lnTo>
                      <a:pt x="283" y="261"/>
                    </a:lnTo>
                    <a:close/>
                    <a:moveTo>
                      <a:pt x="275" y="230"/>
                    </a:moveTo>
                    <a:lnTo>
                      <a:pt x="277" y="230"/>
                    </a:lnTo>
                    <a:lnTo>
                      <a:pt x="277" y="230"/>
                    </a:lnTo>
                    <a:lnTo>
                      <a:pt x="277" y="228"/>
                    </a:lnTo>
                    <a:lnTo>
                      <a:pt x="275" y="228"/>
                    </a:lnTo>
                    <a:lnTo>
                      <a:pt x="275" y="228"/>
                    </a:lnTo>
                    <a:lnTo>
                      <a:pt x="275" y="230"/>
                    </a:lnTo>
                    <a:lnTo>
                      <a:pt x="275" y="230"/>
                    </a:lnTo>
                    <a:lnTo>
                      <a:pt x="275" y="23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8" name="Freeform 144">
                <a:extLst>
                  <a:ext uri="{FF2B5EF4-FFF2-40B4-BE49-F238E27FC236}">
                    <a16:creationId xmlns:a16="http://schemas.microsoft.com/office/drawing/2014/main" id="{2A8D28E7-D47E-6EE3-A001-9BEA8408A6BC}"/>
                  </a:ext>
                </a:extLst>
              </p:cNvPr>
              <p:cNvSpPr>
                <a:spLocks noEditPoints="1"/>
              </p:cNvSpPr>
              <p:nvPr/>
            </p:nvSpPr>
            <p:spPr bwMode="auto">
              <a:xfrm>
                <a:off x="7499629" y="2558020"/>
                <a:ext cx="1554407" cy="1080132"/>
              </a:xfrm>
              <a:custGeom>
                <a:avLst/>
                <a:gdLst>
                  <a:gd name="T0" fmla="*/ 626 w 1075"/>
                  <a:gd name="T1" fmla="*/ 719 h 747"/>
                  <a:gd name="T2" fmla="*/ 687 w 1075"/>
                  <a:gd name="T3" fmla="*/ 683 h 747"/>
                  <a:gd name="T4" fmla="*/ 848 w 1075"/>
                  <a:gd name="T5" fmla="*/ 493 h 747"/>
                  <a:gd name="T6" fmla="*/ 1072 w 1075"/>
                  <a:gd name="T7" fmla="*/ 134 h 747"/>
                  <a:gd name="T8" fmla="*/ 1013 w 1075"/>
                  <a:gd name="T9" fmla="*/ 148 h 747"/>
                  <a:gd name="T10" fmla="*/ 984 w 1075"/>
                  <a:gd name="T11" fmla="*/ 109 h 747"/>
                  <a:gd name="T12" fmla="*/ 948 w 1075"/>
                  <a:gd name="T13" fmla="*/ 85 h 747"/>
                  <a:gd name="T14" fmla="*/ 927 w 1075"/>
                  <a:gd name="T15" fmla="*/ 30 h 747"/>
                  <a:gd name="T16" fmla="*/ 878 w 1075"/>
                  <a:gd name="T17" fmla="*/ 0 h 747"/>
                  <a:gd name="T18" fmla="*/ 829 w 1075"/>
                  <a:gd name="T19" fmla="*/ 34 h 747"/>
                  <a:gd name="T20" fmla="*/ 802 w 1075"/>
                  <a:gd name="T21" fmla="*/ 78 h 747"/>
                  <a:gd name="T22" fmla="*/ 741 w 1075"/>
                  <a:gd name="T23" fmla="*/ 132 h 747"/>
                  <a:gd name="T24" fmla="*/ 799 w 1075"/>
                  <a:gd name="T25" fmla="*/ 148 h 747"/>
                  <a:gd name="T26" fmla="*/ 749 w 1075"/>
                  <a:gd name="T27" fmla="*/ 193 h 747"/>
                  <a:gd name="T28" fmla="*/ 642 w 1075"/>
                  <a:gd name="T29" fmla="*/ 263 h 747"/>
                  <a:gd name="T30" fmla="*/ 400 w 1075"/>
                  <a:gd name="T31" fmla="*/ 259 h 747"/>
                  <a:gd name="T32" fmla="*/ 305 w 1075"/>
                  <a:gd name="T33" fmla="*/ 205 h 747"/>
                  <a:gd name="T34" fmla="*/ 255 w 1075"/>
                  <a:gd name="T35" fmla="*/ 128 h 747"/>
                  <a:gd name="T36" fmla="*/ 213 w 1075"/>
                  <a:gd name="T37" fmla="*/ 132 h 747"/>
                  <a:gd name="T38" fmla="*/ 158 w 1075"/>
                  <a:gd name="T39" fmla="*/ 203 h 747"/>
                  <a:gd name="T40" fmla="*/ 122 w 1075"/>
                  <a:gd name="T41" fmla="*/ 259 h 747"/>
                  <a:gd name="T42" fmla="*/ 35 w 1075"/>
                  <a:gd name="T43" fmla="*/ 310 h 747"/>
                  <a:gd name="T44" fmla="*/ 3 w 1075"/>
                  <a:gd name="T45" fmla="*/ 351 h 747"/>
                  <a:gd name="T46" fmla="*/ 28 w 1075"/>
                  <a:gd name="T47" fmla="*/ 385 h 747"/>
                  <a:gd name="T48" fmla="*/ 76 w 1075"/>
                  <a:gd name="T49" fmla="*/ 415 h 747"/>
                  <a:gd name="T50" fmla="*/ 91 w 1075"/>
                  <a:gd name="T51" fmla="*/ 445 h 747"/>
                  <a:gd name="T52" fmla="*/ 94 w 1075"/>
                  <a:gd name="T53" fmla="*/ 477 h 747"/>
                  <a:gd name="T54" fmla="*/ 89 w 1075"/>
                  <a:gd name="T55" fmla="*/ 487 h 747"/>
                  <a:gd name="T56" fmla="*/ 115 w 1075"/>
                  <a:gd name="T57" fmla="*/ 506 h 747"/>
                  <a:gd name="T58" fmla="*/ 201 w 1075"/>
                  <a:gd name="T59" fmla="*/ 548 h 747"/>
                  <a:gd name="T60" fmla="*/ 260 w 1075"/>
                  <a:gd name="T61" fmla="*/ 560 h 747"/>
                  <a:gd name="T62" fmla="*/ 295 w 1075"/>
                  <a:gd name="T63" fmla="*/ 558 h 747"/>
                  <a:gd name="T64" fmla="*/ 335 w 1075"/>
                  <a:gd name="T65" fmla="*/ 559 h 747"/>
                  <a:gd name="T66" fmla="*/ 361 w 1075"/>
                  <a:gd name="T67" fmla="*/ 540 h 747"/>
                  <a:gd name="T68" fmla="*/ 395 w 1075"/>
                  <a:gd name="T69" fmla="*/ 533 h 747"/>
                  <a:gd name="T70" fmla="*/ 400 w 1075"/>
                  <a:gd name="T71" fmla="*/ 550 h 747"/>
                  <a:gd name="T72" fmla="*/ 431 w 1075"/>
                  <a:gd name="T73" fmla="*/ 559 h 747"/>
                  <a:gd name="T74" fmla="*/ 424 w 1075"/>
                  <a:gd name="T75" fmla="*/ 619 h 747"/>
                  <a:gd name="T76" fmla="*/ 454 w 1075"/>
                  <a:gd name="T77" fmla="*/ 658 h 747"/>
                  <a:gd name="T78" fmla="*/ 493 w 1075"/>
                  <a:gd name="T79" fmla="*/ 693 h 747"/>
                  <a:gd name="T80" fmla="*/ 529 w 1075"/>
                  <a:gd name="T81" fmla="*/ 662 h 747"/>
                  <a:gd name="T82" fmla="*/ 583 w 1075"/>
                  <a:gd name="T83" fmla="*/ 662 h 747"/>
                  <a:gd name="T84" fmla="*/ 631 w 1075"/>
                  <a:gd name="T85" fmla="*/ 685 h 747"/>
                  <a:gd name="T86" fmla="*/ 647 w 1075"/>
                  <a:gd name="T87" fmla="*/ 690 h 747"/>
                  <a:gd name="T88" fmla="*/ 685 w 1075"/>
                  <a:gd name="T89" fmla="*/ 681 h 747"/>
                  <a:gd name="T90" fmla="*/ 714 w 1075"/>
                  <a:gd name="T91" fmla="*/ 665 h 747"/>
                  <a:gd name="T92" fmla="*/ 754 w 1075"/>
                  <a:gd name="T93" fmla="*/ 655 h 747"/>
                  <a:gd name="T94" fmla="*/ 780 w 1075"/>
                  <a:gd name="T95" fmla="*/ 629 h 747"/>
                  <a:gd name="T96" fmla="*/ 809 w 1075"/>
                  <a:gd name="T97" fmla="*/ 611 h 747"/>
                  <a:gd name="T98" fmla="*/ 826 w 1075"/>
                  <a:gd name="T99" fmla="*/ 572 h 747"/>
                  <a:gd name="T100" fmla="*/ 851 w 1075"/>
                  <a:gd name="T101" fmla="*/ 530 h 747"/>
                  <a:gd name="T102" fmla="*/ 848 w 1075"/>
                  <a:gd name="T103" fmla="*/ 503 h 747"/>
                  <a:gd name="T104" fmla="*/ 832 w 1075"/>
                  <a:gd name="T105" fmla="*/ 468 h 747"/>
                  <a:gd name="T106" fmla="*/ 830 w 1075"/>
                  <a:gd name="T107" fmla="*/ 392 h 747"/>
                  <a:gd name="T108" fmla="*/ 849 w 1075"/>
                  <a:gd name="T109" fmla="*/ 375 h 747"/>
                  <a:gd name="T110" fmla="*/ 773 w 1075"/>
                  <a:gd name="T111" fmla="*/ 352 h 747"/>
                  <a:gd name="T112" fmla="*/ 853 w 1075"/>
                  <a:gd name="T113" fmla="*/ 315 h 747"/>
                  <a:gd name="T114" fmla="*/ 848 w 1075"/>
                  <a:gd name="T115" fmla="*/ 343 h 747"/>
                  <a:gd name="T116" fmla="*/ 951 w 1075"/>
                  <a:gd name="T117" fmla="*/ 290 h 747"/>
                  <a:gd name="T118" fmla="*/ 1001 w 1075"/>
                  <a:gd name="T119" fmla="*/ 264 h 747"/>
                  <a:gd name="T120" fmla="*/ 1009 w 1075"/>
                  <a:gd name="T121" fmla="*/ 217 h 747"/>
                  <a:gd name="T122" fmla="*/ 1047 w 1075"/>
                  <a:gd name="T123" fmla="*/ 198 h 747"/>
                  <a:gd name="T124" fmla="*/ 1065 w 1075"/>
                  <a:gd name="T125" fmla="*/ 162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5" h="747">
                    <a:moveTo>
                      <a:pt x="812" y="606"/>
                    </a:moveTo>
                    <a:lnTo>
                      <a:pt x="813" y="608"/>
                    </a:lnTo>
                    <a:lnTo>
                      <a:pt x="812" y="609"/>
                    </a:lnTo>
                    <a:lnTo>
                      <a:pt x="812" y="611"/>
                    </a:lnTo>
                    <a:lnTo>
                      <a:pt x="810" y="611"/>
                    </a:lnTo>
                    <a:lnTo>
                      <a:pt x="810" y="608"/>
                    </a:lnTo>
                    <a:lnTo>
                      <a:pt x="812" y="608"/>
                    </a:lnTo>
                    <a:lnTo>
                      <a:pt x="812" y="606"/>
                    </a:lnTo>
                    <a:lnTo>
                      <a:pt x="812" y="606"/>
                    </a:lnTo>
                    <a:close/>
                    <a:moveTo>
                      <a:pt x="853" y="526"/>
                    </a:moveTo>
                    <a:lnTo>
                      <a:pt x="853" y="526"/>
                    </a:lnTo>
                    <a:lnTo>
                      <a:pt x="852" y="526"/>
                    </a:lnTo>
                    <a:lnTo>
                      <a:pt x="852" y="526"/>
                    </a:lnTo>
                    <a:lnTo>
                      <a:pt x="852" y="526"/>
                    </a:lnTo>
                    <a:lnTo>
                      <a:pt x="852" y="527"/>
                    </a:lnTo>
                    <a:lnTo>
                      <a:pt x="853" y="527"/>
                    </a:lnTo>
                    <a:lnTo>
                      <a:pt x="853" y="527"/>
                    </a:lnTo>
                    <a:lnTo>
                      <a:pt x="853" y="526"/>
                    </a:lnTo>
                    <a:close/>
                    <a:moveTo>
                      <a:pt x="782" y="629"/>
                    </a:moveTo>
                    <a:lnTo>
                      <a:pt x="783" y="629"/>
                    </a:lnTo>
                    <a:lnTo>
                      <a:pt x="783" y="629"/>
                    </a:lnTo>
                    <a:lnTo>
                      <a:pt x="782" y="628"/>
                    </a:lnTo>
                    <a:lnTo>
                      <a:pt x="782" y="629"/>
                    </a:lnTo>
                    <a:close/>
                    <a:moveTo>
                      <a:pt x="655" y="714"/>
                    </a:moveTo>
                    <a:lnTo>
                      <a:pt x="652" y="713"/>
                    </a:lnTo>
                    <a:lnTo>
                      <a:pt x="651" y="713"/>
                    </a:lnTo>
                    <a:lnTo>
                      <a:pt x="649" y="714"/>
                    </a:lnTo>
                    <a:lnTo>
                      <a:pt x="649" y="714"/>
                    </a:lnTo>
                    <a:lnTo>
                      <a:pt x="648" y="714"/>
                    </a:lnTo>
                    <a:lnTo>
                      <a:pt x="647" y="713"/>
                    </a:lnTo>
                    <a:lnTo>
                      <a:pt x="647" y="713"/>
                    </a:lnTo>
                    <a:lnTo>
                      <a:pt x="647" y="714"/>
                    </a:lnTo>
                    <a:lnTo>
                      <a:pt x="645" y="714"/>
                    </a:lnTo>
                    <a:lnTo>
                      <a:pt x="641" y="714"/>
                    </a:lnTo>
                    <a:lnTo>
                      <a:pt x="629" y="716"/>
                    </a:lnTo>
                    <a:lnTo>
                      <a:pt x="626" y="717"/>
                    </a:lnTo>
                    <a:lnTo>
                      <a:pt x="625" y="719"/>
                    </a:lnTo>
                    <a:lnTo>
                      <a:pt x="626" y="719"/>
                    </a:lnTo>
                    <a:lnTo>
                      <a:pt x="626" y="719"/>
                    </a:lnTo>
                    <a:lnTo>
                      <a:pt x="625" y="720"/>
                    </a:lnTo>
                    <a:lnTo>
                      <a:pt x="621" y="723"/>
                    </a:lnTo>
                    <a:lnTo>
                      <a:pt x="618" y="726"/>
                    </a:lnTo>
                    <a:lnTo>
                      <a:pt x="616" y="727"/>
                    </a:lnTo>
                    <a:lnTo>
                      <a:pt x="616" y="729"/>
                    </a:lnTo>
                    <a:lnTo>
                      <a:pt x="616" y="734"/>
                    </a:lnTo>
                    <a:lnTo>
                      <a:pt x="616" y="740"/>
                    </a:lnTo>
                    <a:lnTo>
                      <a:pt x="618" y="742"/>
                    </a:lnTo>
                    <a:lnTo>
                      <a:pt x="621" y="744"/>
                    </a:lnTo>
                    <a:lnTo>
                      <a:pt x="626" y="746"/>
                    </a:lnTo>
                    <a:lnTo>
                      <a:pt x="629" y="747"/>
                    </a:lnTo>
                    <a:lnTo>
                      <a:pt x="631" y="747"/>
                    </a:lnTo>
                    <a:lnTo>
                      <a:pt x="632" y="747"/>
                    </a:lnTo>
                    <a:lnTo>
                      <a:pt x="634" y="747"/>
                    </a:lnTo>
                    <a:lnTo>
                      <a:pt x="634" y="746"/>
                    </a:lnTo>
                    <a:lnTo>
                      <a:pt x="635" y="746"/>
                    </a:lnTo>
                    <a:lnTo>
                      <a:pt x="638" y="744"/>
                    </a:lnTo>
                    <a:lnTo>
                      <a:pt x="639" y="744"/>
                    </a:lnTo>
                    <a:lnTo>
                      <a:pt x="641" y="743"/>
                    </a:lnTo>
                    <a:lnTo>
                      <a:pt x="644" y="740"/>
                    </a:lnTo>
                    <a:lnTo>
                      <a:pt x="647" y="737"/>
                    </a:lnTo>
                    <a:lnTo>
                      <a:pt x="648" y="736"/>
                    </a:lnTo>
                    <a:lnTo>
                      <a:pt x="648" y="734"/>
                    </a:lnTo>
                    <a:lnTo>
                      <a:pt x="651" y="727"/>
                    </a:lnTo>
                    <a:lnTo>
                      <a:pt x="652" y="726"/>
                    </a:lnTo>
                    <a:lnTo>
                      <a:pt x="654" y="724"/>
                    </a:lnTo>
                    <a:lnTo>
                      <a:pt x="655" y="721"/>
                    </a:lnTo>
                    <a:lnTo>
                      <a:pt x="657" y="720"/>
                    </a:lnTo>
                    <a:lnTo>
                      <a:pt x="658" y="719"/>
                    </a:lnTo>
                    <a:lnTo>
                      <a:pt x="657" y="716"/>
                    </a:lnTo>
                    <a:lnTo>
                      <a:pt x="655" y="714"/>
                    </a:lnTo>
                    <a:close/>
                    <a:moveTo>
                      <a:pt x="684" y="683"/>
                    </a:moveTo>
                    <a:lnTo>
                      <a:pt x="684" y="684"/>
                    </a:lnTo>
                    <a:lnTo>
                      <a:pt x="685" y="684"/>
                    </a:lnTo>
                    <a:lnTo>
                      <a:pt x="685" y="684"/>
                    </a:lnTo>
                    <a:lnTo>
                      <a:pt x="685" y="683"/>
                    </a:lnTo>
                    <a:lnTo>
                      <a:pt x="687" y="683"/>
                    </a:lnTo>
                    <a:lnTo>
                      <a:pt x="685" y="683"/>
                    </a:lnTo>
                    <a:lnTo>
                      <a:pt x="684" y="683"/>
                    </a:lnTo>
                    <a:close/>
                    <a:moveTo>
                      <a:pt x="688" y="683"/>
                    </a:moveTo>
                    <a:lnTo>
                      <a:pt x="688" y="683"/>
                    </a:lnTo>
                    <a:lnTo>
                      <a:pt x="688" y="684"/>
                    </a:lnTo>
                    <a:lnTo>
                      <a:pt x="688" y="684"/>
                    </a:lnTo>
                    <a:lnTo>
                      <a:pt x="690" y="683"/>
                    </a:lnTo>
                    <a:lnTo>
                      <a:pt x="690" y="681"/>
                    </a:lnTo>
                    <a:lnTo>
                      <a:pt x="688" y="681"/>
                    </a:lnTo>
                    <a:lnTo>
                      <a:pt x="688" y="683"/>
                    </a:lnTo>
                    <a:close/>
                    <a:moveTo>
                      <a:pt x="838" y="558"/>
                    </a:moveTo>
                    <a:lnTo>
                      <a:pt x="838" y="556"/>
                    </a:lnTo>
                    <a:lnTo>
                      <a:pt x="836" y="556"/>
                    </a:lnTo>
                    <a:lnTo>
                      <a:pt x="836" y="556"/>
                    </a:lnTo>
                    <a:lnTo>
                      <a:pt x="836" y="558"/>
                    </a:lnTo>
                    <a:lnTo>
                      <a:pt x="836" y="558"/>
                    </a:lnTo>
                    <a:lnTo>
                      <a:pt x="836" y="559"/>
                    </a:lnTo>
                    <a:lnTo>
                      <a:pt x="836" y="559"/>
                    </a:lnTo>
                    <a:lnTo>
                      <a:pt x="836" y="559"/>
                    </a:lnTo>
                    <a:lnTo>
                      <a:pt x="838" y="559"/>
                    </a:lnTo>
                    <a:lnTo>
                      <a:pt x="838" y="558"/>
                    </a:lnTo>
                    <a:lnTo>
                      <a:pt x="838" y="558"/>
                    </a:lnTo>
                    <a:lnTo>
                      <a:pt x="838" y="558"/>
                    </a:lnTo>
                    <a:close/>
                    <a:moveTo>
                      <a:pt x="701" y="660"/>
                    </a:moveTo>
                    <a:lnTo>
                      <a:pt x="700" y="660"/>
                    </a:lnTo>
                    <a:lnTo>
                      <a:pt x="700" y="660"/>
                    </a:lnTo>
                    <a:lnTo>
                      <a:pt x="701" y="661"/>
                    </a:lnTo>
                    <a:lnTo>
                      <a:pt x="701" y="661"/>
                    </a:lnTo>
                    <a:lnTo>
                      <a:pt x="703" y="662"/>
                    </a:lnTo>
                    <a:lnTo>
                      <a:pt x="703" y="661"/>
                    </a:lnTo>
                    <a:lnTo>
                      <a:pt x="701" y="660"/>
                    </a:lnTo>
                    <a:lnTo>
                      <a:pt x="701" y="660"/>
                    </a:lnTo>
                    <a:close/>
                    <a:moveTo>
                      <a:pt x="839" y="487"/>
                    </a:moveTo>
                    <a:lnTo>
                      <a:pt x="838" y="487"/>
                    </a:lnTo>
                    <a:lnTo>
                      <a:pt x="839" y="490"/>
                    </a:lnTo>
                    <a:lnTo>
                      <a:pt x="842" y="491"/>
                    </a:lnTo>
                    <a:lnTo>
                      <a:pt x="845" y="493"/>
                    </a:lnTo>
                    <a:lnTo>
                      <a:pt x="848" y="493"/>
                    </a:lnTo>
                    <a:lnTo>
                      <a:pt x="846" y="491"/>
                    </a:lnTo>
                    <a:lnTo>
                      <a:pt x="843" y="489"/>
                    </a:lnTo>
                    <a:lnTo>
                      <a:pt x="839" y="487"/>
                    </a:lnTo>
                    <a:close/>
                    <a:moveTo>
                      <a:pt x="853" y="519"/>
                    </a:moveTo>
                    <a:lnTo>
                      <a:pt x="852" y="519"/>
                    </a:lnTo>
                    <a:lnTo>
                      <a:pt x="851" y="519"/>
                    </a:lnTo>
                    <a:lnTo>
                      <a:pt x="851" y="520"/>
                    </a:lnTo>
                    <a:lnTo>
                      <a:pt x="853" y="522"/>
                    </a:lnTo>
                    <a:lnTo>
                      <a:pt x="855" y="522"/>
                    </a:lnTo>
                    <a:lnTo>
                      <a:pt x="856" y="520"/>
                    </a:lnTo>
                    <a:lnTo>
                      <a:pt x="855" y="520"/>
                    </a:lnTo>
                    <a:lnTo>
                      <a:pt x="853" y="519"/>
                    </a:lnTo>
                    <a:close/>
                    <a:moveTo>
                      <a:pt x="647" y="694"/>
                    </a:moveTo>
                    <a:lnTo>
                      <a:pt x="645" y="694"/>
                    </a:lnTo>
                    <a:lnTo>
                      <a:pt x="644" y="696"/>
                    </a:lnTo>
                    <a:lnTo>
                      <a:pt x="645" y="696"/>
                    </a:lnTo>
                    <a:lnTo>
                      <a:pt x="647" y="696"/>
                    </a:lnTo>
                    <a:lnTo>
                      <a:pt x="648" y="696"/>
                    </a:lnTo>
                    <a:lnTo>
                      <a:pt x="649" y="694"/>
                    </a:lnTo>
                    <a:lnTo>
                      <a:pt x="648" y="694"/>
                    </a:lnTo>
                    <a:lnTo>
                      <a:pt x="647" y="694"/>
                    </a:lnTo>
                    <a:close/>
                    <a:moveTo>
                      <a:pt x="858" y="523"/>
                    </a:moveTo>
                    <a:lnTo>
                      <a:pt x="858" y="522"/>
                    </a:lnTo>
                    <a:lnTo>
                      <a:pt x="858" y="523"/>
                    </a:lnTo>
                    <a:lnTo>
                      <a:pt x="858" y="525"/>
                    </a:lnTo>
                    <a:lnTo>
                      <a:pt x="858" y="525"/>
                    </a:lnTo>
                    <a:lnTo>
                      <a:pt x="858" y="525"/>
                    </a:lnTo>
                    <a:lnTo>
                      <a:pt x="858" y="523"/>
                    </a:lnTo>
                    <a:lnTo>
                      <a:pt x="858" y="523"/>
                    </a:lnTo>
                    <a:lnTo>
                      <a:pt x="858" y="523"/>
                    </a:lnTo>
                    <a:close/>
                    <a:moveTo>
                      <a:pt x="1073" y="142"/>
                    </a:moveTo>
                    <a:lnTo>
                      <a:pt x="1072" y="139"/>
                    </a:lnTo>
                    <a:lnTo>
                      <a:pt x="1073" y="138"/>
                    </a:lnTo>
                    <a:lnTo>
                      <a:pt x="1073" y="138"/>
                    </a:lnTo>
                    <a:lnTo>
                      <a:pt x="1073" y="136"/>
                    </a:lnTo>
                    <a:lnTo>
                      <a:pt x="1073" y="135"/>
                    </a:lnTo>
                    <a:lnTo>
                      <a:pt x="1073" y="134"/>
                    </a:lnTo>
                    <a:lnTo>
                      <a:pt x="1072" y="134"/>
                    </a:lnTo>
                    <a:lnTo>
                      <a:pt x="1070" y="132"/>
                    </a:lnTo>
                    <a:lnTo>
                      <a:pt x="1069" y="132"/>
                    </a:lnTo>
                    <a:lnTo>
                      <a:pt x="1067" y="132"/>
                    </a:lnTo>
                    <a:lnTo>
                      <a:pt x="1066" y="132"/>
                    </a:lnTo>
                    <a:lnTo>
                      <a:pt x="1065" y="132"/>
                    </a:lnTo>
                    <a:lnTo>
                      <a:pt x="1060" y="134"/>
                    </a:lnTo>
                    <a:lnTo>
                      <a:pt x="1059" y="134"/>
                    </a:lnTo>
                    <a:lnTo>
                      <a:pt x="1057" y="135"/>
                    </a:lnTo>
                    <a:lnTo>
                      <a:pt x="1053" y="138"/>
                    </a:lnTo>
                    <a:lnTo>
                      <a:pt x="1053" y="138"/>
                    </a:lnTo>
                    <a:lnTo>
                      <a:pt x="1049" y="138"/>
                    </a:lnTo>
                    <a:lnTo>
                      <a:pt x="1047" y="138"/>
                    </a:lnTo>
                    <a:lnTo>
                      <a:pt x="1046" y="138"/>
                    </a:lnTo>
                    <a:lnTo>
                      <a:pt x="1046" y="138"/>
                    </a:lnTo>
                    <a:lnTo>
                      <a:pt x="1044" y="139"/>
                    </a:lnTo>
                    <a:lnTo>
                      <a:pt x="1043" y="139"/>
                    </a:lnTo>
                    <a:lnTo>
                      <a:pt x="1043" y="141"/>
                    </a:lnTo>
                    <a:lnTo>
                      <a:pt x="1042" y="141"/>
                    </a:lnTo>
                    <a:lnTo>
                      <a:pt x="1040" y="142"/>
                    </a:lnTo>
                    <a:lnTo>
                      <a:pt x="1039" y="142"/>
                    </a:lnTo>
                    <a:lnTo>
                      <a:pt x="1039" y="142"/>
                    </a:lnTo>
                    <a:lnTo>
                      <a:pt x="1037" y="144"/>
                    </a:lnTo>
                    <a:lnTo>
                      <a:pt x="1037" y="145"/>
                    </a:lnTo>
                    <a:lnTo>
                      <a:pt x="1037" y="145"/>
                    </a:lnTo>
                    <a:lnTo>
                      <a:pt x="1036" y="147"/>
                    </a:lnTo>
                    <a:lnTo>
                      <a:pt x="1036" y="147"/>
                    </a:lnTo>
                    <a:lnTo>
                      <a:pt x="1034" y="148"/>
                    </a:lnTo>
                    <a:lnTo>
                      <a:pt x="1033" y="147"/>
                    </a:lnTo>
                    <a:lnTo>
                      <a:pt x="1031" y="147"/>
                    </a:lnTo>
                    <a:lnTo>
                      <a:pt x="1029" y="148"/>
                    </a:lnTo>
                    <a:lnTo>
                      <a:pt x="1026" y="148"/>
                    </a:lnTo>
                    <a:lnTo>
                      <a:pt x="1024" y="148"/>
                    </a:lnTo>
                    <a:lnTo>
                      <a:pt x="1019" y="148"/>
                    </a:lnTo>
                    <a:lnTo>
                      <a:pt x="1017" y="147"/>
                    </a:lnTo>
                    <a:lnTo>
                      <a:pt x="1016" y="147"/>
                    </a:lnTo>
                    <a:lnTo>
                      <a:pt x="1016" y="147"/>
                    </a:lnTo>
                    <a:lnTo>
                      <a:pt x="1014" y="147"/>
                    </a:lnTo>
                    <a:lnTo>
                      <a:pt x="1013" y="148"/>
                    </a:lnTo>
                    <a:lnTo>
                      <a:pt x="1011" y="148"/>
                    </a:lnTo>
                    <a:lnTo>
                      <a:pt x="1010" y="148"/>
                    </a:lnTo>
                    <a:lnTo>
                      <a:pt x="1010" y="148"/>
                    </a:lnTo>
                    <a:lnTo>
                      <a:pt x="1009" y="148"/>
                    </a:lnTo>
                    <a:lnTo>
                      <a:pt x="1007" y="144"/>
                    </a:lnTo>
                    <a:lnTo>
                      <a:pt x="1007" y="142"/>
                    </a:lnTo>
                    <a:lnTo>
                      <a:pt x="1006" y="142"/>
                    </a:lnTo>
                    <a:lnTo>
                      <a:pt x="1006" y="142"/>
                    </a:lnTo>
                    <a:lnTo>
                      <a:pt x="1006" y="141"/>
                    </a:lnTo>
                    <a:lnTo>
                      <a:pt x="1004" y="141"/>
                    </a:lnTo>
                    <a:lnTo>
                      <a:pt x="1004" y="139"/>
                    </a:lnTo>
                    <a:lnTo>
                      <a:pt x="1004" y="139"/>
                    </a:lnTo>
                    <a:lnTo>
                      <a:pt x="1004" y="139"/>
                    </a:lnTo>
                    <a:lnTo>
                      <a:pt x="1004" y="138"/>
                    </a:lnTo>
                    <a:lnTo>
                      <a:pt x="1004" y="136"/>
                    </a:lnTo>
                    <a:lnTo>
                      <a:pt x="1006" y="135"/>
                    </a:lnTo>
                    <a:lnTo>
                      <a:pt x="1006" y="135"/>
                    </a:lnTo>
                    <a:lnTo>
                      <a:pt x="1006" y="134"/>
                    </a:lnTo>
                    <a:lnTo>
                      <a:pt x="1006" y="134"/>
                    </a:lnTo>
                    <a:lnTo>
                      <a:pt x="1006" y="132"/>
                    </a:lnTo>
                    <a:lnTo>
                      <a:pt x="1004" y="131"/>
                    </a:lnTo>
                    <a:lnTo>
                      <a:pt x="1001" y="126"/>
                    </a:lnTo>
                    <a:lnTo>
                      <a:pt x="1001" y="125"/>
                    </a:lnTo>
                    <a:lnTo>
                      <a:pt x="1001" y="124"/>
                    </a:lnTo>
                    <a:lnTo>
                      <a:pt x="1001" y="124"/>
                    </a:lnTo>
                    <a:lnTo>
                      <a:pt x="1001" y="122"/>
                    </a:lnTo>
                    <a:lnTo>
                      <a:pt x="1003" y="122"/>
                    </a:lnTo>
                    <a:lnTo>
                      <a:pt x="1001" y="119"/>
                    </a:lnTo>
                    <a:lnTo>
                      <a:pt x="998" y="119"/>
                    </a:lnTo>
                    <a:lnTo>
                      <a:pt x="997" y="119"/>
                    </a:lnTo>
                    <a:lnTo>
                      <a:pt x="996" y="119"/>
                    </a:lnTo>
                    <a:lnTo>
                      <a:pt x="994" y="118"/>
                    </a:lnTo>
                    <a:lnTo>
                      <a:pt x="991" y="116"/>
                    </a:lnTo>
                    <a:lnTo>
                      <a:pt x="990" y="115"/>
                    </a:lnTo>
                    <a:lnTo>
                      <a:pt x="988" y="111"/>
                    </a:lnTo>
                    <a:lnTo>
                      <a:pt x="986" y="109"/>
                    </a:lnTo>
                    <a:lnTo>
                      <a:pt x="986" y="109"/>
                    </a:lnTo>
                    <a:lnTo>
                      <a:pt x="984" y="109"/>
                    </a:lnTo>
                    <a:lnTo>
                      <a:pt x="984" y="108"/>
                    </a:lnTo>
                    <a:lnTo>
                      <a:pt x="983" y="108"/>
                    </a:lnTo>
                    <a:lnTo>
                      <a:pt x="983" y="106"/>
                    </a:lnTo>
                    <a:lnTo>
                      <a:pt x="981" y="106"/>
                    </a:lnTo>
                    <a:lnTo>
                      <a:pt x="981" y="106"/>
                    </a:lnTo>
                    <a:lnTo>
                      <a:pt x="981" y="106"/>
                    </a:lnTo>
                    <a:lnTo>
                      <a:pt x="980" y="106"/>
                    </a:lnTo>
                    <a:lnTo>
                      <a:pt x="980" y="106"/>
                    </a:lnTo>
                    <a:lnTo>
                      <a:pt x="978" y="106"/>
                    </a:lnTo>
                    <a:lnTo>
                      <a:pt x="978" y="106"/>
                    </a:lnTo>
                    <a:lnTo>
                      <a:pt x="977" y="106"/>
                    </a:lnTo>
                    <a:lnTo>
                      <a:pt x="975" y="106"/>
                    </a:lnTo>
                    <a:lnTo>
                      <a:pt x="975" y="106"/>
                    </a:lnTo>
                    <a:lnTo>
                      <a:pt x="974" y="105"/>
                    </a:lnTo>
                    <a:lnTo>
                      <a:pt x="971" y="103"/>
                    </a:lnTo>
                    <a:lnTo>
                      <a:pt x="970" y="103"/>
                    </a:lnTo>
                    <a:lnTo>
                      <a:pt x="970" y="102"/>
                    </a:lnTo>
                    <a:lnTo>
                      <a:pt x="970" y="102"/>
                    </a:lnTo>
                    <a:lnTo>
                      <a:pt x="968" y="101"/>
                    </a:lnTo>
                    <a:lnTo>
                      <a:pt x="968" y="101"/>
                    </a:lnTo>
                    <a:lnTo>
                      <a:pt x="967" y="101"/>
                    </a:lnTo>
                    <a:lnTo>
                      <a:pt x="961" y="102"/>
                    </a:lnTo>
                    <a:lnTo>
                      <a:pt x="957" y="102"/>
                    </a:lnTo>
                    <a:lnTo>
                      <a:pt x="952" y="101"/>
                    </a:lnTo>
                    <a:lnTo>
                      <a:pt x="952" y="99"/>
                    </a:lnTo>
                    <a:lnTo>
                      <a:pt x="951" y="99"/>
                    </a:lnTo>
                    <a:lnTo>
                      <a:pt x="951" y="99"/>
                    </a:lnTo>
                    <a:lnTo>
                      <a:pt x="951" y="98"/>
                    </a:lnTo>
                    <a:lnTo>
                      <a:pt x="950" y="96"/>
                    </a:lnTo>
                    <a:lnTo>
                      <a:pt x="950" y="96"/>
                    </a:lnTo>
                    <a:lnTo>
                      <a:pt x="948" y="95"/>
                    </a:lnTo>
                    <a:lnTo>
                      <a:pt x="948" y="95"/>
                    </a:lnTo>
                    <a:lnTo>
                      <a:pt x="947" y="92"/>
                    </a:lnTo>
                    <a:lnTo>
                      <a:pt x="948" y="90"/>
                    </a:lnTo>
                    <a:lnTo>
                      <a:pt x="948" y="89"/>
                    </a:lnTo>
                    <a:lnTo>
                      <a:pt x="948" y="86"/>
                    </a:lnTo>
                    <a:lnTo>
                      <a:pt x="948" y="85"/>
                    </a:lnTo>
                    <a:lnTo>
                      <a:pt x="948" y="85"/>
                    </a:lnTo>
                    <a:lnTo>
                      <a:pt x="948" y="85"/>
                    </a:lnTo>
                    <a:lnTo>
                      <a:pt x="947" y="83"/>
                    </a:lnTo>
                    <a:lnTo>
                      <a:pt x="945" y="82"/>
                    </a:lnTo>
                    <a:lnTo>
                      <a:pt x="945" y="82"/>
                    </a:lnTo>
                    <a:lnTo>
                      <a:pt x="945" y="82"/>
                    </a:lnTo>
                    <a:lnTo>
                      <a:pt x="945" y="80"/>
                    </a:lnTo>
                    <a:lnTo>
                      <a:pt x="945" y="79"/>
                    </a:lnTo>
                    <a:lnTo>
                      <a:pt x="944" y="79"/>
                    </a:lnTo>
                    <a:lnTo>
                      <a:pt x="944" y="78"/>
                    </a:lnTo>
                    <a:lnTo>
                      <a:pt x="945" y="76"/>
                    </a:lnTo>
                    <a:lnTo>
                      <a:pt x="945" y="75"/>
                    </a:lnTo>
                    <a:lnTo>
                      <a:pt x="945" y="75"/>
                    </a:lnTo>
                    <a:lnTo>
                      <a:pt x="945" y="73"/>
                    </a:lnTo>
                    <a:lnTo>
                      <a:pt x="944" y="73"/>
                    </a:lnTo>
                    <a:lnTo>
                      <a:pt x="944" y="70"/>
                    </a:lnTo>
                    <a:lnTo>
                      <a:pt x="942" y="67"/>
                    </a:lnTo>
                    <a:lnTo>
                      <a:pt x="940" y="65"/>
                    </a:lnTo>
                    <a:lnTo>
                      <a:pt x="937" y="62"/>
                    </a:lnTo>
                    <a:lnTo>
                      <a:pt x="937" y="59"/>
                    </a:lnTo>
                    <a:lnTo>
                      <a:pt x="935" y="56"/>
                    </a:lnTo>
                    <a:lnTo>
                      <a:pt x="937" y="55"/>
                    </a:lnTo>
                    <a:lnTo>
                      <a:pt x="935" y="53"/>
                    </a:lnTo>
                    <a:lnTo>
                      <a:pt x="935" y="52"/>
                    </a:lnTo>
                    <a:lnTo>
                      <a:pt x="935" y="50"/>
                    </a:lnTo>
                    <a:lnTo>
                      <a:pt x="934" y="49"/>
                    </a:lnTo>
                    <a:lnTo>
                      <a:pt x="934" y="49"/>
                    </a:lnTo>
                    <a:lnTo>
                      <a:pt x="934" y="47"/>
                    </a:lnTo>
                    <a:lnTo>
                      <a:pt x="934" y="46"/>
                    </a:lnTo>
                    <a:lnTo>
                      <a:pt x="934" y="46"/>
                    </a:lnTo>
                    <a:lnTo>
                      <a:pt x="932" y="44"/>
                    </a:lnTo>
                    <a:lnTo>
                      <a:pt x="932" y="43"/>
                    </a:lnTo>
                    <a:lnTo>
                      <a:pt x="930" y="40"/>
                    </a:lnTo>
                    <a:lnTo>
                      <a:pt x="930" y="37"/>
                    </a:lnTo>
                    <a:lnTo>
                      <a:pt x="930" y="34"/>
                    </a:lnTo>
                    <a:lnTo>
                      <a:pt x="928" y="34"/>
                    </a:lnTo>
                    <a:lnTo>
                      <a:pt x="928" y="33"/>
                    </a:lnTo>
                    <a:lnTo>
                      <a:pt x="928" y="30"/>
                    </a:lnTo>
                    <a:lnTo>
                      <a:pt x="927" y="30"/>
                    </a:lnTo>
                    <a:lnTo>
                      <a:pt x="927" y="29"/>
                    </a:lnTo>
                    <a:lnTo>
                      <a:pt x="927" y="29"/>
                    </a:lnTo>
                    <a:lnTo>
                      <a:pt x="927" y="27"/>
                    </a:lnTo>
                    <a:lnTo>
                      <a:pt x="925" y="27"/>
                    </a:lnTo>
                    <a:lnTo>
                      <a:pt x="925" y="27"/>
                    </a:lnTo>
                    <a:lnTo>
                      <a:pt x="924" y="24"/>
                    </a:lnTo>
                    <a:lnTo>
                      <a:pt x="922" y="24"/>
                    </a:lnTo>
                    <a:lnTo>
                      <a:pt x="921" y="23"/>
                    </a:lnTo>
                    <a:lnTo>
                      <a:pt x="922" y="20"/>
                    </a:lnTo>
                    <a:lnTo>
                      <a:pt x="922" y="20"/>
                    </a:lnTo>
                    <a:lnTo>
                      <a:pt x="922" y="20"/>
                    </a:lnTo>
                    <a:lnTo>
                      <a:pt x="921" y="19"/>
                    </a:lnTo>
                    <a:lnTo>
                      <a:pt x="919" y="17"/>
                    </a:lnTo>
                    <a:lnTo>
                      <a:pt x="919" y="16"/>
                    </a:lnTo>
                    <a:lnTo>
                      <a:pt x="917" y="16"/>
                    </a:lnTo>
                    <a:lnTo>
                      <a:pt x="915" y="13"/>
                    </a:lnTo>
                    <a:lnTo>
                      <a:pt x="914" y="11"/>
                    </a:lnTo>
                    <a:lnTo>
                      <a:pt x="911" y="11"/>
                    </a:lnTo>
                    <a:lnTo>
                      <a:pt x="909" y="10"/>
                    </a:lnTo>
                    <a:lnTo>
                      <a:pt x="908" y="9"/>
                    </a:lnTo>
                    <a:lnTo>
                      <a:pt x="907" y="9"/>
                    </a:lnTo>
                    <a:lnTo>
                      <a:pt x="905" y="9"/>
                    </a:lnTo>
                    <a:lnTo>
                      <a:pt x="904" y="9"/>
                    </a:lnTo>
                    <a:lnTo>
                      <a:pt x="902" y="9"/>
                    </a:lnTo>
                    <a:lnTo>
                      <a:pt x="901" y="10"/>
                    </a:lnTo>
                    <a:lnTo>
                      <a:pt x="899" y="10"/>
                    </a:lnTo>
                    <a:lnTo>
                      <a:pt x="896" y="9"/>
                    </a:lnTo>
                    <a:lnTo>
                      <a:pt x="894" y="7"/>
                    </a:lnTo>
                    <a:lnTo>
                      <a:pt x="892" y="7"/>
                    </a:lnTo>
                    <a:lnTo>
                      <a:pt x="891" y="4"/>
                    </a:lnTo>
                    <a:lnTo>
                      <a:pt x="888" y="4"/>
                    </a:lnTo>
                    <a:lnTo>
                      <a:pt x="886" y="4"/>
                    </a:lnTo>
                    <a:lnTo>
                      <a:pt x="886" y="3"/>
                    </a:lnTo>
                    <a:lnTo>
                      <a:pt x="881" y="0"/>
                    </a:lnTo>
                    <a:lnTo>
                      <a:pt x="881" y="0"/>
                    </a:lnTo>
                    <a:lnTo>
                      <a:pt x="879" y="0"/>
                    </a:lnTo>
                    <a:lnTo>
                      <a:pt x="879" y="0"/>
                    </a:lnTo>
                    <a:lnTo>
                      <a:pt x="878" y="0"/>
                    </a:lnTo>
                    <a:lnTo>
                      <a:pt x="876" y="0"/>
                    </a:lnTo>
                    <a:lnTo>
                      <a:pt x="876" y="0"/>
                    </a:lnTo>
                    <a:lnTo>
                      <a:pt x="875" y="0"/>
                    </a:lnTo>
                    <a:lnTo>
                      <a:pt x="875" y="0"/>
                    </a:lnTo>
                    <a:lnTo>
                      <a:pt x="874" y="0"/>
                    </a:lnTo>
                    <a:lnTo>
                      <a:pt x="872" y="0"/>
                    </a:lnTo>
                    <a:lnTo>
                      <a:pt x="871" y="0"/>
                    </a:lnTo>
                    <a:lnTo>
                      <a:pt x="869" y="0"/>
                    </a:lnTo>
                    <a:lnTo>
                      <a:pt x="868" y="1"/>
                    </a:lnTo>
                    <a:lnTo>
                      <a:pt x="866" y="1"/>
                    </a:lnTo>
                    <a:lnTo>
                      <a:pt x="863" y="1"/>
                    </a:lnTo>
                    <a:lnTo>
                      <a:pt x="862" y="1"/>
                    </a:lnTo>
                    <a:lnTo>
                      <a:pt x="859" y="1"/>
                    </a:lnTo>
                    <a:lnTo>
                      <a:pt x="856" y="1"/>
                    </a:lnTo>
                    <a:lnTo>
                      <a:pt x="840" y="6"/>
                    </a:lnTo>
                    <a:lnTo>
                      <a:pt x="836" y="6"/>
                    </a:lnTo>
                    <a:lnTo>
                      <a:pt x="833" y="6"/>
                    </a:lnTo>
                    <a:lnTo>
                      <a:pt x="830" y="7"/>
                    </a:lnTo>
                    <a:lnTo>
                      <a:pt x="828" y="9"/>
                    </a:lnTo>
                    <a:lnTo>
                      <a:pt x="822" y="16"/>
                    </a:lnTo>
                    <a:lnTo>
                      <a:pt x="820" y="17"/>
                    </a:lnTo>
                    <a:lnTo>
                      <a:pt x="819" y="17"/>
                    </a:lnTo>
                    <a:lnTo>
                      <a:pt x="817" y="19"/>
                    </a:lnTo>
                    <a:lnTo>
                      <a:pt x="816" y="20"/>
                    </a:lnTo>
                    <a:lnTo>
                      <a:pt x="816" y="21"/>
                    </a:lnTo>
                    <a:lnTo>
                      <a:pt x="817" y="21"/>
                    </a:lnTo>
                    <a:lnTo>
                      <a:pt x="817" y="23"/>
                    </a:lnTo>
                    <a:lnTo>
                      <a:pt x="819" y="23"/>
                    </a:lnTo>
                    <a:lnTo>
                      <a:pt x="820" y="23"/>
                    </a:lnTo>
                    <a:lnTo>
                      <a:pt x="822" y="21"/>
                    </a:lnTo>
                    <a:lnTo>
                      <a:pt x="825" y="23"/>
                    </a:lnTo>
                    <a:lnTo>
                      <a:pt x="828" y="23"/>
                    </a:lnTo>
                    <a:lnTo>
                      <a:pt x="828" y="26"/>
                    </a:lnTo>
                    <a:lnTo>
                      <a:pt x="828" y="27"/>
                    </a:lnTo>
                    <a:lnTo>
                      <a:pt x="828" y="29"/>
                    </a:lnTo>
                    <a:lnTo>
                      <a:pt x="828" y="30"/>
                    </a:lnTo>
                    <a:lnTo>
                      <a:pt x="829" y="33"/>
                    </a:lnTo>
                    <a:lnTo>
                      <a:pt x="829" y="34"/>
                    </a:lnTo>
                    <a:lnTo>
                      <a:pt x="829" y="34"/>
                    </a:lnTo>
                    <a:lnTo>
                      <a:pt x="829" y="36"/>
                    </a:lnTo>
                    <a:lnTo>
                      <a:pt x="828" y="37"/>
                    </a:lnTo>
                    <a:lnTo>
                      <a:pt x="828" y="37"/>
                    </a:lnTo>
                    <a:lnTo>
                      <a:pt x="828" y="39"/>
                    </a:lnTo>
                    <a:lnTo>
                      <a:pt x="826" y="39"/>
                    </a:lnTo>
                    <a:lnTo>
                      <a:pt x="826" y="40"/>
                    </a:lnTo>
                    <a:lnTo>
                      <a:pt x="825" y="42"/>
                    </a:lnTo>
                    <a:lnTo>
                      <a:pt x="825" y="42"/>
                    </a:lnTo>
                    <a:lnTo>
                      <a:pt x="823" y="43"/>
                    </a:lnTo>
                    <a:lnTo>
                      <a:pt x="822" y="43"/>
                    </a:lnTo>
                    <a:lnTo>
                      <a:pt x="820" y="44"/>
                    </a:lnTo>
                    <a:lnTo>
                      <a:pt x="819" y="46"/>
                    </a:lnTo>
                    <a:lnTo>
                      <a:pt x="816" y="47"/>
                    </a:lnTo>
                    <a:lnTo>
                      <a:pt x="816" y="52"/>
                    </a:lnTo>
                    <a:lnTo>
                      <a:pt x="815" y="53"/>
                    </a:lnTo>
                    <a:lnTo>
                      <a:pt x="813" y="55"/>
                    </a:lnTo>
                    <a:lnTo>
                      <a:pt x="812" y="56"/>
                    </a:lnTo>
                    <a:lnTo>
                      <a:pt x="812" y="57"/>
                    </a:lnTo>
                    <a:lnTo>
                      <a:pt x="812" y="59"/>
                    </a:lnTo>
                    <a:lnTo>
                      <a:pt x="812" y="59"/>
                    </a:lnTo>
                    <a:lnTo>
                      <a:pt x="812" y="60"/>
                    </a:lnTo>
                    <a:lnTo>
                      <a:pt x="810" y="62"/>
                    </a:lnTo>
                    <a:lnTo>
                      <a:pt x="810" y="62"/>
                    </a:lnTo>
                    <a:lnTo>
                      <a:pt x="810" y="63"/>
                    </a:lnTo>
                    <a:lnTo>
                      <a:pt x="809" y="65"/>
                    </a:lnTo>
                    <a:lnTo>
                      <a:pt x="807" y="65"/>
                    </a:lnTo>
                    <a:lnTo>
                      <a:pt x="807" y="66"/>
                    </a:lnTo>
                    <a:lnTo>
                      <a:pt x="807" y="66"/>
                    </a:lnTo>
                    <a:lnTo>
                      <a:pt x="807" y="67"/>
                    </a:lnTo>
                    <a:lnTo>
                      <a:pt x="807" y="69"/>
                    </a:lnTo>
                    <a:lnTo>
                      <a:pt x="807" y="69"/>
                    </a:lnTo>
                    <a:lnTo>
                      <a:pt x="806" y="70"/>
                    </a:lnTo>
                    <a:lnTo>
                      <a:pt x="803" y="75"/>
                    </a:lnTo>
                    <a:lnTo>
                      <a:pt x="803" y="76"/>
                    </a:lnTo>
                    <a:lnTo>
                      <a:pt x="803" y="76"/>
                    </a:lnTo>
                    <a:lnTo>
                      <a:pt x="803" y="78"/>
                    </a:lnTo>
                    <a:lnTo>
                      <a:pt x="802" y="78"/>
                    </a:lnTo>
                    <a:lnTo>
                      <a:pt x="802" y="79"/>
                    </a:lnTo>
                    <a:lnTo>
                      <a:pt x="800" y="79"/>
                    </a:lnTo>
                    <a:lnTo>
                      <a:pt x="802" y="80"/>
                    </a:lnTo>
                    <a:lnTo>
                      <a:pt x="802" y="80"/>
                    </a:lnTo>
                    <a:lnTo>
                      <a:pt x="803" y="80"/>
                    </a:lnTo>
                    <a:lnTo>
                      <a:pt x="803" y="80"/>
                    </a:lnTo>
                    <a:lnTo>
                      <a:pt x="803" y="82"/>
                    </a:lnTo>
                    <a:lnTo>
                      <a:pt x="803" y="82"/>
                    </a:lnTo>
                    <a:lnTo>
                      <a:pt x="805" y="83"/>
                    </a:lnTo>
                    <a:lnTo>
                      <a:pt x="805" y="83"/>
                    </a:lnTo>
                    <a:lnTo>
                      <a:pt x="805" y="83"/>
                    </a:lnTo>
                    <a:lnTo>
                      <a:pt x="805" y="85"/>
                    </a:lnTo>
                    <a:lnTo>
                      <a:pt x="805" y="85"/>
                    </a:lnTo>
                    <a:lnTo>
                      <a:pt x="803" y="86"/>
                    </a:lnTo>
                    <a:lnTo>
                      <a:pt x="803" y="86"/>
                    </a:lnTo>
                    <a:lnTo>
                      <a:pt x="803" y="88"/>
                    </a:lnTo>
                    <a:lnTo>
                      <a:pt x="803" y="88"/>
                    </a:lnTo>
                    <a:lnTo>
                      <a:pt x="803" y="89"/>
                    </a:lnTo>
                    <a:lnTo>
                      <a:pt x="802" y="89"/>
                    </a:lnTo>
                    <a:lnTo>
                      <a:pt x="802" y="89"/>
                    </a:lnTo>
                    <a:lnTo>
                      <a:pt x="800" y="90"/>
                    </a:lnTo>
                    <a:lnTo>
                      <a:pt x="797" y="90"/>
                    </a:lnTo>
                    <a:lnTo>
                      <a:pt x="793" y="92"/>
                    </a:lnTo>
                    <a:lnTo>
                      <a:pt x="789" y="95"/>
                    </a:lnTo>
                    <a:lnTo>
                      <a:pt x="782" y="101"/>
                    </a:lnTo>
                    <a:lnTo>
                      <a:pt x="779" y="102"/>
                    </a:lnTo>
                    <a:lnTo>
                      <a:pt x="777" y="102"/>
                    </a:lnTo>
                    <a:lnTo>
                      <a:pt x="776" y="102"/>
                    </a:lnTo>
                    <a:lnTo>
                      <a:pt x="763" y="98"/>
                    </a:lnTo>
                    <a:lnTo>
                      <a:pt x="761" y="98"/>
                    </a:lnTo>
                    <a:lnTo>
                      <a:pt x="759" y="96"/>
                    </a:lnTo>
                    <a:lnTo>
                      <a:pt x="757" y="95"/>
                    </a:lnTo>
                    <a:lnTo>
                      <a:pt x="746" y="121"/>
                    </a:lnTo>
                    <a:lnTo>
                      <a:pt x="744" y="122"/>
                    </a:lnTo>
                    <a:lnTo>
                      <a:pt x="743" y="125"/>
                    </a:lnTo>
                    <a:lnTo>
                      <a:pt x="741" y="126"/>
                    </a:lnTo>
                    <a:lnTo>
                      <a:pt x="741" y="128"/>
                    </a:lnTo>
                    <a:lnTo>
                      <a:pt x="741" y="132"/>
                    </a:lnTo>
                    <a:lnTo>
                      <a:pt x="741" y="134"/>
                    </a:lnTo>
                    <a:lnTo>
                      <a:pt x="740" y="135"/>
                    </a:lnTo>
                    <a:lnTo>
                      <a:pt x="739" y="136"/>
                    </a:lnTo>
                    <a:lnTo>
                      <a:pt x="737" y="138"/>
                    </a:lnTo>
                    <a:lnTo>
                      <a:pt x="737" y="139"/>
                    </a:lnTo>
                    <a:lnTo>
                      <a:pt x="737" y="141"/>
                    </a:lnTo>
                    <a:lnTo>
                      <a:pt x="739" y="142"/>
                    </a:lnTo>
                    <a:lnTo>
                      <a:pt x="739" y="144"/>
                    </a:lnTo>
                    <a:lnTo>
                      <a:pt x="740" y="145"/>
                    </a:lnTo>
                    <a:lnTo>
                      <a:pt x="741" y="147"/>
                    </a:lnTo>
                    <a:lnTo>
                      <a:pt x="743" y="148"/>
                    </a:lnTo>
                    <a:lnTo>
                      <a:pt x="743" y="148"/>
                    </a:lnTo>
                    <a:lnTo>
                      <a:pt x="744" y="148"/>
                    </a:lnTo>
                    <a:lnTo>
                      <a:pt x="746" y="147"/>
                    </a:lnTo>
                    <a:lnTo>
                      <a:pt x="747" y="145"/>
                    </a:lnTo>
                    <a:lnTo>
                      <a:pt x="749" y="144"/>
                    </a:lnTo>
                    <a:lnTo>
                      <a:pt x="751" y="144"/>
                    </a:lnTo>
                    <a:lnTo>
                      <a:pt x="754" y="144"/>
                    </a:lnTo>
                    <a:lnTo>
                      <a:pt x="757" y="144"/>
                    </a:lnTo>
                    <a:lnTo>
                      <a:pt x="760" y="144"/>
                    </a:lnTo>
                    <a:lnTo>
                      <a:pt x="763" y="145"/>
                    </a:lnTo>
                    <a:lnTo>
                      <a:pt x="767" y="148"/>
                    </a:lnTo>
                    <a:lnTo>
                      <a:pt x="770" y="148"/>
                    </a:lnTo>
                    <a:lnTo>
                      <a:pt x="770" y="148"/>
                    </a:lnTo>
                    <a:lnTo>
                      <a:pt x="774" y="144"/>
                    </a:lnTo>
                    <a:lnTo>
                      <a:pt x="776" y="142"/>
                    </a:lnTo>
                    <a:lnTo>
                      <a:pt x="776" y="141"/>
                    </a:lnTo>
                    <a:lnTo>
                      <a:pt x="777" y="141"/>
                    </a:lnTo>
                    <a:lnTo>
                      <a:pt x="779" y="141"/>
                    </a:lnTo>
                    <a:lnTo>
                      <a:pt x="782" y="139"/>
                    </a:lnTo>
                    <a:lnTo>
                      <a:pt x="784" y="139"/>
                    </a:lnTo>
                    <a:lnTo>
                      <a:pt x="787" y="141"/>
                    </a:lnTo>
                    <a:lnTo>
                      <a:pt x="790" y="142"/>
                    </a:lnTo>
                    <a:lnTo>
                      <a:pt x="792" y="144"/>
                    </a:lnTo>
                    <a:lnTo>
                      <a:pt x="795" y="145"/>
                    </a:lnTo>
                    <a:lnTo>
                      <a:pt x="796" y="147"/>
                    </a:lnTo>
                    <a:lnTo>
                      <a:pt x="796" y="148"/>
                    </a:lnTo>
                    <a:lnTo>
                      <a:pt x="799" y="148"/>
                    </a:lnTo>
                    <a:lnTo>
                      <a:pt x="799" y="149"/>
                    </a:lnTo>
                    <a:lnTo>
                      <a:pt x="800" y="149"/>
                    </a:lnTo>
                    <a:lnTo>
                      <a:pt x="803" y="154"/>
                    </a:lnTo>
                    <a:lnTo>
                      <a:pt x="805" y="155"/>
                    </a:lnTo>
                    <a:lnTo>
                      <a:pt x="807" y="158"/>
                    </a:lnTo>
                    <a:lnTo>
                      <a:pt x="812" y="164"/>
                    </a:lnTo>
                    <a:lnTo>
                      <a:pt x="815" y="170"/>
                    </a:lnTo>
                    <a:lnTo>
                      <a:pt x="810" y="172"/>
                    </a:lnTo>
                    <a:lnTo>
                      <a:pt x="809" y="174"/>
                    </a:lnTo>
                    <a:lnTo>
                      <a:pt x="805" y="174"/>
                    </a:lnTo>
                    <a:lnTo>
                      <a:pt x="802" y="172"/>
                    </a:lnTo>
                    <a:lnTo>
                      <a:pt x="796" y="171"/>
                    </a:lnTo>
                    <a:lnTo>
                      <a:pt x="795" y="171"/>
                    </a:lnTo>
                    <a:lnTo>
                      <a:pt x="783" y="171"/>
                    </a:lnTo>
                    <a:lnTo>
                      <a:pt x="782" y="172"/>
                    </a:lnTo>
                    <a:lnTo>
                      <a:pt x="780" y="172"/>
                    </a:lnTo>
                    <a:lnTo>
                      <a:pt x="777" y="175"/>
                    </a:lnTo>
                    <a:lnTo>
                      <a:pt x="776" y="175"/>
                    </a:lnTo>
                    <a:lnTo>
                      <a:pt x="776" y="175"/>
                    </a:lnTo>
                    <a:lnTo>
                      <a:pt x="773" y="174"/>
                    </a:lnTo>
                    <a:lnTo>
                      <a:pt x="772" y="174"/>
                    </a:lnTo>
                    <a:lnTo>
                      <a:pt x="770" y="174"/>
                    </a:lnTo>
                    <a:lnTo>
                      <a:pt x="770" y="174"/>
                    </a:lnTo>
                    <a:lnTo>
                      <a:pt x="770" y="175"/>
                    </a:lnTo>
                    <a:lnTo>
                      <a:pt x="769" y="177"/>
                    </a:lnTo>
                    <a:lnTo>
                      <a:pt x="769" y="178"/>
                    </a:lnTo>
                    <a:lnTo>
                      <a:pt x="769" y="178"/>
                    </a:lnTo>
                    <a:lnTo>
                      <a:pt x="767" y="180"/>
                    </a:lnTo>
                    <a:lnTo>
                      <a:pt x="766" y="180"/>
                    </a:lnTo>
                    <a:lnTo>
                      <a:pt x="761" y="178"/>
                    </a:lnTo>
                    <a:lnTo>
                      <a:pt x="760" y="178"/>
                    </a:lnTo>
                    <a:lnTo>
                      <a:pt x="757" y="180"/>
                    </a:lnTo>
                    <a:lnTo>
                      <a:pt x="756" y="181"/>
                    </a:lnTo>
                    <a:lnTo>
                      <a:pt x="753" y="184"/>
                    </a:lnTo>
                    <a:lnTo>
                      <a:pt x="751" y="185"/>
                    </a:lnTo>
                    <a:lnTo>
                      <a:pt x="750" y="188"/>
                    </a:lnTo>
                    <a:lnTo>
                      <a:pt x="749" y="191"/>
                    </a:lnTo>
                    <a:lnTo>
                      <a:pt x="749" y="193"/>
                    </a:lnTo>
                    <a:lnTo>
                      <a:pt x="746" y="195"/>
                    </a:lnTo>
                    <a:lnTo>
                      <a:pt x="741" y="198"/>
                    </a:lnTo>
                    <a:lnTo>
                      <a:pt x="739" y="200"/>
                    </a:lnTo>
                    <a:lnTo>
                      <a:pt x="734" y="201"/>
                    </a:lnTo>
                    <a:lnTo>
                      <a:pt x="730" y="201"/>
                    </a:lnTo>
                    <a:lnTo>
                      <a:pt x="727" y="201"/>
                    </a:lnTo>
                    <a:lnTo>
                      <a:pt x="726" y="201"/>
                    </a:lnTo>
                    <a:lnTo>
                      <a:pt x="724" y="201"/>
                    </a:lnTo>
                    <a:lnTo>
                      <a:pt x="723" y="201"/>
                    </a:lnTo>
                    <a:lnTo>
                      <a:pt x="721" y="201"/>
                    </a:lnTo>
                    <a:lnTo>
                      <a:pt x="718" y="203"/>
                    </a:lnTo>
                    <a:lnTo>
                      <a:pt x="713" y="210"/>
                    </a:lnTo>
                    <a:lnTo>
                      <a:pt x="710" y="213"/>
                    </a:lnTo>
                    <a:lnTo>
                      <a:pt x="707" y="214"/>
                    </a:lnTo>
                    <a:lnTo>
                      <a:pt x="704" y="216"/>
                    </a:lnTo>
                    <a:lnTo>
                      <a:pt x="703" y="217"/>
                    </a:lnTo>
                    <a:lnTo>
                      <a:pt x="700" y="216"/>
                    </a:lnTo>
                    <a:lnTo>
                      <a:pt x="694" y="216"/>
                    </a:lnTo>
                    <a:lnTo>
                      <a:pt x="690" y="214"/>
                    </a:lnTo>
                    <a:lnTo>
                      <a:pt x="684" y="211"/>
                    </a:lnTo>
                    <a:lnTo>
                      <a:pt x="680" y="210"/>
                    </a:lnTo>
                    <a:lnTo>
                      <a:pt x="677" y="208"/>
                    </a:lnTo>
                    <a:lnTo>
                      <a:pt x="674" y="210"/>
                    </a:lnTo>
                    <a:lnTo>
                      <a:pt x="671" y="211"/>
                    </a:lnTo>
                    <a:lnTo>
                      <a:pt x="670" y="214"/>
                    </a:lnTo>
                    <a:lnTo>
                      <a:pt x="668" y="216"/>
                    </a:lnTo>
                    <a:lnTo>
                      <a:pt x="667" y="220"/>
                    </a:lnTo>
                    <a:lnTo>
                      <a:pt x="665" y="223"/>
                    </a:lnTo>
                    <a:lnTo>
                      <a:pt x="664" y="226"/>
                    </a:lnTo>
                    <a:lnTo>
                      <a:pt x="665" y="228"/>
                    </a:lnTo>
                    <a:lnTo>
                      <a:pt x="667" y="230"/>
                    </a:lnTo>
                    <a:lnTo>
                      <a:pt x="671" y="234"/>
                    </a:lnTo>
                    <a:lnTo>
                      <a:pt x="672" y="240"/>
                    </a:lnTo>
                    <a:lnTo>
                      <a:pt x="670" y="243"/>
                    </a:lnTo>
                    <a:lnTo>
                      <a:pt x="660" y="247"/>
                    </a:lnTo>
                    <a:lnTo>
                      <a:pt x="655" y="251"/>
                    </a:lnTo>
                    <a:lnTo>
                      <a:pt x="648" y="260"/>
                    </a:lnTo>
                    <a:lnTo>
                      <a:pt x="642" y="263"/>
                    </a:lnTo>
                    <a:lnTo>
                      <a:pt x="629" y="267"/>
                    </a:lnTo>
                    <a:lnTo>
                      <a:pt x="624" y="269"/>
                    </a:lnTo>
                    <a:lnTo>
                      <a:pt x="602" y="270"/>
                    </a:lnTo>
                    <a:lnTo>
                      <a:pt x="589" y="272"/>
                    </a:lnTo>
                    <a:lnTo>
                      <a:pt x="582" y="273"/>
                    </a:lnTo>
                    <a:lnTo>
                      <a:pt x="575" y="274"/>
                    </a:lnTo>
                    <a:lnTo>
                      <a:pt x="556" y="283"/>
                    </a:lnTo>
                    <a:lnTo>
                      <a:pt x="555" y="284"/>
                    </a:lnTo>
                    <a:lnTo>
                      <a:pt x="555" y="286"/>
                    </a:lnTo>
                    <a:lnTo>
                      <a:pt x="553" y="286"/>
                    </a:lnTo>
                    <a:lnTo>
                      <a:pt x="552" y="287"/>
                    </a:lnTo>
                    <a:lnTo>
                      <a:pt x="545" y="286"/>
                    </a:lnTo>
                    <a:lnTo>
                      <a:pt x="543" y="284"/>
                    </a:lnTo>
                    <a:lnTo>
                      <a:pt x="543" y="284"/>
                    </a:lnTo>
                    <a:lnTo>
                      <a:pt x="543" y="282"/>
                    </a:lnTo>
                    <a:lnTo>
                      <a:pt x="533" y="283"/>
                    </a:lnTo>
                    <a:lnTo>
                      <a:pt x="529" y="283"/>
                    </a:lnTo>
                    <a:lnTo>
                      <a:pt x="526" y="283"/>
                    </a:lnTo>
                    <a:lnTo>
                      <a:pt x="520" y="280"/>
                    </a:lnTo>
                    <a:lnTo>
                      <a:pt x="517" y="279"/>
                    </a:lnTo>
                    <a:lnTo>
                      <a:pt x="514" y="277"/>
                    </a:lnTo>
                    <a:lnTo>
                      <a:pt x="504" y="276"/>
                    </a:lnTo>
                    <a:lnTo>
                      <a:pt x="502" y="274"/>
                    </a:lnTo>
                    <a:lnTo>
                      <a:pt x="499" y="273"/>
                    </a:lnTo>
                    <a:lnTo>
                      <a:pt x="497" y="272"/>
                    </a:lnTo>
                    <a:lnTo>
                      <a:pt x="494" y="269"/>
                    </a:lnTo>
                    <a:lnTo>
                      <a:pt x="490" y="267"/>
                    </a:lnTo>
                    <a:lnTo>
                      <a:pt x="484" y="266"/>
                    </a:lnTo>
                    <a:lnTo>
                      <a:pt x="466" y="264"/>
                    </a:lnTo>
                    <a:lnTo>
                      <a:pt x="453" y="264"/>
                    </a:lnTo>
                    <a:lnTo>
                      <a:pt x="446" y="264"/>
                    </a:lnTo>
                    <a:lnTo>
                      <a:pt x="415" y="261"/>
                    </a:lnTo>
                    <a:lnTo>
                      <a:pt x="408" y="261"/>
                    </a:lnTo>
                    <a:lnTo>
                      <a:pt x="404" y="261"/>
                    </a:lnTo>
                    <a:lnTo>
                      <a:pt x="401" y="261"/>
                    </a:lnTo>
                    <a:lnTo>
                      <a:pt x="400" y="261"/>
                    </a:lnTo>
                    <a:lnTo>
                      <a:pt x="400" y="260"/>
                    </a:lnTo>
                    <a:lnTo>
                      <a:pt x="400" y="259"/>
                    </a:lnTo>
                    <a:lnTo>
                      <a:pt x="398" y="257"/>
                    </a:lnTo>
                    <a:lnTo>
                      <a:pt x="398" y="257"/>
                    </a:lnTo>
                    <a:lnTo>
                      <a:pt x="397" y="256"/>
                    </a:lnTo>
                    <a:lnTo>
                      <a:pt x="397" y="256"/>
                    </a:lnTo>
                    <a:lnTo>
                      <a:pt x="394" y="253"/>
                    </a:lnTo>
                    <a:lnTo>
                      <a:pt x="392" y="250"/>
                    </a:lnTo>
                    <a:lnTo>
                      <a:pt x="391" y="249"/>
                    </a:lnTo>
                    <a:lnTo>
                      <a:pt x="387" y="239"/>
                    </a:lnTo>
                    <a:lnTo>
                      <a:pt x="387" y="236"/>
                    </a:lnTo>
                    <a:lnTo>
                      <a:pt x="385" y="234"/>
                    </a:lnTo>
                    <a:lnTo>
                      <a:pt x="384" y="234"/>
                    </a:lnTo>
                    <a:lnTo>
                      <a:pt x="384" y="234"/>
                    </a:lnTo>
                    <a:lnTo>
                      <a:pt x="382" y="233"/>
                    </a:lnTo>
                    <a:lnTo>
                      <a:pt x="382" y="233"/>
                    </a:lnTo>
                    <a:lnTo>
                      <a:pt x="382" y="231"/>
                    </a:lnTo>
                    <a:lnTo>
                      <a:pt x="382" y="228"/>
                    </a:lnTo>
                    <a:lnTo>
                      <a:pt x="382" y="227"/>
                    </a:lnTo>
                    <a:lnTo>
                      <a:pt x="381" y="227"/>
                    </a:lnTo>
                    <a:lnTo>
                      <a:pt x="374" y="227"/>
                    </a:lnTo>
                    <a:lnTo>
                      <a:pt x="372" y="226"/>
                    </a:lnTo>
                    <a:lnTo>
                      <a:pt x="369" y="224"/>
                    </a:lnTo>
                    <a:lnTo>
                      <a:pt x="365" y="221"/>
                    </a:lnTo>
                    <a:lnTo>
                      <a:pt x="362" y="220"/>
                    </a:lnTo>
                    <a:lnTo>
                      <a:pt x="361" y="218"/>
                    </a:lnTo>
                    <a:lnTo>
                      <a:pt x="358" y="218"/>
                    </a:lnTo>
                    <a:lnTo>
                      <a:pt x="356" y="218"/>
                    </a:lnTo>
                    <a:lnTo>
                      <a:pt x="355" y="217"/>
                    </a:lnTo>
                    <a:lnTo>
                      <a:pt x="354" y="214"/>
                    </a:lnTo>
                    <a:lnTo>
                      <a:pt x="352" y="214"/>
                    </a:lnTo>
                    <a:lnTo>
                      <a:pt x="351" y="213"/>
                    </a:lnTo>
                    <a:lnTo>
                      <a:pt x="348" y="211"/>
                    </a:lnTo>
                    <a:lnTo>
                      <a:pt x="346" y="211"/>
                    </a:lnTo>
                    <a:lnTo>
                      <a:pt x="313" y="208"/>
                    </a:lnTo>
                    <a:lnTo>
                      <a:pt x="312" y="208"/>
                    </a:lnTo>
                    <a:lnTo>
                      <a:pt x="308" y="207"/>
                    </a:lnTo>
                    <a:lnTo>
                      <a:pt x="308" y="205"/>
                    </a:lnTo>
                    <a:lnTo>
                      <a:pt x="306" y="205"/>
                    </a:lnTo>
                    <a:lnTo>
                      <a:pt x="305" y="205"/>
                    </a:lnTo>
                    <a:lnTo>
                      <a:pt x="305" y="207"/>
                    </a:lnTo>
                    <a:lnTo>
                      <a:pt x="300" y="203"/>
                    </a:lnTo>
                    <a:lnTo>
                      <a:pt x="300" y="198"/>
                    </a:lnTo>
                    <a:lnTo>
                      <a:pt x="302" y="194"/>
                    </a:lnTo>
                    <a:lnTo>
                      <a:pt x="305" y="187"/>
                    </a:lnTo>
                    <a:lnTo>
                      <a:pt x="305" y="185"/>
                    </a:lnTo>
                    <a:lnTo>
                      <a:pt x="305" y="184"/>
                    </a:lnTo>
                    <a:lnTo>
                      <a:pt x="305" y="181"/>
                    </a:lnTo>
                    <a:lnTo>
                      <a:pt x="305" y="180"/>
                    </a:lnTo>
                    <a:lnTo>
                      <a:pt x="306" y="175"/>
                    </a:lnTo>
                    <a:lnTo>
                      <a:pt x="306" y="174"/>
                    </a:lnTo>
                    <a:lnTo>
                      <a:pt x="305" y="170"/>
                    </a:lnTo>
                    <a:lnTo>
                      <a:pt x="302" y="165"/>
                    </a:lnTo>
                    <a:lnTo>
                      <a:pt x="299" y="161"/>
                    </a:lnTo>
                    <a:lnTo>
                      <a:pt x="296" y="157"/>
                    </a:lnTo>
                    <a:lnTo>
                      <a:pt x="295" y="151"/>
                    </a:lnTo>
                    <a:lnTo>
                      <a:pt x="293" y="149"/>
                    </a:lnTo>
                    <a:lnTo>
                      <a:pt x="293" y="148"/>
                    </a:lnTo>
                    <a:lnTo>
                      <a:pt x="292" y="148"/>
                    </a:lnTo>
                    <a:lnTo>
                      <a:pt x="290" y="147"/>
                    </a:lnTo>
                    <a:lnTo>
                      <a:pt x="289" y="144"/>
                    </a:lnTo>
                    <a:lnTo>
                      <a:pt x="288" y="144"/>
                    </a:lnTo>
                    <a:lnTo>
                      <a:pt x="285" y="144"/>
                    </a:lnTo>
                    <a:lnTo>
                      <a:pt x="283" y="144"/>
                    </a:lnTo>
                    <a:lnTo>
                      <a:pt x="282" y="142"/>
                    </a:lnTo>
                    <a:lnTo>
                      <a:pt x="280" y="141"/>
                    </a:lnTo>
                    <a:lnTo>
                      <a:pt x="279" y="141"/>
                    </a:lnTo>
                    <a:lnTo>
                      <a:pt x="276" y="139"/>
                    </a:lnTo>
                    <a:lnTo>
                      <a:pt x="273" y="139"/>
                    </a:lnTo>
                    <a:lnTo>
                      <a:pt x="272" y="139"/>
                    </a:lnTo>
                    <a:lnTo>
                      <a:pt x="270" y="139"/>
                    </a:lnTo>
                    <a:lnTo>
                      <a:pt x="265" y="136"/>
                    </a:lnTo>
                    <a:lnTo>
                      <a:pt x="263" y="135"/>
                    </a:lnTo>
                    <a:lnTo>
                      <a:pt x="263" y="134"/>
                    </a:lnTo>
                    <a:lnTo>
                      <a:pt x="262" y="132"/>
                    </a:lnTo>
                    <a:lnTo>
                      <a:pt x="262" y="131"/>
                    </a:lnTo>
                    <a:lnTo>
                      <a:pt x="259" y="129"/>
                    </a:lnTo>
                    <a:lnTo>
                      <a:pt x="255" y="128"/>
                    </a:lnTo>
                    <a:lnTo>
                      <a:pt x="253" y="126"/>
                    </a:lnTo>
                    <a:lnTo>
                      <a:pt x="253" y="125"/>
                    </a:lnTo>
                    <a:lnTo>
                      <a:pt x="253" y="124"/>
                    </a:lnTo>
                    <a:lnTo>
                      <a:pt x="253" y="122"/>
                    </a:lnTo>
                    <a:lnTo>
                      <a:pt x="253" y="122"/>
                    </a:lnTo>
                    <a:lnTo>
                      <a:pt x="252" y="121"/>
                    </a:lnTo>
                    <a:lnTo>
                      <a:pt x="250" y="121"/>
                    </a:lnTo>
                    <a:lnTo>
                      <a:pt x="249" y="119"/>
                    </a:lnTo>
                    <a:lnTo>
                      <a:pt x="249" y="119"/>
                    </a:lnTo>
                    <a:lnTo>
                      <a:pt x="249" y="118"/>
                    </a:lnTo>
                    <a:lnTo>
                      <a:pt x="249" y="118"/>
                    </a:lnTo>
                    <a:lnTo>
                      <a:pt x="250" y="115"/>
                    </a:lnTo>
                    <a:lnTo>
                      <a:pt x="250" y="115"/>
                    </a:lnTo>
                    <a:lnTo>
                      <a:pt x="250" y="112"/>
                    </a:lnTo>
                    <a:lnTo>
                      <a:pt x="250" y="112"/>
                    </a:lnTo>
                    <a:lnTo>
                      <a:pt x="249" y="112"/>
                    </a:lnTo>
                    <a:lnTo>
                      <a:pt x="247" y="112"/>
                    </a:lnTo>
                    <a:lnTo>
                      <a:pt x="246" y="112"/>
                    </a:lnTo>
                    <a:lnTo>
                      <a:pt x="244" y="112"/>
                    </a:lnTo>
                    <a:lnTo>
                      <a:pt x="243" y="113"/>
                    </a:lnTo>
                    <a:lnTo>
                      <a:pt x="243" y="113"/>
                    </a:lnTo>
                    <a:lnTo>
                      <a:pt x="242" y="113"/>
                    </a:lnTo>
                    <a:lnTo>
                      <a:pt x="242" y="113"/>
                    </a:lnTo>
                    <a:lnTo>
                      <a:pt x="242" y="113"/>
                    </a:lnTo>
                    <a:lnTo>
                      <a:pt x="239" y="113"/>
                    </a:lnTo>
                    <a:lnTo>
                      <a:pt x="237" y="113"/>
                    </a:lnTo>
                    <a:lnTo>
                      <a:pt x="236" y="113"/>
                    </a:lnTo>
                    <a:lnTo>
                      <a:pt x="233" y="113"/>
                    </a:lnTo>
                    <a:lnTo>
                      <a:pt x="232" y="115"/>
                    </a:lnTo>
                    <a:lnTo>
                      <a:pt x="232" y="116"/>
                    </a:lnTo>
                    <a:lnTo>
                      <a:pt x="232" y="119"/>
                    </a:lnTo>
                    <a:lnTo>
                      <a:pt x="230" y="124"/>
                    </a:lnTo>
                    <a:lnTo>
                      <a:pt x="227" y="126"/>
                    </a:lnTo>
                    <a:lnTo>
                      <a:pt x="224" y="129"/>
                    </a:lnTo>
                    <a:lnTo>
                      <a:pt x="220" y="129"/>
                    </a:lnTo>
                    <a:lnTo>
                      <a:pt x="216" y="131"/>
                    </a:lnTo>
                    <a:lnTo>
                      <a:pt x="214" y="131"/>
                    </a:lnTo>
                    <a:lnTo>
                      <a:pt x="213" y="132"/>
                    </a:lnTo>
                    <a:lnTo>
                      <a:pt x="211" y="134"/>
                    </a:lnTo>
                    <a:lnTo>
                      <a:pt x="211" y="135"/>
                    </a:lnTo>
                    <a:lnTo>
                      <a:pt x="210" y="139"/>
                    </a:lnTo>
                    <a:lnTo>
                      <a:pt x="210" y="142"/>
                    </a:lnTo>
                    <a:lnTo>
                      <a:pt x="210" y="147"/>
                    </a:lnTo>
                    <a:lnTo>
                      <a:pt x="211" y="157"/>
                    </a:lnTo>
                    <a:lnTo>
                      <a:pt x="211" y="158"/>
                    </a:lnTo>
                    <a:lnTo>
                      <a:pt x="210" y="161"/>
                    </a:lnTo>
                    <a:lnTo>
                      <a:pt x="209" y="162"/>
                    </a:lnTo>
                    <a:lnTo>
                      <a:pt x="207" y="162"/>
                    </a:lnTo>
                    <a:lnTo>
                      <a:pt x="206" y="162"/>
                    </a:lnTo>
                    <a:lnTo>
                      <a:pt x="204" y="164"/>
                    </a:lnTo>
                    <a:lnTo>
                      <a:pt x="203" y="164"/>
                    </a:lnTo>
                    <a:lnTo>
                      <a:pt x="201" y="167"/>
                    </a:lnTo>
                    <a:lnTo>
                      <a:pt x="200" y="167"/>
                    </a:lnTo>
                    <a:lnTo>
                      <a:pt x="197" y="168"/>
                    </a:lnTo>
                    <a:lnTo>
                      <a:pt x="196" y="168"/>
                    </a:lnTo>
                    <a:lnTo>
                      <a:pt x="196" y="167"/>
                    </a:lnTo>
                    <a:lnTo>
                      <a:pt x="194" y="165"/>
                    </a:lnTo>
                    <a:lnTo>
                      <a:pt x="194" y="165"/>
                    </a:lnTo>
                    <a:lnTo>
                      <a:pt x="190" y="164"/>
                    </a:lnTo>
                    <a:lnTo>
                      <a:pt x="183" y="164"/>
                    </a:lnTo>
                    <a:lnTo>
                      <a:pt x="178" y="164"/>
                    </a:lnTo>
                    <a:lnTo>
                      <a:pt x="171" y="161"/>
                    </a:lnTo>
                    <a:lnTo>
                      <a:pt x="168" y="159"/>
                    </a:lnTo>
                    <a:lnTo>
                      <a:pt x="165" y="161"/>
                    </a:lnTo>
                    <a:lnTo>
                      <a:pt x="165" y="161"/>
                    </a:lnTo>
                    <a:lnTo>
                      <a:pt x="164" y="167"/>
                    </a:lnTo>
                    <a:lnTo>
                      <a:pt x="155" y="191"/>
                    </a:lnTo>
                    <a:lnTo>
                      <a:pt x="154" y="194"/>
                    </a:lnTo>
                    <a:lnTo>
                      <a:pt x="153" y="195"/>
                    </a:lnTo>
                    <a:lnTo>
                      <a:pt x="153" y="197"/>
                    </a:lnTo>
                    <a:lnTo>
                      <a:pt x="154" y="198"/>
                    </a:lnTo>
                    <a:lnTo>
                      <a:pt x="155" y="200"/>
                    </a:lnTo>
                    <a:lnTo>
                      <a:pt x="157" y="200"/>
                    </a:lnTo>
                    <a:lnTo>
                      <a:pt x="158" y="201"/>
                    </a:lnTo>
                    <a:lnTo>
                      <a:pt x="158" y="201"/>
                    </a:lnTo>
                    <a:lnTo>
                      <a:pt x="158" y="203"/>
                    </a:lnTo>
                    <a:lnTo>
                      <a:pt x="158" y="205"/>
                    </a:lnTo>
                    <a:lnTo>
                      <a:pt x="158" y="205"/>
                    </a:lnTo>
                    <a:lnTo>
                      <a:pt x="157" y="207"/>
                    </a:lnTo>
                    <a:lnTo>
                      <a:pt x="155" y="207"/>
                    </a:lnTo>
                    <a:lnTo>
                      <a:pt x="155" y="207"/>
                    </a:lnTo>
                    <a:lnTo>
                      <a:pt x="154" y="207"/>
                    </a:lnTo>
                    <a:lnTo>
                      <a:pt x="151" y="207"/>
                    </a:lnTo>
                    <a:lnTo>
                      <a:pt x="148" y="207"/>
                    </a:lnTo>
                    <a:lnTo>
                      <a:pt x="147" y="207"/>
                    </a:lnTo>
                    <a:lnTo>
                      <a:pt x="145" y="207"/>
                    </a:lnTo>
                    <a:lnTo>
                      <a:pt x="144" y="205"/>
                    </a:lnTo>
                    <a:lnTo>
                      <a:pt x="144" y="204"/>
                    </a:lnTo>
                    <a:lnTo>
                      <a:pt x="143" y="203"/>
                    </a:lnTo>
                    <a:lnTo>
                      <a:pt x="140" y="203"/>
                    </a:lnTo>
                    <a:lnTo>
                      <a:pt x="135" y="204"/>
                    </a:lnTo>
                    <a:lnTo>
                      <a:pt x="131" y="207"/>
                    </a:lnTo>
                    <a:lnTo>
                      <a:pt x="127" y="208"/>
                    </a:lnTo>
                    <a:lnTo>
                      <a:pt x="117" y="210"/>
                    </a:lnTo>
                    <a:lnTo>
                      <a:pt x="114" y="211"/>
                    </a:lnTo>
                    <a:lnTo>
                      <a:pt x="109" y="213"/>
                    </a:lnTo>
                    <a:lnTo>
                      <a:pt x="111" y="214"/>
                    </a:lnTo>
                    <a:lnTo>
                      <a:pt x="118" y="216"/>
                    </a:lnTo>
                    <a:lnTo>
                      <a:pt x="120" y="217"/>
                    </a:lnTo>
                    <a:lnTo>
                      <a:pt x="120" y="218"/>
                    </a:lnTo>
                    <a:lnTo>
                      <a:pt x="118" y="221"/>
                    </a:lnTo>
                    <a:lnTo>
                      <a:pt x="118" y="224"/>
                    </a:lnTo>
                    <a:lnTo>
                      <a:pt x="118" y="228"/>
                    </a:lnTo>
                    <a:lnTo>
                      <a:pt x="120" y="231"/>
                    </a:lnTo>
                    <a:lnTo>
                      <a:pt x="122" y="241"/>
                    </a:lnTo>
                    <a:lnTo>
                      <a:pt x="124" y="249"/>
                    </a:lnTo>
                    <a:lnTo>
                      <a:pt x="124" y="249"/>
                    </a:lnTo>
                    <a:lnTo>
                      <a:pt x="125" y="250"/>
                    </a:lnTo>
                    <a:lnTo>
                      <a:pt x="125" y="251"/>
                    </a:lnTo>
                    <a:lnTo>
                      <a:pt x="125" y="253"/>
                    </a:lnTo>
                    <a:lnTo>
                      <a:pt x="124" y="253"/>
                    </a:lnTo>
                    <a:lnTo>
                      <a:pt x="121" y="254"/>
                    </a:lnTo>
                    <a:lnTo>
                      <a:pt x="118" y="257"/>
                    </a:lnTo>
                    <a:lnTo>
                      <a:pt x="122" y="259"/>
                    </a:lnTo>
                    <a:lnTo>
                      <a:pt x="120" y="260"/>
                    </a:lnTo>
                    <a:lnTo>
                      <a:pt x="118" y="260"/>
                    </a:lnTo>
                    <a:lnTo>
                      <a:pt x="117" y="261"/>
                    </a:lnTo>
                    <a:lnTo>
                      <a:pt x="115" y="264"/>
                    </a:lnTo>
                    <a:lnTo>
                      <a:pt x="115" y="267"/>
                    </a:lnTo>
                    <a:lnTo>
                      <a:pt x="117" y="270"/>
                    </a:lnTo>
                    <a:lnTo>
                      <a:pt x="117" y="272"/>
                    </a:lnTo>
                    <a:lnTo>
                      <a:pt x="115" y="274"/>
                    </a:lnTo>
                    <a:lnTo>
                      <a:pt x="117" y="276"/>
                    </a:lnTo>
                    <a:lnTo>
                      <a:pt x="115" y="277"/>
                    </a:lnTo>
                    <a:lnTo>
                      <a:pt x="114" y="277"/>
                    </a:lnTo>
                    <a:lnTo>
                      <a:pt x="111" y="277"/>
                    </a:lnTo>
                    <a:lnTo>
                      <a:pt x="109" y="279"/>
                    </a:lnTo>
                    <a:lnTo>
                      <a:pt x="107" y="282"/>
                    </a:lnTo>
                    <a:lnTo>
                      <a:pt x="97" y="284"/>
                    </a:lnTo>
                    <a:lnTo>
                      <a:pt x="88" y="289"/>
                    </a:lnTo>
                    <a:lnTo>
                      <a:pt x="85" y="292"/>
                    </a:lnTo>
                    <a:lnTo>
                      <a:pt x="82" y="295"/>
                    </a:lnTo>
                    <a:lnTo>
                      <a:pt x="79" y="297"/>
                    </a:lnTo>
                    <a:lnTo>
                      <a:pt x="75" y="299"/>
                    </a:lnTo>
                    <a:lnTo>
                      <a:pt x="72" y="300"/>
                    </a:lnTo>
                    <a:lnTo>
                      <a:pt x="68" y="300"/>
                    </a:lnTo>
                    <a:lnTo>
                      <a:pt x="61" y="299"/>
                    </a:lnTo>
                    <a:lnTo>
                      <a:pt x="59" y="299"/>
                    </a:lnTo>
                    <a:lnTo>
                      <a:pt x="55" y="302"/>
                    </a:lnTo>
                    <a:lnTo>
                      <a:pt x="53" y="305"/>
                    </a:lnTo>
                    <a:lnTo>
                      <a:pt x="52" y="309"/>
                    </a:lnTo>
                    <a:lnTo>
                      <a:pt x="51" y="312"/>
                    </a:lnTo>
                    <a:lnTo>
                      <a:pt x="49" y="313"/>
                    </a:lnTo>
                    <a:lnTo>
                      <a:pt x="48" y="313"/>
                    </a:lnTo>
                    <a:lnTo>
                      <a:pt x="46" y="313"/>
                    </a:lnTo>
                    <a:lnTo>
                      <a:pt x="45" y="313"/>
                    </a:lnTo>
                    <a:lnTo>
                      <a:pt x="43" y="315"/>
                    </a:lnTo>
                    <a:lnTo>
                      <a:pt x="41" y="315"/>
                    </a:lnTo>
                    <a:lnTo>
                      <a:pt x="39" y="315"/>
                    </a:lnTo>
                    <a:lnTo>
                      <a:pt x="36" y="315"/>
                    </a:lnTo>
                    <a:lnTo>
                      <a:pt x="36" y="313"/>
                    </a:lnTo>
                    <a:lnTo>
                      <a:pt x="35" y="310"/>
                    </a:lnTo>
                    <a:lnTo>
                      <a:pt x="35" y="309"/>
                    </a:lnTo>
                    <a:lnTo>
                      <a:pt x="33" y="309"/>
                    </a:lnTo>
                    <a:lnTo>
                      <a:pt x="32" y="309"/>
                    </a:lnTo>
                    <a:lnTo>
                      <a:pt x="29" y="310"/>
                    </a:lnTo>
                    <a:lnTo>
                      <a:pt x="28" y="312"/>
                    </a:lnTo>
                    <a:lnTo>
                      <a:pt x="26" y="312"/>
                    </a:lnTo>
                    <a:lnTo>
                      <a:pt x="23" y="312"/>
                    </a:lnTo>
                    <a:lnTo>
                      <a:pt x="22" y="312"/>
                    </a:lnTo>
                    <a:lnTo>
                      <a:pt x="20" y="312"/>
                    </a:lnTo>
                    <a:lnTo>
                      <a:pt x="20" y="312"/>
                    </a:lnTo>
                    <a:lnTo>
                      <a:pt x="20" y="313"/>
                    </a:lnTo>
                    <a:lnTo>
                      <a:pt x="20" y="313"/>
                    </a:lnTo>
                    <a:lnTo>
                      <a:pt x="20" y="313"/>
                    </a:lnTo>
                    <a:lnTo>
                      <a:pt x="22" y="313"/>
                    </a:lnTo>
                    <a:lnTo>
                      <a:pt x="22" y="315"/>
                    </a:lnTo>
                    <a:lnTo>
                      <a:pt x="22" y="315"/>
                    </a:lnTo>
                    <a:lnTo>
                      <a:pt x="20" y="315"/>
                    </a:lnTo>
                    <a:lnTo>
                      <a:pt x="20" y="315"/>
                    </a:lnTo>
                    <a:lnTo>
                      <a:pt x="19" y="315"/>
                    </a:lnTo>
                    <a:lnTo>
                      <a:pt x="16" y="318"/>
                    </a:lnTo>
                    <a:lnTo>
                      <a:pt x="12" y="319"/>
                    </a:lnTo>
                    <a:lnTo>
                      <a:pt x="8" y="320"/>
                    </a:lnTo>
                    <a:lnTo>
                      <a:pt x="5" y="323"/>
                    </a:lnTo>
                    <a:lnTo>
                      <a:pt x="5" y="326"/>
                    </a:lnTo>
                    <a:lnTo>
                      <a:pt x="5" y="330"/>
                    </a:lnTo>
                    <a:lnTo>
                      <a:pt x="3" y="332"/>
                    </a:lnTo>
                    <a:lnTo>
                      <a:pt x="0" y="333"/>
                    </a:lnTo>
                    <a:lnTo>
                      <a:pt x="0" y="335"/>
                    </a:lnTo>
                    <a:lnTo>
                      <a:pt x="0" y="338"/>
                    </a:lnTo>
                    <a:lnTo>
                      <a:pt x="0" y="338"/>
                    </a:lnTo>
                    <a:lnTo>
                      <a:pt x="0" y="339"/>
                    </a:lnTo>
                    <a:lnTo>
                      <a:pt x="2" y="342"/>
                    </a:lnTo>
                    <a:lnTo>
                      <a:pt x="3" y="342"/>
                    </a:lnTo>
                    <a:lnTo>
                      <a:pt x="3" y="343"/>
                    </a:lnTo>
                    <a:lnTo>
                      <a:pt x="2" y="345"/>
                    </a:lnTo>
                    <a:lnTo>
                      <a:pt x="2" y="346"/>
                    </a:lnTo>
                    <a:lnTo>
                      <a:pt x="2" y="349"/>
                    </a:lnTo>
                    <a:lnTo>
                      <a:pt x="3" y="351"/>
                    </a:lnTo>
                    <a:lnTo>
                      <a:pt x="5" y="352"/>
                    </a:lnTo>
                    <a:lnTo>
                      <a:pt x="8" y="352"/>
                    </a:lnTo>
                    <a:lnTo>
                      <a:pt x="8" y="352"/>
                    </a:lnTo>
                    <a:lnTo>
                      <a:pt x="9" y="351"/>
                    </a:lnTo>
                    <a:lnTo>
                      <a:pt x="10" y="351"/>
                    </a:lnTo>
                    <a:lnTo>
                      <a:pt x="12" y="351"/>
                    </a:lnTo>
                    <a:lnTo>
                      <a:pt x="13" y="351"/>
                    </a:lnTo>
                    <a:lnTo>
                      <a:pt x="18" y="352"/>
                    </a:lnTo>
                    <a:lnTo>
                      <a:pt x="19" y="353"/>
                    </a:lnTo>
                    <a:lnTo>
                      <a:pt x="20" y="353"/>
                    </a:lnTo>
                    <a:lnTo>
                      <a:pt x="20" y="355"/>
                    </a:lnTo>
                    <a:lnTo>
                      <a:pt x="20" y="356"/>
                    </a:lnTo>
                    <a:lnTo>
                      <a:pt x="20" y="356"/>
                    </a:lnTo>
                    <a:lnTo>
                      <a:pt x="20" y="358"/>
                    </a:lnTo>
                    <a:lnTo>
                      <a:pt x="20" y="361"/>
                    </a:lnTo>
                    <a:lnTo>
                      <a:pt x="22" y="365"/>
                    </a:lnTo>
                    <a:lnTo>
                      <a:pt x="23" y="368"/>
                    </a:lnTo>
                    <a:lnTo>
                      <a:pt x="23" y="368"/>
                    </a:lnTo>
                    <a:lnTo>
                      <a:pt x="22" y="371"/>
                    </a:lnTo>
                    <a:lnTo>
                      <a:pt x="23" y="371"/>
                    </a:lnTo>
                    <a:lnTo>
                      <a:pt x="23" y="372"/>
                    </a:lnTo>
                    <a:lnTo>
                      <a:pt x="25" y="372"/>
                    </a:lnTo>
                    <a:lnTo>
                      <a:pt x="25" y="374"/>
                    </a:lnTo>
                    <a:lnTo>
                      <a:pt x="25" y="375"/>
                    </a:lnTo>
                    <a:lnTo>
                      <a:pt x="26" y="376"/>
                    </a:lnTo>
                    <a:lnTo>
                      <a:pt x="25" y="378"/>
                    </a:lnTo>
                    <a:lnTo>
                      <a:pt x="22" y="379"/>
                    </a:lnTo>
                    <a:lnTo>
                      <a:pt x="19" y="379"/>
                    </a:lnTo>
                    <a:lnTo>
                      <a:pt x="16" y="379"/>
                    </a:lnTo>
                    <a:lnTo>
                      <a:pt x="15" y="381"/>
                    </a:lnTo>
                    <a:lnTo>
                      <a:pt x="16" y="384"/>
                    </a:lnTo>
                    <a:lnTo>
                      <a:pt x="18" y="384"/>
                    </a:lnTo>
                    <a:lnTo>
                      <a:pt x="19" y="384"/>
                    </a:lnTo>
                    <a:lnTo>
                      <a:pt x="20" y="384"/>
                    </a:lnTo>
                    <a:lnTo>
                      <a:pt x="22" y="385"/>
                    </a:lnTo>
                    <a:lnTo>
                      <a:pt x="25" y="385"/>
                    </a:lnTo>
                    <a:lnTo>
                      <a:pt x="26" y="385"/>
                    </a:lnTo>
                    <a:lnTo>
                      <a:pt x="28" y="385"/>
                    </a:lnTo>
                    <a:lnTo>
                      <a:pt x="30" y="385"/>
                    </a:lnTo>
                    <a:lnTo>
                      <a:pt x="30" y="387"/>
                    </a:lnTo>
                    <a:lnTo>
                      <a:pt x="32" y="388"/>
                    </a:lnTo>
                    <a:lnTo>
                      <a:pt x="32" y="388"/>
                    </a:lnTo>
                    <a:lnTo>
                      <a:pt x="32" y="389"/>
                    </a:lnTo>
                    <a:lnTo>
                      <a:pt x="33" y="389"/>
                    </a:lnTo>
                    <a:lnTo>
                      <a:pt x="38" y="389"/>
                    </a:lnTo>
                    <a:lnTo>
                      <a:pt x="39" y="391"/>
                    </a:lnTo>
                    <a:lnTo>
                      <a:pt x="41" y="392"/>
                    </a:lnTo>
                    <a:lnTo>
                      <a:pt x="41" y="394"/>
                    </a:lnTo>
                    <a:lnTo>
                      <a:pt x="42" y="397"/>
                    </a:lnTo>
                    <a:lnTo>
                      <a:pt x="42" y="401"/>
                    </a:lnTo>
                    <a:lnTo>
                      <a:pt x="41" y="402"/>
                    </a:lnTo>
                    <a:lnTo>
                      <a:pt x="41" y="402"/>
                    </a:lnTo>
                    <a:lnTo>
                      <a:pt x="41" y="402"/>
                    </a:lnTo>
                    <a:lnTo>
                      <a:pt x="42" y="404"/>
                    </a:lnTo>
                    <a:lnTo>
                      <a:pt x="45" y="407"/>
                    </a:lnTo>
                    <a:lnTo>
                      <a:pt x="45" y="408"/>
                    </a:lnTo>
                    <a:lnTo>
                      <a:pt x="46" y="408"/>
                    </a:lnTo>
                    <a:lnTo>
                      <a:pt x="48" y="408"/>
                    </a:lnTo>
                    <a:lnTo>
                      <a:pt x="52" y="407"/>
                    </a:lnTo>
                    <a:lnTo>
                      <a:pt x="52" y="408"/>
                    </a:lnTo>
                    <a:lnTo>
                      <a:pt x="52" y="410"/>
                    </a:lnTo>
                    <a:lnTo>
                      <a:pt x="53" y="410"/>
                    </a:lnTo>
                    <a:lnTo>
                      <a:pt x="55" y="411"/>
                    </a:lnTo>
                    <a:lnTo>
                      <a:pt x="56" y="411"/>
                    </a:lnTo>
                    <a:lnTo>
                      <a:pt x="61" y="412"/>
                    </a:lnTo>
                    <a:lnTo>
                      <a:pt x="68" y="415"/>
                    </a:lnTo>
                    <a:lnTo>
                      <a:pt x="69" y="415"/>
                    </a:lnTo>
                    <a:lnTo>
                      <a:pt x="71" y="415"/>
                    </a:lnTo>
                    <a:lnTo>
                      <a:pt x="72" y="414"/>
                    </a:lnTo>
                    <a:lnTo>
                      <a:pt x="74" y="414"/>
                    </a:lnTo>
                    <a:lnTo>
                      <a:pt x="74" y="414"/>
                    </a:lnTo>
                    <a:lnTo>
                      <a:pt x="74" y="414"/>
                    </a:lnTo>
                    <a:lnTo>
                      <a:pt x="74" y="415"/>
                    </a:lnTo>
                    <a:lnTo>
                      <a:pt x="75" y="415"/>
                    </a:lnTo>
                    <a:lnTo>
                      <a:pt x="75" y="415"/>
                    </a:lnTo>
                    <a:lnTo>
                      <a:pt x="76" y="415"/>
                    </a:lnTo>
                    <a:lnTo>
                      <a:pt x="76" y="414"/>
                    </a:lnTo>
                    <a:lnTo>
                      <a:pt x="76" y="414"/>
                    </a:lnTo>
                    <a:lnTo>
                      <a:pt x="78" y="414"/>
                    </a:lnTo>
                    <a:lnTo>
                      <a:pt x="78" y="418"/>
                    </a:lnTo>
                    <a:lnTo>
                      <a:pt x="78" y="420"/>
                    </a:lnTo>
                    <a:lnTo>
                      <a:pt x="78" y="421"/>
                    </a:lnTo>
                    <a:lnTo>
                      <a:pt x="81" y="427"/>
                    </a:lnTo>
                    <a:lnTo>
                      <a:pt x="82" y="430"/>
                    </a:lnTo>
                    <a:lnTo>
                      <a:pt x="82" y="431"/>
                    </a:lnTo>
                    <a:lnTo>
                      <a:pt x="82" y="431"/>
                    </a:lnTo>
                    <a:lnTo>
                      <a:pt x="82" y="431"/>
                    </a:lnTo>
                    <a:lnTo>
                      <a:pt x="82" y="431"/>
                    </a:lnTo>
                    <a:lnTo>
                      <a:pt x="82" y="431"/>
                    </a:lnTo>
                    <a:lnTo>
                      <a:pt x="82" y="433"/>
                    </a:lnTo>
                    <a:lnTo>
                      <a:pt x="84" y="433"/>
                    </a:lnTo>
                    <a:lnTo>
                      <a:pt x="84" y="433"/>
                    </a:lnTo>
                    <a:lnTo>
                      <a:pt x="88" y="434"/>
                    </a:lnTo>
                    <a:lnTo>
                      <a:pt x="88" y="434"/>
                    </a:lnTo>
                    <a:lnTo>
                      <a:pt x="89" y="434"/>
                    </a:lnTo>
                    <a:lnTo>
                      <a:pt x="89" y="434"/>
                    </a:lnTo>
                    <a:lnTo>
                      <a:pt x="89" y="434"/>
                    </a:lnTo>
                    <a:lnTo>
                      <a:pt x="91" y="435"/>
                    </a:lnTo>
                    <a:lnTo>
                      <a:pt x="94" y="437"/>
                    </a:lnTo>
                    <a:lnTo>
                      <a:pt x="94" y="437"/>
                    </a:lnTo>
                    <a:lnTo>
                      <a:pt x="94" y="437"/>
                    </a:lnTo>
                    <a:lnTo>
                      <a:pt x="94" y="438"/>
                    </a:lnTo>
                    <a:lnTo>
                      <a:pt x="94" y="438"/>
                    </a:lnTo>
                    <a:lnTo>
                      <a:pt x="94" y="438"/>
                    </a:lnTo>
                    <a:lnTo>
                      <a:pt x="94" y="438"/>
                    </a:lnTo>
                    <a:lnTo>
                      <a:pt x="94" y="440"/>
                    </a:lnTo>
                    <a:lnTo>
                      <a:pt x="94" y="440"/>
                    </a:lnTo>
                    <a:lnTo>
                      <a:pt x="94" y="441"/>
                    </a:lnTo>
                    <a:lnTo>
                      <a:pt x="91" y="443"/>
                    </a:lnTo>
                    <a:lnTo>
                      <a:pt x="89" y="443"/>
                    </a:lnTo>
                    <a:lnTo>
                      <a:pt x="89" y="444"/>
                    </a:lnTo>
                    <a:lnTo>
                      <a:pt x="89" y="444"/>
                    </a:lnTo>
                    <a:lnTo>
                      <a:pt x="89" y="444"/>
                    </a:lnTo>
                    <a:lnTo>
                      <a:pt x="91" y="445"/>
                    </a:lnTo>
                    <a:lnTo>
                      <a:pt x="91" y="448"/>
                    </a:lnTo>
                    <a:lnTo>
                      <a:pt x="91" y="451"/>
                    </a:lnTo>
                    <a:lnTo>
                      <a:pt x="91" y="453"/>
                    </a:lnTo>
                    <a:lnTo>
                      <a:pt x="91" y="454"/>
                    </a:lnTo>
                    <a:lnTo>
                      <a:pt x="91" y="454"/>
                    </a:lnTo>
                    <a:lnTo>
                      <a:pt x="92" y="456"/>
                    </a:lnTo>
                    <a:lnTo>
                      <a:pt x="95" y="458"/>
                    </a:lnTo>
                    <a:lnTo>
                      <a:pt x="95" y="458"/>
                    </a:lnTo>
                    <a:lnTo>
                      <a:pt x="95" y="458"/>
                    </a:lnTo>
                    <a:lnTo>
                      <a:pt x="97" y="460"/>
                    </a:lnTo>
                    <a:lnTo>
                      <a:pt x="97" y="460"/>
                    </a:lnTo>
                    <a:lnTo>
                      <a:pt x="97" y="461"/>
                    </a:lnTo>
                    <a:lnTo>
                      <a:pt x="97" y="463"/>
                    </a:lnTo>
                    <a:lnTo>
                      <a:pt x="97" y="463"/>
                    </a:lnTo>
                    <a:lnTo>
                      <a:pt x="97" y="463"/>
                    </a:lnTo>
                    <a:lnTo>
                      <a:pt x="97" y="464"/>
                    </a:lnTo>
                    <a:lnTo>
                      <a:pt x="97" y="464"/>
                    </a:lnTo>
                    <a:lnTo>
                      <a:pt x="98" y="464"/>
                    </a:lnTo>
                    <a:lnTo>
                      <a:pt x="98" y="466"/>
                    </a:lnTo>
                    <a:lnTo>
                      <a:pt x="98" y="466"/>
                    </a:lnTo>
                    <a:lnTo>
                      <a:pt x="98" y="466"/>
                    </a:lnTo>
                    <a:lnTo>
                      <a:pt x="98" y="467"/>
                    </a:lnTo>
                    <a:lnTo>
                      <a:pt x="98" y="468"/>
                    </a:lnTo>
                    <a:lnTo>
                      <a:pt x="98" y="468"/>
                    </a:lnTo>
                    <a:lnTo>
                      <a:pt x="98" y="468"/>
                    </a:lnTo>
                    <a:lnTo>
                      <a:pt x="98" y="470"/>
                    </a:lnTo>
                    <a:lnTo>
                      <a:pt x="99" y="470"/>
                    </a:lnTo>
                    <a:lnTo>
                      <a:pt x="99" y="470"/>
                    </a:lnTo>
                    <a:lnTo>
                      <a:pt x="98" y="471"/>
                    </a:lnTo>
                    <a:lnTo>
                      <a:pt x="98" y="473"/>
                    </a:lnTo>
                    <a:lnTo>
                      <a:pt x="98" y="474"/>
                    </a:lnTo>
                    <a:lnTo>
                      <a:pt x="98" y="474"/>
                    </a:lnTo>
                    <a:lnTo>
                      <a:pt x="97" y="474"/>
                    </a:lnTo>
                    <a:lnTo>
                      <a:pt x="97" y="474"/>
                    </a:lnTo>
                    <a:lnTo>
                      <a:pt x="97" y="476"/>
                    </a:lnTo>
                    <a:lnTo>
                      <a:pt x="95" y="476"/>
                    </a:lnTo>
                    <a:lnTo>
                      <a:pt x="95" y="476"/>
                    </a:lnTo>
                    <a:lnTo>
                      <a:pt x="94" y="477"/>
                    </a:lnTo>
                    <a:lnTo>
                      <a:pt x="92" y="476"/>
                    </a:lnTo>
                    <a:lnTo>
                      <a:pt x="91" y="476"/>
                    </a:lnTo>
                    <a:lnTo>
                      <a:pt x="91" y="474"/>
                    </a:lnTo>
                    <a:lnTo>
                      <a:pt x="91" y="474"/>
                    </a:lnTo>
                    <a:lnTo>
                      <a:pt x="91" y="474"/>
                    </a:lnTo>
                    <a:lnTo>
                      <a:pt x="91" y="473"/>
                    </a:lnTo>
                    <a:lnTo>
                      <a:pt x="91" y="473"/>
                    </a:lnTo>
                    <a:lnTo>
                      <a:pt x="89" y="473"/>
                    </a:lnTo>
                    <a:lnTo>
                      <a:pt x="89" y="473"/>
                    </a:lnTo>
                    <a:lnTo>
                      <a:pt x="89" y="473"/>
                    </a:lnTo>
                    <a:lnTo>
                      <a:pt x="89" y="471"/>
                    </a:lnTo>
                    <a:lnTo>
                      <a:pt x="89" y="471"/>
                    </a:lnTo>
                    <a:lnTo>
                      <a:pt x="88" y="473"/>
                    </a:lnTo>
                    <a:lnTo>
                      <a:pt x="88" y="473"/>
                    </a:lnTo>
                    <a:lnTo>
                      <a:pt x="88" y="473"/>
                    </a:lnTo>
                    <a:lnTo>
                      <a:pt x="84" y="473"/>
                    </a:lnTo>
                    <a:lnTo>
                      <a:pt x="84" y="473"/>
                    </a:lnTo>
                    <a:lnTo>
                      <a:pt x="84" y="474"/>
                    </a:lnTo>
                    <a:lnTo>
                      <a:pt x="84" y="474"/>
                    </a:lnTo>
                    <a:lnTo>
                      <a:pt x="85" y="474"/>
                    </a:lnTo>
                    <a:lnTo>
                      <a:pt x="85" y="476"/>
                    </a:lnTo>
                    <a:lnTo>
                      <a:pt x="85" y="476"/>
                    </a:lnTo>
                    <a:lnTo>
                      <a:pt x="85" y="476"/>
                    </a:lnTo>
                    <a:lnTo>
                      <a:pt x="85" y="477"/>
                    </a:lnTo>
                    <a:lnTo>
                      <a:pt x="85" y="477"/>
                    </a:lnTo>
                    <a:lnTo>
                      <a:pt x="87" y="479"/>
                    </a:lnTo>
                    <a:lnTo>
                      <a:pt x="87" y="480"/>
                    </a:lnTo>
                    <a:lnTo>
                      <a:pt x="89" y="483"/>
                    </a:lnTo>
                    <a:lnTo>
                      <a:pt x="89" y="483"/>
                    </a:lnTo>
                    <a:lnTo>
                      <a:pt x="89" y="483"/>
                    </a:lnTo>
                    <a:lnTo>
                      <a:pt x="89" y="483"/>
                    </a:lnTo>
                    <a:lnTo>
                      <a:pt x="89" y="484"/>
                    </a:lnTo>
                    <a:lnTo>
                      <a:pt x="89" y="484"/>
                    </a:lnTo>
                    <a:lnTo>
                      <a:pt x="89" y="484"/>
                    </a:lnTo>
                    <a:lnTo>
                      <a:pt x="89" y="484"/>
                    </a:lnTo>
                    <a:lnTo>
                      <a:pt x="89" y="486"/>
                    </a:lnTo>
                    <a:lnTo>
                      <a:pt x="89" y="486"/>
                    </a:lnTo>
                    <a:lnTo>
                      <a:pt x="89" y="487"/>
                    </a:lnTo>
                    <a:lnTo>
                      <a:pt x="89" y="487"/>
                    </a:lnTo>
                    <a:lnTo>
                      <a:pt x="89" y="489"/>
                    </a:lnTo>
                    <a:lnTo>
                      <a:pt x="91" y="490"/>
                    </a:lnTo>
                    <a:lnTo>
                      <a:pt x="91" y="491"/>
                    </a:lnTo>
                    <a:lnTo>
                      <a:pt x="91" y="491"/>
                    </a:lnTo>
                    <a:lnTo>
                      <a:pt x="89" y="493"/>
                    </a:lnTo>
                    <a:lnTo>
                      <a:pt x="89" y="493"/>
                    </a:lnTo>
                    <a:lnTo>
                      <a:pt x="91" y="494"/>
                    </a:lnTo>
                    <a:lnTo>
                      <a:pt x="91" y="494"/>
                    </a:lnTo>
                    <a:lnTo>
                      <a:pt x="91" y="496"/>
                    </a:lnTo>
                    <a:lnTo>
                      <a:pt x="91" y="496"/>
                    </a:lnTo>
                    <a:lnTo>
                      <a:pt x="91" y="497"/>
                    </a:lnTo>
                    <a:lnTo>
                      <a:pt x="91" y="497"/>
                    </a:lnTo>
                    <a:lnTo>
                      <a:pt x="91" y="497"/>
                    </a:lnTo>
                    <a:lnTo>
                      <a:pt x="92" y="496"/>
                    </a:lnTo>
                    <a:lnTo>
                      <a:pt x="94" y="496"/>
                    </a:lnTo>
                    <a:lnTo>
                      <a:pt x="94" y="496"/>
                    </a:lnTo>
                    <a:lnTo>
                      <a:pt x="95" y="494"/>
                    </a:lnTo>
                    <a:lnTo>
                      <a:pt x="95" y="494"/>
                    </a:lnTo>
                    <a:lnTo>
                      <a:pt x="95" y="494"/>
                    </a:lnTo>
                    <a:lnTo>
                      <a:pt x="97" y="494"/>
                    </a:lnTo>
                    <a:lnTo>
                      <a:pt x="97" y="494"/>
                    </a:lnTo>
                    <a:lnTo>
                      <a:pt x="99" y="497"/>
                    </a:lnTo>
                    <a:lnTo>
                      <a:pt x="101" y="500"/>
                    </a:lnTo>
                    <a:lnTo>
                      <a:pt x="101" y="500"/>
                    </a:lnTo>
                    <a:lnTo>
                      <a:pt x="104" y="503"/>
                    </a:lnTo>
                    <a:lnTo>
                      <a:pt x="104" y="503"/>
                    </a:lnTo>
                    <a:lnTo>
                      <a:pt x="105" y="503"/>
                    </a:lnTo>
                    <a:lnTo>
                      <a:pt x="107" y="503"/>
                    </a:lnTo>
                    <a:lnTo>
                      <a:pt x="108" y="503"/>
                    </a:lnTo>
                    <a:lnTo>
                      <a:pt x="108" y="503"/>
                    </a:lnTo>
                    <a:lnTo>
                      <a:pt x="109" y="503"/>
                    </a:lnTo>
                    <a:lnTo>
                      <a:pt x="111" y="504"/>
                    </a:lnTo>
                    <a:lnTo>
                      <a:pt x="111" y="504"/>
                    </a:lnTo>
                    <a:lnTo>
                      <a:pt x="112" y="504"/>
                    </a:lnTo>
                    <a:lnTo>
                      <a:pt x="114" y="506"/>
                    </a:lnTo>
                    <a:lnTo>
                      <a:pt x="114" y="506"/>
                    </a:lnTo>
                    <a:lnTo>
                      <a:pt x="115" y="506"/>
                    </a:lnTo>
                    <a:lnTo>
                      <a:pt x="115" y="507"/>
                    </a:lnTo>
                    <a:lnTo>
                      <a:pt x="115" y="509"/>
                    </a:lnTo>
                    <a:lnTo>
                      <a:pt x="117" y="510"/>
                    </a:lnTo>
                    <a:lnTo>
                      <a:pt x="122" y="513"/>
                    </a:lnTo>
                    <a:lnTo>
                      <a:pt x="122" y="513"/>
                    </a:lnTo>
                    <a:lnTo>
                      <a:pt x="122" y="513"/>
                    </a:lnTo>
                    <a:lnTo>
                      <a:pt x="124" y="513"/>
                    </a:lnTo>
                    <a:lnTo>
                      <a:pt x="124" y="513"/>
                    </a:lnTo>
                    <a:lnTo>
                      <a:pt x="125" y="514"/>
                    </a:lnTo>
                    <a:lnTo>
                      <a:pt x="128" y="516"/>
                    </a:lnTo>
                    <a:lnTo>
                      <a:pt x="130" y="517"/>
                    </a:lnTo>
                    <a:lnTo>
                      <a:pt x="130" y="519"/>
                    </a:lnTo>
                    <a:lnTo>
                      <a:pt x="131" y="520"/>
                    </a:lnTo>
                    <a:lnTo>
                      <a:pt x="132" y="520"/>
                    </a:lnTo>
                    <a:lnTo>
                      <a:pt x="134" y="519"/>
                    </a:lnTo>
                    <a:lnTo>
                      <a:pt x="137" y="516"/>
                    </a:lnTo>
                    <a:lnTo>
                      <a:pt x="140" y="514"/>
                    </a:lnTo>
                    <a:lnTo>
                      <a:pt x="141" y="514"/>
                    </a:lnTo>
                    <a:lnTo>
                      <a:pt x="144" y="514"/>
                    </a:lnTo>
                    <a:lnTo>
                      <a:pt x="147" y="514"/>
                    </a:lnTo>
                    <a:lnTo>
                      <a:pt x="148" y="516"/>
                    </a:lnTo>
                    <a:lnTo>
                      <a:pt x="150" y="519"/>
                    </a:lnTo>
                    <a:lnTo>
                      <a:pt x="151" y="520"/>
                    </a:lnTo>
                    <a:lnTo>
                      <a:pt x="170" y="530"/>
                    </a:lnTo>
                    <a:lnTo>
                      <a:pt x="174" y="536"/>
                    </a:lnTo>
                    <a:lnTo>
                      <a:pt x="176" y="536"/>
                    </a:lnTo>
                    <a:lnTo>
                      <a:pt x="177" y="536"/>
                    </a:lnTo>
                    <a:lnTo>
                      <a:pt x="180" y="536"/>
                    </a:lnTo>
                    <a:lnTo>
                      <a:pt x="181" y="536"/>
                    </a:lnTo>
                    <a:lnTo>
                      <a:pt x="183" y="536"/>
                    </a:lnTo>
                    <a:lnTo>
                      <a:pt x="184" y="537"/>
                    </a:lnTo>
                    <a:lnTo>
                      <a:pt x="186" y="539"/>
                    </a:lnTo>
                    <a:lnTo>
                      <a:pt x="187" y="542"/>
                    </a:lnTo>
                    <a:lnTo>
                      <a:pt x="190" y="545"/>
                    </a:lnTo>
                    <a:lnTo>
                      <a:pt x="193" y="548"/>
                    </a:lnTo>
                    <a:lnTo>
                      <a:pt x="196" y="549"/>
                    </a:lnTo>
                    <a:lnTo>
                      <a:pt x="197" y="549"/>
                    </a:lnTo>
                    <a:lnTo>
                      <a:pt x="201" y="548"/>
                    </a:lnTo>
                    <a:lnTo>
                      <a:pt x="203" y="548"/>
                    </a:lnTo>
                    <a:lnTo>
                      <a:pt x="203" y="549"/>
                    </a:lnTo>
                    <a:lnTo>
                      <a:pt x="201" y="552"/>
                    </a:lnTo>
                    <a:lnTo>
                      <a:pt x="203" y="553"/>
                    </a:lnTo>
                    <a:lnTo>
                      <a:pt x="204" y="555"/>
                    </a:lnTo>
                    <a:lnTo>
                      <a:pt x="207" y="555"/>
                    </a:lnTo>
                    <a:lnTo>
                      <a:pt x="209" y="555"/>
                    </a:lnTo>
                    <a:lnTo>
                      <a:pt x="211" y="555"/>
                    </a:lnTo>
                    <a:lnTo>
                      <a:pt x="213" y="556"/>
                    </a:lnTo>
                    <a:lnTo>
                      <a:pt x="216" y="560"/>
                    </a:lnTo>
                    <a:lnTo>
                      <a:pt x="217" y="562"/>
                    </a:lnTo>
                    <a:lnTo>
                      <a:pt x="219" y="562"/>
                    </a:lnTo>
                    <a:lnTo>
                      <a:pt x="219" y="560"/>
                    </a:lnTo>
                    <a:lnTo>
                      <a:pt x="219" y="559"/>
                    </a:lnTo>
                    <a:lnTo>
                      <a:pt x="220" y="558"/>
                    </a:lnTo>
                    <a:lnTo>
                      <a:pt x="221" y="559"/>
                    </a:lnTo>
                    <a:lnTo>
                      <a:pt x="223" y="559"/>
                    </a:lnTo>
                    <a:lnTo>
                      <a:pt x="224" y="560"/>
                    </a:lnTo>
                    <a:lnTo>
                      <a:pt x="226" y="562"/>
                    </a:lnTo>
                    <a:lnTo>
                      <a:pt x="227" y="560"/>
                    </a:lnTo>
                    <a:lnTo>
                      <a:pt x="227" y="559"/>
                    </a:lnTo>
                    <a:lnTo>
                      <a:pt x="229" y="559"/>
                    </a:lnTo>
                    <a:lnTo>
                      <a:pt x="230" y="559"/>
                    </a:lnTo>
                    <a:lnTo>
                      <a:pt x="232" y="559"/>
                    </a:lnTo>
                    <a:lnTo>
                      <a:pt x="236" y="562"/>
                    </a:lnTo>
                    <a:lnTo>
                      <a:pt x="237" y="563"/>
                    </a:lnTo>
                    <a:lnTo>
                      <a:pt x="242" y="563"/>
                    </a:lnTo>
                    <a:lnTo>
                      <a:pt x="250" y="562"/>
                    </a:lnTo>
                    <a:lnTo>
                      <a:pt x="255" y="562"/>
                    </a:lnTo>
                    <a:lnTo>
                      <a:pt x="255" y="562"/>
                    </a:lnTo>
                    <a:lnTo>
                      <a:pt x="255" y="562"/>
                    </a:lnTo>
                    <a:lnTo>
                      <a:pt x="255" y="560"/>
                    </a:lnTo>
                    <a:lnTo>
                      <a:pt x="256" y="560"/>
                    </a:lnTo>
                    <a:lnTo>
                      <a:pt x="256" y="560"/>
                    </a:lnTo>
                    <a:lnTo>
                      <a:pt x="256" y="560"/>
                    </a:lnTo>
                    <a:lnTo>
                      <a:pt x="257" y="560"/>
                    </a:lnTo>
                    <a:lnTo>
                      <a:pt x="257" y="560"/>
                    </a:lnTo>
                    <a:lnTo>
                      <a:pt x="260" y="560"/>
                    </a:lnTo>
                    <a:lnTo>
                      <a:pt x="262" y="559"/>
                    </a:lnTo>
                    <a:lnTo>
                      <a:pt x="262" y="559"/>
                    </a:lnTo>
                    <a:lnTo>
                      <a:pt x="263" y="559"/>
                    </a:lnTo>
                    <a:lnTo>
                      <a:pt x="263" y="558"/>
                    </a:lnTo>
                    <a:lnTo>
                      <a:pt x="263" y="558"/>
                    </a:lnTo>
                    <a:lnTo>
                      <a:pt x="263" y="558"/>
                    </a:lnTo>
                    <a:lnTo>
                      <a:pt x="266" y="559"/>
                    </a:lnTo>
                    <a:lnTo>
                      <a:pt x="266" y="559"/>
                    </a:lnTo>
                    <a:lnTo>
                      <a:pt x="267" y="560"/>
                    </a:lnTo>
                    <a:lnTo>
                      <a:pt x="267" y="560"/>
                    </a:lnTo>
                    <a:lnTo>
                      <a:pt x="267" y="560"/>
                    </a:lnTo>
                    <a:lnTo>
                      <a:pt x="267" y="562"/>
                    </a:lnTo>
                    <a:lnTo>
                      <a:pt x="267" y="562"/>
                    </a:lnTo>
                    <a:lnTo>
                      <a:pt x="267" y="563"/>
                    </a:lnTo>
                    <a:lnTo>
                      <a:pt x="267" y="565"/>
                    </a:lnTo>
                    <a:lnTo>
                      <a:pt x="267" y="568"/>
                    </a:lnTo>
                    <a:lnTo>
                      <a:pt x="266" y="569"/>
                    </a:lnTo>
                    <a:lnTo>
                      <a:pt x="266" y="571"/>
                    </a:lnTo>
                    <a:lnTo>
                      <a:pt x="267" y="572"/>
                    </a:lnTo>
                    <a:lnTo>
                      <a:pt x="269" y="573"/>
                    </a:lnTo>
                    <a:lnTo>
                      <a:pt x="269" y="572"/>
                    </a:lnTo>
                    <a:lnTo>
                      <a:pt x="270" y="569"/>
                    </a:lnTo>
                    <a:lnTo>
                      <a:pt x="279" y="559"/>
                    </a:lnTo>
                    <a:lnTo>
                      <a:pt x="280" y="558"/>
                    </a:lnTo>
                    <a:lnTo>
                      <a:pt x="282" y="556"/>
                    </a:lnTo>
                    <a:lnTo>
                      <a:pt x="285" y="555"/>
                    </a:lnTo>
                    <a:lnTo>
                      <a:pt x="286" y="555"/>
                    </a:lnTo>
                    <a:lnTo>
                      <a:pt x="288" y="553"/>
                    </a:lnTo>
                    <a:lnTo>
                      <a:pt x="289" y="553"/>
                    </a:lnTo>
                    <a:lnTo>
                      <a:pt x="290" y="555"/>
                    </a:lnTo>
                    <a:lnTo>
                      <a:pt x="292" y="555"/>
                    </a:lnTo>
                    <a:lnTo>
                      <a:pt x="293" y="555"/>
                    </a:lnTo>
                    <a:lnTo>
                      <a:pt x="293" y="555"/>
                    </a:lnTo>
                    <a:lnTo>
                      <a:pt x="295" y="556"/>
                    </a:lnTo>
                    <a:lnTo>
                      <a:pt x="295" y="556"/>
                    </a:lnTo>
                    <a:lnTo>
                      <a:pt x="295" y="558"/>
                    </a:lnTo>
                    <a:lnTo>
                      <a:pt x="295" y="558"/>
                    </a:lnTo>
                    <a:lnTo>
                      <a:pt x="295" y="558"/>
                    </a:lnTo>
                    <a:lnTo>
                      <a:pt x="296" y="559"/>
                    </a:lnTo>
                    <a:lnTo>
                      <a:pt x="298" y="559"/>
                    </a:lnTo>
                    <a:lnTo>
                      <a:pt x="299" y="559"/>
                    </a:lnTo>
                    <a:lnTo>
                      <a:pt x="300" y="559"/>
                    </a:lnTo>
                    <a:lnTo>
                      <a:pt x="302" y="559"/>
                    </a:lnTo>
                    <a:lnTo>
                      <a:pt x="306" y="560"/>
                    </a:lnTo>
                    <a:lnTo>
                      <a:pt x="308" y="560"/>
                    </a:lnTo>
                    <a:lnTo>
                      <a:pt x="309" y="560"/>
                    </a:lnTo>
                    <a:lnTo>
                      <a:pt x="311" y="559"/>
                    </a:lnTo>
                    <a:lnTo>
                      <a:pt x="311" y="559"/>
                    </a:lnTo>
                    <a:lnTo>
                      <a:pt x="312" y="560"/>
                    </a:lnTo>
                    <a:lnTo>
                      <a:pt x="315" y="560"/>
                    </a:lnTo>
                    <a:lnTo>
                      <a:pt x="316" y="562"/>
                    </a:lnTo>
                    <a:lnTo>
                      <a:pt x="316" y="562"/>
                    </a:lnTo>
                    <a:lnTo>
                      <a:pt x="316" y="565"/>
                    </a:lnTo>
                    <a:lnTo>
                      <a:pt x="318" y="565"/>
                    </a:lnTo>
                    <a:lnTo>
                      <a:pt x="319" y="565"/>
                    </a:lnTo>
                    <a:lnTo>
                      <a:pt x="322" y="565"/>
                    </a:lnTo>
                    <a:lnTo>
                      <a:pt x="322" y="565"/>
                    </a:lnTo>
                    <a:lnTo>
                      <a:pt x="323" y="565"/>
                    </a:lnTo>
                    <a:lnTo>
                      <a:pt x="325" y="565"/>
                    </a:lnTo>
                    <a:lnTo>
                      <a:pt x="325" y="563"/>
                    </a:lnTo>
                    <a:lnTo>
                      <a:pt x="326" y="563"/>
                    </a:lnTo>
                    <a:lnTo>
                      <a:pt x="326" y="563"/>
                    </a:lnTo>
                    <a:lnTo>
                      <a:pt x="326" y="563"/>
                    </a:lnTo>
                    <a:lnTo>
                      <a:pt x="328" y="563"/>
                    </a:lnTo>
                    <a:lnTo>
                      <a:pt x="328" y="563"/>
                    </a:lnTo>
                    <a:lnTo>
                      <a:pt x="329" y="563"/>
                    </a:lnTo>
                    <a:lnTo>
                      <a:pt x="331" y="563"/>
                    </a:lnTo>
                    <a:lnTo>
                      <a:pt x="332" y="563"/>
                    </a:lnTo>
                    <a:lnTo>
                      <a:pt x="334" y="562"/>
                    </a:lnTo>
                    <a:lnTo>
                      <a:pt x="335" y="560"/>
                    </a:lnTo>
                    <a:lnTo>
                      <a:pt x="335" y="560"/>
                    </a:lnTo>
                    <a:lnTo>
                      <a:pt x="335" y="560"/>
                    </a:lnTo>
                    <a:lnTo>
                      <a:pt x="335" y="560"/>
                    </a:lnTo>
                    <a:lnTo>
                      <a:pt x="335" y="559"/>
                    </a:lnTo>
                    <a:lnTo>
                      <a:pt x="335" y="559"/>
                    </a:lnTo>
                    <a:lnTo>
                      <a:pt x="335" y="559"/>
                    </a:lnTo>
                    <a:lnTo>
                      <a:pt x="335" y="559"/>
                    </a:lnTo>
                    <a:lnTo>
                      <a:pt x="335" y="559"/>
                    </a:lnTo>
                    <a:lnTo>
                      <a:pt x="335" y="559"/>
                    </a:lnTo>
                    <a:lnTo>
                      <a:pt x="335" y="559"/>
                    </a:lnTo>
                    <a:lnTo>
                      <a:pt x="335" y="559"/>
                    </a:lnTo>
                    <a:lnTo>
                      <a:pt x="335" y="559"/>
                    </a:lnTo>
                    <a:lnTo>
                      <a:pt x="335" y="558"/>
                    </a:lnTo>
                    <a:lnTo>
                      <a:pt x="335" y="558"/>
                    </a:lnTo>
                    <a:lnTo>
                      <a:pt x="335" y="558"/>
                    </a:lnTo>
                    <a:lnTo>
                      <a:pt x="335" y="558"/>
                    </a:lnTo>
                    <a:lnTo>
                      <a:pt x="339" y="556"/>
                    </a:lnTo>
                    <a:lnTo>
                      <a:pt x="341" y="555"/>
                    </a:lnTo>
                    <a:lnTo>
                      <a:pt x="342" y="553"/>
                    </a:lnTo>
                    <a:lnTo>
                      <a:pt x="342" y="553"/>
                    </a:lnTo>
                    <a:lnTo>
                      <a:pt x="342" y="552"/>
                    </a:lnTo>
                    <a:lnTo>
                      <a:pt x="344" y="552"/>
                    </a:lnTo>
                    <a:lnTo>
                      <a:pt x="344" y="550"/>
                    </a:lnTo>
                    <a:lnTo>
                      <a:pt x="344" y="549"/>
                    </a:lnTo>
                    <a:lnTo>
                      <a:pt x="345" y="548"/>
                    </a:lnTo>
                    <a:lnTo>
                      <a:pt x="345" y="548"/>
                    </a:lnTo>
                    <a:lnTo>
                      <a:pt x="345" y="548"/>
                    </a:lnTo>
                    <a:lnTo>
                      <a:pt x="346" y="548"/>
                    </a:lnTo>
                    <a:lnTo>
                      <a:pt x="346" y="548"/>
                    </a:lnTo>
                    <a:lnTo>
                      <a:pt x="352" y="546"/>
                    </a:lnTo>
                    <a:lnTo>
                      <a:pt x="354" y="546"/>
                    </a:lnTo>
                    <a:lnTo>
                      <a:pt x="354" y="546"/>
                    </a:lnTo>
                    <a:lnTo>
                      <a:pt x="355" y="545"/>
                    </a:lnTo>
                    <a:lnTo>
                      <a:pt x="356" y="545"/>
                    </a:lnTo>
                    <a:lnTo>
                      <a:pt x="358" y="543"/>
                    </a:lnTo>
                    <a:lnTo>
                      <a:pt x="358" y="543"/>
                    </a:lnTo>
                    <a:lnTo>
                      <a:pt x="358" y="543"/>
                    </a:lnTo>
                    <a:lnTo>
                      <a:pt x="358" y="542"/>
                    </a:lnTo>
                    <a:lnTo>
                      <a:pt x="358" y="542"/>
                    </a:lnTo>
                    <a:lnTo>
                      <a:pt x="359" y="542"/>
                    </a:lnTo>
                    <a:lnTo>
                      <a:pt x="359" y="542"/>
                    </a:lnTo>
                    <a:lnTo>
                      <a:pt x="359" y="542"/>
                    </a:lnTo>
                    <a:lnTo>
                      <a:pt x="361" y="540"/>
                    </a:lnTo>
                    <a:lnTo>
                      <a:pt x="361" y="540"/>
                    </a:lnTo>
                    <a:lnTo>
                      <a:pt x="362" y="539"/>
                    </a:lnTo>
                    <a:lnTo>
                      <a:pt x="362" y="539"/>
                    </a:lnTo>
                    <a:lnTo>
                      <a:pt x="364" y="537"/>
                    </a:lnTo>
                    <a:lnTo>
                      <a:pt x="365" y="537"/>
                    </a:lnTo>
                    <a:lnTo>
                      <a:pt x="365" y="536"/>
                    </a:lnTo>
                    <a:lnTo>
                      <a:pt x="367" y="536"/>
                    </a:lnTo>
                    <a:lnTo>
                      <a:pt x="369" y="535"/>
                    </a:lnTo>
                    <a:lnTo>
                      <a:pt x="369" y="535"/>
                    </a:lnTo>
                    <a:lnTo>
                      <a:pt x="369" y="535"/>
                    </a:lnTo>
                    <a:lnTo>
                      <a:pt x="371" y="535"/>
                    </a:lnTo>
                    <a:lnTo>
                      <a:pt x="371" y="535"/>
                    </a:lnTo>
                    <a:lnTo>
                      <a:pt x="372" y="536"/>
                    </a:lnTo>
                    <a:lnTo>
                      <a:pt x="372" y="537"/>
                    </a:lnTo>
                    <a:lnTo>
                      <a:pt x="374" y="537"/>
                    </a:lnTo>
                    <a:lnTo>
                      <a:pt x="375" y="537"/>
                    </a:lnTo>
                    <a:lnTo>
                      <a:pt x="377" y="537"/>
                    </a:lnTo>
                    <a:lnTo>
                      <a:pt x="377" y="537"/>
                    </a:lnTo>
                    <a:lnTo>
                      <a:pt x="378" y="539"/>
                    </a:lnTo>
                    <a:lnTo>
                      <a:pt x="381" y="539"/>
                    </a:lnTo>
                    <a:lnTo>
                      <a:pt x="381" y="539"/>
                    </a:lnTo>
                    <a:lnTo>
                      <a:pt x="382" y="540"/>
                    </a:lnTo>
                    <a:lnTo>
                      <a:pt x="382" y="540"/>
                    </a:lnTo>
                    <a:lnTo>
                      <a:pt x="382" y="540"/>
                    </a:lnTo>
                    <a:lnTo>
                      <a:pt x="384" y="539"/>
                    </a:lnTo>
                    <a:lnTo>
                      <a:pt x="384" y="539"/>
                    </a:lnTo>
                    <a:lnTo>
                      <a:pt x="384" y="539"/>
                    </a:lnTo>
                    <a:lnTo>
                      <a:pt x="384" y="539"/>
                    </a:lnTo>
                    <a:lnTo>
                      <a:pt x="384" y="537"/>
                    </a:lnTo>
                    <a:lnTo>
                      <a:pt x="385" y="537"/>
                    </a:lnTo>
                    <a:lnTo>
                      <a:pt x="385" y="537"/>
                    </a:lnTo>
                    <a:lnTo>
                      <a:pt x="385" y="537"/>
                    </a:lnTo>
                    <a:lnTo>
                      <a:pt x="385" y="536"/>
                    </a:lnTo>
                    <a:lnTo>
                      <a:pt x="388" y="535"/>
                    </a:lnTo>
                    <a:lnTo>
                      <a:pt x="392" y="532"/>
                    </a:lnTo>
                    <a:lnTo>
                      <a:pt x="394" y="532"/>
                    </a:lnTo>
                    <a:lnTo>
                      <a:pt x="395" y="532"/>
                    </a:lnTo>
                    <a:lnTo>
                      <a:pt x="395" y="533"/>
                    </a:lnTo>
                    <a:lnTo>
                      <a:pt x="395" y="533"/>
                    </a:lnTo>
                    <a:lnTo>
                      <a:pt x="397" y="533"/>
                    </a:lnTo>
                    <a:lnTo>
                      <a:pt x="397" y="535"/>
                    </a:lnTo>
                    <a:lnTo>
                      <a:pt x="397" y="535"/>
                    </a:lnTo>
                    <a:lnTo>
                      <a:pt x="397" y="535"/>
                    </a:lnTo>
                    <a:lnTo>
                      <a:pt x="397" y="536"/>
                    </a:lnTo>
                    <a:lnTo>
                      <a:pt x="398" y="536"/>
                    </a:lnTo>
                    <a:lnTo>
                      <a:pt x="398" y="536"/>
                    </a:lnTo>
                    <a:lnTo>
                      <a:pt x="400" y="536"/>
                    </a:lnTo>
                    <a:lnTo>
                      <a:pt x="400" y="536"/>
                    </a:lnTo>
                    <a:lnTo>
                      <a:pt x="400" y="536"/>
                    </a:lnTo>
                    <a:lnTo>
                      <a:pt x="400" y="536"/>
                    </a:lnTo>
                    <a:lnTo>
                      <a:pt x="400" y="536"/>
                    </a:lnTo>
                    <a:lnTo>
                      <a:pt x="400" y="536"/>
                    </a:lnTo>
                    <a:lnTo>
                      <a:pt x="398" y="537"/>
                    </a:lnTo>
                    <a:lnTo>
                      <a:pt x="398" y="537"/>
                    </a:lnTo>
                    <a:lnTo>
                      <a:pt x="397" y="537"/>
                    </a:lnTo>
                    <a:lnTo>
                      <a:pt x="395" y="539"/>
                    </a:lnTo>
                    <a:lnTo>
                      <a:pt x="395" y="539"/>
                    </a:lnTo>
                    <a:lnTo>
                      <a:pt x="395" y="540"/>
                    </a:lnTo>
                    <a:lnTo>
                      <a:pt x="397" y="542"/>
                    </a:lnTo>
                    <a:lnTo>
                      <a:pt x="395" y="542"/>
                    </a:lnTo>
                    <a:lnTo>
                      <a:pt x="397" y="542"/>
                    </a:lnTo>
                    <a:lnTo>
                      <a:pt x="398" y="540"/>
                    </a:lnTo>
                    <a:lnTo>
                      <a:pt x="400" y="540"/>
                    </a:lnTo>
                    <a:lnTo>
                      <a:pt x="400" y="540"/>
                    </a:lnTo>
                    <a:lnTo>
                      <a:pt x="401" y="540"/>
                    </a:lnTo>
                    <a:lnTo>
                      <a:pt x="402" y="540"/>
                    </a:lnTo>
                    <a:lnTo>
                      <a:pt x="402" y="540"/>
                    </a:lnTo>
                    <a:lnTo>
                      <a:pt x="402" y="542"/>
                    </a:lnTo>
                    <a:lnTo>
                      <a:pt x="402" y="543"/>
                    </a:lnTo>
                    <a:lnTo>
                      <a:pt x="404" y="543"/>
                    </a:lnTo>
                    <a:lnTo>
                      <a:pt x="404" y="545"/>
                    </a:lnTo>
                    <a:lnTo>
                      <a:pt x="404" y="545"/>
                    </a:lnTo>
                    <a:lnTo>
                      <a:pt x="402" y="546"/>
                    </a:lnTo>
                    <a:lnTo>
                      <a:pt x="402" y="546"/>
                    </a:lnTo>
                    <a:lnTo>
                      <a:pt x="401" y="548"/>
                    </a:lnTo>
                    <a:lnTo>
                      <a:pt x="400" y="549"/>
                    </a:lnTo>
                    <a:lnTo>
                      <a:pt x="400" y="550"/>
                    </a:lnTo>
                    <a:lnTo>
                      <a:pt x="400" y="550"/>
                    </a:lnTo>
                    <a:lnTo>
                      <a:pt x="400" y="550"/>
                    </a:lnTo>
                    <a:lnTo>
                      <a:pt x="398" y="552"/>
                    </a:lnTo>
                    <a:lnTo>
                      <a:pt x="398" y="552"/>
                    </a:lnTo>
                    <a:lnTo>
                      <a:pt x="398" y="552"/>
                    </a:lnTo>
                    <a:lnTo>
                      <a:pt x="400" y="552"/>
                    </a:lnTo>
                    <a:lnTo>
                      <a:pt x="400" y="552"/>
                    </a:lnTo>
                    <a:lnTo>
                      <a:pt x="400" y="552"/>
                    </a:lnTo>
                    <a:lnTo>
                      <a:pt x="400" y="553"/>
                    </a:lnTo>
                    <a:lnTo>
                      <a:pt x="401" y="553"/>
                    </a:lnTo>
                    <a:lnTo>
                      <a:pt x="401" y="552"/>
                    </a:lnTo>
                    <a:lnTo>
                      <a:pt x="401" y="552"/>
                    </a:lnTo>
                    <a:lnTo>
                      <a:pt x="401" y="552"/>
                    </a:lnTo>
                    <a:lnTo>
                      <a:pt x="404" y="550"/>
                    </a:lnTo>
                    <a:lnTo>
                      <a:pt x="405" y="550"/>
                    </a:lnTo>
                    <a:lnTo>
                      <a:pt x="405" y="552"/>
                    </a:lnTo>
                    <a:lnTo>
                      <a:pt x="407" y="552"/>
                    </a:lnTo>
                    <a:lnTo>
                      <a:pt x="407" y="553"/>
                    </a:lnTo>
                    <a:lnTo>
                      <a:pt x="408" y="553"/>
                    </a:lnTo>
                    <a:lnTo>
                      <a:pt x="411" y="553"/>
                    </a:lnTo>
                    <a:lnTo>
                      <a:pt x="411" y="553"/>
                    </a:lnTo>
                    <a:lnTo>
                      <a:pt x="413" y="553"/>
                    </a:lnTo>
                    <a:lnTo>
                      <a:pt x="413" y="553"/>
                    </a:lnTo>
                    <a:lnTo>
                      <a:pt x="414" y="553"/>
                    </a:lnTo>
                    <a:lnTo>
                      <a:pt x="417" y="555"/>
                    </a:lnTo>
                    <a:lnTo>
                      <a:pt x="417" y="556"/>
                    </a:lnTo>
                    <a:lnTo>
                      <a:pt x="420" y="552"/>
                    </a:lnTo>
                    <a:lnTo>
                      <a:pt x="420" y="550"/>
                    </a:lnTo>
                    <a:lnTo>
                      <a:pt x="423" y="550"/>
                    </a:lnTo>
                    <a:lnTo>
                      <a:pt x="423" y="550"/>
                    </a:lnTo>
                    <a:lnTo>
                      <a:pt x="424" y="552"/>
                    </a:lnTo>
                    <a:lnTo>
                      <a:pt x="424" y="553"/>
                    </a:lnTo>
                    <a:lnTo>
                      <a:pt x="425" y="553"/>
                    </a:lnTo>
                    <a:lnTo>
                      <a:pt x="427" y="553"/>
                    </a:lnTo>
                    <a:lnTo>
                      <a:pt x="427" y="555"/>
                    </a:lnTo>
                    <a:lnTo>
                      <a:pt x="428" y="555"/>
                    </a:lnTo>
                    <a:lnTo>
                      <a:pt x="430" y="556"/>
                    </a:lnTo>
                    <a:lnTo>
                      <a:pt x="431" y="559"/>
                    </a:lnTo>
                    <a:lnTo>
                      <a:pt x="433" y="566"/>
                    </a:lnTo>
                    <a:lnTo>
                      <a:pt x="434" y="568"/>
                    </a:lnTo>
                    <a:lnTo>
                      <a:pt x="434" y="569"/>
                    </a:lnTo>
                    <a:lnTo>
                      <a:pt x="435" y="569"/>
                    </a:lnTo>
                    <a:lnTo>
                      <a:pt x="437" y="568"/>
                    </a:lnTo>
                    <a:lnTo>
                      <a:pt x="437" y="566"/>
                    </a:lnTo>
                    <a:lnTo>
                      <a:pt x="440" y="568"/>
                    </a:lnTo>
                    <a:lnTo>
                      <a:pt x="441" y="571"/>
                    </a:lnTo>
                    <a:lnTo>
                      <a:pt x="441" y="576"/>
                    </a:lnTo>
                    <a:lnTo>
                      <a:pt x="441" y="585"/>
                    </a:lnTo>
                    <a:lnTo>
                      <a:pt x="441" y="589"/>
                    </a:lnTo>
                    <a:lnTo>
                      <a:pt x="441" y="594"/>
                    </a:lnTo>
                    <a:lnTo>
                      <a:pt x="440" y="596"/>
                    </a:lnTo>
                    <a:lnTo>
                      <a:pt x="440" y="599"/>
                    </a:lnTo>
                    <a:lnTo>
                      <a:pt x="440" y="601"/>
                    </a:lnTo>
                    <a:lnTo>
                      <a:pt x="440" y="601"/>
                    </a:lnTo>
                    <a:lnTo>
                      <a:pt x="440" y="602"/>
                    </a:lnTo>
                    <a:lnTo>
                      <a:pt x="440" y="602"/>
                    </a:lnTo>
                    <a:lnTo>
                      <a:pt x="440" y="604"/>
                    </a:lnTo>
                    <a:lnTo>
                      <a:pt x="438" y="604"/>
                    </a:lnTo>
                    <a:lnTo>
                      <a:pt x="437" y="604"/>
                    </a:lnTo>
                    <a:lnTo>
                      <a:pt x="437" y="605"/>
                    </a:lnTo>
                    <a:lnTo>
                      <a:pt x="435" y="606"/>
                    </a:lnTo>
                    <a:lnTo>
                      <a:pt x="434" y="608"/>
                    </a:lnTo>
                    <a:lnTo>
                      <a:pt x="434" y="608"/>
                    </a:lnTo>
                    <a:lnTo>
                      <a:pt x="433" y="608"/>
                    </a:lnTo>
                    <a:lnTo>
                      <a:pt x="431" y="608"/>
                    </a:lnTo>
                    <a:lnTo>
                      <a:pt x="431" y="609"/>
                    </a:lnTo>
                    <a:lnTo>
                      <a:pt x="430" y="612"/>
                    </a:lnTo>
                    <a:lnTo>
                      <a:pt x="428" y="614"/>
                    </a:lnTo>
                    <a:lnTo>
                      <a:pt x="427" y="614"/>
                    </a:lnTo>
                    <a:lnTo>
                      <a:pt x="427" y="614"/>
                    </a:lnTo>
                    <a:lnTo>
                      <a:pt x="425" y="614"/>
                    </a:lnTo>
                    <a:lnTo>
                      <a:pt x="425" y="614"/>
                    </a:lnTo>
                    <a:lnTo>
                      <a:pt x="425" y="615"/>
                    </a:lnTo>
                    <a:lnTo>
                      <a:pt x="424" y="617"/>
                    </a:lnTo>
                    <a:lnTo>
                      <a:pt x="424" y="619"/>
                    </a:lnTo>
                    <a:lnTo>
                      <a:pt x="424" y="619"/>
                    </a:lnTo>
                    <a:lnTo>
                      <a:pt x="424" y="621"/>
                    </a:lnTo>
                    <a:lnTo>
                      <a:pt x="424" y="622"/>
                    </a:lnTo>
                    <a:lnTo>
                      <a:pt x="424" y="622"/>
                    </a:lnTo>
                    <a:lnTo>
                      <a:pt x="421" y="624"/>
                    </a:lnTo>
                    <a:lnTo>
                      <a:pt x="421" y="624"/>
                    </a:lnTo>
                    <a:lnTo>
                      <a:pt x="420" y="627"/>
                    </a:lnTo>
                    <a:lnTo>
                      <a:pt x="421" y="628"/>
                    </a:lnTo>
                    <a:lnTo>
                      <a:pt x="421" y="629"/>
                    </a:lnTo>
                    <a:lnTo>
                      <a:pt x="423" y="631"/>
                    </a:lnTo>
                    <a:lnTo>
                      <a:pt x="423" y="632"/>
                    </a:lnTo>
                    <a:lnTo>
                      <a:pt x="424" y="634"/>
                    </a:lnTo>
                    <a:lnTo>
                      <a:pt x="424" y="635"/>
                    </a:lnTo>
                    <a:lnTo>
                      <a:pt x="423" y="635"/>
                    </a:lnTo>
                    <a:lnTo>
                      <a:pt x="421" y="638"/>
                    </a:lnTo>
                    <a:lnTo>
                      <a:pt x="421" y="639"/>
                    </a:lnTo>
                    <a:lnTo>
                      <a:pt x="423" y="641"/>
                    </a:lnTo>
                    <a:lnTo>
                      <a:pt x="424" y="639"/>
                    </a:lnTo>
                    <a:lnTo>
                      <a:pt x="427" y="638"/>
                    </a:lnTo>
                    <a:lnTo>
                      <a:pt x="431" y="637"/>
                    </a:lnTo>
                    <a:lnTo>
                      <a:pt x="435" y="637"/>
                    </a:lnTo>
                    <a:lnTo>
                      <a:pt x="444" y="637"/>
                    </a:lnTo>
                    <a:lnTo>
                      <a:pt x="443" y="637"/>
                    </a:lnTo>
                    <a:lnTo>
                      <a:pt x="441" y="638"/>
                    </a:lnTo>
                    <a:lnTo>
                      <a:pt x="441" y="639"/>
                    </a:lnTo>
                    <a:lnTo>
                      <a:pt x="441" y="641"/>
                    </a:lnTo>
                    <a:lnTo>
                      <a:pt x="441" y="641"/>
                    </a:lnTo>
                    <a:lnTo>
                      <a:pt x="441" y="642"/>
                    </a:lnTo>
                    <a:lnTo>
                      <a:pt x="443" y="644"/>
                    </a:lnTo>
                    <a:lnTo>
                      <a:pt x="444" y="650"/>
                    </a:lnTo>
                    <a:lnTo>
                      <a:pt x="444" y="654"/>
                    </a:lnTo>
                    <a:lnTo>
                      <a:pt x="444" y="654"/>
                    </a:lnTo>
                    <a:lnTo>
                      <a:pt x="446" y="654"/>
                    </a:lnTo>
                    <a:lnTo>
                      <a:pt x="447" y="655"/>
                    </a:lnTo>
                    <a:lnTo>
                      <a:pt x="448" y="655"/>
                    </a:lnTo>
                    <a:lnTo>
                      <a:pt x="451" y="655"/>
                    </a:lnTo>
                    <a:lnTo>
                      <a:pt x="453" y="655"/>
                    </a:lnTo>
                    <a:lnTo>
                      <a:pt x="454" y="657"/>
                    </a:lnTo>
                    <a:lnTo>
                      <a:pt x="454" y="658"/>
                    </a:lnTo>
                    <a:lnTo>
                      <a:pt x="454" y="660"/>
                    </a:lnTo>
                    <a:lnTo>
                      <a:pt x="453" y="661"/>
                    </a:lnTo>
                    <a:lnTo>
                      <a:pt x="453" y="662"/>
                    </a:lnTo>
                    <a:lnTo>
                      <a:pt x="451" y="667"/>
                    </a:lnTo>
                    <a:lnTo>
                      <a:pt x="451" y="668"/>
                    </a:lnTo>
                    <a:lnTo>
                      <a:pt x="450" y="671"/>
                    </a:lnTo>
                    <a:lnTo>
                      <a:pt x="450" y="673"/>
                    </a:lnTo>
                    <a:lnTo>
                      <a:pt x="450" y="674"/>
                    </a:lnTo>
                    <a:lnTo>
                      <a:pt x="451" y="674"/>
                    </a:lnTo>
                    <a:lnTo>
                      <a:pt x="454" y="675"/>
                    </a:lnTo>
                    <a:lnTo>
                      <a:pt x="458" y="675"/>
                    </a:lnTo>
                    <a:lnTo>
                      <a:pt x="461" y="677"/>
                    </a:lnTo>
                    <a:lnTo>
                      <a:pt x="463" y="677"/>
                    </a:lnTo>
                    <a:lnTo>
                      <a:pt x="463" y="680"/>
                    </a:lnTo>
                    <a:lnTo>
                      <a:pt x="463" y="683"/>
                    </a:lnTo>
                    <a:lnTo>
                      <a:pt x="464" y="683"/>
                    </a:lnTo>
                    <a:lnTo>
                      <a:pt x="466" y="684"/>
                    </a:lnTo>
                    <a:lnTo>
                      <a:pt x="466" y="684"/>
                    </a:lnTo>
                    <a:lnTo>
                      <a:pt x="466" y="685"/>
                    </a:lnTo>
                    <a:lnTo>
                      <a:pt x="466" y="685"/>
                    </a:lnTo>
                    <a:lnTo>
                      <a:pt x="467" y="687"/>
                    </a:lnTo>
                    <a:lnTo>
                      <a:pt x="469" y="687"/>
                    </a:lnTo>
                    <a:lnTo>
                      <a:pt x="473" y="687"/>
                    </a:lnTo>
                    <a:lnTo>
                      <a:pt x="474" y="687"/>
                    </a:lnTo>
                    <a:lnTo>
                      <a:pt x="476" y="685"/>
                    </a:lnTo>
                    <a:lnTo>
                      <a:pt x="479" y="684"/>
                    </a:lnTo>
                    <a:lnTo>
                      <a:pt x="480" y="683"/>
                    </a:lnTo>
                    <a:lnTo>
                      <a:pt x="483" y="681"/>
                    </a:lnTo>
                    <a:lnTo>
                      <a:pt x="484" y="683"/>
                    </a:lnTo>
                    <a:lnTo>
                      <a:pt x="484" y="684"/>
                    </a:lnTo>
                    <a:lnTo>
                      <a:pt x="484" y="685"/>
                    </a:lnTo>
                    <a:lnTo>
                      <a:pt x="484" y="690"/>
                    </a:lnTo>
                    <a:lnTo>
                      <a:pt x="486" y="691"/>
                    </a:lnTo>
                    <a:lnTo>
                      <a:pt x="487" y="691"/>
                    </a:lnTo>
                    <a:lnTo>
                      <a:pt x="489" y="691"/>
                    </a:lnTo>
                    <a:lnTo>
                      <a:pt x="491" y="691"/>
                    </a:lnTo>
                    <a:lnTo>
                      <a:pt x="493" y="691"/>
                    </a:lnTo>
                    <a:lnTo>
                      <a:pt x="493" y="693"/>
                    </a:lnTo>
                    <a:lnTo>
                      <a:pt x="494" y="693"/>
                    </a:lnTo>
                    <a:lnTo>
                      <a:pt x="496" y="691"/>
                    </a:lnTo>
                    <a:lnTo>
                      <a:pt x="496" y="691"/>
                    </a:lnTo>
                    <a:lnTo>
                      <a:pt x="494" y="681"/>
                    </a:lnTo>
                    <a:lnTo>
                      <a:pt x="491" y="674"/>
                    </a:lnTo>
                    <a:lnTo>
                      <a:pt x="491" y="671"/>
                    </a:lnTo>
                    <a:lnTo>
                      <a:pt x="491" y="670"/>
                    </a:lnTo>
                    <a:lnTo>
                      <a:pt x="493" y="670"/>
                    </a:lnTo>
                    <a:lnTo>
                      <a:pt x="494" y="668"/>
                    </a:lnTo>
                    <a:lnTo>
                      <a:pt x="494" y="667"/>
                    </a:lnTo>
                    <a:lnTo>
                      <a:pt x="494" y="667"/>
                    </a:lnTo>
                    <a:lnTo>
                      <a:pt x="496" y="668"/>
                    </a:lnTo>
                    <a:lnTo>
                      <a:pt x="496" y="668"/>
                    </a:lnTo>
                    <a:lnTo>
                      <a:pt x="497" y="668"/>
                    </a:lnTo>
                    <a:lnTo>
                      <a:pt x="499" y="668"/>
                    </a:lnTo>
                    <a:lnTo>
                      <a:pt x="500" y="668"/>
                    </a:lnTo>
                    <a:lnTo>
                      <a:pt x="500" y="668"/>
                    </a:lnTo>
                    <a:lnTo>
                      <a:pt x="502" y="670"/>
                    </a:lnTo>
                    <a:lnTo>
                      <a:pt x="504" y="667"/>
                    </a:lnTo>
                    <a:lnTo>
                      <a:pt x="506" y="664"/>
                    </a:lnTo>
                    <a:lnTo>
                      <a:pt x="507" y="662"/>
                    </a:lnTo>
                    <a:lnTo>
                      <a:pt x="512" y="664"/>
                    </a:lnTo>
                    <a:lnTo>
                      <a:pt x="514" y="667"/>
                    </a:lnTo>
                    <a:lnTo>
                      <a:pt x="516" y="668"/>
                    </a:lnTo>
                    <a:lnTo>
                      <a:pt x="517" y="667"/>
                    </a:lnTo>
                    <a:lnTo>
                      <a:pt x="519" y="667"/>
                    </a:lnTo>
                    <a:lnTo>
                      <a:pt x="520" y="665"/>
                    </a:lnTo>
                    <a:lnTo>
                      <a:pt x="522" y="662"/>
                    </a:lnTo>
                    <a:lnTo>
                      <a:pt x="522" y="662"/>
                    </a:lnTo>
                    <a:lnTo>
                      <a:pt x="522" y="662"/>
                    </a:lnTo>
                    <a:lnTo>
                      <a:pt x="523" y="662"/>
                    </a:lnTo>
                    <a:lnTo>
                      <a:pt x="523" y="662"/>
                    </a:lnTo>
                    <a:lnTo>
                      <a:pt x="525" y="665"/>
                    </a:lnTo>
                    <a:lnTo>
                      <a:pt x="525" y="665"/>
                    </a:lnTo>
                    <a:lnTo>
                      <a:pt x="526" y="665"/>
                    </a:lnTo>
                    <a:lnTo>
                      <a:pt x="527" y="662"/>
                    </a:lnTo>
                    <a:lnTo>
                      <a:pt x="527" y="662"/>
                    </a:lnTo>
                    <a:lnTo>
                      <a:pt x="529" y="662"/>
                    </a:lnTo>
                    <a:lnTo>
                      <a:pt x="530" y="664"/>
                    </a:lnTo>
                    <a:lnTo>
                      <a:pt x="532" y="665"/>
                    </a:lnTo>
                    <a:lnTo>
                      <a:pt x="533" y="665"/>
                    </a:lnTo>
                    <a:lnTo>
                      <a:pt x="535" y="665"/>
                    </a:lnTo>
                    <a:lnTo>
                      <a:pt x="535" y="664"/>
                    </a:lnTo>
                    <a:lnTo>
                      <a:pt x="536" y="662"/>
                    </a:lnTo>
                    <a:lnTo>
                      <a:pt x="537" y="661"/>
                    </a:lnTo>
                    <a:lnTo>
                      <a:pt x="537" y="661"/>
                    </a:lnTo>
                    <a:lnTo>
                      <a:pt x="539" y="662"/>
                    </a:lnTo>
                    <a:lnTo>
                      <a:pt x="539" y="662"/>
                    </a:lnTo>
                    <a:lnTo>
                      <a:pt x="539" y="662"/>
                    </a:lnTo>
                    <a:lnTo>
                      <a:pt x="540" y="662"/>
                    </a:lnTo>
                    <a:lnTo>
                      <a:pt x="542" y="662"/>
                    </a:lnTo>
                    <a:lnTo>
                      <a:pt x="542" y="662"/>
                    </a:lnTo>
                    <a:lnTo>
                      <a:pt x="543" y="661"/>
                    </a:lnTo>
                    <a:lnTo>
                      <a:pt x="545" y="661"/>
                    </a:lnTo>
                    <a:lnTo>
                      <a:pt x="546" y="661"/>
                    </a:lnTo>
                    <a:lnTo>
                      <a:pt x="548" y="660"/>
                    </a:lnTo>
                    <a:lnTo>
                      <a:pt x="548" y="658"/>
                    </a:lnTo>
                    <a:lnTo>
                      <a:pt x="549" y="655"/>
                    </a:lnTo>
                    <a:lnTo>
                      <a:pt x="550" y="655"/>
                    </a:lnTo>
                    <a:lnTo>
                      <a:pt x="550" y="654"/>
                    </a:lnTo>
                    <a:lnTo>
                      <a:pt x="555" y="652"/>
                    </a:lnTo>
                    <a:lnTo>
                      <a:pt x="556" y="651"/>
                    </a:lnTo>
                    <a:lnTo>
                      <a:pt x="559" y="652"/>
                    </a:lnTo>
                    <a:lnTo>
                      <a:pt x="563" y="657"/>
                    </a:lnTo>
                    <a:lnTo>
                      <a:pt x="566" y="658"/>
                    </a:lnTo>
                    <a:lnTo>
                      <a:pt x="568" y="658"/>
                    </a:lnTo>
                    <a:lnTo>
                      <a:pt x="570" y="658"/>
                    </a:lnTo>
                    <a:lnTo>
                      <a:pt x="572" y="658"/>
                    </a:lnTo>
                    <a:lnTo>
                      <a:pt x="572" y="658"/>
                    </a:lnTo>
                    <a:lnTo>
                      <a:pt x="573" y="660"/>
                    </a:lnTo>
                    <a:lnTo>
                      <a:pt x="575" y="660"/>
                    </a:lnTo>
                    <a:lnTo>
                      <a:pt x="578" y="660"/>
                    </a:lnTo>
                    <a:lnTo>
                      <a:pt x="579" y="660"/>
                    </a:lnTo>
                    <a:lnTo>
                      <a:pt x="582" y="660"/>
                    </a:lnTo>
                    <a:lnTo>
                      <a:pt x="583" y="661"/>
                    </a:lnTo>
                    <a:lnTo>
                      <a:pt x="583" y="662"/>
                    </a:lnTo>
                    <a:lnTo>
                      <a:pt x="582" y="664"/>
                    </a:lnTo>
                    <a:lnTo>
                      <a:pt x="581" y="665"/>
                    </a:lnTo>
                    <a:lnTo>
                      <a:pt x="579" y="665"/>
                    </a:lnTo>
                    <a:lnTo>
                      <a:pt x="579" y="668"/>
                    </a:lnTo>
                    <a:lnTo>
                      <a:pt x="579" y="670"/>
                    </a:lnTo>
                    <a:lnTo>
                      <a:pt x="581" y="670"/>
                    </a:lnTo>
                    <a:lnTo>
                      <a:pt x="581" y="671"/>
                    </a:lnTo>
                    <a:lnTo>
                      <a:pt x="581" y="673"/>
                    </a:lnTo>
                    <a:lnTo>
                      <a:pt x="581" y="677"/>
                    </a:lnTo>
                    <a:lnTo>
                      <a:pt x="583" y="677"/>
                    </a:lnTo>
                    <a:lnTo>
                      <a:pt x="586" y="678"/>
                    </a:lnTo>
                    <a:lnTo>
                      <a:pt x="591" y="683"/>
                    </a:lnTo>
                    <a:lnTo>
                      <a:pt x="593" y="684"/>
                    </a:lnTo>
                    <a:lnTo>
                      <a:pt x="601" y="684"/>
                    </a:lnTo>
                    <a:lnTo>
                      <a:pt x="604" y="685"/>
                    </a:lnTo>
                    <a:lnTo>
                      <a:pt x="608" y="685"/>
                    </a:lnTo>
                    <a:lnTo>
                      <a:pt x="609" y="685"/>
                    </a:lnTo>
                    <a:lnTo>
                      <a:pt x="609" y="684"/>
                    </a:lnTo>
                    <a:lnTo>
                      <a:pt x="611" y="683"/>
                    </a:lnTo>
                    <a:lnTo>
                      <a:pt x="611" y="683"/>
                    </a:lnTo>
                    <a:lnTo>
                      <a:pt x="612" y="683"/>
                    </a:lnTo>
                    <a:lnTo>
                      <a:pt x="612" y="684"/>
                    </a:lnTo>
                    <a:lnTo>
                      <a:pt x="612" y="684"/>
                    </a:lnTo>
                    <a:lnTo>
                      <a:pt x="614" y="683"/>
                    </a:lnTo>
                    <a:lnTo>
                      <a:pt x="614" y="683"/>
                    </a:lnTo>
                    <a:lnTo>
                      <a:pt x="614" y="680"/>
                    </a:lnTo>
                    <a:lnTo>
                      <a:pt x="614" y="678"/>
                    </a:lnTo>
                    <a:lnTo>
                      <a:pt x="615" y="678"/>
                    </a:lnTo>
                    <a:lnTo>
                      <a:pt x="615" y="680"/>
                    </a:lnTo>
                    <a:lnTo>
                      <a:pt x="616" y="683"/>
                    </a:lnTo>
                    <a:lnTo>
                      <a:pt x="618" y="684"/>
                    </a:lnTo>
                    <a:lnTo>
                      <a:pt x="621" y="684"/>
                    </a:lnTo>
                    <a:lnTo>
                      <a:pt x="622" y="684"/>
                    </a:lnTo>
                    <a:lnTo>
                      <a:pt x="625" y="685"/>
                    </a:lnTo>
                    <a:lnTo>
                      <a:pt x="624" y="687"/>
                    </a:lnTo>
                    <a:lnTo>
                      <a:pt x="626" y="687"/>
                    </a:lnTo>
                    <a:lnTo>
                      <a:pt x="629" y="687"/>
                    </a:lnTo>
                    <a:lnTo>
                      <a:pt x="631" y="685"/>
                    </a:lnTo>
                    <a:lnTo>
                      <a:pt x="631" y="683"/>
                    </a:lnTo>
                    <a:lnTo>
                      <a:pt x="632" y="683"/>
                    </a:lnTo>
                    <a:lnTo>
                      <a:pt x="634" y="684"/>
                    </a:lnTo>
                    <a:lnTo>
                      <a:pt x="635" y="685"/>
                    </a:lnTo>
                    <a:lnTo>
                      <a:pt x="635" y="685"/>
                    </a:lnTo>
                    <a:lnTo>
                      <a:pt x="637" y="685"/>
                    </a:lnTo>
                    <a:lnTo>
                      <a:pt x="637" y="685"/>
                    </a:lnTo>
                    <a:lnTo>
                      <a:pt x="638" y="687"/>
                    </a:lnTo>
                    <a:lnTo>
                      <a:pt x="638" y="687"/>
                    </a:lnTo>
                    <a:lnTo>
                      <a:pt x="638" y="688"/>
                    </a:lnTo>
                    <a:lnTo>
                      <a:pt x="638" y="688"/>
                    </a:lnTo>
                    <a:lnTo>
                      <a:pt x="637" y="688"/>
                    </a:lnTo>
                    <a:lnTo>
                      <a:pt x="637" y="688"/>
                    </a:lnTo>
                    <a:lnTo>
                      <a:pt x="635" y="693"/>
                    </a:lnTo>
                    <a:lnTo>
                      <a:pt x="635" y="693"/>
                    </a:lnTo>
                    <a:lnTo>
                      <a:pt x="634" y="696"/>
                    </a:lnTo>
                    <a:lnTo>
                      <a:pt x="634" y="697"/>
                    </a:lnTo>
                    <a:lnTo>
                      <a:pt x="634" y="698"/>
                    </a:lnTo>
                    <a:lnTo>
                      <a:pt x="635" y="700"/>
                    </a:lnTo>
                    <a:lnTo>
                      <a:pt x="639" y="707"/>
                    </a:lnTo>
                    <a:lnTo>
                      <a:pt x="638" y="707"/>
                    </a:lnTo>
                    <a:lnTo>
                      <a:pt x="639" y="708"/>
                    </a:lnTo>
                    <a:lnTo>
                      <a:pt x="641" y="710"/>
                    </a:lnTo>
                    <a:lnTo>
                      <a:pt x="644" y="708"/>
                    </a:lnTo>
                    <a:lnTo>
                      <a:pt x="647" y="708"/>
                    </a:lnTo>
                    <a:lnTo>
                      <a:pt x="648" y="706"/>
                    </a:lnTo>
                    <a:lnTo>
                      <a:pt x="648" y="704"/>
                    </a:lnTo>
                    <a:lnTo>
                      <a:pt x="647" y="703"/>
                    </a:lnTo>
                    <a:lnTo>
                      <a:pt x="645" y="701"/>
                    </a:lnTo>
                    <a:lnTo>
                      <a:pt x="645" y="701"/>
                    </a:lnTo>
                    <a:lnTo>
                      <a:pt x="647" y="700"/>
                    </a:lnTo>
                    <a:lnTo>
                      <a:pt x="647" y="700"/>
                    </a:lnTo>
                    <a:lnTo>
                      <a:pt x="645" y="698"/>
                    </a:lnTo>
                    <a:lnTo>
                      <a:pt x="644" y="698"/>
                    </a:lnTo>
                    <a:lnTo>
                      <a:pt x="642" y="697"/>
                    </a:lnTo>
                    <a:lnTo>
                      <a:pt x="642" y="696"/>
                    </a:lnTo>
                    <a:lnTo>
                      <a:pt x="647" y="691"/>
                    </a:lnTo>
                    <a:lnTo>
                      <a:pt x="647" y="690"/>
                    </a:lnTo>
                    <a:lnTo>
                      <a:pt x="648" y="691"/>
                    </a:lnTo>
                    <a:lnTo>
                      <a:pt x="648" y="691"/>
                    </a:lnTo>
                    <a:lnTo>
                      <a:pt x="649" y="691"/>
                    </a:lnTo>
                    <a:lnTo>
                      <a:pt x="651" y="691"/>
                    </a:lnTo>
                    <a:lnTo>
                      <a:pt x="651" y="690"/>
                    </a:lnTo>
                    <a:lnTo>
                      <a:pt x="652" y="688"/>
                    </a:lnTo>
                    <a:lnTo>
                      <a:pt x="654" y="688"/>
                    </a:lnTo>
                    <a:lnTo>
                      <a:pt x="654" y="688"/>
                    </a:lnTo>
                    <a:lnTo>
                      <a:pt x="657" y="687"/>
                    </a:lnTo>
                    <a:lnTo>
                      <a:pt x="658" y="687"/>
                    </a:lnTo>
                    <a:lnTo>
                      <a:pt x="658" y="687"/>
                    </a:lnTo>
                    <a:lnTo>
                      <a:pt x="658" y="685"/>
                    </a:lnTo>
                    <a:lnTo>
                      <a:pt x="658" y="685"/>
                    </a:lnTo>
                    <a:lnTo>
                      <a:pt x="658" y="685"/>
                    </a:lnTo>
                    <a:lnTo>
                      <a:pt x="660" y="685"/>
                    </a:lnTo>
                    <a:lnTo>
                      <a:pt x="660" y="687"/>
                    </a:lnTo>
                    <a:lnTo>
                      <a:pt x="660" y="687"/>
                    </a:lnTo>
                    <a:lnTo>
                      <a:pt x="664" y="685"/>
                    </a:lnTo>
                    <a:lnTo>
                      <a:pt x="667" y="685"/>
                    </a:lnTo>
                    <a:lnTo>
                      <a:pt x="668" y="684"/>
                    </a:lnTo>
                    <a:lnTo>
                      <a:pt x="668" y="684"/>
                    </a:lnTo>
                    <a:lnTo>
                      <a:pt x="671" y="681"/>
                    </a:lnTo>
                    <a:lnTo>
                      <a:pt x="671" y="681"/>
                    </a:lnTo>
                    <a:lnTo>
                      <a:pt x="672" y="681"/>
                    </a:lnTo>
                    <a:lnTo>
                      <a:pt x="674" y="680"/>
                    </a:lnTo>
                    <a:lnTo>
                      <a:pt x="674" y="680"/>
                    </a:lnTo>
                    <a:lnTo>
                      <a:pt x="677" y="680"/>
                    </a:lnTo>
                    <a:lnTo>
                      <a:pt x="680" y="681"/>
                    </a:lnTo>
                    <a:lnTo>
                      <a:pt x="682" y="680"/>
                    </a:lnTo>
                    <a:lnTo>
                      <a:pt x="681" y="677"/>
                    </a:lnTo>
                    <a:lnTo>
                      <a:pt x="682" y="677"/>
                    </a:lnTo>
                    <a:lnTo>
                      <a:pt x="682" y="678"/>
                    </a:lnTo>
                    <a:lnTo>
                      <a:pt x="682" y="678"/>
                    </a:lnTo>
                    <a:lnTo>
                      <a:pt x="682" y="678"/>
                    </a:lnTo>
                    <a:lnTo>
                      <a:pt x="682" y="680"/>
                    </a:lnTo>
                    <a:lnTo>
                      <a:pt x="684" y="680"/>
                    </a:lnTo>
                    <a:lnTo>
                      <a:pt x="684" y="681"/>
                    </a:lnTo>
                    <a:lnTo>
                      <a:pt x="685" y="681"/>
                    </a:lnTo>
                    <a:lnTo>
                      <a:pt x="685" y="681"/>
                    </a:lnTo>
                    <a:lnTo>
                      <a:pt x="687" y="680"/>
                    </a:lnTo>
                    <a:lnTo>
                      <a:pt x="687" y="680"/>
                    </a:lnTo>
                    <a:lnTo>
                      <a:pt x="687" y="678"/>
                    </a:lnTo>
                    <a:lnTo>
                      <a:pt x="690" y="678"/>
                    </a:lnTo>
                    <a:lnTo>
                      <a:pt x="690" y="678"/>
                    </a:lnTo>
                    <a:lnTo>
                      <a:pt x="690" y="678"/>
                    </a:lnTo>
                    <a:lnTo>
                      <a:pt x="691" y="678"/>
                    </a:lnTo>
                    <a:lnTo>
                      <a:pt x="691" y="678"/>
                    </a:lnTo>
                    <a:lnTo>
                      <a:pt x="693" y="677"/>
                    </a:lnTo>
                    <a:lnTo>
                      <a:pt x="693" y="674"/>
                    </a:lnTo>
                    <a:lnTo>
                      <a:pt x="694" y="673"/>
                    </a:lnTo>
                    <a:lnTo>
                      <a:pt x="695" y="675"/>
                    </a:lnTo>
                    <a:lnTo>
                      <a:pt x="697" y="674"/>
                    </a:lnTo>
                    <a:lnTo>
                      <a:pt x="701" y="673"/>
                    </a:lnTo>
                    <a:lnTo>
                      <a:pt x="701" y="673"/>
                    </a:lnTo>
                    <a:lnTo>
                      <a:pt x="701" y="673"/>
                    </a:lnTo>
                    <a:lnTo>
                      <a:pt x="701" y="673"/>
                    </a:lnTo>
                    <a:lnTo>
                      <a:pt x="701" y="673"/>
                    </a:lnTo>
                    <a:lnTo>
                      <a:pt x="701" y="673"/>
                    </a:lnTo>
                    <a:lnTo>
                      <a:pt x="703" y="670"/>
                    </a:lnTo>
                    <a:lnTo>
                      <a:pt x="703" y="665"/>
                    </a:lnTo>
                    <a:lnTo>
                      <a:pt x="700" y="662"/>
                    </a:lnTo>
                    <a:lnTo>
                      <a:pt x="698" y="660"/>
                    </a:lnTo>
                    <a:lnTo>
                      <a:pt x="700" y="658"/>
                    </a:lnTo>
                    <a:lnTo>
                      <a:pt x="701" y="655"/>
                    </a:lnTo>
                    <a:lnTo>
                      <a:pt x="704" y="655"/>
                    </a:lnTo>
                    <a:lnTo>
                      <a:pt x="703" y="658"/>
                    </a:lnTo>
                    <a:lnTo>
                      <a:pt x="704" y="662"/>
                    </a:lnTo>
                    <a:lnTo>
                      <a:pt x="707" y="665"/>
                    </a:lnTo>
                    <a:lnTo>
                      <a:pt x="710" y="667"/>
                    </a:lnTo>
                    <a:lnTo>
                      <a:pt x="711" y="667"/>
                    </a:lnTo>
                    <a:lnTo>
                      <a:pt x="711" y="667"/>
                    </a:lnTo>
                    <a:lnTo>
                      <a:pt x="711" y="667"/>
                    </a:lnTo>
                    <a:lnTo>
                      <a:pt x="711" y="665"/>
                    </a:lnTo>
                    <a:lnTo>
                      <a:pt x="713" y="665"/>
                    </a:lnTo>
                    <a:lnTo>
                      <a:pt x="713" y="665"/>
                    </a:lnTo>
                    <a:lnTo>
                      <a:pt x="714" y="665"/>
                    </a:lnTo>
                    <a:lnTo>
                      <a:pt x="714" y="665"/>
                    </a:lnTo>
                    <a:lnTo>
                      <a:pt x="716" y="665"/>
                    </a:lnTo>
                    <a:lnTo>
                      <a:pt x="717" y="665"/>
                    </a:lnTo>
                    <a:lnTo>
                      <a:pt x="718" y="665"/>
                    </a:lnTo>
                    <a:lnTo>
                      <a:pt x="720" y="667"/>
                    </a:lnTo>
                    <a:lnTo>
                      <a:pt x="720" y="665"/>
                    </a:lnTo>
                    <a:lnTo>
                      <a:pt x="720" y="664"/>
                    </a:lnTo>
                    <a:lnTo>
                      <a:pt x="721" y="662"/>
                    </a:lnTo>
                    <a:lnTo>
                      <a:pt x="723" y="662"/>
                    </a:lnTo>
                    <a:lnTo>
                      <a:pt x="723" y="662"/>
                    </a:lnTo>
                    <a:lnTo>
                      <a:pt x="723" y="664"/>
                    </a:lnTo>
                    <a:lnTo>
                      <a:pt x="724" y="665"/>
                    </a:lnTo>
                    <a:lnTo>
                      <a:pt x="724" y="665"/>
                    </a:lnTo>
                    <a:lnTo>
                      <a:pt x="726" y="664"/>
                    </a:lnTo>
                    <a:lnTo>
                      <a:pt x="726" y="664"/>
                    </a:lnTo>
                    <a:lnTo>
                      <a:pt x="728" y="662"/>
                    </a:lnTo>
                    <a:lnTo>
                      <a:pt x="730" y="662"/>
                    </a:lnTo>
                    <a:lnTo>
                      <a:pt x="731" y="662"/>
                    </a:lnTo>
                    <a:lnTo>
                      <a:pt x="733" y="662"/>
                    </a:lnTo>
                    <a:lnTo>
                      <a:pt x="734" y="662"/>
                    </a:lnTo>
                    <a:lnTo>
                      <a:pt x="734" y="662"/>
                    </a:lnTo>
                    <a:lnTo>
                      <a:pt x="736" y="662"/>
                    </a:lnTo>
                    <a:lnTo>
                      <a:pt x="737" y="662"/>
                    </a:lnTo>
                    <a:lnTo>
                      <a:pt x="737" y="662"/>
                    </a:lnTo>
                    <a:lnTo>
                      <a:pt x="737" y="661"/>
                    </a:lnTo>
                    <a:lnTo>
                      <a:pt x="739" y="661"/>
                    </a:lnTo>
                    <a:lnTo>
                      <a:pt x="740" y="661"/>
                    </a:lnTo>
                    <a:lnTo>
                      <a:pt x="744" y="661"/>
                    </a:lnTo>
                    <a:lnTo>
                      <a:pt x="746" y="660"/>
                    </a:lnTo>
                    <a:lnTo>
                      <a:pt x="749" y="658"/>
                    </a:lnTo>
                    <a:lnTo>
                      <a:pt x="750" y="658"/>
                    </a:lnTo>
                    <a:lnTo>
                      <a:pt x="751" y="658"/>
                    </a:lnTo>
                    <a:lnTo>
                      <a:pt x="751" y="658"/>
                    </a:lnTo>
                    <a:lnTo>
                      <a:pt x="753" y="658"/>
                    </a:lnTo>
                    <a:lnTo>
                      <a:pt x="754" y="658"/>
                    </a:lnTo>
                    <a:lnTo>
                      <a:pt x="754" y="657"/>
                    </a:lnTo>
                    <a:lnTo>
                      <a:pt x="754" y="655"/>
                    </a:lnTo>
                    <a:lnTo>
                      <a:pt x="754" y="655"/>
                    </a:lnTo>
                    <a:lnTo>
                      <a:pt x="754" y="654"/>
                    </a:lnTo>
                    <a:lnTo>
                      <a:pt x="756" y="652"/>
                    </a:lnTo>
                    <a:lnTo>
                      <a:pt x="757" y="652"/>
                    </a:lnTo>
                    <a:lnTo>
                      <a:pt x="757" y="652"/>
                    </a:lnTo>
                    <a:lnTo>
                      <a:pt x="756" y="651"/>
                    </a:lnTo>
                    <a:lnTo>
                      <a:pt x="757" y="651"/>
                    </a:lnTo>
                    <a:lnTo>
                      <a:pt x="759" y="650"/>
                    </a:lnTo>
                    <a:lnTo>
                      <a:pt x="760" y="650"/>
                    </a:lnTo>
                    <a:lnTo>
                      <a:pt x="760" y="648"/>
                    </a:lnTo>
                    <a:lnTo>
                      <a:pt x="760" y="648"/>
                    </a:lnTo>
                    <a:lnTo>
                      <a:pt x="761" y="647"/>
                    </a:lnTo>
                    <a:lnTo>
                      <a:pt x="761" y="645"/>
                    </a:lnTo>
                    <a:lnTo>
                      <a:pt x="761" y="645"/>
                    </a:lnTo>
                    <a:lnTo>
                      <a:pt x="763" y="645"/>
                    </a:lnTo>
                    <a:lnTo>
                      <a:pt x="763" y="645"/>
                    </a:lnTo>
                    <a:lnTo>
                      <a:pt x="766" y="645"/>
                    </a:lnTo>
                    <a:lnTo>
                      <a:pt x="767" y="644"/>
                    </a:lnTo>
                    <a:lnTo>
                      <a:pt x="769" y="645"/>
                    </a:lnTo>
                    <a:lnTo>
                      <a:pt x="769" y="647"/>
                    </a:lnTo>
                    <a:lnTo>
                      <a:pt x="770" y="645"/>
                    </a:lnTo>
                    <a:lnTo>
                      <a:pt x="770" y="644"/>
                    </a:lnTo>
                    <a:lnTo>
                      <a:pt x="770" y="642"/>
                    </a:lnTo>
                    <a:lnTo>
                      <a:pt x="770" y="642"/>
                    </a:lnTo>
                    <a:lnTo>
                      <a:pt x="772" y="641"/>
                    </a:lnTo>
                    <a:lnTo>
                      <a:pt x="772" y="641"/>
                    </a:lnTo>
                    <a:lnTo>
                      <a:pt x="773" y="641"/>
                    </a:lnTo>
                    <a:lnTo>
                      <a:pt x="773" y="641"/>
                    </a:lnTo>
                    <a:lnTo>
                      <a:pt x="774" y="641"/>
                    </a:lnTo>
                    <a:lnTo>
                      <a:pt x="776" y="639"/>
                    </a:lnTo>
                    <a:lnTo>
                      <a:pt x="776" y="638"/>
                    </a:lnTo>
                    <a:lnTo>
                      <a:pt x="779" y="637"/>
                    </a:lnTo>
                    <a:lnTo>
                      <a:pt x="780" y="635"/>
                    </a:lnTo>
                    <a:lnTo>
                      <a:pt x="782" y="632"/>
                    </a:lnTo>
                    <a:lnTo>
                      <a:pt x="780" y="631"/>
                    </a:lnTo>
                    <a:lnTo>
                      <a:pt x="779" y="631"/>
                    </a:lnTo>
                    <a:lnTo>
                      <a:pt x="777" y="629"/>
                    </a:lnTo>
                    <a:lnTo>
                      <a:pt x="779" y="629"/>
                    </a:lnTo>
                    <a:lnTo>
                      <a:pt x="780" y="629"/>
                    </a:lnTo>
                    <a:lnTo>
                      <a:pt x="780" y="628"/>
                    </a:lnTo>
                    <a:lnTo>
                      <a:pt x="782" y="628"/>
                    </a:lnTo>
                    <a:lnTo>
                      <a:pt x="782" y="627"/>
                    </a:lnTo>
                    <a:lnTo>
                      <a:pt x="782" y="627"/>
                    </a:lnTo>
                    <a:lnTo>
                      <a:pt x="783" y="627"/>
                    </a:lnTo>
                    <a:lnTo>
                      <a:pt x="783" y="627"/>
                    </a:lnTo>
                    <a:lnTo>
                      <a:pt x="784" y="627"/>
                    </a:lnTo>
                    <a:lnTo>
                      <a:pt x="786" y="627"/>
                    </a:lnTo>
                    <a:lnTo>
                      <a:pt x="786" y="627"/>
                    </a:lnTo>
                    <a:lnTo>
                      <a:pt x="789" y="627"/>
                    </a:lnTo>
                    <a:lnTo>
                      <a:pt x="792" y="627"/>
                    </a:lnTo>
                    <a:lnTo>
                      <a:pt x="793" y="624"/>
                    </a:lnTo>
                    <a:lnTo>
                      <a:pt x="792" y="622"/>
                    </a:lnTo>
                    <a:lnTo>
                      <a:pt x="793" y="622"/>
                    </a:lnTo>
                    <a:lnTo>
                      <a:pt x="795" y="621"/>
                    </a:lnTo>
                    <a:lnTo>
                      <a:pt x="796" y="621"/>
                    </a:lnTo>
                    <a:lnTo>
                      <a:pt x="797" y="619"/>
                    </a:lnTo>
                    <a:lnTo>
                      <a:pt x="797" y="618"/>
                    </a:lnTo>
                    <a:lnTo>
                      <a:pt x="797" y="617"/>
                    </a:lnTo>
                    <a:lnTo>
                      <a:pt x="797" y="615"/>
                    </a:lnTo>
                    <a:lnTo>
                      <a:pt x="799" y="615"/>
                    </a:lnTo>
                    <a:lnTo>
                      <a:pt x="800" y="615"/>
                    </a:lnTo>
                    <a:lnTo>
                      <a:pt x="800" y="615"/>
                    </a:lnTo>
                    <a:lnTo>
                      <a:pt x="802" y="615"/>
                    </a:lnTo>
                    <a:lnTo>
                      <a:pt x="803" y="615"/>
                    </a:lnTo>
                    <a:lnTo>
                      <a:pt x="803" y="614"/>
                    </a:lnTo>
                    <a:lnTo>
                      <a:pt x="802" y="614"/>
                    </a:lnTo>
                    <a:lnTo>
                      <a:pt x="802" y="612"/>
                    </a:lnTo>
                    <a:lnTo>
                      <a:pt x="802" y="612"/>
                    </a:lnTo>
                    <a:lnTo>
                      <a:pt x="802" y="611"/>
                    </a:lnTo>
                    <a:lnTo>
                      <a:pt x="802" y="611"/>
                    </a:lnTo>
                    <a:lnTo>
                      <a:pt x="802" y="611"/>
                    </a:lnTo>
                    <a:lnTo>
                      <a:pt x="805" y="611"/>
                    </a:lnTo>
                    <a:lnTo>
                      <a:pt x="805" y="611"/>
                    </a:lnTo>
                    <a:lnTo>
                      <a:pt x="806" y="611"/>
                    </a:lnTo>
                    <a:lnTo>
                      <a:pt x="807" y="612"/>
                    </a:lnTo>
                    <a:lnTo>
                      <a:pt x="809" y="611"/>
                    </a:lnTo>
                    <a:lnTo>
                      <a:pt x="809" y="611"/>
                    </a:lnTo>
                    <a:lnTo>
                      <a:pt x="809" y="609"/>
                    </a:lnTo>
                    <a:lnTo>
                      <a:pt x="807" y="608"/>
                    </a:lnTo>
                    <a:lnTo>
                      <a:pt x="807" y="608"/>
                    </a:lnTo>
                    <a:lnTo>
                      <a:pt x="807" y="606"/>
                    </a:lnTo>
                    <a:lnTo>
                      <a:pt x="809" y="602"/>
                    </a:lnTo>
                    <a:lnTo>
                      <a:pt x="809" y="601"/>
                    </a:lnTo>
                    <a:lnTo>
                      <a:pt x="809" y="601"/>
                    </a:lnTo>
                    <a:lnTo>
                      <a:pt x="806" y="599"/>
                    </a:lnTo>
                    <a:lnTo>
                      <a:pt x="803" y="599"/>
                    </a:lnTo>
                    <a:lnTo>
                      <a:pt x="802" y="599"/>
                    </a:lnTo>
                    <a:lnTo>
                      <a:pt x="800" y="596"/>
                    </a:lnTo>
                    <a:lnTo>
                      <a:pt x="803" y="598"/>
                    </a:lnTo>
                    <a:lnTo>
                      <a:pt x="805" y="598"/>
                    </a:lnTo>
                    <a:lnTo>
                      <a:pt x="806" y="598"/>
                    </a:lnTo>
                    <a:lnTo>
                      <a:pt x="807" y="598"/>
                    </a:lnTo>
                    <a:lnTo>
                      <a:pt x="812" y="594"/>
                    </a:lnTo>
                    <a:lnTo>
                      <a:pt x="813" y="594"/>
                    </a:lnTo>
                    <a:lnTo>
                      <a:pt x="813" y="591"/>
                    </a:lnTo>
                    <a:lnTo>
                      <a:pt x="812" y="589"/>
                    </a:lnTo>
                    <a:lnTo>
                      <a:pt x="809" y="586"/>
                    </a:lnTo>
                    <a:lnTo>
                      <a:pt x="809" y="583"/>
                    </a:lnTo>
                    <a:lnTo>
                      <a:pt x="810" y="585"/>
                    </a:lnTo>
                    <a:lnTo>
                      <a:pt x="810" y="585"/>
                    </a:lnTo>
                    <a:lnTo>
                      <a:pt x="812" y="583"/>
                    </a:lnTo>
                    <a:lnTo>
                      <a:pt x="813" y="583"/>
                    </a:lnTo>
                    <a:lnTo>
                      <a:pt x="813" y="585"/>
                    </a:lnTo>
                    <a:lnTo>
                      <a:pt x="813" y="586"/>
                    </a:lnTo>
                    <a:lnTo>
                      <a:pt x="815" y="588"/>
                    </a:lnTo>
                    <a:lnTo>
                      <a:pt x="816" y="586"/>
                    </a:lnTo>
                    <a:lnTo>
                      <a:pt x="817" y="586"/>
                    </a:lnTo>
                    <a:lnTo>
                      <a:pt x="817" y="585"/>
                    </a:lnTo>
                    <a:lnTo>
                      <a:pt x="817" y="583"/>
                    </a:lnTo>
                    <a:lnTo>
                      <a:pt x="817" y="582"/>
                    </a:lnTo>
                    <a:lnTo>
                      <a:pt x="819" y="581"/>
                    </a:lnTo>
                    <a:lnTo>
                      <a:pt x="820" y="579"/>
                    </a:lnTo>
                    <a:lnTo>
                      <a:pt x="822" y="576"/>
                    </a:lnTo>
                    <a:lnTo>
                      <a:pt x="825" y="575"/>
                    </a:lnTo>
                    <a:lnTo>
                      <a:pt x="826" y="572"/>
                    </a:lnTo>
                    <a:lnTo>
                      <a:pt x="828" y="568"/>
                    </a:lnTo>
                    <a:lnTo>
                      <a:pt x="829" y="563"/>
                    </a:lnTo>
                    <a:lnTo>
                      <a:pt x="830" y="562"/>
                    </a:lnTo>
                    <a:lnTo>
                      <a:pt x="829" y="560"/>
                    </a:lnTo>
                    <a:lnTo>
                      <a:pt x="832" y="559"/>
                    </a:lnTo>
                    <a:lnTo>
                      <a:pt x="833" y="558"/>
                    </a:lnTo>
                    <a:lnTo>
                      <a:pt x="833" y="556"/>
                    </a:lnTo>
                    <a:lnTo>
                      <a:pt x="835" y="553"/>
                    </a:lnTo>
                    <a:lnTo>
                      <a:pt x="836" y="553"/>
                    </a:lnTo>
                    <a:lnTo>
                      <a:pt x="838" y="555"/>
                    </a:lnTo>
                    <a:lnTo>
                      <a:pt x="838" y="555"/>
                    </a:lnTo>
                    <a:lnTo>
                      <a:pt x="838" y="556"/>
                    </a:lnTo>
                    <a:lnTo>
                      <a:pt x="839" y="555"/>
                    </a:lnTo>
                    <a:lnTo>
                      <a:pt x="840" y="555"/>
                    </a:lnTo>
                    <a:lnTo>
                      <a:pt x="842" y="553"/>
                    </a:lnTo>
                    <a:lnTo>
                      <a:pt x="843" y="555"/>
                    </a:lnTo>
                    <a:lnTo>
                      <a:pt x="843" y="552"/>
                    </a:lnTo>
                    <a:lnTo>
                      <a:pt x="842" y="548"/>
                    </a:lnTo>
                    <a:lnTo>
                      <a:pt x="842" y="546"/>
                    </a:lnTo>
                    <a:lnTo>
                      <a:pt x="843" y="545"/>
                    </a:lnTo>
                    <a:lnTo>
                      <a:pt x="845" y="545"/>
                    </a:lnTo>
                    <a:lnTo>
                      <a:pt x="845" y="543"/>
                    </a:lnTo>
                    <a:lnTo>
                      <a:pt x="843" y="542"/>
                    </a:lnTo>
                    <a:lnTo>
                      <a:pt x="845" y="542"/>
                    </a:lnTo>
                    <a:lnTo>
                      <a:pt x="845" y="540"/>
                    </a:lnTo>
                    <a:lnTo>
                      <a:pt x="843" y="539"/>
                    </a:lnTo>
                    <a:lnTo>
                      <a:pt x="840" y="537"/>
                    </a:lnTo>
                    <a:lnTo>
                      <a:pt x="842" y="536"/>
                    </a:lnTo>
                    <a:lnTo>
                      <a:pt x="843" y="536"/>
                    </a:lnTo>
                    <a:lnTo>
                      <a:pt x="845" y="536"/>
                    </a:lnTo>
                    <a:lnTo>
                      <a:pt x="846" y="536"/>
                    </a:lnTo>
                    <a:lnTo>
                      <a:pt x="848" y="536"/>
                    </a:lnTo>
                    <a:lnTo>
                      <a:pt x="849" y="537"/>
                    </a:lnTo>
                    <a:lnTo>
                      <a:pt x="849" y="537"/>
                    </a:lnTo>
                    <a:lnTo>
                      <a:pt x="849" y="535"/>
                    </a:lnTo>
                    <a:lnTo>
                      <a:pt x="851" y="533"/>
                    </a:lnTo>
                    <a:lnTo>
                      <a:pt x="851" y="532"/>
                    </a:lnTo>
                    <a:lnTo>
                      <a:pt x="851" y="530"/>
                    </a:lnTo>
                    <a:lnTo>
                      <a:pt x="849" y="529"/>
                    </a:lnTo>
                    <a:lnTo>
                      <a:pt x="848" y="529"/>
                    </a:lnTo>
                    <a:lnTo>
                      <a:pt x="843" y="530"/>
                    </a:lnTo>
                    <a:lnTo>
                      <a:pt x="842" y="532"/>
                    </a:lnTo>
                    <a:lnTo>
                      <a:pt x="849" y="526"/>
                    </a:lnTo>
                    <a:lnTo>
                      <a:pt x="852" y="523"/>
                    </a:lnTo>
                    <a:lnTo>
                      <a:pt x="851" y="523"/>
                    </a:lnTo>
                    <a:lnTo>
                      <a:pt x="848" y="523"/>
                    </a:lnTo>
                    <a:lnTo>
                      <a:pt x="846" y="522"/>
                    </a:lnTo>
                    <a:lnTo>
                      <a:pt x="845" y="522"/>
                    </a:lnTo>
                    <a:lnTo>
                      <a:pt x="843" y="519"/>
                    </a:lnTo>
                    <a:lnTo>
                      <a:pt x="840" y="517"/>
                    </a:lnTo>
                    <a:lnTo>
                      <a:pt x="839" y="516"/>
                    </a:lnTo>
                    <a:lnTo>
                      <a:pt x="836" y="516"/>
                    </a:lnTo>
                    <a:lnTo>
                      <a:pt x="833" y="516"/>
                    </a:lnTo>
                    <a:lnTo>
                      <a:pt x="830" y="517"/>
                    </a:lnTo>
                    <a:lnTo>
                      <a:pt x="829" y="519"/>
                    </a:lnTo>
                    <a:lnTo>
                      <a:pt x="826" y="517"/>
                    </a:lnTo>
                    <a:lnTo>
                      <a:pt x="826" y="517"/>
                    </a:lnTo>
                    <a:lnTo>
                      <a:pt x="825" y="516"/>
                    </a:lnTo>
                    <a:lnTo>
                      <a:pt x="825" y="516"/>
                    </a:lnTo>
                    <a:lnTo>
                      <a:pt x="823" y="516"/>
                    </a:lnTo>
                    <a:lnTo>
                      <a:pt x="822" y="516"/>
                    </a:lnTo>
                    <a:lnTo>
                      <a:pt x="822" y="516"/>
                    </a:lnTo>
                    <a:lnTo>
                      <a:pt x="820" y="516"/>
                    </a:lnTo>
                    <a:lnTo>
                      <a:pt x="820" y="516"/>
                    </a:lnTo>
                    <a:lnTo>
                      <a:pt x="819" y="517"/>
                    </a:lnTo>
                    <a:lnTo>
                      <a:pt x="820" y="516"/>
                    </a:lnTo>
                    <a:lnTo>
                      <a:pt x="823" y="514"/>
                    </a:lnTo>
                    <a:lnTo>
                      <a:pt x="825" y="514"/>
                    </a:lnTo>
                    <a:lnTo>
                      <a:pt x="829" y="514"/>
                    </a:lnTo>
                    <a:lnTo>
                      <a:pt x="830" y="513"/>
                    </a:lnTo>
                    <a:lnTo>
                      <a:pt x="833" y="510"/>
                    </a:lnTo>
                    <a:lnTo>
                      <a:pt x="835" y="509"/>
                    </a:lnTo>
                    <a:lnTo>
                      <a:pt x="840" y="506"/>
                    </a:lnTo>
                    <a:lnTo>
                      <a:pt x="842" y="506"/>
                    </a:lnTo>
                    <a:lnTo>
                      <a:pt x="848" y="504"/>
                    </a:lnTo>
                    <a:lnTo>
                      <a:pt x="848" y="503"/>
                    </a:lnTo>
                    <a:lnTo>
                      <a:pt x="848" y="500"/>
                    </a:lnTo>
                    <a:lnTo>
                      <a:pt x="845" y="497"/>
                    </a:lnTo>
                    <a:lnTo>
                      <a:pt x="840" y="493"/>
                    </a:lnTo>
                    <a:lnTo>
                      <a:pt x="832" y="487"/>
                    </a:lnTo>
                    <a:lnTo>
                      <a:pt x="829" y="486"/>
                    </a:lnTo>
                    <a:lnTo>
                      <a:pt x="828" y="484"/>
                    </a:lnTo>
                    <a:lnTo>
                      <a:pt x="828" y="484"/>
                    </a:lnTo>
                    <a:lnTo>
                      <a:pt x="828" y="483"/>
                    </a:lnTo>
                    <a:lnTo>
                      <a:pt x="826" y="483"/>
                    </a:lnTo>
                    <a:lnTo>
                      <a:pt x="823" y="483"/>
                    </a:lnTo>
                    <a:lnTo>
                      <a:pt x="820" y="484"/>
                    </a:lnTo>
                    <a:lnTo>
                      <a:pt x="819" y="484"/>
                    </a:lnTo>
                    <a:lnTo>
                      <a:pt x="816" y="484"/>
                    </a:lnTo>
                    <a:lnTo>
                      <a:pt x="820" y="483"/>
                    </a:lnTo>
                    <a:lnTo>
                      <a:pt x="823" y="483"/>
                    </a:lnTo>
                    <a:lnTo>
                      <a:pt x="828" y="483"/>
                    </a:lnTo>
                    <a:lnTo>
                      <a:pt x="833" y="486"/>
                    </a:lnTo>
                    <a:lnTo>
                      <a:pt x="835" y="486"/>
                    </a:lnTo>
                    <a:lnTo>
                      <a:pt x="839" y="486"/>
                    </a:lnTo>
                    <a:lnTo>
                      <a:pt x="842" y="487"/>
                    </a:lnTo>
                    <a:lnTo>
                      <a:pt x="843" y="487"/>
                    </a:lnTo>
                    <a:lnTo>
                      <a:pt x="846" y="489"/>
                    </a:lnTo>
                    <a:lnTo>
                      <a:pt x="849" y="489"/>
                    </a:lnTo>
                    <a:lnTo>
                      <a:pt x="848" y="486"/>
                    </a:lnTo>
                    <a:lnTo>
                      <a:pt x="846" y="484"/>
                    </a:lnTo>
                    <a:lnTo>
                      <a:pt x="845" y="483"/>
                    </a:lnTo>
                    <a:lnTo>
                      <a:pt x="842" y="481"/>
                    </a:lnTo>
                    <a:lnTo>
                      <a:pt x="840" y="479"/>
                    </a:lnTo>
                    <a:lnTo>
                      <a:pt x="840" y="477"/>
                    </a:lnTo>
                    <a:lnTo>
                      <a:pt x="839" y="476"/>
                    </a:lnTo>
                    <a:lnTo>
                      <a:pt x="838" y="474"/>
                    </a:lnTo>
                    <a:lnTo>
                      <a:pt x="836" y="474"/>
                    </a:lnTo>
                    <a:lnTo>
                      <a:pt x="835" y="473"/>
                    </a:lnTo>
                    <a:lnTo>
                      <a:pt x="833" y="473"/>
                    </a:lnTo>
                    <a:lnTo>
                      <a:pt x="832" y="471"/>
                    </a:lnTo>
                    <a:lnTo>
                      <a:pt x="830" y="470"/>
                    </a:lnTo>
                    <a:lnTo>
                      <a:pt x="830" y="470"/>
                    </a:lnTo>
                    <a:lnTo>
                      <a:pt x="832" y="468"/>
                    </a:lnTo>
                    <a:lnTo>
                      <a:pt x="832" y="467"/>
                    </a:lnTo>
                    <a:lnTo>
                      <a:pt x="830" y="464"/>
                    </a:lnTo>
                    <a:lnTo>
                      <a:pt x="829" y="460"/>
                    </a:lnTo>
                    <a:lnTo>
                      <a:pt x="826" y="454"/>
                    </a:lnTo>
                    <a:lnTo>
                      <a:pt x="822" y="444"/>
                    </a:lnTo>
                    <a:lnTo>
                      <a:pt x="819" y="438"/>
                    </a:lnTo>
                    <a:lnTo>
                      <a:pt x="815" y="435"/>
                    </a:lnTo>
                    <a:lnTo>
                      <a:pt x="805" y="430"/>
                    </a:lnTo>
                    <a:lnTo>
                      <a:pt x="803" y="430"/>
                    </a:lnTo>
                    <a:lnTo>
                      <a:pt x="802" y="430"/>
                    </a:lnTo>
                    <a:lnTo>
                      <a:pt x="802" y="428"/>
                    </a:lnTo>
                    <a:lnTo>
                      <a:pt x="802" y="427"/>
                    </a:lnTo>
                    <a:lnTo>
                      <a:pt x="802" y="425"/>
                    </a:lnTo>
                    <a:lnTo>
                      <a:pt x="802" y="424"/>
                    </a:lnTo>
                    <a:lnTo>
                      <a:pt x="803" y="422"/>
                    </a:lnTo>
                    <a:lnTo>
                      <a:pt x="805" y="422"/>
                    </a:lnTo>
                    <a:lnTo>
                      <a:pt x="807" y="417"/>
                    </a:lnTo>
                    <a:lnTo>
                      <a:pt x="810" y="414"/>
                    </a:lnTo>
                    <a:lnTo>
                      <a:pt x="820" y="404"/>
                    </a:lnTo>
                    <a:lnTo>
                      <a:pt x="819" y="404"/>
                    </a:lnTo>
                    <a:lnTo>
                      <a:pt x="817" y="401"/>
                    </a:lnTo>
                    <a:lnTo>
                      <a:pt x="819" y="399"/>
                    </a:lnTo>
                    <a:lnTo>
                      <a:pt x="820" y="399"/>
                    </a:lnTo>
                    <a:lnTo>
                      <a:pt x="822" y="401"/>
                    </a:lnTo>
                    <a:lnTo>
                      <a:pt x="822" y="402"/>
                    </a:lnTo>
                    <a:lnTo>
                      <a:pt x="823" y="402"/>
                    </a:lnTo>
                    <a:lnTo>
                      <a:pt x="826" y="402"/>
                    </a:lnTo>
                    <a:lnTo>
                      <a:pt x="828" y="401"/>
                    </a:lnTo>
                    <a:lnTo>
                      <a:pt x="828" y="399"/>
                    </a:lnTo>
                    <a:lnTo>
                      <a:pt x="828" y="399"/>
                    </a:lnTo>
                    <a:lnTo>
                      <a:pt x="828" y="397"/>
                    </a:lnTo>
                    <a:lnTo>
                      <a:pt x="829" y="397"/>
                    </a:lnTo>
                    <a:lnTo>
                      <a:pt x="829" y="395"/>
                    </a:lnTo>
                    <a:lnTo>
                      <a:pt x="830" y="395"/>
                    </a:lnTo>
                    <a:lnTo>
                      <a:pt x="830" y="395"/>
                    </a:lnTo>
                    <a:lnTo>
                      <a:pt x="830" y="394"/>
                    </a:lnTo>
                    <a:lnTo>
                      <a:pt x="830" y="392"/>
                    </a:lnTo>
                    <a:lnTo>
                      <a:pt x="830" y="392"/>
                    </a:lnTo>
                    <a:lnTo>
                      <a:pt x="830" y="392"/>
                    </a:lnTo>
                    <a:lnTo>
                      <a:pt x="830" y="392"/>
                    </a:lnTo>
                    <a:lnTo>
                      <a:pt x="830" y="392"/>
                    </a:lnTo>
                    <a:lnTo>
                      <a:pt x="830" y="391"/>
                    </a:lnTo>
                    <a:lnTo>
                      <a:pt x="830" y="391"/>
                    </a:lnTo>
                    <a:lnTo>
                      <a:pt x="832" y="391"/>
                    </a:lnTo>
                    <a:lnTo>
                      <a:pt x="832" y="392"/>
                    </a:lnTo>
                    <a:lnTo>
                      <a:pt x="833" y="392"/>
                    </a:lnTo>
                    <a:lnTo>
                      <a:pt x="845" y="388"/>
                    </a:lnTo>
                    <a:lnTo>
                      <a:pt x="848" y="385"/>
                    </a:lnTo>
                    <a:lnTo>
                      <a:pt x="849" y="385"/>
                    </a:lnTo>
                    <a:lnTo>
                      <a:pt x="851" y="385"/>
                    </a:lnTo>
                    <a:lnTo>
                      <a:pt x="852" y="385"/>
                    </a:lnTo>
                    <a:lnTo>
                      <a:pt x="853" y="385"/>
                    </a:lnTo>
                    <a:lnTo>
                      <a:pt x="853" y="387"/>
                    </a:lnTo>
                    <a:lnTo>
                      <a:pt x="855" y="387"/>
                    </a:lnTo>
                    <a:lnTo>
                      <a:pt x="856" y="387"/>
                    </a:lnTo>
                    <a:lnTo>
                      <a:pt x="858" y="387"/>
                    </a:lnTo>
                    <a:lnTo>
                      <a:pt x="859" y="385"/>
                    </a:lnTo>
                    <a:lnTo>
                      <a:pt x="861" y="384"/>
                    </a:lnTo>
                    <a:lnTo>
                      <a:pt x="859" y="384"/>
                    </a:lnTo>
                    <a:lnTo>
                      <a:pt x="859" y="384"/>
                    </a:lnTo>
                    <a:lnTo>
                      <a:pt x="859" y="384"/>
                    </a:lnTo>
                    <a:lnTo>
                      <a:pt x="859" y="382"/>
                    </a:lnTo>
                    <a:lnTo>
                      <a:pt x="859" y="382"/>
                    </a:lnTo>
                    <a:lnTo>
                      <a:pt x="861" y="381"/>
                    </a:lnTo>
                    <a:lnTo>
                      <a:pt x="861" y="381"/>
                    </a:lnTo>
                    <a:lnTo>
                      <a:pt x="861" y="378"/>
                    </a:lnTo>
                    <a:lnTo>
                      <a:pt x="862" y="376"/>
                    </a:lnTo>
                    <a:lnTo>
                      <a:pt x="862" y="375"/>
                    </a:lnTo>
                    <a:lnTo>
                      <a:pt x="861" y="375"/>
                    </a:lnTo>
                    <a:lnTo>
                      <a:pt x="858" y="376"/>
                    </a:lnTo>
                    <a:lnTo>
                      <a:pt x="856" y="375"/>
                    </a:lnTo>
                    <a:lnTo>
                      <a:pt x="855" y="375"/>
                    </a:lnTo>
                    <a:lnTo>
                      <a:pt x="853" y="374"/>
                    </a:lnTo>
                    <a:lnTo>
                      <a:pt x="852" y="374"/>
                    </a:lnTo>
                    <a:lnTo>
                      <a:pt x="852" y="374"/>
                    </a:lnTo>
                    <a:lnTo>
                      <a:pt x="849" y="375"/>
                    </a:lnTo>
                    <a:lnTo>
                      <a:pt x="848" y="375"/>
                    </a:lnTo>
                    <a:lnTo>
                      <a:pt x="846" y="375"/>
                    </a:lnTo>
                    <a:lnTo>
                      <a:pt x="845" y="375"/>
                    </a:lnTo>
                    <a:lnTo>
                      <a:pt x="842" y="374"/>
                    </a:lnTo>
                    <a:lnTo>
                      <a:pt x="839" y="372"/>
                    </a:lnTo>
                    <a:lnTo>
                      <a:pt x="832" y="368"/>
                    </a:lnTo>
                    <a:lnTo>
                      <a:pt x="829" y="368"/>
                    </a:lnTo>
                    <a:lnTo>
                      <a:pt x="826" y="368"/>
                    </a:lnTo>
                    <a:lnTo>
                      <a:pt x="820" y="371"/>
                    </a:lnTo>
                    <a:lnTo>
                      <a:pt x="820" y="371"/>
                    </a:lnTo>
                    <a:lnTo>
                      <a:pt x="820" y="372"/>
                    </a:lnTo>
                    <a:lnTo>
                      <a:pt x="815" y="376"/>
                    </a:lnTo>
                    <a:lnTo>
                      <a:pt x="813" y="376"/>
                    </a:lnTo>
                    <a:lnTo>
                      <a:pt x="813" y="378"/>
                    </a:lnTo>
                    <a:lnTo>
                      <a:pt x="813" y="378"/>
                    </a:lnTo>
                    <a:lnTo>
                      <a:pt x="813" y="379"/>
                    </a:lnTo>
                    <a:lnTo>
                      <a:pt x="812" y="381"/>
                    </a:lnTo>
                    <a:lnTo>
                      <a:pt x="807" y="382"/>
                    </a:lnTo>
                    <a:lnTo>
                      <a:pt x="803" y="381"/>
                    </a:lnTo>
                    <a:lnTo>
                      <a:pt x="799" y="379"/>
                    </a:lnTo>
                    <a:lnTo>
                      <a:pt x="797" y="375"/>
                    </a:lnTo>
                    <a:lnTo>
                      <a:pt x="797" y="374"/>
                    </a:lnTo>
                    <a:lnTo>
                      <a:pt x="797" y="372"/>
                    </a:lnTo>
                    <a:lnTo>
                      <a:pt x="799" y="371"/>
                    </a:lnTo>
                    <a:lnTo>
                      <a:pt x="799" y="369"/>
                    </a:lnTo>
                    <a:lnTo>
                      <a:pt x="799" y="368"/>
                    </a:lnTo>
                    <a:lnTo>
                      <a:pt x="799" y="366"/>
                    </a:lnTo>
                    <a:lnTo>
                      <a:pt x="797" y="364"/>
                    </a:lnTo>
                    <a:lnTo>
                      <a:pt x="797" y="362"/>
                    </a:lnTo>
                    <a:lnTo>
                      <a:pt x="795" y="361"/>
                    </a:lnTo>
                    <a:lnTo>
                      <a:pt x="793" y="361"/>
                    </a:lnTo>
                    <a:lnTo>
                      <a:pt x="790" y="362"/>
                    </a:lnTo>
                    <a:lnTo>
                      <a:pt x="787" y="361"/>
                    </a:lnTo>
                    <a:lnTo>
                      <a:pt x="784" y="361"/>
                    </a:lnTo>
                    <a:lnTo>
                      <a:pt x="782" y="359"/>
                    </a:lnTo>
                    <a:lnTo>
                      <a:pt x="779" y="359"/>
                    </a:lnTo>
                    <a:lnTo>
                      <a:pt x="776" y="356"/>
                    </a:lnTo>
                    <a:lnTo>
                      <a:pt x="773" y="352"/>
                    </a:lnTo>
                    <a:lnTo>
                      <a:pt x="773" y="348"/>
                    </a:lnTo>
                    <a:lnTo>
                      <a:pt x="774" y="343"/>
                    </a:lnTo>
                    <a:lnTo>
                      <a:pt x="776" y="342"/>
                    </a:lnTo>
                    <a:lnTo>
                      <a:pt x="777" y="339"/>
                    </a:lnTo>
                    <a:lnTo>
                      <a:pt x="780" y="338"/>
                    </a:lnTo>
                    <a:lnTo>
                      <a:pt x="782" y="338"/>
                    </a:lnTo>
                    <a:lnTo>
                      <a:pt x="783" y="339"/>
                    </a:lnTo>
                    <a:lnTo>
                      <a:pt x="784" y="341"/>
                    </a:lnTo>
                    <a:lnTo>
                      <a:pt x="786" y="342"/>
                    </a:lnTo>
                    <a:lnTo>
                      <a:pt x="787" y="341"/>
                    </a:lnTo>
                    <a:lnTo>
                      <a:pt x="790" y="341"/>
                    </a:lnTo>
                    <a:lnTo>
                      <a:pt x="790" y="339"/>
                    </a:lnTo>
                    <a:lnTo>
                      <a:pt x="793" y="339"/>
                    </a:lnTo>
                    <a:lnTo>
                      <a:pt x="796" y="339"/>
                    </a:lnTo>
                    <a:lnTo>
                      <a:pt x="797" y="339"/>
                    </a:lnTo>
                    <a:lnTo>
                      <a:pt x="800" y="338"/>
                    </a:lnTo>
                    <a:lnTo>
                      <a:pt x="800" y="335"/>
                    </a:lnTo>
                    <a:lnTo>
                      <a:pt x="803" y="330"/>
                    </a:lnTo>
                    <a:lnTo>
                      <a:pt x="805" y="328"/>
                    </a:lnTo>
                    <a:lnTo>
                      <a:pt x="807" y="325"/>
                    </a:lnTo>
                    <a:lnTo>
                      <a:pt x="812" y="322"/>
                    </a:lnTo>
                    <a:lnTo>
                      <a:pt x="820" y="318"/>
                    </a:lnTo>
                    <a:lnTo>
                      <a:pt x="823" y="316"/>
                    </a:lnTo>
                    <a:lnTo>
                      <a:pt x="825" y="315"/>
                    </a:lnTo>
                    <a:lnTo>
                      <a:pt x="828" y="313"/>
                    </a:lnTo>
                    <a:lnTo>
                      <a:pt x="830" y="309"/>
                    </a:lnTo>
                    <a:lnTo>
                      <a:pt x="835" y="305"/>
                    </a:lnTo>
                    <a:lnTo>
                      <a:pt x="836" y="303"/>
                    </a:lnTo>
                    <a:lnTo>
                      <a:pt x="838" y="302"/>
                    </a:lnTo>
                    <a:lnTo>
                      <a:pt x="842" y="303"/>
                    </a:lnTo>
                    <a:lnTo>
                      <a:pt x="843" y="303"/>
                    </a:lnTo>
                    <a:lnTo>
                      <a:pt x="845" y="303"/>
                    </a:lnTo>
                    <a:lnTo>
                      <a:pt x="846" y="303"/>
                    </a:lnTo>
                    <a:lnTo>
                      <a:pt x="848" y="300"/>
                    </a:lnTo>
                    <a:lnTo>
                      <a:pt x="849" y="305"/>
                    </a:lnTo>
                    <a:lnTo>
                      <a:pt x="852" y="307"/>
                    </a:lnTo>
                    <a:lnTo>
                      <a:pt x="855" y="310"/>
                    </a:lnTo>
                    <a:lnTo>
                      <a:pt x="853" y="315"/>
                    </a:lnTo>
                    <a:lnTo>
                      <a:pt x="851" y="319"/>
                    </a:lnTo>
                    <a:lnTo>
                      <a:pt x="849" y="320"/>
                    </a:lnTo>
                    <a:lnTo>
                      <a:pt x="848" y="323"/>
                    </a:lnTo>
                    <a:lnTo>
                      <a:pt x="843" y="325"/>
                    </a:lnTo>
                    <a:lnTo>
                      <a:pt x="842" y="326"/>
                    </a:lnTo>
                    <a:lnTo>
                      <a:pt x="842" y="329"/>
                    </a:lnTo>
                    <a:lnTo>
                      <a:pt x="840" y="329"/>
                    </a:lnTo>
                    <a:lnTo>
                      <a:pt x="839" y="330"/>
                    </a:lnTo>
                    <a:lnTo>
                      <a:pt x="838" y="332"/>
                    </a:lnTo>
                    <a:lnTo>
                      <a:pt x="838" y="335"/>
                    </a:lnTo>
                    <a:lnTo>
                      <a:pt x="840" y="335"/>
                    </a:lnTo>
                    <a:lnTo>
                      <a:pt x="845" y="335"/>
                    </a:lnTo>
                    <a:lnTo>
                      <a:pt x="848" y="335"/>
                    </a:lnTo>
                    <a:lnTo>
                      <a:pt x="846" y="335"/>
                    </a:lnTo>
                    <a:lnTo>
                      <a:pt x="846" y="336"/>
                    </a:lnTo>
                    <a:lnTo>
                      <a:pt x="845" y="339"/>
                    </a:lnTo>
                    <a:lnTo>
                      <a:pt x="845" y="339"/>
                    </a:lnTo>
                    <a:lnTo>
                      <a:pt x="845" y="341"/>
                    </a:lnTo>
                    <a:lnTo>
                      <a:pt x="845" y="341"/>
                    </a:lnTo>
                    <a:lnTo>
                      <a:pt x="845" y="341"/>
                    </a:lnTo>
                    <a:lnTo>
                      <a:pt x="843" y="342"/>
                    </a:lnTo>
                    <a:lnTo>
                      <a:pt x="840" y="342"/>
                    </a:lnTo>
                    <a:lnTo>
                      <a:pt x="839" y="343"/>
                    </a:lnTo>
                    <a:lnTo>
                      <a:pt x="836" y="345"/>
                    </a:lnTo>
                    <a:lnTo>
                      <a:pt x="835" y="346"/>
                    </a:lnTo>
                    <a:lnTo>
                      <a:pt x="836" y="348"/>
                    </a:lnTo>
                    <a:lnTo>
                      <a:pt x="838" y="348"/>
                    </a:lnTo>
                    <a:lnTo>
                      <a:pt x="842" y="346"/>
                    </a:lnTo>
                    <a:lnTo>
                      <a:pt x="843" y="346"/>
                    </a:lnTo>
                    <a:lnTo>
                      <a:pt x="845" y="345"/>
                    </a:lnTo>
                    <a:lnTo>
                      <a:pt x="845" y="345"/>
                    </a:lnTo>
                    <a:lnTo>
                      <a:pt x="845" y="343"/>
                    </a:lnTo>
                    <a:lnTo>
                      <a:pt x="845" y="343"/>
                    </a:lnTo>
                    <a:lnTo>
                      <a:pt x="845" y="343"/>
                    </a:lnTo>
                    <a:lnTo>
                      <a:pt x="846" y="342"/>
                    </a:lnTo>
                    <a:lnTo>
                      <a:pt x="846" y="343"/>
                    </a:lnTo>
                    <a:lnTo>
                      <a:pt x="846" y="343"/>
                    </a:lnTo>
                    <a:lnTo>
                      <a:pt x="848" y="343"/>
                    </a:lnTo>
                    <a:lnTo>
                      <a:pt x="851" y="342"/>
                    </a:lnTo>
                    <a:lnTo>
                      <a:pt x="851" y="341"/>
                    </a:lnTo>
                    <a:lnTo>
                      <a:pt x="853" y="339"/>
                    </a:lnTo>
                    <a:lnTo>
                      <a:pt x="858" y="335"/>
                    </a:lnTo>
                    <a:lnTo>
                      <a:pt x="861" y="332"/>
                    </a:lnTo>
                    <a:lnTo>
                      <a:pt x="866" y="330"/>
                    </a:lnTo>
                    <a:lnTo>
                      <a:pt x="878" y="326"/>
                    </a:lnTo>
                    <a:lnTo>
                      <a:pt x="878" y="326"/>
                    </a:lnTo>
                    <a:lnTo>
                      <a:pt x="879" y="325"/>
                    </a:lnTo>
                    <a:lnTo>
                      <a:pt x="879" y="325"/>
                    </a:lnTo>
                    <a:lnTo>
                      <a:pt x="879" y="325"/>
                    </a:lnTo>
                    <a:lnTo>
                      <a:pt x="881" y="325"/>
                    </a:lnTo>
                    <a:lnTo>
                      <a:pt x="881" y="325"/>
                    </a:lnTo>
                    <a:lnTo>
                      <a:pt x="888" y="325"/>
                    </a:lnTo>
                    <a:lnTo>
                      <a:pt x="889" y="323"/>
                    </a:lnTo>
                    <a:lnTo>
                      <a:pt x="892" y="322"/>
                    </a:lnTo>
                    <a:lnTo>
                      <a:pt x="894" y="318"/>
                    </a:lnTo>
                    <a:lnTo>
                      <a:pt x="898" y="315"/>
                    </a:lnTo>
                    <a:lnTo>
                      <a:pt x="919" y="302"/>
                    </a:lnTo>
                    <a:lnTo>
                      <a:pt x="922" y="300"/>
                    </a:lnTo>
                    <a:lnTo>
                      <a:pt x="924" y="297"/>
                    </a:lnTo>
                    <a:lnTo>
                      <a:pt x="928" y="295"/>
                    </a:lnTo>
                    <a:lnTo>
                      <a:pt x="928" y="293"/>
                    </a:lnTo>
                    <a:lnTo>
                      <a:pt x="930" y="292"/>
                    </a:lnTo>
                    <a:lnTo>
                      <a:pt x="931" y="289"/>
                    </a:lnTo>
                    <a:lnTo>
                      <a:pt x="931" y="287"/>
                    </a:lnTo>
                    <a:lnTo>
                      <a:pt x="932" y="286"/>
                    </a:lnTo>
                    <a:lnTo>
                      <a:pt x="934" y="284"/>
                    </a:lnTo>
                    <a:lnTo>
                      <a:pt x="935" y="283"/>
                    </a:lnTo>
                    <a:lnTo>
                      <a:pt x="937" y="283"/>
                    </a:lnTo>
                    <a:lnTo>
                      <a:pt x="938" y="284"/>
                    </a:lnTo>
                    <a:lnTo>
                      <a:pt x="940" y="286"/>
                    </a:lnTo>
                    <a:lnTo>
                      <a:pt x="940" y="287"/>
                    </a:lnTo>
                    <a:lnTo>
                      <a:pt x="941" y="287"/>
                    </a:lnTo>
                    <a:lnTo>
                      <a:pt x="942" y="289"/>
                    </a:lnTo>
                    <a:lnTo>
                      <a:pt x="945" y="290"/>
                    </a:lnTo>
                    <a:lnTo>
                      <a:pt x="950" y="290"/>
                    </a:lnTo>
                    <a:lnTo>
                      <a:pt x="951" y="290"/>
                    </a:lnTo>
                    <a:lnTo>
                      <a:pt x="954" y="290"/>
                    </a:lnTo>
                    <a:lnTo>
                      <a:pt x="955" y="290"/>
                    </a:lnTo>
                    <a:lnTo>
                      <a:pt x="957" y="290"/>
                    </a:lnTo>
                    <a:lnTo>
                      <a:pt x="958" y="292"/>
                    </a:lnTo>
                    <a:lnTo>
                      <a:pt x="958" y="292"/>
                    </a:lnTo>
                    <a:lnTo>
                      <a:pt x="961" y="289"/>
                    </a:lnTo>
                    <a:lnTo>
                      <a:pt x="960" y="286"/>
                    </a:lnTo>
                    <a:lnTo>
                      <a:pt x="958" y="283"/>
                    </a:lnTo>
                    <a:lnTo>
                      <a:pt x="957" y="279"/>
                    </a:lnTo>
                    <a:lnTo>
                      <a:pt x="958" y="279"/>
                    </a:lnTo>
                    <a:lnTo>
                      <a:pt x="961" y="277"/>
                    </a:lnTo>
                    <a:lnTo>
                      <a:pt x="967" y="277"/>
                    </a:lnTo>
                    <a:lnTo>
                      <a:pt x="970" y="277"/>
                    </a:lnTo>
                    <a:lnTo>
                      <a:pt x="971" y="277"/>
                    </a:lnTo>
                    <a:lnTo>
                      <a:pt x="974" y="276"/>
                    </a:lnTo>
                    <a:lnTo>
                      <a:pt x="975" y="276"/>
                    </a:lnTo>
                    <a:lnTo>
                      <a:pt x="977" y="274"/>
                    </a:lnTo>
                    <a:lnTo>
                      <a:pt x="978" y="270"/>
                    </a:lnTo>
                    <a:lnTo>
                      <a:pt x="980" y="269"/>
                    </a:lnTo>
                    <a:lnTo>
                      <a:pt x="981" y="269"/>
                    </a:lnTo>
                    <a:lnTo>
                      <a:pt x="983" y="269"/>
                    </a:lnTo>
                    <a:lnTo>
                      <a:pt x="984" y="269"/>
                    </a:lnTo>
                    <a:lnTo>
                      <a:pt x="987" y="266"/>
                    </a:lnTo>
                    <a:lnTo>
                      <a:pt x="988" y="259"/>
                    </a:lnTo>
                    <a:lnTo>
                      <a:pt x="991" y="257"/>
                    </a:lnTo>
                    <a:lnTo>
                      <a:pt x="993" y="257"/>
                    </a:lnTo>
                    <a:lnTo>
                      <a:pt x="994" y="257"/>
                    </a:lnTo>
                    <a:lnTo>
                      <a:pt x="996" y="259"/>
                    </a:lnTo>
                    <a:lnTo>
                      <a:pt x="996" y="260"/>
                    </a:lnTo>
                    <a:lnTo>
                      <a:pt x="996" y="261"/>
                    </a:lnTo>
                    <a:lnTo>
                      <a:pt x="997" y="261"/>
                    </a:lnTo>
                    <a:lnTo>
                      <a:pt x="997" y="263"/>
                    </a:lnTo>
                    <a:lnTo>
                      <a:pt x="998" y="264"/>
                    </a:lnTo>
                    <a:lnTo>
                      <a:pt x="998" y="264"/>
                    </a:lnTo>
                    <a:lnTo>
                      <a:pt x="1001" y="266"/>
                    </a:lnTo>
                    <a:lnTo>
                      <a:pt x="1001" y="266"/>
                    </a:lnTo>
                    <a:lnTo>
                      <a:pt x="1001" y="264"/>
                    </a:lnTo>
                    <a:lnTo>
                      <a:pt x="1001" y="264"/>
                    </a:lnTo>
                    <a:lnTo>
                      <a:pt x="1000" y="263"/>
                    </a:lnTo>
                    <a:lnTo>
                      <a:pt x="1000" y="263"/>
                    </a:lnTo>
                    <a:lnTo>
                      <a:pt x="998" y="263"/>
                    </a:lnTo>
                    <a:lnTo>
                      <a:pt x="998" y="263"/>
                    </a:lnTo>
                    <a:lnTo>
                      <a:pt x="998" y="261"/>
                    </a:lnTo>
                    <a:lnTo>
                      <a:pt x="998" y="261"/>
                    </a:lnTo>
                    <a:lnTo>
                      <a:pt x="1000" y="261"/>
                    </a:lnTo>
                    <a:lnTo>
                      <a:pt x="1000" y="261"/>
                    </a:lnTo>
                    <a:lnTo>
                      <a:pt x="1000" y="261"/>
                    </a:lnTo>
                    <a:lnTo>
                      <a:pt x="1001" y="260"/>
                    </a:lnTo>
                    <a:lnTo>
                      <a:pt x="1001" y="260"/>
                    </a:lnTo>
                    <a:lnTo>
                      <a:pt x="1007" y="259"/>
                    </a:lnTo>
                    <a:lnTo>
                      <a:pt x="1007" y="259"/>
                    </a:lnTo>
                    <a:lnTo>
                      <a:pt x="1009" y="259"/>
                    </a:lnTo>
                    <a:lnTo>
                      <a:pt x="1009" y="259"/>
                    </a:lnTo>
                    <a:lnTo>
                      <a:pt x="1009" y="259"/>
                    </a:lnTo>
                    <a:lnTo>
                      <a:pt x="1010" y="259"/>
                    </a:lnTo>
                    <a:lnTo>
                      <a:pt x="1010" y="256"/>
                    </a:lnTo>
                    <a:lnTo>
                      <a:pt x="1011" y="254"/>
                    </a:lnTo>
                    <a:lnTo>
                      <a:pt x="1011" y="253"/>
                    </a:lnTo>
                    <a:lnTo>
                      <a:pt x="1013" y="251"/>
                    </a:lnTo>
                    <a:lnTo>
                      <a:pt x="1013" y="249"/>
                    </a:lnTo>
                    <a:lnTo>
                      <a:pt x="1014" y="247"/>
                    </a:lnTo>
                    <a:lnTo>
                      <a:pt x="1014" y="247"/>
                    </a:lnTo>
                    <a:lnTo>
                      <a:pt x="1013" y="246"/>
                    </a:lnTo>
                    <a:lnTo>
                      <a:pt x="1013" y="246"/>
                    </a:lnTo>
                    <a:lnTo>
                      <a:pt x="1013" y="244"/>
                    </a:lnTo>
                    <a:lnTo>
                      <a:pt x="1013" y="244"/>
                    </a:lnTo>
                    <a:lnTo>
                      <a:pt x="1013" y="244"/>
                    </a:lnTo>
                    <a:lnTo>
                      <a:pt x="1013" y="243"/>
                    </a:lnTo>
                    <a:lnTo>
                      <a:pt x="1013" y="239"/>
                    </a:lnTo>
                    <a:lnTo>
                      <a:pt x="1013" y="236"/>
                    </a:lnTo>
                    <a:lnTo>
                      <a:pt x="1013" y="231"/>
                    </a:lnTo>
                    <a:lnTo>
                      <a:pt x="1013" y="228"/>
                    </a:lnTo>
                    <a:lnTo>
                      <a:pt x="1011" y="221"/>
                    </a:lnTo>
                    <a:lnTo>
                      <a:pt x="1010" y="220"/>
                    </a:lnTo>
                    <a:lnTo>
                      <a:pt x="1010" y="217"/>
                    </a:lnTo>
                    <a:lnTo>
                      <a:pt x="1009" y="217"/>
                    </a:lnTo>
                    <a:lnTo>
                      <a:pt x="1009" y="216"/>
                    </a:lnTo>
                    <a:lnTo>
                      <a:pt x="1009" y="214"/>
                    </a:lnTo>
                    <a:lnTo>
                      <a:pt x="1009" y="214"/>
                    </a:lnTo>
                    <a:lnTo>
                      <a:pt x="1010" y="214"/>
                    </a:lnTo>
                    <a:lnTo>
                      <a:pt x="1010" y="213"/>
                    </a:lnTo>
                    <a:lnTo>
                      <a:pt x="1010" y="213"/>
                    </a:lnTo>
                    <a:lnTo>
                      <a:pt x="1011" y="213"/>
                    </a:lnTo>
                    <a:lnTo>
                      <a:pt x="1013" y="213"/>
                    </a:lnTo>
                    <a:lnTo>
                      <a:pt x="1014" y="213"/>
                    </a:lnTo>
                    <a:lnTo>
                      <a:pt x="1016" y="211"/>
                    </a:lnTo>
                    <a:lnTo>
                      <a:pt x="1016" y="211"/>
                    </a:lnTo>
                    <a:lnTo>
                      <a:pt x="1017" y="211"/>
                    </a:lnTo>
                    <a:lnTo>
                      <a:pt x="1017" y="211"/>
                    </a:lnTo>
                    <a:lnTo>
                      <a:pt x="1017" y="210"/>
                    </a:lnTo>
                    <a:lnTo>
                      <a:pt x="1019" y="210"/>
                    </a:lnTo>
                    <a:lnTo>
                      <a:pt x="1019" y="208"/>
                    </a:lnTo>
                    <a:lnTo>
                      <a:pt x="1020" y="208"/>
                    </a:lnTo>
                    <a:lnTo>
                      <a:pt x="1020" y="207"/>
                    </a:lnTo>
                    <a:lnTo>
                      <a:pt x="1020" y="207"/>
                    </a:lnTo>
                    <a:lnTo>
                      <a:pt x="1024" y="203"/>
                    </a:lnTo>
                    <a:lnTo>
                      <a:pt x="1024" y="204"/>
                    </a:lnTo>
                    <a:lnTo>
                      <a:pt x="1026" y="204"/>
                    </a:lnTo>
                    <a:lnTo>
                      <a:pt x="1026" y="205"/>
                    </a:lnTo>
                    <a:lnTo>
                      <a:pt x="1027" y="205"/>
                    </a:lnTo>
                    <a:lnTo>
                      <a:pt x="1031" y="207"/>
                    </a:lnTo>
                    <a:lnTo>
                      <a:pt x="1034" y="207"/>
                    </a:lnTo>
                    <a:lnTo>
                      <a:pt x="1039" y="208"/>
                    </a:lnTo>
                    <a:lnTo>
                      <a:pt x="1042" y="210"/>
                    </a:lnTo>
                    <a:lnTo>
                      <a:pt x="1043" y="210"/>
                    </a:lnTo>
                    <a:lnTo>
                      <a:pt x="1044" y="208"/>
                    </a:lnTo>
                    <a:lnTo>
                      <a:pt x="1046" y="208"/>
                    </a:lnTo>
                    <a:lnTo>
                      <a:pt x="1046" y="205"/>
                    </a:lnTo>
                    <a:lnTo>
                      <a:pt x="1046" y="204"/>
                    </a:lnTo>
                    <a:lnTo>
                      <a:pt x="1046" y="204"/>
                    </a:lnTo>
                    <a:lnTo>
                      <a:pt x="1046" y="203"/>
                    </a:lnTo>
                    <a:lnTo>
                      <a:pt x="1047" y="201"/>
                    </a:lnTo>
                    <a:lnTo>
                      <a:pt x="1047" y="200"/>
                    </a:lnTo>
                    <a:lnTo>
                      <a:pt x="1047" y="198"/>
                    </a:lnTo>
                    <a:lnTo>
                      <a:pt x="1049" y="198"/>
                    </a:lnTo>
                    <a:lnTo>
                      <a:pt x="1049" y="198"/>
                    </a:lnTo>
                    <a:lnTo>
                      <a:pt x="1050" y="198"/>
                    </a:lnTo>
                    <a:lnTo>
                      <a:pt x="1050" y="197"/>
                    </a:lnTo>
                    <a:lnTo>
                      <a:pt x="1052" y="197"/>
                    </a:lnTo>
                    <a:lnTo>
                      <a:pt x="1052" y="195"/>
                    </a:lnTo>
                    <a:lnTo>
                      <a:pt x="1052" y="194"/>
                    </a:lnTo>
                    <a:lnTo>
                      <a:pt x="1053" y="194"/>
                    </a:lnTo>
                    <a:lnTo>
                      <a:pt x="1053" y="193"/>
                    </a:lnTo>
                    <a:lnTo>
                      <a:pt x="1053" y="193"/>
                    </a:lnTo>
                    <a:lnTo>
                      <a:pt x="1053" y="191"/>
                    </a:lnTo>
                    <a:lnTo>
                      <a:pt x="1053" y="191"/>
                    </a:lnTo>
                    <a:lnTo>
                      <a:pt x="1053" y="190"/>
                    </a:lnTo>
                    <a:lnTo>
                      <a:pt x="1054" y="190"/>
                    </a:lnTo>
                    <a:lnTo>
                      <a:pt x="1054" y="190"/>
                    </a:lnTo>
                    <a:lnTo>
                      <a:pt x="1056" y="188"/>
                    </a:lnTo>
                    <a:lnTo>
                      <a:pt x="1056" y="188"/>
                    </a:lnTo>
                    <a:lnTo>
                      <a:pt x="1056" y="188"/>
                    </a:lnTo>
                    <a:lnTo>
                      <a:pt x="1056" y="187"/>
                    </a:lnTo>
                    <a:lnTo>
                      <a:pt x="1057" y="185"/>
                    </a:lnTo>
                    <a:lnTo>
                      <a:pt x="1056" y="185"/>
                    </a:lnTo>
                    <a:lnTo>
                      <a:pt x="1056" y="184"/>
                    </a:lnTo>
                    <a:lnTo>
                      <a:pt x="1057" y="184"/>
                    </a:lnTo>
                    <a:lnTo>
                      <a:pt x="1059" y="182"/>
                    </a:lnTo>
                    <a:lnTo>
                      <a:pt x="1059" y="181"/>
                    </a:lnTo>
                    <a:lnTo>
                      <a:pt x="1060" y="180"/>
                    </a:lnTo>
                    <a:lnTo>
                      <a:pt x="1060" y="177"/>
                    </a:lnTo>
                    <a:lnTo>
                      <a:pt x="1059" y="175"/>
                    </a:lnTo>
                    <a:lnTo>
                      <a:pt x="1060" y="174"/>
                    </a:lnTo>
                    <a:lnTo>
                      <a:pt x="1062" y="172"/>
                    </a:lnTo>
                    <a:lnTo>
                      <a:pt x="1062" y="171"/>
                    </a:lnTo>
                    <a:lnTo>
                      <a:pt x="1062" y="170"/>
                    </a:lnTo>
                    <a:lnTo>
                      <a:pt x="1063" y="168"/>
                    </a:lnTo>
                    <a:lnTo>
                      <a:pt x="1063" y="168"/>
                    </a:lnTo>
                    <a:lnTo>
                      <a:pt x="1063" y="167"/>
                    </a:lnTo>
                    <a:lnTo>
                      <a:pt x="1063" y="165"/>
                    </a:lnTo>
                    <a:lnTo>
                      <a:pt x="1063" y="164"/>
                    </a:lnTo>
                    <a:lnTo>
                      <a:pt x="1065" y="162"/>
                    </a:lnTo>
                    <a:lnTo>
                      <a:pt x="1065" y="162"/>
                    </a:lnTo>
                    <a:lnTo>
                      <a:pt x="1066" y="161"/>
                    </a:lnTo>
                    <a:lnTo>
                      <a:pt x="1065" y="159"/>
                    </a:lnTo>
                    <a:lnTo>
                      <a:pt x="1065" y="158"/>
                    </a:lnTo>
                    <a:lnTo>
                      <a:pt x="1065" y="157"/>
                    </a:lnTo>
                    <a:lnTo>
                      <a:pt x="1066" y="157"/>
                    </a:lnTo>
                    <a:lnTo>
                      <a:pt x="1066" y="155"/>
                    </a:lnTo>
                    <a:lnTo>
                      <a:pt x="1066" y="155"/>
                    </a:lnTo>
                    <a:lnTo>
                      <a:pt x="1067" y="155"/>
                    </a:lnTo>
                    <a:lnTo>
                      <a:pt x="1067" y="154"/>
                    </a:lnTo>
                    <a:lnTo>
                      <a:pt x="1069" y="154"/>
                    </a:lnTo>
                    <a:lnTo>
                      <a:pt x="1070" y="154"/>
                    </a:lnTo>
                    <a:lnTo>
                      <a:pt x="1072" y="152"/>
                    </a:lnTo>
                    <a:lnTo>
                      <a:pt x="1073" y="151"/>
                    </a:lnTo>
                    <a:lnTo>
                      <a:pt x="1075" y="149"/>
                    </a:lnTo>
                    <a:lnTo>
                      <a:pt x="1075" y="148"/>
                    </a:lnTo>
                    <a:lnTo>
                      <a:pt x="1075" y="148"/>
                    </a:lnTo>
                    <a:lnTo>
                      <a:pt x="1073" y="14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9" name="Freeform 145">
                <a:extLst>
                  <a:ext uri="{FF2B5EF4-FFF2-40B4-BE49-F238E27FC236}">
                    <a16:creationId xmlns:a16="http://schemas.microsoft.com/office/drawing/2014/main" id="{F92A60D4-325A-E762-C583-99EDCA472138}"/>
                  </a:ext>
                </a:extLst>
              </p:cNvPr>
              <p:cNvSpPr>
                <a:spLocks noEditPoints="1"/>
              </p:cNvSpPr>
              <p:nvPr/>
            </p:nvSpPr>
            <p:spPr bwMode="auto">
              <a:xfrm>
                <a:off x="7360817" y="3152310"/>
                <a:ext cx="741778" cy="785156"/>
              </a:xfrm>
              <a:custGeom>
                <a:avLst/>
                <a:gdLst>
                  <a:gd name="T0" fmla="*/ 434 w 513"/>
                  <a:gd name="T1" fmla="*/ 447 h 543"/>
                  <a:gd name="T2" fmla="*/ 437 w 513"/>
                  <a:gd name="T3" fmla="*/ 451 h 543"/>
                  <a:gd name="T4" fmla="*/ 450 w 513"/>
                  <a:gd name="T5" fmla="*/ 533 h 543"/>
                  <a:gd name="T6" fmla="*/ 496 w 513"/>
                  <a:gd name="T7" fmla="*/ 139 h 543"/>
                  <a:gd name="T8" fmla="*/ 494 w 513"/>
                  <a:gd name="T9" fmla="*/ 125 h 543"/>
                  <a:gd name="T10" fmla="*/ 470 w 513"/>
                  <a:gd name="T11" fmla="*/ 126 h 543"/>
                  <a:gd name="T12" fmla="*/ 441 w 513"/>
                  <a:gd name="T13" fmla="*/ 137 h 543"/>
                  <a:gd name="T14" fmla="*/ 425 w 513"/>
                  <a:gd name="T15" fmla="*/ 152 h 543"/>
                  <a:gd name="T16" fmla="*/ 419 w 513"/>
                  <a:gd name="T17" fmla="*/ 165 h 543"/>
                  <a:gd name="T18" fmla="*/ 399 w 513"/>
                  <a:gd name="T19" fmla="*/ 174 h 543"/>
                  <a:gd name="T20" fmla="*/ 378 w 513"/>
                  <a:gd name="T21" fmla="*/ 174 h 543"/>
                  <a:gd name="T22" fmla="*/ 365 w 513"/>
                  <a:gd name="T23" fmla="*/ 162 h 543"/>
                  <a:gd name="T24" fmla="*/ 351 w 513"/>
                  <a:gd name="T25" fmla="*/ 152 h 543"/>
                  <a:gd name="T26" fmla="*/ 342 w 513"/>
                  <a:gd name="T27" fmla="*/ 181 h 543"/>
                  <a:gd name="T28" fmla="*/ 307 w 513"/>
                  <a:gd name="T29" fmla="*/ 172 h 543"/>
                  <a:gd name="T30" fmla="*/ 279 w 513"/>
                  <a:gd name="T31" fmla="*/ 160 h 543"/>
                  <a:gd name="T32" fmla="*/ 246 w 513"/>
                  <a:gd name="T33" fmla="*/ 152 h 543"/>
                  <a:gd name="T34" fmla="*/ 214 w 513"/>
                  <a:gd name="T35" fmla="*/ 137 h 543"/>
                  <a:gd name="T36" fmla="*/ 211 w 513"/>
                  <a:gd name="T37" fmla="*/ 98 h 543"/>
                  <a:gd name="T38" fmla="*/ 187 w 513"/>
                  <a:gd name="T39" fmla="*/ 83 h 543"/>
                  <a:gd name="T40" fmla="*/ 180 w 513"/>
                  <a:gd name="T41" fmla="*/ 62 h 543"/>
                  <a:gd name="T42" fmla="*/ 194 w 513"/>
                  <a:gd name="T43" fmla="*/ 57 h 543"/>
                  <a:gd name="T44" fmla="*/ 190 w 513"/>
                  <a:gd name="T45" fmla="*/ 29 h 543"/>
                  <a:gd name="T46" fmla="*/ 171 w 513"/>
                  <a:gd name="T47" fmla="*/ 4 h 543"/>
                  <a:gd name="T48" fmla="*/ 148 w 513"/>
                  <a:gd name="T49" fmla="*/ 19 h 543"/>
                  <a:gd name="T50" fmla="*/ 101 w 513"/>
                  <a:gd name="T51" fmla="*/ 32 h 543"/>
                  <a:gd name="T52" fmla="*/ 108 w 513"/>
                  <a:gd name="T53" fmla="*/ 56 h 543"/>
                  <a:gd name="T54" fmla="*/ 112 w 513"/>
                  <a:gd name="T55" fmla="*/ 76 h 543"/>
                  <a:gd name="T56" fmla="*/ 102 w 513"/>
                  <a:gd name="T57" fmla="*/ 105 h 543"/>
                  <a:gd name="T58" fmla="*/ 69 w 513"/>
                  <a:gd name="T59" fmla="*/ 144 h 543"/>
                  <a:gd name="T60" fmla="*/ 42 w 513"/>
                  <a:gd name="T61" fmla="*/ 148 h 543"/>
                  <a:gd name="T62" fmla="*/ 35 w 513"/>
                  <a:gd name="T63" fmla="*/ 178 h 543"/>
                  <a:gd name="T64" fmla="*/ 42 w 513"/>
                  <a:gd name="T65" fmla="*/ 194 h 543"/>
                  <a:gd name="T66" fmla="*/ 50 w 513"/>
                  <a:gd name="T67" fmla="*/ 220 h 543"/>
                  <a:gd name="T68" fmla="*/ 37 w 513"/>
                  <a:gd name="T69" fmla="*/ 220 h 543"/>
                  <a:gd name="T70" fmla="*/ 4 w 513"/>
                  <a:gd name="T71" fmla="*/ 228 h 543"/>
                  <a:gd name="T72" fmla="*/ 40 w 513"/>
                  <a:gd name="T73" fmla="*/ 246 h 543"/>
                  <a:gd name="T74" fmla="*/ 72 w 513"/>
                  <a:gd name="T75" fmla="*/ 264 h 543"/>
                  <a:gd name="T76" fmla="*/ 81 w 513"/>
                  <a:gd name="T77" fmla="*/ 303 h 543"/>
                  <a:gd name="T78" fmla="*/ 102 w 513"/>
                  <a:gd name="T79" fmla="*/ 388 h 543"/>
                  <a:gd name="T80" fmla="*/ 168 w 513"/>
                  <a:gd name="T81" fmla="*/ 519 h 543"/>
                  <a:gd name="T82" fmla="*/ 205 w 513"/>
                  <a:gd name="T83" fmla="*/ 453 h 543"/>
                  <a:gd name="T84" fmla="*/ 228 w 513"/>
                  <a:gd name="T85" fmla="*/ 377 h 543"/>
                  <a:gd name="T86" fmla="*/ 300 w 513"/>
                  <a:gd name="T87" fmla="*/ 310 h 543"/>
                  <a:gd name="T88" fmla="*/ 351 w 513"/>
                  <a:gd name="T89" fmla="*/ 263 h 543"/>
                  <a:gd name="T90" fmla="*/ 365 w 513"/>
                  <a:gd name="T91" fmla="*/ 272 h 543"/>
                  <a:gd name="T92" fmla="*/ 359 w 513"/>
                  <a:gd name="T93" fmla="*/ 234 h 543"/>
                  <a:gd name="T94" fmla="*/ 362 w 513"/>
                  <a:gd name="T95" fmla="*/ 204 h 543"/>
                  <a:gd name="T96" fmla="*/ 352 w 513"/>
                  <a:gd name="T97" fmla="*/ 187 h 543"/>
                  <a:gd name="T98" fmla="*/ 362 w 513"/>
                  <a:gd name="T99" fmla="*/ 183 h 543"/>
                  <a:gd name="T100" fmla="*/ 376 w 513"/>
                  <a:gd name="T101" fmla="*/ 185 h 543"/>
                  <a:gd name="T102" fmla="*/ 398 w 513"/>
                  <a:gd name="T103" fmla="*/ 206 h 543"/>
                  <a:gd name="T104" fmla="*/ 421 w 513"/>
                  <a:gd name="T105" fmla="*/ 218 h 543"/>
                  <a:gd name="T106" fmla="*/ 408 w 513"/>
                  <a:gd name="T107" fmla="*/ 227 h 543"/>
                  <a:gd name="T108" fmla="*/ 415 w 513"/>
                  <a:gd name="T109" fmla="*/ 240 h 543"/>
                  <a:gd name="T110" fmla="*/ 428 w 513"/>
                  <a:gd name="T111" fmla="*/ 251 h 543"/>
                  <a:gd name="T112" fmla="*/ 438 w 513"/>
                  <a:gd name="T113" fmla="*/ 256 h 543"/>
                  <a:gd name="T114" fmla="*/ 448 w 513"/>
                  <a:gd name="T115" fmla="*/ 227 h 543"/>
                  <a:gd name="T116" fmla="*/ 465 w 513"/>
                  <a:gd name="T117" fmla="*/ 204 h 543"/>
                  <a:gd name="T118" fmla="*/ 473 w 513"/>
                  <a:gd name="T119" fmla="*/ 184 h 543"/>
                  <a:gd name="T120" fmla="*/ 500 w 513"/>
                  <a:gd name="T121" fmla="*/ 162 h 543"/>
                  <a:gd name="T122" fmla="*/ 438 w 513"/>
                  <a:gd name="T123" fmla="*/ 516 h 543"/>
                  <a:gd name="T124" fmla="*/ 445 w 513"/>
                  <a:gd name="T125" fmla="*/ 51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3" h="543">
                    <a:moveTo>
                      <a:pt x="431" y="435"/>
                    </a:moveTo>
                    <a:lnTo>
                      <a:pt x="431" y="433"/>
                    </a:lnTo>
                    <a:lnTo>
                      <a:pt x="432" y="433"/>
                    </a:lnTo>
                    <a:lnTo>
                      <a:pt x="432" y="434"/>
                    </a:lnTo>
                    <a:lnTo>
                      <a:pt x="432" y="434"/>
                    </a:lnTo>
                    <a:lnTo>
                      <a:pt x="431" y="435"/>
                    </a:lnTo>
                    <a:close/>
                    <a:moveTo>
                      <a:pt x="438" y="423"/>
                    </a:moveTo>
                    <a:lnTo>
                      <a:pt x="435" y="425"/>
                    </a:lnTo>
                    <a:lnTo>
                      <a:pt x="434" y="431"/>
                    </a:lnTo>
                    <a:lnTo>
                      <a:pt x="432" y="437"/>
                    </a:lnTo>
                    <a:lnTo>
                      <a:pt x="432" y="441"/>
                    </a:lnTo>
                    <a:lnTo>
                      <a:pt x="432" y="443"/>
                    </a:lnTo>
                    <a:lnTo>
                      <a:pt x="432" y="446"/>
                    </a:lnTo>
                    <a:lnTo>
                      <a:pt x="432" y="446"/>
                    </a:lnTo>
                    <a:lnTo>
                      <a:pt x="432" y="446"/>
                    </a:lnTo>
                    <a:lnTo>
                      <a:pt x="432" y="446"/>
                    </a:lnTo>
                    <a:lnTo>
                      <a:pt x="431" y="447"/>
                    </a:lnTo>
                    <a:lnTo>
                      <a:pt x="431" y="447"/>
                    </a:lnTo>
                    <a:lnTo>
                      <a:pt x="431" y="448"/>
                    </a:lnTo>
                    <a:lnTo>
                      <a:pt x="431" y="450"/>
                    </a:lnTo>
                    <a:lnTo>
                      <a:pt x="431" y="450"/>
                    </a:lnTo>
                    <a:lnTo>
                      <a:pt x="430" y="453"/>
                    </a:lnTo>
                    <a:lnTo>
                      <a:pt x="430" y="454"/>
                    </a:lnTo>
                    <a:lnTo>
                      <a:pt x="430" y="456"/>
                    </a:lnTo>
                    <a:lnTo>
                      <a:pt x="431" y="458"/>
                    </a:lnTo>
                    <a:lnTo>
                      <a:pt x="432" y="457"/>
                    </a:lnTo>
                    <a:lnTo>
                      <a:pt x="432" y="454"/>
                    </a:lnTo>
                    <a:lnTo>
                      <a:pt x="432" y="451"/>
                    </a:lnTo>
                    <a:lnTo>
                      <a:pt x="432" y="450"/>
                    </a:lnTo>
                    <a:lnTo>
                      <a:pt x="432" y="448"/>
                    </a:lnTo>
                    <a:lnTo>
                      <a:pt x="434" y="447"/>
                    </a:lnTo>
                    <a:lnTo>
                      <a:pt x="435" y="446"/>
                    </a:lnTo>
                    <a:lnTo>
                      <a:pt x="435" y="446"/>
                    </a:lnTo>
                    <a:lnTo>
                      <a:pt x="434" y="444"/>
                    </a:lnTo>
                    <a:lnTo>
                      <a:pt x="434" y="443"/>
                    </a:lnTo>
                    <a:lnTo>
                      <a:pt x="435" y="443"/>
                    </a:lnTo>
                    <a:lnTo>
                      <a:pt x="435" y="441"/>
                    </a:lnTo>
                    <a:lnTo>
                      <a:pt x="435" y="441"/>
                    </a:lnTo>
                    <a:lnTo>
                      <a:pt x="437" y="440"/>
                    </a:lnTo>
                    <a:lnTo>
                      <a:pt x="437" y="438"/>
                    </a:lnTo>
                    <a:lnTo>
                      <a:pt x="437" y="434"/>
                    </a:lnTo>
                    <a:lnTo>
                      <a:pt x="435" y="434"/>
                    </a:lnTo>
                    <a:lnTo>
                      <a:pt x="435" y="433"/>
                    </a:lnTo>
                    <a:lnTo>
                      <a:pt x="435" y="433"/>
                    </a:lnTo>
                    <a:lnTo>
                      <a:pt x="435" y="433"/>
                    </a:lnTo>
                    <a:lnTo>
                      <a:pt x="437" y="431"/>
                    </a:lnTo>
                    <a:lnTo>
                      <a:pt x="437" y="431"/>
                    </a:lnTo>
                    <a:lnTo>
                      <a:pt x="438" y="427"/>
                    </a:lnTo>
                    <a:lnTo>
                      <a:pt x="438" y="424"/>
                    </a:lnTo>
                    <a:lnTo>
                      <a:pt x="438" y="423"/>
                    </a:lnTo>
                    <a:close/>
                    <a:moveTo>
                      <a:pt x="432" y="500"/>
                    </a:moveTo>
                    <a:lnTo>
                      <a:pt x="432" y="500"/>
                    </a:lnTo>
                    <a:lnTo>
                      <a:pt x="434" y="500"/>
                    </a:lnTo>
                    <a:lnTo>
                      <a:pt x="432" y="500"/>
                    </a:lnTo>
                    <a:lnTo>
                      <a:pt x="432" y="500"/>
                    </a:lnTo>
                    <a:close/>
                    <a:moveTo>
                      <a:pt x="437" y="450"/>
                    </a:moveTo>
                    <a:lnTo>
                      <a:pt x="437" y="450"/>
                    </a:lnTo>
                    <a:lnTo>
                      <a:pt x="437" y="450"/>
                    </a:lnTo>
                    <a:lnTo>
                      <a:pt x="437" y="450"/>
                    </a:lnTo>
                    <a:lnTo>
                      <a:pt x="437" y="450"/>
                    </a:lnTo>
                    <a:lnTo>
                      <a:pt x="437" y="451"/>
                    </a:lnTo>
                    <a:lnTo>
                      <a:pt x="437" y="451"/>
                    </a:lnTo>
                    <a:lnTo>
                      <a:pt x="438" y="451"/>
                    </a:lnTo>
                    <a:lnTo>
                      <a:pt x="438" y="451"/>
                    </a:lnTo>
                    <a:lnTo>
                      <a:pt x="437" y="450"/>
                    </a:lnTo>
                    <a:close/>
                    <a:moveTo>
                      <a:pt x="431" y="460"/>
                    </a:moveTo>
                    <a:lnTo>
                      <a:pt x="431" y="458"/>
                    </a:lnTo>
                    <a:lnTo>
                      <a:pt x="431" y="458"/>
                    </a:lnTo>
                    <a:lnTo>
                      <a:pt x="430" y="461"/>
                    </a:lnTo>
                    <a:lnTo>
                      <a:pt x="430" y="461"/>
                    </a:lnTo>
                    <a:lnTo>
                      <a:pt x="431" y="461"/>
                    </a:lnTo>
                    <a:lnTo>
                      <a:pt x="431" y="461"/>
                    </a:lnTo>
                    <a:lnTo>
                      <a:pt x="431" y="461"/>
                    </a:lnTo>
                    <a:lnTo>
                      <a:pt x="431" y="460"/>
                    </a:lnTo>
                    <a:lnTo>
                      <a:pt x="431" y="460"/>
                    </a:lnTo>
                    <a:close/>
                    <a:moveTo>
                      <a:pt x="427" y="470"/>
                    </a:moveTo>
                    <a:lnTo>
                      <a:pt x="427" y="471"/>
                    </a:lnTo>
                    <a:lnTo>
                      <a:pt x="427" y="471"/>
                    </a:lnTo>
                    <a:lnTo>
                      <a:pt x="425" y="473"/>
                    </a:lnTo>
                    <a:lnTo>
                      <a:pt x="427" y="476"/>
                    </a:lnTo>
                    <a:lnTo>
                      <a:pt x="428" y="476"/>
                    </a:lnTo>
                    <a:lnTo>
                      <a:pt x="430" y="473"/>
                    </a:lnTo>
                    <a:lnTo>
                      <a:pt x="428" y="470"/>
                    </a:lnTo>
                    <a:lnTo>
                      <a:pt x="427" y="470"/>
                    </a:lnTo>
                    <a:close/>
                    <a:moveTo>
                      <a:pt x="450" y="533"/>
                    </a:moveTo>
                    <a:lnTo>
                      <a:pt x="450" y="533"/>
                    </a:lnTo>
                    <a:lnTo>
                      <a:pt x="450" y="532"/>
                    </a:lnTo>
                    <a:lnTo>
                      <a:pt x="448" y="532"/>
                    </a:lnTo>
                    <a:lnTo>
                      <a:pt x="448" y="533"/>
                    </a:lnTo>
                    <a:lnTo>
                      <a:pt x="447" y="533"/>
                    </a:lnTo>
                    <a:lnTo>
                      <a:pt x="448" y="535"/>
                    </a:lnTo>
                    <a:lnTo>
                      <a:pt x="450" y="533"/>
                    </a:lnTo>
                    <a:lnTo>
                      <a:pt x="450" y="533"/>
                    </a:lnTo>
                    <a:close/>
                    <a:moveTo>
                      <a:pt x="513" y="147"/>
                    </a:moveTo>
                    <a:lnTo>
                      <a:pt x="513" y="145"/>
                    </a:lnTo>
                    <a:lnTo>
                      <a:pt x="513" y="145"/>
                    </a:lnTo>
                    <a:lnTo>
                      <a:pt x="513" y="145"/>
                    </a:lnTo>
                    <a:lnTo>
                      <a:pt x="513" y="145"/>
                    </a:lnTo>
                    <a:lnTo>
                      <a:pt x="513" y="144"/>
                    </a:lnTo>
                    <a:lnTo>
                      <a:pt x="510" y="142"/>
                    </a:lnTo>
                    <a:lnTo>
                      <a:pt x="509" y="142"/>
                    </a:lnTo>
                    <a:lnTo>
                      <a:pt x="509" y="142"/>
                    </a:lnTo>
                    <a:lnTo>
                      <a:pt x="507" y="142"/>
                    </a:lnTo>
                    <a:lnTo>
                      <a:pt x="507" y="142"/>
                    </a:lnTo>
                    <a:lnTo>
                      <a:pt x="504" y="142"/>
                    </a:lnTo>
                    <a:lnTo>
                      <a:pt x="503" y="142"/>
                    </a:lnTo>
                    <a:lnTo>
                      <a:pt x="503" y="141"/>
                    </a:lnTo>
                    <a:lnTo>
                      <a:pt x="501" y="141"/>
                    </a:lnTo>
                    <a:lnTo>
                      <a:pt x="501" y="139"/>
                    </a:lnTo>
                    <a:lnTo>
                      <a:pt x="500" y="139"/>
                    </a:lnTo>
                    <a:lnTo>
                      <a:pt x="497" y="141"/>
                    </a:lnTo>
                    <a:lnTo>
                      <a:pt x="497" y="141"/>
                    </a:lnTo>
                    <a:lnTo>
                      <a:pt x="497" y="141"/>
                    </a:lnTo>
                    <a:lnTo>
                      <a:pt x="497" y="142"/>
                    </a:lnTo>
                    <a:lnTo>
                      <a:pt x="496" y="142"/>
                    </a:lnTo>
                    <a:lnTo>
                      <a:pt x="496" y="141"/>
                    </a:lnTo>
                    <a:lnTo>
                      <a:pt x="496" y="141"/>
                    </a:lnTo>
                    <a:lnTo>
                      <a:pt x="496" y="141"/>
                    </a:lnTo>
                    <a:lnTo>
                      <a:pt x="494" y="141"/>
                    </a:lnTo>
                    <a:lnTo>
                      <a:pt x="494" y="141"/>
                    </a:lnTo>
                    <a:lnTo>
                      <a:pt x="494" y="141"/>
                    </a:lnTo>
                    <a:lnTo>
                      <a:pt x="496" y="139"/>
                    </a:lnTo>
                    <a:lnTo>
                      <a:pt x="496" y="139"/>
                    </a:lnTo>
                    <a:lnTo>
                      <a:pt x="496" y="139"/>
                    </a:lnTo>
                    <a:lnTo>
                      <a:pt x="496" y="138"/>
                    </a:lnTo>
                    <a:lnTo>
                      <a:pt x="497" y="137"/>
                    </a:lnTo>
                    <a:lnTo>
                      <a:pt x="498" y="135"/>
                    </a:lnTo>
                    <a:lnTo>
                      <a:pt x="498" y="135"/>
                    </a:lnTo>
                    <a:lnTo>
                      <a:pt x="500" y="134"/>
                    </a:lnTo>
                    <a:lnTo>
                      <a:pt x="500" y="134"/>
                    </a:lnTo>
                    <a:lnTo>
                      <a:pt x="500" y="132"/>
                    </a:lnTo>
                    <a:lnTo>
                      <a:pt x="498" y="132"/>
                    </a:lnTo>
                    <a:lnTo>
                      <a:pt x="498" y="131"/>
                    </a:lnTo>
                    <a:lnTo>
                      <a:pt x="498" y="129"/>
                    </a:lnTo>
                    <a:lnTo>
                      <a:pt x="498" y="129"/>
                    </a:lnTo>
                    <a:lnTo>
                      <a:pt x="497" y="129"/>
                    </a:lnTo>
                    <a:lnTo>
                      <a:pt x="496" y="129"/>
                    </a:lnTo>
                    <a:lnTo>
                      <a:pt x="496" y="129"/>
                    </a:lnTo>
                    <a:lnTo>
                      <a:pt x="494" y="129"/>
                    </a:lnTo>
                    <a:lnTo>
                      <a:pt x="493" y="131"/>
                    </a:lnTo>
                    <a:lnTo>
                      <a:pt x="491" y="131"/>
                    </a:lnTo>
                    <a:lnTo>
                      <a:pt x="493" y="131"/>
                    </a:lnTo>
                    <a:lnTo>
                      <a:pt x="491" y="129"/>
                    </a:lnTo>
                    <a:lnTo>
                      <a:pt x="491" y="128"/>
                    </a:lnTo>
                    <a:lnTo>
                      <a:pt x="491" y="128"/>
                    </a:lnTo>
                    <a:lnTo>
                      <a:pt x="493" y="126"/>
                    </a:lnTo>
                    <a:lnTo>
                      <a:pt x="494" y="126"/>
                    </a:lnTo>
                    <a:lnTo>
                      <a:pt x="494" y="126"/>
                    </a:lnTo>
                    <a:lnTo>
                      <a:pt x="496" y="125"/>
                    </a:lnTo>
                    <a:lnTo>
                      <a:pt x="496" y="125"/>
                    </a:lnTo>
                    <a:lnTo>
                      <a:pt x="496" y="125"/>
                    </a:lnTo>
                    <a:lnTo>
                      <a:pt x="496" y="125"/>
                    </a:lnTo>
                    <a:lnTo>
                      <a:pt x="496" y="125"/>
                    </a:lnTo>
                    <a:lnTo>
                      <a:pt x="496" y="125"/>
                    </a:lnTo>
                    <a:lnTo>
                      <a:pt x="494" y="125"/>
                    </a:lnTo>
                    <a:lnTo>
                      <a:pt x="494" y="125"/>
                    </a:lnTo>
                    <a:lnTo>
                      <a:pt x="493" y="125"/>
                    </a:lnTo>
                    <a:lnTo>
                      <a:pt x="493" y="124"/>
                    </a:lnTo>
                    <a:lnTo>
                      <a:pt x="493" y="124"/>
                    </a:lnTo>
                    <a:lnTo>
                      <a:pt x="493" y="124"/>
                    </a:lnTo>
                    <a:lnTo>
                      <a:pt x="493" y="122"/>
                    </a:lnTo>
                    <a:lnTo>
                      <a:pt x="491" y="122"/>
                    </a:lnTo>
                    <a:lnTo>
                      <a:pt x="491" y="122"/>
                    </a:lnTo>
                    <a:lnTo>
                      <a:pt x="491" y="121"/>
                    </a:lnTo>
                    <a:lnTo>
                      <a:pt x="490" y="121"/>
                    </a:lnTo>
                    <a:lnTo>
                      <a:pt x="488" y="121"/>
                    </a:lnTo>
                    <a:lnTo>
                      <a:pt x="484" y="124"/>
                    </a:lnTo>
                    <a:lnTo>
                      <a:pt x="481" y="125"/>
                    </a:lnTo>
                    <a:lnTo>
                      <a:pt x="481" y="126"/>
                    </a:lnTo>
                    <a:lnTo>
                      <a:pt x="481" y="126"/>
                    </a:lnTo>
                    <a:lnTo>
                      <a:pt x="481" y="126"/>
                    </a:lnTo>
                    <a:lnTo>
                      <a:pt x="480" y="126"/>
                    </a:lnTo>
                    <a:lnTo>
                      <a:pt x="480" y="128"/>
                    </a:lnTo>
                    <a:lnTo>
                      <a:pt x="480" y="128"/>
                    </a:lnTo>
                    <a:lnTo>
                      <a:pt x="480" y="128"/>
                    </a:lnTo>
                    <a:lnTo>
                      <a:pt x="480" y="128"/>
                    </a:lnTo>
                    <a:lnTo>
                      <a:pt x="478" y="129"/>
                    </a:lnTo>
                    <a:lnTo>
                      <a:pt x="478" y="129"/>
                    </a:lnTo>
                    <a:lnTo>
                      <a:pt x="478" y="129"/>
                    </a:lnTo>
                    <a:lnTo>
                      <a:pt x="477" y="128"/>
                    </a:lnTo>
                    <a:lnTo>
                      <a:pt x="477" y="128"/>
                    </a:lnTo>
                    <a:lnTo>
                      <a:pt x="474" y="128"/>
                    </a:lnTo>
                    <a:lnTo>
                      <a:pt x="473" y="126"/>
                    </a:lnTo>
                    <a:lnTo>
                      <a:pt x="473" y="126"/>
                    </a:lnTo>
                    <a:lnTo>
                      <a:pt x="471" y="126"/>
                    </a:lnTo>
                    <a:lnTo>
                      <a:pt x="470" y="126"/>
                    </a:lnTo>
                    <a:lnTo>
                      <a:pt x="468" y="126"/>
                    </a:lnTo>
                    <a:lnTo>
                      <a:pt x="468" y="125"/>
                    </a:lnTo>
                    <a:lnTo>
                      <a:pt x="467" y="124"/>
                    </a:lnTo>
                    <a:lnTo>
                      <a:pt x="467" y="124"/>
                    </a:lnTo>
                    <a:lnTo>
                      <a:pt x="465" y="124"/>
                    </a:lnTo>
                    <a:lnTo>
                      <a:pt x="465" y="124"/>
                    </a:lnTo>
                    <a:lnTo>
                      <a:pt x="465" y="124"/>
                    </a:lnTo>
                    <a:lnTo>
                      <a:pt x="463" y="125"/>
                    </a:lnTo>
                    <a:lnTo>
                      <a:pt x="461" y="125"/>
                    </a:lnTo>
                    <a:lnTo>
                      <a:pt x="461" y="126"/>
                    </a:lnTo>
                    <a:lnTo>
                      <a:pt x="460" y="126"/>
                    </a:lnTo>
                    <a:lnTo>
                      <a:pt x="458" y="128"/>
                    </a:lnTo>
                    <a:lnTo>
                      <a:pt x="458" y="128"/>
                    </a:lnTo>
                    <a:lnTo>
                      <a:pt x="457" y="129"/>
                    </a:lnTo>
                    <a:lnTo>
                      <a:pt x="457" y="129"/>
                    </a:lnTo>
                    <a:lnTo>
                      <a:pt x="455" y="131"/>
                    </a:lnTo>
                    <a:lnTo>
                      <a:pt x="455" y="131"/>
                    </a:lnTo>
                    <a:lnTo>
                      <a:pt x="455" y="131"/>
                    </a:lnTo>
                    <a:lnTo>
                      <a:pt x="454" y="131"/>
                    </a:lnTo>
                    <a:lnTo>
                      <a:pt x="454" y="131"/>
                    </a:lnTo>
                    <a:lnTo>
                      <a:pt x="454" y="132"/>
                    </a:lnTo>
                    <a:lnTo>
                      <a:pt x="454" y="132"/>
                    </a:lnTo>
                    <a:lnTo>
                      <a:pt x="454" y="132"/>
                    </a:lnTo>
                    <a:lnTo>
                      <a:pt x="452" y="134"/>
                    </a:lnTo>
                    <a:lnTo>
                      <a:pt x="451" y="134"/>
                    </a:lnTo>
                    <a:lnTo>
                      <a:pt x="450" y="135"/>
                    </a:lnTo>
                    <a:lnTo>
                      <a:pt x="450" y="135"/>
                    </a:lnTo>
                    <a:lnTo>
                      <a:pt x="448" y="135"/>
                    </a:lnTo>
                    <a:lnTo>
                      <a:pt x="442" y="137"/>
                    </a:lnTo>
                    <a:lnTo>
                      <a:pt x="442" y="137"/>
                    </a:lnTo>
                    <a:lnTo>
                      <a:pt x="441" y="137"/>
                    </a:lnTo>
                    <a:lnTo>
                      <a:pt x="441" y="137"/>
                    </a:lnTo>
                    <a:lnTo>
                      <a:pt x="441" y="137"/>
                    </a:lnTo>
                    <a:lnTo>
                      <a:pt x="440" y="138"/>
                    </a:lnTo>
                    <a:lnTo>
                      <a:pt x="440" y="139"/>
                    </a:lnTo>
                    <a:lnTo>
                      <a:pt x="440" y="141"/>
                    </a:lnTo>
                    <a:lnTo>
                      <a:pt x="438" y="141"/>
                    </a:lnTo>
                    <a:lnTo>
                      <a:pt x="438" y="142"/>
                    </a:lnTo>
                    <a:lnTo>
                      <a:pt x="438" y="142"/>
                    </a:lnTo>
                    <a:lnTo>
                      <a:pt x="437" y="144"/>
                    </a:lnTo>
                    <a:lnTo>
                      <a:pt x="435" y="145"/>
                    </a:lnTo>
                    <a:lnTo>
                      <a:pt x="431" y="147"/>
                    </a:lnTo>
                    <a:lnTo>
                      <a:pt x="431" y="147"/>
                    </a:lnTo>
                    <a:lnTo>
                      <a:pt x="431" y="147"/>
                    </a:lnTo>
                    <a:lnTo>
                      <a:pt x="431" y="147"/>
                    </a:lnTo>
                    <a:lnTo>
                      <a:pt x="431" y="148"/>
                    </a:lnTo>
                    <a:lnTo>
                      <a:pt x="431" y="148"/>
                    </a:lnTo>
                    <a:lnTo>
                      <a:pt x="431" y="148"/>
                    </a:lnTo>
                    <a:lnTo>
                      <a:pt x="431" y="148"/>
                    </a:lnTo>
                    <a:lnTo>
                      <a:pt x="431" y="148"/>
                    </a:lnTo>
                    <a:lnTo>
                      <a:pt x="431" y="148"/>
                    </a:lnTo>
                    <a:lnTo>
                      <a:pt x="431" y="148"/>
                    </a:lnTo>
                    <a:lnTo>
                      <a:pt x="431" y="148"/>
                    </a:lnTo>
                    <a:lnTo>
                      <a:pt x="431" y="148"/>
                    </a:lnTo>
                    <a:lnTo>
                      <a:pt x="431" y="149"/>
                    </a:lnTo>
                    <a:lnTo>
                      <a:pt x="431" y="149"/>
                    </a:lnTo>
                    <a:lnTo>
                      <a:pt x="431" y="149"/>
                    </a:lnTo>
                    <a:lnTo>
                      <a:pt x="431" y="149"/>
                    </a:lnTo>
                    <a:lnTo>
                      <a:pt x="430" y="151"/>
                    </a:lnTo>
                    <a:lnTo>
                      <a:pt x="428" y="152"/>
                    </a:lnTo>
                    <a:lnTo>
                      <a:pt x="427" y="152"/>
                    </a:lnTo>
                    <a:lnTo>
                      <a:pt x="425" y="152"/>
                    </a:lnTo>
                    <a:lnTo>
                      <a:pt x="424" y="152"/>
                    </a:lnTo>
                    <a:lnTo>
                      <a:pt x="424" y="152"/>
                    </a:lnTo>
                    <a:lnTo>
                      <a:pt x="422" y="152"/>
                    </a:lnTo>
                    <a:lnTo>
                      <a:pt x="422" y="152"/>
                    </a:lnTo>
                    <a:lnTo>
                      <a:pt x="422" y="152"/>
                    </a:lnTo>
                    <a:lnTo>
                      <a:pt x="421" y="152"/>
                    </a:lnTo>
                    <a:lnTo>
                      <a:pt x="421" y="154"/>
                    </a:lnTo>
                    <a:lnTo>
                      <a:pt x="419" y="154"/>
                    </a:lnTo>
                    <a:lnTo>
                      <a:pt x="418" y="154"/>
                    </a:lnTo>
                    <a:lnTo>
                      <a:pt x="418" y="154"/>
                    </a:lnTo>
                    <a:lnTo>
                      <a:pt x="415" y="154"/>
                    </a:lnTo>
                    <a:lnTo>
                      <a:pt x="414" y="154"/>
                    </a:lnTo>
                    <a:lnTo>
                      <a:pt x="412" y="154"/>
                    </a:lnTo>
                    <a:lnTo>
                      <a:pt x="412" y="155"/>
                    </a:lnTo>
                    <a:lnTo>
                      <a:pt x="412" y="155"/>
                    </a:lnTo>
                    <a:lnTo>
                      <a:pt x="412" y="157"/>
                    </a:lnTo>
                    <a:lnTo>
                      <a:pt x="412" y="157"/>
                    </a:lnTo>
                    <a:lnTo>
                      <a:pt x="412" y="158"/>
                    </a:lnTo>
                    <a:lnTo>
                      <a:pt x="412" y="158"/>
                    </a:lnTo>
                    <a:lnTo>
                      <a:pt x="414" y="160"/>
                    </a:lnTo>
                    <a:lnTo>
                      <a:pt x="414" y="160"/>
                    </a:lnTo>
                    <a:lnTo>
                      <a:pt x="415" y="160"/>
                    </a:lnTo>
                    <a:lnTo>
                      <a:pt x="417" y="160"/>
                    </a:lnTo>
                    <a:lnTo>
                      <a:pt x="418" y="160"/>
                    </a:lnTo>
                    <a:lnTo>
                      <a:pt x="419" y="161"/>
                    </a:lnTo>
                    <a:lnTo>
                      <a:pt x="419" y="161"/>
                    </a:lnTo>
                    <a:lnTo>
                      <a:pt x="421" y="162"/>
                    </a:lnTo>
                    <a:lnTo>
                      <a:pt x="421" y="162"/>
                    </a:lnTo>
                    <a:lnTo>
                      <a:pt x="421" y="164"/>
                    </a:lnTo>
                    <a:lnTo>
                      <a:pt x="419" y="164"/>
                    </a:lnTo>
                    <a:lnTo>
                      <a:pt x="419" y="165"/>
                    </a:lnTo>
                    <a:lnTo>
                      <a:pt x="419" y="165"/>
                    </a:lnTo>
                    <a:lnTo>
                      <a:pt x="419" y="167"/>
                    </a:lnTo>
                    <a:lnTo>
                      <a:pt x="419" y="167"/>
                    </a:lnTo>
                    <a:lnTo>
                      <a:pt x="419" y="167"/>
                    </a:lnTo>
                    <a:lnTo>
                      <a:pt x="419" y="167"/>
                    </a:lnTo>
                    <a:lnTo>
                      <a:pt x="419" y="167"/>
                    </a:lnTo>
                    <a:lnTo>
                      <a:pt x="419" y="167"/>
                    </a:lnTo>
                    <a:lnTo>
                      <a:pt x="419" y="168"/>
                    </a:lnTo>
                    <a:lnTo>
                      <a:pt x="419" y="168"/>
                    </a:lnTo>
                    <a:lnTo>
                      <a:pt x="419" y="168"/>
                    </a:lnTo>
                    <a:lnTo>
                      <a:pt x="421" y="170"/>
                    </a:lnTo>
                    <a:lnTo>
                      <a:pt x="421" y="171"/>
                    </a:lnTo>
                    <a:lnTo>
                      <a:pt x="419" y="171"/>
                    </a:lnTo>
                    <a:lnTo>
                      <a:pt x="418" y="171"/>
                    </a:lnTo>
                    <a:lnTo>
                      <a:pt x="418" y="171"/>
                    </a:lnTo>
                    <a:lnTo>
                      <a:pt x="417" y="171"/>
                    </a:lnTo>
                    <a:lnTo>
                      <a:pt x="417" y="172"/>
                    </a:lnTo>
                    <a:lnTo>
                      <a:pt x="415" y="172"/>
                    </a:lnTo>
                    <a:lnTo>
                      <a:pt x="414" y="172"/>
                    </a:lnTo>
                    <a:lnTo>
                      <a:pt x="412" y="172"/>
                    </a:lnTo>
                    <a:lnTo>
                      <a:pt x="411" y="172"/>
                    </a:lnTo>
                    <a:lnTo>
                      <a:pt x="411" y="172"/>
                    </a:lnTo>
                    <a:lnTo>
                      <a:pt x="411" y="172"/>
                    </a:lnTo>
                    <a:lnTo>
                      <a:pt x="411" y="172"/>
                    </a:lnTo>
                    <a:lnTo>
                      <a:pt x="409" y="172"/>
                    </a:lnTo>
                    <a:lnTo>
                      <a:pt x="409" y="171"/>
                    </a:lnTo>
                    <a:lnTo>
                      <a:pt x="409" y="171"/>
                    </a:lnTo>
                    <a:lnTo>
                      <a:pt x="409" y="171"/>
                    </a:lnTo>
                    <a:lnTo>
                      <a:pt x="407" y="172"/>
                    </a:lnTo>
                    <a:lnTo>
                      <a:pt x="405" y="172"/>
                    </a:lnTo>
                    <a:lnTo>
                      <a:pt x="399" y="174"/>
                    </a:lnTo>
                    <a:lnTo>
                      <a:pt x="396" y="174"/>
                    </a:lnTo>
                    <a:lnTo>
                      <a:pt x="396" y="174"/>
                    </a:lnTo>
                    <a:lnTo>
                      <a:pt x="395" y="174"/>
                    </a:lnTo>
                    <a:lnTo>
                      <a:pt x="395" y="172"/>
                    </a:lnTo>
                    <a:lnTo>
                      <a:pt x="395" y="172"/>
                    </a:lnTo>
                    <a:lnTo>
                      <a:pt x="394" y="172"/>
                    </a:lnTo>
                    <a:lnTo>
                      <a:pt x="394" y="172"/>
                    </a:lnTo>
                    <a:lnTo>
                      <a:pt x="394" y="172"/>
                    </a:lnTo>
                    <a:lnTo>
                      <a:pt x="392" y="171"/>
                    </a:lnTo>
                    <a:lnTo>
                      <a:pt x="391" y="171"/>
                    </a:lnTo>
                    <a:lnTo>
                      <a:pt x="389" y="171"/>
                    </a:lnTo>
                    <a:lnTo>
                      <a:pt x="389" y="171"/>
                    </a:lnTo>
                    <a:lnTo>
                      <a:pt x="388" y="171"/>
                    </a:lnTo>
                    <a:lnTo>
                      <a:pt x="388" y="172"/>
                    </a:lnTo>
                    <a:lnTo>
                      <a:pt x="386" y="172"/>
                    </a:lnTo>
                    <a:lnTo>
                      <a:pt x="386" y="172"/>
                    </a:lnTo>
                    <a:lnTo>
                      <a:pt x="386" y="174"/>
                    </a:lnTo>
                    <a:lnTo>
                      <a:pt x="384" y="174"/>
                    </a:lnTo>
                    <a:lnTo>
                      <a:pt x="382" y="174"/>
                    </a:lnTo>
                    <a:lnTo>
                      <a:pt x="381" y="174"/>
                    </a:lnTo>
                    <a:lnTo>
                      <a:pt x="381" y="175"/>
                    </a:lnTo>
                    <a:lnTo>
                      <a:pt x="379" y="175"/>
                    </a:lnTo>
                    <a:lnTo>
                      <a:pt x="379" y="174"/>
                    </a:lnTo>
                    <a:lnTo>
                      <a:pt x="379" y="174"/>
                    </a:lnTo>
                    <a:lnTo>
                      <a:pt x="379" y="174"/>
                    </a:lnTo>
                    <a:lnTo>
                      <a:pt x="378" y="174"/>
                    </a:lnTo>
                    <a:lnTo>
                      <a:pt x="378" y="174"/>
                    </a:lnTo>
                    <a:lnTo>
                      <a:pt x="378" y="174"/>
                    </a:lnTo>
                    <a:lnTo>
                      <a:pt x="378" y="174"/>
                    </a:lnTo>
                    <a:lnTo>
                      <a:pt x="378" y="174"/>
                    </a:lnTo>
                    <a:lnTo>
                      <a:pt x="378" y="174"/>
                    </a:lnTo>
                    <a:lnTo>
                      <a:pt x="378" y="174"/>
                    </a:lnTo>
                    <a:lnTo>
                      <a:pt x="378" y="174"/>
                    </a:lnTo>
                    <a:lnTo>
                      <a:pt x="376" y="174"/>
                    </a:lnTo>
                    <a:lnTo>
                      <a:pt x="376" y="174"/>
                    </a:lnTo>
                    <a:lnTo>
                      <a:pt x="375" y="172"/>
                    </a:lnTo>
                    <a:lnTo>
                      <a:pt x="374" y="172"/>
                    </a:lnTo>
                    <a:lnTo>
                      <a:pt x="374" y="172"/>
                    </a:lnTo>
                    <a:lnTo>
                      <a:pt x="372" y="172"/>
                    </a:lnTo>
                    <a:lnTo>
                      <a:pt x="372" y="172"/>
                    </a:lnTo>
                    <a:lnTo>
                      <a:pt x="371" y="172"/>
                    </a:lnTo>
                    <a:lnTo>
                      <a:pt x="371" y="172"/>
                    </a:lnTo>
                    <a:lnTo>
                      <a:pt x="369" y="172"/>
                    </a:lnTo>
                    <a:lnTo>
                      <a:pt x="369" y="172"/>
                    </a:lnTo>
                    <a:lnTo>
                      <a:pt x="368" y="172"/>
                    </a:lnTo>
                    <a:lnTo>
                      <a:pt x="366" y="171"/>
                    </a:lnTo>
                    <a:lnTo>
                      <a:pt x="366" y="171"/>
                    </a:lnTo>
                    <a:lnTo>
                      <a:pt x="363" y="170"/>
                    </a:lnTo>
                    <a:lnTo>
                      <a:pt x="363" y="168"/>
                    </a:lnTo>
                    <a:lnTo>
                      <a:pt x="363" y="168"/>
                    </a:lnTo>
                    <a:lnTo>
                      <a:pt x="363" y="167"/>
                    </a:lnTo>
                    <a:lnTo>
                      <a:pt x="363" y="167"/>
                    </a:lnTo>
                    <a:lnTo>
                      <a:pt x="363" y="167"/>
                    </a:lnTo>
                    <a:lnTo>
                      <a:pt x="363" y="167"/>
                    </a:lnTo>
                    <a:lnTo>
                      <a:pt x="362" y="167"/>
                    </a:lnTo>
                    <a:lnTo>
                      <a:pt x="362" y="165"/>
                    </a:lnTo>
                    <a:lnTo>
                      <a:pt x="362" y="165"/>
                    </a:lnTo>
                    <a:lnTo>
                      <a:pt x="362" y="165"/>
                    </a:lnTo>
                    <a:lnTo>
                      <a:pt x="363" y="164"/>
                    </a:lnTo>
                    <a:lnTo>
                      <a:pt x="363" y="164"/>
                    </a:lnTo>
                    <a:lnTo>
                      <a:pt x="365" y="162"/>
                    </a:lnTo>
                    <a:lnTo>
                      <a:pt x="365" y="162"/>
                    </a:lnTo>
                    <a:lnTo>
                      <a:pt x="363" y="161"/>
                    </a:lnTo>
                    <a:lnTo>
                      <a:pt x="362" y="160"/>
                    </a:lnTo>
                    <a:lnTo>
                      <a:pt x="362" y="158"/>
                    </a:lnTo>
                    <a:lnTo>
                      <a:pt x="363" y="157"/>
                    </a:lnTo>
                    <a:lnTo>
                      <a:pt x="363" y="154"/>
                    </a:lnTo>
                    <a:lnTo>
                      <a:pt x="363" y="152"/>
                    </a:lnTo>
                    <a:lnTo>
                      <a:pt x="363" y="151"/>
                    </a:lnTo>
                    <a:lnTo>
                      <a:pt x="363" y="151"/>
                    </a:lnTo>
                    <a:lnTo>
                      <a:pt x="363" y="149"/>
                    </a:lnTo>
                    <a:lnTo>
                      <a:pt x="363" y="149"/>
                    </a:lnTo>
                    <a:lnTo>
                      <a:pt x="363" y="149"/>
                    </a:lnTo>
                    <a:lnTo>
                      <a:pt x="362" y="148"/>
                    </a:lnTo>
                    <a:lnTo>
                      <a:pt x="362" y="148"/>
                    </a:lnTo>
                    <a:lnTo>
                      <a:pt x="359" y="147"/>
                    </a:lnTo>
                    <a:lnTo>
                      <a:pt x="359" y="147"/>
                    </a:lnTo>
                    <a:lnTo>
                      <a:pt x="359" y="147"/>
                    </a:lnTo>
                    <a:lnTo>
                      <a:pt x="359" y="148"/>
                    </a:lnTo>
                    <a:lnTo>
                      <a:pt x="358" y="148"/>
                    </a:lnTo>
                    <a:lnTo>
                      <a:pt x="358" y="148"/>
                    </a:lnTo>
                    <a:lnTo>
                      <a:pt x="356" y="149"/>
                    </a:lnTo>
                    <a:lnTo>
                      <a:pt x="353" y="149"/>
                    </a:lnTo>
                    <a:lnTo>
                      <a:pt x="353" y="149"/>
                    </a:lnTo>
                    <a:lnTo>
                      <a:pt x="352" y="149"/>
                    </a:lnTo>
                    <a:lnTo>
                      <a:pt x="352" y="149"/>
                    </a:lnTo>
                    <a:lnTo>
                      <a:pt x="352" y="149"/>
                    </a:lnTo>
                    <a:lnTo>
                      <a:pt x="351" y="149"/>
                    </a:lnTo>
                    <a:lnTo>
                      <a:pt x="351" y="151"/>
                    </a:lnTo>
                    <a:lnTo>
                      <a:pt x="351" y="151"/>
                    </a:lnTo>
                    <a:lnTo>
                      <a:pt x="351" y="151"/>
                    </a:lnTo>
                    <a:lnTo>
                      <a:pt x="351" y="152"/>
                    </a:lnTo>
                    <a:lnTo>
                      <a:pt x="351" y="152"/>
                    </a:lnTo>
                    <a:lnTo>
                      <a:pt x="352" y="152"/>
                    </a:lnTo>
                    <a:lnTo>
                      <a:pt x="352" y="152"/>
                    </a:lnTo>
                    <a:lnTo>
                      <a:pt x="352" y="155"/>
                    </a:lnTo>
                    <a:lnTo>
                      <a:pt x="349" y="160"/>
                    </a:lnTo>
                    <a:lnTo>
                      <a:pt x="349" y="161"/>
                    </a:lnTo>
                    <a:lnTo>
                      <a:pt x="349" y="164"/>
                    </a:lnTo>
                    <a:lnTo>
                      <a:pt x="349" y="164"/>
                    </a:lnTo>
                    <a:lnTo>
                      <a:pt x="349" y="165"/>
                    </a:lnTo>
                    <a:lnTo>
                      <a:pt x="349" y="167"/>
                    </a:lnTo>
                    <a:lnTo>
                      <a:pt x="349" y="167"/>
                    </a:lnTo>
                    <a:lnTo>
                      <a:pt x="351" y="170"/>
                    </a:lnTo>
                    <a:lnTo>
                      <a:pt x="351" y="170"/>
                    </a:lnTo>
                    <a:lnTo>
                      <a:pt x="352" y="171"/>
                    </a:lnTo>
                    <a:lnTo>
                      <a:pt x="352" y="172"/>
                    </a:lnTo>
                    <a:lnTo>
                      <a:pt x="352" y="172"/>
                    </a:lnTo>
                    <a:lnTo>
                      <a:pt x="352" y="174"/>
                    </a:lnTo>
                    <a:lnTo>
                      <a:pt x="352" y="174"/>
                    </a:lnTo>
                    <a:lnTo>
                      <a:pt x="351" y="177"/>
                    </a:lnTo>
                    <a:lnTo>
                      <a:pt x="351" y="178"/>
                    </a:lnTo>
                    <a:lnTo>
                      <a:pt x="351" y="180"/>
                    </a:lnTo>
                    <a:lnTo>
                      <a:pt x="351" y="180"/>
                    </a:lnTo>
                    <a:lnTo>
                      <a:pt x="349" y="180"/>
                    </a:lnTo>
                    <a:lnTo>
                      <a:pt x="349" y="181"/>
                    </a:lnTo>
                    <a:lnTo>
                      <a:pt x="349" y="181"/>
                    </a:lnTo>
                    <a:lnTo>
                      <a:pt x="348" y="181"/>
                    </a:lnTo>
                    <a:lnTo>
                      <a:pt x="348" y="181"/>
                    </a:lnTo>
                    <a:lnTo>
                      <a:pt x="346" y="180"/>
                    </a:lnTo>
                    <a:lnTo>
                      <a:pt x="345" y="180"/>
                    </a:lnTo>
                    <a:lnTo>
                      <a:pt x="345" y="180"/>
                    </a:lnTo>
                    <a:lnTo>
                      <a:pt x="343" y="180"/>
                    </a:lnTo>
                    <a:lnTo>
                      <a:pt x="342" y="181"/>
                    </a:lnTo>
                    <a:lnTo>
                      <a:pt x="340" y="181"/>
                    </a:lnTo>
                    <a:lnTo>
                      <a:pt x="339" y="181"/>
                    </a:lnTo>
                    <a:lnTo>
                      <a:pt x="339" y="180"/>
                    </a:lnTo>
                    <a:lnTo>
                      <a:pt x="338" y="181"/>
                    </a:lnTo>
                    <a:lnTo>
                      <a:pt x="338" y="181"/>
                    </a:lnTo>
                    <a:lnTo>
                      <a:pt x="336" y="181"/>
                    </a:lnTo>
                    <a:lnTo>
                      <a:pt x="335" y="181"/>
                    </a:lnTo>
                    <a:lnTo>
                      <a:pt x="335" y="181"/>
                    </a:lnTo>
                    <a:lnTo>
                      <a:pt x="335" y="181"/>
                    </a:lnTo>
                    <a:lnTo>
                      <a:pt x="333" y="180"/>
                    </a:lnTo>
                    <a:lnTo>
                      <a:pt x="333" y="180"/>
                    </a:lnTo>
                    <a:lnTo>
                      <a:pt x="332" y="178"/>
                    </a:lnTo>
                    <a:lnTo>
                      <a:pt x="332" y="178"/>
                    </a:lnTo>
                    <a:lnTo>
                      <a:pt x="332" y="178"/>
                    </a:lnTo>
                    <a:lnTo>
                      <a:pt x="332" y="178"/>
                    </a:lnTo>
                    <a:lnTo>
                      <a:pt x="332" y="178"/>
                    </a:lnTo>
                    <a:lnTo>
                      <a:pt x="329" y="178"/>
                    </a:lnTo>
                    <a:lnTo>
                      <a:pt x="328" y="180"/>
                    </a:lnTo>
                    <a:lnTo>
                      <a:pt x="326" y="180"/>
                    </a:lnTo>
                    <a:lnTo>
                      <a:pt x="323" y="178"/>
                    </a:lnTo>
                    <a:lnTo>
                      <a:pt x="322" y="178"/>
                    </a:lnTo>
                    <a:lnTo>
                      <a:pt x="320" y="177"/>
                    </a:lnTo>
                    <a:lnTo>
                      <a:pt x="315" y="177"/>
                    </a:lnTo>
                    <a:lnTo>
                      <a:pt x="315" y="175"/>
                    </a:lnTo>
                    <a:lnTo>
                      <a:pt x="313" y="175"/>
                    </a:lnTo>
                    <a:lnTo>
                      <a:pt x="313" y="175"/>
                    </a:lnTo>
                    <a:lnTo>
                      <a:pt x="313" y="177"/>
                    </a:lnTo>
                    <a:lnTo>
                      <a:pt x="310" y="177"/>
                    </a:lnTo>
                    <a:lnTo>
                      <a:pt x="309" y="175"/>
                    </a:lnTo>
                    <a:lnTo>
                      <a:pt x="307" y="172"/>
                    </a:lnTo>
                    <a:lnTo>
                      <a:pt x="307" y="172"/>
                    </a:lnTo>
                    <a:lnTo>
                      <a:pt x="306" y="172"/>
                    </a:lnTo>
                    <a:lnTo>
                      <a:pt x="306" y="172"/>
                    </a:lnTo>
                    <a:lnTo>
                      <a:pt x="305" y="172"/>
                    </a:lnTo>
                    <a:lnTo>
                      <a:pt x="302" y="174"/>
                    </a:lnTo>
                    <a:lnTo>
                      <a:pt x="300" y="174"/>
                    </a:lnTo>
                    <a:lnTo>
                      <a:pt x="299" y="174"/>
                    </a:lnTo>
                    <a:lnTo>
                      <a:pt x="299" y="172"/>
                    </a:lnTo>
                    <a:lnTo>
                      <a:pt x="299" y="172"/>
                    </a:lnTo>
                    <a:lnTo>
                      <a:pt x="299" y="172"/>
                    </a:lnTo>
                    <a:lnTo>
                      <a:pt x="299" y="172"/>
                    </a:lnTo>
                    <a:lnTo>
                      <a:pt x="299" y="171"/>
                    </a:lnTo>
                    <a:lnTo>
                      <a:pt x="297" y="171"/>
                    </a:lnTo>
                    <a:lnTo>
                      <a:pt x="297" y="171"/>
                    </a:lnTo>
                    <a:lnTo>
                      <a:pt x="297" y="171"/>
                    </a:lnTo>
                    <a:lnTo>
                      <a:pt x="296" y="171"/>
                    </a:lnTo>
                    <a:lnTo>
                      <a:pt x="295" y="170"/>
                    </a:lnTo>
                    <a:lnTo>
                      <a:pt x="293" y="170"/>
                    </a:lnTo>
                    <a:lnTo>
                      <a:pt x="290" y="168"/>
                    </a:lnTo>
                    <a:lnTo>
                      <a:pt x="290" y="167"/>
                    </a:lnTo>
                    <a:lnTo>
                      <a:pt x="290" y="167"/>
                    </a:lnTo>
                    <a:lnTo>
                      <a:pt x="290" y="165"/>
                    </a:lnTo>
                    <a:lnTo>
                      <a:pt x="290" y="165"/>
                    </a:lnTo>
                    <a:lnTo>
                      <a:pt x="290" y="164"/>
                    </a:lnTo>
                    <a:lnTo>
                      <a:pt x="290" y="164"/>
                    </a:lnTo>
                    <a:lnTo>
                      <a:pt x="290" y="164"/>
                    </a:lnTo>
                    <a:lnTo>
                      <a:pt x="289" y="164"/>
                    </a:lnTo>
                    <a:lnTo>
                      <a:pt x="287" y="162"/>
                    </a:lnTo>
                    <a:lnTo>
                      <a:pt x="283" y="161"/>
                    </a:lnTo>
                    <a:lnTo>
                      <a:pt x="280" y="160"/>
                    </a:lnTo>
                    <a:lnTo>
                      <a:pt x="280" y="160"/>
                    </a:lnTo>
                    <a:lnTo>
                      <a:pt x="279" y="160"/>
                    </a:lnTo>
                    <a:lnTo>
                      <a:pt x="279" y="160"/>
                    </a:lnTo>
                    <a:lnTo>
                      <a:pt x="277" y="160"/>
                    </a:lnTo>
                    <a:lnTo>
                      <a:pt x="277" y="160"/>
                    </a:lnTo>
                    <a:lnTo>
                      <a:pt x="277" y="160"/>
                    </a:lnTo>
                    <a:lnTo>
                      <a:pt x="276" y="161"/>
                    </a:lnTo>
                    <a:lnTo>
                      <a:pt x="276" y="161"/>
                    </a:lnTo>
                    <a:lnTo>
                      <a:pt x="276" y="161"/>
                    </a:lnTo>
                    <a:lnTo>
                      <a:pt x="274" y="161"/>
                    </a:lnTo>
                    <a:lnTo>
                      <a:pt x="272" y="160"/>
                    </a:lnTo>
                    <a:lnTo>
                      <a:pt x="270" y="160"/>
                    </a:lnTo>
                    <a:lnTo>
                      <a:pt x="269" y="160"/>
                    </a:lnTo>
                    <a:lnTo>
                      <a:pt x="267" y="160"/>
                    </a:lnTo>
                    <a:lnTo>
                      <a:pt x="267" y="161"/>
                    </a:lnTo>
                    <a:lnTo>
                      <a:pt x="266" y="161"/>
                    </a:lnTo>
                    <a:lnTo>
                      <a:pt x="264" y="161"/>
                    </a:lnTo>
                    <a:lnTo>
                      <a:pt x="264" y="161"/>
                    </a:lnTo>
                    <a:lnTo>
                      <a:pt x="261" y="160"/>
                    </a:lnTo>
                    <a:lnTo>
                      <a:pt x="261" y="160"/>
                    </a:lnTo>
                    <a:lnTo>
                      <a:pt x="259" y="160"/>
                    </a:lnTo>
                    <a:lnTo>
                      <a:pt x="257" y="160"/>
                    </a:lnTo>
                    <a:lnTo>
                      <a:pt x="257" y="158"/>
                    </a:lnTo>
                    <a:lnTo>
                      <a:pt x="256" y="157"/>
                    </a:lnTo>
                    <a:lnTo>
                      <a:pt x="256" y="155"/>
                    </a:lnTo>
                    <a:lnTo>
                      <a:pt x="254" y="155"/>
                    </a:lnTo>
                    <a:lnTo>
                      <a:pt x="253" y="155"/>
                    </a:lnTo>
                    <a:lnTo>
                      <a:pt x="251" y="155"/>
                    </a:lnTo>
                    <a:lnTo>
                      <a:pt x="250" y="155"/>
                    </a:lnTo>
                    <a:lnTo>
                      <a:pt x="250" y="155"/>
                    </a:lnTo>
                    <a:lnTo>
                      <a:pt x="249" y="154"/>
                    </a:lnTo>
                    <a:lnTo>
                      <a:pt x="246" y="152"/>
                    </a:lnTo>
                    <a:lnTo>
                      <a:pt x="246" y="152"/>
                    </a:lnTo>
                    <a:lnTo>
                      <a:pt x="244" y="151"/>
                    </a:lnTo>
                    <a:lnTo>
                      <a:pt x="244" y="151"/>
                    </a:lnTo>
                    <a:lnTo>
                      <a:pt x="244" y="151"/>
                    </a:lnTo>
                    <a:lnTo>
                      <a:pt x="243" y="151"/>
                    </a:lnTo>
                    <a:lnTo>
                      <a:pt x="243" y="151"/>
                    </a:lnTo>
                    <a:lnTo>
                      <a:pt x="241" y="151"/>
                    </a:lnTo>
                    <a:lnTo>
                      <a:pt x="241" y="151"/>
                    </a:lnTo>
                    <a:lnTo>
                      <a:pt x="241" y="151"/>
                    </a:lnTo>
                    <a:lnTo>
                      <a:pt x="240" y="151"/>
                    </a:lnTo>
                    <a:lnTo>
                      <a:pt x="240" y="151"/>
                    </a:lnTo>
                    <a:lnTo>
                      <a:pt x="240" y="151"/>
                    </a:lnTo>
                    <a:lnTo>
                      <a:pt x="239" y="149"/>
                    </a:lnTo>
                    <a:lnTo>
                      <a:pt x="237" y="149"/>
                    </a:lnTo>
                    <a:lnTo>
                      <a:pt x="234" y="148"/>
                    </a:lnTo>
                    <a:lnTo>
                      <a:pt x="234" y="147"/>
                    </a:lnTo>
                    <a:lnTo>
                      <a:pt x="231" y="145"/>
                    </a:lnTo>
                    <a:lnTo>
                      <a:pt x="228" y="144"/>
                    </a:lnTo>
                    <a:lnTo>
                      <a:pt x="224" y="139"/>
                    </a:lnTo>
                    <a:lnTo>
                      <a:pt x="221" y="138"/>
                    </a:lnTo>
                    <a:lnTo>
                      <a:pt x="220" y="138"/>
                    </a:lnTo>
                    <a:lnTo>
                      <a:pt x="220" y="137"/>
                    </a:lnTo>
                    <a:lnTo>
                      <a:pt x="218" y="137"/>
                    </a:lnTo>
                    <a:lnTo>
                      <a:pt x="218" y="137"/>
                    </a:lnTo>
                    <a:lnTo>
                      <a:pt x="218" y="137"/>
                    </a:lnTo>
                    <a:lnTo>
                      <a:pt x="217" y="137"/>
                    </a:lnTo>
                    <a:lnTo>
                      <a:pt x="217" y="137"/>
                    </a:lnTo>
                    <a:lnTo>
                      <a:pt x="217" y="137"/>
                    </a:lnTo>
                    <a:lnTo>
                      <a:pt x="216" y="137"/>
                    </a:lnTo>
                    <a:lnTo>
                      <a:pt x="216" y="137"/>
                    </a:lnTo>
                    <a:lnTo>
                      <a:pt x="216" y="137"/>
                    </a:lnTo>
                    <a:lnTo>
                      <a:pt x="214" y="137"/>
                    </a:lnTo>
                    <a:lnTo>
                      <a:pt x="214" y="135"/>
                    </a:lnTo>
                    <a:lnTo>
                      <a:pt x="213" y="135"/>
                    </a:lnTo>
                    <a:lnTo>
                      <a:pt x="211" y="134"/>
                    </a:lnTo>
                    <a:lnTo>
                      <a:pt x="210" y="132"/>
                    </a:lnTo>
                    <a:lnTo>
                      <a:pt x="210" y="131"/>
                    </a:lnTo>
                    <a:lnTo>
                      <a:pt x="210" y="129"/>
                    </a:lnTo>
                    <a:lnTo>
                      <a:pt x="210" y="128"/>
                    </a:lnTo>
                    <a:lnTo>
                      <a:pt x="213" y="125"/>
                    </a:lnTo>
                    <a:lnTo>
                      <a:pt x="213" y="124"/>
                    </a:lnTo>
                    <a:lnTo>
                      <a:pt x="213" y="122"/>
                    </a:lnTo>
                    <a:lnTo>
                      <a:pt x="213" y="121"/>
                    </a:lnTo>
                    <a:lnTo>
                      <a:pt x="214" y="118"/>
                    </a:lnTo>
                    <a:lnTo>
                      <a:pt x="216" y="116"/>
                    </a:lnTo>
                    <a:lnTo>
                      <a:pt x="216" y="115"/>
                    </a:lnTo>
                    <a:lnTo>
                      <a:pt x="218" y="112"/>
                    </a:lnTo>
                    <a:lnTo>
                      <a:pt x="223" y="108"/>
                    </a:lnTo>
                    <a:lnTo>
                      <a:pt x="224" y="108"/>
                    </a:lnTo>
                    <a:lnTo>
                      <a:pt x="224" y="106"/>
                    </a:lnTo>
                    <a:lnTo>
                      <a:pt x="224" y="106"/>
                    </a:lnTo>
                    <a:lnTo>
                      <a:pt x="226" y="106"/>
                    </a:lnTo>
                    <a:lnTo>
                      <a:pt x="226" y="108"/>
                    </a:lnTo>
                    <a:lnTo>
                      <a:pt x="226" y="106"/>
                    </a:lnTo>
                    <a:lnTo>
                      <a:pt x="224" y="105"/>
                    </a:lnTo>
                    <a:lnTo>
                      <a:pt x="221" y="103"/>
                    </a:lnTo>
                    <a:lnTo>
                      <a:pt x="220" y="102"/>
                    </a:lnTo>
                    <a:lnTo>
                      <a:pt x="220" y="102"/>
                    </a:lnTo>
                    <a:lnTo>
                      <a:pt x="218" y="102"/>
                    </a:lnTo>
                    <a:lnTo>
                      <a:pt x="218" y="102"/>
                    </a:lnTo>
                    <a:lnTo>
                      <a:pt x="218" y="102"/>
                    </a:lnTo>
                    <a:lnTo>
                      <a:pt x="213" y="99"/>
                    </a:lnTo>
                    <a:lnTo>
                      <a:pt x="211" y="98"/>
                    </a:lnTo>
                    <a:lnTo>
                      <a:pt x="211" y="96"/>
                    </a:lnTo>
                    <a:lnTo>
                      <a:pt x="211" y="95"/>
                    </a:lnTo>
                    <a:lnTo>
                      <a:pt x="210" y="95"/>
                    </a:lnTo>
                    <a:lnTo>
                      <a:pt x="210" y="95"/>
                    </a:lnTo>
                    <a:lnTo>
                      <a:pt x="208" y="93"/>
                    </a:lnTo>
                    <a:lnTo>
                      <a:pt x="207" y="93"/>
                    </a:lnTo>
                    <a:lnTo>
                      <a:pt x="207" y="93"/>
                    </a:lnTo>
                    <a:lnTo>
                      <a:pt x="205" y="92"/>
                    </a:lnTo>
                    <a:lnTo>
                      <a:pt x="204" y="92"/>
                    </a:lnTo>
                    <a:lnTo>
                      <a:pt x="204" y="92"/>
                    </a:lnTo>
                    <a:lnTo>
                      <a:pt x="203" y="92"/>
                    </a:lnTo>
                    <a:lnTo>
                      <a:pt x="201" y="92"/>
                    </a:lnTo>
                    <a:lnTo>
                      <a:pt x="200" y="92"/>
                    </a:lnTo>
                    <a:lnTo>
                      <a:pt x="200" y="92"/>
                    </a:lnTo>
                    <a:lnTo>
                      <a:pt x="197" y="89"/>
                    </a:lnTo>
                    <a:lnTo>
                      <a:pt x="197" y="89"/>
                    </a:lnTo>
                    <a:lnTo>
                      <a:pt x="195" y="86"/>
                    </a:lnTo>
                    <a:lnTo>
                      <a:pt x="193" y="83"/>
                    </a:lnTo>
                    <a:lnTo>
                      <a:pt x="193" y="83"/>
                    </a:lnTo>
                    <a:lnTo>
                      <a:pt x="191" y="83"/>
                    </a:lnTo>
                    <a:lnTo>
                      <a:pt x="191" y="83"/>
                    </a:lnTo>
                    <a:lnTo>
                      <a:pt x="191" y="83"/>
                    </a:lnTo>
                    <a:lnTo>
                      <a:pt x="190" y="85"/>
                    </a:lnTo>
                    <a:lnTo>
                      <a:pt x="190" y="85"/>
                    </a:lnTo>
                    <a:lnTo>
                      <a:pt x="188" y="85"/>
                    </a:lnTo>
                    <a:lnTo>
                      <a:pt x="187" y="86"/>
                    </a:lnTo>
                    <a:lnTo>
                      <a:pt x="187" y="86"/>
                    </a:lnTo>
                    <a:lnTo>
                      <a:pt x="187" y="86"/>
                    </a:lnTo>
                    <a:lnTo>
                      <a:pt x="187" y="85"/>
                    </a:lnTo>
                    <a:lnTo>
                      <a:pt x="187" y="85"/>
                    </a:lnTo>
                    <a:lnTo>
                      <a:pt x="187" y="83"/>
                    </a:lnTo>
                    <a:lnTo>
                      <a:pt x="187" y="83"/>
                    </a:lnTo>
                    <a:lnTo>
                      <a:pt x="185" y="82"/>
                    </a:lnTo>
                    <a:lnTo>
                      <a:pt x="185" y="82"/>
                    </a:lnTo>
                    <a:lnTo>
                      <a:pt x="187" y="80"/>
                    </a:lnTo>
                    <a:lnTo>
                      <a:pt x="187" y="80"/>
                    </a:lnTo>
                    <a:lnTo>
                      <a:pt x="187" y="79"/>
                    </a:lnTo>
                    <a:lnTo>
                      <a:pt x="185" y="78"/>
                    </a:lnTo>
                    <a:lnTo>
                      <a:pt x="185" y="76"/>
                    </a:lnTo>
                    <a:lnTo>
                      <a:pt x="185" y="76"/>
                    </a:lnTo>
                    <a:lnTo>
                      <a:pt x="185" y="75"/>
                    </a:lnTo>
                    <a:lnTo>
                      <a:pt x="185" y="75"/>
                    </a:lnTo>
                    <a:lnTo>
                      <a:pt x="185" y="73"/>
                    </a:lnTo>
                    <a:lnTo>
                      <a:pt x="185" y="73"/>
                    </a:lnTo>
                    <a:lnTo>
                      <a:pt x="185" y="73"/>
                    </a:lnTo>
                    <a:lnTo>
                      <a:pt x="185" y="73"/>
                    </a:lnTo>
                    <a:lnTo>
                      <a:pt x="185" y="72"/>
                    </a:lnTo>
                    <a:lnTo>
                      <a:pt x="185" y="72"/>
                    </a:lnTo>
                    <a:lnTo>
                      <a:pt x="185" y="72"/>
                    </a:lnTo>
                    <a:lnTo>
                      <a:pt x="185" y="72"/>
                    </a:lnTo>
                    <a:lnTo>
                      <a:pt x="183" y="69"/>
                    </a:lnTo>
                    <a:lnTo>
                      <a:pt x="183" y="68"/>
                    </a:lnTo>
                    <a:lnTo>
                      <a:pt x="181" y="66"/>
                    </a:lnTo>
                    <a:lnTo>
                      <a:pt x="181" y="66"/>
                    </a:lnTo>
                    <a:lnTo>
                      <a:pt x="181" y="65"/>
                    </a:lnTo>
                    <a:lnTo>
                      <a:pt x="181" y="65"/>
                    </a:lnTo>
                    <a:lnTo>
                      <a:pt x="181" y="65"/>
                    </a:lnTo>
                    <a:lnTo>
                      <a:pt x="181" y="63"/>
                    </a:lnTo>
                    <a:lnTo>
                      <a:pt x="180" y="63"/>
                    </a:lnTo>
                    <a:lnTo>
                      <a:pt x="180" y="63"/>
                    </a:lnTo>
                    <a:lnTo>
                      <a:pt x="180" y="62"/>
                    </a:lnTo>
                    <a:lnTo>
                      <a:pt x="180" y="62"/>
                    </a:lnTo>
                    <a:lnTo>
                      <a:pt x="184" y="62"/>
                    </a:lnTo>
                    <a:lnTo>
                      <a:pt x="184" y="62"/>
                    </a:lnTo>
                    <a:lnTo>
                      <a:pt x="184" y="62"/>
                    </a:lnTo>
                    <a:lnTo>
                      <a:pt x="185" y="60"/>
                    </a:lnTo>
                    <a:lnTo>
                      <a:pt x="185" y="60"/>
                    </a:lnTo>
                    <a:lnTo>
                      <a:pt x="185" y="62"/>
                    </a:lnTo>
                    <a:lnTo>
                      <a:pt x="185" y="62"/>
                    </a:lnTo>
                    <a:lnTo>
                      <a:pt x="185" y="62"/>
                    </a:lnTo>
                    <a:lnTo>
                      <a:pt x="187" y="62"/>
                    </a:lnTo>
                    <a:lnTo>
                      <a:pt x="187" y="62"/>
                    </a:lnTo>
                    <a:lnTo>
                      <a:pt x="187" y="63"/>
                    </a:lnTo>
                    <a:lnTo>
                      <a:pt x="187" y="63"/>
                    </a:lnTo>
                    <a:lnTo>
                      <a:pt x="187" y="63"/>
                    </a:lnTo>
                    <a:lnTo>
                      <a:pt x="187" y="65"/>
                    </a:lnTo>
                    <a:lnTo>
                      <a:pt x="188" y="65"/>
                    </a:lnTo>
                    <a:lnTo>
                      <a:pt x="190" y="66"/>
                    </a:lnTo>
                    <a:lnTo>
                      <a:pt x="191" y="65"/>
                    </a:lnTo>
                    <a:lnTo>
                      <a:pt x="191" y="65"/>
                    </a:lnTo>
                    <a:lnTo>
                      <a:pt x="193" y="65"/>
                    </a:lnTo>
                    <a:lnTo>
                      <a:pt x="193" y="63"/>
                    </a:lnTo>
                    <a:lnTo>
                      <a:pt x="193" y="63"/>
                    </a:lnTo>
                    <a:lnTo>
                      <a:pt x="194" y="63"/>
                    </a:lnTo>
                    <a:lnTo>
                      <a:pt x="194" y="63"/>
                    </a:lnTo>
                    <a:lnTo>
                      <a:pt x="194" y="62"/>
                    </a:lnTo>
                    <a:lnTo>
                      <a:pt x="194" y="60"/>
                    </a:lnTo>
                    <a:lnTo>
                      <a:pt x="195" y="59"/>
                    </a:lnTo>
                    <a:lnTo>
                      <a:pt x="195" y="59"/>
                    </a:lnTo>
                    <a:lnTo>
                      <a:pt x="194" y="59"/>
                    </a:lnTo>
                    <a:lnTo>
                      <a:pt x="194" y="57"/>
                    </a:lnTo>
                    <a:lnTo>
                      <a:pt x="194" y="57"/>
                    </a:lnTo>
                    <a:lnTo>
                      <a:pt x="194" y="57"/>
                    </a:lnTo>
                    <a:lnTo>
                      <a:pt x="194" y="56"/>
                    </a:lnTo>
                    <a:lnTo>
                      <a:pt x="194" y="55"/>
                    </a:lnTo>
                    <a:lnTo>
                      <a:pt x="194" y="55"/>
                    </a:lnTo>
                    <a:lnTo>
                      <a:pt x="194" y="55"/>
                    </a:lnTo>
                    <a:lnTo>
                      <a:pt x="194" y="53"/>
                    </a:lnTo>
                    <a:lnTo>
                      <a:pt x="193" y="53"/>
                    </a:lnTo>
                    <a:lnTo>
                      <a:pt x="193" y="53"/>
                    </a:lnTo>
                    <a:lnTo>
                      <a:pt x="193" y="52"/>
                    </a:lnTo>
                    <a:lnTo>
                      <a:pt x="193" y="52"/>
                    </a:lnTo>
                    <a:lnTo>
                      <a:pt x="193" y="52"/>
                    </a:lnTo>
                    <a:lnTo>
                      <a:pt x="193" y="50"/>
                    </a:lnTo>
                    <a:lnTo>
                      <a:pt x="193" y="49"/>
                    </a:lnTo>
                    <a:lnTo>
                      <a:pt x="193" y="49"/>
                    </a:lnTo>
                    <a:lnTo>
                      <a:pt x="191" y="47"/>
                    </a:lnTo>
                    <a:lnTo>
                      <a:pt x="191" y="47"/>
                    </a:lnTo>
                    <a:lnTo>
                      <a:pt x="191" y="47"/>
                    </a:lnTo>
                    <a:lnTo>
                      <a:pt x="188" y="45"/>
                    </a:lnTo>
                    <a:lnTo>
                      <a:pt x="187" y="43"/>
                    </a:lnTo>
                    <a:lnTo>
                      <a:pt x="187" y="43"/>
                    </a:lnTo>
                    <a:lnTo>
                      <a:pt x="187" y="42"/>
                    </a:lnTo>
                    <a:lnTo>
                      <a:pt x="187" y="40"/>
                    </a:lnTo>
                    <a:lnTo>
                      <a:pt x="187" y="37"/>
                    </a:lnTo>
                    <a:lnTo>
                      <a:pt x="187" y="34"/>
                    </a:lnTo>
                    <a:lnTo>
                      <a:pt x="185" y="33"/>
                    </a:lnTo>
                    <a:lnTo>
                      <a:pt x="185" y="33"/>
                    </a:lnTo>
                    <a:lnTo>
                      <a:pt x="185" y="33"/>
                    </a:lnTo>
                    <a:lnTo>
                      <a:pt x="185" y="32"/>
                    </a:lnTo>
                    <a:lnTo>
                      <a:pt x="187" y="32"/>
                    </a:lnTo>
                    <a:lnTo>
                      <a:pt x="190" y="30"/>
                    </a:lnTo>
                    <a:lnTo>
                      <a:pt x="190" y="29"/>
                    </a:lnTo>
                    <a:lnTo>
                      <a:pt x="190" y="29"/>
                    </a:lnTo>
                    <a:lnTo>
                      <a:pt x="190" y="27"/>
                    </a:lnTo>
                    <a:lnTo>
                      <a:pt x="190" y="27"/>
                    </a:lnTo>
                    <a:lnTo>
                      <a:pt x="190" y="27"/>
                    </a:lnTo>
                    <a:lnTo>
                      <a:pt x="190" y="27"/>
                    </a:lnTo>
                    <a:lnTo>
                      <a:pt x="190" y="26"/>
                    </a:lnTo>
                    <a:lnTo>
                      <a:pt x="190" y="26"/>
                    </a:lnTo>
                    <a:lnTo>
                      <a:pt x="190" y="26"/>
                    </a:lnTo>
                    <a:lnTo>
                      <a:pt x="187" y="24"/>
                    </a:lnTo>
                    <a:lnTo>
                      <a:pt x="185" y="23"/>
                    </a:lnTo>
                    <a:lnTo>
                      <a:pt x="185" y="23"/>
                    </a:lnTo>
                    <a:lnTo>
                      <a:pt x="185" y="23"/>
                    </a:lnTo>
                    <a:lnTo>
                      <a:pt x="184" y="23"/>
                    </a:lnTo>
                    <a:lnTo>
                      <a:pt x="184" y="23"/>
                    </a:lnTo>
                    <a:lnTo>
                      <a:pt x="180" y="22"/>
                    </a:lnTo>
                    <a:lnTo>
                      <a:pt x="180" y="22"/>
                    </a:lnTo>
                    <a:lnTo>
                      <a:pt x="178" y="22"/>
                    </a:lnTo>
                    <a:lnTo>
                      <a:pt x="178" y="20"/>
                    </a:lnTo>
                    <a:lnTo>
                      <a:pt x="178" y="20"/>
                    </a:lnTo>
                    <a:lnTo>
                      <a:pt x="178" y="20"/>
                    </a:lnTo>
                    <a:lnTo>
                      <a:pt x="178" y="20"/>
                    </a:lnTo>
                    <a:lnTo>
                      <a:pt x="178" y="20"/>
                    </a:lnTo>
                    <a:lnTo>
                      <a:pt x="178" y="19"/>
                    </a:lnTo>
                    <a:lnTo>
                      <a:pt x="177" y="16"/>
                    </a:lnTo>
                    <a:lnTo>
                      <a:pt x="174" y="10"/>
                    </a:lnTo>
                    <a:lnTo>
                      <a:pt x="174" y="9"/>
                    </a:lnTo>
                    <a:lnTo>
                      <a:pt x="174" y="7"/>
                    </a:lnTo>
                    <a:lnTo>
                      <a:pt x="174" y="3"/>
                    </a:lnTo>
                    <a:lnTo>
                      <a:pt x="172" y="3"/>
                    </a:lnTo>
                    <a:lnTo>
                      <a:pt x="172" y="3"/>
                    </a:lnTo>
                    <a:lnTo>
                      <a:pt x="172" y="4"/>
                    </a:lnTo>
                    <a:lnTo>
                      <a:pt x="171" y="4"/>
                    </a:lnTo>
                    <a:lnTo>
                      <a:pt x="171" y="4"/>
                    </a:lnTo>
                    <a:lnTo>
                      <a:pt x="170" y="4"/>
                    </a:lnTo>
                    <a:lnTo>
                      <a:pt x="170" y="3"/>
                    </a:lnTo>
                    <a:lnTo>
                      <a:pt x="170" y="3"/>
                    </a:lnTo>
                    <a:lnTo>
                      <a:pt x="170" y="3"/>
                    </a:lnTo>
                    <a:lnTo>
                      <a:pt x="168" y="3"/>
                    </a:lnTo>
                    <a:lnTo>
                      <a:pt x="167" y="4"/>
                    </a:lnTo>
                    <a:lnTo>
                      <a:pt x="165" y="4"/>
                    </a:lnTo>
                    <a:lnTo>
                      <a:pt x="164" y="4"/>
                    </a:lnTo>
                    <a:lnTo>
                      <a:pt x="157" y="1"/>
                    </a:lnTo>
                    <a:lnTo>
                      <a:pt x="152" y="0"/>
                    </a:lnTo>
                    <a:lnTo>
                      <a:pt x="151" y="0"/>
                    </a:lnTo>
                    <a:lnTo>
                      <a:pt x="152" y="1"/>
                    </a:lnTo>
                    <a:lnTo>
                      <a:pt x="152" y="3"/>
                    </a:lnTo>
                    <a:lnTo>
                      <a:pt x="154" y="6"/>
                    </a:lnTo>
                    <a:lnTo>
                      <a:pt x="157" y="10"/>
                    </a:lnTo>
                    <a:lnTo>
                      <a:pt x="157" y="11"/>
                    </a:lnTo>
                    <a:lnTo>
                      <a:pt x="157" y="11"/>
                    </a:lnTo>
                    <a:lnTo>
                      <a:pt x="155" y="13"/>
                    </a:lnTo>
                    <a:lnTo>
                      <a:pt x="155" y="13"/>
                    </a:lnTo>
                    <a:lnTo>
                      <a:pt x="155" y="13"/>
                    </a:lnTo>
                    <a:lnTo>
                      <a:pt x="155" y="14"/>
                    </a:lnTo>
                    <a:lnTo>
                      <a:pt x="154" y="14"/>
                    </a:lnTo>
                    <a:lnTo>
                      <a:pt x="152" y="14"/>
                    </a:lnTo>
                    <a:lnTo>
                      <a:pt x="152" y="16"/>
                    </a:lnTo>
                    <a:lnTo>
                      <a:pt x="151" y="16"/>
                    </a:lnTo>
                    <a:lnTo>
                      <a:pt x="151" y="16"/>
                    </a:lnTo>
                    <a:lnTo>
                      <a:pt x="151" y="17"/>
                    </a:lnTo>
                    <a:lnTo>
                      <a:pt x="149" y="17"/>
                    </a:lnTo>
                    <a:lnTo>
                      <a:pt x="149" y="19"/>
                    </a:lnTo>
                    <a:lnTo>
                      <a:pt x="148" y="19"/>
                    </a:lnTo>
                    <a:lnTo>
                      <a:pt x="147" y="19"/>
                    </a:lnTo>
                    <a:lnTo>
                      <a:pt x="147" y="19"/>
                    </a:lnTo>
                    <a:lnTo>
                      <a:pt x="142" y="20"/>
                    </a:lnTo>
                    <a:lnTo>
                      <a:pt x="141" y="20"/>
                    </a:lnTo>
                    <a:lnTo>
                      <a:pt x="138" y="20"/>
                    </a:lnTo>
                    <a:lnTo>
                      <a:pt x="138" y="20"/>
                    </a:lnTo>
                    <a:lnTo>
                      <a:pt x="137" y="22"/>
                    </a:lnTo>
                    <a:lnTo>
                      <a:pt x="135" y="22"/>
                    </a:lnTo>
                    <a:lnTo>
                      <a:pt x="134" y="23"/>
                    </a:lnTo>
                    <a:lnTo>
                      <a:pt x="132" y="23"/>
                    </a:lnTo>
                    <a:lnTo>
                      <a:pt x="129" y="23"/>
                    </a:lnTo>
                    <a:lnTo>
                      <a:pt x="126" y="22"/>
                    </a:lnTo>
                    <a:lnTo>
                      <a:pt x="125" y="22"/>
                    </a:lnTo>
                    <a:lnTo>
                      <a:pt x="124" y="20"/>
                    </a:lnTo>
                    <a:lnTo>
                      <a:pt x="122" y="20"/>
                    </a:lnTo>
                    <a:lnTo>
                      <a:pt x="119" y="20"/>
                    </a:lnTo>
                    <a:lnTo>
                      <a:pt x="118" y="20"/>
                    </a:lnTo>
                    <a:lnTo>
                      <a:pt x="115" y="19"/>
                    </a:lnTo>
                    <a:lnTo>
                      <a:pt x="112" y="19"/>
                    </a:lnTo>
                    <a:lnTo>
                      <a:pt x="108" y="17"/>
                    </a:lnTo>
                    <a:lnTo>
                      <a:pt x="106" y="19"/>
                    </a:lnTo>
                    <a:lnTo>
                      <a:pt x="105" y="19"/>
                    </a:lnTo>
                    <a:lnTo>
                      <a:pt x="102" y="20"/>
                    </a:lnTo>
                    <a:lnTo>
                      <a:pt x="101" y="23"/>
                    </a:lnTo>
                    <a:lnTo>
                      <a:pt x="99" y="26"/>
                    </a:lnTo>
                    <a:lnTo>
                      <a:pt x="99" y="26"/>
                    </a:lnTo>
                    <a:lnTo>
                      <a:pt x="101" y="27"/>
                    </a:lnTo>
                    <a:lnTo>
                      <a:pt x="102" y="27"/>
                    </a:lnTo>
                    <a:lnTo>
                      <a:pt x="102" y="29"/>
                    </a:lnTo>
                    <a:lnTo>
                      <a:pt x="102" y="30"/>
                    </a:lnTo>
                    <a:lnTo>
                      <a:pt x="101" y="32"/>
                    </a:lnTo>
                    <a:lnTo>
                      <a:pt x="101" y="32"/>
                    </a:lnTo>
                    <a:lnTo>
                      <a:pt x="102" y="33"/>
                    </a:lnTo>
                    <a:lnTo>
                      <a:pt x="104" y="33"/>
                    </a:lnTo>
                    <a:lnTo>
                      <a:pt x="104" y="33"/>
                    </a:lnTo>
                    <a:lnTo>
                      <a:pt x="105" y="33"/>
                    </a:lnTo>
                    <a:lnTo>
                      <a:pt x="105" y="33"/>
                    </a:lnTo>
                    <a:lnTo>
                      <a:pt x="106" y="33"/>
                    </a:lnTo>
                    <a:lnTo>
                      <a:pt x="108" y="34"/>
                    </a:lnTo>
                    <a:lnTo>
                      <a:pt x="106" y="36"/>
                    </a:lnTo>
                    <a:lnTo>
                      <a:pt x="105" y="36"/>
                    </a:lnTo>
                    <a:lnTo>
                      <a:pt x="104" y="36"/>
                    </a:lnTo>
                    <a:lnTo>
                      <a:pt x="104" y="37"/>
                    </a:lnTo>
                    <a:lnTo>
                      <a:pt x="102" y="37"/>
                    </a:lnTo>
                    <a:lnTo>
                      <a:pt x="102" y="39"/>
                    </a:lnTo>
                    <a:lnTo>
                      <a:pt x="102" y="40"/>
                    </a:lnTo>
                    <a:lnTo>
                      <a:pt x="105" y="42"/>
                    </a:lnTo>
                    <a:lnTo>
                      <a:pt x="105" y="43"/>
                    </a:lnTo>
                    <a:lnTo>
                      <a:pt x="105" y="45"/>
                    </a:lnTo>
                    <a:lnTo>
                      <a:pt x="105" y="46"/>
                    </a:lnTo>
                    <a:lnTo>
                      <a:pt x="104" y="46"/>
                    </a:lnTo>
                    <a:lnTo>
                      <a:pt x="104" y="47"/>
                    </a:lnTo>
                    <a:lnTo>
                      <a:pt x="102" y="49"/>
                    </a:lnTo>
                    <a:lnTo>
                      <a:pt x="104" y="50"/>
                    </a:lnTo>
                    <a:lnTo>
                      <a:pt x="105" y="52"/>
                    </a:lnTo>
                    <a:lnTo>
                      <a:pt x="105" y="52"/>
                    </a:lnTo>
                    <a:lnTo>
                      <a:pt x="106" y="53"/>
                    </a:lnTo>
                    <a:lnTo>
                      <a:pt x="108" y="53"/>
                    </a:lnTo>
                    <a:lnTo>
                      <a:pt x="108" y="53"/>
                    </a:lnTo>
                    <a:lnTo>
                      <a:pt x="108" y="55"/>
                    </a:lnTo>
                    <a:lnTo>
                      <a:pt x="108" y="55"/>
                    </a:lnTo>
                    <a:lnTo>
                      <a:pt x="108" y="56"/>
                    </a:lnTo>
                    <a:lnTo>
                      <a:pt x="108" y="57"/>
                    </a:lnTo>
                    <a:lnTo>
                      <a:pt x="109" y="57"/>
                    </a:lnTo>
                    <a:lnTo>
                      <a:pt x="109" y="57"/>
                    </a:lnTo>
                    <a:lnTo>
                      <a:pt x="111" y="57"/>
                    </a:lnTo>
                    <a:lnTo>
                      <a:pt x="112" y="57"/>
                    </a:lnTo>
                    <a:lnTo>
                      <a:pt x="114" y="57"/>
                    </a:lnTo>
                    <a:lnTo>
                      <a:pt x="114" y="57"/>
                    </a:lnTo>
                    <a:lnTo>
                      <a:pt x="115" y="57"/>
                    </a:lnTo>
                    <a:lnTo>
                      <a:pt x="114" y="59"/>
                    </a:lnTo>
                    <a:lnTo>
                      <a:pt x="114" y="60"/>
                    </a:lnTo>
                    <a:lnTo>
                      <a:pt x="115" y="63"/>
                    </a:lnTo>
                    <a:lnTo>
                      <a:pt x="118" y="63"/>
                    </a:lnTo>
                    <a:lnTo>
                      <a:pt x="119" y="63"/>
                    </a:lnTo>
                    <a:lnTo>
                      <a:pt x="122" y="65"/>
                    </a:lnTo>
                    <a:lnTo>
                      <a:pt x="125" y="65"/>
                    </a:lnTo>
                    <a:lnTo>
                      <a:pt x="125" y="66"/>
                    </a:lnTo>
                    <a:lnTo>
                      <a:pt x="126" y="66"/>
                    </a:lnTo>
                    <a:lnTo>
                      <a:pt x="126" y="68"/>
                    </a:lnTo>
                    <a:lnTo>
                      <a:pt x="126" y="68"/>
                    </a:lnTo>
                    <a:lnTo>
                      <a:pt x="125" y="69"/>
                    </a:lnTo>
                    <a:lnTo>
                      <a:pt x="125" y="69"/>
                    </a:lnTo>
                    <a:lnTo>
                      <a:pt x="125" y="69"/>
                    </a:lnTo>
                    <a:lnTo>
                      <a:pt x="124" y="70"/>
                    </a:lnTo>
                    <a:lnTo>
                      <a:pt x="122" y="70"/>
                    </a:lnTo>
                    <a:lnTo>
                      <a:pt x="121" y="70"/>
                    </a:lnTo>
                    <a:lnTo>
                      <a:pt x="119" y="72"/>
                    </a:lnTo>
                    <a:lnTo>
                      <a:pt x="116" y="73"/>
                    </a:lnTo>
                    <a:lnTo>
                      <a:pt x="115" y="73"/>
                    </a:lnTo>
                    <a:lnTo>
                      <a:pt x="114" y="75"/>
                    </a:lnTo>
                    <a:lnTo>
                      <a:pt x="112" y="76"/>
                    </a:lnTo>
                    <a:lnTo>
                      <a:pt x="112" y="76"/>
                    </a:lnTo>
                    <a:lnTo>
                      <a:pt x="112" y="76"/>
                    </a:lnTo>
                    <a:lnTo>
                      <a:pt x="112" y="78"/>
                    </a:lnTo>
                    <a:lnTo>
                      <a:pt x="112" y="78"/>
                    </a:lnTo>
                    <a:lnTo>
                      <a:pt x="112" y="80"/>
                    </a:lnTo>
                    <a:lnTo>
                      <a:pt x="112" y="83"/>
                    </a:lnTo>
                    <a:lnTo>
                      <a:pt x="112" y="85"/>
                    </a:lnTo>
                    <a:lnTo>
                      <a:pt x="112" y="88"/>
                    </a:lnTo>
                    <a:lnTo>
                      <a:pt x="112" y="88"/>
                    </a:lnTo>
                    <a:lnTo>
                      <a:pt x="112" y="89"/>
                    </a:lnTo>
                    <a:lnTo>
                      <a:pt x="112" y="89"/>
                    </a:lnTo>
                    <a:lnTo>
                      <a:pt x="114" y="89"/>
                    </a:lnTo>
                    <a:lnTo>
                      <a:pt x="114" y="91"/>
                    </a:lnTo>
                    <a:lnTo>
                      <a:pt x="114" y="91"/>
                    </a:lnTo>
                    <a:lnTo>
                      <a:pt x="111" y="92"/>
                    </a:lnTo>
                    <a:lnTo>
                      <a:pt x="109" y="93"/>
                    </a:lnTo>
                    <a:lnTo>
                      <a:pt x="109" y="93"/>
                    </a:lnTo>
                    <a:lnTo>
                      <a:pt x="108" y="93"/>
                    </a:lnTo>
                    <a:lnTo>
                      <a:pt x="106" y="96"/>
                    </a:lnTo>
                    <a:lnTo>
                      <a:pt x="105" y="98"/>
                    </a:lnTo>
                    <a:lnTo>
                      <a:pt x="104" y="99"/>
                    </a:lnTo>
                    <a:lnTo>
                      <a:pt x="104" y="99"/>
                    </a:lnTo>
                    <a:lnTo>
                      <a:pt x="102" y="101"/>
                    </a:lnTo>
                    <a:lnTo>
                      <a:pt x="102" y="101"/>
                    </a:lnTo>
                    <a:lnTo>
                      <a:pt x="102" y="102"/>
                    </a:lnTo>
                    <a:lnTo>
                      <a:pt x="101" y="102"/>
                    </a:lnTo>
                    <a:lnTo>
                      <a:pt x="101" y="102"/>
                    </a:lnTo>
                    <a:lnTo>
                      <a:pt x="101" y="103"/>
                    </a:lnTo>
                    <a:lnTo>
                      <a:pt x="101" y="103"/>
                    </a:lnTo>
                    <a:lnTo>
                      <a:pt x="101" y="105"/>
                    </a:lnTo>
                    <a:lnTo>
                      <a:pt x="101" y="105"/>
                    </a:lnTo>
                    <a:lnTo>
                      <a:pt x="102" y="105"/>
                    </a:lnTo>
                    <a:lnTo>
                      <a:pt x="102" y="105"/>
                    </a:lnTo>
                    <a:lnTo>
                      <a:pt x="102" y="106"/>
                    </a:lnTo>
                    <a:lnTo>
                      <a:pt x="101" y="106"/>
                    </a:lnTo>
                    <a:lnTo>
                      <a:pt x="101" y="108"/>
                    </a:lnTo>
                    <a:lnTo>
                      <a:pt x="101" y="108"/>
                    </a:lnTo>
                    <a:lnTo>
                      <a:pt x="99" y="108"/>
                    </a:lnTo>
                    <a:lnTo>
                      <a:pt x="96" y="109"/>
                    </a:lnTo>
                    <a:lnTo>
                      <a:pt x="93" y="111"/>
                    </a:lnTo>
                    <a:lnTo>
                      <a:pt x="92" y="111"/>
                    </a:lnTo>
                    <a:lnTo>
                      <a:pt x="92" y="112"/>
                    </a:lnTo>
                    <a:lnTo>
                      <a:pt x="92" y="112"/>
                    </a:lnTo>
                    <a:lnTo>
                      <a:pt x="91" y="114"/>
                    </a:lnTo>
                    <a:lnTo>
                      <a:pt x="89" y="118"/>
                    </a:lnTo>
                    <a:lnTo>
                      <a:pt x="88" y="121"/>
                    </a:lnTo>
                    <a:lnTo>
                      <a:pt x="86" y="125"/>
                    </a:lnTo>
                    <a:lnTo>
                      <a:pt x="85" y="128"/>
                    </a:lnTo>
                    <a:lnTo>
                      <a:pt x="83" y="128"/>
                    </a:lnTo>
                    <a:lnTo>
                      <a:pt x="83" y="129"/>
                    </a:lnTo>
                    <a:lnTo>
                      <a:pt x="82" y="129"/>
                    </a:lnTo>
                    <a:lnTo>
                      <a:pt x="81" y="131"/>
                    </a:lnTo>
                    <a:lnTo>
                      <a:pt x="78" y="132"/>
                    </a:lnTo>
                    <a:lnTo>
                      <a:pt x="75" y="134"/>
                    </a:lnTo>
                    <a:lnTo>
                      <a:pt x="73" y="137"/>
                    </a:lnTo>
                    <a:lnTo>
                      <a:pt x="70" y="139"/>
                    </a:lnTo>
                    <a:lnTo>
                      <a:pt x="70" y="139"/>
                    </a:lnTo>
                    <a:lnTo>
                      <a:pt x="70" y="141"/>
                    </a:lnTo>
                    <a:lnTo>
                      <a:pt x="70" y="141"/>
                    </a:lnTo>
                    <a:lnTo>
                      <a:pt x="70" y="141"/>
                    </a:lnTo>
                    <a:lnTo>
                      <a:pt x="70" y="142"/>
                    </a:lnTo>
                    <a:lnTo>
                      <a:pt x="69" y="142"/>
                    </a:lnTo>
                    <a:lnTo>
                      <a:pt x="69" y="144"/>
                    </a:lnTo>
                    <a:lnTo>
                      <a:pt x="68" y="144"/>
                    </a:lnTo>
                    <a:lnTo>
                      <a:pt x="68" y="144"/>
                    </a:lnTo>
                    <a:lnTo>
                      <a:pt x="68" y="145"/>
                    </a:lnTo>
                    <a:lnTo>
                      <a:pt x="66" y="147"/>
                    </a:lnTo>
                    <a:lnTo>
                      <a:pt x="66" y="147"/>
                    </a:lnTo>
                    <a:lnTo>
                      <a:pt x="66" y="147"/>
                    </a:lnTo>
                    <a:lnTo>
                      <a:pt x="66" y="148"/>
                    </a:lnTo>
                    <a:lnTo>
                      <a:pt x="66" y="148"/>
                    </a:lnTo>
                    <a:lnTo>
                      <a:pt x="65" y="149"/>
                    </a:lnTo>
                    <a:lnTo>
                      <a:pt x="65" y="149"/>
                    </a:lnTo>
                    <a:lnTo>
                      <a:pt x="60" y="151"/>
                    </a:lnTo>
                    <a:lnTo>
                      <a:pt x="60" y="151"/>
                    </a:lnTo>
                    <a:lnTo>
                      <a:pt x="59" y="151"/>
                    </a:lnTo>
                    <a:lnTo>
                      <a:pt x="58" y="152"/>
                    </a:lnTo>
                    <a:lnTo>
                      <a:pt x="58" y="152"/>
                    </a:lnTo>
                    <a:lnTo>
                      <a:pt x="56" y="152"/>
                    </a:lnTo>
                    <a:lnTo>
                      <a:pt x="55" y="152"/>
                    </a:lnTo>
                    <a:lnTo>
                      <a:pt x="52" y="152"/>
                    </a:lnTo>
                    <a:lnTo>
                      <a:pt x="50" y="154"/>
                    </a:lnTo>
                    <a:lnTo>
                      <a:pt x="48" y="155"/>
                    </a:lnTo>
                    <a:lnTo>
                      <a:pt x="48" y="155"/>
                    </a:lnTo>
                    <a:lnTo>
                      <a:pt x="46" y="155"/>
                    </a:lnTo>
                    <a:lnTo>
                      <a:pt x="46" y="155"/>
                    </a:lnTo>
                    <a:lnTo>
                      <a:pt x="45" y="154"/>
                    </a:lnTo>
                    <a:lnTo>
                      <a:pt x="45" y="154"/>
                    </a:lnTo>
                    <a:lnTo>
                      <a:pt x="45" y="154"/>
                    </a:lnTo>
                    <a:lnTo>
                      <a:pt x="45" y="152"/>
                    </a:lnTo>
                    <a:lnTo>
                      <a:pt x="43" y="152"/>
                    </a:lnTo>
                    <a:lnTo>
                      <a:pt x="43" y="151"/>
                    </a:lnTo>
                    <a:lnTo>
                      <a:pt x="43" y="149"/>
                    </a:lnTo>
                    <a:lnTo>
                      <a:pt x="42" y="148"/>
                    </a:lnTo>
                    <a:lnTo>
                      <a:pt x="39" y="148"/>
                    </a:lnTo>
                    <a:lnTo>
                      <a:pt x="37" y="149"/>
                    </a:lnTo>
                    <a:lnTo>
                      <a:pt x="36" y="151"/>
                    </a:lnTo>
                    <a:lnTo>
                      <a:pt x="36" y="151"/>
                    </a:lnTo>
                    <a:lnTo>
                      <a:pt x="35" y="152"/>
                    </a:lnTo>
                    <a:lnTo>
                      <a:pt x="33" y="155"/>
                    </a:lnTo>
                    <a:lnTo>
                      <a:pt x="30" y="160"/>
                    </a:lnTo>
                    <a:lnTo>
                      <a:pt x="27" y="162"/>
                    </a:lnTo>
                    <a:lnTo>
                      <a:pt x="27" y="162"/>
                    </a:lnTo>
                    <a:lnTo>
                      <a:pt x="26" y="164"/>
                    </a:lnTo>
                    <a:lnTo>
                      <a:pt x="26" y="164"/>
                    </a:lnTo>
                    <a:lnTo>
                      <a:pt x="25" y="165"/>
                    </a:lnTo>
                    <a:lnTo>
                      <a:pt x="25" y="167"/>
                    </a:lnTo>
                    <a:lnTo>
                      <a:pt x="23" y="168"/>
                    </a:lnTo>
                    <a:lnTo>
                      <a:pt x="23" y="170"/>
                    </a:lnTo>
                    <a:lnTo>
                      <a:pt x="23" y="172"/>
                    </a:lnTo>
                    <a:lnTo>
                      <a:pt x="23" y="174"/>
                    </a:lnTo>
                    <a:lnTo>
                      <a:pt x="25" y="174"/>
                    </a:lnTo>
                    <a:lnTo>
                      <a:pt x="25" y="174"/>
                    </a:lnTo>
                    <a:lnTo>
                      <a:pt x="26" y="175"/>
                    </a:lnTo>
                    <a:lnTo>
                      <a:pt x="27" y="175"/>
                    </a:lnTo>
                    <a:lnTo>
                      <a:pt x="27" y="177"/>
                    </a:lnTo>
                    <a:lnTo>
                      <a:pt x="29" y="177"/>
                    </a:lnTo>
                    <a:lnTo>
                      <a:pt x="29" y="177"/>
                    </a:lnTo>
                    <a:lnTo>
                      <a:pt x="30" y="177"/>
                    </a:lnTo>
                    <a:lnTo>
                      <a:pt x="30" y="177"/>
                    </a:lnTo>
                    <a:lnTo>
                      <a:pt x="32" y="177"/>
                    </a:lnTo>
                    <a:lnTo>
                      <a:pt x="32" y="177"/>
                    </a:lnTo>
                    <a:lnTo>
                      <a:pt x="33" y="177"/>
                    </a:lnTo>
                    <a:lnTo>
                      <a:pt x="35" y="177"/>
                    </a:lnTo>
                    <a:lnTo>
                      <a:pt x="35" y="178"/>
                    </a:lnTo>
                    <a:lnTo>
                      <a:pt x="35" y="178"/>
                    </a:lnTo>
                    <a:lnTo>
                      <a:pt x="35" y="178"/>
                    </a:lnTo>
                    <a:lnTo>
                      <a:pt x="35" y="180"/>
                    </a:lnTo>
                    <a:lnTo>
                      <a:pt x="35" y="181"/>
                    </a:lnTo>
                    <a:lnTo>
                      <a:pt x="35" y="183"/>
                    </a:lnTo>
                    <a:lnTo>
                      <a:pt x="35" y="184"/>
                    </a:lnTo>
                    <a:lnTo>
                      <a:pt x="35" y="184"/>
                    </a:lnTo>
                    <a:lnTo>
                      <a:pt x="35" y="185"/>
                    </a:lnTo>
                    <a:lnTo>
                      <a:pt x="35" y="185"/>
                    </a:lnTo>
                    <a:lnTo>
                      <a:pt x="35" y="187"/>
                    </a:lnTo>
                    <a:lnTo>
                      <a:pt x="33" y="187"/>
                    </a:lnTo>
                    <a:lnTo>
                      <a:pt x="33" y="187"/>
                    </a:lnTo>
                    <a:lnTo>
                      <a:pt x="33" y="188"/>
                    </a:lnTo>
                    <a:lnTo>
                      <a:pt x="33" y="188"/>
                    </a:lnTo>
                    <a:lnTo>
                      <a:pt x="33" y="190"/>
                    </a:lnTo>
                    <a:lnTo>
                      <a:pt x="35" y="190"/>
                    </a:lnTo>
                    <a:lnTo>
                      <a:pt x="35" y="190"/>
                    </a:lnTo>
                    <a:lnTo>
                      <a:pt x="36" y="193"/>
                    </a:lnTo>
                    <a:lnTo>
                      <a:pt x="36" y="193"/>
                    </a:lnTo>
                    <a:lnTo>
                      <a:pt x="36" y="194"/>
                    </a:lnTo>
                    <a:lnTo>
                      <a:pt x="37" y="194"/>
                    </a:lnTo>
                    <a:lnTo>
                      <a:pt x="37" y="194"/>
                    </a:lnTo>
                    <a:lnTo>
                      <a:pt x="39" y="194"/>
                    </a:lnTo>
                    <a:lnTo>
                      <a:pt x="39" y="194"/>
                    </a:lnTo>
                    <a:lnTo>
                      <a:pt x="39" y="195"/>
                    </a:lnTo>
                    <a:lnTo>
                      <a:pt x="40" y="194"/>
                    </a:lnTo>
                    <a:lnTo>
                      <a:pt x="40" y="194"/>
                    </a:lnTo>
                    <a:lnTo>
                      <a:pt x="40" y="194"/>
                    </a:lnTo>
                    <a:lnTo>
                      <a:pt x="40" y="194"/>
                    </a:lnTo>
                    <a:lnTo>
                      <a:pt x="42" y="194"/>
                    </a:lnTo>
                    <a:lnTo>
                      <a:pt x="42" y="194"/>
                    </a:lnTo>
                    <a:lnTo>
                      <a:pt x="42" y="194"/>
                    </a:lnTo>
                    <a:lnTo>
                      <a:pt x="43" y="194"/>
                    </a:lnTo>
                    <a:lnTo>
                      <a:pt x="43" y="195"/>
                    </a:lnTo>
                    <a:lnTo>
                      <a:pt x="43" y="195"/>
                    </a:lnTo>
                    <a:lnTo>
                      <a:pt x="45" y="197"/>
                    </a:lnTo>
                    <a:lnTo>
                      <a:pt x="43" y="198"/>
                    </a:lnTo>
                    <a:lnTo>
                      <a:pt x="43" y="198"/>
                    </a:lnTo>
                    <a:lnTo>
                      <a:pt x="45" y="200"/>
                    </a:lnTo>
                    <a:lnTo>
                      <a:pt x="45" y="201"/>
                    </a:lnTo>
                    <a:lnTo>
                      <a:pt x="45" y="201"/>
                    </a:lnTo>
                    <a:lnTo>
                      <a:pt x="46" y="203"/>
                    </a:lnTo>
                    <a:lnTo>
                      <a:pt x="48" y="206"/>
                    </a:lnTo>
                    <a:lnTo>
                      <a:pt x="48" y="207"/>
                    </a:lnTo>
                    <a:lnTo>
                      <a:pt x="49" y="208"/>
                    </a:lnTo>
                    <a:lnTo>
                      <a:pt x="50" y="211"/>
                    </a:lnTo>
                    <a:lnTo>
                      <a:pt x="50" y="213"/>
                    </a:lnTo>
                    <a:lnTo>
                      <a:pt x="50" y="214"/>
                    </a:lnTo>
                    <a:lnTo>
                      <a:pt x="50" y="214"/>
                    </a:lnTo>
                    <a:lnTo>
                      <a:pt x="50" y="214"/>
                    </a:lnTo>
                    <a:lnTo>
                      <a:pt x="50" y="216"/>
                    </a:lnTo>
                    <a:lnTo>
                      <a:pt x="49" y="216"/>
                    </a:lnTo>
                    <a:lnTo>
                      <a:pt x="49" y="218"/>
                    </a:lnTo>
                    <a:lnTo>
                      <a:pt x="50" y="218"/>
                    </a:lnTo>
                    <a:lnTo>
                      <a:pt x="50" y="218"/>
                    </a:lnTo>
                    <a:lnTo>
                      <a:pt x="50" y="218"/>
                    </a:lnTo>
                    <a:lnTo>
                      <a:pt x="50" y="218"/>
                    </a:lnTo>
                    <a:lnTo>
                      <a:pt x="50" y="218"/>
                    </a:lnTo>
                    <a:lnTo>
                      <a:pt x="50" y="218"/>
                    </a:lnTo>
                    <a:lnTo>
                      <a:pt x="50" y="218"/>
                    </a:lnTo>
                    <a:lnTo>
                      <a:pt x="50" y="220"/>
                    </a:lnTo>
                    <a:lnTo>
                      <a:pt x="50" y="220"/>
                    </a:lnTo>
                    <a:lnTo>
                      <a:pt x="50" y="220"/>
                    </a:lnTo>
                    <a:lnTo>
                      <a:pt x="50" y="220"/>
                    </a:lnTo>
                    <a:lnTo>
                      <a:pt x="50" y="220"/>
                    </a:lnTo>
                    <a:lnTo>
                      <a:pt x="50" y="220"/>
                    </a:lnTo>
                    <a:lnTo>
                      <a:pt x="49" y="220"/>
                    </a:lnTo>
                    <a:lnTo>
                      <a:pt x="49" y="220"/>
                    </a:lnTo>
                    <a:lnTo>
                      <a:pt x="48" y="221"/>
                    </a:lnTo>
                    <a:lnTo>
                      <a:pt x="48" y="221"/>
                    </a:lnTo>
                    <a:lnTo>
                      <a:pt x="48" y="221"/>
                    </a:lnTo>
                    <a:lnTo>
                      <a:pt x="46" y="223"/>
                    </a:lnTo>
                    <a:lnTo>
                      <a:pt x="46" y="223"/>
                    </a:lnTo>
                    <a:lnTo>
                      <a:pt x="46" y="223"/>
                    </a:lnTo>
                    <a:lnTo>
                      <a:pt x="46" y="223"/>
                    </a:lnTo>
                    <a:lnTo>
                      <a:pt x="45" y="223"/>
                    </a:lnTo>
                    <a:lnTo>
                      <a:pt x="45" y="223"/>
                    </a:lnTo>
                    <a:lnTo>
                      <a:pt x="45" y="223"/>
                    </a:lnTo>
                    <a:lnTo>
                      <a:pt x="43" y="223"/>
                    </a:lnTo>
                    <a:lnTo>
                      <a:pt x="43" y="223"/>
                    </a:lnTo>
                    <a:lnTo>
                      <a:pt x="43" y="223"/>
                    </a:lnTo>
                    <a:lnTo>
                      <a:pt x="43" y="223"/>
                    </a:lnTo>
                    <a:lnTo>
                      <a:pt x="43" y="221"/>
                    </a:lnTo>
                    <a:lnTo>
                      <a:pt x="42" y="221"/>
                    </a:lnTo>
                    <a:lnTo>
                      <a:pt x="42" y="221"/>
                    </a:lnTo>
                    <a:lnTo>
                      <a:pt x="42" y="221"/>
                    </a:lnTo>
                    <a:lnTo>
                      <a:pt x="42" y="221"/>
                    </a:lnTo>
                    <a:lnTo>
                      <a:pt x="42" y="220"/>
                    </a:lnTo>
                    <a:lnTo>
                      <a:pt x="42" y="220"/>
                    </a:lnTo>
                    <a:lnTo>
                      <a:pt x="42" y="220"/>
                    </a:lnTo>
                    <a:lnTo>
                      <a:pt x="42" y="220"/>
                    </a:lnTo>
                    <a:lnTo>
                      <a:pt x="42" y="220"/>
                    </a:lnTo>
                    <a:lnTo>
                      <a:pt x="37" y="220"/>
                    </a:lnTo>
                    <a:lnTo>
                      <a:pt x="36" y="221"/>
                    </a:lnTo>
                    <a:lnTo>
                      <a:pt x="35" y="221"/>
                    </a:lnTo>
                    <a:lnTo>
                      <a:pt x="35" y="221"/>
                    </a:lnTo>
                    <a:lnTo>
                      <a:pt x="35" y="223"/>
                    </a:lnTo>
                    <a:lnTo>
                      <a:pt x="33" y="223"/>
                    </a:lnTo>
                    <a:lnTo>
                      <a:pt x="33" y="223"/>
                    </a:lnTo>
                    <a:lnTo>
                      <a:pt x="33" y="224"/>
                    </a:lnTo>
                    <a:lnTo>
                      <a:pt x="32" y="224"/>
                    </a:lnTo>
                    <a:lnTo>
                      <a:pt x="32" y="224"/>
                    </a:lnTo>
                    <a:lnTo>
                      <a:pt x="29" y="224"/>
                    </a:lnTo>
                    <a:lnTo>
                      <a:pt x="27" y="224"/>
                    </a:lnTo>
                    <a:lnTo>
                      <a:pt x="25" y="223"/>
                    </a:lnTo>
                    <a:lnTo>
                      <a:pt x="19" y="223"/>
                    </a:lnTo>
                    <a:lnTo>
                      <a:pt x="17" y="223"/>
                    </a:lnTo>
                    <a:lnTo>
                      <a:pt x="16" y="221"/>
                    </a:lnTo>
                    <a:lnTo>
                      <a:pt x="14" y="223"/>
                    </a:lnTo>
                    <a:lnTo>
                      <a:pt x="14" y="221"/>
                    </a:lnTo>
                    <a:lnTo>
                      <a:pt x="13" y="221"/>
                    </a:lnTo>
                    <a:lnTo>
                      <a:pt x="13" y="221"/>
                    </a:lnTo>
                    <a:lnTo>
                      <a:pt x="12" y="223"/>
                    </a:lnTo>
                    <a:lnTo>
                      <a:pt x="12" y="221"/>
                    </a:lnTo>
                    <a:lnTo>
                      <a:pt x="12" y="221"/>
                    </a:lnTo>
                    <a:lnTo>
                      <a:pt x="12" y="221"/>
                    </a:lnTo>
                    <a:lnTo>
                      <a:pt x="12" y="221"/>
                    </a:lnTo>
                    <a:lnTo>
                      <a:pt x="10" y="223"/>
                    </a:lnTo>
                    <a:lnTo>
                      <a:pt x="10" y="224"/>
                    </a:lnTo>
                    <a:lnTo>
                      <a:pt x="10" y="228"/>
                    </a:lnTo>
                    <a:lnTo>
                      <a:pt x="7" y="228"/>
                    </a:lnTo>
                    <a:lnTo>
                      <a:pt x="7" y="228"/>
                    </a:lnTo>
                    <a:lnTo>
                      <a:pt x="6" y="228"/>
                    </a:lnTo>
                    <a:lnTo>
                      <a:pt x="4" y="228"/>
                    </a:lnTo>
                    <a:lnTo>
                      <a:pt x="3" y="228"/>
                    </a:lnTo>
                    <a:lnTo>
                      <a:pt x="3" y="228"/>
                    </a:lnTo>
                    <a:lnTo>
                      <a:pt x="2" y="230"/>
                    </a:lnTo>
                    <a:lnTo>
                      <a:pt x="0" y="230"/>
                    </a:lnTo>
                    <a:lnTo>
                      <a:pt x="0" y="233"/>
                    </a:lnTo>
                    <a:lnTo>
                      <a:pt x="2" y="234"/>
                    </a:lnTo>
                    <a:lnTo>
                      <a:pt x="2" y="234"/>
                    </a:lnTo>
                    <a:lnTo>
                      <a:pt x="4" y="234"/>
                    </a:lnTo>
                    <a:lnTo>
                      <a:pt x="6" y="233"/>
                    </a:lnTo>
                    <a:lnTo>
                      <a:pt x="9" y="231"/>
                    </a:lnTo>
                    <a:lnTo>
                      <a:pt x="10" y="230"/>
                    </a:lnTo>
                    <a:lnTo>
                      <a:pt x="7" y="233"/>
                    </a:lnTo>
                    <a:lnTo>
                      <a:pt x="6" y="234"/>
                    </a:lnTo>
                    <a:lnTo>
                      <a:pt x="4" y="236"/>
                    </a:lnTo>
                    <a:lnTo>
                      <a:pt x="4" y="237"/>
                    </a:lnTo>
                    <a:lnTo>
                      <a:pt x="7" y="240"/>
                    </a:lnTo>
                    <a:lnTo>
                      <a:pt x="9" y="243"/>
                    </a:lnTo>
                    <a:lnTo>
                      <a:pt x="10" y="244"/>
                    </a:lnTo>
                    <a:lnTo>
                      <a:pt x="13" y="247"/>
                    </a:lnTo>
                    <a:lnTo>
                      <a:pt x="19" y="249"/>
                    </a:lnTo>
                    <a:lnTo>
                      <a:pt x="23" y="251"/>
                    </a:lnTo>
                    <a:lnTo>
                      <a:pt x="27" y="251"/>
                    </a:lnTo>
                    <a:lnTo>
                      <a:pt x="29" y="250"/>
                    </a:lnTo>
                    <a:lnTo>
                      <a:pt x="33" y="249"/>
                    </a:lnTo>
                    <a:lnTo>
                      <a:pt x="35" y="247"/>
                    </a:lnTo>
                    <a:lnTo>
                      <a:pt x="36" y="247"/>
                    </a:lnTo>
                    <a:lnTo>
                      <a:pt x="37" y="247"/>
                    </a:lnTo>
                    <a:lnTo>
                      <a:pt x="39" y="247"/>
                    </a:lnTo>
                    <a:lnTo>
                      <a:pt x="39" y="247"/>
                    </a:lnTo>
                    <a:lnTo>
                      <a:pt x="39" y="246"/>
                    </a:lnTo>
                    <a:lnTo>
                      <a:pt x="40" y="246"/>
                    </a:lnTo>
                    <a:lnTo>
                      <a:pt x="40" y="246"/>
                    </a:lnTo>
                    <a:lnTo>
                      <a:pt x="42" y="246"/>
                    </a:lnTo>
                    <a:lnTo>
                      <a:pt x="40" y="246"/>
                    </a:lnTo>
                    <a:lnTo>
                      <a:pt x="40" y="247"/>
                    </a:lnTo>
                    <a:lnTo>
                      <a:pt x="39" y="249"/>
                    </a:lnTo>
                    <a:lnTo>
                      <a:pt x="37" y="251"/>
                    </a:lnTo>
                    <a:lnTo>
                      <a:pt x="36" y="253"/>
                    </a:lnTo>
                    <a:lnTo>
                      <a:pt x="35" y="254"/>
                    </a:lnTo>
                    <a:lnTo>
                      <a:pt x="33" y="256"/>
                    </a:lnTo>
                    <a:lnTo>
                      <a:pt x="27" y="257"/>
                    </a:lnTo>
                    <a:lnTo>
                      <a:pt x="22" y="260"/>
                    </a:lnTo>
                    <a:lnTo>
                      <a:pt x="19" y="260"/>
                    </a:lnTo>
                    <a:lnTo>
                      <a:pt x="19" y="259"/>
                    </a:lnTo>
                    <a:lnTo>
                      <a:pt x="17" y="257"/>
                    </a:lnTo>
                    <a:lnTo>
                      <a:pt x="16" y="257"/>
                    </a:lnTo>
                    <a:lnTo>
                      <a:pt x="14" y="259"/>
                    </a:lnTo>
                    <a:lnTo>
                      <a:pt x="14" y="260"/>
                    </a:lnTo>
                    <a:lnTo>
                      <a:pt x="16" y="263"/>
                    </a:lnTo>
                    <a:lnTo>
                      <a:pt x="17" y="264"/>
                    </a:lnTo>
                    <a:lnTo>
                      <a:pt x="35" y="283"/>
                    </a:lnTo>
                    <a:lnTo>
                      <a:pt x="39" y="286"/>
                    </a:lnTo>
                    <a:lnTo>
                      <a:pt x="42" y="287"/>
                    </a:lnTo>
                    <a:lnTo>
                      <a:pt x="46" y="289"/>
                    </a:lnTo>
                    <a:lnTo>
                      <a:pt x="50" y="289"/>
                    </a:lnTo>
                    <a:lnTo>
                      <a:pt x="56" y="287"/>
                    </a:lnTo>
                    <a:lnTo>
                      <a:pt x="65" y="283"/>
                    </a:lnTo>
                    <a:lnTo>
                      <a:pt x="69" y="280"/>
                    </a:lnTo>
                    <a:lnTo>
                      <a:pt x="72" y="276"/>
                    </a:lnTo>
                    <a:lnTo>
                      <a:pt x="72" y="272"/>
                    </a:lnTo>
                    <a:lnTo>
                      <a:pt x="68" y="269"/>
                    </a:lnTo>
                    <a:lnTo>
                      <a:pt x="72" y="264"/>
                    </a:lnTo>
                    <a:lnTo>
                      <a:pt x="73" y="262"/>
                    </a:lnTo>
                    <a:lnTo>
                      <a:pt x="70" y="260"/>
                    </a:lnTo>
                    <a:lnTo>
                      <a:pt x="76" y="260"/>
                    </a:lnTo>
                    <a:lnTo>
                      <a:pt x="79" y="260"/>
                    </a:lnTo>
                    <a:lnTo>
                      <a:pt x="82" y="262"/>
                    </a:lnTo>
                    <a:lnTo>
                      <a:pt x="79" y="262"/>
                    </a:lnTo>
                    <a:lnTo>
                      <a:pt x="78" y="262"/>
                    </a:lnTo>
                    <a:lnTo>
                      <a:pt x="78" y="263"/>
                    </a:lnTo>
                    <a:lnTo>
                      <a:pt x="76" y="264"/>
                    </a:lnTo>
                    <a:lnTo>
                      <a:pt x="78" y="266"/>
                    </a:lnTo>
                    <a:lnTo>
                      <a:pt x="78" y="266"/>
                    </a:lnTo>
                    <a:lnTo>
                      <a:pt x="81" y="266"/>
                    </a:lnTo>
                    <a:lnTo>
                      <a:pt x="79" y="267"/>
                    </a:lnTo>
                    <a:lnTo>
                      <a:pt x="78" y="269"/>
                    </a:lnTo>
                    <a:lnTo>
                      <a:pt x="78" y="270"/>
                    </a:lnTo>
                    <a:lnTo>
                      <a:pt x="78" y="272"/>
                    </a:lnTo>
                    <a:lnTo>
                      <a:pt x="82" y="272"/>
                    </a:lnTo>
                    <a:lnTo>
                      <a:pt x="85" y="272"/>
                    </a:lnTo>
                    <a:lnTo>
                      <a:pt x="88" y="270"/>
                    </a:lnTo>
                    <a:lnTo>
                      <a:pt x="81" y="274"/>
                    </a:lnTo>
                    <a:lnTo>
                      <a:pt x="78" y="276"/>
                    </a:lnTo>
                    <a:lnTo>
                      <a:pt x="79" y="276"/>
                    </a:lnTo>
                    <a:lnTo>
                      <a:pt x="81" y="276"/>
                    </a:lnTo>
                    <a:lnTo>
                      <a:pt x="81" y="276"/>
                    </a:lnTo>
                    <a:lnTo>
                      <a:pt x="79" y="277"/>
                    </a:lnTo>
                    <a:lnTo>
                      <a:pt x="79" y="280"/>
                    </a:lnTo>
                    <a:lnTo>
                      <a:pt x="82" y="283"/>
                    </a:lnTo>
                    <a:lnTo>
                      <a:pt x="83" y="287"/>
                    </a:lnTo>
                    <a:lnTo>
                      <a:pt x="83" y="290"/>
                    </a:lnTo>
                    <a:lnTo>
                      <a:pt x="82" y="295"/>
                    </a:lnTo>
                    <a:lnTo>
                      <a:pt x="81" y="303"/>
                    </a:lnTo>
                    <a:lnTo>
                      <a:pt x="79" y="306"/>
                    </a:lnTo>
                    <a:lnTo>
                      <a:pt x="81" y="309"/>
                    </a:lnTo>
                    <a:lnTo>
                      <a:pt x="81" y="312"/>
                    </a:lnTo>
                    <a:lnTo>
                      <a:pt x="81" y="313"/>
                    </a:lnTo>
                    <a:lnTo>
                      <a:pt x="81" y="313"/>
                    </a:lnTo>
                    <a:lnTo>
                      <a:pt x="81" y="313"/>
                    </a:lnTo>
                    <a:lnTo>
                      <a:pt x="82" y="315"/>
                    </a:lnTo>
                    <a:lnTo>
                      <a:pt x="82" y="316"/>
                    </a:lnTo>
                    <a:lnTo>
                      <a:pt x="83" y="316"/>
                    </a:lnTo>
                    <a:lnTo>
                      <a:pt x="85" y="316"/>
                    </a:lnTo>
                    <a:lnTo>
                      <a:pt x="82" y="316"/>
                    </a:lnTo>
                    <a:lnTo>
                      <a:pt x="82" y="318"/>
                    </a:lnTo>
                    <a:lnTo>
                      <a:pt x="82" y="320"/>
                    </a:lnTo>
                    <a:lnTo>
                      <a:pt x="82" y="322"/>
                    </a:lnTo>
                    <a:lnTo>
                      <a:pt x="83" y="322"/>
                    </a:lnTo>
                    <a:lnTo>
                      <a:pt x="83" y="320"/>
                    </a:lnTo>
                    <a:lnTo>
                      <a:pt x="85" y="320"/>
                    </a:lnTo>
                    <a:lnTo>
                      <a:pt x="85" y="319"/>
                    </a:lnTo>
                    <a:lnTo>
                      <a:pt x="85" y="322"/>
                    </a:lnTo>
                    <a:lnTo>
                      <a:pt x="85" y="323"/>
                    </a:lnTo>
                    <a:lnTo>
                      <a:pt x="83" y="325"/>
                    </a:lnTo>
                    <a:lnTo>
                      <a:pt x="83" y="326"/>
                    </a:lnTo>
                    <a:lnTo>
                      <a:pt x="83" y="329"/>
                    </a:lnTo>
                    <a:lnTo>
                      <a:pt x="91" y="369"/>
                    </a:lnTo>
                    <a:lnTo>
                      <a:pt x="92" y="372"/>
                    </a:lnTo>
                    <a:lnTo>
                      <a:pt x="95" y="378"/>
                    </a:lnTo>
                    <a:lnTo>
                      <a:pt x="96" y="382"/>
                    </a:lnTo>
                    <a:lnTo>
                      <a:pt x="99" y="384"/>
                    </a:lnTo>
                    <a:lnTo>
                      <a:pt x="99" y="385"/>
                    </a:lnTo>
                    <a:lnTo>
                      <a:pt x="99" y="387"/>
                    </a:lnTo>
                    <a:lnTo>
                      <a:pt x="102" y="388"/>
                    </a:lnTo>
                    <a:lnTo>
                      <a:pt x="101" y="388"/>
                    </a:lnTo>
                    <a:lnTo>
                      <a:pt x="99" y="388"/>
                    </a:lnTo>
                    <a:lnTo>
                      <a:pt x="99" y="388"/>
                    </a:lnTo>
                    <a:lnTo>
                      <a:pt x="101" y="389"/>
                    </a:lnTo>
                    <a:lnTo>
                      <a:pt x="101" y="391"/>
                    </a:lnTo>
                    <a:lnTo>
                      <a:pt x="102" y="394"/>
                    </a:lnTo>
                    <a:lnTo>
                      <a:pt x="102" y="395"/>
                    </a:lnTo>
                    <a:lnTo>
                      <a:pt x="104" y="397"/>
                    </a:lnTo>
                    <a:lnTo>
                      <a:pt x="106" y="401"/>
                    </a:lnTo>
                    <a:lnTo>
                      <a:pt x="108" y="402"/>
                    </a:lnTo>
                    <a:lnTo>
                      <a:pt x="109" y="405"/>
                    </a:lnTo>
                    <a:lnTo>
                      <a:pt x="119" y="441"/>
                    </a:lnTo>
                    <a:lnTo>
                      <a:pt x="121" y="444"/>
                    </a:lnTo>
                    <a:lnTo>
                      <a:pt x="124" y="447"/>
                    </a:lnTo>
                    <a:lnTo>
                      <a:pt x="129" y="456"/>
                    </a:lnTo>
                    <a:lnTo>
                      <a:pt x="134" y="461"/>
                    </a:lnTo>
                    <a:lnTo>
                      <a:pt x="141" y="481"/>
                    </a:lnTo>
                    <a:lnTo>
                      <a:pt x="145" y="489"/>
                    </a:lnTo>
                    <a:lnTo>
                      <a:pt x="145" y="492"/>
                    </a:lnTo>
                    <a:lnTo>
                      <a:pt x="145" y="494"/>
                    </a:lnTo>
                    <a:lnTo>
                      <a:pt x="144" y="489"/>
                    </a:lnTo>
                    <a:lnTo>
                      <a:pt x="142" y="487"/>
                    </a:lnTo>
                    <a:lnTo>
                      <a:pt x="144" y="496"/>
                    </a:lnTo>
                    <a:lnTo>
                      <a:pt x="145" y="500"/>
                    </a:lnTo>
                    <a:lnTo>
                      <a:pt x="147" y="504"/>
                    </a:lnTo>
                    <a:lnTo>
                      <a:pt x="149" y="509"/>
                    </a:lnTo>
                    <a:lnTo>
                      <a:pt x="154" y="513"/>
                    </a:lnTo>
                    <a:lnTo>
                      <a:pt x="160" y="517"/>
                    </a:lnTo>
                    <a:lnTo>
                      <a:pt x="164" y="520"/>
                    </a:lnTo>
                    <a:lnTo>
                      <a:pt x="167" y="519"/>
                    </a:lnTo>
                    <a:lnTo>
                      <a:pt x="168" y="519"/>
                    </a:lnTo>
                    <a:lnTo>
                      <a:pt x="171" y="516"/>
                    </a:lnTo>
                    <a:lnTo>
                      <a:pt x="174" y="515"/>
                    </a:lnTo>
                    <a:lnTo>
                      <a:pt x="175" y="513"/>
                    </a:lnTo>
                    <a:lnTo>
                      <a:pt x="175" y="510"/>
                    </a:lnTo>
                    <a:lnTo>
                      <a:pt x="175" y="507"/>
                    </a:lnTo>
                    <a:lnTo>
                      <a:pt x="177" y="506"/>
                    </a:lnTo>
                    <a:lnTo>
                      <a:pt x="181" y="502"/>
                    </a:lnTo>
                    <a:lnTo>
                      <a:pt x="187" y="500"/>
                    </a:lnTo>
                    <a:lnTo>
                      <a:pt x="193" y="499"/>
                    </a:lnTo>
                    <a:lnTo>
                      <a:pt x="198" y="500"/>
                    </a:lnTo>
                    <a:lnTo>
                      <a:pt x="195" y="499"/>
                    </a:lnTo>
                    <a:lnTo>
                      <a:pt x="193" y="497"/>
                    </a:lnTo>
                    <a:lnTo>
                      <a:pt x="190" y="496"/>
                    </a:lnTo>
                    <a:lnTo>
                      <a:pt x="190" y="493"/>
                    </a:lnTo>
                    <a:lnTo>
                      <a:pt x="191" y="492"/>
                    </a:lnTo>
                    <a:lnTo>
                      <a:pt x="194" y="487"/>
                    </a:lnTo>
                    <a:lnTo>
                      <a:pt x="194" y="486"/>
                    </a:lnTo>
                    <a:lnTo>
                      <a:pt x="195" y="484"/>
                    </a:lnTo>
                    <a:lnTo>
                      <a:pt x="195" y="483"/>
                    </a:lnTo>
                    <a:lnTo>
                      <a:pt x="195" y="481"/>
                    </a:lnTo>
                    <a:lnTo>
                      <a:pt x="197" y="480"/>
                    </a:lnTo>
                    <a:lnTo>
                      <a:pt x="201" y="480"/>
                    </a:lnTo>
                    <a:lnTo>
                      <a:pt x="203" y="480"/>
                    </a:lnTo>
                    <a:lnTo>
                      <a:pt x="205" y="479"/>
                    </a:lnTo>
                    <a:lnTo>
                      <a:pt x="205" y="476"/>
                    </a:lnTo>
                    <a:lnTo>
                      <a:pt x="205" y="467"/>
                    </a:lnTo>
                    <a:lnTo>
                      <a:pt x="205" y="463"/>
                    </a:lnTo>
                    <a:lnTo>
                      <a:pt x="203" y="463"/>
                    </a:lnTo>
                    <a:lnTo>
                      <a:pt x="204" y="460"/>
                    </a:lnTo>
                    <a:lnTo>
                      <a:pt x="204" y="457"/>
                    </a:lnTo>
                    <a:lnTo>
                      <a:pt x="205" y="453"/>
                    </a:lnTo>
                    <a:lnTo>
                      <a:pt x="205" y="450"/>
                    </a:lnTo>
                    <a:lnTo>
                      <a:pt x="207" y="448"/>
                    </a:lnTo>
                    <a:lnTo>
                      <a:pt x="211" y="441"/>
                    </a:lnTo>
                    <a:lnTo>
                      <a:pt x="213" y="438"/>
                    </a:lnTo>
                    <a:lnTo>
                      <a:pt x="213" y="434"/>
                    </a:lnTo>
                    <a:lnTo>
                      <a:pt x="214" y="431"/>
                    </a:lnTo>
                    <a:lnTo>
                      <a:pt x="214" y="427"/>
                    </a:lnTo>
                    <a:lnTo>
                      <a:pt x="213" y="425"/>
                    </a:lnTo>
                    <a:lnTo>
                      <a:pt x="211" y="423"/>
                    </a:lnTo>
                    <a:lnTo>
                      <a:pt x="210" y="421"/>
                    </a:lnTo>
                    <a:lnTo>
                      <a:pt x="211" y="418"/>
                    </a:lnTo>
                    <a:lnTo>
                      <a:pt x="211" y="420"/>
                    </a:lnTo>
                    <a:lnTo>
                      <a:pt x="214" y="423"/>
                    </a:lnTo>
                    <a:lnTo>
                      <a:pt x="213" y="421"/>
                    </a:lnTo>
                    <a:lnTo>
                      <a:pt x="211" y="411"/>
                    </a:lnTo>
                    <a:lnTo>
                      <a:pt x="211" y="410"/>
                    </a:lnTo>
                    <a:lnTo>
                      <a:pt x="211" y="405"/>
                    </a:lnTo>
                    <a:lnTo>
                      <a:pt x="211" y="400"/>
                    </a:lnTo>
                    <a:lnTo>
                      <a:pt x="210" y="395"/>
                    </a:lnTo>
                    <a:lnTo>
                      <a:pt x="210" y="391"/>
                    </a:lnTo>
                    <a:lnTo>
                      <a:pt x="213" y="385"/>
                    </a:lnTo>
                    <a:lnTo>
                      <a:pt x="214" y="382"/>
                    </a:lnTo>
                    <a:lnTo>
                      <a:pt x="216" y="381"/>
                    </a:lnTo>
                    <a:lnTo>
                      <a:pt x="217" y="379"/>
                    </a:lnTo>
                    <a:lnTo>
                      <a:pt x="220" y="379"/>
                    </a:lnTo>
                    <a:lnTo>
                      <a:pt x="221" y="379"/>
                    </a:lnTo>
                    <a:lnTo>
                      <a:pt x="223" y="381"/>
                    </a:lnTo>
                    <a:lnTo>
                      <a:pt x="226" y="382"/>
                    </a:lnTo>
                    <a:lnTo>
                      <a:pt x="226" y="381"/>
                    </a:lnTo>
                    <a:lnTo>
                      <a:pt x="227" y="379"/>
                    </a:lnTo>
                    <a:lnTo>
                      <a:pt x="228" y="377"/>
                    </a:lnTo>
                    <a:lnTo>
                      <a:pt x="230" y="374"/>
                    </a:lnTo>
                    <a:lnTo>
                      <a:pt x="231" y="372"/>
                    </a:lnTo>
                    <a:lnTo>
                      <a:pt x="233" y="371"/>
                    </a:lnTo>
                    <a:lnTo>
                      <a:pt x="240" y="371"/>
                    </a:lnTo>
                    <a:lnTo>
                      <a:pt x="244" y="369"/>
                    </a:lnTo>
                    <a:lnTo>
                      <a:pt x="249" y="366"/>
                    </a:lnTo>
                    <a:lnTo>
                      <a:pt x="250" y="364"/>
                    </a:lnTo>
                    <a:lnTo>
                      <a:pt x="250" y="361"/>
                    </a:lnTo>
                    <a:lnTo>
                      <a:pt x="249" y="361"/>
                    </a:lnTo>
                    <a:lnTo>
                      <a:pt x="249" y="359"/>
                    </a:lnTo>
                    <a:lnTo>
                      <a:pt x="250" y="358"/>
                    </a:lnTo>
                    <a:lnTo>
                      <a:pt x="251" y="355"/>
                    </a:lnTo>
                    <a:lnTo>
                      <a:pt x="254" y="354"/>
                    </a:lnTo>
                    <a:lnTo>
                      <a:pt x="260" y="351"/>
                    </a:lnTo>
                    <a:lnTo>
                      <a:pt x="264" y="348"/>
                    </a:lnTo>
                    <a:lnTo>
                      <a:pt x="270" y="341"/>
                    </a:lnTo>
                    <a:lnTo>
                      <a:pt x="279" y="335"/>
                    </a:lnTo>
                    <a:lnTo>
                      <a:pt x="283" y="332"/>
                    </a:lnTo>
                    <a:lnTo>
                      <a:pt x="287" y="328"/>
                    </a:lnTo>
                    <a:lnTo>
                      <a:pt x="293" y="319"/>
                    </a:lnTo>
                    <a:lnTo>
                      <a:pt x="296" y="316"/>
                    </a:lnTo>
                    <a:lnTo>
                      <a:pt x="299" y="313"/>
                    </a:lnTo>
                    <a:lnTo>
                      <a:pt x="303" y="312"/>
                    </a:lnTo>
                    <a:lnTo>
                      <a:pt x="303" y="310"/>
                    </a:lnTo>
                    <a:lnTo>
                      <a:pt x="303" y="310"/>
                    </a:lnTo>
                    <a:lnTo>
                      <a:pt x="303" y="309"/>
                    </a:lnTo>
                    <a:lnTo>
                      <a:pt x="303" y="310"/>
                    </a:lnTo>
                    <a:lnTo>
                      <a:pt x="302" y="309"/>
                    </a:lnTo>
                    <a:lnTo>
                      <a:pt x="302" y="310"/>
                    </a:lnTo>
                    <a:lnTo>
                      <a:pt x="300" y="310"/>
                    </a:lnTo>
                    <a:lnTo>
                      <a:pt x="300" y="310"/>
                    </a:lnTo>
                    <a:lnTo>
                      <a:pt x="299" y="310"/>
                    </a:lnTo>
                    <a:lnTo>
                      <a:pt x="299" y="309"/>
                    </a:lnTo>
                    <a:lnTo>
                      <a:pt x="300" y="308"/>
                    </a:lnTo>
                    <a:lnTo>
                      <a:pt x="302" y="306"/>
                    </a:lnTo>
                    <a:lnTo>
                      <a:pt x="303" y="306"/>
                    </a:lnTo>
                    <a:lnTo>
                      <a:pt x="305" y="306"/>
                    </a:lnTo>
                    <a:lnTo>
                      <a:pt x="306" y="306"/>
                    </a:lnTo>
                    <a:lnTo>
                      <a:pt x="306" y="308"/>
                    </a:lnTo>
                    <a:lnTo>
                      <a:pt x="305" y="309"/>
                    </a:lnTo>
                    <a:lnTo>
                      <a:pt x="309" y="309"/>
                    </a:lnTo>
                    <a:lnTo>
                      <a:pt x="313" y="308"/>
                    </a:lnTo>
                    <a:lnTo>
                      <a:pt x="317" y="305"/>
                    </a:lnTo>
                    <a:lnTo>
                      <a:pt x="317" y="302"/>
                    </a:lnTo>
                    <a:lnTo>
                      <a:pt x="320" y="302"/>
                    </a:lnTo>
                    <a:lnTo>
                      <a:pt x="323" y="300"/>
                    </a:lnTo>
                    <a:lnTo>
                      <a:pt x="326" y="296"/>
                    </a:lnTo>
                    <a:lnTo>
                      <a:pt x="330" y="290"/>
                    </a:lnTo>
                    <a:lnTo>
                      <a:pt x="330" y="289"/>
                    </a:lnTo>
                    <a:lnTo>
                      <a:pt x="330" y="287"/>
                    </a:lnTo>
                    <a:lnTo>
                      <a:pt x="329" y="283"/>
                    </a:lnTo>
                    <a:lnTo>
                      <a:pt x="329" y="280"/>
                    </a:lnTo>
                    <a:lnTo>
                      <a:pt x="329" y="279"/>
                    </a:lnTo>
                    <a:lnTo>
                      <a:pt x="333" y="276"/>
                    </a:lnTo>
                    <a:lnTo>
                      <a:pt x="338" y="273"/>
                    </a:lnTo>
                    <a:lnTo>
                      <a:pt x="342" y="273"/>
                    </a:lnTo>
                    <a:lnTo>
                      <a:pt x="346" y="270"/>
                    </a:lnTo>
                    <a:lnTo>
                      <a:pt x="348" y="269"/>
                    </a:lnTo>
                    <a:lnTo>
                      <a:pt x="349" y="267"/>
                    </a:lnTo>
                    <a:lnTo>
                      <a:pt x="351" y="266"/>
                    </a:lnTo>
                    <a:lnTo>
                      <a:pt x="351" y="264"/>
                    </a:lnTo>
                    <a:lnTo>
                      <a:pt x="351" y="263"/>
                    </a:lnTo>
                    <a:lnTo>
                      <a:pt x="349" y="262"/>
                    </a:lnTo>
                    <a:lnTo>
                      <a:pt x="348" y="260"/>
                    </a:lnTo>
                    <a:lnTo>
                      <a:pt x="348" y="259"/>
                    </a:lnTo>
                    <a:lnTo>
                      <a:pt x="349" y="260"/>
                    </a:lnTo>
                    <a:lnTo>
                      <a:pt x="349" y="260"/>
                    </a:lnTo>
                    <a:lnTo>
                      <a:pt x="351" y="262"/>
                    </a:lnTo>
                    <a:lnTo>
                      <a:pt x="352" y="262"/>
                    </a:lnTo>
                    <a:lnTo>
                      <a:pt x="352" y="263"/>
                    </a:lnTo>
                    <a:lnTo>
                      <a:pt x="352" y="264"/>
                    </a:lnTo>
                    <a:lnTo>
                      <a:pt x="351" y="267"/>
                    </a:lnTo>
                    <a:lnTo>
                      <a:pt x="351" y="270"/>
                    </a:lnTo>
                    <a:lnTo>
                      <a:pt x="351" y="272"/>
                    </a:lnTo>
                    <a:lnTo>
                      <a:pt x="351" y="273"/>
                    </a:lnTo>
                    <a:lnTo>
                      <a:pt x="352" y="273"/>
                    </a:lnTo>
                    <a:lnTo>
                      <a:pt x="353" y="273"/>
                    </a:lnTo>
                    <a:lnTo>
                      <a:pt x="353" y="272"/>
                    </a:lnTo>
                    <a:lnTo>
                      <a:pt x="353" y="270"/>
                    </a:lnTo>
                    <a:lnTo>
                      <a:pt x="355" y="272"/>
                    </a:lnTo>
                    <a:lnTo>
                      <a:pt x="356" y="273"/>
                    </a:lnTo>
                    <a:lnTo>
                      <a:pt x="358" y="273"/>
                    </a:lnTo>
                    <a:lnTo>
                      <a:pt x="359" y="272"/>
                    </a:lnTo>
                    <a:lnTo>
                      <a:pt x="359" y="270"/>
                    </a:lnTo>
                    <a:lnTo>
                      <a:pt x="361" y="263"/>
                    </a:lnTo>
                    <a:lnTo>
                      <a:pt x="362" y="266"/>
                    </a:lnTo>
                    <a:lnTo>
                      <a:pt x="361" y="270"/>
                    </a:lnTo>
                    <a:lnTo>
                      <a:pt x="362" y="273"/>
                    </a:lnTo>
                    <a:lnTo>
                      <a:pt x="362" y="273"/>
                    </a:lnTo>
                    <a:lnTo>
                      <a:pt x="363" y="272"/>
                    </a:lnTo>
                    <a:lnTo>
                      <a:pt x="363" y="272"/>
                    </a:lnTo>
                    <a:lnTo>
                      <a:pt x="363" y="270"/>
                    </a:lnTo>
                    <a:lnTo>
                      <a:pt x="365" y="272"/>
                    </a:lnTo>
                    <a:lnTo>
                      <a:pt x="365" y="272"/>
                    </a:lnTo>
                    <a:lnTo>
                      <a:pt x="366" y="272"/>
                    </a:lnTo>
                    <a:lnTo>
                      <a:pt x="368" y="272"/>
                    </a:lnTo>
                    <a:lnTo>
                      <a:pt x="368" y="270"/>
                    </a:lnTo>
                    <a:lnTo>
                      <a:pt x="366" y="269"/>
                    </a:lnTo>
                    <a:lnTo>
                      <a:pt x="366" y="267"/>
                    </a:lnTo>
                    <a:lnTo>
                      <a:pt x="365" y="267"/>
                    </a:lnTo>
                    <a:lnTo>
                      <a:pt x="366" y="266"/>
                    </a:lnTo>
                    <a:lnTo>
                      <a:pt x="368" y="266"/>
                    </a:lnTo>
                    <a:lnTo>
                      <a:pt x="368" y="264"/>
                    </a:lnTo>
                    <a:lnTo>
                      <a:pt x="368" y="264"/>
                    </a:lnTo>
                    <a:lnTo>
                      <a:pt x="368" y="262"/>
                    </a:lnTo>
                    <a:lnTo>
                      <a:pt x="368" y="260"/>
                    </a:lnTo>
                    <a:lnTo>
                      <a:pt x="365" y="254"/>
                    </a:lnTo>
                    <a:lnTo>
                      <a:pt x="365" y="253"/>
                    </a:lnTo>
                    <a:lnTo>
                      <a:pt x="365" y="250"/>
                    </a:lnTo>
                    <a:lnTo>
                      <a:pt x="365" y="250"/>
                    </a:lnTo>
                    <a:lnTo>
                      <a:pt x="365" y="249"/>
                    </a:lnTo>
                    <a:lnTo>
                      <a:pt x="365" y="247"/>
                    </a:lnTo>
                    <a:lnTo>
                      <a:pt x="363" y="247"/>
                    </a:lnTo>
                    <a:lnTo>
                      <a:pt x="363" y="246"/>
                    </a:lnTo>
                    <a:lnTo>
                      <a:pt x="365" y="243"/>
                    </a:lnTo>
                    <a:lnTo>
                      <a:pt x="362" y="241"/>
                    </a:lnTo>
                    <a:lnTo>
                      <a:pt x="362" y="241"/>
                    </a:lnTo>
                    <a:lnTo>
                      <a:pt x="361" y="240"/>
                    </a:lnTo>
                    <a:lnTo>
                      <a:pt x="362" y="239"/>
                    </a:lnTo>
                    <a:lnTo>
                      <a:pt x="361" y="237"/>
                    </a:lnTo>
                    <a:lnTo>
                      <a:pt x="361" y="236"/>
                    </a:lnTo>
                    <a:lnTo>
                      <a:pt x="359" y="236"/>
                    </a:lnTo>
                    <a:lnTo>
                      <a:pt x="359" y="234"/>
                    </a:lnTo>
                    <a:lnTo>
                      <a:pt x="359" y="234"/>
                    </a:lnTo>
                    <a:lnTo>
                      <a:pt x="361" y="228"/>
                    </a:lnTo>
                    <a:lnTo>
                      <a:pt x="361" y="227"/>
                    </a:lnTo>
                    <a:lnTo>
                      <a:pt x="362" y="224"/>
                    </a:lnTo>
                    <a:lnTo>
                      <a:pt x="362" y="223"/>
                    </a:lnTo>
                    <a:lnTo>
                      <a:pt x="361" y="221"/>
                    </a:lnTo>
                    <a:lnTo>
                      <a:pt x="359" y="221"/>
                    </a:lnTo>
                    <a:lnTo>
                      <a:pt x="358" y="221"/>
                    </a:lnTo>
                    <a:lnTo>
                      <a:pt x="356" y="220"/>
                    </a:lnTo>
                    <a:lnTo>
                      <a:pt x="356" y="220"/>
                    </a:lnTo>
                    <a:lnTo>
                      <a:pt x="355" y="220"/>
                    </a:lnTo>
                    <a:lnTo>
                      <a:pt x="355" y="218"/>
                    </a:lnTo>
                    <a:lnTo>
                      <a:pt x="355" y="218"/>
                    </a:lnTo>
                    <a:lnTo>
                      <a:pt x="353" y="218"/>
                    </a:lnTo>
                    <a:lnTo>
                      <a:pt x="353" y="218"/>
                    </a:lnTo>
                    <a:lnTo>
                      <a:pt x="353" y="218"/>
                    </a:lnTo>
                    <a:lnTo>
                      <a:pt x="352" y="218"/>
                    </a:lnTo>
                    <a:lnTo>
                      <a:pt x="351" y="217"/>
                    </a:lnTo>
                    <a:lnTo>
                      <a:pt x="351" y="217"/>
                    </a:lnTo>
                    <a:lnTo>
                      <a:pt x="349" y="216"/>
                    </a:lnTo>
                    <a:lnTo>
                      <a:pt x="349" y="216"/>
                    </a:lnTo>
                    <a:lnTo>
                      <a:pt x="349" y="214"/>
                    </a:lnTo>
                    <a:lnTo>
                      <a:pt x="349" y="214"/>
                    </a:lnTo>
                    <a:lnTo>
                      <a:pt x="352" y="210"/>
                    </a:lnTo>
                    <a:lnTo>
                      <a:pt x="353" y="210"/>
                    </a:lnTo>
                    <a:lnTo>
                      <a:pt x="355" y="210"/>
                    </a:lnTo>
                    <a:lnTo>
                      <a:pt x="355" y="208"/>
                    </a:lnTo>
                    <a:lnTo>
                      <a:pt x="356" y="207"/>
                    </a:lnTo>
                    <a:lnTo>
                      <a:pt x="356" y="206"/>
                    </a:lnTo>
                    <a:lnTo>
                      <a:pt x="358" y="204"/>
                    </a:lnTo>
                    <a:lnTo>
                      <a:pt x="359" y="204"/>
                    </a:lnTo>
                    <a:lnTo>
                      <a:pt x="362" y="204"/>
                    </a:lnTo>
                    <a:lnTo>
                      <a:pt x="362" y="204"/>
                    </a:lnTo>
                    <a:lnTo>
                      <a:pt x="363" y="204"/>
                    </a:lnTo>
                    <a:lnTo>
                      <a:pt x="363" y="204"/>
                    </a:lnTo>
                    <a:lnTo>
                      <a:pt x="365" y="204"/>
                    </a:lnTo>
                    <a:lnTo>
                      <a:pt x="365" y="204"/>
                    </a:lnTo>
                    <a:lnTo>
                      <a:pt x="365" y="204"/>
                    </a:lnTo>
                    <a:lnTo>
                      <a:pt x="365" y="203"/>
                    </a:lnTo>
                    <a:lnTo>
                      <a:pt x="365" y="203"/>
                    </a:lnTo>
                    <a:lnTo>
                      <a:pt x="365" y="203"/>
                    </a:lnTo>
                    <a:lnTo>
                      <a:pt x="365" y="203"/>
                    </a:lnTo>
                    <a:lnTo>
                      <a:pt x="365" y="203"/>
                    </a:lnTo>
                    <a:lnTo>
                      <a:pt x="365" y="201"/>
                    </a:lnTo>
                    <a:lnTo>
                      <a:pt x="363" y="201"/>
                    </a:lnTo>
                    <a:lnTo>
                      <a:pt x="363" y="201"/>
                    </a:lnTo>
                    <a:lnTo>
                      <a:pt x="363" y="200"/>
                    </a:lnTo>
                    <a:lnTo>
                      <a:pt x="362" y="198"/>
                    </a:lnTo>
                    <a:lnTo>
                      <a:pt x="361" y="198"/>
                    </a:lnTo>
                    <a:lnTo>
                      <a:pt x="361" y="198"/>
                    </a:lnTo>
                    <a:lnTo>
                      <a:pt x="359" y="198"/>
                    </a:lnTo>
                    <a:lnTo>
                      <a:pt x="358" y="197"/>
                    </a:lnTo>
                    <a:lnTo>
                      <a:pt x="356" y="197"/>
                    </a:lnTo>
                    <a:lnTo>
                      <a:pt x="355" y="194"/>
                    </a:lnTo>
                    <a:lnTo>
                      <a:pt x="355" y="194"/>
                    </a:lnTo>
                    <a:lnTo>
                      <a:pt x="353" y="193"/>
                    </a:lnTo>
                    <a:lnTo>
                      <a:pt x="353" y="193"/>
                    </a:lnTo>
                    <a:lnTo>
                      <a:pt x="352" y="193"/>
                    </a:lnTo>
                    <a:lnTo>
                      <a:pt x="352" y="193"/>
                    </a:lnTo>
                    <a:lnTo>
                      <a:pt x="351" y="191"/>
                    </a:lnTo>
                    <a:lnTo>
                      <a:pt x="351" y="191"/>
                    </a:lnTo>
                    <a:lnTo>
                      <a:pt x="351" y="188"/>
                    </a:lnTo>
                    <a:lnTo>
                      <a:pt x="352" y="187"/>
                    </a:lnTo>
                    <a:lnTo>
                      <a:pt x="352" y="185"/>
                    </a:lnTo>
                    <a:lnTo>
                      <a:pt x="353" y="184"/>
                    </a:lnTo>
                    <a:lnTo>
                      <a:pt x="355" y="184"/>
                    </a:lnTo>
                    <a:lnTo>
                      <a:pt x="355" y="183"/>
                    </a:lnTo>
                    <a:lnTo>
                      <a:pt x="356" y="181"/>
                    </a:lnTo>
                    <a:lnTo>
                      <a:pt x="356" y="181"/>
                    </a:lnTo>
                    <a:lnTo>
                      <a:pt x="356" y="181"/>
                    </a:lnTo>
                    <a:lnTo>
                      <a:pt x="356" y="181"/>
                    </a:lnTo>
                    <a:lnTo>
                      <a:pt x="356" y="180"/>
                    </a:lnTo>
                    <a:lnTo>
                      <a:pt x="356" y="180"/>
                    </a:lnTo>
                    <a:lnTo>
                      <a:pt x="356" y="180"/>
                    </a:lnTo>
                    <a:lnTo>
                      <a:pt x="356" y="180"/>
                    </a:lnTo>
                    <a:lnTo>
                      <a:pt x="356" y="180"/>
                    </a:lnTo>
                    <a:lnTo>
                      <a:pt x="356" y="180"/>
                    </a:lnTo>
                    <a:lnTo>
                      <a:pt x="355" y="180"/>
                    </a:lnTo>
                    <a:lnTo>
                      <a:pt x="355" y="178"/>
                    </a:lnTo>
                    <a:lnTo>
                      <a:pt x="355" y="178"/>
                    </a:lnTo>
                    <a:lnTo>
                      <a:pt x="355" y="178"/>
                    </a:lnTo>
                    <a:lnTo>
                      <a:pt x="355" y="178"/>
                    </a:lnTo>
                    <a:lnTo>
                      <a:pt x="356" y="177"/>
                    </a:lnTo>
                    <a:lnTo>
                      <a:pt x="356" y="177"/>
                    </a:lnTo>
                    <a:lnTo>
                      <a:pt x="358" y="178"/>
                    </a:lnTo>
                    <a:lnTo>
                      <a:pt x="358" y="178"/>
                    </a:lnTo>
                    <a:lnTo>
                      <a:pt x="359" y="180"/>
                    </a:lnTo>
                    <a:lnTo>
                      <a:pt x="359" y="180"/>
                    </a:lnTo>
                    <a:lnTo>
                      <a:pt x="361" y="181"/>
                    </a:lnTo>
                    <a:lnTo>
                      <a:pt x="361" y="181"/>
                    </a:lnTo>
                    <a:lnTo>
                      <a:pt x="361" y="183"/>
                    </a:lnTo>
                    <a:lnTo>
                      <a:pt x="361" y="183"/>
                    </a:lnTo>
                    <a:lnTo>
                      <a:pt x="361" y="183"/>
                    </a:lnTo>
                    <a:lnTo>
                      <a:pt x="362" y="183"/>
                    </a:lnTo>
                    <a:lnTo>
                      <a:pt x="362" y="183"/>
                    </a:lnTo>
                    <a:lnTo>
                      <a:pt x="362" y="183"/>
                    </a:lnTo>
                    <a:lnTo>
                      <a:pt x="363" y="184"/>
                    </a:lnTo>
                    <a:lnTo>
                      <a:pt x="365" y="184"/>
                    </a:lnTo>
                    <a:lnTo>
                      <a:pt x="366" y="183"/>
                    </a:lnTo>
                    <a:lnTo>
                      <a:pt x="366" y="183"/>
                    </a:lnTo>
                    <a:lnTo>
                      <a:pt x="366" y="183"/>
                    </a:lnTo>
                    <a:lnTo>
                      <a:pt x="365" y="181"/>
                    </a:lnTo>
                    <a:lnTo>
                      <a:pt x="365" y="181"/>
                    </a:lnTo>
                    <a:lnTo>
                      <a:pt x="365" y="181"/>
                    </a:lnTo>
                    <a:lnTo>
                      <a:pt x="366" y="181"/>
                    </a:lnTo>
                    <a:lnTo>
                      <a:pt x="366" y="180"/>
                    </a:lnTo>
                    <a:lnTo>
                      <a:pt x="366" y="180"/>
                    </a:lnTo>
                    <a:lnTo>
                      <a:pt x="366" y="180"/>
                    </a:lnTo>
                    <a:lnTo>
                      <a:pt x="366" y="181"/>
                    </a:lnTo>
                    <a:lnTo>
                      <a:pt x="366" y="181"/>
                    </a:lnTo>
                    <a:lnTo>
                      <a:pt x="368" y="181"/>
                    </a:lnTo>
                    <a:lnTo>
                      <a:pt x="368" y="181"/>
                    </a:lnTo>
                    <a:lnTo>
                      <a:pt x="368" y="181"/>
                    </a:lnTo>
                    <a:lnTo>
                      <a:pt x="368" y="183"/>
                    </a:lnTo>
                    <a:lnTo>
                      <a:pt x="368" y="183"/>
                    </a:lnTo>
                    <a:lnTo>
                      <a:pt x="368" y="184"/>
                    </a:lnTo>
                    <a:lnTo>
                      <a:pt x="368" y="184"/>
                    </a:lnTo>
                    <a:lnTo>
                      <a:pt x="369" y="187"/>
                    </a:lnTo>
                    <a:lnTo>
                      <a:pt x="372" y="188"/>
                    </a:lnTo>
                    <a:lnTo>
                      <a:pt x="374" y="188"/>
                    </a:lnTo>
                    <a:lnTo>
                      <a:pt x="375" y="188"/>
                    </a:lnTo>
                    <a:lnTo>
                      <a:pt x="376" y="188"/>
                    </a:lnTo>
                    <a:lnTo>
                      <a:pt x="376" y="188"/>
                    </a:lnTo>
                    <a:lnTo>
                      <a:pt x="376" y="187"/>
                    </a:lnTo>
                    <a:lnTo>
                      <a:pt x="376" y="185"/>
                    </a:lnTo>
                    <a:lnTo>
                      <a:pt x="376" y="185"/>
                    </a:lnTo>
                    <a:lnTo>
                      <a:pt x="376" y="185"/>
                    </a:lnTo>
                    <a:lnTo>
                      <a:pt x="376" y="184"/>
                    </a:lnTo>
                    <a:lnTo>
                      <a:pt x="378" y="184"/>
                    </a:lnTo>
                    <a:lnTo>
                      <a:pt x="378" y="184"/>
                    </a:lnTo>
                    <a:lnTo>
                      <a:pt x="379" y="185"/>
                    </a:lnTo>
                    <a:lnTo>
                      <a:pt x="381" y="190"/>
                    </a:lnTo>
                    <a:lnTo>
                      <a:pt x="381" y="191"/>
                    </a:lnTo>
                    <a:lnTo>
                      <a:pt x="381" y="191"/>
                    </a:lnTo>
                    <a:lnTo>
                      <a:pt x="381" y="193"/>
                    </a:lnTo>
                    <a:lnTo>
                      <a:pt x="381" y="194"/>
                    </a:lnTo>
                    <a:lnTo>
                      <a:pt x="381" y="194"/>
                    </a:lnTo>
                    <a:lnTo>
                      <a:pt x="381" y="195"/>
                    </a:lnTo>
                    <a:lnTo>
                      <a:pt x="381" y="197"/>
                    </a:lnTo>
                    <a:lnTo>
                      <a:pt x="381" y="198"/>
                    </a:lnTo>
                    <a:lnTo>
                      <a:pt x="381" y="198"/>
                    </a:lnTo>
                    <a:lnTo>
                      <a:pt x="381" y="200"/>
                    </a:lnTo>
                    <a:lnTo>
                      <a:pt x="381" y="201"/>
                    </a:lnTo>
                    <a:lnTo>
                      <a:pt x="381" y="201"/>
                    </a:lnTo>
                    <a:lnTo>
                      <a:pt x="382" y="203"/>
                    </a:lnTo>
                    <a:lnTo>
                      <a:pt x="386" y="204"/>
                    </a:lnTo>
                    <a:lnTo>
                      <a:pt x="388" y="204"/>
                    </a:lnTo>
                    <a:lnTo>
                      <a:pt x="389" y="204"/>
                    </a:lnTo>
                    <a:lnTo>
                      <a:pt x="391" y="204"/>
                    </a:lnTo>
                    <a:lnTo>
                      <a:pt x="392" y="206"/>
                    </a:lnTo>
                    <a:lnTo>
                      <a:pt x="392" y="206"/>
                    </a:lnTo>
                    <a:lnTo>
                      <a:pt x="394" y="204"/>
                    </a:lnTo>
                    <a:lnTo>
                      <a:pt x="395" y="204"/>
                    </a:lnTo>
                    <a:lnTo>
                      <a:pt x="395" y="204"/>
                    </a:lnTo>
                    <a:lnTo>
                      <a:pt x="396" y="206"/>
                    </a:lnTo>
                    <a:lnTo>
                      <a:pt x="398" y="206"/>
                    </a:lnTo>
                    <a:lnTo>
                      <a:pt x="399" y="204"/>
                    </a:lnTo>
                    <a:lnTo>
                      <a:pt x="402" y="204"/>
                    </a:lnTo>
                    <a:lnTo>
                      <a:pt x="407" y="204"/>
                    </a:lnTo>
                    <a:lnTo>
                      <a:pt x="408" y="204"/>
                    </a:lnTo>
                    <a:lnTo>
                      <a:pt x="408" y="206"/>
                    </a:lnTo>
                    <a:lnTo>
                      <a:pt x="409" y="206"/>
                    </a:lnTo>
                    <a:lnTo>
                      <a:pt x="411" y="206"/>
                    </a:lnTo>
                    <a:lnTo>
                      <a:pt x="411" y="206"/>
                    </a:lnTo>
                    <a:lnTo>
                      <a:pt x="412" y="206"/>
                    </a:lnTo>
                    <a:lnTo>
                      <a:pt x="415" y="206"/>
                    </a:lnTo>
                    <a:lnTo>
                      <a:pt x="418" y="206"/>
                    </a:lnTo>
                    <a:lnTo>
                      <a:pt x="421" y="206"/>
                    </a:lnTo>
                    <a:lnTo>
                      <a:pt x="424" y="207"/>
                    </a:lnTo>
                    <a:lnTo>
                      <a:pt x="427" y="208"/>
                    </a:lnTo>
                    <a:lnTo>
                      <a:pt x="427" y="208"/>
                    </a:lnTo>
                    <a:lnTo>
                      <a:pt x="427" y="208"/>
                    </a:lnTo>
                    <a:lnTo>
                      <a:pt x="428" y="210"/>
                    </a:lnTo>
                    <a:lnTo>
                      <a:pt x="428" y="210"/>
                    </a:lnTo>
                    <a:lnTo>
                      <a:pt x="428" y="210"/>
                    </a:lnTo>
                    <a:lnTo>
                      <a:pt x="427" y="211"/>
                    </a:lnTo>
                    <a:lnTo>
                      <a:pt x="427" y="211"/>
                    </a:lnTo>
                    <a:lnTo>
                      <a:pt x="427" y="211"/>
                    </a:lnTo>
                    <a:lnTo>
                      <a:pt x="425" y="210"/>
                    </a:lnTo>
                    <a:lnTo>
                      <a:pt x="424" y="210"/>
                    </a:lnTo>
                    <a:lnTo>
                      <a:pt x="424" y="210"/>
                    </a:lnTo>
                    <a:lnTo>
                      <a:pt x="424" y="211"/>
                    </a:lnTo>
                    <a:lnTo>
                      <a:pt x="424" y="211"/>
                    </a:lnTo>
                    <a:lnTo>
                      <a:pt x="424" y="211"/>
                    </a:lnTo>
                    <a:lnTo>
                      <a:pt x="424" y="213"/>
                    </a:lnTo>
                    <a:lnTo>
                      <a:pt x="424" y="213"/>
                    </a:lnTo>
                    <a:lnTo>
                      <a:pt x="421" y="218"/>
                    </a:lnTo>
                    <a:lnTo>
                      <a:pt x="421" y="218"/>
                    </a:lnTo>
                    <a:lnTo>
                      <a:pt x="421" y="220"/>
                    </a:lnTo>
                    <a:lnTo>
                      <a:pt x="421" y="220"/>
                    </a:lnTo>
                    <a:lnTo>
                      <a:pt x="421" y="220"/>
                    </a:lnTo>
                    <a:lnTo>
                      <a:pt x="421" y="220"/>
                    </a:lnTo>
                    <a:lnTo>
                      <a:pt x="421" y="220"/>
                    </a:lnTo>
                    <a:lnTo>
                      <a:pt x="421" y="220"/>
                    </a:lnTo>
                    <a:lnTo>
                      <a:pt x="419" y="220"/>
                    </a:lnTo>
                    <a:lnTo>
                      <a:pt x="419" y="220"/>
                    </a:lnTo>
                    <a:lnTo>
                      <a:pt x="419" y="220"/>
                    </a:lnTo>
                    <a:lnTo>
                      <a:pt x="418" y="220"/>
                    </a:lnTo>
                    <a:lnTo>
                      <a:pt x="418" y="221"/>
                    </a:lnTo>
                    <a:lnTo>
                      <a:pt x="418" y="221"/>
                    </a:lnTo>
                    <a:lnTo>
                      <a:pt x="417" y="223"/>
                    </a:lnTo>
                    <a:lnTo>
                      <a:pt x="417" y="224"/>
                    </a:lnTo>
                    <a:lnTo>
                      <a:pt x="417" y="224"/>
                    </a:lnTo>
                    <a:lnTo>
                      <a:pt x="415" y="223"/>
                    </a:lnTo>
                    <a:lnTo>
                      <a:pt x="415" y="223"/>
                    </a:lnTo>
                    <a:lnTo>
                      <a:pt x="415" y="223"/>
                    </a:lnTo>
                    <a:lnTo>
                      <a:pt x="414" y="224"/>
                    </a:lnTo>
                    <a:lnTo>
                      <a:pt x="414" y="224"/>
                    </a:lnTo>
                    <a:lnTo>
                      <a:pt x="414" y="224"/>
                    </a:lnTo>
                    <a:lnTo>
                      <a:pt x="414" y="224"/>
                    </a:lnTo>
                    <a:lnTo>
                      <a:pt x="412" y="224"/>
                    </a:lnTo>
                    <a:lnTo>
                      <a:pt x="412" y="224"/>
                    </a:lnTo>
                    <a:lnTo>
                      <a:pt x="412" y="224"/>
                    </a:lnTo>
                    <a:lnTo>
                      <a:pt x="412" y="224"/>
                    </a:lnTo>
                    <a:lnTo>
                      <a:pt x="412" y="226"/>
                    </a:lnTo>
                    <a:lnTo>
                      <a:pt x="409" y="226"/>
                    </a:lnTo>
                    <a:lnTo>
                      <a:pt x="408" y="226"/>
                    </a:lnTo>
                    <a:lnTo>
                      <a:pt x="408" y="227"/>
                    </a:lnTo>
                    <a:lnTo>
                      <a:pt x="405" y="228"/>
                    </a:lnTo>
                    <a:lnTo>
                      <a:pt x="405" y="231"/>
                    </a:lnTo>
                    <a:lnTo>
                      <a:pt x="405" y="234"/>
                    </a:lnTo>
                    <a:lnTo>
                      <a:pt x="405" y="236"/>
                    </a:lnTo>
                    <a:lnTo>
                      <a:pt x="407" y="240"/>
                    </a:lnTo>
                    <a:lnTo>
                      <a:pt x="407" y="241"/>
                    </a:lnTo>
                    <a:lnTo>
                      <a:pt x="407" y="243"/>
                    </a:lnTo>
                    <a:lnTo>
                      <a:pt x="407" y="243"/>
                    </a:lnTo>
                    <a:lnTo>
                      <a:pt x="407" y="244"/>
                    </a:lnTo>
                    <a:lnTo>
                      <a:pt x="408" y="244"/>
                    </a:lnTo>
                    <a:lnTo>
                      <a:pt x="408" y="244"/>
                    </a:lnTo>
                    <a:lnTo>
                      <a:pt x="408" y="246"/>
                    </a:lnTo>
                    <a:lnTo>
                      <a:pt x="408" y="246"/>
                    </a:lnTo>
                    <a:lnTo>
                      <a:pt x="408" y="246"/>
                    </a:lnTo>
                    <a:lnTo>
                      <a:pt x="408" y="243"/>
                    </a:lnTo>
                    <a:lnTo>
                      <a:pt x="409" y="243"/>
                    </a:lnTo>
                    <a:lnTo>
                      <a:pt x="409" y="243"/>
                    </a:lnTo>
                    <a:lnTo>
                      <a:pt x="411" y="244"/>
                    </a:lnTo>
                    <a:lnTo>
                      <a:pt x="411" y="246"/>
                    </a:lnTo>
                    <a:lnTo>
                      <a:pt x="411" y="246"/>
                    </a:lnTo>
                    <a:lnTo>
                      <a:pt x="411" y="246"/>
                    </a:lnTo>
                    <a:lnTo>
                      <a:pt x="411" y="247"/>
                    </a:lnTo>
                    <a:lnTo>
                      <a:pt x="412" y="247"/>
                    </a:lnTo>
                    <a:lnTo>
                      <a:pt x="414" y="246"/>
                    </a:lnTo>
                    <a:lnTo>
                      <a:pt x="415" y="246"/>
                    </a:lnTo>
                    <a:lnTo>
                      <a:pt x="415" y="244"/>
                    </a:lnTo>
                    <a:lnTo>
                      <a:pt x="415" y="243"/>
                    </a:lnTo>
                    <a:lnTo>
                      <a:pt x="415" y="241"/>
                    </a:lnTo>
                    <a:lnTo>
                      <a:pt x="415" y="241"/>
                    </a:lnTo>
                    <a:lnTo>
                      <a:pt x="415" y="241"/>
                    </a:lnTo>
                    <a:lnTo>
                      <a:pt x="415" y="240"/>
                    </a:lnTo>
                    <a:lnTo>
                      <a:pt x="415" y="240"/>
                    </a:lnTo>
                    <a:lnTo>
                      <a:pt x="415" y="240"/>
                    </a:lnTo>
                    <a:lnTo>
                      <a:pt x="417" y="239"/>
                    </a:lnTo>
                    <a:lnTo>
                      <a:pt x="417" y="239"/>
                    </a:lnTo>
                    <a:lnTo>
                      <a:pt x="418" y="237"/>
                    </a:lnTo>
                    <a:lnTo>
                      <a:pt x="418" y="237"/>
                    </a:lnTo>
                    <a:lnTo>
                      <a:pt x="418" y="236"/>
                    </a:lnTo>
                    <a:lnTo>
                      <a:pt x="418" y="236"/>
                    </a:lnTo>
                    <a:lnTo>
                      <a:pt x="418" y="236"/>
                    </a:lnTo>
                    <a:lnTo>
                      <a:pt x="418" y="236"/>
                    </a:lnTo>
                    <a:lnTo>
                      <a:pt x="418" y="233"/>
                    </a:lnTo>
                    <a:lnTo>
                      <a:pt x="418" y="233"/>
                    </a:lnTo>
                    <a:lnTo>
                      <a:pt x="419" y="233"/>
                    </a:lnTo>
                    <a:lnTo>
                      <a:pt x="419" y="233"/>
                    </a:lnTo>
                    <a:lnTo>
                      <a:pt x="419" y="233"/>
                    </a:lnTo>
                    <a:lnTo>
                      <a:pt x="421" y="233"/>
                    </a:lnTo>
                    <a:lnTo>
                      <a:pt x="422" y="233"/>
                    </a:lnTo>
                    <a:lnTo>
                      <a:pt x="424" y="234"/>
                    </a:lnTo>
                    <a:lnTo>
                      <a:pt x="424" y="236"/>
                    </a:lnTo>
                    <a:lnTo>
                      <a:pt x="425" y="239"/>
                    </a:lnTo>
                    <a:lnTo>
                      <a:pt x="425" y="240"/>
                    </a:lnTo>
                    <a:lnTo>
                      <a:pt x="425" y="241"/>
                    </a:lnTo>
                    <a:lnTo>
                      <a:pt x="425" y="241"/>
                    </a:lnTo>
                    <a:lnTo>
                      <a:pt x="425" y="246"/>
                    </a:lnTo>
                    <a:lnTo>
                      <a:pt x="425" y="247"/>
                    </a:lnTo>
                    <a:lnTo>
                      <a:pt x="427" y="249"/>
                    </a:lnTo>
                    <a:lnTo>
                      <a:pt x="427" y="249"/>
                    </a:lnTo>
                    <a:lnTo>
                      <a:pt x="427" y="250"/>
                    </a:lnTo>
                    <a:lnTo>
                      <a:pt x="427" y="250"/>
                    </a:lnTo>
                    <a:lnTo>
                      <a:pt x="428" y="251"/>
                    </a:lnTo>
                    <a:lnTo>
                      <a:pt x="428" y="251"/>
                    </a:lnTo>
                    <a:lnTo>
                      <a:pt x="428" y="253"/>
                    </a:lnTo>
                    <a:lnTo>
                      <a:pt x="428" y="253"/>
                    </a:lnTo>
                    <a:lnTo>
                      <a:pt x="428" y="254"/>
                    </a:lnTo>
                    <a:lnTo>
                      <a:pt x="428" y="256"/>
                    </a:lnTo>
                    <a:lnTo>
                      <a:pt x="428" y="257"/>
                    </a:lnTo>
                    <a:lnTo>
                      <a:pt x="428" y="260"/>
                    </a:lnTo>
                    <a:lnTo>
                      <a:pt x="430" y="266"/>
                    </a:lnTo>
                    <a:lnTo>
                      <a:pt x="431" y="266"/>
                    </a:lnTo>
                    <a:lnTo>
                      <a:pt x="431" y="264"/>
                    </a:lnTo>
                    <a:lnTo>
                      <a:pt x="431" y="263"/>
                    </a:lnTo>
                    <a:lnTo>
                      <a:pt x="432" y="263"/>
                    </a:lnTo>
                    <a:lnTo>
                      <a:pt x="432" y="263"/>
                    </a:lnTo>
                    <a:lnTo>
                      <a:pt x="432" y="263"/>
                    </a:lnTo>
                    <a:lnTo>
                      <a:pt x="434" y="264"/>
                    </a:lnTo>
                    <a:lnTo>
                      <a:pt x="434" y="264"/>
                    </a:lnTo>
                    <a:lnTo>
                      <a:pt x="435" y="266"/>
                    </a:lnTo>
                    <a:lnTo>
                      <a:pt x="435" y="266"/>
                    </a:lnTo>
                    <a:lnTo>
                      <a:pt x="437" y="266"/>
                    </a:lnTo>
                    <a:lnTo>
                      <a:pt x="437" y="264"/>
                    </a:lnTo>
                    <a:lnTo>
                      <a:pt x="437" y="263"/>
                    </a:lnTo>
                    <a:lnTo>
                      <a:pt x="438" y="262"/>
                    </a:lnTo>
                    <a:lnTo>
                      <a:pt x="438" y="262"/>
                    </a:lnTo>
                    <a:lnTo>
                      <a:pt x="438" y="262"/>
                    </a:lnTo>
                    <a:lnTo>
                      <a:pt x="438" y="262"/>
                    </a:lnTo>
                    <a:lnTo>
                      <a:pt x="440" y="262"/>
                    </a:lnTo>
                    <a:lnTo>
                      <a:pt x="440" y="262"/>
                    </a:lnTo>
                    <a:lnTo>
                      <a:pt x="440" y="260"/>
                    </a:lnTo>
                    <a:lnTo>
                      <a:pt x="440" y="259"/>
                    </a:lnTo>
                    <a:lnTo>
                      <a:pt x="440" y="259"/>
                    </a:lnTo>
                    <a:lnTo>
                      <a:pt x="440" y="257"/>
                    </a:lnTo>
                    <a:lnTo>
                      <a:pt x="438" y="256"/>
                    </a:lnTo>
                    <a:lnTo>
                      <a:pt x="438" y="254"/>
                    </a:lnTo>
                    <a:lnTo>
                      <a:pt x="438" y="251"/>
                    </a:lnTo>
                    <a:lnTo>
                      <a:pt x="438" y="250"/>
                    </a:lnTo>
                    <a:lnTo>
                      <a:pt x="440" y="249"/>
                    </a:lnTo>
                    <a:lnTo>
                      <a:pt x="440" y="249"/>
                    </a:lnTo>
                    <a:lnTo>
                      <a:pt x="440" y="247"/>
                    </a:lnTo>
                    <a:lnTo>
                      <a:pt x="440" y="246"/>
                    </a:lnTo>
                    <a:lnTo>
                      <a:pt x="440" y="246"/>
                    </a:lnTo>
                    <a:lnTo>
                      <a:pt x="441" y="246"/>
                    </a:lnTo>
                    <a:lnTo>
                      <a:pt x="441" y="246"/>
                    </a:lnTo>
                    <a:lnTo>
                      <a:pt x="441" y="246"/>
                    </a:lnTo>
                    <a:lnTo>
                      <a:pt x="442" y="244"/>
                    </a:lnTo>
                    <a:lnTo>
                      <a:pt x="444" y="241"/>
                    </a:lnTo>
                    <a:lnTo>
                      <a:pt x="444" y="236"/>
                    </a:lnTo>
                    <a:lnTo>
                      <a:pt x="444" y="234"/>
                    </a:lnTo>
                    <a:lnTo>
                      <a:pt x="444" y="234"/>
                    </a:lnTo>
                    <a:lnTo>
                      <a:pt x="444" y="234"/>
                    </a:lnTo>
                    <a:lnTo>
                      <a:pt x="444" y="233"/>
                    </a:lnTo>
                    <a:lnTo>
                      <a:pt x="444" y="233"/>
                    </a:lnTo>
                    <a:lnTo>
                      <a:pt x="442" y="227"/>
                    </a:lnTo>
                    <a:lnTo>
                      <a:pt x="442" y="227"/>
                    </a:lnTo>
                    <a:lnTo>
                      <a:pt x="442" y="227"/>
                    </a:lnTo>
                    <a:lnTo>
                      <a:pt x="442" y="226"/>
                    </a:lnTo>
                    <a:lnTo>
                      <a:pt x="442" y="226"/>
                    </a:lnTo>
                    <a:lnTo>
                      <a:pt x="442" y="226"/>
                    </a:lnTo>
                    <a:lnTo>
                      <a:pt x="444" y="227"/>
                    </a:lnTo>
                    <a:lnTo>
                      <a:pt x="445" y="227"/>
                    </a:lnTo>
                    <a:lnTo>
                      <a:pt x="445" y="228"/>
                    </a:lnTo>
                    <a:lnTo>
                      <a:pt x="447" y="227"/>
                    </a:lnTo>
                    <a:lnTo>
                      <a:pt x="447" y="227"/>
                    </a:lnTo>
                    <a:lnTo>
                      <a:pt x="448" y="227"/>
                    </a:lnTo>
                    <a:lnTo>
                      <a:pt x="448" y="227"/>
                    </a:lnTo>
                    <a:lnTo>
                      <a:pt x="448" y="227"/>
                    </a:lnTo>
                    <a:lnTo>
                      <a:pt x="451" y="228"/>
                    </a:lnTo>
                    <a:lnTo>
                      <a:pt x="454" y="228"/>
                    </a:lnTo>
                    <a:lnTo>
                      <a:pt x="454" y="228"/>
                    </a:lnTo>
                    <a:lnTo>
                      <a:pt x="454" y="228"/>
                    </a:lnTo>
                    <a:lnTo>
                      <a:pt x="455" y="230"/>
                    </a:lnTo>
                    <a:lnTo>
                      <a:pt x="455" y="230"/>
                    </a:lnTo>
                    <a:lnTo>
                      <a:pt x="457" y="230"/>
                    </a:lnTo>
                    <a:lnTo>
                      <a:pt x="457" y="230"/>
                    </a:lnTo>
                    <a:lnTo>
                      <a:pt x="457" y="228"/>
                    </a:lnTo>
                    <a:lnTo>
                      <a:pt x="457" y="228"/>
                    </a:lnTo>
                    <a:lnTo>
                      <a:pt x="458" y="226"/>
                    </a:lnTo>
                    <a:lnTo>
                      <a:pt x="460" y="223"/>
                    </a:lnTo>
                    <a:lnTo>
                      <a:pt x="460" y="220"/>
                    </a:lnTo>
                    <a:lnTo>
                      <a:pt x="461" y="218"/>
                    </a:lnTo>
                    <a:lnTo>
                      <a:pt x="461" y="217"/>
                    </a:lnTo>
                    <a:lnTo>
                      <a:pt x="463" y="216"/>
                    </a:lnTo>
                    <a:lnTo>
                      <a:pt x="464" y="214"/>
                    </a:lnTo>
                    <a:lnTo>
                      <a:pt x="464" y="213"/>
                    </a:lnTo>
                    <a:lnTo>
                      <a:pt x="465" y="210"/>
                    </a:lnTo>
                    <a:lnTo>
                      <a:pt x="467" y="207"/>
                    </a:lnTo>
                    <a:lnTo>
                      <a:pt x="467" y="207"/>
                    </a:lnTo>
                    <a:lnTo>
                      <a:pt x="467" y="207"/>
                    </a:lnTo>
                    <a:lnTo>
                      <a:pt x="467" y="206"/>
                    </a:lnTo>
                    <a:lnTo>
                      <a:pt x="467" y="206"/>
                    </a:lnTo>
                    <a:lnTo>
                      <a:pt x="467" y="206"/>
                    </a:lnTo>
                    <a:lnTo>
                      <a:pt x="465" y="206"/>
                    </a:lnTo>
                    <a:lnTo>
                      <a:pt x="465" y="206"/>
                    </a:lnTo>
                    <a:lnTo>
                      <a:pt x="465" y="204"/>
                    </a:lnTo>
                    <a:lnTo>
                      <a:pt x="465" y="204"/>
                    </a:lnTo>
                    <a:lnTo>
                      <a:pt x="464" y="204"/>
                    </a:lnTo>
                    <a:lnTo>
                      <a:pt x="464" y="204"/>
                    </a:lnTo>
                    <a:lnTo>
                      <a:pt x="464" y="204"/>
                    </a:lnTo>
                    <a:lnTo>
                      <a:pt x="464" y="203"/>
                    </a:lnTo>
                    <a:lnTo>
                      <a:pt x="464" y="203"/>
                    </a:lnTo>
                    <a:lnTo>
                      <a:pt x="464" y="203"/>
                    </a:lnTo>
                    <a:lnTo>
                      <a:pt x="464" y="201"/>
                    </a:lnTo>
                    <a:lnTo>
                      <a:pt x="465" y="201"/>
                    </a:lnTo>
                    <a:lnTo>
                      <a:pt x="465" y="200"/>
                    </a:lnTo>
                    <a:lnTo>
                      <a:pt x="467" y="200"/>
                    </a:lnTo>
                    <a:lnTo>
                      <a:pt x="467" y="198"/>
                    </a:lnTo>
                    <a:lnTo>
                      <a:pt x="468" y="198"/>
                    </a:lnTo>
                    <a:lnTo>
                      <a:pt x="468" y="197"/>
                    </a:lnTo>
                    <a:lnTo>
                      <a:pt x="470" y="197"/>
                    </a:lnTo>
                    <a:lnTo>
                      <a:pt x="470" y="195"/>
                    </a:lnTo>
                    <a:lnTo>
                      <a:pt x="471" y="194"/>
                    </a:lnTo>
                    <a:lnTo>
                      <a:pt x="471" y="193"/>
                    </a:lnTo>
                    <a:lnTo>
                      <a:pt x="473" y="193"/>
                    </a:lnTo>
                    <a:lnTo>
                      <a:pt x="473" y="191"/>
                    </a:lnTo>
                    <a:lnTo>
                      <a:pt x="473" y="190"/>
                    </a:lnTo>
                    <a:lnTo>
                      <a:pt x="473" y="190"/>
                    </a:lnTo>
                    <a:lnTo>
                      <a:pt x="474" y="188"/>
                    </a:lnTo>
                    <a:lnTo>
                      <a:pt x="474" y="188"/>
                    </a:lnTo>
                    <a:lnTo>
                      <a:pt x="474" y="188"/>
                    </a:lnTo>
                    <a:lnTo>
                      <a:pt x="474" y="187"/>
                    </a:lnTo>
                    <a:lnTo>
                      <a:pt x="474" y="187"/>
                    </a:lnTo>
                    <a:lnTo>
                      <a:pt x="474" y="187"/>
                    </a:lnTo>
                    <a:lnTo>
                      <a:pt x="474" y="187"/>
                    </a:lnTo>
                    <a:lnTo>
                      <a:pt x="474" y="185"/>
                    </a:lnTo>
                    <a:lnTo>
                      <a:pt x="474" y="185"/>
                    </a:lnTo>
                    <a:lnTo>
                      <a:pt x="473" y="184"/>
                    </a:lnTo>
                    <a:lnTo>
                      <a:pt x="473" y="184"/>
                    </a:lnTo>
                    <a:lnTo>
                      <a:pt x="473" y="183"/>
                    </a:lnTo>
                    <a:lnTo>
                      <a:pt x="473" y="183"/>
                    </a:lnTo>
                    <a:lnTo>
                      <a:pt x="473" y="181"/>
                    </a:lnTo>
                    <a:lnTo>
                      <a:pt x="473" y="180"/>
                    </a:lnTo>
                    <a:lnTo>
                      <a:pt x="473" y="180"/>
                    </a:lnTo>
                    <a:lnTo>
                      <a:pt x="473" y="178"/>
                    </a:lnTo>
                    <a:lnTo>
                      <a:pt x="474" y="178"/>
                    </a:lnTo>
                    <a:lnTo>
                      <a:pt x="474" y="177"/>
                    </a:lnTo>
                    <a:lnTo>
                      <a:pt x="474" y="177"/>
                    </a:lnTo>
                    <a:lnTo>
                      <a:pt x="475" y="177"/>
                    </a:lnTo>
                    <a:lnTo>
                      <a:pt x="475" y="175"/>
                    </a:lnTo>
                    <a:lnTo>
                      <a:pt x="477" y="175"/>
                    </a:lnTo>
                    <a:lnTo>
                      <a:pt x="477" y="175"/>
                    </a:lnTo>
                    <a:lnTo>
                      <a:pt x="480" y="174"/>
                    </a:lnTo>
                    <a:lnTo>
                      <a:pt x="483" y="171"/>
                    </a:lnTo>
                    <a:lnTo>
                      <a:pt x="486" y="170"/>
                    </a:lnTo>
                    <a:lnTo>
                      <a:pt x="487" y="168"/>
                    </a:lnTo>
                    <a:lnTo>
                      <a:pt x="487" y="168"/>
                    </a:lnTo>
                    <a:lnTo>
                      <a:pt x="488" y="168"/>
                    </a:lnTo>
                    <a:lnTo>
                      <a:pt x="488" y="168"/>
                    </a:lnTo>
                    <a:lnTo>
                      <a:pt x="488" y="167"/>
                    </a:lnTo>
                    <a:lnTo>
                      <a:pt x="490" y="167"/>
                    </a:lnTo>
                    <a:lnTo>
                      <a:pt x="490" y="165"/>
                    </a:lnTo>
                    <a:lnTo>
                      <a:pt x="490" y="165"/>
                    </a:lnTo>
                    <a:lnTo>
                      <a:pt x="491" y="165"/>
                    </a:lnTo>
                    <a:lnTo>
                      <a:pt x="491" y="164"/>
                    </a:lnTo>
                    <a:lnTo>
                      <a:pt x="491" y="164"/>
                    </a:lnTo>
                    <a:lnTo>
                      <a:pt x="493" y="164"/>
                    </a:lnTo>
                    <a:lnTo>
                      <a:pt x="496" y="162"/>
                    </a:lnTo>
                    <a:lnTo>
                      <a:pt x="500" y="162"/>
                    </a:lnTo>
                    <a:lnTo>
                      <a:pt x="501" y="162"/>
                    </a:lnTo>
                    <a:lnTo>
                      <a:pt x="504" y="162"/>
                    </a:lnTo>
                    <a:lnTo>
                      <a:pt x="504" y="164"/>
                    </a:lnTo>
                    <a:lnTo>
                      <a:pt x="504" y="165"/>
                    </a:lnTo>
                    <a:lnTo>
                      <a:pt x="506" y="165"/>
                    </a:lnTo>
                    <a:lnTo>
                      <a:pt x="506" y="167"/>
                    </a:lnTo>
                    <a:lnTo>
                      <a:pt x="507" y="167"/>
                    </a:lnTo>
                    <a:lnTo>
                      <a:pt x="509" y="167"/>
                    </a:lnTo>
                    <a:lnTo>
                      <a:pt x="509" y="167"/>
                    </a:lnTo>
                    <a:lnTo>
                      <a:pt x="509" y="165"/>
                    </a:lnTo>
                    <a:lnTo>
                      <a:pt x="506" y="161"/>
                    </a:lnTo>
                    <a:lnTo>
                      <a:pt x="506" y="161"/>
                    </a:lnTo>
                    <a:lnTo>
                      <a:pt x="506" y="160"/>
                    </a:lnTo>
                    <a:lnTo>
                      <a:pt x="506" y="160"/>
                    </a:lnTo>
                    <a:lnTo>
                      <a:pt x="506" y="158"/>
                    </a:lnTo>
                    <a:lnTo>
                      <a:pt x="506" y="158"/>
                    </a:lnTo>
                    <a:lnTo>
                      <a:pt x="506" y="158"/>
                    </a:lnTo>
                    <a:lnTo>
                      <a:pt x="506" y="157"/>
                    </a:lnTo>
                    <a:lnTo>
                      <a:pt x="506" y="157"/>
                    </a:lnTo>
                    <a:lnTo>
                      <a:pt x="506" y="157"/>
                    </a:lnTo>
                    <a:lnTo>
                      <a:pt x="506" y="155"/>
                    </a:lnTo>
                    <a:lnTo>
                      <a:pt x="506" y="155"/>
                    </a:lnTo>
                    <a:lnTo>
                      <a:pt x="506" y="155"/>
                    </a:lnTo>
                    <a:lnTo>
                      <a:pt x="509" y="154"/>
                    </a:lnTo>
                    <a:lnTo>
                      <a:pt x="509" y="152"/>
                    </a:lnTo>
                    <a:lnTo>
                      <a:pt x="510" y="152"/>
                    </a:lnTo>
                    <a:lnTo>
                      <a:pt x="511" y="151"/>
                    </a:lnTo>
                    <a:lnTo>
                      <a:pt x="513" y="151"/>
                    </a:lnTo>
                    <a:lnTo>
                      <a:pt x="513" y="147"/>
                    </a:lnTo>
                    <a:close/>
                    <a:moveTo>
                      <a:pt x="438" y="515"/>
                    </a:moveTo>
                    <a:lnTo>
                      <a:pt x="438" y="516"/>
                    </a:lnTo>
                    <a:lnTo>
                      <a:pt x="438" y="516"/>
                    </a:lnTo>
                    <a:lnTo>
                      <a:pt x="438" y="516"/>
                    </a:lnTo>
                    <a:lnTo>
                      <a:pt x="438" y="517"/>
                    </a:lnTo>
                    <a:lnTo>
                      <a:pt x="440" y="517"/>
                    </a:lnTo>
                    <a:lnTo>
                      <a:pt x="440" y="517"/>
                    </a:lnTo>
                    <a:lnTo>
                      <a:pt x="440" y="516"/>
                    </a:lnTo>
                    <a:lnTo>
                      <a:pt x="438" y="515"/>
                    </a:lnTo>
                    <a:close/>
                    <a:moveTo>
                      <a:pt x="451" y="535"/>
                    </a:moveTo>
                    <a:lnTo>
                      <a:pt x="448" y="536"/>
                    </a:lnTo>
                    <a:lnTo>
                      <a:pt x="448" y="539"/>
                    </a:lnTo>
                    <a:lnTo>
                      <a:pt x="450" y="540"/>
                    </a:lnTo>
                    <a:lnTo>
                      <a:pt x="451" y="543"/>
                    </a:lnTo>
                    <a:lnTo>
                      <a:pt x="452" y="540"/>
                    </a:lnTo>
                    <a:lnTo>
                      <a:pt x="452" y="538"/>
                    </a:lnTo>
                    <a:lnTo>
                      <a:pt x="451" y="535"/>
                    </a:lnTo>
                    <a:close/>
                    <a:moveTo>
                      <a:pt x="442" y="522"/>
                    </a:moveTo>
                    <a:lnTo>
                      <a:pt x="444" y="523"/>
                    </a:lnTo>
                    <a:lnTo>
                      <a:pt x="444" y="523"/>
                    </a:lnTo>
                    <a:lnTo>
                      <a:pt x="444" y="522"/>
                    </a:lnTo>
                    <a:lnTo>
                      <a:pt x="442" y="522"/>
                    </a:lnTo>
                    <a:close/>
                    <a:moveTo>
                      <a:pt x="445" y="517"/>
                    </a:moveTo>
                    <a:lnTo>
                      <a:pt x="445" y="517"/>
                    </a:lnTo>
                    <a:lnTo>
                      <a:pt x="445" y="519"/>
                    </a:lnTo>
                    <a:lnTo>
                      <a:pt x="445" y="520"/>
                    </a:lnTo>
                    <a:lnTo>
                      <a:pt x="445" y="520"/>
                    </a:lnTo>
                    <a:lnTo>
                      <a:pt x="445" y="522"/>
                    </a:lnTo>
                    <a:lnTo>
                      <a:pt x="445" y="520"/>
                    </a:lnTo>
                    <a:lnTo>
                      <a:pt x="447" y="519"/>
                    </a:lnTo>
                    <a:lnTo>
                      <a:pt x="447" y="519"/>
                    </a:lnTo>
                    <a:lnTo>
                      <a:pt x="447" y="517"/>
                    </a:lnTo>
                    <a:lnTo>
                      <a:pt x="445" y="51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50" name="Freeform 146">
                <a:extLst>
                  <a:ext uri="{FF2B5EF4-FFF2-40B4-BE49-F238E27FC236}">
                    <a16:creationId xmlns:a16="http://schemas.microsoft.com/office/drawing/2014/main" id="{AA482475-A6A0-D9F0-95DB-875915995A64}"/>
                  </a:ext>
                </a:extLst>
              </p:cNvPr>
              <p:cNvSpPr>
                <a:spLocks/>
              </p:cNvSpPr>
              <p:nvPr/>
            </p:nvSpPr>
            <p:spPr bwMode="auto">
              <a:xfrm>
                <a:off x="6497578" y="3217378"/>
                <a:ext cx="43379" cy="109893"/>
              </a:xfrm>
              <a:custGeom>
                <a:avLst/>
                <a:gdLst>
                  <a:gd name="T0" fmla="*/ 30 w 30"/>
                  <a:gd name="T1" fmla="*/ 8 h 76"/>
                  <a:gd name="T2" fmla="*/ 30 w 30"/>
                  <a:gd name="T3" fmla="*/ 7 h 76"/>
                  <a:gd name="T4" fmla="*/ 30 w 30"/>
                  <a:gd name="T5" fmla="*/ 5 h 76"/>
                  <a:gd name="T6" fmla="*/ 30 w 30"/>
                  <a:gd name="T7" fmla="*/ 5 h 76"/>
                  <a:gd name="T8" fmla="*/ 28 w 30"/>
                  <a:gd name="T9" fmla="*/ 4 h 76"/>
                  <a:gd name="T10" fmla="*/ 28 w 30"/>
                  <a:gd name="T11" fmla="*/ 2 h 76"/>
                  <a:gd name="T12" fmla="*/ 28 w 30"/>
                  <a:gd name="T13" fmla="*/ 1 h 76"/>
                  <a:gd name="T14" fmla="*/ 30 w 30"/>
                  <a:gd name="T15" fmla="*/ 0 h 76"/>
                  <a:gd name="T16" fmla="*/ 28 w 30"/>
                  <a:gd name="T17" fmla="*/ 1 h 76"/>
                  <a:gd name="T18" fmla="*/ 27 w 30"/>
                  <a:gd name="T19" fmla="*/ 1 h 76"/>
                  <a:gd name="T20" fmla="*/ 24 w 30"/>
                  <a:gd name="T21" fmla="*/ 4 h 76"/>
                  <a:gd name="T22" fmla="*/ 24 w 30"/>
                  <a:gd name="T23" fmla="*/ 2 h 76"/>
                  <a:gd name="T24" fmla="*/ 23 w 30"/>
                  <a:gd name="T25" fmla="*/ 4 h 76"/>
                  <a:gd name="T26" fmla="*/ 21 w 30"/>
                  <a:gd name="T27" fmla="*/ 7 h 76"/>
                  <a:gd name="T28" fmla="*/ 20 w 30"/>
                  <a:gd name="T29" fmla="*/ 7 h 76"/>
                  <a:gd name="T30" fmla="*/ 18 w 30"/>
                  <a:gd name="T31" fmla="*/ 7 h 76"/>
                  <a:gd name="T32" fmla="*/ 17 w 30"/>
                  <a:gd name="T33" fmla="*/ 7 h 76"/>
                  <a:gd name="T34" fmla="*/ 15 w 30"/>
                  <a:gd name="T35" fmla="*/ 7 h 76"/>
                  <a:gd name="T36" fmla="*/ 8 w 30"/>
                  <a:gd name="T37" fmla="*/ 28 h 76"/>
                  <a:gd name="T38" fmla="*/ 3 w 30"/>
                  <a:gd name="T39" fmla="*/ 37 h 76"/>
                  <a:gd name="T40" fmla="*/ 0 w 30"/>
                  <a:gd name="T41" fmla="*/ 41 h 76"/>
                  <a:gd name="T42" fmla="*/ 3 w 30"/>
                  <a:gd name="T43" fmla="*/ 48 h 76"/>
                  <a:gd name="T44" fmla="*/ 5 w 30"/>
                  <a:gd name="T45" fmla="*/ 54 h 76"/>
                  <a:gd name="T46" fmla="*/ 5 w 30"/>
                  <a:gd name="T47" fmla="*/ 57 h 76"/>
                  <a:gd name="T48" fmla="*/ 11 w 30"/>
                  <a:gd name="T49" fmla="*/ 74 h 76"/>
                  <a:gd name="T50" fmla="*/ 14 w 30"/>
                  <a:gd name="T51" fmla="*/ 74 h 76"/>
                  <a:gd name="T52" fmla="*/ 15 w 30"/>
                  <a:gd name="T53" fmla="*/ 66 h 76"/>
                  <a:gd name="T54" fmla="*/ 15 w 30"/>
                  <a:gd name="T55" fmla="*/ 64 h 76"/>
                  <a:gd name="T56" fmla="*/ 17 w 30"/>
                  <a:gd name="T57" fmla="*/ 63 h 76"/>
                  <a:gd name="T58" fmla="*/ 17 w 30"/>
                  <a:gd name="T59" fmla="*/ 56 h 76"/>
                  <a:gd name="T60" fmla="*/ 18 w 30"/>
                  <a:gd name="T61" fmla="*/ 51 h 76"/>
                  <a:gd name="T62" fmla="*/ 20 w 30"/>
                  <a:gd name="T63" fmla="*/ 48 h 76"/>
                  <a:gd name="T64" fmla="*/ 21 w 30"/>
                  <a:gd name="T65" fmla="*/ 46 h 76"/>
                  <a:gd name="T66" fmla="*/ 21 w 30"/>
                  <a:gd name="T67" fmla="*/ 43 h 76"/>
                  <a:gd name="T68" fmla="*/ 21 w 30"/>
                  <a:gd name="T69" fmla="*/ 41 h 76"/>
                  <a:gd name="T70" fmla="*/ 21 w 30"/>
                  <a:gd name="T71" fmla="*/ 38 h 76"/>
                  <a:gd name="T72" fmla="*/ 23 w 30"/>
                  <a:gd name="T73" fmla="*/ 35 h 76"/>
                  <a:gd name="T74" fmla="*/ 23 w 30"/>
                  <a:gd name="T75" fmla="*/ 34 h 76"/>
                  <a:gd name="T76" fmla="*/ 23 w 30"/>
                  <a:gd name="T77" fmla="*/ 33 h 76"/>
                  <a:gd name="T78" fmla="*/ 24 w 30"/>
                  <a:gd name="T79" fmla="*/ 33 h 76"/>
                  <a:gd name="T80" fmla="*/ 24 w 30"/>
                  <a:gd name="T81" fmla="*/ 30 h 76"/>
                  <a:gd name="T82" fmla="*/ 23 w 30"/>
                  <a:gd name="T83" fmla="*/ 27 h 76"/>
                  <a:gd name="T84" fmla="*/ 24 w 30"/>
                  <a:gd name="T85" fmla="*/ 25 h 76"/>
                  <a:gd name="T86" fmla="*/ 24 w 30"/>
                  <a:gd name="T87" fmla="*/ 24 h 76"/>
                  <a:gd name="T88" fmla="*/ 24 w 30"/>
                  <a:gd name="T89" fmla="*/ 20 h 76"/>
                  <a:gd name="T90" fmla="*/ 24 w 30"/>
                  <a:gd name="T91" fmla="*/ 15 h 76"/>
                  <a:gd name="T92" fmla="*/ 24 w 30"/>
                  <a:gd name="T93" fmla="*/ 15 h 76"/>
                  <a:gd name="T94" fmla="*/ 24 w 30"/>
                  <a:gd name="T95" fmla="*/ 14 h 76"/>
                  <a:gd name="T96" fmla="*/ 26 w 30"/>
                  <a:gd name="T97" fmla="*/ 14 h 76"/>
                  <a:gd name="T98" fmla="*/ 27 w 30"/>
                  <a:gd name="T99" fmla="*/ 14 h 76"/>
                  <a:gd name="T100" fmla="*/ 28 w 30"/>
                  <a:gd name="T101" fmla="*/ 12 h 76"/>
                  <a:gd name="T102" fmla="*/ 28 w 30"/>
                  <a:gd name="T103" fmla="*/ 12 h 76"/>
                  <a:gd name="T104" fmla="*/ 28 w 30"/>
                  <a:gd name="T105" fmla="*/ 11 h 76"/>
                  <a:gd name="T106" fmla="*/ 30 w 30"/>
                  <a:gd name="T107" fmla="*/ 10 h 76"/>
                  <a:gd name="T108" fmla="*/ 30 w 30"/>
                  <a:gd name="T109"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 h="76">
                    <a:moveTo>
                      <a:pt x="30" y="8"/>
                    </a:moveTo>
                    <a:lnTo>
                      <a:pt x="30" y="8"/>
                    </a:lnTo>
                    <a:lnTo>
                      <a:pt x="30" y="8"/>
                    </a:lnTo>
                    <a:lnTo>
                      <a:pt x="30" y="7"/>
                    </a:lnTo>
                    <a:lnTo>
                      <a:pt x="30" y="7"/>
                    </a:lnTo>
                    <a:lnTo>
                      <a:pt x="30" y="5"/>
                    </a:lnTo>
                    <a:lnTo>
                      <a:pt x="30" y="5"/>
                    </a:lnTo>
                    <a:lnTo>
                      <a:pt x="30" y="5"/>
                    </a:lnTo>
                    <a:lnTo>
                      <a:pt x="30" y="4"/>
                    </a:lnTo>
                    <a:lnTo>
                      <a:pt x="28" y="4"/>
                    </a:lnTo>
                    <a:lnTo>
                      <a:pt x="28" y="2"/>
                    </a:lnTo>
                    <a:lnTo>
                      <a:pt x="28" y="2"/>
                    </a:lnTo>
                    <a:lnTo>
                      <a:pt x="28" y="2"/>
                    </a:lnTo>
                    <a:lnTo>
                      <a:pt x="28" y="1"/>
                    </a:lnTo>
                    <a:lnTo>
                      <a:pt x="28" y="1"/>
                    </a:lnTo>
                    <a:lnTo>
                      <a:pt x="30" y="0"/>
                    </a:lnTo>
                    <a:lnTo>
                      <a:pt x="28" y="0"/>
                    </a:lnTo>
                    <a:lnTo>
                      <a:pt x="28" y="1"/>
                    </a:lnTo>
                    <a:lnTo>
                      <a:pt x="28" y="1"/>
                    </a:lnTo>
                    <a:lnTo>
                      <a:pt x="27" y="1"/>
                    </a:lnTo>
                    <a:lnTo>
                      <a:pt x="26" y="2"/>
                    </a:lnTo>
                    <a:lnTo>
                      <a:pt x="24" y="4"/>
                    </a:lnTo>
                    <a:lnTo>
                      <a:pt x="24" y="2"/>
                    </a:lnTo>
                    <a:lnTo>
                      <a:pt x="24" y="2"/>
                    </a:lnTo>
                    <a:lnTo>
                      <a:pt x="24" y="4"/>
                    </a:lnTo>
                    <a:lnTo>
                      <a:pt x="23" y="4"/>
                    </a:lnTo>
                    <a:lnTo>
                      <a:pt x="23" y="5"/>
                    </a:lnTo>
                    <a:lnTo>
                      <a:pt x="21" y="7"/>
                    </a:lnTo>
                    <a:lnTo>
                      <a:pt x="21" y="7"/>
                    </a:lnTo>
                    <a:lnTo>
                      <a:pt x="20" y="7"/>
                    </a:lnTo>
                    <a:lnTo>
                      <a:pt x="20" y="7"/>
                    </a:lnTo>
                    <a:lnTo>
                      <a:pt x="18" y="7"/>
                    </a:lnTo>
                    <a:lnTo>
                      <a:pt x="18" y="7"/>
                    </a:lnTo>
                    <a:lnTo>
                      <a:pt x="17" y="7"/>
                    </a:lnTo>
                    <a:lnTo>
                      <a:pt x="17" y="7"/>
                    </a:lnTo>
                    <a:lnTo>
                      <a:pt x="15" y="7"/>
                    </a:lnTo>
                    <a:lnTo>
                      <a:pt x="15" y="11"/>
                    </a:lnTo>
                    <a:lnTo>
                      <a:pt x="8" y="28"/>
                    </a:lnTo>
                    <a:lnTo>
                      <a:pt x="5" y="33"/>
                    </a:lnTo>
                    <a:lnTo>
                      <a:pt x="3" y="37"/>
                    </a:lnTo>
                    <a:lnTo>
                      <a:pt x="0" y="40"/>
                    </a:lnTo>
                    <a:lnTo>
                      <a:pt x="0" y="41"/>
                    </a:lnTo>
                    <a:lnTo>
                      <a:pt x="1" y="41"/>
                    </a:lnTo>
                    <a:lnTo>
                      <a:pt x="3" y="48"/>
                    </a:lnTo>
                    <a:lnTo>
                      <a:pt x="4" y="51"/>
                    </a:lnTo>
                    <a:lnTo>
                      <a:pt x="5" y="54"/>
                    </a:lnTo>
                    <a:lnTo>
                      <a:pt x="5" y="56"/>
                    </a:lnTo>
                    <a:lnTo>
                      <a:pt x="5" y="57"/>
                    </a:lnTo>
                    <a:lnTo>
                      <a:pt x="8" y="61"/>
                    </a:lnTo>
                    <a:lnTo>
                      <a:pt x="11" y="74"/>
                    </a:lnTo>
                    <a:lnTo>
                      <a:pt x="13" y="76"/>
                    </a:lnTo>
                    <a:lnTo>
                      <a:pt x="14" y="74"/>
                    </a:lnTo>
                    <a:lnTo>
                      <a:pt x="14" y="70"/>
                    </a:lnTo>
                    <a:lnTo>
                      <a:pt x="15" y="66"/>
                    </a:lnTo>
                    <a:lnTo>
                      <a:pt x="15" y="64"/>
                    </a:lnTo>
                    <a:lnTo>
                      <a:pt x="15" y="64"/>
                    </a:lnTo>
                    <a:lnTo>
                      <a:pt x="17" y="63"/>
                    </a:lnTo>
                    <a:lnTo>
                      <a:pt x="17" y="63"/>
                    </a:lnTo>
                    <a:lnTo>
                      <a:pt x="17" y="61"/>
                    </a:lnTo>
                    <a:lnTo>
                      <a:pt x="17" y="56"/>
                    </a:lnTo>
                    <a:lnTo>
                      <a:pt x="18" y="53"/>
                    </a:lnTo>
                    <a:lnTo>
                      <a:pt x="18" y="51"/>
                    </a:lnTo>
                    <a:lnTo>
                      <a:pt x="20" y="48"/>
                    </a:lnTo>
                    <a:lnTo>
                      <a:pt x="20" y="48"/>
                    </a:lnTo>
                    <a:lnTo>
                      <a:pt x="21" y="47"/>
                    </a:lnTo>
                    <a:lnTo>
                      <a:pt x="21" y="46"/>
                    </a:lnTo>
                    <a:lnTo>
                      <a:pt x="21" y="44"/>
                    </a:lnTo>
                    <a:lnTo>
                      <a:pt x="21" y="43"/>
                    </a:lnTo>
                    <a:lnTo>
                      <a:pt x="21" y="41"/>
                    </a:lnTo>
                    <a:lnTo>
                      <a:pt x="21" y="41"/>
                    </a:lnTo>
                    <a:lnTo>
                      <a:pt x="21" y="40"/>
                    </a:lnTo>
                    <a:lnTo>
                      <a:pt x="21" y="38"/>
                    </a:lnTo>
                    <a:lnTo>
                      <a:pt x="21" y="37"/>
                    </a:lnTo>
                    <a:lnTo>
                      <a:pt x="23" y="35"/>
                    </a:lnTo>
                    <a:lnTo>
                      <a:pt x="23" y="34"/>
                    </a:lnTo>
                    <a:lnTo>
                      <a:pt x="23" y="34"/>
                    </a:lnTo>
                    <a:lnTo>
                      <a:pt x="23" y="34"/>
                    </a:lnTo>
                    <a:lnTo>
                      <a:pt x="23" y="33"/>
                    </a:lnTo>
                    <a:lnTo>
                      <a:pt x="23" y="33"/>
                    </a:lnTo>
                    <a:lnTo>
                      <a:pt x="24" y="33"/>
                    </a:lnTo>
                    <a:lnTo>
                      <a:pt x="24" y="31"/>
                    </a:lnTo>
                    <a:lnTo>
                      <a:pt x="24" y="30"/>
                    </a:lnTo>
                    <a:lnTo>
                      <a:pt x="24" y="30"/>
                    </a:lnTo>
                    <a:lnTo>
                      <a:pt x="23" y="27"/>
                    </a:lnTo>
                    <a:lnTo>
                      <a:pt x="23" y="27"/>
                    </a:lnTo>
                    <a:lnTo>
                      <a:pt x="24" y="25"/>
                    </a:lnTo>
                    <a:lnTo>
                      <a:pt x="24" y="24"/>
                    </a:lnTo>
                    <a:lnTo>
                      <a:pt x="24" y="24"/>
                    </a:lnTo>
                    <a:lnTo>
                      <a:pt x="24" y="23"/>
                    </a:lnTo>
                    <a:lnTo>
                      <a:pt x="24" y="20"/>
                    </a:lnTo>
                    <a:lnTo>
                      <a:pt x="24" y="15"/>
                    </a:lnTo>
                    <a:lnTo>
                      <a:pt x="24" y="15"/>
                    </a:lnTo>
                    <a:lnTo>
                      <a:pt x="24" y="15"/>
                    </a:lnTo>
                    <a:lnTo>
                      <a:pt x="24" y="15"/>
                    </a:lnTo>
                    <a:lnTo>
                      <a:pt x="24" y="14"/>
                    </a:lnTo>
                    <a:lnTo>
                      <a:pt x="24" y="14"/>
                    </a:lnTo>
                    <a:lnTo>
                      <a:pt x="26" y="14"/>
                    </a:lnTo>
                    <a:lnTo>
                      <a:pt x="26" y="14"/>
                    </a:lnTo>
                    <a:lnTo>
                      <a:pt x="26" y="14"/>
                    </a:lnTo>
                    <a:lnTo>
                      <a:pt x="27" y="14"/>
                    </a:lnTo>
                    <a:lnTo>
                      <a:pt x="28" y="14"/>
                    </a:lnTo>
                    <a:lnTo>
                      <a:pt x="28" y="12"/>
                    </a:lnTo>
                    <a:lnTo>
                      <a:pt x="28" y="12"/>
                    </a:lnTo>
                    <a:lnTo>
                      <a:pt x="28" y="12"/>
                    </a:lnTo>
                    <a:lnTo>
                      <a:pt x="28" y="11"/>
                    </a:lnTo>
                    <a:lnTo>
                      <a:pt x="28" y="11"/>
                    </a:lnTo>
                    <a:lnTo>
                      <a:pt x="30" y="10"/>
                    </a:lnTo>
                    <a:lnTo>
                      <a:pt x="30" y="10"/>
                    </a:lnTo>
                    <a:lnTo>
                      <a:pt x="30" y="10"/>
                    </a:lnTo>
                    <a:lnTo>
                      <a:pt x="30" y="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51" name="Freeform 147">
                <a:extLst>
                  <a:ext uri="{FF2B5EF4-FFF2-40B4-BE49-F238E27FC236}">
                    <a16:creationId xmlns:a16="http://schemas.microsoft.com/office/drawing/2014/main" id="{084ADE38-30D0-66C3-C39C-FE3279DDEC44}"/>
                  </a:ext>
                </a:extLst>
              </p:cNvPr>
              <p:cNvSpPr>
                <a:spLocks noEditPoints="1"/>
              </p:cNvSpPr>
              <p:nvPr/>
            </p:nvSpPr>
            <p:spPr bwMode="auto">
              <a:xfrm>
                <a:off x="9137902" y="3865168"/>
                <a:ext cx="633331" cy="109893"/>
              </a:xfrm>
              <a:custGeom>
                <a:avLst/>
                <a:gdLst>
                  <a:gd name="T0" fmla="*/ 2 w 438"/>
                  <a:gd name="T1" fmla="*/ 0 h 76"/>
                  <a:gd name="T2" fmla="*/ 3 w 438"/>
                  <a:gd name="T3" fmla="*/ 1 h 76"/>
                  <a:gd name="T4" fmla="*/ 0 w 438"/>
                  <a:gd name="T5" fmla="*/ 3 h 76"/>
                  <a:gd name="T6" fmla="*/ 0 w 438"/>
                  <a:gd name="T7" fmla="*/ 1 h 76"/>
                  <a:gd name="T8" fmla="*/ 0 w 438"/>
                  <a:gd name="T9" fmla="*/ 1 h 76"/>
                  <a:gd name="T10" fmla="*/ 2 w 438"/>
                  <a:gd name="T11" fmla="*/ 0 h 76"/>
                  <a:gd name="T12" fmla="*/ 355 w 438"/>
                  <a:gd name="T13" fmla="*/ 46 h 76"/>
                  <a:gd name="T14" fmla="*/ 354 w 438"/>
                  <a:gd name="T15" fmla="*/ 47 h 76"/>
                  <a:gd name="T16" fmla="*/ 354 w 438"/>
                  <a:gd name="T17" fmla="*/ 49 h 76"/>
                  <a:gd name="T18" fmla="*/ 355 w 438"/>
                  <a:gd name="T19" fmla="*/ 49 h 76"/>
                  <a:gd name="T20" fmla="*/ 355 w 438"/>
                  <a:gd name="T21" fmla="*/ 50 h 76"/>
                  <a:gd name="T22" fmla="*/ 357 w 438"/>
                  <a:gd name="T23" fmla="*/ 49 h 76"/>
                  <a:gd name="T24" fmla="*/ 357 w 438"/>
                  <a:gd name="T25" fmla="*/ 47 h 76"/>
                  <a:gd name="T26" fmla="*/ 355 w 438"/>
                  <a:gd name="T27" fmla="*/ 47 h 76"/>
                  <a:gd name="T28" fmla="*/ 355 w 438"/>
                  <a:gd name="T29" fmla="*/ 46 h 76"/>
                  <a:gd name="T30" fmla="*/ 239 w 438"/>
                  <a:gd name="T31" fmla="*/ 40 h 76"/>
                  <a:gd name="T32" fmla="*/ 239 w 438"/>
                  <a:gd name="T33" fmla="*/ 40 h 76"/>
                  <a:gd name="T34" fmla="*/ 239 w 438"/>
                  <a:gd name="T35" fmla="*/ 40 h 76"/>
                  <a:gd name="T36" fmla="*/ 239 w 438"/>
                  <a:gd name="T37" fmla="*/ 39 h 76"/>
                  <a:gd name="T38" fmla="*/ 239 w 438"/>
                  <a:gd name="T39" fmla="*/ 39 h 76"/>
                  <a:gd name="T40" fmla="*/ 237 w 438"/>
                  <a:gd name="T41" fmla="*/ 39 h 76"/>
                  <a:gd name="T42" fmla="*/ 237 w 438"/>
                  <a:gd name="T43" fmla="*/ 40 h 76"/>
                  <a:gd name="T44" fmla="*/ 237 w 438"/>
                  <a:gd name="T45" fmla="*/ 40 h 76"/>
                  <a:gd name="T46" fmla="*/ 239 w 438"/>
                  <a:gd name="T47" fmla="*/ 40 h 76"/>
                  <a:gd name="T48" fmla="*/ 239 w 438"/>
                  <a:gd name="T49" fmla="*/ 40 h 76"/>
                  <a:gd name="T50" fmla="*/ 239 w 438"/>
                  <a:gd name="T51" fmla="*/ 40 h 76"/>
                  <a:gd name="T52" fmla="*/ 243 w 438"/>
                  <a:gd name="T53" fmla="*/ 39 h 76"/>
                  <a:gd name="T54" fmla="*/ 243 w 438"/>
                  <a:gd name="T55" fmla="*/ 39 h 76"/>
                  <a:gd name="T56" fmla="*/ 243 w 438"/>
                  <a:gd name="T57" fmla="*/ 39 h 76"/>
                  <a:gd name="T58" fmla="*/ 243 w 438"/>
                  <a:gd name="T59" fmla="*/ 39 h 76"/>
                  <a:gd name="T60" fmla="*/ 243 w 438"/>
                  <a:gd name="T61" fmla="*/ 39 h 76"/>
                  <a:gd name="T62" fmla="*/ 243 w 438"/>
                  <a:gd name="T63" fmla="*/ 37 h 76"/>
                  <a:gd name="T64" fmla="*/ 243 w 438"/>
                  <a:gd name="T65" fmla="*/ 37 h 76"/>
                  <a:gd name="T66" fmla="*/ 243 w 438"/>
                  <a:gd name="T67" fmla="*/ 37 h 76"/>
                  <a:gd name="T68" fmla="*/ 243 w 438"/>
                  <a:gd name="T69" fmla="*/ 39 h 76"/>
                  <a:gd name="T70" fmla="*/ 438 w 438"/>
                  <a:gd name="T71" fmla="*/ 76 h 76"/>
                  <a:gd name="T72" fmla="*/ 438 w 438"/>
                  <a:gd name="T73" fmla="*/ 76 h 76"/>
                  <a:gd name="T74" fmla="*/ 437 w 438"/>
                  <a:gd name="T75" fmla="*/ 76 h 76"/>
                  <a:gd name="T76" fmla="*/ 437 w 438"/>
                  <a:gd name="T77" fmla="*/ 76 h 76"/>
                  <a:gd name="T78" fmla="*/ 438 w 438"/>
                  <a:gd name="T79" fmla="*/ 76 h 76"/>
                  <a:gd name="T80" fmla="*/ 438 w 438"/>
                  <a:gd name="T81" fmla="*/ 76 h 76"/>
                  <a:gd name="T82" fmla="*/ 438 w 438"/>
                  <a:gd name="T83" fmla="*/ 76 h 76"/>
                  <a:gd name="T84" fmla="*/ 438 w 438"/>
                  <a:gd name="T8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8" h="76">
                    <a:moveTo>
                      <a:pt x="2" y="0"/>
                    </a:moveTo>
                    <a:lnTo>
                      <a:pt x="3" y="1"/>
                    </a:lnTo>
                    <a:lnTo>
                      <a:pt x="0" y="3"/>
                    </a:lnTo>
                    <a:lnTo>
                      <a:pt x="0" y="1"/>
                    </a:lnTo>
                    <a:lnTo>
                      <a:pt x="0" y="1"/>
                    </a:lnTo>
                    <a:lnTo>
                      <a:pt x="2" y="0"/>
                    </a:lnTo>
                    <a:close/>
                    <a:moveTo>
                      <a:pt x="355" y="46"/>
                    </a:moveTo>
                    <a:lnTo>
                      <a:pt x="354" y="47"/>
                    </a:lnTo>
                    <a:lnTo>
                      <a:pt x="354" y="49"/>
                    </a:lnTo>
                    <a:lnTo>
                      <a:pt x="355" y="49"/>
                    </a:lnTo>
                    <a:lnTo>
                      <a:pt x="355" y="50"/>
                    </a:lnTo>
                    <a:lnTo>
                      <a:pt x="357" y="49"/>
                    </a:lnTo>
                    <a:lnTo>
                      <a:pt x="357" y="47"/>
                    </a:lnTo>
                    <a:lnTo>
                      <a:pt x="355" y="47"/>
                    </a:lnTo>
                    <a:lnTo>
                      <a:pt x="355" y="46"/>
                    </a:lnTo>
                    <a:close/>
                    <a:moveTo>
                      <a:pt x="239" y="40"/>
                    </a:moveTo>
                    <a:lnTo>
                      <a:pt x="239" y="40"/>
                    </a:lnTo>
                    <a:lnTo>
                      <a:pt x="239" y="40"/>
                    </a:lnTo>
                    <a:lnTo>
                      <a:pt x="239" y="39"/>
                    </a:lnTo>
                    <a:lnTo>
                      <a:pt x="239" y="39"/>
                    </a:lnTo>
                    <a:lnTo>
                      <a:pt x="237" y="39"/>
                    </a:lnTo>
                    <a:lnTo>
                      <a:pt x="237" y="40"/>
                    </a:lnTo>
                    <a:lnTo>
                      <a:pt x="237" y="40"/>
                    </a:lnTo>
                    <a:lnTo>
                      <a:pt x="239" y="40"/>
                    </a:lnTo>
                    <a:lnTo>
                      <a:pt x="239" y="40"/>
                    </a:lnTo>
                    <a:lnTo>
                      <a:pt x="239" y="40"/>
                    </a:lnTo>
                    <a:close/>
                    <a:moveTo>
                      <a:pt x="243" y="39"/>
                    </a:moveTo>
                    <a:lnTo>
                      <a:pt x="243" y="39"/>
                    </a:lnTo>
                    <a:lnTo>
                      <a:pt x="243" y="39"/>
                    </a:lnTo>
                    <a:lnTo>
                      <a:pt x="243" y="39"/>
                    </a:lnTo>
                    <a:lnTo>
                      <a:pt x="243" y="39"/>
                    </a:lnTo>
                    <a:lnTo>
                      <a:pt x="243" y="37"/>
                    </a:lnTo>
                    <a:lnTo>
                      <a:pt x="243" y="37"/>
                    </a:lnTo>
                    <a:lnTo>
                      <a:pt x="243" y="37"/>
                    </a:lnTo>
                    <a:lnTo>
                      <a:pt x="243" y="39"/>
                    </a:lnTo>
                    <a:close/>
                    <a:moveTo>
                      <a:pt x="438" y="76"/>
                    </a:moveTo>
                    <a:lnTo>
                      <a:pt x="438" y="76"/>
                    </a:lnTo>
                    <a:lnTo>
                      <a:pt x="437" y="76"/>
                    </a:lnTo>
                    <a:lnTo>
                      <a:pt x="437" y="76"/>
                    </a:lnTo>
                    <a:lnTo>
                      <a:pt x="438" y="76"/>
                    </a:lnTo>
                    <a:lnTo>
                      <a:pt x="438" y="76"/>
                    </a:lnTo>
                    <a:lnTo>
                      <a:pt x="438" y="76"/>
                    </a:lnTo>
                    <a:lnTo>
                      <a:pt x="438" y="7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52" name="Freeform 148">
                <a:extLst>
                  <a:ext uri="{FF2B5EF4-FFF2-40B4-BE49-F238E27FC236}">
                    <a16:creationId xmlns:a16="http://schemas.microsoft.com/office/drawing/2014/main" id="{10DD485D-008D-59D5-91C3-5477FD8EB981}"/>
                  </a:ext>
                </a:extLst>
              </p:cNvPr>
              <p:cNvSpPr>
                <a:spLocks/>
              </p:cNvSpPr>
              <p:nvPr/>
            </p:nvSpPr>
            <p:spPr bwMode="auto">
              <a:xfrm>
                <a:off x="8173446" y="3522476"/>
                <a:ext cx="190867" cy="229908"/>
              </a:xfrm>
              <a:custGeom>
                <a:avLst/>
                <a:gdLst>
                  <a:gd name="T0" fmla="*/ 126 w 132"/>
                  <a:gd name="T1" fmla="*/ 123 h 159"/>
                  <a:gd name="T2" fmla="*/ 117 w 132"/>
                  <a:gd name="T3" fmla="*/ 112 h 159"/>
                  <a:gd name="T4" fmla="*/ 110 w 132"/>
                  <a:gd name="T5" fmla="*/ 102 h 159"/>
                  <a:gd name="T6" fmla="*/ 96 w 132"/>
                  <a:gd name="T7" fmla="*/ 85 h 159"/>
                  <a:gd name="T8" fmla="*/ 90 w 132"/>
                  <a:gd name="T9" fmla="*/ 79 h 159"/>
                  <a:gd name="T10" fmla="*/ 86 w 132"/>
                  <a:gd name="T11" fmla="*/ 72 h 159"/>
                  <a:gd name="T12" fmla="*/ 69 w 132"/>
                  <a:gd name="T13" fmla="*/ 62 h 159"/>
                  <a:gd name="T14" fmla="*/ 69 w 132"/>
                  <a:gd name="T15" fmla="*/ 54 h 159"/>
                  <a:gd name="T16" fmla="*/ 77 w 132"/>
                  <a:gd name="T17" fmla="*/ 54 h 159"/>
                  <a:gd name="T18" fmla="*/ 83 w 132"/>
                  <a:gd name="T19" fmla="*/ 44 h 159"/>
                  <a:gd name="T20" fmla="*/ 80 w 132"/>
                  <a:gd name="T21" fmla="*/ 41 h 159"/>
                  <a:gd name="T22" fmla="*/ 79 w 132"/>
                  <a:gd name="T23" fmla="*/ 37 h 159"/>
                  <a:gd name="T24" fmla="*/ 71 w 132"/>
                  <a:gd name="T25" fmla="*/ 30 h 159"/>
                  <a:gd name="T26" fmla="*/ 61 w 132"/>
                  <a:gd name="T27" fmla="*/ 33 h 159"/>
                  <a:gd name="T28" fmla="*/ 48 w 132"/>
                  <a:gd name="T29" fmla="*/ 23 h 159"/>
                  <a:gd name="T30" fmla="*/ 48 w 132"/>
                  <a:gd name="T31" fmla="*/ 14 h 159"/>
                  <a:gd name="T32" fmla="*/ 44 w 132"/>
                  <a:gd name="T33" fmla="*/ 13 h 159"/>
                  <a:gd name="T34" fmla="*/ 34 w 132"/>
                  <a:gd name="T35" fmla="*/ 1 h 159"/>
                  <a:gd name="T36" fmla="*/ 28 w 132"/>
                  <a:gd name="T37" fmla="*/ 0 h 159"/>
                  <a:gd name="T38" fmla="*/ 25 w 132"/>
                  <a:gd name="T39" fmla="*/ 4 h 159"/>
                  <a:gd name="T40" fmla="*/ 28 w 132"/>
                  <a:gd name="T41" fmla="*/ 26 h 159"/>
                  <a:gd name="T42" fmla="*/ 21 w 132"/>
                  <a:gd name="T43" fmla="*/ 24 h 159"/>
                  <a:gd name="T44" fmla="*/ 17 w 132"/>
                  <a:gd name="T45" fmla="*/ 20 h 159"/>
                  <a:gd name="T46" fmla="*/ 8 w 132"/>
                  <a:gd name="T47" fmla="*/ 27 h 159"/>
                  <a:gd name="T48" fmla="*/ 4 w 132"/>
                  <a:gd name="T49" fmla="*/ 33 h 159"/>
                  <a:gd name="T50" fmla="*/ 0 w 132"/>
                  <a:gd name="T51" fmla="*/ 43 h 159"/>
                  <a:gd name="T52" fmla="*/ 7 w 132"/>
                  <a:gd name="T53" fmla="*/ 43 h 159"/>
                  <a:gd name="T54" fmla="*/ 7 w 132"/>
                  <a:gd name="T55" fmla="*/ 56 h 159"/>
                  <a:gd name="T56" fmla="*/ 20 w 132"/>
                  <a:gd name="T57" fmla="*/ 57 h 159"/>
                  <a:gd name="T58" fmla="*/ 18 w 132"/>
                  <a:gd name="T59" fmla="*/ 73 h 159"/>
                  <a:gd name="T60" fmla="*/ 17 w 132"/>
                  <a:gd name="T61" fmla="*/ 80 h 159"/>
                  <a:gd name="T62" fmla="*/ 14 w 132"/>
                  <a:gd name="T63" fmla="*/ 92 h 159"/>
                  <a:gd name="T64" fmla="*/ 36 w 132"/>
                  <a:gd name="T65" fmla="*/ 82 h 159"/>
                  <a:gd name="T66" fmla="*/ 44 w 132"/>
                  <a:gd name="T67" fmla="*/ 86 h 159"/>
                  <a:gd name="T68" fmla="*/ 46 w 132"/>
                  <a:gd name="T69" fmla="*/ 87 h 159"/>
                  <a:gd name="T70" fmla="*/ 50 w 132"/>
                  <a:gd name="T71" fmla="*/ 85 h 159"/>
                  <a:gd name="T72" fmla="*/ 53 w 132"/>
                  <a:gd name="T73" fmla="*/ 80 h 159"/>
                  <a:gd name="T74" fmla="*/ 56 w 132"/>
                  <a:gd name="T75" fmla="*/ 77 h 159"/>
                  <a:gd name="T76" fmla="*/ 67 w 132"/>
                  <a:gd name="T77" fmla="*/ 79 h 159"/>
                  <a:gd name="T78" fmla="*/ 79 w 132"/>
                  <a:gd name="T79" fmla="*/ 93 h 159"/>
                  <a:gd name="T80" fmla="*/ 82 w 132"/>
                  <a:gd name="T81" fmla="*/ 108 h 159"/>
                  <a:gd name="T82" fmla="*/ 87 w 132"/>
                  <a:gd name="T83" fmla="*/ 119 h 159"/>
                  <a:gd name="T84" fmla="*/ 92 w 132"/>
                  <a:gd name="T85" fmla="*/ 123 h 159"/>
                  <a:gd name="T86" fmla="*/ 97 w 132"/>
                  <a:gd name="T87" fmla="*/ 129 h 159"/>
                  <a:gd name="T88" fmla="*/ 94 w 132"/>
                  <a:gd name="T89" fmla="*/ 144 h 159"/>
                  <a:gd name="T90" fmla="*/ 94 w 132"/>
                  <a:gd name="T91" fmla="*/ 155 h 159"/>
                  <a:gd name="T92" fmla="*/ 104 w 132"/>
                  <a:gd name="T93" fmla="*/ 155 h 159"/>
                  <a:gd name="T94" fmla="*/ 107 w 132"/>
                  <a:gd name="T95" fmla="*/ 149 h 159"/>
                  <a:gd name="T96" fmla="*/ 112 w 132"/>
                  <a:gd name="T97" fmla="*/ 148 h 159"/>
                  <a:gd name="T98" fmla="*/ 126 w 132"/>
                  <a:gd name="T99" fmla="*/ 148 h 159"/>
                  <a:gd name="T100" fmla="*/ 130 w 132"/>
                  <a:gd name="T101" fmla="*/ 144 h 159"/>
                  <a:gd name="T102" fmla="*/ 132 w 132"/>
                  <a:gd name="T103" fmla="*/ 13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 h="159">
                    <a:moveTo>
                      <a:pt x="132" y="132"/>
                    </a:moveTo>
                    <a:lnTo>
                      <a:pt x="126" y="129"/>
                    </a:lnTo>
                    <a:lnTo>
                      <a:pt x="125" y="126"/>
                    </a:lnTo>
                    <a:lnTo>
                      <a:pt x="125" y="123"/>
                    </a:lnTo>
                    <a:lnTo>
                      <a:pt x="126" y="123"/>
                    </a:lnTo>
                    <a:lnTo>
                      <a:pt x="127" y="122"/>
                    </a:lnTo>
                    <a:lnTo>
                      <a:pt x="127" y="121"/>
                    </a:lnTo>
                    <a:lnTo>
                      <a:pt x="125" y="118"/>
                    </a:lnTo>
                    <a:lnTo>
                      <a:pt x="120" y="115"/>
                    </a:lnTo>
                    <a:lnTo>
                      <a:pt x="117" y="112"/>
                    </a:lnTo>
                    <a:lnTo>
                      <a:pt x="116" y="113"/>
                    </a:lnTo>
                    <a:lnTo>
                      <a:pt x="115" y="112"/>
                    </a:lnTo>
                    <a:lnTo>
                      <a:pt x="113" y="106"/>
                    </a:lnTo>
                    <a:lnTo>
                      <a:pt x="112" y="103"/>
                    </a:lnTo>
                    <a:lnTo>
                      <a:pt x="110" y="102"/>
                    </a:lnTo>
                    <a:lnTo>
                      <a:pt x="109" y="99"/>
                    </a:lnTo>
                    <a:lnTo>
                      <a:pt x="100" y="92"/>
                    </a:lnTo>
                    <a:lnTo>
                      <a:pt x="99" y="90"/>
                    </a:lnTo>
                    <a:lnTo>
                      <a:pt x="97" y="87"/>
                    </a:lnTo>
                    <a:lnTo>
                      <a:pt x="96" y="85"/>
                    </a:lnTo>
                    <a:lnTo>
                      <a:pt x="94" y="83"/>
                    </a:lnTo>
                    <a:lnTo>
                      <a:pt x="93" y="82"/>
                    </a:lnTo>
                    <a:lnTo>
                      <a:pt x="92" y="80"/>
                    </a:lnTo>
                    <a:lnTo>
                      <a:pt x="90" y="80"/>
                    </a:lnTo>
                    <a:lnTo>
                      <a:pt x="90" y="79"/>
                    </a:lnTo>
                    <a:lnTo>
                      <a:pt x="89" y="77"/>
                    </a:lnTo>
                    <a:lnTo>
                      <a:pt x="87" y="76"/>
                    </a:lnTo>
                    <a:lnTo>
                      <a:pt x="87" y="75"/>
                    </a:lnTo>
                    <a:lnTo>
                      <a:pt x="87" y="73"/>
                    </a:lnTo>
                    <a:lnTo>
                      <a:pt x="86" y="72"/>
                    </a:lnTo>
                    <a:lnTo>
                      <a:pt x="84" y="70"/>
                    </a:lnTo>
                    <a:lnTo>
                      <a:pt x="80" y="69"/>
                    </a:lnTo>
                    <a:lnTo>
                      <a:pt x="79" y="67"/>
                    </a:lnTo>
                    <a:lnTo>
                      <a:pt x="71" y="63"/>
                    </a:lnTo>
                    <a:lnTo>
                      <a:pt x="69" y="62"/>
                    </a:lnTo>
                    <a:lnTo>
                      <a:pt x="67" y="60"/>
                    </a:lnTo>
                    <a:lnTo>
                      <a:pt x="70" y="56"/>
                    </a:lnTo>
                    <a:lnTo>
                      <a:pt x="70" y="54"/>
                    </a:lnTo>
                    <a:lnTo>
                      <a:pt x="69" y="54"/>
                    </a:lnTo>
                    <a:lnTo>
                      <a:pt x="69" y="54"/>
                    </a:lnTo>
                    <a:lnTo>
                      <a:pt x="70" y="53"/>
                    </a:lnTo>
                    <a:lnTo>
                      <a:pt x="71" y="53"/>
                    </a:lnTo>
                    <a:lnTo>
                      <a:pt x="74" y="53"/>
                    </a:lnTo>
                    <a:lnTo>
                      <a:pt x="76" y="54"/>
                    </a:lnTo>
                    <a:lnTo>
                      <a:pt x="77" y="54"/>
                    </a:lnTo>
                    <a:lnTo>
                      <a:pt x="80" y="53"/>
                    </a:lnTo>
                    <a:lnTo>
                      <a:pt x="83" y="50"/>
                    </a:lnTo>
                    <a:lnTo>
                      <a:pt x="84" y="47"/>
                    </a:lnTo>
                    <a:lnTo>
                      <a:pt x="84" y="44"/>
                    </a:lnTo>
                    <a:lnTo>
                      <a:pt x="83" y="44"/>
                    </a:lnTo>
                    <a:lnTo>
                      <a:pt x="83" y="43"/>
                    </a:lnTo>
                    <a:lnTo>
                      <a:pt x="82" y="43"/>
                    </a:lnTo>
                    <a:lnTo>
                      <a:pt x="82" y="43"/>
                    </a:lnTo>
                    <a:lnTo>
                      <a:pt x="80" y="41"/>
                    </a:lnTo>
                    <a:lnTo>
                      <a:pt x="80" y="41"/>
                    </a:lnTo>
                    <a:lnTo>
                      <a:pt x="77" y="40"/>
                    </a:lnTo>
                    <a:lnTo>
                      <a:pt x="76" y="40"/>
                    </a:lnTo>
                    <a:lnTo>
                      <a:pt x="74" y="39"/>
                    </a:lnTo>
                    <a:lnTo>
                      <a:pt x="77" y="37"/>
                    </a:lnTo>
                    <a:lnTo>
                      <a:pt x="79" y="37"/>
                    </a:lnTo>
                    <a:lnTo>
                      <a:pt x="79" y="36"/>
                    </a:lnTo>
                    <a:lnTo>
                      <a:pt x="77" y="34"/>
                    </a:lnTo>
                    <a:lnTo>
                      <a:pt x="76" y="33"/>
                    </a:lnTo>
                    <a:lnTo>
                      <a:pt x="73" y="31"/>
                    </a:lnTo>
                    <a:lnTo>
                      <a:pt x="71" y="30"/>
                    </a:lnTo>
                    <a:lnTo>
                      <a:pt x="70" y="30"/>
                    </a:lnTo>
                    <a:lnTo>
                      <a:pt x="69" y="30"/>
                    </a:lnTo>
                    <a:lnTo>
                      <a:pt x="66" y="31"/>
                    </a:lnTo>
                    <a:lnTo>
                      <a:pt x="63" y="33"/>
                    </a:lnTo>
                    <a:lnTo>
                      <a:pt x="61" y="33"/>
                    </a:lnTo>
                    <a:lnTo>
                      <a:pt x="60" y="33"/>
                    </a:lnTo>
                    <a:lnTo>
                      <a:pt x="56" y="31"/>
                    </a:lnTo>
                    <a:lnTo>
                      <a:pt x="53" y="30"/>
                    </a:lnTo>
                    <a:lnTo>
                      <a:pt x="50" y="27"/>
                    </a:lnTo>
                    <a:lnTo>
                      <a:pt x="48" y="23"/>
                    </a:lnTo>
                    <a:lnTo>
                      <a:pt x="48" y="21"/>
                    </a:lnTo>
                    <a:lnTo>
                      <a:pt x="50" y="18"/>
                    </a:lnTo>
                    <a:lnTo>
                      <a:pt x="50" y="17"/>
                    </a:lnTo>
                    <a:lnTo>
                      <a:pt x="50" y="16"/>
                    </a:lnTo>
                    <a:lnTo>
                      <a:pt x="48" y="14"/>
                    </a:lnTo>
                    <a:lnTo>
                      <a:pt x="48" y="14"/>
                    </a:lnTo>
                    <a:lnTo>
                      <a:pt x="47" y="13"/>
                    </a:lnTo>
                    <a:lnTo>
                      <a:pt x="47" y="16"/>
                    </a:lnTo>
                    <a:lnTo>
                      <a:pt x="46" y="16"/>
                    </a:lnTo>
                    <a:lnTo>
                      <a:pt x="44" y="13"/>
                    </a:lnTo>
                    <a:lnTo>
                      <a:pt x="41" y="10"/>
                    </a:lnTo>
                    <a:lnTo>
                      <a:pt x="37" y="6"/>
                    </a:lnTo>
                    <a:lnTo>
                      <a:pt x="36" y="3"/>
                    </a:lnTo>
                    <a:lnTo>
                      <a:pt x="34" y="1"/>
                    </a:lnTo>
                    <a:lnTo>
                      <a:pt x="34" y="1"/>
                    </a:lnTo>
                    <a:lnTo>
                      <a:pt x="33" y="1"/>
                    </a:lnTo>
                    <a:lnTo>
                      <a:pt x="31" y="1"/>
                    </a:lnTo>
                    <a:lnTo>
                      <a:pt x="30" y="1"/>
                    </a:lnTo>
                    <a:lnTo>
                      <a:pt x="30" y="1"/>
                    </a:lnTo>
                    <a:lnTo>
                      <a:pt x="28" y="0"/>
                    </a:lnTo>
                    <a:lnTo>
                      <a:pt x="28" y="0"/>
                    </a:lnTo>
                    <a:lnTo>
                      <a:pt x="28" y="1"/>
                    </a:lnTo>
                    <a:lnTo>
                      <a:pt x="27" y="3"/>
                    </a:lnTo>
                    <a:lnTo>
                      <a:pt x="25" y="3"/>
                    </a:lnTo>
                    <a:lnTo>
                      <a:pt x="25" y="4"/>
                    </a:lnTo>
                    <a:lnTo>
                      <a:pt x="25" y="7"/>
                    </a:lnTo>
                    <a:lnTo>
                      <a:pt x="28" y="14"/>
                    </a:lnTo>
                    <a:lnTo>
                      <a:pt x="30" y="24"/>
                    </a:lnTo>
                    <a:lnTo>
                      <a:pt x="30" y="24"/>
                    </a:lnTo>
                    <a:lnTo>
                      <a:pt x="28" y="26"/>
                    </a:lnTo>
                    <a:lnTo>
                      <a:pt x="27" y="26"/>
                    </a:lnTo>
                    <a:lnTo>
                      <a:pt x="27" y="24"/>
                    </a:lnTo>
                    <a:lnTo>
                      <a:pt x="25" y="24"/>
                    </a:lnTo>
                    <a:lnTo>
                      <a:pt x="23" y="24"/>
                    </a:lnTo>
                    <a:lnTo>
                      <a:pt x="21" y="24"/>
                    </a:lnTo>
                    <a:lnTo>
                      <a:pt x="20" y="24"/>
                    </a:lnTo>
                    <a:lnTo>
                      <a:pt x="18" y="23"/>
                    </a:lnTo>
                    <a:lnTo>
                      <a:pt x="18" y="18"/>
                    </a:lnTo>
                    <a:lnTo>
                      <a:pt x="18" y="17"/>
                    </a:lnTo>
                    <a:lnTo>
                      <a:pt x="17" y="20"/>
                    </a:lnTo>
                    <a:lnTo>
                      <a:pt x="15" y="20"/>
                    </a:lnTo>
                    <a:lnTo>
                      <a:pt x="13" y="23"/>
                    </a:lnTo>
                    <a:lnTo>
                      <a:pt x="11" y="23"/>
                    </a:lnTo>
                    <a:lnTo>
                      <a:pt x="11" y="24"/>
                    </a:lnTo>
                    <a:lnTo>
                      <a:pt x="8" y="27"/>
                    </a:lnTo>
                    <a:lnTo>
                      <a:pt x="7" y="29"/>
                    </a:lnTo>
                    <a:lnTo>
                      <a:pt x="7" y="30"/>
                    </a:lnTo>
                    <a:lnTo>
                      <a:pt x="8" y="31"/>
                    </a:lnTo>
                    <a:lnTo>
                      <a:pt x="8" y="31"/>
                    </a:lnTo>
                    <a:lnTo>
                      <a:pt x="4" y="33"/>
                    </a:lnTo>
                    <a:lnTo>
                      <a:pt x="3" y="33"/>
                    </a:lnTo>
                    <a:lnTo>
                      <a:pt x="1" y="34"/>
                    </a:lnTo>
                    <a:lnTo>
                      <a:pt x="1" y="37"/>
                    </a:lnTo>
                    <a:lnTo>
                      <a:pt x="0" y="41"/>
                    </a:lnTo>
                    <a:lnTo>
                      <a:pt x="0" y="43"/>
                    </a:lnTo>
                    <a:lnTo>
                      <a:pt x="3" y="40"/>
                    </a:lnTo>
                    <a:lnTo>
                      <a:pt x="3" y="40"/>
                    </a:lnTo>
                    <a:lnTo>
                      <a:pt x="4" y="40"/>
                    </a:lnTo>
                    <a:lnTo>
                      <a:pt x="5" y="41"/>
                    </a:lnTo>
                    <a:lnTo>
                      <a:pt x="7" y="43"/>
                    </a:lnTo>
                    <a:lnTo>
                      <a:pt x="7" y="44"/>
                    </a:lnTo>
                    <a:lnTo>
                      <a:pt x="7" y="47"/>
                    </a:lnTo>
                    <a:lnTo>
                      <a:pt x="5" y="50"/>
                    </a:lnTo>
                    <a:lnTo>
                      <a:pt x="5" y="53"/>
                    </a:lnTo>
                    <a:lnTo>
                      <a:pt x="7" y="56"/>
                    </a:lnTo>
                    <a:lnTo>
                      <a:pt x="10" y="56"/>
                    </a:lnTo>
                    <a:lnTo>
                      <a:pt x="13" y="54"/>
                    </a:lnTo>
                    <a:lnTo>
                      <a:pt x="15" y="54"/>
                    </a:lnTo>
                    <a:lnTo>
                      <a:pt x="18" y="56"/>
                    </a:lnTo>
                    <a:lnTo>
                      <a:pt x="20" y="57"/>
                    </a:lnTo>
                    <a:lnTo>
                      <a:pt x="20" y="62"/>
                    </a:lnTo>
                    <a:lnTo>
                      <a:pt x="20" y="66"/>
                    </a:lnTo>
                    <a:lnTo>
                      <a:pt x="20" y="67"/>
                    </a:lnTo>
                    <a:lnTo>
                      <a:pt x="20" y="70"/>
                    </a:lnTo>
                    <a:lnTo>
                      <a:pt x="18" y="73"/>
                    </a:lnTo>
                    <a:lnTo>
                      <a:pt x="17" y="75"/>
                    </a:lnTo>
                    <a:lnTo>
                      <a:pt x="17" y="76"/>
                    </a:lnTo>
                    <a:lnTo>
                      <a:pt x="17" y="76"/>
                    </a:lnTo>
                    <a:lnTo>
                      <a:pt x="17" y="77"/>
                    </a:lnTo>
                    <a:lnTo>
                      <a:pt x="17" y="80"/>
                    </a:lnTo>
                    <a:lnTo>
                      <a:pt x="18" y="80"/>
                    </a:lnTo>
                    <a:lnTo>
                      <a:pt x="18" y="82"/>
                    </a:lnTo>
                    <a:lnTo>
                      <a:pt x="17" y="83"/>
                    </a:lnTo>
                    <a:lnTo>
                      <a:pt x="14" y="90"/>
                    </a:lnTo>
                    <a:lnTo>
                      <a:pt x="14" y="92"/>
                    </a:lnTo>
                    <a:lnTo>
                      <a:pt x="15" y="93"/>
                    </a:lnTo>
                    <a:lnTo>
                      <a:pt x="20" y="93"/>
                    </a:lnTo>
                    <a:lnTo>
                      <a:pt x="30" y="83"/>
                    </a:lnTo>
                    <a:lnTo>
                      <a:pt x="34" y="82"/>
                    </a:lnTo>
                    <a:lnTo>
                      <a:pt x="36" y="82"/>
                    </a:lnTo>
                    <a:lnTo>
                      <a:pt x="36" y="82"/>
                    </a:lnTo>
                    <a:lnTo>
                      <a:pt x="37" y="82"/>
                    </a:lnTo>
                    <a:lnTo>
                      <a:pt x="40" y="83"/>
                    </a:lnTo>
                    <a:lnTo>
                      <a:pt x="43" y="86"/>
                    </a:lnTo>
                    <a:lnTo>
                      <a:pt x="44" y="86"/>
                    </a:lnTo>
                    <a:lnTo>
                      <a:pt x="44" y="86"/>
                    </a:lnTo>
                    <a:lnTo>
                      <a:pt x="44" y="87"/>
                    </a:lnTo>
                    <a:lnTo>
                      <a:pt x="44" y="87"/>
                    </a:lnTo>
                    <a:lnTo>
                      <a:pt x="44" y="87"/>
                    </a:lnTo>
                    <a:lnTo>
                      <a:pt x="46" y="87"/>
                    </a:lnTo>
                    <a:lnTo>
                      <a:pt x="46" y="87"/>
                    </a:lnTo>
                    <a:lnTo>
                      <a:pt x="46" y="86"/>
                    </a:lnTo>
                    <a:lnTo>
                      <a:pt x="46" y="86"/>
                    </a:lnTo>
                    <a:lnTo>
                      <a:pt x="48" y="86"/>
                    </a:lnTo>
                    <a:lnTo>
                      <a:pt x="50" y="85"/>
                    </a:lnTo>
                    <a:lnTo>
                      <a:pt x="51" y="83"/>
                    </a:lnTo>
                    <a:lnTo>
                      <a:pt x="53" y="82"/>
                    </a:lnTo>
                    <a:lnTo>
                      <a:pt x="53" y="82"/>
                    </a:lnTo>
                    <a:lnTo>
                      <a:pt x="53" y="82"/>
                    </a:lnTo>
                    <a:lnTo>
                      <a:pt x="53" y="80"/>
                    </a:lnTo>
                    <a:lnTo>
                      <a:pt x="54" y="80"/>
                    </a:lnTo>
                    <a:lnTo>
                      <a:pt x="54" y="79"/>
                    </a:lnTo>
                    <a:lnTo>
                      <a:pt x="56" y="79"/>
                    </a:lnTo>
                    <a:lnTo>
                      <a:pt x="56" y="79"/>
                    </a:lnTo>
                    <a:lnTo>
                      <a:pt x="56" y="77"/>
                    </a:lnTo>
                    <a:lnTo>
                      <a:pt x="56" y="77"/>
                    </a:lnTo>
                    <a:lnTo>
                      <a:pt x="57" y="77"/>
                    </a:lnTo>
                    <a:lnTo>
                      <a:pt x="60" y="76"/>
                    </a:lnTo>
                    <a:lnTo>
                      <a:pt x="63" y="77"/>
                    </a:lnTo>
                    <a:lnTo>
                      <a:pt x="67" y="79"/>
                    </a:lnTo>
                    <a:lnTo>
                      <a:pt x="69" y="80"/>
                    </a:lnTo>
                    <a:lnTo>
                      <a:pt x="71" y="83"/>
                    </a:lnTo>
                    <a:lnTo>
                      <a:pt x="74" y="87"/>
                    </a:lnTo>
                    <a:lnTo>
                      <a:pt x="76" y="90"/>
                    </a:lnTo>
                    <a:lnTo>
                      <a:pt x="79" y="93"/>
                    </a:lnTo>
                    <a:lnTo>
                      <a:pt x="80" y="95"/>
                    </a:lnTo>
                    <a:lnTo>
                      <a:pt x="82" y="98"/>
                    </a:lnTo>
                    <a:lnTo>
                      <a:pt x="82" y="100"/>
                    </a:lnTo>
                    <a:lnTo>
                      <a:pt x="82" y="103"/>
                    </a:lnTo>
                    <a:lnTo>
                      <a:pt x="82" y="108"/>
                    </a:lnTo>
                    <a:lnTo>
                      <a:pt x="82" y="110"/>
                    </a:lnTo>
                    <a:lnTo>
                      <a:pt x="83" y="113"/>
                    </a:lnTo>
                    <a:lnTo>
                      <a:pt x="84" y="115"/>
                    </a:lnTo>
                    <a:lnTo>
                      <a:pt x="86" y="118"/>
                    </a:lnTo>
                    <a:lnTo>
                      <a:pt x="87" y="119"/>
                    </a:lnTo>
                    <a:lnTo>
                      <a:pt x="90" y="119"/>
                    </a:lnTo>
                    <a:lnTo>
                      <a:pt x="92" y="121"/>
                    </a:lnTo>
                    <a:lnTo>
                      <a:pt x="92" y="122"/>
                    </a:lnTo>
                    <a:lnTo>
                      <a:pt x="92" y="122"/>
                    </a:lnTo>
                    <a:lnTo>
                      <a:pt x="92" y="123"/>
                    </a:lnTo>
                    <a:lnTo>
                      <a:pt x="93" y="123"/>
                    </a:lnTo>
                    <a:lnTo>
                      <a:pt x="93" y="125"/>
                    </a:lnTo>
                    <a:lnTo>
                      <a:pt x="96" y="126"/>
                    </a:lnTo>
                    <a:lnTo>
                      <a:pt x="96" y="126"/>
                    </a:lnTo>
                    <a:lnTo>
                      <a:pt x="97" y="129"/>
                    </a:lnTo>
                    <a:lnTo>
                      <a:pt x="96" y="131"/>
                    </a:lnTo>
                    <a:lnTo>
                      <a:pt x="96" y="132"/>
                    </a:lnTo>
                    <a:lnTo>
                      <a:pt x="94" y="133"/>
                    </a:lnTo>
                    <a:lnTo>
                      <a:pt x="94" y="139"/>
                    </a:lnTo>
                    <a:lnTo>
                      <a:pt x="94" y="144"/>
                    </a:lnTo>
                    <a:lnTo>
                      <a:pt x="93" y="148"/>
                    </a:lnTo>
                    <a:lnTo>
                      <a:pt x="89" y="152"/>
                    </a:lnTo>
                    <a:lnTo>
                      <a:pt x="90" y="154"/>
                    </a:lnTo>
                    <a:lnTo>
                      <a:pt x="92" y="155"/>
                    </a:lnTo>
                    <a:lnTo>
                      <a:pt x="94" y="155"/>
                    </a:lnTo>
                    <a:lnTo>
                      <a:pt x="97" y="156"/>
                    </a:lnTo>
                    <a:lnTo>
                      <a:pt x="102" y="159"/>
                    </a:lnTo>
                    <a:lnTo>
                      <a:pt x="104" y="159"/>
                    </a:lnTo>
                    <a:lnTo>
                      <a:pt x="106" y="158"/>
                    </a:lnTo>
                    <a:lnTo>
                      <a:pt x="104" y="155"/>
                    </a:lnTo>
                    <a:lnTo>
                      <a:pt x="104" y="154"/>
                    </a:lnTo>
                    <a:lnTo>
                      <a:pt x="104" y="151"/>
                    </a:lnTo>
                    <a:lnTo>
                      <a:pt x="104" y="151"/>
                    </a:lnTo>
                    <a:lnTo>
                      <a:pt x="106" y="151"/>
                    </a:lnTo>
                    <a:lnTo>
                      <a:pt x="107" y="149"/>
                    </a:lnTo>
                    <a:lnTo>
                      <a:pt x="107" y="149"/>
                    </a:lnTo>
                    <a:lnTo>
                      <a:pt x="109" y="149"/>
                    </a:lnTo>
                    <a:lnTo>
                      <a:pt x="110" y="149"/>
                    </a:lnTo>
                    <a:lnTo>
                      <a:pt x="112" y="148"/>
                    </a:lnTo>
                    <a:lnTo>
                      <a:pt x="112" y="148"/>
                    </a:lnTo>
                    <a:lnTo>
                      <a:pt x="115" y="149"/>
                    </a:lnTo>
                    <a:lnTo>
                      <a:pt x="116" y="151"/>
                    </a:lnTo>
                    <a:lnTo>
                      <a:pt x="119" y="151"/>
                    </a:lnTo>
                    <a:lnTo>
                      <a:pt x="122" y="151"/>
                    </a:lnTo>
                    <a:lnTo>
                      <a:pt x="126" y="148"/>
                    </a:lnTo>
                    <a:lnTo>
                      <a:pt x="127" y="148"/>
                    </a:lnTo>
                    <a:lnTo>
                      <a:pt x="127" y="146"/>
                    </a:lnTo>
                    <a:lnTo>
                      <a:pt x="129" y="146"/>
                    </a:lnTo>
                    <a:lnTo>
                      <a:pt x="130" y="145"/>
                    </a:lnTo>
                    <a:lnTo>
                      <a:pt x="130" y="144"/>
                    </a:lnTo>
                    <a:lnTo>
                      <a:pt x="129" y="141"/>
                    </a:lnTo>
                    <a:lnTo>
                      <a:pt x="129" y="139"/>
                    </a:lnTo>
                    <a:lnTo>
                      <a:pt x="130" y="139"/>
                    </a:lnTo>
                    <a:lnTo>
                      <a:pt x="130" y="138"/>
                    </a:lnTo>
                    <a:lnTo>
                      <a:pt x="132" y="136"/>
                    </a:lnTo>
                    <a:lnTo>
                      <a:pt x="132" y="135"/>
                    </a:lnTo>
                    <a:lnTo>
                      <a:pt x="132" y="13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53" name="Freeform 149">
                <a:extLst>
                  <a:ext uri="{FF2B5EF4-FFF2-40B4-BE49-F238E27FC236}">
                    <a16:creationId xmlns:a16="http://schemas.microsoft.com/office/drawing/2014/main" id="{821F5149-D251-E4CA-57BA-9274772705BA}"/>
                  </a:ext>
                </a:extLst>
              </p:cNvPr>
              <p:cNvSpPr>
                <a:spLocks noEditPoints="1"/>
              </p:cNvSpPr>
              <p:nvPr/>
            </p:nvSpPr>
            <p:spPr bwMode="auto">
              <a:xfrm>
                <a:off x="7865457" y="3408245"/>
                <a:ext cx="117123" cy="161948"/>
              </a:xfrm>
              <a:custGeom>
                <a:avLst/>
                <a:gdLst>
                  <a:gd name="T0" fmla="*/ 68 w 81"/>
                  <a:gd name="T1" fmla="*/ 86 h 112"/>
                  <a:gd name="T2" fmla="*/ 55 w 81"/>
                  <a:gd name="T3" fmla="*/ 77 h 112"/>
                  <a:gd name="T4" fmla="*/ 45 w 81"/>
                  <a:gd name="T5" fmla="*/ 62 h 112"/>
                  <a:gd name="T6" fmla="*/ 45 w 81"/>
                  <a:gd name="T7" fmla="*/ 67 h 112"/>
                  <a:gd name="T8" fmla="*/ 43 w 81"/>
                  <a:gd name="T9" fmla="*/ 77 h 112"/>
                  <a:gd name="T10" fmla="*/ 36 w 81"/>
                  <a:gd name="T11" fmla="*/ 90 h 112"/>
                  <a:gd name="T12" fmla="*/ 35 w 81"/>
                  <a:gd name="T13" fmla="*/ 87 h 112"/>
                  <a:gd name="T14" fmla="*/ 33 w 81"/>
                  <a:gd name="T15" fmla="*/ 85 h 112"/>
                  <a:gd name="T16" fmla="*/ 26 w 81"/>
                  <a:gd name="T17" fmla="*/ 83 h 112"/>
                  <a:gd name="T18" fmla="*/ 19 w 81"/>
                  <a:gd name="T19" fmla="*/ 87 h 112"/>
                  <a:gd name="T20" fmla="*/ 16 w 81"/>
                  <a:gd name="T21" fmla="*/ 72 h 112"/>
                  <a:gd name="T22" fmla="*/ 12 w 81"/>
                  <a:gd name="T23" fmla="*/ 63 h 112"/>
                  <a:gd name="T24" fmla="*/ 12 w 81"/>
                  <a:gd name="T25" fmla="*/ 51 h 112"/>
                  <a:gd name="T26" fmla="*/ 7 w 81"/>
                  <a:gd name="T27" fmla="*/ 43 h 112"/>
                  <a:gd name="T28" fmla="*/ 4 w 81"/>
                  <a:gd name="T29" fmla="*/ 41 h 112"/>
                  <a:gd name="T30" fmla="*/ 0 w 81"/>
                  <a:gd name="T31" fmla="*/ 37 h 112"/>
                  <a:gd name="T32" fmla="*/ 9 w 81"/>
                  <a:gd name="T33" fmla="*/ 27 h 112"/>
                  <a:gd name="T34" fmla="*/ 16 w 81"/>
                  <a:gd name="T35" fmla="*/ 27 h 112"/>
                  <a:gd name="T36" fmla="*/ 16 w 81"/>
                  <a:gd name="T37" fmla="*/ 24 h 112"/>
                  <a:gd name="T38" fmla="*/ 10 w 81"/>
                  <a:gd name="T39" fmla="*/ 21 h 112"/>
                  <a:gd name="T40" fmla="*/ 3 w 81"/>
                  <a:gd name="T41" fmla="*/ 16 h 112"/>
                  <a:gd name="T42" fmla="*/ 4 w 81"/>
                  <a:gd name="T43" fmla="*/ 7 h 112"/>
                  <a:gd name="T44" fmla="*/ 7 w 81"/>
                  <a:gd name="T45" fmla="*/ 3 h 112"/>
                  <a:gd name="T46" fmla="*/ 6 w 81"/>
                  <a:gd name="T47" fmla="*/ 1 h 112"/>
                  <a:gd name="T48" fmla="*/ 9 w 81"/>
                  <a:gd name="T49" fmla="*/ 1 h 112"/>
                  <a:gd name="T50" fmla="*/ 12 w 81"/>
                  <a:gd name="T51" fmla="*/ 6 h 112"/>
                  <a:gd name="T52" fmla="*/ 17 w 81"/>
                  <a:gd name="T53" fmla="*/ 6 h 112"/>
                  <a:gd name="T54" fmla="*/ 17 w 81"/>
                  <a:gd name="T55" fmla="*/ 3 h 112"/>
                  <a:gd name="T56" fmla="*/ 19 w 81"/>
                  <a:gd name="T57" fmla="*/ 6 h 112"/>
                  <a:gd name="T58" fmla="*/ 26 w 81"/>
                  <a:gd name="T59" fmla="*/ 11 h 112"/>
                  <a:gd name="T60" fmla="*/ 27 w 81"/>
                  <a:gd name="T61" fmla="*/ 7 h 112"/>
                  <a:gd name="T62" fmla="*/ 32 w 81"/>
                  <a:gd name="T63" fmla="*/ 16 h 112"/>
                  <a:gd name="T64" fmla="*/ 32 w 81"/>
                  <a:gd name="T65" fmla="*/ 23 h 112"/>
                  <a:gd name="T66" fmla="*/ 42 w 81"/>
                  <a:gd name="T67" fmla="*/ 27 h 112"/>
                  <a:gd name="T68" fmla="*/ 49 w 81"/>
                  <a:gd name="T69" fmla="*/ 29 h 112"/>
                  <a:gd name="T70" fmla="*/ 62 w 81"/>
                  <a:gd name="T71" fmla="*/ 29 h 112"/>
                  <a:gd name="T72" fmla="*/ 78 w 81"/>
                  <a:gd name="T73" fmla="*/ 31 h 112"/>
                  <a:gd name="T74" fmla="*/ 78 w 81"/>
                  <a:gd name="T75" fmla="*/ 34 h 112"/>
                  <a:gd name="T76" fmla="*/ 75 w 81"/>
                  <a:gd name="T77" fmla="*/ 34 h 112"/>
                  <a:gd name="T78" fmla="*/ 72 w 81"/>
                  <a:gd name="T79" fmla="*/ 43 h 112"/>
                  <a:gd name="T80" fmla="*/ 69 w 81"/>
                  <a:gd name="T81" fmla="*/ 43 h 112"/>
                  <a:gd name="T82" fmla="*/ 66 w 81"/>
                  <a:gd name="T83" fmla="*/ 46 h 112"/>
                  <a:gd name="T84" fmla="*/ 63 w 81"/>
                  <a:gd name="T85" fmla="*/ 47 h 112"/>
                  <a:gd name="T86" fmla="*/ 56 w 81"/>
                  <a:gd name="T87" fmla="*/ 51 h 112"/>
                  <a:gd name="T88" fmla="*/ 58 w 81"/>
                  <a:gd name="T89" fmla="*/ 66 h 112"/>
                  <a:gd name="T90" fmla="*/ 59 w 81"/>
                  <a:gd name="T91" fmla="*/ 66 h 112"/>
                  <a:gd name="T92" fmla="*/ 62 w 81"/>
                  <a:gd name="T93" fmla="*/ 70 h 112"/>
                  <a:gd name="T94" fmla="*/ 66 w 81"/>
                  <a:gd name="T95" fmla="*/ 64 h 112"/>
                  <a:gd name="T96" fmla="*/ 69 w 81"/>
                  <a:gd name="T97" fmla="*/ 60 h 112"/>
                  <a:gd name="T98" fmla="*/ 69 w 81"/>
                  <a:gd name="T99" fmla="*/ 56 h 112"/>
                  <a:gd name="T100" fmla="*/ 75 w 81"/>
                  <a:gd name="T101" fmla="*/ 59 h 112"/>
                  <a:gd name="T102" fmla="*/ 78 w 81"/>
                  <a:gd name="T103" fmla="*/ 72 h 112"/>
                  <a:gd name="T104" fmla="*/ 79 w 81"/>
                  <a:gd name="T105" fmla="*/ 76 h 112"/>
                  <a:gd name="T106" fmla="*/ 81 w 81"/>
                  <a:gd name="T107" fmla="*/ 102 h 112"/>
                  <a:gd name="T108" fmla="*/ 73 w 81"/>
                  <a:gd name="T109" fmla="*/ 106 h 112"/>
                  <a:gd name="T110" fmla="*/ 68 w 81"/>
                  <a:gd name="T111" fmla="*/ 92 h 112"/>
                  <a:gd name="T112" fmla="*/ 46 w 81"/>
                  <a:gd name="T113" fmla="*/ 77 h 112"/>
                  <a:gd name="T114" fmla="*/ 50 w 81"/>
                  <a:gd name="T115" fmla="*/ 83 h 112"/>
                  <a:gd name="T116" fmla="*/ 60 w 81"/>
                  <a:gd name="T117" fmla="*/ 79 h 112"/>
                  <a:gd name="T118" fmla="*/ 46 w 81"/>
                  <a:gd name="T119" fmla="*/ 70 h 112"/>
                  <a:gd name="T120" fmla="*/ 46 w 81"/>
                  <a:gd name="T121" fmla="*/ 72 h 112"/>
                  <a:gd name="T122" fmla="*/ 53 w 81"/>
                  <a:gd name="T123" fmla="*/ 8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 h="112">
                    <a:moveTo>
                      <a:pt x="73" y="106"/>
                    </a:moveTo>
                    <a:lnTo>
                      <a:pt x="76" y="112"/>
                    </a:lnTo>
                    <a:lnTo>
                      <a:pt x="73" y="108"/>
                    </a:lnTo>
                    <a:lnTo>
                      <a:pt x="72" y="105"/>
                    </a:lnTo>
                    <a:lnTo>
                      <a:pt x="70" y="96"/>
                    </a:lnTo>
                    <a:lnTo>
                      <a:pt x="68" y="89"/>
                    </a:lnTo>
                    <a:lnTo>
                      <a:pt x="68" y="86"/>
                    </a:lnTo>
                    <a:lnTo>
                      <a:pt x="68" y="82"/>
                    </a:lnTo>
                    <a:lnTo>
                      <a:pt x="66" y="83"/>
                    </a:lnTo>
                    <a:lnTo>
                      <a:pt x="63" y="77"/>
                    </a:lnTo>
                    <a:lnTo>
                      <a:pt x="62" y="74"/>
                    </a:lnTo>
                    <a:lnTo>
                      <a:pt x="60" y="72"/>
                    </a:lnTo>
                    <a:lnTo>
                      <a:pt x="59" y="74"/>
                    </a:lnTo>
                    <a:lnTo>
                      <a:pt x="55" y="77"/>
                    </a:lnTo>
                    <a:lnTo>
                      <a:pt x="52" y="76"/>
                    </a:lnTo>
                    <a:lnTo>
                      <a:pt x="49" y="74"/>
                    </a:lnTo>
                    <a:lnTo>
                      <a:pt x="47" y="70"/>
                    </a:lnTo>
                    <a:lnTo>
                      <a:pt x="46" y="66"/>
                    </a:lnTo>
                    <a:lnTo>
                      <a:pt x="46" y="59"/>
                    </a:lnTo>
                    <a:lnTo>
                      <a:pt x="45" y="60"/>
                    </a:lnTo>
                    <a:lnTo>
                      <a:pt x="45" y="62"/>
                    </a:lnTo>
                    <a:lnTo>
                      <a:pt x="42" y="62"/>
                    </a:lnTo>
                    <a:lnTo>
                      <a:pt x="40" y="60"/>
                    </a:lnTo>
                    <a:lnTo>
                      <a:pt x="42" y="62"/>
                    </a:lnTo>
                    <a:lnTo>
                      <a:pt x="43" y="63"/>
                    </a:lnTo>
                    <a:lnTo>
                      <a:pt x="45" y="64"/>
                    </a:lnTo>
                    <a:lnTo>
                      <a:pt x="46" y="66"/>
                    </a:lnTo>
                    <a:lnTo>
                      <a:pt x="45" y="67"/>
                    </a:lnTo>
                    <a:lnTo>
                      <a:pt x="43" y="69"/>
                    </a:lnTo>
                    <a:lnTo>
                      <a:pt x="43" y="70"/>
                    </a:lnTo>
                    <a:lnTo>
                      <a:pt x="45" y="72"/>
                    </a:lnTo>
                    <a:lnTo>
                      <a:pt x="43" y="72"/>
                    </a:lnTo>
                    <a:lnTo>
                      <a:pt x="43" y="73"/>
                    </a:lnTo>
                    <a:lnTo>
                      <a:pt x="43" y="76"/>
                    </a:lnTo>
                    <a:lnTo>
                      <a:pt x="43" y="77"/>
                    </a:lnTo>
                    <a:lnTo>
                      <a:pt x="46" y="82"/>
                    </a:lnTo>
                    <a:lnTo>
                      <a:pt x="46" y="83"/>
                    </a:lnTo>
                    <a:lnTo>
                      <a:pt x="45" y="85"/>
                    </a:lnTo>
                    <a:lnTo>
                      <a:pt x="42" y="89"/>
                    </a:lnTo>
                    <a:lnTo>
                      <a:pt x="39" y="92"/>
                    </a:lnTo>
                    <a:lnTo>
                      <a:pt x="37" y="92"/>
                    </a:lnTo>
                    <a:lnTo>
                      <a:pt x="36" y="90"/>
                    </a:lnTo>
                    <a:lnTo>
                      <a:pt x="36" y="89"/>
                    </a:lnTo>
                    <a:lnTo>
                      <a:pt x="37" y="87"/>
                    </a:lnTo>
                    <a:lnTo>
                      <a:pt x="39" y="86"/>
                    </a:lnTo>
                    <a:lnTo>
                      <a:pt x="37" y="86"/>
                    </a:lnTo>
                    <a:lnTo>
                      <a:pt x="36" y="86"/>
                    </a:lnTo>
                    <a:lnTo>
                      <a:pt x="36" y="87"/>
                    </a:lnTo>
                    <a:lnTo>
                      <a:pt x="35" y="87"/>
                    </a:lnTo>
                    <a:lnTo>
                      <a:pt x="33" y="86"/>
                    </a:lnTo>
                    <a:lnTo>
                      <a:pt x="33" y="83"/>
                    </a:lnTo>
                    <a:lnTo>
                      <a:pt x="33" y="82"/>
                    </a:lnTo>
                    <a:lnTo>
                      <a:pt x="35" y="80"/>
                    </a:lnTo>
                    <a:lnTo>
                      <a:pt x="33" y="82"/>
                    </a:lnTo>
                    <a:lnTo>
                      <a:pt x="33" y="83"/>
                    </a:lnTo>
                    <a:lnTo>
                      <a:pt x="33" y="85"/>
                    </a:lnTo>
                    <a:lnTo>
                      <a:pt x="32" y="87"/>
                    </a:lnTo>
                    <a:lnTo>
                      <a:pt x="32" y="89"/>
                    </a:lnTo>
                    <a:lnTo>
                      <a:pt x="30" y="90"/>
                    </a:lnTo>
                    <a:lnTo>
                      <a:pt x="29" y="92"/>
                    </a:lnTo>
                    <a:lnTo>
                      <a:pt x="27" y="93"/>
                    </a:lnTo>
                    <a:lnTo>
                      <a:pt x="27" y="90"/>
                    </a:lnTo>
                    <a:lnTo>
                      <a:pt x="26" y="83"/>
                    </a:lnTo>
                    <a:lnTo>
                      <a:pt x="26" y="86"/>
                    </a:lnTo>
                    <a:lnTo>
                      <a:pt x="26" y="89"/>
                    </a:lnTo>
                    <a:lnTo>
                      <a:pt x="26" y="92"/>
                    </a:lnTo>
                    <a:lnTo>
                      <a:pt x="25" y="93"/>
                    </a:lnTo>
                    <a:lnTo>
                      <a:pt x="22" y="93"/>
                    </a:lnTo>
                    <a:lnTo>
                      <a:pt x="20" y="92"/>
                    </a:lnTo>
                    <a:lnTo>
                      <a:pt x="19" y="87"/>
                    </a:lnTo>
                    <a:lnTo>
                      <a:pt x="19" y="85"/>
                    </a:lnTo>
                    <a:lnTo>
                      <a:pt x="19" y="83"/>
                    </a:lnTo>
                    <a:lnTo>
                      <a:pt x="16" y="77"/>
                    </a:lnTo>
                    <a:lnTo>
                      <a:pt x="16" y="76"/>
                    </a:lnTo>
                    <a:lnTo>
                      <a:pt x="16" y="73"/>
                    </a:lnTo>
                    <a:lnTo>
                      <a:pt x="16" y="73"/>
                    </a:lnTo>
                    <a:lnTo>
                      <a:pt x="16" y="72"/>
                    </a:lnTo>
                    <a:lnTo>
                      <a:pt x="16" y="70"/>
                    </a:lnTo>
                    <a:lnTo>
                      <a:pt x="14" y="70"/>
                    </a:lnTo>
                    <a:lnTo>
                      <a:pt x="14" y="69"/>
                    </a:lnTo>
                    <a:lnTo>
                      <a:pt x="16" y="66"/>
                    </a:lnTo>
                    <a:lnTo>
                      <a:pt x="13" y="64"/>
                    </a:lnTo>
                    <a:lnTo>
                      <a:pt x="13" y="64"/>
                    </a:lnTo>
                    <a:lnTo>
                      <a:pt x="12" y="63"/>
                    </a:lnTo>
                    <a:lnTo>
                      <a:pt x="13" y="62"/>
                    </a:lnTo>
                    <a:lnTo>
                      <a:pt x="12" y="60"/>
                    </a:lnTo>
                    <a:lnTo>
                      <a:pt x="12" y="59"/>
                    </a:lnTo>
                    <a:lnTo>
                      <a:pt x="10" y="59"/>
                    </a:lnTo>
                    <a:lnTo>
                      <a:pt x="10" y="57"/>
                    </a:lnTo>
                    <a:lnTo>
                      <a:pt x="10" y="57"/>
                    </a:lnTo>
                    <a:lnTo>
                      <a:pt x="12" y="51"/>
                    </a:lnTo>
                    <a:lnTo>
                      <a:pt x="12" y="50"/>
                    </a:lnTo>
                    <a:lnTo>
                      <a:pt x="13" y="47"/>
                    </a:lnTo>
                    <a:lnTo>
                      <a:pt x="13" y="46"/>
                    </a:lnTo>
                    <a:lnTo>
                      <a:pt x="12" y="44"/>
                    </a:lnTo>
                    <a:lnTo>
                      <a:pt x="10" y="44"/>
                    </a:lnTo>
                    <a:lnTo>
                      <a:pt x="9" y="44"/>
                    </a:lnTo>
                    <a:lnTo>
                      <a:pt x="7" y="43"/>
                    </a:lnTo>
                    <a:lnTo>
                      <a:pt x="7" y="43"/>
                    </a:lnTo>
                    <a:lnTo>
                      <a:pt x="6" y="43"/>
                    </a:lnTo>
                    <a:lnTo>
                      <a:pt x="6" y="41"/>
                    </a:lnTo>
                    <a:lnTo>
                      <a:pt x="6" y="41"/>
                    </a:lnTo>
                    <a:lnTo>
                      <a:pt x="4" y="41"/>
                    </a:lnTo>
                    <a:lnTo>
                      <a:pt x="4" y="41"/>
                    </a:lnTo>
                    <a:lnTo>
                      <a:pt x="4" y="41"/>
                    </a:lnTo>
                    <a:lnTo>
                      <a:pt x="3" y="41"/>
                    </a:lnTo>
                    <a:lnTo>
                      <a:pt x="2" y="40"/>
                    </a:lnTo>
                    <a:lnTo>
                      <a:pt x="2" y="40"/>
                    </a:lnTo>
                    <a:lnTo>
                      <a:pt x="0" y="39"/>
                    </a:lnTo>
                    <a:lnTo>
                      <a:pt x="0" y="39"/>
                    </a:lnTo>
                    <a:lnTo>
                      <a:pt x="0" y="37"/>
                    </a:lnTo>
                    <a:lnTo>
                      <a:pt x="0" y="37"/>
                    </a:lnTo>
                    <a:lnTo>
                      <a:pt x="3" y="33"/>
                    </a:lnTo>
                    <a:lnTo>
                      <a:pt x="4" y="33"/>
                    </a:lnTo>
                    <a:lnTo>
                      <a:pt x="6" y="33"/>
                    </a:lnTo>
                    <a:lnTo>
                      <a:pt x="6" y="31"/>
                    </a:lnTo>
                    <a:lnTo>
                      <a:pt x="7" y="30"/>
                    </a:lnTo>
                    <a:lnTo>
                      <a:pt x="7" y="29"/>
                    </a:lnTo>
                    <a:lnTo>
                      <a:pt x="9" y="27"/>
                    </a:lnTo>
                    <a:lnTo>
                      <a:pt x="10" y="27"/>
                    </a:lnTo>
                    <a:lnTo>
                      <a:pt x="13" y="27"/>
                    </a:lnTo>
                    <a:lnTo>
                      <a:pt x="13" y="27"/>
                    </a:lnTo>
                    <a:lnTo>
                      <a:pt x="14" y="27"/>
                    </a:lnTo>
                    <a:lnTo>
                      <a:pt x="14" y="27"/>
                    </a:lnTo>
                    <a:lnTo>
                      <a:pt x="16" y="27"/>
                    </a:lnTo>
                    <a:lnTo>
                      <a:pt x="16" y="27"/>
                    </a:lnTo>
                    <a:lnTo>
                      <a:pt x="16" y="27"/>
                    </a:lnTo>
                    <a:lnTo>
                      <a:pt x="16" y="26"/>
                    </a:lnTo>
                    <a:lnTo>
                      <a:pt x="16" y="26"/>
                    </a:lnTo>
                    <a:lnTo>
                      <a:pt x="16" y="26"/>
                    </a:lnTo>
                    <a:lnTo>
                      <a:pt x="16" y="26"/>
                    </a:lnTo>
                    <a:lnTo>
                      <a:pt x="16" y="26"/>
                    </a:lnTo>
                    <a:lnTo>
                      <a:pt x="16" y="24"/>
                    </a:lnTo>
                    <a:lnTo>
                      <a:pt x="14" y="24"/>
                    </a:lnTo>
                    <a:lnTo>
                      <a:pt x="14" y="24"/>
                    </a:lnTo>
                    <a:lnTo>
                      <a:pt x="14" y="23"/>
                    </a:lnTo>
                    <a:lnTo>
                      <a:pt x="13" y="21"/>
                    </a:lnTo>
                    <a:lnTo>
                      <a:pt x="12" y="21"/>
                    </a:lnTo>
                    <a:lnTo>
                      <a:pt x="12" y="21"/>
                    </a:lnTo>
                    <a:lnTo>
                      <a:pt x="10" y="21"/>
                    </a:lnTo>
                    <a:lnTo>
                      <a:pt x="9" y="20"/>
                    </a:lnTo>
                    <a:lnTo>
                      <a:pt x="7" y="20"/>
                    </a:lnTo>
                    <a:lnTo>
                      <a:pt x="6" y="17"/>
                    </a:lnTo>
                    <a:lnTo>
                      <a:pt x="6" y="17"/>
                    </a:lnTo>
                    <a:lnTo>
                      <a:pt x="4" y="16"/>
                    </a:lnTo>
                    <a:lnTo>
                      <a:pt x="4" y="16"/>
                    </a:lnTo>
                    <a:lnTo>
                      <a:pt x="3" y="16"/>
                    </a:lnTo>
                    <a:lnTo>
                      <a:pt x="3" y="16"/>
                    </a:lnTo>
                    <a:lnTo>
                      <a:pt x="2" y="14"/>
                    </a:lnTo>
                    <a:lnTo>
                      <a:pt x="2" y="14"/>
                    </a:lnTo>
                    <a:lnTo>
                      <a:pt x="2" y="11"/>
                    </a:lnTo>
                    <a:lnTo>
                      <a:pt x="3" y="10"/>
                    </a:lnTo>
                    <a:lnTo>
                      <a:pt x="3" y="8"/>
                    </a:lnTo>
                    <a:lnTo>
                      <a:pt x="4" y="7"/>
                    </a:lnTo>
                    <a:lnTo>
                      <a:pt x="6" y="7"/>
                    </a:lnTo>
                    <a:lnTo>
                      <a:pt x="6" y="6"/>
                    </a:lnTo>
                    <a:lnTo>
                      <a:pt x="7" y="4"/>
                    </a:lnTo>
                    <a:lnTo>
                      <a:pt x="7" y="4"/>
                    </a:lnTo>
                    <a:lnTo>
                      <a:pt x="7" y="4"/>
                    </a:lnTo>
                    <a:lnTo>
                      <a:pt x="7" y="4"/>
                    </a:lnTo>
                    <a:lnTo>
                      <a:pt x="7" y="3"/>
                    </a:lnTo>
                    <a:lnTo>
                      <a:pt x="7" y="3"/>
                    </a:lnTo>
                    <a:lnTo>
                      <a:pt x="7" y="3"/>
                    </a:lnTo>
                    <a:lnTo>
                      <a:pt x="7" y="3"/>
                    </a:lnTo>
                    <a:lnTo>
                      <a:pt x="7" y="3"/>
                    </a:lnTo>
                    <a:lnTo>
                      <a:pt x="7" y="3"/>
                    </a:lnTo>
                    <a:lnTo>
                      <a:pt x="6" y="3"/>
                    </a:lnTo>
                    <a:lnTo>
                      <a:pt x="6" y="1"/>
                    </a:lnTo>
                    <a:lnTo>
                      <a:pt x="6" y="1"/>
                    </a:lnTo>
                    <a:lnTo>
                      <a:pt x="6" y="1"/>
                    </a:lnTo>
                    <a:lnTo>
                      <a:pt x="6" y="1"/>
                    </a:lnTo>
                    <a:lnTo>
                      <a:pt x="7" y="0"/>
                    </a:lnTo>
                    <a:lnTo>
                      <a:pt x="7" y="0"/>
                    </a:lnTo>
                    <a:lnTo>
                      <a:pt x="9" y="1"/>
                    </a:lnTo>
                    <a:lnTo>
                      <a:pt x="9" y="1"/>
                    </a:lnTo>
                    <a:lnTo>
                      <a:pt x="10" y="3"/>
                    </a:lnTo>
                    <a:lnTo>
                      <a:pt x="10" y="3"/>
                    </a:lnTo>
                    <a:lnTo>
                      <a:pt x="12" y="4"/>
                    </a:lnTo>
                    <a:lnTo>
                      <a:pt x="12" y="4"/>
                    </a:lnTo>
                    <a:lnTo>
                      <a:pt x="12" y="6"/>
                    </a:lnTo>
                    <a:lnTo>
                      <a:pt x="12" y="6"/>
                    </a:lnTo>
                    <a:lnTo>
                      <a:pt x="12" y="6"/>
                    </a:lnTo>
                    <a:lnTo>
                      <a:pt x="13" y="6"/>
                    </a:lnTo>
                    <a:lnTo>
                      <a:pt x="13" y="6"/>
                    </a:lnTo>
                    <a:lnTo>
                      <a:pt x="13" y="6"/>
                    </a:lnTo>
                    <a:lnTo>
                      <a:pt x="14" y="7"/>
                    </a:lnTo>
                    <a:lnTo>
                      <a:pt x="16" y="7"/>
                    </a:lnTo>
                    <a:lnTo>
                      <a:pt x="17" y="6"/>
                    </a:lnTo>
                    <a:lnTo>
                      <a:pt x="17" y="6"/>
                    </a:lnTo>
                    <a:lnTo>
                      <a:pt x="17" y="6"/>
                    </a:lnTo>
                    <a:lnTo>
                      <a:pt x="16" y="4"/>
                    </a:lnTo>
                    <a:lnTo>
                      <a:pt x="16" y="4"/>
                    </a:lnTo>
                    <a:lnTo>
                      <a:pt x="16" y="4"/>
                    </a:lnTo>
                    <a:lnTo>
                      <a:pt x="17" y="4"/>
                    </a:lnTo>
                    <a:lnTo>
                      <a:pt x="17" y="3"/>
                    </a:lnTo>
                    <a:lnTo>
                      <a:pt x="17" y="3"/>
                    </a:lnTo>
                    <a:lnTo>
                      <a:pt x="17" y="3"/>
                    </a:lnTo>
                    <a:lnTo>
                      <a:pt x="17" y="4"/>
                    </a:lnTo>
                    <a:lnTo>
                      <a:pt x="17" y="4"/>
                    </a:lnTo>
                    <a:lnTo>
                      <a:pt x="19" y="4"/>
                    </a:lnTo>
                    <a:lnTo>
                      <a:pt x="19" y="4"/>
                    </a:lnTo>
                    <a:lnTo>
                      <a:pt x="19" y="4"/>
                    </a:lnTo>
                    <a:lnTo>
                      <a:pt x="19" y="6"/>
                    </a:lnTo>
                    <a:lnTo>
                      <a:pt x="19" y="6"/>
                    </a:lnTo>
                    <a:lnTo>
                      <a:pt x="19" y="7"/>
                    </a:lnTo>
                    <a:lnTo>
                      <a:pt x="19" y="7"/>
                    </a:lnTo>
                    <a:lnTo>
                      <a:pt x="20" y="10"/>
                    </a:lnTo>
                    <a:lnTo>
                      <a:pt x="23" y="11"/>
                    </a:lnTo>
                    <a:lnTo>
                      <a:pt x="25" y="11"/>
                    </a:lnTo>
                    <a:lnTo>
                      <a:pt x="26" y="11"/>
                    </a:lnTo>
                    <a:lnTo>
                      <a:pt x="27" y="11"/>
                    </a:lnTo>
                    <a:lnTo>
                      <a:pt x="27" y="11"/>
                    </a:lnTo>
                    <a:lnTo>
                      <a:pt x="27" y="10"/>
                    </a:lnTo>
                    <a:lnTo>
                      <a:pt x="27" y="8"/>
                    </a:lnTo>
                    <a:lnTo>
                      <a:pt x="27" y="8"/>
                    </a:lnTo>
                    <a:lnTo>
                      <a:pt x="27" y="8"/>
                    </a:lnTo>
                    <a:lnTo>
                      <a:pt x="27" y="7"/>
                    </a:lnTo>
                    <a:lnTo>
                      <a:pt x="29" y="7"/>
                    </a:lnTo>
                    <a:lnTo>
                      <a:pt x="29" y="7"/>
                    </a:lnTo>
                    <a:lnTo>
                      <a:pt x="30" y="8"/>
                    </a:lnTo>
                    <a:lnTo>
                      <a:pt x="32" y="13"/>
                    </a:lnTo>
                    <a:lnTo>
                      <a:pt x="32" y="14"/>
                    </a:lnTo>
                    <a:lnTo>
                      <a:pt x="32" y="14"/>
                    </a:lnTo>
                    <a:lnTo>
                      <a:pt x="32" y="16"/>
                    </a:lnTo>
                    <a:lnTo>
                      <a:pt x="32" y="17"/>
                    </a:lnTo>
                    <a:lnTo>
                      <a:pt x="32" y="17"/>
                    </a:lnTo>
                    <a:lnTo>
                      <a:pt x="32" y="18"/>
                    </a:lnTo>
                    <a:lnTo>
                      <a:pt x="32" y="20"/>
                    </a:lnTo>
                    <a:lnTo>
                      <a:pt x="32" y="21"/>
                    </a:lnTo>
                    <a:lnTo>
                      <a:pt x="32" y="21"/>
                    </a:lnTo>
                    <a:lnTo>
                      <a:pt x="32" y="23"/>
                    </a:lnTo>
                    <a:lnTo>
                      <a:pt x="32" y="24"/>
                    </a:lnTo>
                    <a:lnTo>
                      <a:pt x="32" y="24"/>
                    </a:lnTo>
                    <a:lnTo>
                      <a:pt x="33" y="26"/>
                    </a:lnTo>
                    <a:lnTo>
                      <a:pt x="37" y="27"/>
                    </a:lnTo>
                    <a:lnTo>
                      <a:pt x="39" y="27"/>
                    </a:lnTo>
                    <a:lnTo>
                      <a:pt x="40" y="27"/>
                    </a:lnTo>
                    <a:lnTo>
                      <a:pt x="42" y="27"/>
                    </a:lnTo>
                    <a:lnTo>
                      <a:pt x="43" y="29"/>
                    </a:lnTo>
                    <a:lnTo>
                      <a:pt x="43" y="29"/>
                    </a:lnTo>
                    <a:lnTo>
                      <a:pt x="45" y="27"/>
                    </a:lnTo>
                    <a:lnTo>
                      <a:pt x="46" y="27"/>
                    </a:lnTo>
                    <a:lnTo>
                      <a:pt x="46" y="27"/>
                    </a:lnTo>
                    <a:lnTo>
                      <a:pt x="47" y="29"/>
                    </a:lnTo>
                    <a:lnTo>
                      <a:pt x="49" y="29"/>
                    </a:lnTo>
                    <a:lnTo>
                      <a:pt x="50" y="27"/>
                    </a:lnTo>
                    <a:lnTo>
                      <a:pt x="53" y="27"/>
                    </a:lnTo>
                    <a:lnTo>
                      <a:pt x="58" y="27"/>
                    </a:lnTo>
                    <a:lnTo>
                      <a:pt x="59" y="27"/>
                    </a:lnTo>
                    <a:lnTo>
                      <a:pt x="59" y="29"/>
                    </a:lnTo>
                    <a:lnTo>
                      <a:pt x="60" y="29"/>
                    </a:lnTo>
                    <a:lnTo>
                      <a:pt x="62" y="29"/>
                    </a:lnTo>
                    <a:lnTo>
                      <a:pt x="62" y="29"/>
                    </a:lnTo>
                    <a:lnTo>
                      <a:pt x="63" y="29"/>
                    </a:lnTo>
                    <a:lnTo>
                      <a:pt x="66" y="29"/>
                    </a:lnTo>
                    <a:lnTo>
                      <a:pt x="69" y="29"/>
                    </a:lnTo>
                    <a:lnTo>
                      <a:pt x="72" y="29"/>
                    </a:lnTo>
                    <a:lnTo>
                      <a:pt x="75" y="30"/>
                    </a:lnTo>
                    <a:lnTo>
                      <a:pt x="78" y="31"/>
                    </a:lnTo>
                    <a:lnTo>
                      <a:pt x="78" y="31"/>
                    </a:lnTo>
                    <a:lnTo>
                      <a:pt x="78" y="31"/>
                    </a:lnTo>
                    <a:lnTo>
                      <a:pt x="79" y="33"/>
                    </a:lnTo>
                    <a:lnTo>
                      <a:pt x="79" y="33"/>
                    </a:lnTo>
                    <a:lnTo>
                      <a:pt x="79" y="33"/>
                    </a:lnTo>
                    <a:lnTo>
                      <a:pt x="78" y="34"/>
                    </a:lnTo>
                    <a:lnTo>
                      <a:pt x="78" y="34"/>
                    </a:lnTo>
                    <a:lnTo>
                      <a:pt x="78" y="34"/>
                    </a:lnTo>
                    <a:lnTo>
                      <a:pt x="76" y="33"/>
                    </a:lnTo>
                    <a:lnTo>
                      <a:pt x="75" y="33"/>
                    </a:lnTo>
                    <a:lnTo>
                      <a:pt x="75" y="33"/>
                    </a:lnTo>
                    <a:lnTo>
                      <a:pt x="75" y="34"/>
                    </a:lnTo>
                    <a:lnTo>
                      <a:pt x="75" y="34"/>
                    </a:lnTo>
                    <a:lnTo>
                      <a:pt x="75" y="34"/>
                    </a:lnTo>
                    <a:lnTo>
                      <a:pt x="75" y="36"/>
                    </a:lnTo>
                    <a:lnTo>
                      <a:pt x="75" y="36"/>
                    </a:lnTo>
                    <a:lnTo>
                      <a:pt x="72" y="41"/>
                    </a:lnTo>
                    <a:lnTo>
                      <a:pt x="72" y="41"/>
                    </a:lnTo>
                    <a:lnTo>
                      <a:pt x="72" y="43"/>
                    </a:lnTo>
                    <a:lnTo>
                      <a:pt x="72" y="43"/>
                    </a:lnTo>
                    <a:lnTo>
                      <a:pt x="72" y="43"/>
                    </a:lnTo>
                    <a:lnTo>
                      <a:pt x="72" y="43"/>
                    </a:lnTo>
                    <a:lnTo>
                      <a:pt x="72" y="43"/>
                    </a:lnTo>
                    <a:lnTo>
                      <a:pt x="72" y="43"/>
                    </a:lnTo>
                    <a:lnTo>
                      <a:pt x="70" y="43"/>
                    </a:lnTo>
                    <a:lnTo>
                      <a:pt x="70" y="43"/>
                    </a:lnTo>
                    <a:lnTo>
                      <a:pt x="70" y="43"/>
                    </a:lnTo>
                    <a:lnTo>
                      <a:pt x="69" y="43"/>
                    </a:lnTo>
                    <a:lnTo>
                      <a:pt x="69" y="44"/>
                    </a:lnTo>
                    <a:lnTo>
                      <a:pt x="69" y="44"/>
                    </a:lnTo>
                    <a:lnTo>
                      <a:pt x="68" y="46"/>
                    </a:lnTo>
                    <a:lnTo>
                      <a:pt x="68" y="47"/>
                    </a:lnTo>
                    <a:lnTo>
                      <a:pt x="68" y="47"/>
                    </a:lnTo>
                    <a:lnTo>
                      <a:pt x="66" y="46"/>
                    </a:lnTo>
                    <a:lnTo>
                      <a:pt x="66" y="46"/>
                    </a:lnTo>
                    <a:lnTo>
                      <a:pt x="66" y="46"/>
                    </a:lnTo>
                    <a:lnTo>
                      <a:pt x="65" y="47"/>
                    </a:lnTo>
                    <a:lnTo>
                      <a:pt x="65" y="47"/>
                    </a:lnTo>
                    <a:lnTo>
                      <a:pt x="65" y="47"/>
                    </a:lnTo>
                    <a:lnTo>
                      <a:pt x="65" y="47"/>
                    </a:lnTo>
                    <a:lnTo>
                      <a:pt x="63" y="47"/>
                    </a:lnTo>
                    <a:lnTo>
                      <a:pt x="63" y="47"/>
                    </a:lnTo>
                    <a:lnTo>
                      <a:pt x="63" y="47"/>
                    </a:lnTo>
                    <a:lnTo>
                      <a:pt x="63" y="47"/>
                    </a:lnTo>
                    <a:lnTo>
                      <a:pt x="63" y="49"/>
                    </a:lnTo>
                    <a:lnTo>
                      <a:pt x="60" y="49"/>
                    </a:lnTo>
                    <a:lnTo>
                      <a:pt x="59" y="49"/>
                    </a:lnTo>
                    <a:lnTo>
                      <a:pt x="59" y="50"/>
                    </a:lnTo>
                    <a:lnTo>
                      <a:pt x="56" y="51"/>
                    </a:lnTo>
                    <a:lnTo>
                      <a:pt x="56" y="54"/>
                    </a:lnTo>
                    <a:lnTo>
                      <a:pt x="56" y="57"/>
                    </a:lnTo>
                    <a:lnTo>
                      <a:pt x="56" y="59"/>
                    </a:lnTo>
                    <a:lnTo>
                      <a:pt x="58" y="63"/>
                    </a:lnTo>
                    <a:lnTo>
                      <a:pt x="58" y="64"/>
                    </a:lnTo>
                    <a:lnTo>
                      <a:pt x="58" y="66"/>
                    </a:lnTo>
                    <a:lnTo>
                      <a:pt x="58" y="66"/>
                    </a:lnTo>
                    <a:lnTo>
                      <a:pt x="58" y="67"/>
                    </a:lnTo>
                    <a:lnTo>
                      <a:pt x="59" y="67"/>
                    </a:lnTo>
                    <a:lnTo>
                      <a:pt x="59" y="67"/>
                    </a:lnTo>
                    <a:lnTo>
                      <a:pt x="59" y="69"/>
                    </a:lnTo>
                    <a:lnTo>
                      <a:pt x="59" y="69"/>
                    </a:lnTo>
                    <a:lnTo>
                      <a:pt x="59" y="69"/>
                    </a:lnTo>
                    <a:lnTo>
                      <a:pt x="59" y="66"/>
                    </a:lnTo>
                    <a:lnTo>
                      <a:pt x="60" y="66"/>
                    </a:lnTo>
                    <a:lnTo>
                      <a:pt x="60" y="66"/>
                    </a:lnTo>
                    <a:lnTo>
                      <a:pt x="62" y="67"/>
                    </a:lnTo>
                    <a:lnTo>
                      <a:pt x="62" y="69"/>
                    </a:lnTo>
                    <a:lnTo>
                      <a:pt x="62" y="69"/>
                    </a:lnTo>
                    <a:lnTo>
                      <a:pt x="62" y="69"/>
                    </a:lnTo>
                    <a:lnTo>
                      <a:pt x="62" y="70"/>
                    </a:lnTo>
                    <a:lnTo>
                      <a:pt x="63" y="70"/>
                    </a:lnTo>
                    <a:lnTo>
                      <a:pt x="65" y="69"/>
                    </a:lnTo>
                    <a:lnTo>
                      <a:pt x="66" y="69"/>
                    </a:lnTo>
                    <a:lnTo>
                      <a:pt x="66" y="67"/>
                    </a:lnTo>
                    <a:lnTo>
                      <a:pt x="66" y="66"/>
                    </a:lnTo>
                    <a:lnTo>
                      <a:pt x="66" y="64"/>
                    </a:lnTo>
                    <a:lnTo>
                      <a:pt x="66" y="64"/>
                    </a:lnTo>
                    <a:lnTo>
                      <a:pt x="66" y="64"/>
                    </a:lnTo>
                    <a:lnTo>
                      <a:pt x="66" y="63"/>
                    </a:lnTo>
                    <a:lnTo>
                      <a:pt x="66" y="63"/>
                    </a:lnTo>
                    <a:lnTo>
                      <a:pt x="66" y="63"/>
                    </a:lnTo>
                    <a:lnTo>
                      <a:pt x="68" y="62"/>
                    </a:lnTo>
                    <a:lnTo>
                      <a:pt x="68" y="62"/>
                    </a:lnTo>
                    <a:lnTo>
                      <a:pt x="69" y="60"/>
                    </a:lnTo>
                    <a:lnTo>
                      <a:pt x="69" y="60"/>
                    </a:lnTo>
                    <a:lnTo>
                      <a:pt x="69" y="59"/>
                    </a:lnTo>
                    <a:lnTo>
                      <a:pt x="69" y="59"/>
                    </a:lnTo>
                    <a:lnTo>
                      <a:pt x="69" y="59"/>
                    </a:lnTo>
                    <a:lnTo>
                      <a:pt x="69" y="59"/>
                    </a:lnTo>
                    <a:lnTo>
                      <a:pt x="69" y="56"/>
                    </a:lnTo>
                    <a:lnTo>
                      <a:pt x="69" y="56"/>
                    </a:lnTo>
                    <a:lnTo>
                      <a:pt x="70" y="56"/>
                    </a:lnTo>
                    <a:lnTo>
                      <a:pt x="70" y="56"/>
                    </a:lnTo>
                    <a:lnTo>
                      <a:pt x="70" y="56"/>
                    </a:lnTo>
                    <a:lnTo>
                      <a:pt x="72" y="56"/>
                    </a:lnTo>
                    <a:lnTo>
                      <a:pt x="73" y="56"/>
                    </a:lnTo>
                    <a:lnTo>
                      <a:pt x="75" y="57"/>
                    </a:lnTo>
                    <a:lnTo>
                      <a:pt x="75" y="59"/>
                    </a:lnTo>
                    <a:lnTo>
                      <a:pt x="76" y="62"/>
                    </a:lnTo>
                    <a:lnTo>
                      <a:pt x="76" y="63"/>
                    </a:lnTo>
                    <a:lnTo>
                      <a:pt x="76" y="64"/>
                    </a:lnTo>
                    <a:lnTo>
                      <a:pt x="76" y="64"/>
                    </a:lnTo>
                    <a:lnTo>
                      <a:pt x="76" y="69"/>
                    </a:lnTo>
                    <a:lnTo>
                      <a:pt x="76" y="70"/>
                    </a:lnTo>
                    <a:lnTo>
                      <a:pt x="78" y="72"/>
                    </a:lnTo>
                    <a:lnTo>
                      <a:pt x="78" y="72"/>
                    </a:lnTo>
                    <a:lnTo>
                      <a:pt x="78" y="73"/>
                    </a:lnTo>
                    <a:lnTo>
                      <a:pt x="78" y="73"/>
                    </a:lnTo>
                    <a:lnTo>
                      <a:pt x="79" y="74"/>
                    </a:lnTo>
                    <a:lnTo>
                      <a:pt x="79" y="74"/>
                    </a:lnTo>
                    <a:lnTo>
                      <a:pt x="79" y="76"/>
                    </a:lnTo>
                    <a:lnTo>
                      <a:pt x="79" y="76"/>
                    </a:lnTo>
                    <a:lnTo>
                      <a:pt x="79" y="77"/>
                    </a:lnTo>
                    <a:lnTo>
                      <a:pt x="79" y="79"/>
                    </a:lnTo>
                    <a:lnTo>
                      <a:pt x="79" y="80"/>
                    </a:lnTo>
                    <a:lnTo>
                      <a:pt x="79" y="83"/>
                    </a:lnTo>
                    <a:lnTo>
                      <a:pt x="81" y="89"/>
                    </a:lnTo>
                    <a:lnTo>
                      <a:pt x="81" y="95"/>
                    </a:lnTo>
                    <a:lnTo>
                      <a:pt x="81" y="102"/>
                    </a:lnTo>
                    <a:lnTo>
                      <a:pt x="81" y="102"/>
                    </a:lnTo>
                    <a:lnTo>
                      <a:pt x="79" y="100"/>
                    </a:lnTo>
                    <a:lnTo>
                      <a:pt x="76" y="100"/>
                    </a:lnTo>
                    <a:lnTo>
                      <a:pt x="75" y="100"/>
                    </a:lnTo>
                    <a:lnTo>
                      <a:pt x="73" y="100"/>
                    </a:lnTo>
                    <a:lnTo>
                      <a:pt x="73" y="103"/>
                    </a:lnTo>
                    <a:lnTo>
                      <a:pt x="73" y="106"/>
                    </a:lnTo>
                    <a:close/>
                    <a:moveTo>
                      <a:pt x="68" y="92"/>
                    </a:moveTo>
                    <a:lnTo>
                      <a:pt x="68" y="90"/>
                    </a:lnTo>
                    <a:lnTo>
                      <a:pt x="68" y="90"/>
                    </a:lnTo>
                    <a:lnTo>
                      <a:pt x="68" y="92"/>
                    </a:lnTo>
                    <a:lnTo>
                      <a:pt x="68" y="92"/>
                    </a:lnTo>
                    <a:lnTo>
                      <a:pt x="68" y="93"/>
                    </a:lnTo>
                    <a:lnTo>
                      <a:pt x="68" y="92"/>
                    </a:lnTo>
                    <a:lnTo>
                      <a:pt x="68" y="92"/>
                    </a:lnTo>
                    <a:close/>
                    <a:moveTo>
                      <a:pt x="47" y="74"/>
                    </a:moveTo>
                    <a:lnTo>
                      <a:pt x="47" y="73"/>
                    </a:lnTo>
                    <a:lnTo>
                      <a:pt x="45" y="72"/>
                    </a:lnTo>
                    <a:lnTo>
                      <a:pt x="45" y="73"/>
                    </a:lnTo>
                    <a:lnTo>
                      <a:pt x="45" y="76"/>
                    </a:lnTo>
                    <a:lnTo>
                      <a:pt x="46" y="77"/>
                    </a:lnTo>
                    <a:lnTo>
                      <a:pt x="46" y="80"/>
                    </a:lnTo>
                    <a:lnTo>
                      <a:pt x="46" y="83"/>
                    </a:lnTo>
                    <a:lnTo>
                      <a:pt x="46" y="85"/>
                    </a:lnTo>
                    <a:lnTo>
                      <a:pt x="45" y="87"/>
                    </a:lnTo>
                    <a:lnTo>
                      <a:pt x="47" y="87"/>
                    </a:lnTo>
                    <a:lnTo>
                      <a:pt x="49" y="86"/>
                    </a:lnTo>
                    <a:lnTo>
                      <a:pt x="50" y="83"/>
                    </a:lnTo>
                    <a:lnTo>
                      <a:pt x="50" y="80"/>
                    </a:lnTo>
                    <a:lnTo>
                      <a:pt x="50" y="79"/>
                    </a:lnTo>
                    <a:lnTo>
                      <a:pt x="47" y="74"/>
                    </a:lnTo>
                    <a:close/>
                    <a:moveTo>
                      <a:pt x="60" y="77"/>
                    </a:moveTo>
                    <a:lnTo>
                      <a:pt x="60" y="77"/>
                    </a:lnTo>
                    <a:lnTo>
                      <a:pt x="60" y="79"/>
                    </a:lnTo>
                    <a:lnTo>
                      <a:pt x="60" y="79"/>
                    </a:lnTo>
                    <a:lnTo>
                      <a:pt x="60" y="79"/>
                    </a:lnTo>
                    <a:lnTo>
                      <a:pt x="60" y="82"/>
                    </a:lnTo>
                    <a:lnTo>
                      <a:pt x="62" y="82"/>
                    </a:lnTo>
                    <a:lnTo>
                      <a:pt x="62" y="79"/>
                    </a:lnTo>
                    <a:lnTo>
                      <a:pt x="60" y="77"/>
                    </a:lnTo>
                    <a:close/>
                    <a:moveTo>
                      <a:pt x="46" y="72"/>
                    </a:moveTo>
                    <a:lnTo>
                      <a:pt x="46" y="70"/>
                    </a:lnTo>
                    <a:lnTo>
                      <a:pt x="46" y="70"/>
                    </a:lnTo>
                    <a:lnTo>
                      <a:pt x="45" y="69"/>
                    </a:lnTo>
                    <a:lnTo>
                      <a:pt x="45" y="69"/>
                    </a:lnTo>
                    <a:lnTo>
                      <a:pt x="45" y="70"/>
                    </a:lnTo>
                    <a:lnTo>
                      <a:pt x="46" y="70"/>
                    </a:lnTo>
                    <a:lnTo>
                      <a:pt x="46" y="70"/>
                    </a:lnTo>
                    <a:lnTo>
                      <a:pt x="46" y="72"/>
                    </a:lnTo>
                    <a:close/>
                    <a:moveTo>
                      <a:pt x="68" y="97"/>
                    </a:moveTo>
                    <a:lnTo>
                      <a:pt x="69" y="97"/>
                    </a:lnTo>
                    <a:lnTo>
                      <a:pt x="69" y="95"/>
                    </a:lnTo>
                    <a:lnTo>
                      <a:pt x="68" y="95"/>
                    </a:lnTo>
                    <a:lnTo>
                      <a:pt x="68" y="97"/>
                    </a:lnTo>
                    <a:close/>
                    <a:moveTo>
                      <a:pt x="55" y="79"/>
                    </a:moveTo>
                    <a:lnTo>
                      <a:pt x="53" y="86"/>
                    </a:lnTo>
                    <a:lnTo>
                      <a:pt x="55" y="85"/>
                    </a:lnTo>
                    <a:lnTo>
                      <a:pt x="56" y="83"/>
                    </a:lnTo>
                    <a:lnTo>
                      <a:pt x="55" y="80"/>
                    </a:lnTo>
                    <a:lnTo>
                      <a:pt x="55" y="7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54" name="Freeform 150">
                <a:extLst>
                  <a:ext uri="{FF2B5EF4-FFF2-40B4-BE49-F238E27FC236}">
                    <a16:creationId xmlns:a16="http://schemas.microsoft.com/office/drawing/2014/main" id="{C1A7A6F5-AA1E-01E8-9815-901E8BBFF1B2}"/>
                  </a:ext>
                </a:extLst>
              </p:cNvPr>
              <p:cNvSpPr>
                <a:spLocks noEditPoints="1"/>
              </p:cNvSpPr>
              <p:nvPr/>
            </p:nvSpPr>
            <p:spPr bwMode="auto">
              <a:xfrm>
                <a:off x="7654346" y="3859385"/>
                <a:ext cx="54946" cy="99771"/>
              </a:xfrm>
              <a:custGeom>
                <a:avLst/>
                <a:gdLst>
                  <a:gd name="T0" fmla="*/ 2 w 38"/>
                  <a:gd name="T1" fmla="*/ 14 h 69"/>
                  <a:gd name="T2" fmla="*/ 2 w 38"/>
                  <a:gd name="T3" fmla="*/ 14 h 69"/>
                  <a:gd name="T4" fmla="*/ 4 w 38"/>
                  <a:gd name="T5" fmla="*/ 15 h 69"/>
                  <a:gd name="T6" fmla="*/ 2 w 38"/>
                  <a:gd name="T7" fmla="*/ 14 h 69"/>
                  <a:gd name="T8" fmla="*/ 2 w 38"/>
                  <a:gd name="T9" fmla="*/ 14 h 69"/>
                  <a:gd name="T10" fmla="*/ 1 w 38"/>
                  <a:gd name="T11" fmla="*/ 14 h 69"/>
                  <a:gd name="T12" fmla="*/ 1 w 38"/>
                  <a:gd name="T13" fmla="*/ 13 h 69"/>
                  <a:gd name="T14" fmla="*/ 2 w 38"/>
                  <a:gd name="T15" fmla="*/ 13 h 69"/>
                  <a:gd name="T16" fmla="*/ 2 w 38"/>
                  <a:gd name="T17" fmla="*/ 14 h 69"/>
                  <a:gd name="T18" fmla="*/ 4 w 38"/>
                  <a:gd name="T19" fmla="*/ 3 h 69"/>
                  <a:gd name="T20" fmla="*/ 5 w 38"/>
                  <a:gd name="T21" fmla="*/ 4 h 69"/>
                  <a:gd name="T22" fmla="*/ 4 w 38"/>
                  <a:gd name="T23" fmla="*/ 3 h 69"/>
                  <a:gd name="T24" fmla="*/ 4 w 38"/>
                  <a:gd name="T25" fmla="*/ 3 h 69"/>
                  <a:gd name="T26" fmla="*/ 4 w 38"/>
                  <a:gd name="T27" fmla="*/ 1 h 69"/>
                  <a:gd name="T28" fmla="*/ 4 w 38"/>
                  <a:gd name="T29" fmla="*/ 1 h 69"/>
                  <a:gd name="T30" fmla="*/ 2 w 38"/>
                  <a:gd name="T31" fmla="*/ 1 h 69"/>
                  <a:gd name="T32" fmla="*/ 2 w 38"/>
                  <a:gd name="T33" fmla="*/ 3 h 69"/>
                  <a:gd name="T34" fmla="*/ 2 w 38"/>
                  <a:gd name="T35" fmla="*/ 3 h 69"/>
                  <a:gd name="T36" fmla="*/ 4 w 38"/>
                  <a:gd name="T37" fmla="*/ 3 h 69"/>
                  <a:gd name="T38" fmla="*/ 31 w 38"/>
                  <a:gd name="T39" fmla="*/ 30 h 69"/>
                  <a:gd name="T40" fmla="*/ 30 w 38"/>
                  <a:gd name="T41" fmla="*/ 28 h 69"/>
                  <a:gd name="T42" fmla="*/ 30 w 38"/>
                  <a:gd name="T43" fmla="*/ 26 h 69"/>
                  <a:gd name="T44" fmla="*/ 30 w 38"/>
                  <a:gd name="T45" fmla="*/ 24 h 69"/>
                  <a:gd name="T46" fmla="*/ 28 w 38"/>
                  <a:gd name="T47" fmla="*/ 24 h 69"/>
                  <a:gd name="T48" fmla="*/ 27 w 38"/>
                  <a:gd name="T49" fmla="*/ 23 h 69"/>
                  <a:gd name="T50" fmla="*/ 27 w 38"/>
                  <a:gd name="T51" fmla="*/ 23 h 69"/>
                  <a:gd name="T52" fmla="*/ 21 w 38"/>
                  <a:gd name="T53" fmla="*/ 13 h 69"/>
                  <a:gd name="T54" fmla="*/ 15 w 38"/>
                  <a:gd name="T55" fmla="*/ 5 h 69"/>
                  <a:gd name="T56" fmla="*/ 13 w 38"/>
                  <a:gd name="T57" fmla="*/ 3 h 69"/>
                  <a:gd name="T58" fmla="*/ 8 w 38"/>
                  <a:gd name="T59" fmla="*/ 0 h 69"/>
                  <a:gd name="T60" fmla="*/ 7 w 38"/>
                  <a:gd name="T61" fmla="*/ 0 h 69"/>
                  <a:gd name="T62" fmla="*/ 5 w 38"/>
                  <a:gd name="T63" fmla="*/ 0 h 69"/>
                  <a:gd name="T64" fmla="*/ 5 w 38"/>
                  <a:gd name="T65" fmla="*/ 1 h 69"/>
                  <a:gd name="T66" fmla="*/ 5 w 38"/>
                  <a:gd name="T67" fmla="*/ 3 h 69"/>
                  <a:gd name="T68" fmla="*/ 7 w 38"/>
                  <a:gd name="T69" fmla="*/ 4 h 69"/>
                  <a:gd name="T70" fmla="*/ 10 w 38"/>
                  <a:gd name="T71" fmla="*/ 4 h 69"/>
                  <a:gd name="T72" fmla="*/ 11 w 38"/>
                  <a:gd name="T73" fmla="*/ 4 h 69"/>
                  <a:gd name="T74" fmla="*/ 13 w 38"/>
                  <a:gd name="T75" fmla="*/ 5 h 69"/>
                  <a:gd name="T76" fmla="*/ 11 w 38"/>
                  <a:gd name="T77" fmla="*/ 5 h 69"/>
                  <a:gd name="T78" fmla="*/ 10 w 38"/>
                  <a:gd name="T79" fmla="*/ 5 h 69"/>
                  <a:gd name="T80" fmla="*/ 7 w 38"/>
                  <a:gd name="T81" fmla="*/ 4 h 69"/>
                  <a:gd name="T82" fmla="*/ 7 w 38"/>
                  <a:gd name="T83" fmla="*/ 8 h 69"/>
                  <a:gd name="T84" fmla="*/ 7 w 38"/>
                  <a:gd name="T85" fmla="*/ 11 h 69"/>
                  <a:gd name="T86" fmla="*/ 4 w 38"/>
                  <a:gd name="T87" fmla="*/ 18 h 69"/>
                  <a:gd name="T88" fmla="*/ 2 w 38"/>
                  <a:gd name="T89" fmla="*/ 28 h 69"/>
                  <a:gd name="T90" fmla="*/ 1 w 38"/>
                  <a:gd name="T91" fmla="*/ 33 h 69"/>
                  <a:gd name="T92" fmla="*/ 1 w 38"/>
                  <a:gd name="T93" fmla="*/ 31 h 69"/>
                  <a:gd name="T94" fmla="*/ 1 w 38"/>
                  <a:gd name="T95" fmla="*/ 30 h 69"/>
                  <a:gd name="T96" fmla="*/ 1 w 38"/>
                  <a:gd name="T97" fmla="*/ 27 h 69"/>
                  <a:gd name="T98" fmla="*/ 1 w 38"/>
                  <a:gd name="T99" fmla="*/ 28 h 69"/>
                  <a:gd name="T100" fmla="*/ 0 w 38"/>
                  <a:gd name="T101" fmla="*/ 30 h 69"/>
                  <a:gd name="T102" fmla="*/ 0 w 38"/>
                  <a:gd name="T103" fmla="*/ 30 h 69"/>
                  <a:gd name="T104" fmla="*/ 0 w 38"/>
                  <a:gd name="T105" fmla="*/ 31 h 69"/>
                  <a:gd name="T106" fmla="*/ 2 w 38"/>
                  <a:gd name="T107" fmla="*/ 49 h 69"/>
                  <a:gd name="T108" fmla="*/ 4 w 38"/>
                  <a:gd name="T109" fmla="*/ 57 h 69"/>
                  <a:gd name="T110" fmla="*/ 7 w 38"/>
                  <a:gd name="T111" fmla="*/ 64 h 69"/>
                  <a:gd name="T112" fmla="*/ 13 w 38"/>
                  <a:gd name="T113" fmla="*/ 69 h 69"/>
                  <a:gd name="T114" fmla="*/ 23 w 38"/>
                  <a:gd name="T115" fmla="*/ 67 h 69"/>
                  <a:gd name="T116" fmla="*/ 30 w 38"/>
                  <a:gd name="T117" fmla="*/ 63 h 69"/>
                  <a:gd name="T118" fmla="*/ 36 w 38"/>
                  <a:gd name="T119" fmla="*/ 57 h 69"/>
                  <a:gd name="T120" fmla="*/ 38 w 38"/>
                  <a:gd name="T121" fmla="*/ 50 h 69"/>
                  <a:gd name="T122" fmla="*/ 37 w 38"/>
                  <a:gd name="T123" fmla="*/ 44 h 69"/>
                  <a:gd name="T124" fmla="*/ 31 w 38"/>
                  <a:gd name="T125" fmla="*/ 3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 h="69">
                    <a:moveTo>
                      <a:pt x="2" y="14"/>
                    </a:moveTo>
                    <a:lnTo>
                      <a:pt x="2" y="14"/>
                    </a:lnTo>
                    <a:lnTo>
                      <a:pt x="4" y="15"/>
                    </a:lnTo>
                    <a:lnTo>
                      <a:pt x="2" y="14"/>
                    </a:lnTo>
                    <a:lnTo>
                      <a:pt x="2" y="14"/>
                    </a:lnTo>
                    <a:lnTo>
                      <a:pt x="1" y="14"/>
                    </a:lnTo>
                    <a:lnTo>
                      <a:pt x="1" y="13"/>
                    </a:lnTo>
                    <a:lnTo>
                      <a:pt x="2" y="13"/>
                    </a:lnTo>
                    <a:lnTo>
                      <a:pt x="2" y="14"/>
                    </a:lnTo>
                    <a:close/>
                    <a:moveTo>
                      <a:pt x="4" y="3"/>
                    </a:moveTo>
                    <a:lnTo>
                      <a:pt x="5" y="4"/>
                    </a:lnTo>
                    <a:lnTo>
                      <a:pt x="4" y="3"/>
                    </a:lnTo>
                    <a:lnTo>
                      <a:pt x="4" y="3"/>
                    </a:lnTo>
                    <a:lnTo>
                      <a:pt x="4" y="1"/>
                    </a:lnTo>
                    <a:lnTo>
                      <a:pt x="4" y="1"/>
                    </a:lnTo>
                    <a:lnTo>
                      <a:pt x="2" y="1"/>
                    </a:lnTo>
                    <a:lnTo>
                      <a:pt x="2" y="3"/>
                    </a:lnTo>
                    <a:lnTo>
                      <a:pt x="2" y="3"/>
                    </a:lnTo>
                    <a:lnTo>
                      <a:pt x="4" y="3"/>
                    </a:lnTo>
                    <a:close/>
                    <a:moveTo>
                      <a:pt x="31" y="30"/>
                    </a:moveTo>
                    <a:lnTo>
                      <a:pt x="30" y="28"/>
                    </a:lnTo>
                    <a:lnTo>
                      <a:pt x="30" y="26"/>
                    </a:lnTo>
                    <a:lnTo>
                      <a:pt x="30" y="24"/>
                    </a:lnTo>
                    <a:lnTo>
                      <a:pt x="28" y="24"/>
                    </a:lnTo>
                    <a:lnTo>
                      <a:pt x="27" y="23"/>
                    </a:lnTo>
                    <a:lnTo>
                      <a:pt x="27" y="23"/>
                    </a:lnTo>
                    <a:lnTo>
                      <a:pt x="21" y="13"/>
                    </a:lnTo>
                    <a:lnTo>
                      <a:pt x="15" y="5"/>
                    </a:lnTo>
                    <a:lnTo>
                      <a:pt x="13" y="3"/>
                    </a:lnTo>
                    <a:lnTo>
                      <a:pt x="8" y="0"/>
                    </a:lnTo>
                    <a:lnTo>
                      <a:pt x="7" y="0"/>
                    </a:lnTo>
                    <a:lnTo>
                      <a:pt x="5" y="0"/>
                    </a:lnTo>
                    <a:lnTo>
                      <a:pt x="5" y="1"/>
                    </a:lnTo>
                    <a:lnTo>
                      <a:pt x="5" y="3"/>
                    </a:lnTo>
                    <a:lnTo>
                      <a:pt x="7" y="4"/>
                    </a:lnTo>
                    <a:lnTo>
                      <a:pt x="10" y="4"/>
                    </a:lnTo>
                    <a:lnTo>
                      <a:pt x="11" y="4"/>
                    </a:lnTo>
                    <a:lnTo>
                      <a:pt x="13" y="5"/>
                    </a:lnTo>
                    <a:lnTo>
                      <a:pt x="11" y="5"/>
                    </a:lnTo>
                    <a:lnTo>
                      <a:pt x="10" y="5"/>
                    </a:lnTo>
                    <a:lnTo>
                      <a:pt x="7" y="4"/>
                    </a:lnTo>
                    <a:lnTo>
                      <a:pt x="7" y="8"/>
                    </a:lnTo>
                    <a:lnTo>
                      <a:pt x="7" y="11"/>
                    </a:lnTo>
                    <a:lnTo>
                      <a:pt x="4" y="18"/>
                    </a:lnTo>
                    <a:lnTo>
                      <a:pt x="2" y="28"/>
                    </a:lnTo>
                    <a:lnTo>
                      <a:pt x="1" y="33"/>
                    </a:lnTo>
                    <a:lnTo>
                      <a:pt x="1" y="31"/>
                    </a:lnTo>
                    <a:lnTo>
                      <a:pt x="1" y="30"/>
                    </a:lnTo>
                    <a:lnTo>
                      <a:pt x="1" y="27"/>
                    </a:lnTo>
                    <a:lnTo>
                      <a:pt x="1" y="28"/>
                    </a:lnTo>
                    <a:lnTo>
                      <a:pt x="0" y="30"/>
                    </a:lnTo>
                    <a:lnTo>
                      <a:pt x="0" y="30"/>
                    </a:lnTo>
                    <a:lnTo>
                      <a:pt x="0" y="31"/>
                    </a:lnTo>
                    <a:lnTo>
                      <a:pt x="2" y="49"/>
                    </a:lnTo>
                    <a:lnTo>
                      <a:pt x="4" y="57"/>
                    </a:lnTo>
                    <a:lnTo>
                      <a:pt x="7" y="64"/>
                    </a:lnTo>
                    <a:lnTo>
                      <a:pt x="13" y="69"/>
                    </a:lnTo>
                    <a:lnTo>
                      <a:pt x="23" y="67"/>
                    </a:lnTo>
                    <a:lnTo>
                      <a:pt x="30" y="63"/>
                    </a:lnTo>
                    <a:lnTo>
                      <a:pt x="36" y="57"/>
                    </a:lnTo>
                    <a:lnTo>
                      <a:pt x="38" y="50"/>
                    </a:lnTo>
                    <a:lnTo>
                      <a:pt x="37" y="44"/>
                    </a:lnTo>
                    <a:lnTo>
                      <a:pt x="31" y="3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55" name="Freeform 151">
                <a:extLst>
                  <a:ext uri="{FF2B5EF4-FFF2-40B4-BE49-F238E27FC236}">
                    <a16:creationId xmlns:a16="http://schemas.microsoft.com/office/drawing/2014/main" id="{909D138F-0B3C-3DCB-9128-A207F0075EA7}"/>
                  </a:ext>
                </a:extLst>
              </p:cNvPr>
              <p:cNvSpPr>
                <a:spLocks noEditPoints="1"/>
              </p:cNvSpPr>
              <p:nvPr/>
            </p:nvSpPr>
            <p:spPr bwMode="auto">
              <a:xfrm>
                <a:off x="8089580" y="4421863"/>
                <a:ext cx="2892" cy="2892"/>
              </a:xfrm>
              <a:custGeom>
                <a:avLst/>
                <a:gdLst>
                  <a:gd name="T0" fmla="*/ 0 w 2"/>
                  <a:gd name="T1" fmla="*/ 0 h 2"/>
                  <a:gd name="T2" fmla="*/ 0 w 2"/>
                  <a:gd name="T3" fmla="*/ 0 h 2"/>
                  <a:gd name="T4" fmla="*/ 0 w 2"/>
                  <a:gd name="T5" fmla="*/ 0 h 2"/>
                  <a:gd name="T6" fmla="*/ 0 w 2"/>
                  <a:gd name="T7" fmla="*/ 0 h 2"/>
                  <a:gd name="T8" fmla="*/ 0 w 2"/>
                  <a:gd name="T9" fmla="*/ 0 h 2"/>
                  <a:gd name="T10" fmla="*/ 2 w 2"/>
                  <a:gd name="T11" fmla="*/ 0 h 2"/>
                  <a:gd name="T12" fmla="*/ 0 w 2"/>
                  <a:gd name="T13" fmla="*/ 0 h 2"/>
                  <a:gd name="T14" fmla="*/ 0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0 h 2"/>
                  <a:gd name="T28" fmla="*/ 2 w 2"/>
                  <a:gd name="T29" fmla="*/ 2 h 2"/>
                  <a:gd name="T30" fmla="*/ 2 w 2"/>
                  <a:gd name="T3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2">
                    <a:moveTo>
                      <a:pt x="0" y="0"/>
                    </a:moveTo>
                    <a:lnTo>
                      <a:pt x="0" y="0"/>
                    </a:lnTo>
                    <a:lnTo>
                      <a:pt x="0" y="0"/>
                    </a:lnTo>
                    <a:lnTo>
                      <a:pt x="0" y="0"/>
                    </a:lnTo>
                    <a:lnTo>
                      <a:pt x="0" y="0"/>
                    </a:lnTo>
                    <a:lnTo>
                      <a:pt x="2" y="0"/>
                    </a:lnTo>
                    <a:lnTo>
                      <a:pt x="0" y="0"/>
                    </a:lnTo>
                    <a:lnTo>
                      <a:pt x="0" y="0"/>
                    </a:lnTo>
                    <a:close/>
                    <a:moveTo>
                      <a:pt x="2" y="0"/>
                    </a:moveTo>
                    <a:lnTo>
                      <a:pt x="2" y="0"/>
                    </a:lnTo>
                    <a:lnTo>
                      <a:pt x="2" y="0"/>
                    </a:lnTo>
                    <a:lnTo>
                      <a:pt x="2" y="0"/>
                    </a:lnTo>
                    <a:lnTo>
                      <a:pt x="2" y="0"/>
                    </a:lnTo>
                    <a:lnTo>
                      <a:pt x="2" y="0"/>
                    </a:lnTo>
                    <a:lnTo>
                      <a:pt x="2" y="2"/>
                    </a:lnTo>
                    <a:lnTo>
                      <a:pt x="2"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56" name="Freeform 152">
                <a:extLst>
                  <a:ext uri="{FF2B5EF4-FFF2-40B4-BE49-F238E27FC236}">
                    <a16:creationId xmlns:a16="http://schemas.microsoft.com/office/drawing/2014/main" id="{149BACBF-ED58-E853-250B-7943D2E60931}"/>
                  </a:ext>
                </a:extLst>
              </p:cNvPr>
              <p:cNvSpPr>
                <a:spLocks/>
              </p:cNvSpPr>
              <p:nvPr/>
            </p:nvSpPr>
            <p:spPr bwMode="auto">
              <a:xfrm>
                <a:off x="7466372" y="4294619"/>
                <a:ext cx="4338" cy="4338"/>
              </a:xfrm>
              <a:custGeom>
                <a:avLst/>
                <a:gdLst>
                  <a:gd name="T0" fmla="*/ 2 w 3"/>
                  <a:gd name="T1" fmla="*/ 0 h 3"/>
                  <a:gd name="T2" fmla="*/ 3 w 3"/>
                  <a:gd name="T3" fmla="*/ 0 h 3"/>
                  <a:gd name="T4" fmla="*/ 3 w 3"/>
                  <a:gd name="T5" fmla="*/ 2 h 3"/>
                  <a:gd name="T6" fmla="*/ 3 w 3"/>
                  <a:gd name="T7" fmla="*/ 2 h 3"/>
                  <a:gd name="T8" fmla="*/ 2 w 3"/>
                  <a:gd name="T9" fmla="*/ 2 h 3"/>
                  <a:gd name="T10" fmla="*/ 2 w 3"/>
                  <a:gd name="T11" fmla="*/ 2 h 3"/>
                  <a:gd name="T12" fmla="*/ 0 w 3"/>
                  <a:gd name="T13" fmla="*/ 0 h 3"/>
                  <a:gd name="T14" fmla="*/ 2 w 3"/>
                  <a:gd name="T15" fmla="*/ 2 h 3"/>
                  <a:gd name="T16" fmla="*/ 2 w 3"/>
                  <a:gd name="T17" fmla="*/ 2 h 3"/>
                  <a:gd name="T18" fmla="*/ 2 w 3"/>
                  <a:gd name="T19" fmla="*/ 3 h 3"/>
                  <a:gd name="T20" fmla="*/ 2 w 3"/>
                  <a:gd name="T21" fmla="*/ 3 h 3"/>
                  <a:gd name="T22" fmla="*/ 3 w 3"/>
                  <a:gd name="T23" fmla="*/ 3 h 3"/>
                  <a:gd name="T24" fmla="*/ 3 w 3"/>
                  <a:gd name="T25" fmla="*/ 2 h 3"/>
                  <a:gd name="T26" fmla="*/ 3 w 3"/>
                  <a:gd name="T27" fmla="*/ 0 h 3"/>
                  <a:gd name="T28" fmla="*/ 2 w 3"/>
                  <a:gd name="T2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3">
                    <a:moveTo>
                      <a:pt x="2" y="0"/>
                    </a:moveTo>
                    <a:lnTo>
                      <a:pt x="3" y="0"/>
                    </a:lnTo>
                    <a:lnTo>
                      <a:pt x="3" y="2"/>
                    </a:lnTo>
                    <a:lnTo>
                      <a:pt x="3" y="2"/>
                    </a:lnTo>
                    <a:lnTo>
                      <a:pt x="2" y="2"/>
                    </a:lnTo>
                    <a:lnTo>
                      <a:pt x="2" y="2"/>
                    </a:lnTo>
                    <a:lnTo>
                      <a:pt x="0" y="0"/>
                    </a:lnTo>
                    <a:lnTo>
                      <a:pt x="2" y="2"/>
                    </a:lnTo>
                    <a:lnTo>
                      <a:pt x="2" y="2"/>
                    </a:lnTo>
                    <a:lnTo>
                      <a:pt x="2" y="3"/>
                    </a:lnTo>
                    <a:lnTo>
                      <a:pt x="2" y="3"/>
                    </a:lnTo>
                    <a:lnTo>
                      <a:pt x="3" y="3"/>
                    </a:lnTo>
                    <a:lnTo>
                      <a:pt x="3" y="2"/>
                    </a:lnTo>
                    <a:lnTo>
                      <a:pt x="3" y="0"/>
                    </a:lnTo>
                    <a:lnTo>
                      <a:pt x="2"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57" name="Freeform 153">
                <a:extLst>
                  <a:ext uri="{FF2B5EF4-FFF2-40B4-BE49-F238E27FC236}">
                    <a16:creationId xmlns:a16="http://schemas.microsoft.com/office/drawing/2014/main" id="{96933E3D-8F27-C5DB-32A8-849FEDBDA841}"/>
                  </a:ext>
                </a:extLst>
              </p:cNvPr>
              <p:cNvSpPr>
                <a:spLocks noEditPoints="1"/>
              </p:cNvSpPr>
              <p:nvPr/>
            </p:nvSpPr>
            <p:spPr bwMode="auto">
              <a:xfrm>
                <a:off x="8521923" y="3519584"/>
                <a:ext cx="13014" cy="11568"/>
              </a:xfrm>
              <a:custGeom>
                <a:avLst/>
                <a:gdLst>
                  <a:gd name="T0" fmla="*/ 7 w 9"/>
                  <a:gd name="T1" fmla="*/ 0 h 8"/>
                  <a:gd name="T2" fmla="*/ 7 w 9"/>
                  <a:gd name="T3" fmla="*/ 0 h 8"/>
                  <a:gd name="T4" fmla="*/ 9 w 9"/>
                  <a:gd name="T5" fmla="*/ 5 h 8"/>
                  <a:gd name="T6" fmla="*/ 6 w 9"/>
                  <a:gd name="T7" fmla="*/ 5 h 8"/>
                  <a:gd name="T8" fmla="*/ 3 w 9"/>
                  <a:gd name="T9" fmla="*/ 3 h 8"/>
                  <a:gd name="T10" fmla="*/ 3 w 9"/>
                  <a:gd name="T11" fmla="*/ 2 h 8"/>
                  <a:gd name="T12" fmla="*/ 4 w 9"/>
                  <a:gd name="T13" fmla="*/ 2 h 8"/>
                  <a:gd name="T14" fmla="*/ 4 w 9"/>
                  <a:gd name="T15" fmla="*/ 2 h 8"/>
                  <a:gd name="T16" fmla="*/ 4 w 9"/>
                  <a:gd name="T17" fmla="*/ 2 h 8"/>
                  <a:gd name="T18" fmla="*/ 4 w 9"/>
                  <a:gd name="T19" fmla="*/ 0 h 8"/>
                  <a:gd name="T20" fmla="*/ 6 w 9"/>
                  <a:gd name="T21" fmla="*/ 0 h 8"/>
                  <a:gd name="T22" fmla="*/ 6 w 9"/>
                  <a:gd name="T23" fmla="*/ 0 h 8"/>
                  <a:gd name="T24" fmla="*/ 7 w 9"/>
                  <a:gd name="T25" fmla="*/ 0 h 8"/>
                  <a:gd name="T26" fmla="*/ 3 w 9"/>
                  <a:gd name="T27" fmla="*/ 8 h 8"/>
                  <a:gd name="T28" fmla="*/ 3 w 9"/>
                  <a:gd name="T29" fmla="*/ 6 h 8"/>
                  <a:gd name="T30" fmla="*/ 4 w 9"/>
                  <a:gd name="T31" fmla="*/ 5 h 8"/>
                  <a:gd name="T32" fmla="*/ 3 w 9"/>
                  <a:gd name="T33" fmla="*/ 6 h 8"/>
                  <a:gd name="T34" fmla="*/ 1 w 9"/>
                  <a:gd name="T35" fmla="*/ 6 h 8"/>
                  <a:gd name="T36" fmla="*/ 1 w 9"/>
                  <a:gd name="T37" fmla="*/ 6 h 8"/>
                  <a:gd name="T38" fmla="*/ 0 w 9"/>
                  <a:gd name="T39" fmla="*/ 8 h 8"/>
                  <a:gd name="T40" fmla="*/ 1 w 9"/>
                  <a:gd name="T41" fmla="*/ 8 h 8"/>
                  <a:gd name="T42" fmla="*/ 3 w 9"/>
                  <a:gd name="T43" fmla="*/ 8 h 8"/>
                  <a:gd name="T44" fmla="*/ 7 w 9"/>
                  <a:gd name="T45" fmla="*/ 8 h 8"/>
                  <a:gd name="T46" fmla="*/ 7 w 9"/>
                  <a:gd name="T47" fmla="*/ 6 h 8"/>
                  <a:gd name="T48" fmla="*/ 6 w 9"/>
                  <a:gd name="T49" fmla="*/ 6 h 8"/>
                  <a:gd name="T50" fmla="*/ 6 w 9"/>
                  <a:gd name="T51" fmla="*/ 8 h 8"/>
                  <a:gd name="T52" fmla="*/ 7 w 9"/>
                  <a:gd name="T53" fmla="*/ 8 h 8"/>
                  <a:gd name="T54" fmla="*/ 7 w 9"/>
                  <a:gd name="T5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 h="8">
                    <a:moveTo>
                      <a:pt x="7" y="0"/>
                    </a:moveTo>
                    <a:lnTo>
                      <a:pt x="7" y="0"/>
                    </a:lnTo>
                    <a:lnTo>
                      <a:pt x="9" y="5"/>
                    </a:lnTo>
                    <a:lnTo>
                      <a:pt x="6" y="5"/>
                    </a:lnTo>
                    <a:lnTo>
                      <a:pt x="3" y="3"/>
                    </a:lnTo>
                    <a:lnTo>
                      <a:pt x="3" y="2"/>
                    </a:lnTo>
                    <a:lnTo>
                      <a:pt x="4" y="2"/>
                    </a:lnTo>
                    <a:lnTo>
                      <a:pt x="4" y="2"/>
                    </a:lnTo>
                    <a:lnTo>
                      <a:pt x="4" y="2"/>
                    </a:lnTo>
                    <a:lnTo>
                      <a:pt x="4" y="0"/>
                    </a:lnTo>
                    <a:lnTo>
                      <a:pt x="6" y="0"/>
                    </a:lnTo>
                    <a:lnTo>
                      <a:pt x="6" y="0"/>
                    </a:lnTo>
                    <a:lnTo>
                      <a:pt x="7" y="0"/>
                    </a:lnTo>
                    <a:close/>
                    <a:moveTo>
                      <a:pt x="3" y="8"/>
                    </a:moveTo>
                    <a:lnTo>
                      <a:pt x="3" y="6"/>
                    </a:lnTo>
                    <a:lnTo>
                      <a:pt x="4" y="5"/>
                    </a:lnTo>
                    <a:lnTo>
                      <a:pt x="3" y="6"/>
                    </a:lnTo>
                    <a:lnTo>
                      <a:pt x="1" y="6"/>
                    </a:lnTo>
                    <a:lnTo>
                      <a:pt x="1" y="6"/>
                    </a:lnTo>
                    <a:lnTo>
                      <a:pt x="0" y="8"/>
                    </a:lnTo>
                    <a:lnTo>
                      <a:pt x="1" y="8"/>
                    </a:lnTo>
                    <a:lnTo>
                      <a:pt x="3" y="8"/>
                    </a:lnTo>
                    <a:close/>
                    <a:moveTo>
                      <a:pt x="7" y="8"/>
                    </a:moveTo>
                    <a:lnTo>
                      <a:pt x="7" y="6"/>
                    </a:lnTo>
                    <a:lnTo>
                      <a:pt x="6" y="6"/>
                    </a:lnTo>
                    <a:lnTo>
                      <a:pt x="6" y="8"/>
                    </a:lnTo>
                    <a:lnTo>
                      <a:pt x="7" y="8"/>
                    </a:lnTo>
                    <a:lnTo>
                      <a:pt x="7" y="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58" name="Freeform 154">
                <a:extLst>
                  <a:ext uri="{FF2B5EF4-FFF2-40B4-BE49-F238E27FC236}">
                    <a16:creationId xmlns:a16="http://schemas.microsoft.com/office/drawing/2014/main" id="{AB17B2C1-708E-0F3D-353D-CA3C6362C511}"/>
                  </a:ext>
                </a:extLst>
              </p:cNvPr>
              <p:cNvSpPr>
                <a:spLocks noEditPoints="1"/>
              </p:cNvSpPr>
              <p:nvPr/>
            </p:nvSpPr>
            <p:spPr bwMode="auto">
              <a:xfrm>
                <a:off x="8636153" y="3445840"/>
                <a:ext cx="91095" cy="92541"/>
              </a:xfrm>
              <a:custGeom>
                <a:avLst/>
                <a:gdLst>
                  <a:gd name="T0" fmla="*/ 49 w 63"/>
                  <a:gd name="T1" fmla="*/ 5 h 64"/>
                  <a:gd name="T2" fmla="*/ 50 w 63"/>
                  <a:gd name="T3" fmla="*/ 4 h 64"/>
                  <a:gd name="T4" fmla="*/ 54 w 63"/>
                  <a:gd name="T5" fmla="*/ 1 h 64"/>
                  <a:gd name="T6" fmla="*/ 56 w 63"/>
                  <a:gd name="T7" fmla="*/ 0 h 64"/>
                  <a:gd name="T8" fmla="*/ 59 w 63"/>
                  <a:gd name="T9" fmla="*/ 1 h 64"/>
                  <a:gd name="T10" fmla="*/ 60 w 63"/>
                  <a:gd name="T11" fmla="*/ 1 h 64"/>
                  <a:gd name="T12" fmla="*/ 62 w 63"/>
                  <a:gd name="T13" fmla="*/ 3 h 64"/>
                  <a:gd name="T14" fmla="*/ 63 w 63"/>
                  <a:gd name="T15" fmla="*/ 4 h 64"/>
                  <a:gd name="T16" fmla="*/ 63 w 63"/>
                  <a:gd name="T17" fmla="*/ 5 h 64"/>
                  <a:gd name="T18" fmla="*/ 62 w 63"/>
                  <a:gd name="T19" fmla="*/ 7 h 64"/>
                  <a:gd name="T20" fmla="*/ 62 w 63"/>
                  <a:gd name="T21" fmla="*/ 10 h 64"/>
                  <a:gd name="T22" fmla="*/ 62 w 63"/>
                  <a:gd name="T23" fmla="*/ 13 h 64"/>
                  <a:gd name="T24" fmla="*/ 62 w 63"/>
                  <a:gd name="T25" fmla="*/ 15 h 64"/>
                  <a:gd name="T26" fmla="*/ 60 w 63"/>
                  <a:gd name="T27" fmla="*/ 17 h 64"/>
                  <a:gd name="T28" fmla="*/ 59 w 63"/>
                  <a:gd name="T29" fmla="*/ 20 h 64"/>
                  <a:gd name="T30" fmla="*/ 59 w 63"/>
                  <a:gd name="T31" fmla="*/ 24 h 64"/>
                  <a:gd name="T32" fmla="*/ 56 w 63"/>
                  <a:gd name="T33" fmla="*/ 36 h 64"/>
                  <a:gd name="T34" fmla="*/ 54 w 63"/>
                  <a:gd name="T35" fmla="*/ 40 h 64"/>
                  <a:gd name="T36" fmla="*/ 53 w 63"/>
                  <a:gd name="T37" fmla="*/ 43 h 64"/>
                  <a:gd name="T38" fmla="*/ 47 w 63"/>
                  <a:gd name="T39" fmla="*/ 50 h 64"/>
                  <a:gd name="T40" fmla="*/ 46 w 63"/>
                  <a:gd name="T41" fmla="*/ 54 h 64"/>
                  <a:gd name="T42" fmla="*/ 44 w 63"/>
                  <a:gd name="T43" fmla="*/ 64 h 64"/>
                  <a:gd name="T44" fmla="*/ 43 w 63"/>
                  <a:gd name="T45" fmla="*/ 63 h 64"/>
                  <a:gd name="T46" fmla="*/ 42 w 63"/>
                  <a:gd name="T47" fmla="*/ 61 h 64"/>
                  <a:gd name="T48" fmla="*/ 42 w 63"/>
                  <a:gd name="T49" fmla="*/ 59 h 64"/>
                  <a:gd name="T50" fmla="*/ 40 w 63"/>
                  <a:gd name="T51" fmla="*/ 57 h 64"/>
                  <a:gd name="T52" fmla="*/ 39 w 63"/>
                  <a:gd name="T53" fmla="*/ 56 h 64"/>
                  <a:gd name="T54" fmla="*/ 36 w 63"/>
                  <a:gd name="T55" fmla="*/ 53 h 64"/>
                  <a:gd name="T56" fmla="*/ 31 w 63"/>
                  <a:gd name="T57" fmla="*/ 43 h 64"/>
                  <a:gd name="T58" fmla="*/ 31 w 63"/>
                  <a:gd name="T59" fmla="*/ 34 h 64"/>
                  <a:gd name="T60" fmla="*/ 36 w 63"/>
                  <a:gd name="T61" fmla="*/ 25 h 64"/>
                  <a:gd name="T62" fmla="*/ 40 w 63"/>
                  <a:gd name="T63" fmla="*/ 15 h 64"/>
                  <a:gd name="T64" fmla="*/ 47 w 63"/>
                  <a:gd name="T65" fmla="*/ 7 h 64"/>
                  <a:gd name="T66" fmla="*/ 49 w 63"/>
                  <a:gd name="T67" fmla="*/ 5 h 64"/>
                  <a:gd name="T68" fmla="*/ 1 w 63"/>
                  <a:gd name="T69" fmla="*/ 15 h 64"/>
                  <a:gd name="T70" fmla="*/ 3 w 63"/>
                  <a:gd name="T71" fmla="*/ 15 h 64"/>
                  <a:gd name="T72" fmla="*/ 1 w 63"/>
                  <a:gd name="T73" fmla="*/ 14 h 64"/>
                  <a:gd name="T74" fmla="*/ 0 w 63"/>
                  <a:gd name="T75" fmla="*/ 15 h 64"/>
                  <a:gd name="T76" fmla="*/ 0 w 63"/>
                  <a:gd name="T77" fmla="*/ 15 h 64"/>
                  <a:gd name="T78" fmla="*/ 1 w 63"/>
                  <a:gd name="T79" fmla="*/ 17 h 64"/>
                  <a:gd name="T80" fmla="*/ 1 w 63"/>
                  <a:gd name="T81"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 h="64">
                    <a:moveTo>
                      <a:pt x="49" y="5"/>
                    </a:moveTo>
                    <a:lnTo>
                      <a:pt x="50" y="4"/>
                    </a:lnTo>
                    <a:lnTo>
                      <a:pt x="54" y="1"/>
                    </a:lnTo>
                    <a:lnTo>
                      <a:pt x="56" y="0"/>
                    </a:lnTo>
                    <a:lnTo>
                      <a:pt x="59" y="1"/>
                    </a:lnTo>
                    <a:lnTo>
                      <a:pt x="60" y="1"/>
                    </a:lnTo>
                    <a:lnTo>
                      <a:pt x="62" y="3"/>
                    </a:lnTo>
                    <a:lnTo>
                      <a:pt x="63" y="4"/>
                    </a:lnTo>
                    <a:lnTo>
                      <a:pt x="63" y="5"/>
                    </a:lnTo>
                    <a:lnTo>
                      <a:pt x="62" y="7"/>
                    </a:lnTo>
                    <a:lnTo>
                      <a:pt x="62" y="10"/>
                    </a:lnTo>
                    <a:lnTo>
                      <a:pt x="62" y="13"/>
                    </a:lnTo>
                    <a:lnTo>
                      <a:pt x="62" y="15"/>
                    </a:lnTo>
                    <a:lnTo>
                      <a:pt x="60" y="17"/>
                    </a:lnTo>
                    <a:lnTo>
                      <a:pt x="59" y="20"/>
                    </a:lnTo>
                    <a:lnTo>
                      <a:pt x="59" y="24"/>
                    </a:lnTo>
                    <a:lnTo>
                      <a:pt x="56" y="36"/>
                    </a:lnTo>
                    <a:lnTo>
                      <a:pt x="54" y="40"/>
                    </a:lnTo>
                    <a:lnTo>
                      <a:pt x="53" y="43"/>
                    </a:lnTo>
                    <a:lnTo>
                      <a:pt x="47" y="50"/>
                    </a:lnTo>
                    <a:lnTo>
                      <a:pt x="46" y="54"/>
                    </a:lnTo>
                    <a:lnTo>
                      <a:pt x="44" y="64"/>
                    </a:lnTo>
                    <a:lnTo>
                      <a:pt x="43" y="63"/>
                    </a:lnTo>
                    <a:lnTo>
                      <a:pt x="42" y="61"/>
                    </a:lnTo>
                    <a:lnTo>
                      <a:pt x="42" y="59"/>
                    </a:lnTo>
                    <a:lnTo>
                      <a:pt x="40" y="57"/>
                    </a:lnTo>
                    <a:lnTo>
                      <a:pt x="39" y="56"/>
                    </a:lnTo>
                    <a:lnTo>
                      <a:pt x="36" y="53"/>
                    </a:lnTo>
                    <a:lnTo>
                      <a:pt x="31" y="43"/>
                    </a:lnTo>
                    <a:lnTo>
                      <a:pt x="31" y="34"/>
                    </a:lnTo>
                    <a:lnTo>
                      <a:pt x="36" y="25"/>
                    </a:lnTo>
                    <a:lnTo>
                      <a:pt x="40" y="15"/>
                    </a:lnTo>
                    <a:lnTo>
                      <a:pt x="47" y="7"/>
                    </a:lnTo>
                    <a:lnTo>
                      <a:pt x="49" y="5"/>
                    </a:lnTo>
                    <a:close/>
                    <a:moveTo>
                      <a:pt x="1" y="15"/>
                    </a:moveTo>
                    <a:lnTo>
                      <a:pt x="3" y="15"/>
                    </a:lnTo>
                    <a:lnTo>
                      <a:pt x="1" y="14"/>
                    </a:lnTo>
                    <a:lnTo>
                      <a:pt x="0" y="15"/>
                    </a:lnTo>
                    <a:lnTo>
                      <a:pt x="0" y="15"/>
                    </a:lnTo>
                    <a:lnTo>
                      <a:pt x="1" y="17"/>
                    </a:lnTo>
                    <a:lnTo>
                      <a:pt x="1" y="1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59" name="Freeform 155">
                <a:extLst>
                  <a:ext uri="{FF2B5EF4-FFF2-40B4-BE49-F238E27FC236}">
                    <a16:creationId xmlns:a16="http://schemas.microsoft.com/office/drawing/2014/main" id="{B8EA9186-7BEA-B2C0-570D-CAF1CA19C071}"/>
                  </a:ext>
                </a:extLst>
              </p:cNvPr>
              <p:cNvSpPr>
                <a:spLocks/>
              </p:cNvSpPr>
              <p:nvPr/>
            </p:nvSpPr>
            <p:spPr bwMode="auto">
              <a:xfrm>
                <a:off x="8312258" y="4377038"/>
                <a:ext cx="4338" cy="2892"/>
              </a:xfrm>
              <a:custGeom>
                <a:avLst/>
                <a:gdLst>
                  <a:gd name="T0" fmla="*/ 3 w 3"/>
                  <a:gd name="T1" fmla="*/ 0 h 2"/>
                  <a:gd name="T2" fmla="*/ 1 w 3"/>
                  <a:gd name="T3" fmla="*/ 1 h 2"/>
                  <a:gd name="T4" fmla="*/ 1 w 3"/>
                  <a:gd name="T5" fmla="*/ 1 h 2"/>
                  <a:gd name="T6" fmla="*/ 0 w 3"/>
                  <a:gd name="T7" fmla="*/ 1 h 2"/>
                  <a:gd name="T8" fmla="*/ 0 w 3"/>
                  <a:gd name="T9" fmla="*/ 1 h 2"/>
                  <a:gd name="T10" fmla="*/ 1 w 3"/>
                  <a:gd name="T11" fmla="*/ 2 h 2"/>
                  <a:gd name="T12" fmla="*/ 1 w 3"/>
                  <a:gd name="T13" fmla="*/ 2 h 2"/>
                  <a:gd name="T14" fmla="*/ 1 w 3"/>
                  <a:gd name="T15" fmla="*/ 2 h 2"/>
                  <a:gd name="T16" fmla="*/ 3 w 3"/>
                  <a:gd name="T17" fmla="*/ 2 h 2"/>
                  <a:gd name="T18" fmla="*/ 3 w 3"/>
                  <a:gd name="T19" fmla="*/ 2 h 2"/>
                  <a:gd name="T20" fmla="*/ 3 w 3"/>
                  <a:gd name="T21" fmla="*/ 1 h 2"/>
                  <a:gd name="T22" fmla="*/ 3 w 3"/>
                  <a:gd name="T23" fmla="*/ 1 h 2"/>
                  <a:gd name="T24" fmla="*/ 3 w 3"/>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2">
                    <a:moveTo>
                      <a:pt x="3" y="0"/>
                    </a:moveTo>
                    <a:lnTo>
                      <a:pt x="1" y="1"/>
                    </a:lnTo>
                    <a:lnTo>
                      <a:pt x="1" y="1"/>
                    </a:lnTo>
                    <a:lnTo>
                      <a:pt x="0" y="1"/>
                    </a:lnTo>
                    <a:lnTo>
                      <a:pt x="0" y="1"/>
                    </a:lnTo>
                    <a:lnTo>
                      <a:pt x="1" y="2"/>
                    </a:lnTo>
                    <a:lnTo>
                      <a:pt x="1" y="2"/>
                    </a:lnTo>
                    <a:lnTo>
                      <a:pt x="1" y="2"/>
                    </a:lnTo>
                    <a:lnTo>
                      <a:pt x="3" y="2"/>
                    </a:lnTo>
                    <a:lnTo>
                      <a:pt x="3" y="2"/>
                    </a:lnTo>
                    <a:lnTo>
                      <a:pt x="3" y="1"/>
                    </a:lnTo>
                    <a:lnTo>
                      <a:pt x="3" y="1"/>
                    </a:lnTo>
                    <a:lnTo>
                      <a:pt x="3"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60" name="Freeform 156">
                <a:extLst>
                  <a:ext uri="{FF2B5EF4-FFF2-40B4-BE49-F238E27FC236}">
                    <a16:creationId xmlns:a16="http://schemas.microsoft.com/office/drawing/2014/main" id="{AB66A9D3-5252-4620-2D18-52B22E78BAC4}"/>
                  </a:ext>
                </a:extLst>
              </p:cNvPr>
              <p:cNvSpPr>
                <a:spLocks noEditPoints="1"/>
              </p:cNvSpPr>
              <p:nvPr/>
            </p:nvSpPr>
            <p:spPr bwMode="auto">
              <a:xfrm>
                <a:off x="9318647" y="3623693"/>
                <a:ext cx="17352" cy="122907"/>
              </a:xfrm>
              <a:custGeom>
                <a:avLst/>
                <a:gdLst>
                  <a:gd name="T0" fmla="*/ 10 w 12"/>
                  <a:gd name="T1" fmla="*/ 13 h 85"/>
                  <a:gd name="T2" fmla="*/ 10 w 12"/>
                  <a:gd name="T3" fmla="*/ 13 h 85"/>
                  <a:gd name="T4" fmla="*/ 10 w 12"/>
                  <a:gd name="T5" fmla="*/ 12 h 85"/>
                  <a:gd name="T6" fmla="*/ 10 w 12"/>
                  <a:gd name="T7" fmla="*/ 12 h 85"/>
                  <a:gd name="T8" fmla="*/ 12 w 12"/>
                  <a:gd name="T9" fmla="*/ 12 h 85"/>
                  <a:gd name="T10" fmla="*/ 12 w 12"/>
                  <a:gd name="T11" fmla="*/ 12 h 85"/>
                  <a:gd name="T12" fmla="*/ 10 w 12"/>
                  <a:gd name="T13" fmla="*/ 13 h 85"/>
                  <a:gd name="T14" fmla="*/ 10 w 12"/>
                  <a:gd name="T15" fmla="*/ 13 h 85"/>
                  <a:gd name="T16" fmla="*/ 8 w 12"/>
                  <a:gd name="T17" fmla="*/ 69 h 85"/>
                  <a:gd name="T18" fmla="*/ 8 w 12"/>
                  <a:gd name="T19" fmla="*/ 69 h 85"/>
                  <a:gd name="T20" fmla="*/ 8 w 12"/>
                  <a:gd name="T21" fmla="*/ 71 h 85"/>
                  <a:gd name="T22" fmla="*/ 8 w 12"/>
                  <a:gd name="T23" fmla="*/ 71 h 85"/>
                  <a:gd name="T24" fmla="*/ 9 w 12"/>
                  <a:gd name="T25" fmla="*/ 71 h 85"/>
                  <a:gd name="T26" fmla="*/ 9 w 12"/>
                  <a:gd name="T27" fmla="*/ 69 h 85"/>
                  <a:gd name="T28" fmla="*/ 8 w 12"/>
                  <a:gd name="T29" fmla="*/ 68 h 85"/>
                  <a:gd name="T30" fmla="*/ 8 w 12"/>
                  <a:gd name="T31" fmla="*/ 69 h 85"/>
                  <a:gd name="T32" fmla="*/ 9 w 12"/>
                  <a:gd name="T33" fmla="*/ 68 h 85"/>
                  <a:gd name="T34" fmla="*/ 10 w 12"/>
                  <a:gd name="T35" fmla="*/ 68 h 85"/>
                  <a:gd name="T36" fmla="*/ 10 w 12"/>
                  <a:gd name="T37" fmla="*/ 66 h 85"/>
                  <a:gd name="T38" fmla="*/ 12 w 12"/>
                  <a:gd name="T39" fmla="*/ 65 h 85"/>
                  <a:gd name="T40" fmla="*/ 10 w 12"/>
                  <a:gd name="T41" fmla="*/ 65 h 85"/>
                  <a:gd name="T42" fmla="*/ 10 w 12"/>
                  <a:gd name="T43" fmla="*/ 65 h 85"/>
                  <a:gd name="T44" fmla="*/ 10 w 12"/>
                  <a:gd name="T45" fmla="*/ 65 h 85"/>
                  <a:gd name="T46" fmla="*/ 10 w 12"/>
                  <a:gd name="T47" fmla="*/ 66 h 85"/>
                  <a:gd name="T48" fmla="*/ 9 w 12"/>
                  <a:gd name="T49" fmla="*/ 68 h 85"/>
                  <a:gd name="T50" fmla="*/ 9 w 12"/>
                  <a:gd name="T51" fmla="*/ 45 h 85"/>
                  <a:gd name="T52" fmla="*/ 9 w 12"/>
                  <a:gd name="T53" fmla="*/ 45 h 85"/>
                  <a:gd name="T54" fmla="*/ 9 w 12"/>
                  <a:gd name="T55" fmla="*/ 45 h 85"/>
                  <a:gd name="T56" fmla="*/ 10 w 12"/>
                  <a:gd name="T57" fmla="*/ 45 h 85"/>
                  <a:gd name="T58" fmla="*/ 9 w 12"/>
                  <a:gd name="T59" fmla="*/ 45 h 85"/>
                  <a:gd name="T60" fmla="*/ 9 w 12"/>
                  <a:gd name="T61" fmla="*/ 45 h 85"/>
                  <a:gd name="T62" fmla="*/ 9 w 12"/>
                  <a:gd name="T63" fmla="*/ 45 h 85"/>
                  <a:gd name="T64" fmla="*/ 9 w 12"/>
                  <a:gd name="T65" fmla="*/ 45 h 85"/>
                  <a:gd name="T66" fmla="*/ 9 w 12"/>
                  <a:gd name="T67" fmla="*/ 45 h 85"/>
                  <a:gd name="T68" fmla="*/ 2 w 12"/>
                  <a:gd name="T69" fmla="*/ 85 h 85"/>
                  <a:gd name="T70" fmla="*/ 2 w 12"/>
                  <a:gd name="T71" fmla="*/ 85 h 85"/>
                  <a:gd name="T72" fmla="*/ 0 w 12"/>
                  <a:gd name="T73" fmla="*/ 85 h 85"/>
                  <a:gd name="T74" fmla="*/ 0 w 12"/>
                  <a:gd name="T75" fmla="*/ 85 h 85"/>
                  <a:gd name="T76" fmla="*/ 0 w 12"/>
                  <a:gd name="T77" fmla="*/ 85 h 85"/>
                  <a:gd name="T78" fmla="*/ 0 w 12"/>
                  <a:gd name="T79" fmla="*/ 85 h 85"/>
                  <a:gd name="T80" fmla="*/ 0 w 12"/>
                  <a:gd name="T81" fmla="*/ 85 h 85"/>
                  <a:gd name="T82" fmla="*/ 2 w 12"/>
                  <a:gd name="T83" fmla="*/ 85 h 85"/>
                  <a:gd name="T84" fmla="*/ 9 w 12"/>
                  <a:gd name="T85" fmla="*/ 0 h 85"/>
                  <a:gd name="T86" fmla="*/ 9 w 12"/>
                  <a:gd name="T87" fmla="*/ 0 h 85"/>
                  <a:gd name="T88" fmla="*/ 9 w 12"/>
                  <a:gd name="T89" fmla="*/ 0 h 85"/>
                  <a:gd name="T90" fmla="*/ 9 w 12"/>
                  <a:gd name="T91" fmla="*/ 0 h 85"/>
                  <a:gd name="T92" fmla="*/ 9 w 12"/>
                  <a:gd name="T93" fmla="*/ 0 h 85"/>
                  <a:gd name="T94" fmla="*/ 9 w 12"/>
                  <a:gd name="T95" fmla="*/ 0 h 85"/>
                  <a:gd name="T96" fmla="*/ 9 w 12"/>
                  <a:gd name="T97" fmla="*/ 0 h 85"/>
                  <a:gd name="T98" fmla="*/ 9 w 12"/>
                  <a:gd name="T99" fmla="*/ 0 h 85"/>
                  <a:gd name="T100" fmla="*/ 9 w 12"/>
                  <a:gd name="T101"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 h="85">
                    <a:moveTo>
                      <a:pt x="10" y="13"/>
                    </a:moveTo>
                    <a:lnTo>
                      <a:pt x="10" y="13"/>
                    </a:lnTo>
                    <a:lnTo>
                      <a:pt x="10" y="12"/>
                    </a:lnTo>
                    <a:lnTo>
                      <a:pt x="10" y="12"/>
                    </a:lnTo>
                    <a:lnTo>
                      <a:pt x="12" y="12"/>
                    </a:lnTo>
                    <a:lnTo>
                      <a:pt x="12" y="12"/>
                    </a:lnTo>
                    <a:lnTo>
                      <a:pt x="10" y="13"/>
                    </a:lnTo>
                    <a:lnTo>
                      <a:pt x="10" y="13"/>
                    </a:lnTo>
                    <a:close/>
                    <a:moveTo>
                      <a:pt x="8" y="69"/>
                    </a:moveTo>
                    <a:lnTo>
                      <a:pt x="8" y="69"/>
                    </a:lnTo>
                    <a:lnTo>
                      <a:pt x="8" y="71"/>
                    </a:lnTo>
                    <a:lnTo>
                      <a:pt x="8" y="71"/>
                    </a:lnTo>
                    <a:lnTo>
                      <a:pt x="9" y="71"/>
                    </a:lnTo>
                    <a:lnTo>
                      <a:pt x="9" y="69"/>
                    </a:lnTo>
                    <a:lnTo>
                      <a:pt x="8" y="68"/>
                    </a:lnTo>
                    <a:lnTo>
                      <a:pt x="8" y="69"/>
                    </a:lnTo>
                    <a:close/>
                    <a:moveTo>
                      <a:pt x="9" y="68"/>
                    </a:moveTo>
                    <a:lnTo>
                      <a:pt x="10" y="68"/>
                    </a:lnTo>
                    <a:lnTo>
                      <a:pt x="10" y="66"/>
                    </a:lnTo>
                    <a:lnTo>
                      <a:pt x="12" y="65"/>
                    </a:lnTo>
                    <a:lnTo>
                      <a:pt x="10" y="65"/>
                    </a:lnTo>
                    <a:lnTo>
                      <a:pt x="10" y="65"/>
                    </a:lnTo>
                    <a:lnTo>
                      <a:pt x="10" y="65"/>
                    </a:lnTo>
                    <a:lnTo>
                      <a:pt x="10" y="66"/>
                    </a:lnTo>
                    <a:lnTo>
                      <a:pt x="9" y="68"/>
                    </a:lnTo>
                    <a:close/>
                    <a:moveTo>
                      <a:pt x="9" y="45"/>
                    </a:moveTo>
                    <a:lnTo>
                      <a:pt x="9" y="45"/>
                    </a:lnTo>
                    <a:lnTo>
                      <a:pt x="9" y="45"/>
                    </a:lnTo>
                    <a:lnTo>
                      <a:pt x="10" y="45"/>
                    </a:lnTo>
                    <a:lnTo>
                      <a:pt x="9" y="45"/>
                    </a:lnTo>
                    <a:lnTo>
                      <a:pt x="9" y="45"/>
                    </a:lnTo>
                    <a:lnTo>
                      <a:pt x="9" y="45"/>
                    </a:lnTo>
                    <a:lnTo>
                      <a:pt x="9" y="45"/>
                    </a:lnTo>
                    <a:lnTo>
                      <a:pt x="9" y="45"/>
                    </a:lnTo>
                    <a:close/>
                    <a:moveTo>
                      <a:pt x="2" y="85"/>
                    </a:moveTo>
                    <a:lnTo>
                      <a:pt x="2" y="85"/>
                    </a:lnTo>
                    <a:lnTo>
                      <a:pt x="0" y="85"/>
                    </a:lnTo>
                    <a:lnTo>
                      <a:pt x="0" y="85"/>
                    </a:lnTo>
                    <a:lnTo>
                      <a:pt x="0" y="85"/>
                    </a:lnTo>
                    <a:lnTo>
                      <a:pt x="0" y="85"/>
                    </a:lnTo>
                    <a:lnTo>
                      <a:pt x="0" y="85"/>
                    </a:lnTo>
                    <a:lnTo>
                      <a:pt x="2" y="85"/>
                    </a:lnTo>
                    <a:close/>
                    <a:moveTo>
                      <a:pt x="9" y="0"/>
                    </a:moveTo>
                    <a:lnTo>
                      <a:pt x="9" y="0"/>
                    </a:lnTo>
                    <a:lnTo>
                      <a:pt x="9" y="0"/>
                    </a:lnTo>
                    <a:lnTo>
                      <a:pt x="9" y="0"/>
                    </a:lnTo>
                    <a:lnTo>
                      <a:pt x="9" y="0"/>
                    </a:lnTo>
                    <a:lnTo>
                      <a:pt x="9" y="0"/>
                    </a:lnTo>
                    <a:lnTo>
                      <a:pt x="9" y="0"/>
                    </a:lnTo>
                    <a:lnTo>
                      <a:pt x="9" y="0"/>
                    </a:lnTo>
                    <a:lnTo>
                      <a:pt x="9"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61" name="Freeform 157">
                <a:extLst>
                  <a:ext uri="{FF2B5EF4-FFF2-40B4-BE49-F238E27FC236}">
                    <a16:creationId xmlns:a16="http://schemas.microsoft.com/office/drawing/2014/main" id="{3DA092B5-119E-A0B4-3F84-CBCF84302136}"/>
                  </a:ext>
                </a:extLst>
              </p:cNvPr>
              <p:cNvSpPr>
                <a:spLocks/>
              </p:cNvSpPr>
              <p:nvPr/>
            </p:nvSpPr>
            <p:spPr bwMode="auto">
              <a:xfrm>
                <a:off x="9304187" y="3761059"/>
                <a:ext cx="8676" cy="8676"/>
              </a:xfrm>
              <a:custGeom>
                <a:avLst/>
                <a:gdLst>
                  <a:gd name="T0" fmla="*/ 3 w 6"/>
                  <a:gd name="T1" fmla="*/ 4 h 6"/>
                  <a:gd name="T2" fmla="*/ 6 w 6"/>
                  <a:gd name="T3" fmla="*/ 0 h 6"/>
                  <a:gd name="T4" fmla="*/ 5 w 6"/>
                  <a:gd name="T5" fmla="*/ 0 h 6"/>
                  <a:gd name="T6" fmla="*/ 3 w 6"/>
                  <a:gd name="T7" fmla="*/ 2 h 6"/>
                  <a:gd name="T8" fmla="*/ 2 w 6"/>
                  <a:gd name="T9" fmla="*/ 3 h 6"/>
                  <a:gd name="T10" fmla="*/ 0 w 6"/>
                  <a:gd name="T11" fmla="*/ 4 h 6"/>
                  <a:gd name="T12" fmla="*/ 2 w 6"/>
                  <a:gd name="T13" fmla="*/ 6 h 6"/>
                  <a:gd name="T14" fmla="*/ 3 w 6"/>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3" y="4"/>
                    </a:moveTo>
                    <a:lnTo>
                      <a:pt x="6" y="0"/>
                    </a:lnTo>
                    <a:lnTo>
                      <a:pt x="5" y="0"/>
                    </a:lnTo>
                    <a:lnTo>
                      <a:pt x="3" y="2"/>
                    </a:lnTo>
                    <a:lnTo>
                      <a:pt x="2" y="3"/>
                    </a:lnTo>
                    <a:lnTo>
                      <a:pt x="0" y="4"/>
                    </a:lnTo>
                    <a:lnTo>
                      <a:pt x="2" y="6"/>
                    </a:lnTo>
                    <a:lnTo>
                      <a:pt x="3" y="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62" name="Freeform 158">
                <a:extLst>
                  <a:ext uri="{FF2B5EF4-FFF2-40B4-BE49-F238E27FC236}">
                    <a16:creationId xmlns:a16="http://schemas.microsoft.com/office/drawing/2014/main" id="{36C473D1-AD0A-DAFE-E22A-A58A121EF126}"/>
                  </a:ext>
                </a:extLst>
              </p:cNvPr>
              <p:cNvSpPr>
                <a:spLocks noEditPoints="1"/>
              </p:cNvSpPr>
              <p:nvPr/>
            </p:nvSpPr>
            <p:spPr bwMode="auto">
              <a:xfrm>
                <a:off x="7388290" y="2920956"/>
                <a:ext cx="280516" cy="125799"/>
              </a:xfrm>
              <a:custGeom>
                <a:avLst/>
                <a:gdLst>
                  <a:gd name="T0" fmla="*/ 179 w 194"/>
                  <a:gd name="T1" fmla="*/ 16 h 87"/>
                  <a:gd name="T2" fmla="*/ 129 w 194"/>
                  <a:gd name="T3" fmla="*/ 6 h 87"/>
                  <a:gd name="T4" fmla="*/ 113 w 194"/>
                  <a:gd name="T5" fmla="*/ 9 h 87"/>
                  <a:gd name="T6" fmla="*/ 90 w 194"/>
                  <a:gd name="T7" fmla="*/ 2 h 87"/>
                  <a:gd name="T8" fmla="*/ 76 w 194"/>
                  <a:gd name="T9" fmla="*/ 6 h 87"/>
                  <a:gd name="T10" fmla="*/ 72 w 194"/>
                  <a:gd name="T11" fmla="*/ 18 h 87"/>
                  <a:gd name="T12" fmla="*/ 49 w 194"/>
                  <a:gd name="T13" fmla="*/ 9 h 87"/>
                  <a:gd name="T14" fmla="*/ 33 w 194"/>
                  <a:gd name="T15" fmla="*/ 13 h 87"/>
                  <a:gd name="T16" fmla="*/ 33 w 194"/>
                  <a:gd name="T17" fmla="*/ 22 h 87"/>
                  <a:gd name="T18" fmla="*/ 30 w 194"/>
                  <a:gd name="T19" fmla="*/ 26 h 87"/>
                  <a:gd name="T20" fmla="*/ 26 w 194"/>
                  <a:gd name="T21" fmla="*/ 29 h 87"/>
                  <a:gd name="T22" fmla="*/ 17 w 194"/>
                  <a:gd name="T23" fmla="*/ 38 h 87"/>
                  <a:gd name="T24" fmla="*/ 24 w 194"/>
                  <a:gd name="T25" fmla="*/ 39 h 87"/>
                  <a:gd name="T26" fmla="*/ 27 w 194"/>
                  <a:gd name="T27" fmla="*/ 42 h 87"/>
                  <a:gd name="T28" fmla="*/ 34 w 194"/>
                  <a:gd name="T29" fmla="*/ 46 h 87"/>
                  <a:gd name="T30" fmla="*/ 40 w 194"/>
                  <a:gd name="T31" fmla="*/ 42 h 87"/>
                  <a:gd name="T32" fmla="*/ 46 w 194"/>
                  <a:gd name="T33" fmla="*/ 41 h 87"/>
                  <a:gd name="T34" fmla="*/ 51 w 194"/>
                  <a:gd name="T35" fmla="*/ 46 h 87"/>
                  <a:gd name="T36" fmla="*/ 54 w 194"/>
                  <a:gd name="T37" fmla="*/ 49 h 87"/>
                  <a:gd name="T38" fmla="*/ 62 w 194"/>
                  <a:gd name="T39" fmla="*/ 52 h 87"/>
                  <a:gd name="T40" fmla="*/ 66 w 194"/>
                  <a:gd name="T41" fmla="*/ 55 h 87"/>
                  <a:gd name="T42" fmla="*/ 56 w 194"/>
                  <a:gd name="T43" fmla="*/ 59 h 87"/>
                  <a:gd name="T44" fmla="*/ 56 w 194"/>
                  <a:gd name="T45" fmla="*/ 61 h 87"/>
                  <a:gd name="T46" fmla="*/ 51 w 194"/>
                  <a:gd name="T47" fmla="*/ 62 h 87"/>
                  <a:gd name="T48" fmla="*/ 30 w 194"/>
                  <a:gd name="T49" fmla="*/ 67 h 87"/>
                  <a:gd name="T50" fmla="*/ 24 w 194"/>
                  <a:gd name="T51" fmla="*/ 71 h 87"/>
                  <a:gd name="T52" fmla="*/ 23 w 194"/>
                  <a:gd name="T53" fmla="*/ 71 h 87"/>
                  <a:gd name="T54" fmla="*/ 6 w 194"/>
                  <a:gd name="T55" fmla="*/ 69 h 87"/>
                  <a:gd name="T56" fmla="*/ 1 w 194"/>
                  <a:gd name="T57" fmla="*/ 72 h 87"/>
                  <a:gd name="T58" fmla="*/ 3 w 194"/>
                  <a:gd name="T59" fmla="*/ 81 h 87"/>
                  <a:gd name="T60" fmla="*/ 23 w 194"/>
                  <a:gd name="T61" fmla="*/ 79 h 87"/>
                  <a:gd name="T62" fmla="*/ 29 w 194"/>
                  <a:gd name="T63" fmla="*/ 84 h 87"/>
                  <a:gd name="T64" fmla="*/ 36 w 194"/>
                  <a:gd name="T65" fmla="*/ 79 h 87"/>
                  <a:gd name="T66" fmla="*/ 40 w 194"/>
                  <a:gd name="T67" fmla="*/ 81 h 87"/>
                  <a:gd name="T68" fmla="*/ 44 w 194"/>
                  <a:gd name="T69" fmla="*/ 85 h 87"/>
                  <a:gd name="T70" fmla="*/ 50 w 194"/>
                  <a:gd name="T71" fmla="*/ 85 h 87"/>
                  <a:gd name="T72" fmla="*/ 57 w 194"/>
                  <a:gd name="T73" fmla="*/ 84 h 87"/>
                  <a:gd name="T74" fmla="*/ 67 w 194"/>
                  <a:gd name="T75" fmla="*/ 84 h 87"/>
                  <a:gd name="T76" fmla="*/ 77 w 194"/>
                  <a:gd name="T77" fmla="*/ 82 h 87"/>
                  <a:gd name="T78" fmla="*/ 85 w 194"/>
                  <a:gd name="T79" fmla="*/ 69 h 87"/>
                  <a:gd name="T80" fmla="*/ 97 w 194"/>
                  <a:gd name="T81" fmla="*/ 64 h 87"/>
                  <a:gd name="T82" fmla="*/ 97 w 194"/>
                  <a:gd name="T83" fmla="*/ 62 h 87"/>
                  <a:gd name="T84" fmla="*/ 100 w 194"/>
                  <a:gd name="T85" fmla="*/ 61 h 87"/>
                  <a:gd name="T86" fmla="*/ 110 w 194"/>
                  <a:gd name="T87" fmla="*/ 58 h 87"/>
                  <a:gd name="T88" fmla="*/ 116 w 194"/>
                  <a:gd name="T89" fmla="*/ 64 h 87"/>
                  <a:gd name="T90" fmla="*/ 125 w 194"/>
                  <a:gd name="T91" fmla="*/ 62 h 87"/>
                  <a:gd name="T92" fmla="*/ 132 w 194"/>
                  <a:gd name="T93" fmla="*/ 51 h 87"/>
                  <a:gd name="T94" fmla="*/ 152 w 194"/>
                  <a:gd name="T95" fmla="*/ 48 h 87"/>
                  <a:gd name="T96" fmla="*/ 174 w 194"/>
                  <a:gd name="T97" fmla="*/ 33 h 87"/>
                  <a:gd name="T98" fmla="*/ 192 w 194"/>
                  <a:gd name="T99" fmla="*/ 26 h 87"/>
                  <a:gd name="T100" fmla="*/ 24 w 194"/>
                  <a:gd name="T101" fmla="*/ 75 h 87"/>
                  <a:gd name="T102" fmla="*/ 24 w 194"/>
                  <a:gd name="T103" fmla="*/ 74 h 87"/>
                  <a:gd name="T104" fmla="*/ 34 w 194"/>
                  <a:gd name="T105" fmla="*/ 72 h 87"/>
                  <a:gd name="T106" fmla="*/ 30 w 194"/>
                  <a:gd name="T107" fmla="*/ 69 h 87"/>
                  <a:gd name="T108" fmla="*/ 36 w 194"/>
                  <a:gd name="T109" fmla="*/ 69 h 87"/>
                  <a:gd name="T110" fmla="*/ 43 w 194"/>
                  <a:gd name="T111" fmla="*/ 72 h 87"/>
                  <a:gd name="T112" fmla="*/ 44 w 194"/>
                  <a:gd name="T113" fmla="*/ 7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4" h="87">
                    <a:moveTo>
                      <a:pt x="188" y="18"/>
                    </a:moveTo>
                    <a:lnTo>
                      <a:pt x="186" y="18"/>
                    </a:lnTo>
                    <a:lnTo>
                      <a:pt x="182" y="18"/>
                    </a:lnTo>
                    <a:lnTo>
                      <a:pt x="181" y="18"/>
                    </a:lnTo>
                    <a:lnTo>
                      <a:pt x="179" y="16"/>
                    </a:lnTo>
                    <a:lnTo>
                      <a:pt x="178" y="15"/>
                    </a:lnTo>
                    <a:lnTo>
                      <a:pt x="174" y="10"/>
                    </a:lnTo>
                    <a:lnTo>
                      <a:pt x="158" y="8"/>
                    </a:lnTo>
                    <a:lnTo>
                      <a:pt x="135" y="6"/>
                    </a:lnTo>
                    <a:lnTo>
                      <a:pt x="129" y="6"/>
                    </a:lnTo>
                    <a:lnTo>
                      <a:pt x="120" y="6"/>
                    </a:lnTo>
                    <a:lnTo>
                      <a:pt x="118" y="6"/>
                    </a:lnTo>
                    <a:lnTo>
                      <a:pt x="116" y="8"/>
                    </a:lnTo>
                    <a:lnTo>
                      <a:pt x="115" y="9"/>
                    </a:lnTo>
                    <a:lnTo>
                      <a:pt x="113" y="9"/>
                    </a:lnTo>
                    <a:lnTo>
                      <a:pt x="112" y="9"/>
                    </a:lnTo>
                    <a:lnTo>
                      <a:pt x="109" y="9"/>
                    </a:lnTo>
                    <a:lnTo>
                      <a:pt x="106" y="8"/>
                    </a:lnTo>
                    <a:lnTo>
                      <a:pt x="102" y="6"/>
                    </a:lnTo>
                    <a:lnTo>
                      <a:pt x="90" y="2"/>
                    </a:lnTo>
                    <a:lnTo>
                      <a:pt x="87" y="0"/>
                    </a:lnTo>
                    <a:lnTo>
                      <a:pt x="85" y="0"/>
                    </a:lnTo>
                    <a:lnTo>
                      <a:pt x="82" y="2"/>
                    </a:lnTo>
                    <a:lnTo>
                      <a:pt x="79" y="3"/>
                    </a:lnTo>
                    <a:lnTo>
                      <a:pt x="76" y="6"/>
                    </a:lnTo>
                    <a:lnTo>
                      <a:pt x="74" y="10"/>
                    </a:lnTo>
                    <a:lnTo>
                      <a:pt x="74" y="13"/>
                    </a:lnTo>
                    <a:lnTo>
                      <a:pt x="74" y="18"/>
                    </a:lnTo>
                    <a:lnTo>
                      <a:pt x="73" y="18"/>
                    </a:lnTo>
                    <a:lnTo>
                      <a:pt x="72" y="18"/>
                    </a:lnTo>
                    <a:lnTo>
                      <a:pt x="70" y="16"/>
                    </a:lnTo>
                    <a:lnTo>
                      <a:pt x="70" y="16"/>
                    </a:lnTo>
                    <a:lnTo>
                      <a:pt x="64" y="15"/>
                    </a:lnTo>
                    <a:lnTo>
                      <a:pt x="51" y="10"/>
                    </a:lnTo>
                    <a:lnTo>
                      <a:pt x="49" y="9"/>
                    </a:lnTo>
                    <a:lnTo>
                      <a:pt x="46" y="9"/>
                    </a:lnTo>
                    <a:lnTo>
                      <a:pt x="41" y="9"/>
                    </a:lnTo>
                    <a:lnTo>
                      <a:pt x="39" y="10"/>
                    </a:lnTo>
                    <a:lnTo>
                      <a:pt x="36" y="10"/>
                    </a:lnTo>
                    <a:lnTo>
                      <a:pt x="33" y="13"/>
                    </a:lnTo>
                    <a:lnTo>
                      <a:pt x="31" y="16"/>
                    </a:lnTo>
                    <a:lnTo>
                      <a:pt x="30" y="19"/>
                    </a:lnTo>
                    <a:lnTo>
                      <a:pt x="30" y="22"/>
                    </a:lnTo>
                    <a:lnTo>
                      <a:pt x="31" y="22"/>
                    </a:lnTo>
                    <a:lnTo>
                      <a:pt x="33" y="22"/>
                    </a:lnTo>
                    <a:lnTo>
                      <a:pt x="34" y="22"/>
                    </a:lnTo>
                    <a:lnTo>
                      <a:pt x="36" y="23"/>
                    </a:lnTo>
                    <a:lnTo>
                      <a:pt x="34" y="25"/>
                    </a:lnTo>
                    <a:lnTo>
                      <a:pt x="31" y="25"/>
                    </a:lnTo>
                    <a:lnTo>
                      <a:pt x="30" y="26"/>
                    </a:lnTo>
                    <a:lnTo>
                      <a:pt x="29" y="26"/>
                    </a:lnTo>
                    <a:lnTo>
                      <a:pt x="29" y="28"/>
                    </a:lnTo>
                    <a:lnTo>
                      <a:pt x="27" y="29"/>
                    </a:lnTo>
                    <a:lnTo>
                      <a:pt x="27" y="29"/>
                    </a:lnTo>
                    <a:lnTo>
                      <a:pt x="26" y="29"/>
                    </a:lnTo>
                    <a:lnTo>
                      <a:pt x="24" y="31"/>
                    </a:lnTo>
                    <a:lnTo>
                      <a:pt x="23" y="31"/>
                    </a:lnTo>
                    <a:lnTo>
                      <a:pt x="17" y="36"/>
                    </a:lnTo>
                    <a:lnTo>
                      <a:pt x="17" y="36"/>
                    </a:lnTo>
                    <a:lnTo>
                      <a:pt x="17" y="38"/>
                    </a:lnTo>
                    <a:lnTo>
                      <a:pt x="18" y="39"/>
                    </a:lnTo>
                    <a:lnTo>
                      <a:pt x="20" y="39"/>
                    </a:lnTo>
                    <a:lnTo>
                      <a:pt x="21" y="41"/>
                    </a:lnTo>
                    <a:lnTo>
                      <a:pt x="23" y="41"/>
                    </a:lnTo>
                    <a:lnTo>
                      <a:pt x="24" y="39"/>
                    </a:lnTo>
                    <a:lnTo>
                      <a:pt x="24" y="39"/>
                    </a:lnTo>
                    <a:lnTo>
                      <a:pt x="26" y="39"/>
                    </a:lnTo>
                    <a:lnTo>
                      <a:pt x="26" y="41"/>
                    </a:lnTo>
                    <a:lnTo>
                      <a:pt x="27" y="41"/>
                    </a:lnTo>
                    <a:lnTo>
                      <a:pt x="27" y="42"/>
                    </a:lnTo>
                    <a:lnTo>
                      <a:pt x="27" y="44"/>
                    </a:lnTo>
                    <a:lnTo>
                      <a:pt x="29" y="45"/>
                    </a:lnTo>
                    <a:lnTo>
                      <a:pt x="31" y="45"/>
                    </a:lnTo>
                    <a:lnTo>
                      <a:pt x="33" y="46"/>
                    </a:lnTo>
                    <a:lnTo>
                      <a:pt x="34" y="46"/>
                    </a:lnTo>
                    <a:lnTo>
                      <a:pt x="37" y="46"/>
                    </a:lnTo>
                    <a:lnTo>
                      <a:pt x="39" y="45"/>
                    </a:lnTo>
                    <a:lnTo>
                      <a:pt x="39" y="44"/>
                    </a:lnTo>
                    <a:lnTo>
                      <a:pt x="39" y="42"/>
                    </a:lnTo>
                    <a:lnTo>
                      <a:pt x="40" y="42"/>
                    </a:lnTo>
                    <a:lnTo>
                      <a:pt x="41" y="41"/>
                    </a:lnTo>
                    <a:lnTo>
                      <a:pt x="41" y="39"/>
                    </a:lnTo>
                    <a:lnTo>
                      <a:pt x="43" y="38"/>
                    </a:lnTo>
                    <a:lnTo>
                      <a:pt x="43" y="38"/>
                    </a:lnTo>
                    <a:lnTo>
                      <a:pt x="46" y="41"/>
                    </a:lnTo>
                    <a:lnTo>
                      <a:pt x="46" y="44"/>
                    </a:lnTo>
                    <a:lnTo>
                      <a:pt x="47" y="44"/>
                    </a:lnTo>
                    <a:lnTo>
                      <a:pt x="47" y="45"/>
                    </a:lnTo>
                    <a:lnTo>
                      <a:pt x="49" y="45"/>
                    </a:lnTo>
                    <a:lnTo>
                      <a:pt x="51" y="46"/>
                    </a:lnTo>
                    <a:lnTo>
                      <a:pt x="51" y="46"/>
                    </a:lnTo>
                    <a:lnTo>
                      <a:pt x="51" y="46"/>
                    </a:lnTo>
                    <a:lnTo>
                      <a:pt x="53" y="48"/>
                    </a:lnTo>
                    <a:lnTo>
                      <a:pt x="53" y="48"/>
                    </a:lnTo>
                    <a:lnTo>
                      <a:pt x="54" y="49"/>
                    </a:lnTo>
                    <a:lnTo>
                      <a:pt x="57" y="49"/>
                    </a:lnTo>
                    <a:lnTo>
                      <a:pt x="57" y="49"/>
                    </a:lnTo>
                    <a:lnTo>
                      <a:pt x="59" y="51"/>
                    </a:lnTo>
                    <a:lnTo>
                      <a:pt x="60" y="51"/>
                    </a:lnTo>
                    <a:lnTo>
                      <a:pt x="62" y="52"/>
                    </a:lnTo>
                    <a:lnTo>
                      <a:pt x="63" y="52"/>
                    </a:lnTo>
                    <a:lnTo>
                      <a:pt x="67" y="52"/>
                    </a:lnTo>
                    <a:lnTo>
                      <a:pt x="67" y="52"/>
                    </a:lnTo>
                    <a:lnTo>
                      <a:pt x="67" y="54"/>
                    </a:lnTo>
                    <a:lnTo>
                      <a:pt x="66" y="55"/>
                    </a:lnTo>
                    <a:lnTo>
                      <a:pt x="62" y="58"/>
                    </a:lnTo>
                    <a:lnTo>
                      <a:pt x="60" y="58"/>
                    </a:lnTo>
                    <a:lnTo>
                      <a:pt x="57" y="58"/>
                    </a:lnTo>
                    <a:lnTo>
                      <a:pt x="57" y="59"/>
                    </a:lnTo>
                    <a:lnTo>
                      <a:pt x="56" y="59"/>
                    </a:lnTo>
                    <a:lnTo>
                      <a:pt x="54" y="59"/>
                    </a:lnTo>
                    <a:lnTo>
                      <a:pt x="54" y="59"/>
                    </a:lnTo>
                    <a:lnTo>
                      <a:pt x="56" y="61"/>
                    </a:lnTo>
                    <a:lnTo>
                      <a:pt x="56" y="61"/>
                    </a:lnTo>
                    <a:lnTo>
                      <a:pt x="56" y="61"/>
                    </a:lnTo>
                    <a:lnTo>
                      <a:pt x="54" y="61"/>
                    </a:lnTo>
                    <a:lnTo>
                      <a:pt x="54" y="61"/>
                    </a:lnTo>
                    <a:lnTo>
                      <a:pt x="53" y="61"/>
                    </a:lnTo>
                    <a:lnTo>
                      <a:pt x="53" y="61"/>
                    </a:lnTo>
                    <a:lnTo>
                      <a:pt x="51" y="62"/>
                    </a:lnTo>
                    <a:lnTo>
                      <a:pt x="46" y="65"/>
                    </a:lnTo>
                    <a:lnTo>
                      <a:pt x="43" y="67"/>
                    </a:lnTo>
                    <a:lnTo>
                      <a:pt x="34" y="65"/>
                    </a:lnTo>
                    <a:lnTo>
                      <a:pt x="30" y="65"/>
                    </a:lnTo>
                    <a:lnTo>
                      <a:pt x="30" y="67"/>
                    </a:lnTo>
                    <a:lnTo>
                      <a:pt x="29" y="68"/>
                    </a:lnTo>
                    <a:lnTo>
                      <a:pt x="26" y="68"/>
                    </a:lnTo>
                    <a:lnTo>
                      <a:pt x="24" y="69"/>
                    </a:lnTo>
                    <a:lnTo>
                      <a:pt x="24" y="69"/>
                    </a:lnTo>
                    <a:lnTo>
                      <a:pt x="24" y="71"/>
                    </a:lnTo>
                    <a:lnTo>
                      <a:pt x="24" y="71"/>
                    </a:lnTo>
                    <a:lnTo>
                      <a:pt x="24" y="71"/>
                    </a:lnTo>
                    <a:lnTo>
                      <a:pt x="23" y="71"/>
                    </a:lnTo>
                    <a:lnTo>
                      <a:pt x="23" y="71"/>
                    </a:lnTo>
                    <a:lnTo>
                      <a:pt x="23" y="71"/>
                    </a:lnTo>
                    <a:lnTo>
                      <a:pt x="21" y="69"/>
                    </a:lnTo>
                    <a:lnTo>
                      <a:pt x="14" y="67"/>
                    </a:lnTo>
                    <a:lnTo>
                      <a:pt x="10" y="67"/>
                    </a:lnTo>
                    <a:lnTo>
                      <a:pt x="6" y="68"/>
                    </a:lnTo>
                    <a:lnTo>
                      <a:pt x="6" y="69"/>
                    </a:lnTo>
                    <a:lnTo>
                      <a:pt x="4" y="71"/>
                    </a:lnTo>
                    <a:lnTo>
                      <a:pt x="4" y="72"/>
                    </a:lnTo>
                    <a:lnTo>
                      <a:pt x="3" y="72"/>
                    </a:lnTo>
                    <a:lnTo>
                      <a:pt x="1" y="72"/>
                    </a:lnTo>
                    <a:lnTo>
                      <a:pt x="1" y="72"/>
                    </a:lnTo>
                    <a:lnTo>
                      <a:pt x="0" y="74"/>
                    </a:lnTo>
                    <a:lnTo>
                      <a:pt x="0" y="77"/>
                    </a:lnTo>
                    <a:lnTo>
                      <a:pt x="0" y="79"/>
                    </a:lnTo>
                    <a:lnTo>
                      <a:pt x="1" y="81"/>
                    </a:lnTo>
                    <a:lnTo>
                      <a:pt x="3" y="81"/>
                    </a:lnTo>
                    <a:lnTo>
                      <a:pt x="8" y="79"/>
                    </a:lnTo>
                    <a:lnTo>
                      <a:pt x="16" y="79"/>
                    </a:lnTo>
                    <a:lnTo>
                      <a:pt x="20" y="79"/>
                    </a:lnTo>
                    <a:lnTo>
                      <a:pt x="21" y="79"/>
                    </a:lnTo>
                    <a:lnTo>
                      <a:pt x="23" y="79"/>
                    </a:lnTo>
                    <a:lnTo>
                      <a:pt x="24" y="81"/>
                    </a:lnTo>
                    <a:lnTo>
                      <a:pt x="24" y="81"/>
                    </a:lnTo>
                    <a:lnTo>
                      <a:pt x="27" y="82"/>
                    </a:lnTo>
                    <a:lnTo>
                      <a:pt x="27" y="84"/>
                    </a:lnTo>
                    <a:lnTo>
                      <a:pt x="29" y="84"/>
                    </a:lnTo>
                    <a:lnTo>
                      <a:pt x="30" y="84"/>
                    </a:lnTo>
                    <a:lnTo>
                      <a:pt x="30" y="82"/>
                    </a:lnTo>
                    <a:lnTo>
                      <a:pt x="31" y="82"/>
                    </a:lnTo>
                    <a:lnTo>
                      <a:pt x="33" y="81"/>
                    </a:lnTo>
                    <a:lnTo>
                      <a:pt x="36" y="79"/>
                    </a:lnTo>
                    <a:lnTo>
                      <a:pt x="37" y="79"/>
                    </a:lnTo>
                    <a:lnTo>
                      <a:pt x="39" y="79"/>
                    </a:lnTo>
                    <a:lnTo>
                      <a:pt x="40" y="79"/>
                    </a:lnTo>
                    <a:lnTo>
                      <a:pt x="40" y="81"/>
                    </a:lnTo>
                    <a:lnTo>
                      <a:pt x="40" y="81"/>
                    </a:lnTo>
                    <a:lnTo>
                      <a:pt x="43" y="82"/>
                    </a:lnTo>
                    <a:lnTo>
                      <a:pt x="44" y="84"/>
                    </a:lnTo>
                    <a:lnTo>
                      <a:pt x="44" y="84"/>
                    </a:lnTo>
                    <a:lnTo>
                      <a:pt x="44" y="85"/>
                    </a:lnTo>
                    <a:lnTo>
                      <a:pt x="44" y="85"/>
                    </a:lnTo>
                    <a:lnTo>
                      <a:pt x="44" y="85"/>
                    </a:lnTo>
                    <a:lnTo>
                      <a:pt x="46" y="85"/>
                    </a:lnTo>
                    <a:lnTo>
                      <a:pt x="47" y="85"/>
                    </a:lnTo>
                    <a:lnTo>
                      <a:pt x="49" y="84"/>
                    </a:lnTo>
                    <a:lnTo>
                      <a:pt x="50" y="85"/>
                    </a:lnTo>
                    <a:lnTo>
                      <a:pt x="51" y="87"/>
                    </a:lnTo>
                    <a:lnTo>
                      <a:pt x="53" y="87"/>
                    </a:lnTo>
                    <a:lnTo>
                      <a:pt x="54" y="87"/>
                    </a:lnTo>
                    <a:lnTo>
                      <a:pt x="56" y="85"/>
                    </a:lnTo>
                    <a:lnTo>
                      <a:pt x="57" y="84"/>
                    </a:lnTo>
                    <a:lnTo>
                      <a:pt x="57" y="84"/>
                    </a:lnTo>
                    <a:lnTo>
                      <a:pt x="59" y="84"/>
                    </a:lnTo>
                    <a:lnTo>
                      <a:pt x="59" y="84"/>
                    </a:lnTo>
                    <a:lnTo>
                      <a:pt x="60" y="84"/>
                    </a:lnTo>
                    <a:lnTo>
                      <a:pt x="67" y="84"/>
                    </a:lnTo>
                    <a:lnTo>
                      <a:pt x="70" y="84"/>
                    </a:lnTo>
                    <a:lnTo>
                      <a:pt x="72" y="84"/>
                    </a:lnTo>
                    <a:lnTo>
                      <a:pt x="73" y="82"/>
                    </a:lnTo>
                    <a:lnTo>
                      <a:pt x="74" y="82"/>
                    </a:lnTo>
                    <a:lnTo>
                      <a:pt x="77" y="82"/>
                    </a:lnTo>
                    <a:lnTo>
                      <a:pt x="80" y="81"/>
                    </a:lnTo>
                    <a:lnTo>
                      <a:pt x="82" y="79"/>
                    </a:lnTo>
                    <a:lnTo>
                      <a:pt x="82" y="75"/>
                    </a:lnTo>
                    <a:lnTo>
                      <a:pt x="82" y="72"/>
                    </a:lnTo>
                    <a:lnTo>
                      <a:pt x="85" y="69"/>
                    </a:lnTo>
                    <a:lnTo>
                      <a:pt x="89" y="68"/>
                    </a:lnTo>
                    <a:lnTo>
                      <a:pt x="93" y="67"/>
                    </a:lnTo>
                    <a:lnTo>
                      <a:pt x="96" y="64"/>
                    </a:lnTo>
                    <a:lnTo>
                      <a:pt x="97" y="64"/>
                    </a:lnTo>
                    <a:lnTo>
                      <a:pt x="97" y="64"/>
                    </a:lnTo>
                    <a:lnTo>
                      <a:pt x="99" y="64"/>
                    </a:lnTo>
                    <a:lnTo>
                      <a:pt x="99" y="64"/>
                    </a:lnTo>
                    <a:lnTo>
                      <a:pt x="99" y="62"/>
                    </a:lnTo>
                    <a:lnTo>
                      <a:pt x="97" y="62"/>
                    </a:lnTo>
                    <a:lnTo>
                      <a:pt x="97" y="62"/>
                    </a:lnTo>
                    <a:lnTo>
                      <a:pt x="97" y="62"/>
                    </a:lnTo>
                    <a:lnTo>
                      <a:pt x="97" y="61"/>
                    </a:lnTo>
                    <a:lnTo>
                      <a:pt x="97" y="61"/>
                    </a:lnTo>
                    <a:lnTo>
                      <a:pt x="99" y="61"/>
                    </a:lnTo>
                    <a:lnTo>
                      <a:pt x="100" y="61"/>
                    </a:lnTo>
                    <a:lnTo>
                      <a:pt x="103" y="61"/>
                    </a:lnTo>
                    <a:lnTo>
                      <a:pt x="105" y="61"/>
                    </a:lnTo>
                    <a:lnTo>
                      <a:pt x="107" y="59"/>
                    </a:lnTo>
                    <a:lnTo>
                      <a:pt x="109" y="58"/>
                    </a:lnTo>
                    <a:lnTo>
                      <a:pt x="110" y="58"/>
                    </a:lnTo>
                    <a:lnTo>
                      <a:pt x="112" y="58"/>
                    </a:lnTo>
                    <a:lnTo>
                      <a:pt x="112" y="59"/>
                    </a:lnTo>
                    <a:lnTo>
                      <a:pt x="113" y="62"/>
                    </a:lnTo>
                    <a:lnTo>
                      <a:pt x="113" y="64"/>
                    </a:lnTo>
                    <a:lnTo>
                      <a:pt x="116" y="64"/>
                    </a:lnTo>
                    <a:lnTo>
                      <a:pt x="118" y="64"/>
                    </a:lnTo>
                    <a:lnTo>
                      <a:pt x="120" y="64"/>
                    </a:lnTo>
                    <a:lnTo>
                      <a:pt x="122" y="62"/>
                    </a:lnTo>
                    <a:lnTo>
                      <a:pt x="123" y="62"/>
                    </a:lnTo>
                    <a:lnTo>
                      <a:pt x="125" y="62"/>
                    </a:lnTo>
                    <a:lnTo>
                      <a:pt x="126" y="62"/>
                    </a:lnTo>
                    <a:lnTo>
                      <a:pt x="128" y="61"/>
                    </a:lnTo>
                    <a:lnTo>
                      <a:pt x="129" y="58"/>
                    </a:lnTo>
                    <a:lnTo>
                      <a:pt x="130" y="54"/>
                    </a:lnTo>
                    <a:lnTo>
                      <a:pt x="132" y="51"/>
                    </a:lnTo>
                    <a:lnTo>
                      <a:pt x="136" y="48"/>
                    </a:lnTo>
                    <a:lnTo>
                      <a:pt x="138" y="48"/>
                    </a:lnTo>
                    <a:lnTo>
                      <a:pt x="145" y="49"/>
                    </a:lnTo>
                    <a:lnTo>
                      <a:pt x="149" y="49"/>
                    </a:lnTo>
                    <a:lnTo>
                      <a:pt x="152" y="48"/>
                    </a:lnTo>
                    <a:lnTo>
                      <a:pt x="156" y="46"/>
                    </a:lnTo>
                    <a:lnTo>
                      <a:pt x="159" y="44"/>
                    </a:lnTo>
                    <a:lnTo>
                      <a:pt x="162" y="41"/>
                    </a:lnTo>
                    <a:lnTo>
                      <a:pt x="165" y="38"/>
                    </a:lnTo>
                    <a:lnTo>
                      <a:pt x="174" y="33"/>
                    </a:lnTo>
                    <a:lnTo>
                      <a:pt x="184" y="31"/>
                    </a:lnTo>
                    <a:lnTo>
                      <a:pt x="186" y="28"/>
                    </a:lnTo>
                    <a:lnTo>
                      <a:pt x="188" y="26"/>
                    </a:lnTo>
                    <a:lnTo>
                      <a:pt x="191" y="26"/>
                    </a:lnTo>
                    <a:lnTo>
                      <a:pt x="192" y="26"/>
                    </a:lnTo>
                    <a:lnTo>
                      <a:pt x="194" y="25"/>
                    </a:lnTo>
                    <a:lnTo>
                      <a:pt x="192" y="23"/>
                    </a:lnTo>
                    <a:lnTo>
                      <a:pt x="189" y="19"/>
                    </a:lnTo>
                    <a:lnTo>
                      <a:pt x="188" y="18"/>
                    </a:lnTo>
                    <a:close/>
                    <a:moveTo>
                      <a:pt x="24" y="75"/>
                    </a:moveTo>
                    <a:lnTo>
                      <a:pt x="23" y="75"/>
                    </a:lnTo>
                    <a:lnTo>
                      <a:pt x="23" y="74"/>
                    </a:lnTo>
                    <a:lnTo>
                      <a:pt x="21" y="74"/>
                    </a:lnTo>
                    <a:lnTo>
                      <a:pt x="23" y="74"/>
                    </a:lnTo>
                    <a:lnTo>
                      <a:pt x="24" y="74"/>
                    </a:lnTo>
                    <a:lnTo>
                      <a:pt x="26" y="74"/>
                    </a:lnTo>
                    <a:lnTo>
                      <a:pt x="26" y="74"/>
                    </a:lnTo>
                    <a:lnTo>
                      <a:pt x="24" y="75"/>
                    </a:lnTo>
                    <a:close/>
                    <a:moveTo>
                      <a:pt x="34" y="71"/>
                    </a:moveTo>
                    <a:lnTo>
                      <a:pt x="34" y="72"/>
                    </a:lnTo>
                    <a:lnTo>
                      <a:pt x="33" y="74"/>
                    </a:lnTo>
                    <a:lnTo>
                      <a:pt x="31" y="72"/>
                    </a:lnTo>
                    <a:lnTo>
                      <a:pt x="31" y="71"/>
                    </a:lnTo>
                    <a:lnTo>
                      <a:pt x="31" y="71"/>
                    </a:lnTo>
                    <a:lnTo>
                      <a:pt x="30" y="69"/>
                    </a:lnTo>
                    <a:lnTo>
                      <a:pt x="30" y="68"/>
                    </a:lnTo>
                    <a:lnTo>
                      <a:pt x="31" y="68"/>
                    </a:lnTo>
                    <a:lnTo>
                      <a:pt x="33" y="69"/>
                    </a:lnTo>
                    <a:lnTo>
                      <a:pt x="34" y="69"/>
                    </a:lnTo>
                    <a:lnTo>
                      <a:pt x="36" y="69"/>
                    </a:lnTo>
                    <a:lnTo>
                      <a:pt x="34" y="71"/>
                    </a:lnTo>
                    <a:close/>
                    <a:moveTo>
                      <a:pt x="44" y="72"/>
                    </a:moveTo>
                    <a:lnTo>
                      <a:pt x="44" y="72"/>
                    </a:lnTo>
                    <a:lnTo>
                      <a:pt x="44" y="72"/>
                    </a:lnTo>
                    <a:lnTo>
                      <a:pt x="43" y="72"/>
                    </a:lnTo>
                    <a:lnTo>
                      <a:pt x="43" y="71"/>
                    </a:lnTo>
                    <a:lnTo>
                      <a:pt x="44" y="71"/>
                    </a:lnTo>
                    <a:lnTo>
                      <a:pt x="44" y="71"/>
                    </a:lnTo>
                    <a:lnTo>
                      <a:pt x="44" y="71"/>
                    </a:lnTo>
                    <a:lnTo>
                      <a:pt x="44" y="7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63" name="Freeform 159">
                <a:extLst>
                  <a:ext uri="{FF2B5EF4-FFF2-40B4-BE49-F238E27FC236}">
                    <a16:creationId xmlns:a16="http://schemas.microsoft.com/office/drawing/2014/main" id="{DF3F69CE-4D44-6A9D-8898-5363E4785E1D}"/>
                  </a:ext>
                </a:extLst>
              </p:cNvPr>
              <p:cNvSpPr>
                <a:spLocks noEditPoints="1"/>
              </p:cNvSpPr>
              <p:nvPr/>
            </p:nvSpPr>
            <p:spPr bwMode="auto">
              <a:xfrm>
                <a:off x="8780749" y="4317754"/>
                <a:ext cx="83866" cy="36149"/>
              </a:xfrm>
              <a:custGeom>
                <a:avLst/>
                <a:gdLst>
                  <a:gd name="T0" fmla="*/ 2 w 58"/>
                  <a:gd name="T1" fmla="*/ 23 h 25"/>
                  <a:gd name="T2" fmla="*/ 0 w 58"/>
                  <a:gd name="T3" fmla="*/ 22 h 25"/>
                  <a:gd name="T4" fmla="*/ 2 w 58"/>
                  <a:gd name="T5" fmla="*/ 20 h 25"/>
                  <a:gd name="T6" fmla="*/ 5 w 58"/>
                  <a:gd name="T7" fmla="*/ 20 h 25"/>
                  <a:gd name="T8" fmla="*/ 8 w 58"/>
                  <a:gd name="T9" fmla="*/ 19 h 25"/>
                  <a:gd name="T10" fmla="*/ 6 w 58"/>
                  <a:gd name="T11" fmla="*/ 22 h 25"/>
                  <a:gd name="T12" fmla="*/ 5 w 58"/>
                  <a:gd name="T13" fmla="*/ 23 h 25"/>
                  <a:gd name="T14" fmla="*/ 2 w 58"/>
                  <a:gd name="T15" fmla="*/ 23 h 25"/>
                  <a:gd name="T16" fmla="*/ 28 w 58"/>
                  <a:gd name="T17" fmla="*/ 19 h 25"/>
                  <a:gd name="T18" fmla="*/ 48 w 58"/>
                  <a:gd name="T19" fmla="*/ 12 h 25"/>
                  <a:gd name="T20" fmla="*/ 54 w 58"/>
                  <a:gd name="T21" fmla="*/ 9 h 25"/>
                  <a:gd name="T22" fmla="*/ 58 w 58"/>
                  <a:gd name="T23" fmla="*/ 6 h 25"/>
                  <a:gd name="T24" fmla="*/ 56 w 58"/>
                  <a:gd name="T25" fmla="*/ 5 h 25"/>
                  <a:gd name="T26" fmla="*/ 54 w 58"/>
                  <a:gd name="T27" fmla="*/ 5 h 25"/>
                  <a:gd name="T28" fmla="*/ 52 w 58"/>
                  <a:gd name="T29" fmla="*/ 5 h 25"/>
                  <a:gd name="T30" fmla="*/ 41 w 58"/>
                  <a:gd name="T31" fmla="*/ 6 h 25"/>
                  <a:gd name="T32" fmla="*/ 31 w 58"/>
                  <a:gd name="T33" fmla="*/ 7 h 25"/>
                  <a:gd name="T34" fmla="*/ 28 w 58"/>
                  <a:gd name="T35" fmla="*/ 7 h 25"/>
                  <a:gd name="T36" fmla="*/ 25 w 58"/>
                  <a:gd name="T37" fmla="*/ 7 h 25"/>
                  <a:gd name="T38" fmla="*/ 22 w 58"/>
                  <a:gd name="T39" fmla="*/ 9 h 25"/>
                  <a:gd name="T40" fmla="*/ 21 w 58"/>
                  <a:gd name="T41" fmla="*/ 10 h 25"/>
                  <a:gd name="T42" fmla="*/ 18 w 58"/>
                  <a:gd name="T43" fmla="*/ 13 h 25"/>
                  <a:gd name="T44" fmla="*/ 16 w 58"/>
                  <a:gd name="T45" fmla="*/ 15 h 25"/>
                  <a:gd name="T46" fmla="*/ 16 w 58"/>
                  <a:gd name="T47" fmla="*/ 16 h 25"/>
                  <a:gd name="T48" fmla="*/ 19 w 58"/>
                  <a:gd name="T49" fmla="*/ 16 h 25"/>
                  <a:gd name="T50" fmla="*/ 21 w 58"/>
                  <a:gd name="T51" fmla="*/ 16 h 25"/>
                  <a:gd name="T52" fmla="*/ 19 w 58"/>
                  <a:gd name="T53" fmla="*/ 19 h 25"/>
                  <a:gd name="T54" fmla="*/ 19 w 58"/>
                  <a:gd name="T55" fmla="*/ 19 h 25"/>
                  <a:gd name="T56" fmla="*/ 18 w 58"/>
                  <a:gd name="T57" fmla="*/ 19 h 25"/>
                  <a:gd name="T58" fmla="*/ 18 w 58"/>
                  <a:gd name="T59" fmla="*/ 20 h 25"/>
                  <a:gd name="T60" fmla="*/ 18 w 58"/>
                  <a:gd name="T61" fmla="*/ 20 h 25"/>
                  <a:gd name="T62" fmla="*/ 18 w 58"/>
                  <a:gd name="T63" fmla="*/ 22 h 25"/>
                  <a:gd name="T64" fmla="*/ 19 w 58"/>
                  <a:gd name="T65" fmla="*/ 23 h 25"/>
                  <a:gd name="T66" fmla="*/ 19 w 58"/>
                  <a:gd name="T67" fmla="*/ 25 h 25"/>
                  <a:gd name="T68" fmla="*/ 23 w 58"/>
                  <a:gd name="T69" fmla="*/ 22 h 25"/>
                  <a:gd name="T70" fmla="*/ 28 w 58"/>
                  <a:gd name="T71" fmla="*/ 19 h 25"/>
                  <a:gd name="T72" fmla="*/ 28 w 58"/>
                  <a:gd name="T73" fmla="*/ 2 h 25"/>
                  <a:gd name="T74" fmla="*/ 28 w 58"/>
                  <a:gd name="T75" fmla="*/ 0 h 25"/>
                  <a:gd name="T76" fmla="*/ 29 w 58"/>
                  <a:gd name="T77" fmla="*/ 0 h 25"/>
                  <a:gd name="T78" fmla="*/ 29 w 58"/>
                  <a:gd name="T79" fmla="*/ 2 h 25"/>
                  <a:gd name="T80" fmla="*/ 28 w 58"/>
                  <a:gd name="T81" fmla="*/ 2 h 25"/>
                  <a:gd name="T82" fmla="*/ 28 w 58"/>
                  <a:gd name="T83" fmla="*/ 3 h 25"/>
                  <a:gd name="T84" fmla="*/ 26 w 58"/>
                  <a:gd name="T85" fmla="*/ 3 h 25"/>
                  <a:gd name="T86" fmla="*/ 26 w 58"/>
                  <a:gd name="T87" fmla="*/ 2 h 25"/>
                  <a:gd name="T88" fmla="*/ 28 w 58"/>
                  <a:gd name="T89"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25">
                    <a:moveTo>
                      <a:pt x="2" y="23"/>
                    </a:moveTo>
                    <a:lnTo>
                      <a:pt x="0" y="22"/>
                    </a:lnTo>
                    <a:lnTo>
                      <a:pt x="2" y="20"/>
                    </a:lnTo>
                    <a:lnTo>
                      <a:pt x="5" y="20"/>
                    </a:lnTo>
                    <a:lnTo>
                      <a:pt x="8" y="19"/>
                    </a:lnTo>
                    <a:lnTo>
                      <a:pt x="6" y="22"/>
                    </a:lnTo>
                    <a:lnTo>
                      <a:pt x="5" y="23"/>
                    </a:lnTo>
                    <a:lnTo>
                      <a:pt x="2" y="23"/>
                    </a:lnTo>
                    <a:close/>
                    <a:moveTo>
                      <a:pt x="28" y="19"/>
                    </a:moveTo>
                    <a:lnTo>
                      <a:pt x="48" y="12"/>
                    </a:lnTo>
                    <a:lnTo>
                      <a:pt x="54" y="9"/>
                    </a:lnTo>
                    <a:lnTo>
                      <a:pt x="58" y="6"/>
                    </a:lnTo>
                    <a:lnTo>
                      <a:pt x="56" y="5"/>
                    </a:lnTo>
                    <a:lnTo>
                      <a:pt x="54" y="5"/>
                    </a:lnTo>
                    <a:lnTo>
                      <a:pt x="52" y="5"/>
                    </a:lnTo>
                    <a:lnTo>
                      <a:pt x="41" y="6"/>
                    </a:lnTo>
                    <a:lnTo>
                      <a:pt x="31" y="7"/>
                    </a:lnTo>
                    <a:lnTo>
                      <a:pt x="28" y="7"/>
                    </a:lnTo>
                    <a:lnTo>
                      <a:pt x="25" y="7"/>
                    </a:lnTo>
                    <a:lnTo>
                      <a:pt x="22" y="9"/>
                    </a:lnTo>
                    <a:lnTo>
                      <a:pt x="21" y="10"/>
                    </a:lnTo>
                    <a:lnTo>
                      <a:pt x="18" y="13"/>
                    </a:lnTo>
                    <a:lnTo>
                      <a:pt x="16" y="15"/>
                    </a:lnTo>
                    <a:lnTo>
                      <a:pt x="16" y="16"/>
                    </a:lnTo>
                    <a:lnTo>
                      <a:pt x="19" y="16"/>
                    </a:lnTo>
                    <a:lnTo>
                      <a:pt x="21" y="16"/>
                    </a:lnTo>
                    <a:lnTo>
                      <a:pt x="19" y="19"/>
                    </a:lnTo>
                    <a:lnTo>
                      <a:pt x="19" y="19"/>
                    </a:lnTo>
                    <a:lnTo>
                      <a:pt x="18" y="19"/>
                    </a:lnTo>
                    <a:lnTo>
                      <a:pt x="18" y="20"/>
                    </a:lnTo>
                    <a:lnTo>
                      <a:pt x="18" y="20"/>
                    </a:lnTo>
                    <a:lnTo>
                      <a:pt x="18" y="22"/>
                    </a:lnTo>
                    <a:lnTo>
                      <a:pt x="19" y="23"/>
                    </a:lnTo>
                    <a:lnTo>
                      <a:pt x="19" y="25"/>
                    </a:lnTo>
                    <a:lnTo>
                      <a:pt x="23" y="22"/>
                    </a:lnTo>
                    <a:lnTo>
                      <a:pt x="28" y="19"/>
                    </a:lnTo>
                    <a:close/>
                    <a:moveTo>
                      <a:pt x="28" y="2"/>
                    </a:moveTo>
                    <a:lnTo>
                      <a:pt x="28" y="0"/>
                    </a:lnTo>
                    <a:lnTo>
                      <a:pt x="29" y="0"/>
                    </a:lnTo>
                    <a:lnTo>
                      <a:pt x="29" y="2"/>
                    </a:lnTo>
                    <a:lnTo>
                      <a:pt x="28" y="2"/>
                    </a:lnTo>
                    <a:lnTo>
                      <a:pt x="28" y="3"/>
                    </a:lnTo>
                    <a:lnTo>
                      <a:pt x="26" y="3"/>
                    </a:lnTo>
                    <a:lnTo>
                      <a:pt x="26" y="2"/>
                    </a:lnTo>
                    <a:lnTo>
                      <a:pt x="28"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56" name="Freeform 160">
                <a:extLst>
                  <a:ext uri="{FF2B5EF4-FFF2-40B4-BE49-F238E27FC236}">
                    <a16:creationId xmlns:a16="http://schemas.microsoft.com/office/drawing/2014/main" id="{190B4BCA-F2A5-235A-5CB2-8D0A29DF46C5}"/>
                  </a:ext>
                </a:extLst>
              </p:cNvPr>
              <p:cNvSpPr>
                <a:spLocks/>
              </p:cNvSpPr>
              <p:nvPr/>
            </p:nvSpPr>
            <p:spPr bwMode="auto">
              <a:xfrm>
                <a:off x="8513247" y="353115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57" name="Freeform 161">
                <a:extLst>
                  <a:ext uri="{FF2B5EF4-FFF2-40B4-BE49-F238E27FC236}">
                    <a16:creationId xmlns:a16="http://schemas.microsoft.com/office/drawing/2014/main" id="{DB2AB40B-36CA-5747-359A-CBB447BF6F9C}"/>
                  </a:ext>
                </a:extLst>
              </p:cNvPr>
              <p:cNvSpPr>
                <a:spLocks/>
              </p:cNvSpPr>
              <p:nvPr/>
            </p:nvSpPr>
            <p:spPr bwMode="auto">
              <a:xfrm>
                <a:off x="7859673" y="2607183"/>
                <a:ext cx="818413" cy="365828"/>
              </a:xfrm>
              <a:custGeom>
                <a:avLst/>
                <a:gdLst>
                  <a:gd name="T0" fmla="*/ 541 w 566"/>
                  <a:gd name="T1" fmla="*/ 108 h 253"/>
                  <a:gd name="T2" fmla="*/ 514 w 566"/>
                  <a:gd name="T3" fmla="*/ 111 h 253"/>
                  <a:gd name="T4" fmla="*/ 491 w 566"/>
                  <a:gd name="T5" fmla="*/ 111 h 253"/>
                  <a:gd name="T6" fmla="*/ 494 w 566"/>
                  <a:gd name="T7" fmla="*/ 91 h 253"/>
                  <a:gd name="T8" fmla="*/ 498 w 566"/>
                  <a:gd name="T9" fmla="*/ 56 h 253"/>
                  <a:gd name="T10" fmla="*/ 484 w 566"/>
                  <a:gd name="T11" fmla="*/ 58 h 253"/>
                  <a:gd name="T12" fmla="*/ 462 w 566"/>
                  <a:gd name="T13" fmla="*/ 51 h 253"/>
                  <a:gd name="T14" fmla="*/ 444 w 566"/>
                  <a:gd name="T15" fmla="*/ 67 h 253"/>
                  <a:gd name="T16" fmla="*/ 426 w 566"/>
                  <a:gd name="T17" fmla="*/ 71 h 253"/>
                  <a:gd name="T18" fmla="*/ 405 w 566"/>
                  <a:gd name="T19" fmla="*/ 78 h 253"/>
                  <a:gd name="T20" fmla="*/ 380 w 566"/>
                  <a:gd name="T21" fmla="*/ 74 h 253"/>
                  <a:gd name="T22" fmla="*/ 357 w 566"/>
                  <a:gd name="T23" fmla="*/ 68 h 253"/>
                  <a:gd name="T24" fmla="*/ 353 w 566"/>
                  <a:gd name="T25" fmla="*/ 58 h 253"/>
                  <a:gd name="T26" fmla="*/ 330 w 566"/>
                  <a:gd name="T27" fmla="*/ 48 h 253"/>
                  <a:gd name="T28" fmla="*/ 307 w 566"/>
                  <a:gd name="T29" fmla="*/ 45 h 253"/>
                  <a:gd name="T30" fmla="*/ 293 w 566"/>
                  <a:gd name="T31" fmla="*/ 48 h 253"/>
                  <a:gd name="T32" fmla="*/ 283 w 566"/>
                  <a:gd name="T33" fmla="*/ 52 h 253"/>
                  <a:gd name="T34" fmla="*/ 271 w 566"/>
                  <a:gd name="T35" fmla="*/ 49 h 253"/>
                  <a:gd name="T36" fmla="*/ 255 w 566"/>
                  <a:gd name="T37" fmla="*/ 42 h 253"/>
                  <a:gd name="T38" fmla="*/ 254 w 566"/>
                  <a:gd name="T39" fmla="*/ 32 h 253"/>
                  <a:gd name="T40" fmla="*/ 253 w 566"/>
                  <a:gd name="T41" fmla="*/ 21 h 253"/>
                  <a:gd name="T42" fmla="*/ 224 w 566"/>
                  <a:gd name="T43" fmla="*/ 10 h 253"/>
                  <a:gd name="T44" fmla="*/ 199 w 566"/>
                  <a:gd name="T45" fmla="*/ 3 h 253"/>
                  <a:gd name="T46" fmla="*/ 185 w 566"/>
                  <a:gd name="T47" fmla="*/ 12 h 253"/>
                  <a:gd name="T48" fmla="*/ 178 w 566"/>
                  <a:gd name="T49" fmla="*/ 23 h 253"/>
                  <a:gd name="T50" fmla="*/ 181 w 566"/>
                  <a:gd name="T51" fmla="*/ 39 h 253"/>
                  <a:gd name="T52" fmla="*/ 181 w 566"/>
                  <a:gd name="T53" fmla="*/ 55 h 253"/>
                  <a:gd name="T54" fmla="*/ 172 w 566"/>
                  <a:gd name="T55" fmla="*/ 59 h 253"/>
                  <a:gd name="T56" fmla="*/ 162 w 566"/>
                  <a:gd name="T57" fmla="*/ 59 h 253"/>
                  <a:gd name="T58" fmla="*/ 143 w 566"/>
                  <a:gd name="T59" fmla="*/ 56 h 253"/>
                  <a:gd name="T60" fmla="*/ 135 w 566"/>
                  <a:gd name="T61" fmla="*/ 58 h 253"/>
                  <a:gd name="T62" fmla="*/ 128 w 566"/>
                  <a:gd name="T63" fmla="*/ 56 h 253"/>
                  <a:gd name="T64" fmla="*/ 118 w 566"/>
                  <a:gd name="T65" fmla="*/ 52 h 253"/>
                  <a:gd name="T66" fmla="*/ 105 w 566"/>
                  <a:gd name="T67" fmla="*/ 41 h 253"/>
                  <a:gd name="T68" fmla="*/ 90 w 566"/>
                  <a:gd name="T69" fmla="*/ 35 h 253"/>
                  <a:gd name="T70" fmla="*/ 82 w 566"/>
                  <a:gd name="T71" fmla="*/ 35 h 253"/>
                  <a:gd name="T72" fmla="*/ 72 w 566"/>
                  <a:gd name="T73" fmla="*/ 38 h 253"/>
                  <a:gd name="T74" fmla="*/ 64 w 566"/>
                  <a:gd name="T75" fmla="*/ 42 h 253"/>
                  <a:gd name="T76" fmla="*/ 56 w 566"/>
                  <a:gd name="T77" fmla="*/ 46 h 253"/>
                  <a:gd name="T78" fmla="*/ 49 w 566"/>
                  <a:gd name="T79" fmla="*/ 51 h 253"/>
                  <a:gd name="T80" fmla="*/ 39 w 566"/>
                  <a:gd name="T81" fmla="*/ 56 h 253"/>
                  <a:gd name="T82" fmla="*/ 33 w 566"/>
                  <a:gd name="T83" fmla="*/ 59 h 253"/>
                  <a:gd name="T84" fmla="*/ 29 w 566"/>
                  <a:gd name="T85" fmla="*/ 67 h 253"/>
                  <a:gd name="T86" fmla="*/ 24 w 566"/>
                  <a:gd name="T87" fmla="*/ 69 h 253"/>
                  <a:gd name="T88" fmla="*/ 18 w 566"/>
                  <a:gd name="T89" fmla="*/ 71 h 253"/>
                  <a:gd name="T90" fmla="*/ 8 w 566"/>
                  <a:gd name="T91" fmla="*/ 69 h 253"/>
                  <a:gd name="T92" fmla="*/ 1 w 566"/>
                  <a:gd name="T93" fmla="*/ 78 h 253"/>
                  <a:gd name="T94" fmla="*/ 4 w 566"/>
                  <a:gd name="T95" fmla="*/ 88 h 253"/>
                  <a:gd name="T96" fmla="*/ 21 w 566"/>
                  <a:gd name="T97" fmla="*/ 105 h 253"/>
                  <a:gd name="T98" fmla="*/ 43 w 566"/>
                  <a:gd name="T99" fmla="*/ 114 h 253"/>
                  <a:gd name="T100" fmla="*/ 56 w 566"/>
                  <a:gd name="T101" fmla="*/ 150 h 253"/>
                  <a:gd name="T102" fmla="*/ 64 w 566"/>
                  <a:gd name="T103" fmla="*/ 174 h 253"/>
                  <a:gd name="T104" fmla="*/ 120 w 566"/>
                  <a:gd name="T105" fmla="*/ 190 h 253"/>
                  <a:gd name="T106" fmla="*/ 138 w 566"/>
                  <a:gd name="T107" fmla="*/ 202 h 253"/>
                  <a:gd name="T108" fmla="*/ 152 w 566"/>
                  <a:gd name="T109" fmla="*/ 227 h 253"/>
                  <a:gd name="T110" fmla="*/ 253 w 566"/>
                  <a:gd name="T111" fmla="*/ 240 h 253"/>
                  <a:gd name="T112" fmla="*/ 303 w 566"/>
                  <a:gd name="T113" fmla="*/ 253 h 253"/>
                  <a:gd name="T114" fmla="*/ 399 w 566"/>
                  <a:gd name="T115" fmla="*/ 226 h 253"/>
                  <a:gd name="T116" fmla="*/ 421 w 566"/>
                  <a:gd name="T117" fmla="*/ 180 h 253"/>
                  <a:gd name="T118" fmla="*/ 461 w 566"/>
                  <a:gd name="T119" fmla="*/ 179 h 253"/>
                  <a:gd name="T120" fmla="*/ 497 w 566"/>
                  <a:gd name="T121" fmla="*/ 161 h 253"/>
                  <a:gd name="T122" fmla="*/ 520 w 566"/>
                  <a:gd name="T123" fmla="*/ 144 h 253"/>
                  <a:gd name="T124" fmla="*/ 533 w 566"/>
                  <a:gd name="T125" fmla="*/ 13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253">
                    <a:moveTo>
                      <a:pt x="563" y="130"/>
                    </a:moveTo>
                    <a:lnTo>
                      <a:pt x="558" y="124"/>
                    </a:lnTo>
                    <a:lnTo>
                      <a:pt x="556" y="121"/>
                    </a:lnTo>
                    <a:lnTo>
                      <a:pt x="554" y="120"/>
                    </a:lnTo>
                    <a:lnTo>
                      <a:pt x="551" y="115"/>
                    </a:lnTo>
                    <a:lnTo>
                      <a:pt x="550" y="115"/>
                    </a:lnTo>
                    <a:lnTo>
                      <a:pt x="550" y="114"/>
                    </a:lnTo>
                    <a:lnTo>
                      <a:pt x="547" y="114"/>
                    </a:lnTo>
                    <a:lnTo>
                      <a:pt x="547" y="113"/>
                    </a:lnTo>
                    <a:lnTo>
                      <a:pt x="546" y="111"/>
                    </a:lnTo>
                    <a:lnTo>
                      <a:pt x="543" y="110"/>
                    </a:lnTo>
                    <a:lnTo>
                      <a:pt x="541" y="108"/>
                    </a:lnTo>
                    <a:lnTo>
                      <a:pt x="538" y="107"/>
                    </a:lnTo>
                    <a:lnTo>
                      <a:pt x="535" y="105"/>
                    </a:lnTo>
                    <a:lnTo>
                      <a:pt x="533" y="105"/>
                    </a:lnTo>
                    <a:lnTo>
                      <a:pt x="530" y="107"/>
                    </a:lnTo>
                    <a:lnTo>
                      <a:pt x="528" y="107"/>
                    </a:lnTo>
                    <a:lnTo>
                      <a:pt x="527" y="107"/>
                    </a:lnTo>
                    <a:lnTo>
                      <a:pt x="527" y="108"/>
                    </a:lnTo>
                    <a:lnTo>
                      <a:pt x="525" y="110"/>
                    </a:lnTo>
                    <a:lnTo>
                      <a:pt x="521" y="114"/>
                    </a:lnTo>
                    <a:lnTo>
                      <a:pt x="521" y="114"/>
                    </a:lnTo>
                    <a:lnTo>
                      <a:pt x="518" y="114"/>
                    </a:lnTo>
                    <a:lnTo>
                      <a:pt x="514" y="111"/>
                    </a:lnTo>
                    <a:lnTo>
                      <a:pt x="511" y="110"/>
                    </a:lnTo>
                    <a:lnTo>
                      <a:pt x="508" y="110"/>
                    </a:lnTo>
                    <a:lnTo>
                      <a:pt x="505" y="110"/>
                    </a:lnTo>
                    <a:lnTo>
                      <a:pt x="502" y="110"/>
                    </a:lnTo>
                    <a:lnTo>
                      <a:pt x="500" y="110"/>
                    </a:lnTo>
                    <a:lnTo>
                      <a:pt x="498" y="111"/>
                    </a:lnTo>
                    <a:lnTo>
                      <a:pt x="497" y="113"/>
                    </a:lnTo>
                    <a:lnTo>
                      <a:pt x="495" y="114"/>
                    </a:lnTo>
                    <a:lnTo>
                      <a:pt x="494" y="114"/>
                    </a:lnTo>
                    <a:lnTo>
                      <a:pt x="494" y="114"/>
                    </a:lnTo>
                    <a:lnTo>
                      <a:pt x="492" y="113"/>
                    </a:lnTo>
                    <a:lnTo>
                      <a:pt x="491" y="111"/>
                    </a:lnTo>
                    <a:lnTo>
                      <a:pt x="490" y="110"/>
                    </a:lnTo>
                    <a:lnTo>
                      <a:pt x="490" y="108"/>
                    </a:lnTo>
                    <a:lnTo>
                      <a:pt x="488" y="107"/>
                    </a:lnTo>
                    <a:lnTo>
                      <a:pt x="488" y="105"/>
                    </a:lnTo>
                    <a:lnTo>
                      <a:pt x="488" y="104"/>
                    </a:lnTo>
                    <a:lnTo>
                      <a:pt x="490" y="102"/>
                    </a:lnTo>
                    <a:lnTo>
                      <a:pt x="491" y="101"/>
                    </a:lnTo>
                    <a:lnTo>
                      <a:pt x="492" y="100"/>
                    </a:lnTo>
                    <a:lnTo>
                      <a:pt x="492" y="98"/>
                    </a:lnTo>
                    <a:lnTo>
                      <a:pt x="492" y="94"/>
                    </a:lnTo>
                    <a:lnTo>
                      <a:pt x="492" y="92"/>
                    </a:lnTo>
                    <a:lnTo>
                      <a:pt x="494" y="91"/>
                    </a:lnTo>
                    <a:lnTo>
                      <a:pt x="495" y="88"/>
                    </a:lnTo>
                    <a:lnTo>
                      <a:pt x="497" y="87"/>
                    </a:lnTo>
                    <a:lnTo>
                      <a:pt x="508" y="61"/>
                    </a:lnTo>
                    <a:lnTo>
                      <a:pt x="507" y="59"/>
                    </a:lnTo>
                    <a:lnTo>
                      <a:pt x="507" y="59"/>
                    </a:lnTo>
                    <a:lnTo>
                      <a:pt x="505" y="58"/>
                    </a:lnTo>
                    <a:lnTo>
                      <a:pt x="505" y="58"/>
                    </a:lnTo>
                    <a:lnTo>
                      <a:pt x="504" y="58"/>
                    </a:lnTo>
                    <a:lnTo>
                      <a:pt x="502" y="56"/>
                    </a:lnTo>
                    <a:lnTo>
                      <a:pt x="500" y="56"/>
                    </a:lnTo>
                    <a:lnTo>
                      <a:pt x="498" y="56"/>
                    </a:lnTo>
                    <a:lnTo>
                      <a:pt x="498" y="56"/>
                    </a:lnTo>
                    <a:lnTo>
                      <a:pt x="495" y="58"/>
                    </a:lnTo>
                    <a:lnTo>
                      <a:pt x="492" y="59"/>
                    </a:lnTo>
                    <a:lnTo>
                      <a:pt x="491" y="59"/>
                    </a:lnTo>
                    <a:lnTo>
                      <a:pt x="490" y="59"/>
                    </a:lnTo>
                    <a:lnTo>
                      <a:pt x="490" y="59"/>
                    </a:lnTo>
                    <a:lnTo>
                      <a:pt x="488" y="59"/>
                    </a:lnTo>
                    <a:lnTo>
                      <a:pt x="487" y="59"/>
                    </a:lnTo>
                    <a:lnTo>
                      <a:pt x="485" y="59"/>
                    </a:lnTo>
                    <a:lnTo>
                      <a:pt x="485" y="58"/>
                    </a:lnTo>
                    <a:lnTo>
                      <a:pt x="484" y="58"/>
                    </a:lnTo>
                    <a:lnTo>
                      <a:pt x="484" y="58"/>
                    </a:lnTo>
                    <a:lnTo>
                      <a:pt x="484" y="58"/>
                    </a:lnTo>
                    <a:lnTo>
                      <a:pt x="482" y="56"/>
                    </a:lnTo>
                    <a:lnTo>
                      <a:pt x="482" y="56"/>
                    </a:lnTo>
                    <a:lnTo>
                      <a:pt x="481" y="55"/>
                    </a:lnTo>
                    <a:lnTo>
                      <a:pt x="478" y="52"/>
                    </a:lnTo>
                    <a:lnTo>
                      <a:pt x="477" y="52"/>
                    </a:lnTo>
                    <a:lnTo>
                      <a:pt x="474" y="51"/>
                    </a:lnTo>
                    <a:lnTo>
                      <a:pt x="472" y="51"/>
                    </a:lnTo>
                    <a:lnTo>
                      <a:pt x="469" y="49"/>
                    </a:lnTo>
                    <a:lnTo>
                      <a:pt x="468" y="49"/>
                    </a:lnTo>
                    <a:lnTo>
                      <a:pt x="465" y="49"/>
                    </a:lnTo>
                    <a:lnTo>
                      <a:pt x="464" y="49"/>
                    </a:lnTo>
                    <a:lnTo>
                      <a:pt x="462" y="51"/>
                    </a:lnTo>
                    <a:lnTo>
                      <a:pt x="461" y="52"/>
                    </a:lnTo>
                    <a:lnTo>
                      <a:pt x="459" y="54"/>
                    </a:lnTo>
                    <a:lnTo>
                      <a:pt x="458" y="54"/>
                    </a:lnTo>
                    <a:lnTo>
                      <a:pt x="456" y="55"/>
                    </a:lnTo>
                    <a:lnTo>
                      <a:pt x="455" y="55"/>
                    </a:lnTo>
                    <a:lnTo>
                      <a:pt x="454" y="56"/>
                    </a:lnTo>
                    <a:lnTo>
                      <a:pt x="451" y="59"/>
                    </a:lnTo>
                    <a:lnTo>
                      <a:pt x="446" y="62"/>
                    </a:lnTo>
                    <a:lnTo>
                      <a:pt x="446" y="62"/>
                    </a:lnTo>
                    <a:lnTo>
                      <a:pt x="445" y="64"/>
                    </a:lnTo>
                    <a:lnTo>
                      <a:pt x="445" y="65"/>
                    </a:lnTo>
                    <a:lnTo>
                      <a:pt x="444" y="67"/>
                    </a:lnTo>
                    <a:lnTo>
                      <a:pt x="442" y="67"/>
                    </a:lnTo>
                    <a:lnTo>
                      <a:pt x="441" y="68"/>
                    </a:lnTo>
                    <a:lnTo>
                      <a:pt x="439" y="69"/>
                    </a:lnTo>
                    <a:lnTo>
                      <a:pt x="438" y="69"/>
                    </a:lnTo>
                    <a:lnTo>
                      <a:pt x="438" y="69"/>
                    </a:lnTo>
                    <a:lnTo>
                      <a:pt x="436" y="68"/>
                    </a:lnTo>
                    <a:lnTo>
                      <a:pt x="436" y="68"/>
                    </a:lnTo>
                    <a:lnTo>
                      <a:pt x="435" y="68"/>
                    </a:lnTo>
                    <a:lnTo>
                      <a:pt x="435" y="68"/>
                    </a:lnTo>
                    <a:lnTo>
                      <a:pt x="433" y="68"/>
                    </a:lnTo>
                    <a:lnTo>
                      <a:pt x="428" y="71"/>
                    </a:lnTo>
                    <a:lnTo>
                      <a:pt x="426" y="71"/>
                    </a:lnTo>
                    <a:lnTo>
                      <a:pt x="421" y="72"/>
                    </a:lnTo>
                    <a:lnTo>
                      <a:pt x="419" y="72"/>
                    </a:lnTo>
                    <a:lnTo>
                      <a:pt x="418" y="72"/>
                    </a:lnTo>
                    <a:lnTo>
                      <a:pt x="416" y="72"/>
                    </a:lnTo>
                    <a:lnTo>
                      <a:pt x="416" y="74"/>
                    </a:lnTo>
                    <a:lnTo>
                      <a:pt x="416" y="74"/>
                    </a:lnTo>
                    <a:lnTo>
                      <a:pt x="415" y="74"/>
                    </a:lnTo>
                    <a:lnTo>
                      <a:pt x="413" y="74"/>
                    </a:lnTo>
                    <a:lnTo>
                      <a:pt x="412" y="74"/>
                    </a:lnTo>
                    <a:lnTo>
                      <a:pt x="411" y="75"/>
                    </a:lnTo>
                    <a:lnTo>
                      <a:pt x="406" y="78"/>
                    </a:lnTo>
                    <a:lnTo>
                      <a:pt x="405" y="78"/>
                    </a:lnTo>
                    <a:lnTo>
                      <a:pt x="403" y="78"/>
                    </a:lnTo>
                    <a:lnTo>
                      <a:pt x="402" y="78"/>
                    </a:lnTo>
                    <a:lnTo>
                      <a:pt x="400" y="77"/>
                    </a:lnTo>
                    <a:lnTo>
                      <a:pt x="399" y="77"/>
                    </a:lnTo>
                    <a:lnTo>
                      <a:pt x="398" y="77"/>
                    </a:lnTo>
                    <a:lnTo>
                      <a:pt x="395" y="78"/>
                    </a:lnTo>
                    <a:lnTo>
                      <a:pt x="392" y="77"/>
                    </a:lnTo>
                    <a:lnTo>
                      <a:pt x="389" y="77"/>
                    </a:lnTo>
                    <a:lnTo>
                      <a:pt x="382" y="75"/>
                    </a:lnTo>
                    <a:lnTo>
                      <a:pt x="382" y="75"/>
                    </a:lnTo>
                    <a:lnTo>
                      <a:pt x="380" y="74"/>
                    </a:lnTo>
                    <a:lnTo>
                      <a:pt x="380" y="74"/>
                    </a:lnTo>
                    <a:lnTo>
                      <a:pt x="379" y="74"/>
                    </a:lnTo>
                    <a:lnTo>
                      <a:pt x="377" y="74"/>
                    </a:lnTo>
                    <a:lnTo>
                      <a:pt x="376" y="74"/>
                    </a:lnTo>
                    <a:lnTo>
                      <a:pt x="372" y="74"/>
                    </a:lnTo>
                    <a:lnTo>
                      <a:pt x="369" y="74"/>
                    </a:lnTo>
                    <a:lnTo>
                      <a:pt x="367" y="74"/>
                    </a:lnTo>
                    <a:lnTo>
                      <a:pt x="366" y="74"/>
                    </a:lnTo>
                    <a:lnTo>
                      <a:pt x="365" y="74"/>
                    </a:lnTo>
                    <a:lnTo>
                      <a:pt x="363" y="72"/>
                    </a:lnTo>
                    <a:lnTo>
                      <a:pt x="360" y="69"/>
                    </a:lnTo>
                    <a:lnTo>
                      <a:pt x="359" y="68"/>
                    </a:lnTo>
                    <a:lnTo>
                      <a:pt x="357" y="68"/>
                    </a:lnTo>
                    <a:lnTo>
                      <a:pt x="357" y="67"/>
                    </a:lnTo>
                    <a:lnTo>
                      <a:pt x="356" y="67"/>
                    </a:lnTo>
                    <a:lnTo>
                      <a:pt x="356" y="67"/>
                    </a:lnTo>
                    <a:lnTo>
                      <a:pt x="356" y="65"/>
                    </a:lnTo>
                    <a:lnTo>
                      <a:pt x="356" y="65"/>
                    </a:lnTo>
                    <a:lnTo>
                      <a:pt x="355" y="65"/>
                    </a:lnTo>
                    <a:lnTo>
                      <a:pt x="355" y="65"/>
                    </a:lnTo>
                    <a:lnTo>
                      <a:pt x="355" y="64"/>
                    </a:lnTo>
                    <a:lnTo>
                      <a:pt x="355" y="64"/>
                    </a:lnTo>
                    <a:lnTo>
                      <a:pt x="355" y="61"/>
                    </a:lnTo>
                    <a:lnTo>
                      <a:pt x="355" y="58"/>
                    </a:lnTo>
                    <a:lnTo>
                      <a:pt x="353" y="58"/>
                    </a:lnTo>
                    <a:lnTo>
                      <a:pt x="349" y="56"/>
                    </a:lnTo>
                    <a:lnTo>
                      <a:pt x="344" y="56"/>
                    </a:lnTo>
                    <a:lnTo>
                      <a:pt x="343" y="56"/>
                    </a:lnTo>
                    <a:lnTo>
                      <a:pt x="343" y="56"/>
                    </a:lnTo>
                    <a:lnTo>
                      <a:pt x="342" y="56"/>
                    </a:lnTo>
                    <a:lnTo>
                      <a:pt x="342" y="56"/>
                    </a:lnTo>
                    <a:lnTo>
                      <a:pt x="339" y="54"/>
                    </a:lnTo>
                    <a:lnTo>
                      <a:pt x="337" y="51"/>
                    </a:lnTo>
                    <a:lnTo>
                      <a:pt x="336" y="49"/>
                    </a:lnTo>
                    <a:lnTo>
                      <a:pt x="334" y="49"/>
                    </a:lnTo>
                    <a:lnTo>
                      <a:pt x="333" y="48"/>
                    </a:lnTo>
                    <a:lnTo>
                      <a:pt x="330" y="48"/>
                    </a:lnTo>
                    <a:lnTo>
                      <a:pt x="329" y="48"/>
                    </a:lnTo>
                    <a:lnTo>
                      <a:pt x="326" y="48"/>
                    </a:lnTo>
                    <a:lnTo>
                      <a:pt x="324" y="48"/>
                    </a:lnTo>
                    <a:lnTo>
                      <a:pt x="324" y="48"/>
                    </a:lnTo>
                    <a:lnTo>
                      <a:pt x="324" y="48"/>
                    </a:lnTo>
                    <a:lnTo>
                      <a:pt x="323" y="48"/>
                    </a:lnTo>
                    <a:lnTo>
                      <a:pt x="319" y="45"/>
                    </a:lnTo>
                    <a:lnTo>
                      <a:pt x="314" y="45"/>
                    </a:lnTo>
                    <a:lnTo>
                      <a:pt x="313" y="45"/>
                    </a:lnTo>
                    <a:lnTo>
                      <a:pt x="310" y="44"/>
                    </a:lnTo>
                    <a:lnTo>
                      <a:pt x="309" y="44"/>
                    </a:lnTo>
                    <a:lnTo>
                      <a:pt x="307" y="45"/>
                    </a:lnTo>
                    <a:lnTo>
                      <a:pt x="306" y="45"/>
                    </a:lnTo>
                    <a:lnTo>
                      <a:pt x="304" y="46"/>
                    </a:lnTo>
                    <a:lnTo>
                      <a:pt x="304" y="46"/>
                    </a:lnTo>
                    <a:lnTo>
                      <a:pt x="304" y="46"/>
                    </a:lnTo>
                    <a:lnTo>
                      <a:pt x="303" y="46"/>
                    </a:lnTo>
                    <a:lnTo>
                      <a:pt x="303" y="46"/>
                    </a:lnTo>
                    <a:lnTo>
                      <a:pt x="297" y="48"/>
                    </a:lnTo>
                    <a:lnTo>
                      <a:pt x="297" y="48"/>
                    </a:lnTo>
                    <a:lnTo>
                      <a:pt x="296" y="48"/>
                    </a:lnTo>
                    <a:lnTo>
                      <a:pt x="294" y="48"/>
                    </a:lnTo>
                    <a:lnTo>
                      <a:pt x="293" y="48"/>
                    </a:lnTo>
                    <a:lnTo>
                      <a:pt x="293" y="48"/>
                    </a:lnTo>
                    <a:lnTo>
                      <a:pt x="291" y="49"/>
                    </a:lnTo>
                    <a:lnTo>
                      <a:pt x="291" y="49"/>
                    </a:lnTo>
                    <a:lnTo>
                      <a:pt x="291" y="49"/>
                    </a:lnTo>
                    <a:lnTo>
                      <a:pt x="290" y="51"/>
                    </a:lnTo>
                    <a:lnTo>
                      <a:pt x="290" y="51"/>
                    </a:lnTo>
                    <a:lnTo>
                      <a:pt x="288" y="52"/>
                    </a:lnTo>
                    <a:lnTo>
                      <a:pt x="287" y="52"/>
                    </a:lnTo>
                    <a:lnTo>
                      <a:pt x="287" y="52"/>
                    </a:lnTo>
                    <a:lnTo>
                      <a:pt x="286" y="52"/>
                    </a:lnTo>
                    <a:lnTo>
                      <a:pt x="284" y="52"/>
                    </a:lnTo>
                    <a:lnTo>
                      <a:pt x="284" y="52"/>
                    </a:lnTo>
                    <a:lnTo>
                      <a:pt x="283" y="52"/>
                    </a:lnTo>
                    <a:lnTo>
                      <a:pt x="281" y="52"/>
                    </a:lnTo>
                    <a:lnTo>
                      <a:pt x="281" y="52"/>
                    </a:lnTo>
                    <a:lnTo>
                      <a:pt x="280" y="52"/>
                    </a:lnTo>
                    <a:lnTo>
                      <a:pt x="278" y="52"/>
                    </a:lnTo>
                    <a:lnTo>
                      <a:pt x="277" y="52"/>
                    </a:lnTo>
                    <a:lnTo>
                      <a:pt x="274" y="51"/>
                    </a:lnTo>
                    <a:lnTo>
                      <a:pt x="273" y="51"/>
                    </a:lnTo>
                    <a:lnTo>
                      <a:pt x="273" y="51"/>
                    </a:lnTo>
                    <a:lnTo>
                      <a:pt x="273" y="49"/>
                    </a:lnTo>
                    <a:lnTo>
                      <a:pt x="271" y="49"/>
                    </a:lnTo>
                    <a:lnTo>
                      <a:pt x="271" y="49"/>
                    </a:lnTo>
                    <a:lnTo>
                      <a:pt x="271" y="49"/>
                    </a:lnTo>
                    <a:lnTo>
                      <a:pt x="268" y="48"/>
                    </a:lnTo>
                    <a:lnTo>
                      <a:pt x="267" y="48"/>
                    </a:lnTo>
                    <a:lnTo>
                      <a:pt x="265" y="48"/>
                    </a:lnTo>
                    <a:lnTo>
                      <a:pt x="264" y="46"/>
                    </a:lnTo>
                    <a:lnTo>
                      <a:pt x="263" y="46"/>
                    </a:lnTo>
                    <a:lnTo>
                      <a:pt x="263" y="46"/>
                    </a:lnTo>
                    <a:lnTo>
                      <a:pt x="261" y="45"/>
                    </a:lnTo>
                    <a:lnTo>
                      <a:pt x="261" y="45"/>
                    </a:lnTo>
                    <a:lnTo>
                      <a:pt x="260" y="44"/>
                    </a:lnTo>
                    <a:lnTo>
                      <a:pt x="258" y="42"/>
                    </a:lnTo>
                    <a:lnTo>
                      <a:pt x="257" y="42"/>
                    </a:lnTo>
                    <a:lnTo>
                      <a:pt x="255" y="42"/>
                    </a:lnTo>
                    <a:lnTo>
                      <a:pt x="255" y="42"/>
                    </a:lnTo>
                    <a:lnTo>
                      <a:pt x="255" y="41"/>
                    </a:lnTo>
                    <a:lnTo>
                      <a:pt x="255" y="41"/>
                    </a:lnTo>
                    <a:lnTo>
                      <a:pt x="255" y="39"/>
                    </a:lnTo>
                    <a:lnTo>
                      <a:pt x="255" y="39"/>
                    </a:lnTo>
                    <a:lnTo>
                      <a:pt x="255" y="38"/>
                    </a:lnTo>
                    <a:lnTo>
                      <a:pt x="255" y="36"/>
                    </a:lnTo>
                    <a:lnTo>
                      <a:pt x="255" y="36"/>
                    </a:lnTo>
                    <a:lnTo>
                      <a:pt x="254" y="36"/>
                    </a:lnTo>
                    <a:lnTo>
                      <a:pt x="254" y="35"/>
                    </a:lnTo>
                    <a:lnTo>
                      <a:pt x="254" y="35"/>
                    </a:lnTo>
                    <a:lnTo>
                      <a:pt x="254" y="32"/>
                    </a:lnTo>
                    <a:lnTo>
                      <a:pt x="254" y="31"/>
                    </a:lnTo>
                    <a:lnTo>
                      <a:pt x="254" y="29"/>
                    </a:lnTo>
                    <a:lnTo>
                      <a:pt x="254" y="29"/>
                    </a:lnTo>
                    <a:lnTo>
                      <a:pt x="253" y="28"/>
                    </a:lnTo>
                    <a:lnTo>
                      <a:pt x="253" y="26"/>
                    </a:lnTo>
                    <a:lnTo>
                      <a:pt x="253" y="26"/>
                    </a:lnTo>
                    <a:lnTo>
                      <a:pt x="253" y="25"/>
                    </a:lnTo>
                    <a:lnTo>
                      <a:pt x="253" y="23"/>
                    </a:lnTo>
                    <a:lnTo>
                      <a:pt x="253" y="23"/>
                    </a:lnTo>
                    <a:lnTo>
                      <a:pt x="253" y="22"/>
                    </a:lnTo>
                    <a:lnTo>
                      <a:pt x="253" y="22"/>
                    </a:lnTo>
                    <a:lnTo>
                      <a:pt x="253" y="21"/>
                    </a:lnTo>
                    <a:lnTo>
                      <a:pt x="253" y="21"/>
                    </a:lnTo>
                    <a:lnTo>
                      <a:pt x="251" y="21"/>
                    </a:lnTo>
                    <a:lnTo>
                      <a:pt x="248" y="19"/>
                    </a:lnTo>
                    <a:lnTo>
                      <a:pt x="245" y="18"/>
                    </a:lnTo>
                    <a:lnTo>
                      <a:pt x="242" y="18"/>
                    </a:lnTo>
                    <a:lnTo>
                      <a:pt x="240" y="18"/>
                    </a:lnTo>
                    <a:lnTo>
                      <a:pt x="238" y="18"/>
                    </a:lnTo>
                    <a:lnTo>
                      <a:pt x="237" y="16"/>
                    </a:lnTo>
                    <a:lnTo>
                      <a:pt x="232" y="15"/>
                    </a:lnTo>
                    <a:lnTo>
                      <a:pt x="227" y="12"/>
                    </a:lnTo>
                    <a:lnTo>
                      <a:pt x="225" y="12"/>
                    </a:lnTo>
                    <a:lnTo>
                      <a:pt x="224" y="10"/>
                    </a:lnTo>
                    <a:lnTo>
                      <a:pt x="221" y="10"/>
                    </a:lnTo>
                    <a:lnTo>
                      <a:pt x="220" y="10"/>
                    </a:lnTo>
                    <a:lnTo>
                      <a:pt x="215" y="10"/>
                    </a:lnTo>
                    <a:lnTo>
                      <a:pt x="214" y="10"/>
                    </a:lnTo>
                    <a:lnTo>
                      <a:pt x="209" y="8"/>
                    </a:lnTo>
                    <a:lnTo>
                      <a:pt x="208" y="6"/>
                    </a:lnTo>
                    <a:lnTo>
                      <a:pt x="205" y="6"/>
                    </a:lnTo>
                    <a:lnTo>
                      <a:pt x="204" y="6"/>
                    </a:lnTo>
                    <a:lnTo>
                      <a:pt x="202" y="5"/>
                    </a:lnTo>
                    <a:lnTo>
                      <a:pt x="201" y="3"/>
                    </a:lnTo>
                    <a:lnTo>
                      <a:pt x="199" y="3"/>
                    </a:lnTo>
                    <a:lnTo>
                      <a:pt x="199" y="3"/>
                    </a:lnTo>
                    <a:lnTo>
                      <a:pt x="198" y="3"/>
                    </a:lnTo>
                    <a:lnTo>
                      <a:pt x="198" y="3"/>
                    </a:lnTo>
                    <a:lnTo>
                      <a:pt x="197" y="2"/>
                    </a:lnTo>
                    <a:lnTo>
                      <a:pt x="195" y="0"/>
                    </a:lnTo>
                    <a:lnTo>
                      <a:pt x="195" y="2"/>
                    </a:lnTo>
                    <a:lnTo>
                      <a:pt x="195" y="2"/>
                    </a:lnTo>
                    <a:lnTo>
                      <a:pt x="195" y="3"/>
                    </a:lnTo>
                    <a:lnTo>
                      <a:pt x="194" y="3"/>
                    </a:lnTo>
                    <a:lnTo>
                      <a:pt x="194" y="5"/>
                    </a:lnTo>
                    <a:lnTo>
                      <a:pt x="192" y="8"/>
                    </a:lnTo>
                    <a:lnTo>
                      <a:pt x="186" y="10"/>
                    </a:lnTo>
                    <a:lnTo>
                      <a:pt x="185" y="12"/>
                    </a:lnTo>
                    <a:lnTo>
                      <a:pt x="185" y="13"/>
                    </a:lnTo>
                    <a:lnTo>
                      <a:pt x="184" y="16"/>
                    </a:lnTo>
                    <a:lnTo>
                      <a:pt x="184" y="18"/>
                    </a:lnTo>
                    <a:lnTo>
                      <a:pt x="182" y="18"/>
                    </a:lnTo>
                    <a:lnTo>
                      <a:pt x="181" y="18"/>
                    </a:lnTo>
                    <a:lnTo>
                      <a:pt x="179" y="19"/>
                    </a:lnTo>
                    <a:lnTo>
                      <a:pt x="179" y="21"/>
                    </a:lnTo>
                    <a:lnTo>
                      <a:pt x="178" y="22"/>
                    </a:lnTo>
                    <a:lnTo>
                      <a:pt x="178" y="23"/>
                    </a:lnTo>
                    <a:lnTo>
                      <a:pt x="178" y="23"/>
                    </a:lnTo>
                    <a:lnTo>
                      <a:pt x="178" y="23"/>
                    </a:lnTo>
                    <a:lnTo>
                      <a:pt x="178" y="23"/>
                    </a:lnTo>
                    <a:lnTo>
                      <a:pt x="178" y="25"/>
                    </a:lnTo>
                    <a:lnTo>
                      <a:pt x="178" y="26"/>
                    </a:lnTo>
                    <a:lnTo>
                      <a:pt x="178" y="28"/>
                    </a:lnTo>
                    <a:lnTo>
                      <a:pt x="176" y="28"/>
                    </a:lnTo>
                    <a:lnTo>
                      <a:pt x="176" y="31"/>
                    </a:lnTo>
                    <a:lnTo>
                      <a:pt x="178" y="31"/>
                    </a:lnTo>
                    <a:lnTo>
                      <a:pt x="179" y="33"/>
                    </a:lnTo>
                    <a:lnTo>
                      <a:pt x="179" y="35"/>
                    </a:lnTo>
                    <a:lnTo>
                      <a:pt x="179" y="36"/>
                    </a:lnTo>
                    <a:lnTo>
                      <a:pt x="179" y="38"/>
                    </a:lnTo>
                    <a:lnTo>
                      <a:pt x="179" y="38"/>
                    </a:lnTo>
                    <a:lnTo>
                      <a:pt x="181" y="39"/>
                    </a:lnTo>
                    <a:lnTo>
                      <a:pt x="181" y="39"/>
                    </a:lnTo>
                    <a:lnTo>
                      <a:pt x="181" y="41"/>
                    </a:lnTo>
                    <a:lnTo>
                      <a:pt x="182" y="41"/>
                    </a:lnTo>
                    <a:lnTo>
                      <a:pt x="185" y="42"/>
                    </a:lnTo>
                    <a:lnTo>
                      <a:pt x="185" y="44"/>
                    </a:lnTo>
                    <a:lnTo>
                      <a:pt x="185" y="45"/>
                    </a:lnTo>
                    <a:lnTo>
                      <a:pt x="184" y="48"/>
                    </a:lnTo>
                    <a:lnTo>
                      <a:pt x="184" y="49"/>
                    </a:lnTo>
                    <a:lnTo>
                      <a:pt x="182" y="52"/>
                    </a:lnTo>
                    <a:lnTo>
                      <a:pt x="182" y="52"/>
                    </a:lnTo>
                    <a:lnTo>
                      <a:pt x="182" y="54"/>
                    </a:lnTo>
                    <a:lnTo>
                      <a:pt x="181" y="55"/>
                    </a:lnTo>
                    <a:lnTo>
                      <a:pt x="181" y="55"/>
                    </a:lnTo>
                    <a:lnTo>
                      <a:pt x="179" y="56"/>
                    </a:lnTo>
                    <a:lnTo>
                      <a:pt x="179" y="56"/>
                    </a:lnTo>
                    <a:lnTo>
                      <a:pt x="178" y="56"/>
                    </a:lnTo>
                    <a:lnTo>
                      <a:pt x="178" y="58"/>
                    </a:lnTo>
                    <a:lnTo>
                      <a:pt x="176" y="58"/>
                    </a:lnTo>
                    <a:lnTo>
                      <a:pt x="176" y="58"/>
                    </a:lnTo>
                    <a:lnTo>
                      <a:pt x="175" y="58"/>
                    </a:lnTo>
                    <a:lnTo>
                      <a:pt x="174" y="58"/>
                    </a:lnTo>
                    <a:lnTo>
                      <a:pt x="174" y="58"/>
                    </a:lnTo>
                    <a:lnTo>
                      <a:pt x="172" y="59"/>
                    </a:lnTo>
                    <a:lnTo>
                      <a:pt x="172" y="59"/>
                    </a:lnTo>
                    <a:lnTo>
                      <a:pt x="171" y="61"/>
                    </a:lnTo>
                    <a:lnTo>
                      <a:pt x="171" y="61"/>
                    </a:lnTo>
                    <a:lnTo>
                      <a:pt x="168" y="64"/>
                    </a:lnTo>
                    <a:lnTo>
                      <a:pt x="166" y="64"/>
                    </a:lnTo>
                    <a:lnTo>
                      <a:pt x="165" y="62"/>
                    </a:lnTo>
                    <a:lnTo>
                      <a:pt x="165" y="62"/>
                    </a:lnTo>
                    <a:lnTo>
                      <a:pt x="164" y="62"/>
                    </a:lnTo>
                    <a:lnTo>
                      <a:pt x="164" y="61"/>
                    </a:lnTo>
                    <a:lnTo>
                      <a:pt x="164" y="61"/>
                    </a:lnTo>
                    <a:lnTo>
                      <a:pt x="164" y="61"/>
                    </a:lnTo>
                    <a:lnTo>
                      <a:pt x="162" y="59"/>
                    </a:lnTo>
                    <a:lnTo>
                      <a:pt x="162" y="59"/>
                    </a:lnTo>
                    <a:lnTo>
                      <a:pt x="158" y="58"/>
                    </a:lnTo>
                    <a:lnTo>
                      <a:pt x="156" y="59"/>
                    </a:lnTo>
                    <a:lnTo>
                      <a:pt x="156" y="59"/>
                    </a:lnTo>
                    <a:lnTo>
                      <a:pt x="155" y="59"/>
                    </a:lnTo>
                    <a:lnTo>
                      <a:pt x="155" y="59"/>
                    </a:lnTo>
                    <a:lnTo>
                      <a:pt x="153" y="59"/>
                    </a:lnTo>
                    <a:lnTo>
                      <a:pt x="152" y="58"/>
                    </a:lnTo>
                    <a:lnTo>
                      <a:pt x="149" y="58"/>
                    </a:lnTo>
                    <a:lnTo>
                      <a:pt x="148" y="56"/>
                    </a:lnTo>
                    <a:lnTo>
                      <a:pt x="146" y="56"/>
                    </a:lnTo>
                    <a:lnTo>
                      <a:pt x="145" y="56"/>
                    </a:lnTo>
                    <a:lnTo>
                      <a:pt x="143" y="56"/>
                    </a:lnTo>
                    <a:lnTo>
                      <a:pt x="143" y="56"/>
                    </a:lnTo>
                    <a:lnTo>
                      <a:pt x="142" y="56"/>
                    </a:lnTo>
                    <a:lnTo>
                      <a:pt x="142" y="56"/>
                    </a:lnTo>
                    <a:lnTo>
                      <a:pt x="142" y="56"/>
                    </a:lnTo>
                    <a:lnTo>
                      <a:pt x="141" y="56"/>
                    </a:lnTo>
                    <a:lnTo>
                      <a:pt x="141" y="56"/>
                    </a:lnTo>
                    <a:lnTo>
                      <a:pt x="139" y="58"/>
                    </a:lnTo>
                    <a:lnTo>
                      <a:pt x="138" y="58"/>
                    </a:lnTo>
                    <a:lnTo>
                      <a:pt x="138" y="58"/>
                    </a:lnTo>
                    <a:lnTo>
                      <a:pt x="136" y="58"/>
                    </a:lnTo>
                    <a:lnTo>
                      <a:pt x="136" y="58"/>
                    </a:lnTo>
                    <a:lnTo>
                      <a:pt x="135" y="58"/>
                    </a:lnTo>
                    <a:lnTo>
                      <a:pt x="135" y="58"/>
                    </a:lnTo>
                    <a:lnTo>
                      <a:pt x="135" y="58"/>
                    </a:lnTo>
                    <a:lnTo>
                      <a:pt x="133" y="58"/>
                    </a:lnTo>
                    <a:lnTo>
                      <a:pt x="133" y="58"/>
                    </a:lnTo>
                    <a:lnTo>
                      <a:pt x="133" y="58"/>
                    </a:lnTo>
                    <a:lnTo>
                      <a:pt x="130" y="58"/>
                    </a:lnTo>
                    <a:lnTo>
                      <a:pt x="129" y="58"/>
                    </a:lnTo>
                    <a:lnTo>
                      <a:pt x="129" y="58"/>
                    </a:lnTo>
                    <a:lnTo>
                      <a:pt x="128" y="58"/>
                    </a:lnTo>
                    <a:lnTo>
                      <a:pt x="128" y="58"/>
                    </a:lnTo>
                    <a:lnTo>
                      <a:pt x="128" y="56"/>
                    </a:lnTo>
                    <a:lnTo>
                      <a:pt x="128" y="56"/>
                    </a:lnTo>
                    <a:lnTo>
                      <a:pt x="126" y="55"/>
                    </a:lnTo>
                    <a:lnTo>
                      <a:pt x="126" y="55"/>
                    </a:lnTo>
                    <a:lnTo>
                      <a:pt x="125" y="55"/>
                    </a:lnTo>
                    <a:lnTo>
                      <a:pt x="123" y="55"/>
                    </a:lnTo>
                    <a:lnTo>
                      <a:pt x="122" y="55"/>
                    </a:lnTo>
                    <a:lnTo>
                      <a:pt x="122" y="55"/>
                    </a:lnTo>
                    <a:lnTo>
                      <a:pt x="120" y="55"/>
                    </a:lnTo>
                    <a:lnTo>
                      <a:pt x="120" y="55"/>
                    </a:lnTo>
                    <a:lnTo>
                      <a:pt x="119" y="55"/>
                    </a:lnTo>
                    <a:lnTo>
                      <a:pt x="119" y="54"/>
                    </a:lnTo>
                    <a:lnTo>
                      <a:pt x="119" y="54"/>
                    </a:lnTo>
                    <a:lnTo>
                      <a:pt x="118" y="52"/>
                    </a:lnTo>
                    <a:lnTo>
                      <a:pt x="116" y="52"/>
                    </a:lnTo>
                    <a:lnTo>
                      <a:pt x="116" y="51"/>
                    </a:lnTo>
                    <a:lnTo>
                      <a:pt x="116" y="51"/>
                    </a:lnTo>
                    <a:lnTo>
                      <a:pt x="116" y="51"/>
                    </a:lnTo>
                    <a:lnTo>
                      <a:pt x="116" y="49"/>
                    </a:lnTo>
                    <a:lnTo>
                      <a:pt x="115" y="46"/>
                    </a:lnTo>
                    <a:lnTo>
                      <a:pt x="115" y="44"/>
                    </a:lnTo>
                    <a:lnTo>
                      <a:pt x="115" y="42"/>
                    </a:lnTo>
                    <a:lnTo>
                      <a:pt x="113" y="42"/>
                    </a:lnTo>
                    <a:lnTo>
                      <a:pt x="112" y="41"/>
                    </a:lnTo>
                    <a:lnTo>
                      <a:pt x="107" y="41"/>
                    </a:lnTo>
                    <a:lnTo>
                      <a:pt x="105" y="41"/>
                    </a:lnTo>
                    <a:lnTo>
                      <a:pt x="102" y="41"/>
                    </a:lnTo>
                    <a:lnTo>
                      <a:pt x="97" y="41"/>
                    </a:lnTo>
                    <a:lnTo>
                      <a:pt x="95" y="41"/>
                    </a:lnTo>
                    <a:lnTo>
                      <a:pt x="95" y="41"/>
                    </a:lnTo>
                    <a:lnTo>
                      <a:pt x="93" y="39"/>
                    </a:lnTo>
                    <a:lnTo>
                      <a:pt x="92" y="39"/>
                    </a:lnTo>
                    <a:lnTo>
                      <a:pt x="92" y="39"/>
                    </a:lnTo>
                    <a:lnTo>
                      <a:pt x="92" y="38"/>
                    </a:lnTo>
                    <a:lnTo>
                      <a:pt x="92" y="38"/>
                    </a:lnTo>
                    <a:lnTo>
                      <a:pt x="92" y="36"/>
                    </a:lnTo>
                    <a:lnTo>
                      <a:pt x="90" y="36"/>
                    </a:lnTo>
                    <a:lnTo>
                      <a:pt x="90" y="35"/>
                    </a:lnTo>
                    <a:lnTo>
                      <a:pt x="89" y="35"/>
                    </a:lnTo>
                    <a:lnTo>
                      <a:pt x="87" y="36"/>
                    </a:lnTo>
                    <a:lnTo>
                      <a:pt x="87" y="38"/>
                    </a:lnTo>
                    <a:lnTo>
                      <a:pt x="86" y="38"/>
                    </a:lnTo>
                    <a:lnTo>
                      <a:pt x="86" y="38"/>
                    </a:lnTo>
                    <a:lnTo>
                      <a:pt x="85" y="38"/>
                    </a:lnTo>
                    <a:lnTo>
                      <a:pt x="85" y="38"/>
                    </a:lnTo>
                    <a:lnTo>
                      <a:pt x="85" y="38"/>
                    </a:lnTo>
                    <a:lnTo>
                      <a:pt x="83" y="36"/>
                    </a:lnTo>
                    <a:lnTo>
                      <a:pt x="83" y="36"/>
                    </a:lnTo>
                    <a:lnTo>
                      <a:pt x="82" y="35"/>
                    </a:lnTo>
                    <a:lnTo>
                      <a:pt x="82" y="35"/>
                    </a:lnTo>
                    <a:lnTo>
                      <a:pt x="80" y="33"/>
                    </a:lnTo>
                    <a:lnTo>
                      <a:pt x="80" y="33"/>
                    </a:lnTo>
                    <a:lnTo>
                      <a:pt x="79" y="35"/>
                    </a:lnTo>
                    <a:lnTo>
                      <a:pt x="79" y="36"/>
                    </a:lnTo>
                    <a:lnTo>
                      <a:pt x="79" y="36"/>
                    </a:lnTo>
                    <a:lnTo>
                      <a:pt x="77" y="38"/>
                    </a:lnTo>
                    <a:lnTo>
                      <a:pt x="77" y="38"/>
                    </a:lnTo>
                    <a:lnTo>
                      <a:pt x="77" y="38"/>
                    </a:lnTo>
                    <a:lnTo>
                      <a:pt x="76" y="38"/>
                    </a:lnTo>
                    <a:lnTo>
                      <a:pt x="74" y="38"/>
                    </a:lnTo>
                    <a:lnTo>
                      <a:pt x="73" y="38"/>
                    </a:lnTo>
                    <a:lnTo>
                      <a:pt x="72" y="38"/>
                    </a:lnTo>
                    <a:lnTo>
                      <a:pt x="70" y="38"/>
                    </a:lnTo>
                    <a:lnTo>
                      <a:pt x="69" y="39"/>
                    </a:lnTo>
                    <a:lnTo>
                      <a:pt x="69" y="39"/>
                    </a:lnTo>
                    <a:lnTo>
                      <a:pt x="69" y="39"/>
                    </a:lnTo>
                    <a:lnTo>
                      <a:pt x="67" y="41"/>
                    </a:lnTo>
                    <a:lnTo>
                      <a:pt x="67" y="41"/>
                    </a:lnTo>
                    <a:lnTo>
                      <a:pt x="67" y="41"/>
                    </a:lnTo>
                    <a:lnTo>
                      <a:pt x="66" y="41"/>
                    </a:lnTo>
                    <a:lnTo>
                      <a:pt x="66" y="42"/>
                    </a:lnTo>
                    <a:lnTo>
                      <a:pt x="66" y="42"/>
                    </a:lnTo>
                    <a:lnTo>
                      <a:pt x="64" y="42"/>
                    </a:lnTo>
                    <a:lnTo>
                      <a:pt x="64" y="42"/>
                    </a:lnTo>
                    <a:lnTo>
                      <a:pt x="64" y="44"/>
                    </a:lnTo>
                    <a:lnTo>
                      <a:pt x="64" y="44"/>
                    </a:lnTo>
                    <a:lnTo>
                      <a:pt x="63" y="44"/>
                    </a:lnTo>
                    <a:lnTo>
                      <a:pt x="63" y="44"/>
                    </a:lnTo>
                    <a:lnTo>
                      <a:pt x="63" y="44"/>
                    </a:lnTo>
                    <a:lnTo>
                      <a:pt x="62" y="44"/>
                    </a:lnTo>
                    <a:lnTo>
                      <a:pt x="59" y="45"/>
                    </a:lnTo>
                    <a:lnTo>
                      <a:pt x="57" y="45"/>
                    </a:lnTo>
                    <a:lnTo>
                      <a:pt x="57" y="45"/>
                    </a:lnTo>
                    <a:lnTo>
                      <a:pt x="57" y="45"/>
                    </a:lnTo>
                    <a:lnTo>
                      <a:pt x="56" y="46"/>
                    </a:lnTo>
                    <a:lnTo>
                      <a:pt x="56" y="46"/>
                    </a:lnTo>
                    <a:lnTo>
                      <a:pt x="54" y="48"/>
                    </a:lnTo>
                    <a:lnTo>
                      <a:pt x="53" y="48"/>
                    </a:lnTo>
                    <a:lnTo>
                      <a:pt x="53" y="48"/>
                    </a:lnTo>
                    <a:lnTo>
                      <a:pt x="53" y="48"/>
                    </a:lnTo>
                    <a:lnTo>
                      <a:pt x="51" y="49"/>
                    </a:lnTo>
                    <a:lnTo>
                      <a:pt x="51" y="49"/>
                    </a:lnTo>
                    <a:lnTo>
                      <a:pt x="51" y="51"/>
                    </a:lnTo>
                    <a:lnTo>
                      <a:pt x="50" y="51"/>
                    </a:lnTo>
                    <a:lnTo>
                      <a:pt x="50" y="51"/>
                    </a:lnTo>
                    <a:lnTo>
                      <a:pt x="49" y="51"/>
                    </a:lnTo>
                    <a:lnTo>
                      <a:pt x="49" y="51"/>
                    </a:lnTo>
                    <a:lnTo>
                      <a:pt x="49" y="51"/>
                    </a:lnTo>
                    <a:lnTo>
                      <a:pt x="47" y="51"/>
                    </a:lnTo>
                    <a:lnTo>
                      <a:pt x="47" y="51"/>
                    </a:lnTo>
                    <a:lnTo>
                      <a:pt x="44" y="52"/>
                    </a:lnTo>
                    <a:lnTo>
                      <a:pt x="43" y="54"/>
                    </a:lnTo>
                    <a:lnTo>
                      <a:pt x="41" y="54"/>
                    </a:lnTo>
                    <a:lnTo>
                      <a:pt x="41" y="54"/>
                    </a:lnTo>
                    <a:lnTo>
                      <a:pt x="40" y="54"/>
                    </a:lnTo>
                    <a:lnTo>
                      <a:pt x="39" y="55"/>
                    </a:lnTo>
                    <a:lnTo>
                      <a:pt x="39" y="56"/>
                    </a:lnTo>
                    <a:lnTo>
                      <a:pt x="39" y="56"/>
                    </a:lnTo>
                    <a:lnTo>
                      <a:pt x="39" y="56"/>
                    </a:lnTo>
                    <a:lnTo>
                      <a:pt x="39" y="56"/>
                    </a:lnTo>
                    <a:lnTo>
                      <a:pt x="37" y="58"/>
                    </a:lnTo>
                    <a:lnTo>
                      <a:pt x="37" y="58"/>
                    </a:lnTo>
                    <a:lnTo>
                      <a:pt x="37" y="58"/>
                    </a:lnTo>
                    <a:lnTo>
                      <a:pt x="36" y="58"/>
                    </a:lnTo>
                    <a:lnTo>
                      <a:pt x="36" y="58"/>
                    </a:lnTo>
                    <a:lnTo>
                      <a:pt x="36" y="58"/>
                    </a:lnTo>
                    <a:lnTo>
                      <a:pt x="34" y="58"/>
                    </a:lnTo>
                    <a:lnTo>
                      <a:pt x="34" y="58"/>
                    </a:lnTo>
                    <a:lnTo>
                      <a:pt x="34" y="58"/>
                    </a:lnTo>
                    <a:lnTo>
                      <a:pt x="33" y="58"/>
                    </a:lnTo>
                    <a:lnTo>
                      <a:pt x="33" y="58"/>
                    </a:lnTo>
                    <a:lnTo>
                      <a:pt x="33" y="59"/>
                    </a:lnTo>
                    <a:lnTo>
                      <a:pt x="33" y="59"/>
                    </a:lnTo>
                    <a:lnTo>
                      <a:pt x="33" y="59"/>
                    </a:lnTo>
                    <a:lnTo>
                      <a:pt x="33" y="61"/>
                    </a:lnTo>
                    <a:lnTo>
                      <a:pt x="33" y="62"/>
                    </a:lnTo>
                    <a:lnTo>
                      <a:pt x="33" y="62"/>
                    </a:lnTo>
                    <a:lnTo>
                      <a:pt x="33" y="64"/>
                    </a:lnTo>
                    <a:lnTo>
                      <a:pt x="33" y="64"/>
                    </a:lnTo>
                    <a:lnTo>
                      <a:pt x="31" y="64"/>
                    </a:lnTo>
                    <a:lnTo>
                      <a:pt x="30" y="65"/>
                    </a:lnTo>
                    <a:lnTo>
                      <a:pt x="30" y="65"/>
                    </a:lnTo>
                    <a:lnTo>
                      <a:pt x="29" y="65"/>
                    </a:lnTo>
                    <a:lnTo>
                      <a:pt x="29" y="67"/>
                    </a:lnTo>
                    <a:lnTo>
                      <a:pt x="27" y="67"/>
                    </a:lnTo>
                    <a:lnTo>
                      <a:pt x="27" y="67"/>
                    </a:lnTo>
                    <a:lnTo>
                      <a:pt x="27" y="67"/>
                    </a:lnTo>
                    <a:lnTo>
                      <a:pt x="26" y="67"/>
                    </a:lnTo>
                    <a:lnTo>
                      <a:pt x="26" y="67"/>
                    </a:lnTo>
                    <a:lnTo>
                      <a:pt x="26" y="67"/>
                    </a:lnTo>
                    <a:lnTo>
                      <a:pt x="26" y="67"/>
                    </a:lnTo>
                    <a:lnTo>
                      <a:pt x="26" y="67"/>
                    </a:lnTo>
                    <a:lnTo>
                      <a:pt x="24" y="68"/>
                    </a:lnTo>
                    <a:lnTo>
                      <a:pt x="24" y="68"/>
                    </a:lnTo>
                    <a:lnTo>
                      <a:pt x="24" y="68"/>
                    </a:lnTo>
                    <a:lnTo>
                      <a:pt x="24" y="69"/>
                    </a:lnTo>
                    <a:lnTo>
                      <a:pt x="23" y="69"/>
                    </a:lnTo>
                    <a:lnTo>
                      <a:pt x="21" y="69"/>
                    </a:lnTo>
                    <a:lnTo>
                      <a:pt x="21" y="69"/>
                    </a:lnTo>
                    <a:lnTo>
                      <a:pt x="20" y="69"/>
                    </a:lnTo>
                    <a:lnTo>
                      <a:pt x="20" y="68"/>
                    </a:lnTo>
                    <a:lnTo>
                      <a:pt x="20" y="68"/>
                    </a:lnTo>
                    <a:lnTo>
                      <a:pt x="18" y="69"/>
                    </a:lnTo>
                    <a:lnTo>
                      <a:pt x="18" y="69"/>
                    </a:lnTo>
                    <a:lnTo>
                      <a:pt x="18" y="69"/>
                    </a:lnTo>
                    <a:lnTo>
                      <a:pt x="18" y="69"/>
                    </a:lnTo>
                    <a:lnTo>
                      <a:pt x="18" y="71"/>
                    </a:lnTo>
                    <a:lnTo>
                      <a:pt x="18" y="71"/>
                    </a:lnTo>
                    <a:lnTo>
                      <a:pt x="17" y="71"/>
                    </a:lnTo>
                    <a:lnTo>
                      <a:pt x="17" y="71"/>
                    </a:lnTo>
                    <a:lnTo>
                      <a:pt x="16" y="69"/>
                    </a:lnTo>
                    <a:lnTo>
                      <a:pt x="16" y="69"/>
                    </a:lnTo>
                    <a:lnTo>
                      <a:pt x="14" y="69"/>
                    </a:lnTo>
                    <a:lnTo>
                      <a:pt x="14" y="69"/>
                    </a:lnTo>
                    <a:lnTo>
                      <a:pt x="13" y="69"/>
                    </a:lnTo>
                    <a:lnTo>
                      <a:pt x="13" y="69"/>
                    </a:lnTo>
                    <a:lnTo>
                      <a:pt x="11" y="69"/>
                    </a:lnTo>
                    <a:lnTo>
                      <a:pt x="11" y="69"/>
                    </a:lnTo>
                    <a:lnTo>
                      <a:pt x="11" y="69"/>
                    </a:lnTo>
                    <a:lnTo>
                      <a:pt x="8" y="69"/>
                    </a:lnTo>
                    <a:lnTo>
                      <a:pt x="8" y="71"/>
                    </a:lnTo>
                    <a:lnTo>
                      <a:pt x="7" y="71"/>
                    </a:lnTo>
                    <a:lnTo>
                      <a:pt x="7" y="71"/>
                    </a:lnTo>
                    <a:lnTo>
                      <a:pt x="7" y="72"/>
                    </a:lnTo>
                    <a:lnTo>
                      <a:pt x="7" y="74"/>
                    </a:lnTo>
                    <a:lnTo>
                      <a:pt x="6" y="75"/>
                    </a:lnTo>
                    <a:lnTo>
                      <a:pt x="4" y="77"/>
                    </a:lnTo>
                    <a:lnTo>
                      <a:pt x="4" y="77"/>
                    </a:lnTo>
                    <a:lnTo>
                      <a:pt x="3" y="78"/>
                    </a:lnTo>
                    <a:lnTo>
                      <a:pt x="3" y="78"/>
                    </a:lnTo>
                    <a:lnTo>
                      <a:pt x="1" y="78"/>
                    </a:lnTo>
                    <a:lnTo>
                      <a:pt x="1" y="78"/>
                    </a:lnTo>
                    <a:lnTo>
                      <a:pt x="1" y="78"/>
                    </a:lnTo>
                    <a:lnTo>
                      <a:pt x="1" y="78"/>
                    </a:lnTo>
                    <a:lnTo>
                      <a:pt x="1" y="78"/>
                    </a:lnTo>
                    <a:lnTo>
                      <a:pt x="1" y="81"/>
                    </a:lnTo>
                    <a:lnTo>
                      <a:pt x="1" y="81"/>
                    </a:lnTo>
                    <a:lnTo>
                      <a:pt x="0" y="84"/>
                    </a:lnTo>
                    <a:lnTo>
                      <a:pt x="0" y="84"/>
                    </a:lnTo>
                    <a:lnTo>
                      <a:pt x="0" y="85"/>
                    </a:lnTo>
                    <a:lnTo>
                      <a:pt x="0" y="85"/>
                    </a:lnTo>
                    <a:lnTo>
                      <a:pt x="1" y="87"/>
                    </a:lnTo>
                    <a:lnTo>
                      <a:pt x="3" y="87"/>
                    </a:lnTo>
                    <a:lnTo>
                      <a:pt x="4" y="88"/>
                    </a:lnTo>
                    <a:lnTo>
                      <a:pt x="4" y="88"/>
                    </a:lnTo>
                    <a:lnTo>
                      <a:pt x="4" y="90"/>
                    </a:lnTo>
                    <a:lnTo>
                      <a:pt x="4" y="91"/>
                    </a:lnTo>
                    <a:lnTo>
                      <a:pt x="4" y="92"/>
                    </a:lnTo>
                    <a:lnTo>
                      <a:pt x="6" y="94"/>
                    </a:lnTo>
                    <a:lnTo>
                      <a:pt x="10" y="95"/>
                    </a:lnTo>
                    <a:lnTo>
                      <a:pt x="13" y="97"/>
                    </a:lnTo>
                    <a:lnTo>
                      <a:pt x="13" y="98"/>
                    </a:lnTo>
                    <a:lnTo>
                      <a:pt x="14" y="100"/>
                    </a:lnTo>
                    <a:lnTo>
                      <a:pt x="14" y="101"/>
                    </a:lnTo>
                    <a:lnTo>
                      <a:pt x="16" y="102"/>
                    </a:lnTo>
                    <a:lnTo>
                      <a:pt x="21" y="105"/>
                    </a:lnTo>
                    <a:lnTo>
                      <a:pt x="23" y="105"/>
                    </a:lnTo>
                    <a:lnTo>
                      <a:pt x="24" y="105"/>
                    </a:lnTo>
                    <a:lnTo>
                      <a:pt x="27" y="105"/>
                    </a:lnTo>
                    <a:lnTo>
                      <a:pt x="30" y="107"/>
                    </a:lnTo>
                    <a:lnTo>
                      <a:pt x="31" y="107"/>
                    </a:lnTo>
                    <a:lnTo>
                      <a:pt x="33" y="108"/>
                    </a:lnTo>
                    <a:lnTo>
                      <a:pt x="34" y="110"/>
                    </a:lnTo>
                    <a:lnTo>
                      <a:pt x="36" y="110"/>
                    </a:lnTo>
                    <a:lnTo>
                      <a:pt x="39" y="110"/>
                    </a:lnTo>
                    <a:lnTo>
                      <a:pt x="40" y="110"/>
                    </a:lnTo>
                    <a:lnTo>
                      <a:pt x="41" y="113"/>
                    </a:lnTo>
                    <a:lnTo>
                      <a:pt x="43" y="114"/>
                    </a:lnTo>
                    <a:lnTo>
                      <a:pt x="44" y="114"/>
                    </a:lnTo>
                    <a:lnTo>
                      <a:pt x="44" y="115"/>
                    </a:lnTo>
                    <a:lnTo>
                      <a:pt x="46" y="117"/>
                    </a:lnTo>
                    <a:lnTo>
                      <a:pt x="47" y="123"/>
                    </a:lnTo>
                    <a:lnTo>
                      <a:pt x="50" y="127"/>
                    </a:lnTo>
                    <a:lnTo>
                      <a:pt x="53" y="131"/>
                    </a:lnTo>
                    <a:lnTo>
                      <a:pt x="56" y="136"/>
                    </a:lnTo>
                    <a:lnTo>
                      <a:pt x="57" y="140"/>
                    </a:lnTo>
                    <a:lnTo>
                      <a:pt x="57" y="141"/>
                    </a:lnTo>
                    <a:lnTo>
                      <a:pt x="56" y="146"/>
                    </a:lnTo>
                    <a:lnTo>
                      <a:pt x="56" y="147"/>
                    </a:lnTo>
                    <a:lnTo>
                      <a:pt x="56" y="150"/>
                    </a:lnTo>
                    <a:lnTo>
                      <a:pt x="56" y="151"/>
                    </a:lnTo>
                    <a:lnTo>
                      <a:pt x="56" y="153"/>
                    </a:lnTo>
                    <a:lnTo>
                      <a:pt x="53" y="160"/>
                    </a:lnTo>
                    <a:lnTo>
                      <a:pt x="51" y="164"/>
                    </a:lnTo>
                    <a:lnTo>
                      <a:pt x="51" y="169"/>
                    </a:lnTo>
                    <a:lnTo>
                      <a:pt x="56" y="173"/>
                    </a:lnTo>
                    <a:lnTo>
                      <a:pt x="56" y="171"/>
                    </a:lnTo>
                    <a:lnTo>
                      <a:pt x="57" y="171"/>
                    </a:lnTo>
                    <a:lnTo>
                      <a:pt x="59" y="171"/>
                    </a:lnTo>
                    <a:lnTo>
                      <a:pt x="59" y="173"/>
                    </a:lnTo>
                    <a:lnTo>
                      <a:pt x="63" y="174"/>
                    </a:lnTo>
                    <a:lnTo>
                      <a:pt x="64" y="174"/>
                    </a:lnTo>
                    <a:lnTo>
                      <a:pt x="97" y="177"/>
                    </a:lnTo>
                    <a:lnTo>
                      <a:pt x="99" y="177"/>
                    </a:lnTo>
                    <a:lnTo>
                      <a:pt x="102" y="179"/>
                    </a:lnTo>
                    <a:lnTo>
                      <a:pt x="103" y="180"/>
                    </a:lnTo>
                    <a:lnTo>
                      <a:pt x="105" y="180"/>
                    </a:lnTo>
                    <a:lnTo>
                      <a:pt x="106" y="183"/>
                    </a:lnTo>
                    <a:lnTo>
                      <a:pt x="107" y="184"/>
                    </a:lnTo>
                    <a:lnTo>
                      <a:pt x="109" y="184"/>
                    </a:lnTo>
                    <a:lnTo>
                      <a:pt x="112" y="184"/>
                    </a:lnTo>
                    <a:lnTo>
                      <a:pt x="113" y="186"/>
                    </a:lnTo>
                    <a:lnTo>
                      <a:pt x="116" y="187"/>
                    </a:lnTo>
                    <a:lnTo>
                      <a:pt x="120" y="190"/>
                    </a:lnTo>
                    <a:lnTo>
                      <a:pt x="123" y="192"/>
                    </a:lnTo>
                    <a:lnTo>
                      <a:pt x="125" y="193"/>
                    </a:lnTo>
                    <a:lnTo>
                      <a:pt x="132" y="193"/>
                    </a:lnTo>
                    <a:lnTo>
                      <a:pt x="133" y="193"/>
                    </a:lnTo>
                    <a:lnTo>
                      <a:pt x="133" y="194"/>
                    </a:lnTo>
                    <a:lnTo>
                      <a:pt x="133" y="197"/>
                    </a:lnTo>
                    <a:lnTo>
                      <a:pt x="133" y="199"/>
                    </a:lnTo>
                    <a:lnTo>
                      <a:pt x="133" y="199"/>
                    </a:lnTo>
                    <a:lnTo>
                      <a:pt x="135" y="200"/>
                    </a:lnTo>
                    <a:lnTo>
                      <a:pt x="135" y="200"/>
                    </a:lnTo>
                    <a:lnTo>
                      <a:pt x="136" y="200"/>
                    </a:lnTo>
                    <a:lnTo>
                      <a:pt x="138" y="202"/>
                    </a:lnTo>
                    <a:lnTo>
                      <a:pt x="138" y="205"/>
                    </a:lnTo>
                    <a:lnTo>
                      <a:pt x="142" y="215"/>
                    </a:lnTo>
                    <a:lnTo>
                      <a:pt x="143" y="216"/>
                    </a:lnTo>
                    <a:lnTo>
                      <a:pt x="145" y="219"/>
                    </a:lnTo>
                    <a:lnTo>
                      <a:pt x="148" y="222"/>
                    </a:lnTo>
                    <a:lnTo>
                      <a:pt x="148" y="222"/>
                    </a:lnTo>
                    <a:lnTo>
                      <a:pt x="149" y="223"/>
                    </a:lnTo>
                    <a:lnTo>
                      <a:pt x="149" y="223"/>
                    </a:lnTo>
                    <a:lnTo>
                      <a:pt x="151" y="225"/>
                    </a:lnTo>
                    <a:lnTo>
                      <a:pt x="151" y="226"/>
                    </a:lnTo>
                    <a:lnTo>
                      <a:pt x="151" y="227"/>
                    </a:lnTo>
                    <a:lnTo>
                      <a:pt x="152" y="227"/>
                    </a:lnTo>
                    <a:lnTo>
                      <a:pt x="155" y="227"/>
                    </a:lnTo>
                    <a:lnTo>
                      <a:pt x="159" y="227"/>
                    </a:lnTo>
                    <a:lnTo>
                      <a:pt x="166" y="227"/>
                    </a:lnTo>
                    <a:lnTo>
                      <a:pt x="197" y="230"/>
                    </a:lnTo>
                    <a:lnTo>
                      <a:pt x="204" y="230"/>
                    </a:lnTo>
                    <a:lnTo>
                      <a:pt x="217" y="230"/>
                    </a:lnTo>
                    <a:lnTo>
                      <a:pt x="235" y="232"/>
                    </a:lnTo>
                    <a:lnTo>
                      <a:pt x="241" y="233"/>
                    </a:lnTo>
                    <a:lnTo>
                      <a:pt x="245" y="235"/>
                    </a:lnTo>
                    <a:lnTo>
                      <a:pt x="248" y="238"/>
                    </a:lnTo>
                    <a:lnTo>
                      <a:pt x="250" y="239"/>
                    </a:lnTo>
                    <a:lnTo>
                      <a:pt x="253" y="240"/>
                    </a:lnTo>
                    <a:lnTo>
                      <a:pt x="255" y="242"/>
                    </a:lnTo>
                    <a:lnTo>
                      <a:pt x="265" y="243"/>
                    </a:lnTo>
                    <a:lnTo>
                      <a:pt x="268" y="245"/>
                    </a:lnTo>
                    <a:lnTo>
                      <a:pt x="271" y="246"/>
                    </a:lnTo>
                    <a:lnTo>
                      <a:pt x="277" y="249"/>
                    </a:lnTo>
                    <a:lnTo>
                      <a:pt x="280" y="249"/>
                    </a:lnTo>
                    <a:lnTo>
                      <a:pt x="284" y="249"/>
                    </a:lnTo>
                    <a:lnTo>
                      <a:pt x="294" y="248"/>
                    </a:lnTo>
                    <a:lnTo>
                      <a:pt x="294" y="250"/>
                    </a:lnTo>
                    <a:lnTo>
                      <a:pt x="294" y="250"/>
                    </a:lnTo>
                    <a:lnTo>
                      <a:pt x="296" y="252"/>
                    </a:lnTo>
                    <a:lnTo>
                      <a:pt x="303" y="253"/>
                    </a:lnTo>
                    <a:lnTo>
                      <a:pt x="304" y="252"/>
                    </a:lnTo>
                    <a:lnTo>
                      <a:pt x="306" y="252"/>
                    </a:lnTo>
                    <a:lnTo>
                      <a:pt x="306" y="250"/>
                    </a:lnTo>
                    <a:lnTo>
                      <a:pt x="307" y="249"/>
                    </a:lnTo>
                    <a:lnTo>
                      <a:pt x="326" y="240"/>
                    </a:lnTo>
                    <a:lnTo>
                      <a:pt x="333" y="239"/>
                    </a:lnTo>
                    <a:lnTo>
                      <a:pt x="340" y="238"/>
                    </a:lnTo>
                    <a:lnTo>
                      <a:pt x="353" y="236"/>
                    </a:lnTo>
                    <a:lnTo>
                      <a:pt x="375" y="235"/>
                    </a:lnTo>
                    <a:lnTo>
                      <a:pt x="380" y="233"/>
                    </a:lnTo>
                    <a:lnTo>
                      <a:pt x="393" y="229"/>
                    </a:lnTo>
                    <a:lnTo>
                      <a:pt x="399" y="226"/>
                    </a:lnTo>
                    <a:lnTo>
                      <a:pt x="406" y="217"/>
                    </a:lnTo>
                    <a:lnTo>
                      <a:pt x="411" y="213"/>
                    </a:lnTo>
                    <a:lnTo>
                      <a:pt x="421" y="209"/>
                    </a:lnTo>
                    <a:lnTo>
                      <a:pt x="423" y="206"/>
                    </a:lnTo>
                    <a:lnTo>
                      <a:pt x="422" y="200"/>
                    </a:lnTo>
                    <a:lnTo>
                      <a:pt x="418" y="196"/>
                    </a:lnTo>
                    <a:lnTo>
                      <a:pt x="416" y="194"/>
                    </a:lnTo>
                    <a:lnTo>
                      <a:pt x="415" y="192"/>
                    </a:lnTo>
                    <a:lnTo>
                      <a:pt x="416" y="189"/>
                    </a:lnTo>
                    <a:lnTo>
                      <a:pt x="418" y="186"/>
                    </a:lnTo>
                    <a:lnTo>
                      <a:pt x="419" y="182"/>
                    </a:lnTo>
                    <a:lnTo>
                      <a:pt x="421" y="180"/>
                    </a:lnTo>
                    <a:lnTo>
                      <a:pt x="422" y="177"/>
                    </a:lnTo>
                    <a:lnTo>
                      <a:pt x="425" y="176"/>
                    </a:lnTo>
                    <a:lnTo>
                      <a:pt x="428" y="174"/>
                    </a:lnTo>
                    <a:lnTo>
                      <a:pt x="431" y="176"/>
                    </a:lnTo>
                    <a:lnTo>
                      <a:pt x="435" y="177"/>
                    </a:lnTo>
                    <a:lnTo>
                      <a:pt x="441" y="180"/>
                    </a:lnTo>
                    <a:lnTo>
                      <a:pt x="445" y="182"/>
                    </a:lnTo>
                    <a:lnTo>
                      <a:pt x="451" y="182"/>
                    </a:lnTo>
                    <a:lnTo>
                      <a:pt x="454" y="183"/>
                    </a:lnTo>
                    <a:lnTo>
                      <a:pt x="455" y="182"/>
                    </a:lnTo>
                    <a:lnTo>
                      <a:pt x="458" y="180"/>
                    </a:lnTo>
                    <a:lnTo>
                      <a:pt x="461" y="179"/>
                    </a:lnTo>
                    <a:lnTo>
                      <a:pt x="464" y="176"/>
                    </a:lnTo>
                    <a:lnTo>
                      <a:pt x="469" y="169"/>
                    </a:lnTo>
                    <a:lnTo>
                      <a:pt x="472" y="167"/>
                    </a:lnTo>
                    <a:lnTo>
                      <a:pt x="474" y="167"/>
                    </a:lnTo>
                    <a:lnTo>
                      <a:pt x="475" y="167"/>
                    </a:lnTo>
                    <a:lnTo>
                      <a:pt x="477" y="167"/>
                    </a:lnTo>
                    <a:lnTo>
                      <a:pt x="478" y="167"/>
                    </a:lnTo>
                    <a:lnTo>
                      <a:pt x="481" y="167"/>
                    </a:lnTo>
                    <a:lnTo>
                      <a:pt x="485" y="167"/>
                    </a:lnTo>
                    <a:lnTo>
                      <a:pt x="490" y="166"/>
                    </a:lnTo>
                    <a:lnTo>
                      <a:pt x="492" y="164"/>
                    </a:lnTo>
                    <a:lnTo>
                      <a:pt x="497" y="161"/>
                    </a:lnTo>
                    <a:lnTo>
                      <a:pt x="500" y="159"/>
                    </a:lnTo>
                    <a:lnTo>
                      <a:pt x="500" y="157"/>
                    </a:lnTo>
                    <a:lnTo>
                      <a:pt x="501" y="154"/>
                    </a:lnTo>
                    <a:lnTo>
                      <a:pt x="502" y="151"/>
                    </a:lnTo>
                    <a:lnTo>
                      <a:pt x="504" y="150"/>
                    </a:lnTo>
                    <a:lnTo>
                      <a:pt x="507" y="147"/>
                    </a:lnTo>
                    <a:lnTo>
                      <a:pt x="508" y="146"/>
                    </a:lnTo>
                    <a:lnTo>
                      <a:pt x="511" y="144"/>
                    </a:lnTo>
                    <a:lnTo>
                      <a:pt x="512" y="144"/>
                    </a:lnTo>
                    <a:lnTo>
                      <a:pt x="517" y="146"/>
                    </a:lnTo>
                    <a:lnTo>
                      <a:pt x="518" y="146"/>
                    </a:lnTo>
                    <a:lnTo>
                      <a:pt x="520" y="144"/>
                    </a:lnTo>
                    <a:lnTo>
                      <a:pt x="520" y="144"/>
                    </a:lnTo>
                    <a:lnTo>
                      <a:pt x="520" y="143"/>
                    </a:lnTo>
                    <a:lnTo>
                      <a:pt x="521" y="141"/>
                    </a:lnTo>
                    <a:lnTo>
                      <a:pt x="521" y="140"/>
                    </a:lnTo>
                    <a:lnTo>
                      <a:pt x="521" y="140"/>
                    </a:lnTo>
                    <a:lnTo>
                      <a:pt x="523" y="140"/>
                    </a:lnTo>
                    <a:lnTo>
                      <a:pt x="524" y="140"/>
                    </a:lnTo>
                    <a:lnTo>
                      <a:pt x="527" y="141"/>
                    </a:lnTo>
                    <a:lnTo>
                      <a:pt x="527" y="141"/>
                    </a:lnTo>
                    <a:lnTo>
                      <a:pt x="528" y="141"/>
                    </a:lnTo>
                    <a:lnTo>
                      <a:pt x="531" y="138"/>
                    </a:lnTo>
                    <a:lnTo>
                      <a:pt x="533" y="138"/>
                    </a:lnTo>
                    <a:lnTo>
                      <a:pt x="534" y="137"/>
                    </a:lnTo>
                    <a:lnTo>
                      <a:pt x="546" y="137"/>
                    </a:lnTo>
                    <a:lnTo>
                      <a:pt x="547" y="137"/>
                    </a:lnTo>
                    <a:lnTo>
                      <a:pt x="553" y="138"/>
                    </a:lnTo>
                    <a:lnTo>
                      <a:pt x="556" y="140"/>
                    </a:lnTo>
                    <a:lnTo>
                      <a:pt x="560" y="140"/>
                    </a:lnTo>
                    <a:lnTo>
                      <a:pt x="561" y="138"/>
                    </a:lnTo>
                    <a:lnTo>
                      <a:pt x="566" y="136"/>
                    </a:lnTo>
                    <a:lnTo>
                      <a:pt x="563" y="13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58" name="Freeform 162">
                <a:extLst>
                  <a:ext uri="{FF2B5EF4-FFF2-40B4-BE49-F238E27FC236}">
                    <a16:creationId xmlns:a16="http://schemas.microsoft.com/office/drawing/2014/main" id="{6B99605C-9E07-1095-301C-D3DA0843CFF1}"/>
                  </a:ext>
                </a:extLst>
              </p:cNvPr>
              <p:cNvSpPr>
                <a:spLocks/>
              </p:cNvSpPr>
              <p:nvPr/>
            </p:nvSpPr>
            <p:spPr bwMode="auto">
              <a:xfrm>
                <a:off x="7664468" y="3301244"/>
                <a:ext cx="205326" cy="112785"/>
              </a:xfrm>
              <a:custGeom>
                <a:avLst/>
                <a:gdLst>
                  <a:gd name="T0" fmla="*/ 13 w 142"/>
                  <a:gd name="T1" fmla="*/ 5 h 78"/>
                  <a:gd name="T2" fmla="*/ 4 w 142"/>
                  <a:gd name="T3" fmla="*/ 15 h 78"/>
                  <a:gd name="T4" fmla="*/ 3 w 142"/>
                  <a:gd name="T5" fmla="*/ 22 h 78"/>
                  <a:gd name="T6" fmla="*/ 0 w 142"/>
                  <a:gd name="T7" fmla="*/ 29 h 78"/>
                  <a:gd name="T8" fmla="*/ 4 w 142"/>
                  <a:gd name="T9" fmla="*/ 34 h 78"/>
                  <a:gd name="T10" fmla="*/ 7 w 142"/>
                  <a:gd name="T11" fmla="*/ 34 h 78"/>
                  <a:gd name="T12" fmla="*/ 8 w 142"/>
                  <a:gd name="T13" fmla="*/ 34 h 78"/>
                  <a:gd name="T14" fmla="*/ 11 w 142"/>
                  <a:gd name="T15" fmla="*/ 35 h 78"/>
                  <a:gd name="T16" fmla="*/ 24 w 142"/>
                  <a:gd name="T17" fmla="*/ 44 h 78"/>
                  <a:gd name="T18" fmla="*/ 30 w 142"/>
                  <a:gd name="T19" fmla="*/ 48 h 78"/>
                  <a:gd name="T20" fmla="*/ 31 w 142"/>
                  <a:gd name="T21" fmla="*/ 48 h 78"/>
                  <a:gd name="T22" fmla="*/ 34 w 142"/>
                  <a:gd name="T23" fmla="*/ 48 h 78"/>
                  <a:gd name="T24" fmla="*/ 36 w 142"/>
                  <a:gd name="T25" fmla="*/ 49 h 78"/>
                  <a:gd name="T26" fmla="*/ 41 w 142"/>
                  <a:gd name="T27" fmla="*/ 52 h 78"/>
                  <a:gd name="T28" fmla="*/ 46 w 142"/>
                  <a:gd name="T29" fmla="*/ 54 h 78"/>
                  <a:gd name="T30" fmla="*/ 51 w 142"/>
                  <a:gd name="T31" fmla="*/ 57 h 78"/>
                  <a:gd name="T32" fmla="*/ 56 w 142"/>
                  <a:gd name="T33" fmla="*/ 58 h 78"/>
                  <a:gd name="T34" fmla="*/ 60 w 142"/>
                  <a:gd name="T35" fmla="*/ 57 h 78"/>
                  <a:gd name="T36" fmla="*/ 66 w 142"/>
                  <a:gd name="T37" fmla="*/ 58 h 78"/>
                  <a:gd name="T38" fmla="*/ 67 w 142"/>
                  <a:gd name="T39" fmla="*/ 57 h 78"/>
                  <a:gd name="T40" fmla="*/ 70 w 142"/>
                  <a:gd name="T41" fmla="*/ 57 h 78"/>
                  <a:gd name="T42" fmla="*/ 80 w 142"/>
                  <a:gd name="T43" fmla="*/ 61 h 78"/>
                  <a:gd name="T44" fmla="*/ 80 w 142"/>
                  <a:gd name="T45" fmla="*/ 62 h 78"/>
                  <a:gd name="T46" fmla="*/ 83 w 142"/>
                  <a:gd name="T47" fmla="*/ 67 h 78"/>
                  <a:gd name="T48" fmla="*/ 87 w 142"/>
                  <a:gd name="T49" fmla="*/ 68 h 78"/>
                  <a:gd name="T50" fmla="*/ 89 w 142"/>
                  <a:gd name="T51" fmla="*/ 69 h 78"/>
                  <a:gd name="T52" fmla="*/ 90 w 142"/>
                  <a:gd name="T53" fmla="*/ 71 h 78"/>
                  <a:gd name="T54" fmla="*/ 96 w 142"/>
                  <a:gd name="T55" fmla="*/ 69 h 78"/>
                  <a:gd name="T56" fmla="*/ 100 w 142"/>
                  <a:gd name="T57" fmla="*/ 74 h 78"/>
                  <a:gd name="T58" fmla="*/ 105 w 142"/>
                  <a:gd name="T59" fmla="*/ 72 h 78"/>
                  <a:gd name="T60" fmla="*/ 113 w 142"/>
                  <a:gd name="T61" fmla="*/ 75 h 78"/>
                  <a:gd name="T62" fmla="*/ 122 w 142"/>
                  <a:gd name="T63" fmla="*/ 75 h 78"/>
                  <a:gd name="T64" fmla="*/ 122 w 142"/>
                  <a:gd name="T65" fmla="*/ 75 h 78"/>
                  <a:gd name="T66" fmla="*/ 125 w 142"/>
                  <a:gd name="T67" fmla="*/ 78 h 78"/>
                  <a:gd name="T68" fmla="*/ 128 w 142"/>
                  <a:gd name="T69" fmla="*/ 78 h 78"/>
                  <a:gd name="T70" fmla="*/ 132 w 142"/>
                  <a:gd name="T71" fmla="*/ 78 h 78"/>
                  <a:gd name="T72" fmla="*/ 136 w 142"/>
                  <a:gd name="T73" fmla="*/ 77 h 78"/>
                  <a:gd name="T74" fmla="*/ 139 w 142"/>
                  <a:gd name="T75" fmla="*/ 78 h 78"/>
                  <a:gd name="T76" fmla="*/ 141 w 142"/>
                  <a:gd name="T77" fmla="*/ 75 h 78"/>
                  <a:gd name="T78" fmla="*/ 142 w 142"/>
                  <a:gd name="T79" fmla="*/ 69 h 78"/>
                  <a:gd name="T80" fmla="*/ 141 w 142"/>
                  <a:gd name="T81" fmla="*/ 67 h 78"/>
                  <a:gd name="T82" fmla="*/ 139 w 142"/>
                  <a:gd name="T83" fmla="*/ 61 h 78"/>
                  <a:gd name="T84" fmla="*/ 142 w 142"/>
                  <a:gd name="T85" fmla="*/ 52 h 78"/>
                  <a:gd name="T86" fmla="*/ 141 w 142"/>
                  <a:gd name="T87" fmla="*/ 49 h 78"/>
                  <a:gd name="T88" fmla="*/ 123 w 142"/>
                  <a:gd name="T89" fmla="*/ 49 h 78"/>
                  <a:gd name="T90" fmla="*/ 115 w 142"/>
                  <a:gd name="T91" fmla="*/ 45 h 78"/>
                  <a:gd name="T92" fmla="*/ 110 w 142"/>
                  <a:gd name="T93" fmla="*/ 46 h 78"/>
                  <a:gd name="T94" fmla="*/ 105 w 142"/>
                  <a:gd name="T95" fmla="*/ 45 h 78"/>
                  <a:gd name="T96" fmla="*/ 102 w 142"/>
                  <a:gd name="T97" fmla="*/ 46 h 78"/>
                  <a:gd name="T98" fmla="*/ 93 w 142"/>
                  <a:gd name="T99" fmla="*/ 41 h 78"/>
                  <a:gd name="T100" fmla="*/ 89 w 142"/>
                  <a:gd name="T101" fmla="*/ 35 h 78"/>
                  <a:gd name="T102" fmla="*/ 82 w 142"/>
                  <a:gd name="T103" fmla="*/ 35 h 78"/>
                  <a:gd name="T104" fmla="*/ 72 w 142"/>
                  <a:gd name="T105" fmla="*/ 25 h 78"/>
                  <a:gd name="T106" fmla="*/ 66 w 142"/>
                  <a:gd name="T107" fmla="*/ 22 h 78"/>
                  <a:gd name="T108" fmla="*/ 56 w 142"/>
                  <a:gd name="T109" fmla="*/ 16 h 78"/>
                  <a:gd name="T110" fmla="*/ 33 w 142"/>
                  <a:gd name="T111" fmla="*/ 0 h 78"/>
                  <a:gd name="T112" fmla="*/ 23 w 142"/>
                  <a:gd name="T113" fmla="*/ 2 h 78"/>
                  <a:gd name="T114" fmla="*/ 16 w 142"/>
                  <a:gd name="T115" fmla="*/ 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2" h="78">
                    <a:moveTo>
                      <a:pt x="14" y="3"/>
                    </a:moveTo>
                    <a:lnTo>
                      <a:pt x="14" y="3"/>
                    </a:lnTo>
                    <a:lnTo>
                      <a:pt x="14" y="5"/>
                    </a:lnTo>
                    <a:lnTo>
                      <a:pt x="13" y="5"/>
                    </a:lnTo>
                    <a:lnTo>
                      <a:pt x="8" y="9"/>
                    </a:lnTo>
                    <a:lnTo>
                      <a:pt x="6" y="12"/>
                    </a:lnTo>
                    <a:lnTo>
                      <a:pt x="6" y="13"/>
                    </a:lnTo>
                    <a:lnTo>
                      <a:pt x="4" y="15"/>
                    </a:lnTo>
                    <a:lnTo>
                      <a:pt x="3" y="18"/>
                    </a:lnTo>
                    <a:lnTo>
                      <a:pt x="3" y="19"/>
                    </a:lnTo>
                    <a:lnTo>
                      <a:pt x="3" y="21"/>
                    </a:lnTo>
                    <a:lnTo>
                      <a:pt x="3" y="22"/>
                    </a:lnTo>
                    <a:lnTo>
                      <a:pt x="0" y="25"/>
                    </a:lnTo>
                    <a:lnTo>
                      <a:pt x="0" y="26"/>
                    </a:lnTo>
                    <a:lnTo>
                      <a:pt x="0" y="28"/>
                    </a:lnTo>
                    <a:lnTo>
                      <a:pt x="0" y="29"/>
                    </a:lnTo>
                    <a:lnTo>
                      <a:pt x="1" y="31"/>
                    </a:lnTo>
                    <a:lnTo>
                      <a:pt x="3" y="32"/>
                    </a:lnTo>
                    <a:lnTo>
                      <a:pt x="4" y="32"/>
                    </a:lnTo>
                    <a:lnTo>
                      <a:pt x="4" y="34"/>
                    </a:lnTo>
                    <a:lnTo>
                      <a:pt x="6" y="34"/>
                    </a:lnTo>
                    <a:lnTo>
                      <a:pt x="6" y="34"/>
                    </a:lnTo>
                    <a:lnTo>
                      <a:pt x="6" y="34"/>
                    </a:lnTo>
                    <a:lnTo>
                      <a:pt x="7" y="34"/>
                    </a:lnTo>
                    <a:lnTo>
                      <a:pt x="7" y="34"/>
                    </a:lnTo>
                    <a:lnTo>
                      <a:pt x="7" y="34"/>
                    </a:lnTo>
                    <a:lnTo>
                      <a:pt x="8" y="34"/>
                    </a:lnTo>
                    <a:lnTo>
                      <a:pt x="8" y="34"/>
                    </a:lnTo>
                    <a:lnTo>
                      <a:pt x="8" y="34"/>
                    </a:lnTo>
                    <a:lnTo>
                      <a:pt x="10" y="34"/>
                    </a:lnTo>
                    <a:lnTo>
                      <a:pt x="10" y="35"/>
                    </a:lnTo>
                    <a:lnTo>
                      <a:pt x="11" y="35"/>
                    </a:lnTo>
                    <a:lnTo>
                      <a:pt x="14" y="36"/>
                    </a:lnTo>
                    <a:lnTo>
                      <a:pt x="18" y="41"/>
                    </a:lnTo>
                    <a:lnTo>
                      <a:pt x="21" y="42"/>
                    </a:lnTo>
                    <a:lnTo>
                      <a:pt x="24" y="44"/>
                    </a:lnTo>
                    <a:lnTo>
                      <a:pt x="24" y="45"/>
                    </a:lnTo>
                    <a:lnTo>
                      <a:pt x="27" y="46"/>
                    </a:lnTo>
                    <a:lnTo>
                      <a:pt x="29" y="46"/>
                    </a:lnTo>
                    <a:lnTo>
                      <a:pt x="30" y="48"/>
                    </a:lnTo>
                    <a:lnTo>
                      <a:pt x="30" y="48"/>
                    </a:lnTo>
                    <a:lnTo>
                      <a:pt x="30" y="48"/>
                    </a:lnTo>
                    <a:lnTo>
                      <a:pt x="31" y="48"/>
                    </a:lnTo>
                    <a:lnTo>
                      <a:pt x="31" y="48"/>
                    </a:lnTo>
                    <a:lnTo>
                      <a:pt x="31" y="48"/>
                    </a:lnTo>
                    <a:lnTo>
                      <a:pt x="33" y="48"/>
                    </a:lnTo>
                    <a:lnTo>
                      <a:pt x="33" y="48"/>
                    </a:lnTo>
                    <a:lnTo>
                      <a:pt x="34" y="48"/>
                    </a:lnTo>
                    <a:lnTo>
                      <a:pt x="34" y="48"/>
                    </a:lnTo>
                    <a:lnTo>
                      <a:pt x="34" y="48"/>
                    </a:lnTo>
                    <a:lnTo>
                      <a:pt x="36" y="49"/>
                    </a:lnTo>
                    <a:lnTo>
                      <a:pt x="36" y="49"/>
                    </a:lnTo>
                    <a:lnTo>
                      <a:pt x="39" y="51"/>
                    </a:lnTo>
                    <a:lnTo>
                      <a:pt x="40" y="52"/>
                    </a:lnTo>
                    <a:lnTo>
                      <a:pt x="40" y="52"/>
                    </a:lnTo>
                    <a:lnTo>
                      <a:pt x="41" y="52"/>
                    </a:lnTo>
                    <a:lnTo>
                      <a:pt x="43" y="52"/>
                    </a:lnTo>
                    <a:lnTo>
                      <a:pt x="44" y="52"/>
                    </a:lnTo>
                    <a:lnTo>
                      <a:pt x="46" y="52"/>
                    </a:lnTo>
                    <a:lnTo>
                      <a:pt x="46" y="54"/>
                    </a:lnTo>
                    <a:lnTo>
                      <a:pt x="47" y="55"/>
                    </a:lnTo>
                    <a:lnTo>
                      <a:pt x="47" y="57"/>
                    </a:lnTo>
                    <a:lnTo>
                      <a:pt x="49" y="57"/>
                    </a:lnTo>
                    <a:lnTo>
                      <a:pt x="51" y="57"/>
                    </a:lnTo>
                    <a:lnTo>
                      <a:pt x="51" y="57"/>
                    </a:lnTo>
                    <a:lnTo>
                      <a:pt x="54" y="58"/>
                    </a:lnTo>
                    <a:lnTo>
                      <a:pt x="54" y="58"/>
                    </a:lnTo>
                    <a:lnTo>
                      <a:pt x="56" y="58"/>
                    </a:lnTo>
                    <a:lnTo>
                      <a:pt x="57" y="58"/>
                    </a:lnTo>
                    <a:lnTo>
                      <a:pt x="57" y="57"/>
                    </a:lnTo>
                    <a:lnTo>
                      <a:pt x="59" y="57"/>
                    </a:lnTo>
                    <a:lnTo>
                      <a:pt x="60" y="57"/>
                    </a:lnTo>
                    <a:lnTo>
                      <a:pt x="62" y="57"/>
                    </a:lnTo>
                    <a:lnTo>
                      <a:pt x="64" y="58"/>
                    </a:lnTo>
                    <a:lnTo>
                      <a:pt x="66" y="58"/>
                    </a:lnTo>
                    <a:lnTo>
                      <a:pt x="66" y="58"/>
                    </a:lnTo>
                    <a:lnTo>
                      <a:pt x="66" y="58"/>
                    </a:lnTo>
                    <a:lnTo>
                      <a:pt x="67" y="57"/>
                    </a:lnTo>
                    <a:lnTo>
                      <a:pt x="67" y="57"/>
                    </a:lnTo>
                    <a:lnTo>
                      <a:pt x="67" y="57"/>
                    </a:lnTo>
                    <a:lnTo>
                      <a:pt x="69" y="57"/>
                    </a:lnTo>
                    <a:lnTo>
                      <a:pt x="69" y="57"/>
                    </a:lnTo>
                    <a:lnTo>
                      <a:pt x="70" y="57"/>
                    </a:lnTo>
                    <a:lnTo>
                      <a:pt x="70" y="57"/>
                    </a:lnTo>
                    <a:lnTo>
                      <a:pt x="73" y="58"/>
                    </a:lnTo>
                    <a:lnTo>
                      <a:pt x="77" y="59"/>
                    </a:lnTo>
                    <a:lnTo>
                      <a:pt x="79" y="61"/>
                    </a:lnTo>
                    <a:lnTo>
                      <a:pt x="80" y="61"/>
                    </a:lnTo>
                    <a:lnTo>
                      <a:pt x="80" y="61"/>
                    </a:lnTo>
                    <a:lnTo>
                      <a:pt x="80" y="61"/>
                    </a:lnTo>
                    <a:lnTo>
                      <a:pt x="80" y="62"/>
                    </a:lnTo>
                    <a:lnTo>
                      <a:pt x="80" y="62"/>
                    </a:lnTo>
                    <a:lnTo>
                      <a:pt x="80" y="64"/>
                    </a:lnTo>
                    <a:lnTo>
                      <a:pt x="80" y="64"/>
                    </a:lnTo>
                    <a:lnTo>
                      <a:pt x="80" y="65"/>
                    </a:lnTo>
                    <a:lnTo>
                      <a:pt x="83" y="67"/>
                    </a:lnTo>
                    <a:lnTo>
                      <a:pt x="85" y="67"/>
                    </a:lnTo>
                    <a:lnTo>
                      <a:pt x="86" y="68"/>
                    </a:lnTo>
                    <a:lnTo>
                      <a:pt x="87" y="68"/>
                    </a:lnTo>
                    <a:lnTo>
                      <a:pt x="87" y="68"/>
                    </a:lnTo>
                    <a:lnTo>
                      <a:pt x="87" y="68"/>
                    </a:lnTo>
                    <a:lnTo>
                      <a:pt x="89" y="68"/>
                    </a:lnTo>
                    <a:lnTo>
                      <a:pt x="89" y="69"/>
                    </a:lnTo>
                    <a:lnTo>
                      <a:pt x="89" y="69"/>
                    </a:lnTo>
                    <a:lnTo>
                      <a:pt x="89" y="69"/>
                    </a:lnTo>
                    <a:lnTo>
                      <a:pt x="89" y="69"/>
                    </a:lnTo>
                    <a:lnTo>
                      <a:pt x="89" y="71"/>
                    </a:lnTo>
                    <a:lnTo>
                      <a:pt x="90" y="71"/>
                    </a:lnTo>
                    <a:lnTo>
                      <a:pt x="92" y="71"/>
                    </a:lnTo>
                    <a:lnTo>
                      <a:pt x="95" y="69"/>
                    </a:lnTo>
                    <a:lnTo>
                      <a:pt x="96" y="69"/>
                    </a:lnTo>
                    <a:lnTo>
                      <a:pt x="96" y="69"/>
                    </a:lnTo>
                    <a:lnTo>
                      <a:pt x="97" y="69"/>
                    </a:lnTo>
                    <a:lnTo>
                      <a:pt x="97" y="69"/>
                    </a:lnTo>
                    <a:lnTo>
                      <a:pt x="99" y="72"/>
                    </a:lnTo>
                    <a:lnTo>
                      <a:pt x="100" y="74"/>
                    </a:lnTo>
                    <a:lnTo>
                      <a:pt x="103" y="74"/>
                    </a:lnTo>
                    <a:lnTo>
                      <a:pt x="103" y="72"/>
                    </a:lnTo>
                    <a:lnTo>
                      <a:pt x="103" y="72"/>
                    </a:lnTo>
                    <a:lnTo>
                      <a:pt x="105" y="72"/>
                    </a:lnTo>
                    <a:lnTo>
                      <a:pt x="105" y="74"/>
                    </a:lnTo>
                    <a:lnTo>
                      <a:pt x="110" y="74"/>
                    </a:lnTo>
                    <a:lnTo>
                      <a:pt x="112" y="75"/>
                    </a:lnTo>
                    <a:lnTo>
                      <a:pt x="113" y="75"/>
                    </a:lnTo>
                    <a:lnTo>
                      <a:pt x="116" y="77"/>
                    </a:lnTo>
                    <a:lnTo>
                      <a:pt x="118" y="77"/>
                    </a:lnTo>
                    <a:lnTo>
                      <a:pt x="119" y="75"/>
                    </a:lnTo>
                    <a:lnTo>
                      <a:pt x="122" y="75"/>
                    </a:lnTo>
                    <a:lnTo>
                      <a:pt x="122" y="75"/>
                    </a:lnTo>
                    <a:lnTo>
                      <a:pt x="122" y="75"/>
                    </a:lnTo>
                    <a:lnTo>
                      <a:pt x="122" y="75"/>
                    </a:lnTo>
                    <a:lnTo>
                      <a:pt x="122" y="75"/>
                    </a:lnTo>
                    <a:lnTo>
                      <a:pt x="123" y="77"/>
                    </a:lnTo>
                    <a:lnTo>
                      <a:pt x="123" y="77"/>
                    </a:lnTo>
                    <a:lnTo>
                      <a:pt x="125" y="78"/>
                    </a:lnTo>
                    <a:lnTo>
                      <a:pt x="125" y="78"/>
                    </a:lnTo>
                    <a:lnTo>
                      <a:pt x="125" y="78"/>
                    </a:lnTo>
                    <a:lnTo>
                      <a:pt x="126" y="78"/>
                    </a:lnTo>
                    <a:lnTo>
                      <a:pt x="128" y="78"/>
                    </a:lnTo>
                    <a:lnTo>
                      <a:pt x="128" y="78"/>
                    </a:lnTo>
                    <a:lnTo>
                      <a:pt x="129" y="77"/>
                    </a:lnTo>
                    <a:lnTo>
                      <a:pt x="129" y="78"/>
                    </a:lnTo>
                    <a:lnTo>
                      <a:pt x="130" y="78"/>
                    </a:lnTo>
                    <a:lnTo>
                      <a:pt x="132" y="78"/>
                    </a:lnTo>
                    <a:lnTo>
                      <a:pt x="133" y="77"/>
                    </a:lnTo>
                    <a:lnTo>
                      <a:pt x="135" y="77"/>
                    </a:lnTo>
                    <a:lnTo>
                      <a:pt x="135" y="77"/>
                    </a:lnTo>
                    <a:lnTo>
                      <a:pt x="136" y="77"/>
                    </a:lnTo>
                    <a:lnTo>
                      <a:pt x="138" y="78"/>
                    </a:lnTo>
                    <a:lnTo>
                      <a:pt x="138" y="78"/>
                    </a:lnTo>
                    <a:lnTo>
                      <a:pt x="139" y="78"/>
                    </a:lnTo>
                    <a:lnTo>
                      <a:pt x="139" y="78"/>
                    </a:lnTo>
                    <a:lnTo>
                      <a:pt x="139" y="77"/>
                    </a:lnTo>
                    <a:lnTo>
                      <a:pt x="141" y="77"/>
                    </a:lnTo>
                    <a:lnTo>
                      <a:pt x="141" y="77"/>
                    </a:lnTo>
                    <a:lnTo>
                      <a:pt x="141" y="75"/>
                    </a:lnTo>
                    <a:lnTo>
                      <a:pt x="141" y="74"/>
                    </a:lnTo>
                    <a:lnTo>
                      <a:pt x="142" y="71"/>
                    </a:lnTo>
                    <a:lnTo>
                      <a:pt x="142" y="71"/>
                    </a:lnTo>
                    <a:lnTo>
                      <a:pt x="142" y="69"/>
                    </a:lnTo>
                    <a:lnTo>
                      <a:pt x="142" y="69"/>
                    </a:lnTo>
                    <a:lnTo>
                      <a:pt x="142" y="68"/>
                    </a:lnTo>
                    <a:lnTo>
                      <a:pt x="141" y="67"/>
                    </a:lnTo>
                    <a:lnTo>
                      <a:pt x="141" y="67"/>
                    </a:lnTo>
                    <a:lnTo>
                      <a:pt x="139" y="64"/>
                    </a:lnTo>
                    <a:lnTo>
                      <a:pt x="139" y="64"/>
                    </a:lnTo>
                    <a:lnTo>
                      <a:pt x="139" y="62"/>
                    </a:lnTo>
                    <a:lnTo>
                      <a:pt x="139" y="61"/>
                    </a:lnTo>
                    <a:lnTo>
                      <a:pt x="139" y="61"/>
                    </a:lnTo>
                    <a:lnTo>
                      <a:pt x="139" y="58"/>
                    </a:lnTo>
                    <a:lnTo>
                      <a:pt x="139" y="57"/>
                    </a:lnTo>
                    <a:lnTo>
                      <a:pt x="142" y="52"/>
                    </a:lnTo>
                    <a:lnTo>
                      <a:pt x="142" y="49"/>
                    </a:lnTo>
                    <a:lnTo>
                      <a:pt x="142" y="49"/>
                    </a:lnTo>
                    <a:lnTo>
                      <a:pt x="141" y="49"/>
                    </a:lnTo>
                    <a:lnTo>
                      <a:pt x="141" y="49"/>
                    </a:lnTo>
                    <a:lnTo>
                      <a:pt x="141" y="48"/>
                    </a:lnTo>
                    <a:lnTo>
                      <a:pt x="136" y="48"/>
                    </a:lnTo>
                    <a:lnTo>
                      <a:pt x="128" y="49"/>
                    </a:lnTo>
                    <a:lnTo>
                      <a:pt x="123" y="49"/>
                    </a:lnTo>
                    <a:lnTo>
                      <a:pt x="122" y="48"/>
                    </a:lnTo>
                    <a:lnTo>
                      <a:pt x="118" y="45"/>
                    </a:lnTo>
                    <a:lnTo>
                      <a:pt x="116" y="45"/>
                    </a:lnTo>
                    <a:lnTo>
                      <a:pt x="115" y="45"/>
                    </a:lnTo>
                    <a:lnTo>
                      <a:pt x="113" y="45"/>
                    </a:lnTo>
                    <a:lnTo>
                      <a:pt x="113" y="46"/>
                    </a:lnTo>
                    <a:lnTo>
                      <a:pt x="112" y="48"/>
                    </a:lnTo>
                    <a:lnTo>
                      <a:pt x="110" y="46"/>
                    </a:lnTo>
                    <a:lnTo>
                      <a:pt x="109" y="45"/>
                    </a:lnTo>
                    <a:lnTo>
                      <a:pt x="107" y="45"/>
                    </a:lnTo>
                    <a:lnTo>
                      <a:pt x="106" y="44"/>
                    </a:lnTo>
                    <a:lnTo>
                      <a:pt x="105" y="45"/>
                    </a:lnTo>
                    <a:lnTo>
                      <a:pt x="105" y="46"/>
                    </a:lnTo>
                    <a:lnTo>
                      <a:pt x="105" y="48"/>
                    </a:lnTo>
                    <a:lnTo>
                      <a:pt x="103" y="48"/>
                    </a:lnTo>
                    <a:lnTo>
                      <a:pt x="102" y="46"/>
                    </a:lnTo>
                    <a:lnTo>
                      <a:pt x="99" y="42"/>
                    </a:lnTo>
                    <a:lnTo>
                      <a:pt x="97" y="41"/>
                    </a:lnTo>
                    <a:lnTo>
                      <a:pt x="95" y="41"/>
                    </a:lnTo>
                    <a:lnTo>
                      <a:pt x="93" y="41"/>
                    </a:lnTo>
                    <a:lnTo>
                      <a:pt x="90" y="41"/>
                    </a:lnTo>
                    <a:lnTo>
                      <a:pt x="89" y="39"/>
                    </a:lnTo>
                    <a:lnTo>
                      <a:pt x="87" y="38"/>
                    </a:lnTo>
                    <a:lnTo>
                      <a:pt x="89" y="35"/>
                    </a:lnTo>
                    <a:lnTo>
                      <a:pt x="89" y="34"/>
                    </a:lnTo>
                    <a:lnTo>
                      <a:pt x="87" y="34"/>
                    </a:lnTo>
                    <a:lnTo>
                      <a:pt x="83" y="35"/>
                    </a:lnTo>
                    <a:lnTo>
                      <a:pt x="82" y="35"/>
                    </a:lnTo>
                    <a:lnTo>
                      <a:pt x="79" y="34"/>
                    </a:lnTo>
                    <a:lnTo>
                      <a:pt x="76" y="31"/>
                    </a:lnTo>
                    <a:lnTo>
                      <a:pt x="73" y="28"/>
                    </a:lnTo>
                    <a:lnTo>
                      <a:pt x="72" y="25"/>
                    </a:lnTo>
                    <a:lnTo>
                      <a:pt x="70" y="23"/>
                    </a:lnTo>
                    <a:lnTo>
                      <a:pt x="69" y="22"/>
                    </a:lnTo>
                    <a:lnTo>
                      <a:pt x="67" y="22"/>
                    </a:lnTo>
                    <a:lnTo>
                      <a:pt x="66" y="22"/>
                    </a:lnTo>
                    <a:lnTo>
                      <a:pt x="63" y="22"/>
                    </a:lnTo>
                    <a:lnTo>
                      <a:pt x="62" y="22"/>
                    </a:lnTo>
                    <a:lnTo>
                      <a:pt x="60" y="22"/>
                    </a:lnTo>
                    <a:lnTo>
                      <a:pt x="56" y="16"/>
                    </a:lnTo>
                    <a:lnTo>
                      <a:pt x="37" y="6"/>
                    </a:lnTo>
                    <a:lnTo>
                      <a:pt x="36" y="5"/>
                    </a:lnTo>
                    <a:lnTo>
                      <a:pt x="34" y="2"/>
                    </a:lnTo>
                    <a:lnTo>
                      <a:pt x="33" y="0"/>
                    </a:lnTo>
                    <a:lnTo>
                      <a:pt x="30" y="0"/>
                    </a:lnTo>
                    <a:lnTo>
                      <a:pt x="27" y="0"/>
                    </a:lnTo>
                    <a:lnTo>
                      <a:pt x="26" y="0"/>
                    </a:lnTo>
                    <a:lnTo>
                      <a:pt x="23" y="2"/>
                    </a:lnTo>
                    <a:lnTo>
                      <a:pt x="20" y="5"/>
                    </a:lnTo>
                    <a:lnTo>
                      <a:pt x="18" y="6"/>
                    </a:lnTo>
                    <a:lnTo>
                      <a:pt x="17" y="6"/>
                    </a:lnTo>
                    <a:lnTo>
                      <a:pt x="16" y="5"/>
                    </a:lnTo>
                    <a:lnTo>
                      <a:pt x="16" y="3"/>
                    </a:lnTo>
                    <a:lnTo>
                      <a:pt x="14" y="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59" name="Freeform 163">
                <a:extLst>
                  <a:ext uri="{FF2B5EF4-FFF2-40B4-BE49-F238E27FC236}">
                    <a16:creationId xmlns:a16="http://schemas.microsoft.com/office/drawing/2014/main" id="{0C16F5F3-5C2D-C33A-FF10-ED44F2B0D5E4}"/>
                  </a:ext>
                </a:extLst>
              </p:cNvPr>
              <p:cNvSpPr>
                <a:spLocks/>
              </p:cNvSpPr>
              <p:nvPr/>
            </p:nvSpPr>
            <p:spPr bwMode="auto">
              <a:xfrm>
                <a:off x="7884254" y="3357636"/>
                <a:ext cx="85312" cy="47717"/>
              </a:xfrm>
              <a:custGeom>
                <a:avLst/>
                <a:gdLst>
                  <a:gd name="T0" fmla="*/ 0 w 59"/>
                  <a:gd name="T1" fmla="*/ 23 h 33"/>
                  <a:gd name="T2" fmla="*/ 0 w 59"/>
                  <a:gd name="T3" fmla="*/ 25 h 33"/>
                  <a:gd name="T4" fmla="*/ 1 w 59"/>
                  <a:gd name="T5" fmla="*/ 25 h 33"/>
                  <a:gd name="T6" fmla="*/ 1 w 59"/>
                  <a:gd name="T7" fmla="*/ 26 h 33"/>
                  <a:gd name="T8" fmla="*/ 4 w 59"/>
                  <a:gd name="T9" fmla="*/ 29 h 33"/>
                  <a:gd name="T10" fmla="*/ 7 w 59"/>
                  <a:gd name="T11" fmla="*/ 30 h 33"/>
                  <a:gd name="T12" fmla="*/ 10 w 59"/>
                  <a:gd name="T13" fmla="*/ 30 h 33"/>
                  <a:gd name="T14" fmla="*/ 12 w 59"/>
                  <a:gd name="T15" fmla="*/ 30 h 33"/>
                  <a:gd name="T16" fmla="*/ 14 w 59"/>
                  <a:gd name="T17" fmla="*/ 32 h 33"/>
                  <a:gd name="T18" fmla="*/ 16 w 59"/>
                  <a:gd name="T19" fmla="*/ 32 h 33"/>
                  <a:gd name="T20" fmla="*/ 16 w 59"/>
                  <a:gd name="T21" fmla="*/ 32 h 33"/>
                  <a:gd name="T22" fmla="*/ 17 w 59"/>
                  <a:gd name="T23" fmla="*/ 32 h 33"/>
                  <a:gd name="T24" fmla="*/ 17 w 59"/>
                  <a:gd name="T25" fmla="*/ 33 h 33"/>
                  <a:gd name="T26" fmla="*/ 20 w 59"/>
                  <a:gd name="T27" fmla="*/ 32 h 33"/>
                  <a:gd name="T28" fmla="*/ 24 w 59"/>
                  <a:gd name="T29" fmla="*/ 30 h 33"/>
                  <a:gd name="T30" fmla="*/ 26 w 59"/>
                  <a:gd name="T31" fmla="*/ 29 h 33"/>
                  <a:gd name="T32" fmla="*/ 29 w 59"/>
                  <a:gd name="T33" fmla="*/ 29 h 33"/>
                  <a:gd name="T34" fmla="*/ 32 w 59"/>
                  <a:gd name="T35" fmla="*/ 30 h 33"/>
                  <a:gd name="T36" fmla="*/ 33 w 59"/>
                  <a:gd name="T37" fmla="*/ 30 h 33"/>
                  <a:gd name="T38" fmla="*/ 34 w 59"/>
                  <a:gd name="T39" fmla="*/ 32 h 33"/>
                  <a:gd name="T40" fmla="*/ 45 w 59"/>
                  <a:gd name="T41" fmla="*/ 30 h 33"/>
                  <a:gd name="T42" fmla="*/ 47 w 59"/>
                  <a:gd name="T43" fmla="*/ 29 h 33"/>
                  <a:gd name="T44" fmla="*/ 49 w 59"/>
                  <a:gd name="T45" fmla="*/ 30 h 33"/>
                  <a:gd name="T46" fmla="*/ 50 w 59"/>
                  <a:gd name="T47" fmla="*/ 30 h 33"/>
                  <a:gd name="T48" fmla="*/ 55 w 59"/>
                  <a:gd name="T49" fmla="*/ 30 h 33"/>
                  <a:gd name="T50" fmla="*/ 56 w 59"/>
                  <a:gd name="T51" fmla="*/ 29 h 33"/>
                  <a:gd name="T52" fmla="*/ 59 w 59"/>
                  <a:gd name="T53" fmla="*/ 28 h 33"/>
                  <a:gd name="T54" fmla="*/ 57 w 59"/>
                  <a:gd name="T55" fmla="*/ 26 h 33"/>
                  <a:gd name="T56" fmla="*/ 57 w 59"/>
                  <a:gd name="T57" fmla="*/ 25 h 33"/>
                  <a:gd name="T58" fmla="*/ 57 w 59"/>
                  <a:gd name="T59" fmla="*/ 25 h 33"/>
                  <a:gd name="T60" fmla="*/ 57 w 59"/>
                  <a:gd name="T61" fmla="*/ 22 h 33"/>
                  <a:gd name="T62" fmla="*/ 59 w 59"/>
                  <a:gd name="T63" fmla="*/ 20 h 33"/>
                  <a:gd name="T64" fmla="*/ 56 w 59"/>
                  <a:gd name="T65" fmla="*/ 18 h 33"/>
                  <a:gd name="T66" fmla="*/ 52 w 59"/>
                  <a:gd name="T67" fmla="*/ 18 h 33"/>
                  <a:gd name="T68" fmla="*/ 50 w 59"/>
                  <a:gd name="T69" fmla="*/ 16 h 33"/>
                  <a:gd name="T70" fmla="*/ 50 w 59"/>
                  <a:gd name="T71" fmla="*/ 13 h 33"/>
                  <a:gd name="T72" fmla="*/ 50 w 59"/>
                  <a:gd name="T73" fmla="*/ 9 h 33"/>
                  <a:gd name="T74" fmla="*/ 46 w 59"/>
                  <a:gd name="T75" fmla="*/ 7 h 33"/>
                  <a:gd name="T76" fmla="*/ 43 w 59"/>
                  <a:gd name="T77" fmla="*/ 7 h 33"/>
                  <a:gd name="T78" fmla="*/ 36 w 59"/>
                  <a:gd name="T79" fmla="*/ 6 h 33"/>
                  <a:gd name="T80" fmla="*/ 32 w 59"/>
                  <a:gd name="T81" fmla="*/ 6 h 33"/>
                  <a:gd name="T82" fmla="*/ 29 w 59"/>
                  <a:gd name="T83" fmla="*/ 5 h 33"/>
                  <a:gd name="T84" fmla="*/ 29 w 59"/>
                  <a:gd name="T85" fmla="*/ 3 h 33"/>
                  <a:gd name="T86" fmla="*/ 26 w 59"/>
                  <a:gd name="T87" fmla="*/ 2 h 33"/>
                  <a:gd name="T88" fmla="*/ 22 w 59"/>
                  <a:gd name="T89" fmla="*/ 0 h 33"/>
                  <a:gd name="T90" fmla="*/ 16 w 59"/>
                  <a:gd name="T91" fmla="*/ 3 h 33"/>
                  <a:gd name="T92" fmla="*/ 4 w 59"/>
                  <a:gd name="T93" fmla="*/ 16 h 33"/>
                  <a:gd name="T94" fmla="*/ 3 w 59"/>
                  <a:gd name="T95"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 h="33">
                    <a:moveTo>
                      <a:pt x="1" y="22"/>
                    </a:moveTo>
                    <a:lnTo>
                      <a:pt x="1" y="22"/>
                    </a:lnTo>
                    <a:lnTo>
                      <a:pt x="0" y="23"/>
                    </a:lnTo>
                    <a:lnTo>
                      <a:pt x="0" y="23"/>
                    </a:lnTo>
                    <a:lnTo>
                      <a:pt x="0" y="23"/>
                    </a:lnTo>
                    <a:lnTo>
                      <a:pt x="0" y="25"/>
                    </a:lnTo>
                    <a:lnTo>
                      <a:pt x="1" y="25"/>
                    </a:lnTo>
                    <a:lnTo>
                      <a:pt x="1" y="25"/>
                    </a:lnTo>
                    <a:lnTo>
                      <a:pt x="1" y="25"/>
                    </a:lnTo>
                    <a:lnTo>
                      <a:pt x="1" y="25"/>
                    </a:lnTo>
                    <a:lnTo>
                      <a:pt x="1" y="26"/>
                    </a:lnTo>
                    <a:lnTo>
                      <a:pt x="1" y="26"/>
                    </a:lnTo>
                    <a:lnTo>
                      <a:pt x="1" y="28"/>
                    </a:lnTo>
                    <a:lnTo>
                      <a:pt x="4" y="29"/>
                    </a:lnTo>
                    <a:lnTo>
                      <a:pt x="4" y="29"/>
                    </a:lnTo>
                    <a:lnTo>
                      <a:pt x="6" y="30"/>
                    </a:lnTo>
                    <a:lnTo>
                      <a:pt x="7" y="30"/>
                    </a:lnTo>
                    <a:lnTo>
                      <a:pt x="7" y="30"/>
                    </a:lnTo>
                    <a:lnTo>
                      <a:pt x="9" y="30"/>
                    </a:lnTo>
                    <a:lnTo>
                      <a:pt x="9" y="30"/>
                    </a:lnTo>
                    <a:lnTo>
                      <a:pt x="10" y="30"/>
                    </a:lnTo>
                    <a:lnTo>
                      <a:pt x="10" y="30"/>
                    </a:lnTo>
                    <a:lnTo>
                      <a:pt x="12" y="30"/>
                    </a:lnTo>
                    <a:lnTo>
                      <a:pt x="12" y="30"/>
                    </a:lnTo>
                    <a:lnTo>
                      <a:pt x="13" y="30"/>
                    </a:lnTo>
                    <a:lnTo>
                      <a:pt x="14" y="32"/>
                    </a:lnTo>
                    <a:lnTo>
                      <a:pt x="14" y="32"/>
                    </a:lnTo>
                    <a:lnTo>
                      <a:pt x="16" y="32"/>
                    </a:lnTo>
                    <a:lnTo>
                      <a:pt x="16" y="32"/>
                    </a:lnTo>
                    <a:lnTo>
                      <a:pt x="16" y="32"/>
                    </a:lnTo>
                    <a:lnTo>
                      <a:pt x="16" y="32"/>
                    </a:lnTo>
                    <a:lnTo>
                      <a:pt x="16" y="32"/>
                    </a:lnTo>
                    <a:lnTo>
                      <a:pt x="16" y="32"/>
                    </a:lnTo>
                    <a:lnTo>
                      <a:pt x="16" y="32"/>
                    </a:lnTo>
                    <a:lnTo>
                      <a:pt x="16" y="32"/>
                    </a:lnTo>
                    <a:lnTo>
                      <a:pt x="17" y="32"/>
                    </a:lnTo>
                    <a:lnTo>
                      <a:pt x="17" y="32"/>
                    </a:lnTo>
                    <a:lnTo>
                      <a:pt x="17" y="32"/>
                    </a:lnTo>
                    <a:lnTo>
                      <a:pt x="17" y="33"/>
                    </a:lnTo>
                    <a:lnTo>
                      <a:pt x="19" y="33"/>
                    </a:lnTo>
                    <a:lnTo>
                      <a:pt x="19" y="32"/>
                    </a:lnTo>
                    <a:lnTo>
                      <a:pt x="20" y="32"/>
                    </a:lnTo>
                    <a:lnTo>
                      <a:pt x="22" y="32"/>
                    </a:lnTo>
                    <a:lnTo>
                      <a:pt x="24" y="32"/>
                    </a:lnTo>
                    <a:lnTo>
                      <a:pt x="24" y="30"/>
                    </a:lnTo>
                    <a:lnTo>
                      <a:pt x="24" y="30"/>
                    </a:lnTo>
                    <a:lnTo>
                      <a:pt x="26" y="30"/>
                    </a:lnTo>
                    <a:lnTo>
                      <a:pt x="26" y="29"/>
                    </a:lnTo>
                    <a:lnTo>
                      <a:pt x="27" y="29"/>
                    </a:lnTo>
                    <a:lnTo>
                      <a:pt x="27" y="29"/>
                    </a:lnTo>
                    <a:lnTo>
                      <a:pt x="29" y="29"/>
                    </a:lnTo>
                    <a:lnTo>
                      <a:pt x="30" y="29"/>
                    </a:lnTo>
                    <a:lnTo>
                      <a:pt x="32" y="30"/>
                    </a:lnTo>
                    <a:lnTo>
                      <a:pt x="32" y="30"/>
                    </a:lnTo>
                    <a:lnTo>
                      <a:pt x="32" y="30"/>
                    </a:lnTo>
                    <a:lnTo>
                      <a:pt x="33" y="30"/>
                    </a:lnTo>
                    <a:lnTo>
                      <a:pt x="33" y="30"/>
                    </a:lnTo>
                    <a:lnTo>
                      <a:pt x="33" y="32"/>
                    </a:lnTo>
                    <a:lnTo>
                      <a:pt x="34" y="32"/>
                    </a:lnTo>
                    <a:lnTo>
                      <a:pt x="34" y="32"/>
                    </a:lnTo>
                    <a:lnTo>
                      <a:pt x="37" y="32"/>
                    </a:lnTo>
                    <a:lnTo>
                      <a:pt x="43" y="30"/>
                    </a:lnTo>
                    <a:lnTo>
                      <a:pt x="45" y="30"/>
                    </a:lnTo>
                    <a:lnTo>
                      <a:pt x="47" y="29"/>
                    </a:lnTo>
                    <a:lnTo>
                      <a:pt x="47" y="29"/>
                    </a:lnTo>
                    <a:lnTo>
                      <a:pt x="47" y="29"/>
                    </a:lnTo>
                    <a:lnTo>
                      <a:pt x="47" y="30"/>
                    </a:lnTo>
                    <a:lnTo>
                      <a:pt x="49" y="30"/>
                    </a:lnTo>
                    <a:lnTo>
                      <a:pt x="49" y="30"/>
                    </a:lnTo>
                    <a:lnTo>
                      <a:pt x="49" y="30"/>
                    </a:lnTo>
                    <a:lnTo>
                      <a:pt x="49" y="30"/>
                    </a:lnTo>
                    <a:lnTo>
                      <a:pt x="50" y="30"/>
                    </a:lnTo>
                    <a:lnTo>
                      <a:pt x="52" y="30"/>
                    </a:lnTo>
                    <a:lnTo>
                      <a:pt x="53" y="30"/>
                    </a:lnTo>
                    <a:lnTo>
                      <a:pt x="55" y="30"/>
                    </a:lnTo>
                    <a:lnTo>
                      <a:pt x="55" y="29"/>
                    </a:lnTo>
                    <a:lnTo>
                      <a:pt x="56" y="29"/>
                    </a:lnTo>
                    <a:lnTo>
                      <a:pt x="56" y="29"/>
                    </a:lnTo>
                    <a:lnTo>
                      <a:pt x="57" y="29"/>
                    </a:lnTo>
                    <a:lnTo>
                      <a:pt x="59" y="29"/>
                    </a:lnTo>
                    <a:lnTo>
                      <a:pt x="59" y="28"/>
                    </a:lnTo>
                    <a:lnTo>
                      <a:pt x="57" y="26"/>
                    </a:lnTo>
                    <a:lnTo>
                      <a:pt x="57" y="26"/>
                    </a:lnTo>
                    <a:lnTo>
                      <a:pt x="57" y="26"/>
                    </a:lnTo>
                    <a:lnTo>
                      <a:pt x="57" y="25"/>
                    </a:lnTo>
                    <a:lnTo>
                      <a:pt x="57" y="25"/>
                    </a:lnTo>
                    <a:lnTo>
                      <a:pt x="57" y="25"/>
                    </a:lnTo>
                    <a:lnTo>
                      <a:pt x="57" y="25"/>
                    </a:lnTo>
                    <a:lnTo>
                      <a:pt x="57" y="25"/>
                    </a:lnTo>
                    <a:lnTo>
                      <a:pt x="57" y="25"/>
                    </a:lnTo>
                    <a:lnTo>
                      <a:pt x="57" y="23"/>
                    </a:lnTo>
                    <a:lnTo>
                      <a:pt x="57" y="23"/>
                    </a:lnTo>
                    <a:lnTo>
                      <a:pt x="57" y="22"/>
                    </a:lnTo>
                    <a:lnTo>
                      <a:pt x="59" y="22"/>
                    </a:lnTo>
                    <a:lnTo>
                      <a:pt x="59" y="20"/>
                    </a:lnTo>
                    <a:lnTo>
                      <a:pt x="59" y="20"/>
                    </a:lnTo>
                    <a:lnTo>
                      <a:pt x="57" y="19"/>
                    </a:lnTo>
                    <a:lnTo>
                      <a:pt x="57" y="19"/>
                    </a:lnTo>
                    <a:lnTo>
                      <a:pt x="56" y="18"/>
                    </a:lnTo>
                    <a:lnTo>
                      <a:pt x="55" y="18"/>
                    </a:lnTo>
                    <a:lnTo>
                      <a:pt x="53" y="18"/>
                    </a:lnTo>
                    <a:lnTo>
                      <a:pt x="52" y="18"/>
                    </a:lnTo>
                    <a:lnTo>
                      <a:pt x="52" y="18"/>
                    </a:lnTo>
                    <a:lnTo>
                      <a:pt x="50" y="16"/>
                    </a:lnTo>
                    <a:lnTo>
                      <a:pt x="50" y="16"/>
                    </a:lnTo>
                    <a:lnTo>
                      <a:pt x="50" y="15"/>
                    </a:lnTo>
                    <a:lnTo>
                      <a:pt x="50" y="15"/>
                    </a:lnTo>
                    <a:lnTo>
                      <a:pt x="50" y="13"/>
                    </a:lnTo>
                    <a:lnTo>
                      <a:pt x="50" y="13"/>
                    </a:lnTo>
                    <a:lnTo>
                      <a:pt x="50" y="12"/>
                    </a:lnTo>
                    <a:lnTo>
                      <a:pt x="50" y="9"/>
                    </a:lnTo>
                    <a:lnTo>
                      <a:pt x="50" y="9"/>
                    </a:lnTo>
                    <a:lnTo>
                      <a:pt x="49" y="7"/>
                    </a:lnTo>
                    <a:lnTo>
                      <a:pt x="46" y="7"/>
                    </a:lnTo>
                    <a:lnTo>
                      <a:pt x="45" y="6"/>
                    </a:lnTo>
                    <a:lnTo>
                      <a:pt x="45" y="6"/>
                    </a:lnTo>
                    <a:lnTo>
                      <a:pt x="43" y="7"/>
                    </a:lnTo>
                    <a:lnTo>
                      <a:pt x="42" y="7"/>
                    </a:lnTo>
                    <a:lnTo>
                      <a:pt x="40" y="7"/>
                    </a:lnTo>
                    <a:lnTo>
                      <a:pt x="36" y="6"/>
                    </a:lnTo>
                    <a:lnTo>
                      <a:pt x="34" y="6"/>
                    </a:lnTo>
                    <a:lnTo>
                      <a:pt x="33" y="6"/>
                    </a:lnTo>
                    <a:lnTo>
                      <a:pt x="32" y="6"/>
                    </a:lnTo>
                    <a:lnTo>
                      <a:pt x="30" y="6"/>
                    </a:lnTo>
                    <a:lnTo>
                      <a:pt x="29" y="5"/>
                    </a:lnTo>
                    <a:lnTo>
                      <a:pt x="29" y="5"/>
                    </a:lnTo>
                    <a:lnTo>
                      <a:pt x="29" y="5"/>
                    </a:lnTo>
                    <a:lnTo>
                      <a:pt x="29" y="3"/>
                    </a:lnTo>
                    <a:lnTo>
                      <a:pt x="29" y="3"/>
                    </a:lnTo>
                    <a:lnTo>
                      <a:pt x="27" y="2"/>
                    </a:lnTo>
                    <a:lnTo>
                      <a:pt x="27" y="2"/>
                    </a:lnTo>
                    <a:lnTo>
                      <a:pt x="26" y="2"/>
                    </a:lnTo>
                    <a:lnTo>
                      <a:pt x="24" y="2"/>
                    </a:lnTo>
                    <a:lnTo>
                      <a:pt x="23" y="0"/>
                    </a:lnTo>
                    <a:lnTo>
                      <a:pt x="22" y="0"/>
                    </a:lnTo>
                    <a:lnTo>
                      <a:pt x="20" y="2"/>
                    </a:lnTo>
                    <a:lnTo>
                      <a:pt x="19" y="2"/>
                    </a:lnTo>
                    <a:lnTo>
                      <a:pt x="16" y="3"/>
                    </a:lnTo>
                    <a:lnTo>
                      <a:pt x="14" y="5"/>
                    </a:lnTo>
                    <a:lnTo>
                      <a:pt x="13" y="6"/>
                    </a:lnTo>
                    <a:lnTo>
                      <a:pt x="4" y="16"/>
                    </a:lnTo>
                    <a:lnTo>
                      <a:pt x="3" y="19"/>
                    </a:lnTo>
                    <a:lnTo>
                      <a:pt x="3" y="20"/>
                    </a:lnTo>
                    <a:lnTo>
                      <a:pt x="3" y="20"/>
                    </a:lnTo>
                    <a:lnTo>
                      <a:pt x="1" y="2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60" name="Freeform 164">
                <a:extLst>
                  <a:ext uri="{FF2B5EF4-FFF2-40B4-BE49-F238E27FC236}">
                    <a16:creationId xmlns:a16="http://schemas.microsoft.com/office/drawing/2014/main" id="{A2D6C235-0916-2827-1E01-4A15C0A0F048}"/>
                  </a:ext>
                </a:extLst>
              </p:cNvPr>
              <p:cNvSpPr>
                <a:spLocks/>
              </p:cNvSpPr>
              <p:nvPr/>
            </p:nvSpPr>
            <p:spPr bwMode="auto">
              <a:xfrm>
                <a:off x="6292252" y="2958551"/>
                <a:ext cx="474275" cy="189421"/>
              </a:xfrm>
              <a:custGeom>
                <a:avLst/>
                <a:gdLst>
                  <a:gd name="T0" fmla="*/ 178 w 328"/>
                  <a:gd name="T1" fmla="*/ 128 h 131"/>
                  <a:gd name="T2" fmla="*/ 185 w 328"/>
                  <a:gd name="T3" fmla="*/ 122 h 131"/>
                  <a:gd name="T4" fmla="*/ 188 w 328"/>
                  <a:gd name="T5" fmla="*/ 111 h 131"/>
                  <a:gd name="T6" fmla="*/ 221 w 328"/>
                  <a:gd name="T7" fmla="*/ 112 h 131"/>
                  <a:gd name="T8" fmla="*/ 262 w 328"/>
                  <a:gd name="T9" fmla="*/ 105 h 131"/>
                  <a:gd name="T10" fmla="*/ 285 w 328"/>
                  <a:gd name="T11" fmla="*/ 105 h 131"/>
                  <a:gd name="T12" fmla="*/ 305 w 328"/>
                  <a:gd name="T13" fmla="*/ 101 h 131"/>
                  <a:gd name="T14" fmla="*/ 318 w 328"/>
                  <a:gd name="T15" fmla="*/ 107 h 131"/>
                  <a:gd name="T16" fmla="*/ 327 w 328"/>
                  <a:gd name="T17" fmla="*/ 99 h 131"/>
                  <a:gd name="T18" fmla="*/ 320 w 328"/>
                  <a:gd name="T19" fmla="*/ 89 h 131"/>
                  <a:gd name="T20" fmla="*/ 321 w 328"/>
                  <a:gd name="T21" fmla="*/ 79 h 131"/>
                  <a:gd name="T22" fmla="*/ 317 w 328"/>
                  <a:gd name="T23" fmla="*/ 66 h 131"/>
                  <a:gd name="T24" fmla="*/ 317 w 328"/>
                  <a:gd name="T25" fmla="*/ 58 h 131"/>
                  <a:gd name="T26" fmla="*/ 326 w 328"/>
                  <a:gd name="T27" fmla="*/ 51 h 131"/>
                  <a:gd name="T28" fmla="*/ 324 w 328"/>
                  <a:gd name="T29" fmla="*/ 46 h 131"/>
                  <a:gd name="T30" fmla="*/ 308 w 328"/>
                  <a:gd name="T31" fmla="*/ 41 h 131"/>
                  <a:gd name="T32" fmla="*/ 308 w 328"/>
                  <a:gd name="T33" fmla="*/ 30 h 131"/>
                  <a:gd name="T34" fmla="*/ 304 w 328"/>
                  <a:gd name="T35" fmla="*/ 20 h 131"/>
                  <a:gd name="T36" fmla="*/ 294 w 328"/>
                  <a:gd name="T37" fmla="*/ 12 h 131"/>
                  <a:gd name="T38" fmla="*/ 281 w 328"/>
                  <a:gd name="T39" fmla="*/ 12 h 131"/>
                  <a:gd name="T40" fmla="*/ 265 w 328"/>
                  <a:gd name="T41" fmla="*/ 16 h 131"/>
                  <a:gd name="T42" fmla="*/ 228 w 328"/>
                  <a:gd name="T43" fmla="*/ 22 h 131"/>
                  <a:gd name="T44" fmla="*/ 188 w 328"/>
                  <a:gd name="T45" fmla="*/ 16 h 131"/>
                  <a:gd name="T46" fmla="*/ 178 w 328"/>
                  <a:gd name="T47" fmla="*/ 16 h 131"/>
                  <a:gd name="T48" fmla="*/ 170 w 328"/>
                  <a:gd name="T49" fmla="*/ 7 h 131"/>
                  <a:gd name="T50" fmla="*/ 157 w 328"/>
                  <a:gd name="T51" fmla="*/ 0 h 131"/>
                  <a:gd name="T52" fmla="*/ 124 w 328"/>
                  <a:gd name="T53" fmla="*/ 2 h 131"/>
                  <a:gd name="T54" fmla="*/ 86 w 328"/>
                  <a:gd name="T55" fmla="*/ 20 h 131"/>
                  <a:gd name="T56" fmla="*/ 64 w 328"/>
                  <a:gd name="T57" fmla="*/ 19 h 131"/>
                  <a:gd name="T58" fmla="*/ 58 w 328"/>
                  <a:gd name="T59" fmla="*/ 28 h 131"/>
                  <a:gd name="T60" fmla="*/ 50 w 328"/>
                  <a:gd name="T61" fmla="*/ 35 h 131"/>
                  <a:gd name="T62" fmla="*/ 33 w 328"/>
                  <a:gd name="T63" fmla="*/ 35 h 131"/>
                  <a:gd name="T64" fmla="*/ 28 w 328"/>
                  <a:gd name="T65" fmla="*/ 38 h 131"/>
                  <a:gd name="T66" fmla="*/ 18 w 328"/>
                  <a:gd name="T67" fmla="*/ 35 h 131"/>
                  <a:gd name="T68" fmla="*/ 1 w 328"/>
                  <a:gd name="T69" fmla="*/ 48 h 131"/>
                  <a:gd name="T70" fmla="*/ 14 w 328"/>
                  <a:gd name="T71" fmla="*/ 55 h 131"/>
                  <a:gd name="T72" fmla="*/ 11 w 328"/>
                  <a:gd name="T73" fmla="*/ 62 h 131"/>
                  <a:gd name="T74" fmla="*/ 14 w 328"/>
                  <a:gd name="T75" fmla="*/ 66 h 131"/>
                  <a:gd name="T76" fmla="*/ 12 w 328"/>
                  <a:gd name="T77" fmla="*/ 76 h 131"/>
                  <a:gd name="T78" fmla="*/ 8 w 328"/>
                  <a:gd name="T79" fmla="*/ 76 h 131"/>
                  <a:gd name="T80" fmla="*/ 4 w 328"/>
                  <a:gd name="T81" fmla="*/ 79 h 131"/>
                  <a:gd name="T82" fmla="*/ 10 w 328"/>
                  <a:gd name="T83" fmla="*/ 84 h 131"/>
                  <a:gd name="T84" fmla="*/ 20 w 328"/>
                  <a:gd name="T85" fmla="*/ 91 h 131"/>
                  <a:gd name="T86" fmla="*/ 24 w 328"/>
                  <a:gd name="T87" fmla="*/ 102 h 131"/>
                  <a:gd name="T88" fmla="*/ 37 w 328"/>
                  <a:gd name="T89" fmla="*/ 107 h 131"/>
                  <a:gd name="T90" fmla="*/ 24 w 328"/>
                  <a:gd name="T91" fmla="*/ 112 h 131"/>
                  <a:gd name="T92" fmla="*/ 33 w 328"/>
                  <a:gd name="T93" fmla="*/ 114 h 131"/>
                  <a:gd name="T94" fmla="*/ 47 w 328"/>
                  <a:gd name="T95" fmla="*/ 112 h 131"/>
                  <a:gd name="T96" fmla="*/ 57 w 328"/>
                  <a:gd name="T97" fmla="*/ 122 h 131"/>
                  <a:gd name="T98" fmla="*/ 76 w 328"/>
                  <a:gd name="T99" fmla="*/ 121 h 131"/>
                  <a:gd name="T100" fmla="*/ 81 w 328"/>
                  <a:gd name="T101" fmla="*/ 110 h 131"/>
                  <a:gd name="T102" fmla="*/ 112 w 328"/>
                  <a:gd name="T103" fmla="*/ 124 h 131"/>
                  <a:gd name="T104" fmla="*/ 147 w 328"/>
                  <a:gd name="T105" fmla="*/ 112 h 131"/>
                  <a:gd name="T106" fmla="*/ 166 w 328"/>
                  <a:gd name="T107" fmla="*/ 114 h 131"/>
                  <a:gd name="T108" fmla="*/ 175 w 328"/>
                  <a:gd name="T109" fmla="*/ 115 h 131"/>
                  <a:gd name="T110" fmla="*/ 175 w 328"/>
                  <a:gd name="T111" fmla="*/ 1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8" h="131">
                    <a:moveTo>
                      <a:pt x="175" y="130"/>
                    </a:moveTo>
                    <a:lnTo>
                      <a:pt x="176" y="131"/>
                    </a:lnTo>
                    <a:lnTo>
                      <a:pt x="176" y="130"/>
                    </a:lnTo>
                    <a:lnTo>
                      <a:pt x="176" y="130"/>
                    </a:lnTo>
                    <a:lnTo>
                      <a:pt x="176" y="128"/>
                    </a:lnTo>
                    <a:lnTo>
                      <a:pt x="178" y="128"/>
                    </a:lnTo>
                    <a:lnTo>
                      <a:pt x="178" y="128"/>
                    </a:lnTo>
                    <a:lnTo>
                      <a:pt x="179" y="127"/>
                    </a:lnTo>
                    <a:lnTo>
                      <a:pt x="179" y="127"/>
                    </a:lnTo>
                    <a:lnTo>
                      <a:pt x="180" y="125"/>
                    </a:lnTo>
                    <a:lnTo>
                      <a:pt x="180" y="124"/>
                    </a:lnTo>
                    <a:lnTo>
                      <a:pt x="180" y="124"/>
                    </a:lnTo>
                    <a:lnTo>
                      <a:pt x="182" y="122"/>
                    </a:lnTo>
                    <a:lnTo>
                      <a:pt x="185" y="122"/>
                    </a:lnTo>
                    <a:lnTo>
                      <a:pt x="185" y="122"/>
                    </a:lnTo>
                    <a:lnTo>
                      <a:pt x="185" y="120"/>
                    </a:lnTo>
                    <a:lnTo>
                      <a:pt x="183" y="118"/>
                    </a:lnTo>
                    <a:lnTo>
                      <a:pt x="183" y="115"/>
                    </a:lnTo>
                    <a:lnTo>
                      <a:pt x="183" y="114"/>
                    </a:lnTo>
                    <a:lnTo>
                      <a:pt x="186" y="111"/>
                    </a:lnTo>
                    <a:lnTo>
                      <a:pt x="188" y="111"/>
                    </a:lnTo>
                    <a:lnTo>
                      <a:pt x="193" y="114"/>
                    </a:lnTo>
                    <a:lnTo>
                      <a:pt x="198" y="114"/>
                    </a:lnTo>
                    <a:lnTo>
                      <a:pt x="201" y="114"/>
                    </a:lnTo>
                    <a:lnTo>
                      <a:pt x="212" y="110"/>
                    </a:lnTo>
                    <a:lnTo>
                      <a:pt x="213" y="110"/>
                    </a:lnTo>
                    <a:lnTo>
                      <a:pt x="216" y="111"/>
                    </a:lnTo>
                    <a:lnTo>
                      <a:pt x="221" y="112"/>
                    </a:lnTo>
                    <a:lnTo>
                      <a:pt x="224" y="114"/>
                    </a:lnTo>
                    <a:lnTo>
                      <a:pt x="228" y="114"/>
                    </a:lnTo>
                    <a:lnTo>
                      <a:pt x="231" y="114"/>
                    </a:lnTo>
                    <a:lnTo>
                      <a:pt x="235" y="112"/>
                    </a:lnTo>
                    <a:lnTo>
                      <a:pt x="242" y="111"/>
                    </a:lnTo>
                    <a:lnTo>
                      <a:pt x="255" y="105"/>
                    </a:lnTo>
                    <a:lnTo>
                      <a:pt x="262" y="105"/>
                    </a:lnTo>
                    <a:lnTo>
                      <a:pt x="267" y="105"/>
                    </a:lnTo>
                    <a:lnTo>
                      <a:pt x="269" y="105"/>
                    </a:lnTo>
                    <a:lnTo>
                      <a:pt x="274" y="105"/>
                    </a:lnTo>
                    <a:lnTo>
                      <a:pt x="277" y="104"/>
                    </a:lnTo>
                    <a:lnTo>
                      <a:pt x="282" y="101"/>
                    </a:lnTo>
                    <a:lnTo>
                      <a:pt x="284" y="102"/>
                    </a:lnTo>
                    <a:lnTo>
                      <a:pt x="285" y="105"/>
                    </a:lnTo>
                    <a:lnTo>
                      <a:pt x="288" y="104"/>
                    </a:lnTo>
                    <a:lnTo>
                      <a:pt x="291" y="101"/>
                    </a:lnTo>
                    <a:lnTo>
                      <a:pt x="292" y="99"/>
                    </a:lnTo>
                    <a:lnTo>
                      <a:pt x="294" y="99"/>
                    </a:lnTo>
                    <a:lnTo>
                      <a:pt x="300" y="99"/>
                    </a:lnTo>
                    <a:lnTo>
                      <a:pt x="303" y="101"/>
                    </a:lnTo>
                    <a:lnTo>
                      <a:pt x="305" y="101"/>
                    </a:lnTo>
                    <a:lnTo>
                      <a:pt x="310" y="101"/>
                    </a:lnTo>
                    <a:lnTo>
                      <a:pt x="313" y="101"/>
                    </a:lnTo>
                    <a:lnTo>
                      <a:pt x="315" y="101"/>
                    </a:lnTo>
                    <a:lnTo>
                      <a:pt x="317" y="101"/>
                    </a:lnTo>
                    <a:lnTo>
                      <a:pt x="317" y="102"/>
                    </a:lnTo>
                    <a:lnTo>
                      <a:pt x="318" y="102"/>
                    </a:lnTo>
                    <a:lnTo>
                      <a:pt x="318" y="107"/>
                    </a:lnTo>
                    <a:lnTo>
                      <a:pt x="318" y="107"/>
                    </a:lnTo>
                    <a:lnTo>
                      <a:pt x="320" y="107"/>
                    </a:lnTo>
                    <a:lnTo>
                      <a:pt x="323" y="105"/>
                    </a:lnTo>
                    <a:lnTo>
                      <a:pt x="326" y="104"/>
                    </a:lnTo>
                    <a:lnTo>
                      <a:pt x="327" y="104"/>
                    </a:lnTo>
                    <a:lnTo>
                      <a:pt x="328" y="101"/>
                    </a:lnTo>
                    <a:lnTo>
                      <a:pt x="327" y="99"/>
                    </a:lnTo>
                    <a:lnTo>
                      <a:pt x="326" y="98"/>
                    </a:lnTo>
                    <a:lnTo>
                      <a:pt x="324" y="97"/>
                    </a:lnTo>
                    <a:lnTo>
                      <a:pt x="324" y="94"/>
                    </a:lnTo>
                    <a:lnTo>
                      <a:pt x="324" y="92"/>
                    </a:lnTo>
                    <a:lnTo>
                      <a:pt x="323" y="92"/>
                    </a:lnTo>
                    <a:lnTo>
                      <a:pt x="321" y="89"/>
                    </a:lnTo>
                    <a:lnTo>
                      <a:pt x="320" y="89"/>
                    </a:lnTo>
                    <a:lnTo>
                      <a:pt x="318" y="89"/>
                    </a:lnTo>
                    <a:lnTo>
                      <a:pt x="318" y="88"/>
                    </a:lnTo>
                    <a:lnTo>
                      <a:pt x="318" y="87"/>
                    </a:lnTo>
                    <a:lnTo>
                      <a:pt x="318" y="87"/>
                    </a:lnTo>
                    <a:lnTo>
                      <a:pt x="321" y="82"/>
                    </a:lnTo>
                    <a:lnTo>
                      <a:pt x="321" y="81"/>
                    </a:lnTo>
                    <a:lnTo>
                      <a:pt x="321" y="79"/>
                    </a:lnTo>
                    <a:lnTo>
                      <a:pt x="320" y="79"/>
                    </a:lnTo>
                    <a:lnTo>
                      <a:pt x="320" y="78"/>
                    </a:lnTo>
                    <a:lnTo>
                      <a:pt x="318" y="76"/>
                    </a:lnTo>
                    <a:lnTo>
                      <a:pt x="318" y="72"/>
                    </a:lnTo>
                    <a:lnTo>
                      <a:pt x="318" y="71"/>
                    </a:lnTo>
                    <a:lnTo>
                      <a:pt x="317" y="66"/>
                    </a:lnTo>
                    <a:lnTo>
                      <a:pt x="317" y="66"/>
                    </a:lnTo>
                    <a:lnTo>
                      <a:pt x="317" y="64"/>
                    </a:lnTo>
                    <a:lnTo>
                      <a:pt x="317" y="64"/>
                    </a:lnTo>
                    <a:lnTo>
                      <a:pt x="317" y="62"/>
                    </a:lnTo>
                    <a:lnTo>
                      <a:pt x="315" y="61"/>
                    </a:lnTo>
                    <a:lnTo>
                      <a:pt x="315" y="59"/>
                    </a:lnTo>
                    <a:lnTo>
                      <a:pt x="315" y="58"/>
                    </a:lnTo>
                    <a:lnTo>
                      <a:pt x="317" y="58"/>
                    </a:lnTo>
                    <a:lnTo>
                      <a:pt x="320" y="58"/>
                    </a:lnTo>
                    <a:lnTo>
                      <a:pt x="321" y="56"/>
                    </a:lnTo>
                    <a:lnTo>
                      <a:pt x="321" y="55"/>
                    </a:lnTo>
                    <a:lnTo>
                      <a:pt x="323" y="53"/>
                    </a:lnTo>
                    <a:lnTo>
                      <a:pt x="323" y="51"/>
                    </a:lnTo>
                    <a:lnTo>
                      <a:pt x="324" y="51"/>
                    </a:lnTo>
                    <a:lnTo>
                      <a:pt x="326" y="51"/>
                    </a:lnTo>
                    <a:lnTo>
                      <a:pt x="326" y="51"/>
                    </a:lnTo>
                    <a:lnTo>
                      <a:pt x="327" y="52"/>
                    </a:lnTo>
                    <a:lnTo>
                      <a:pt x="328" y="52"/>
                    </a:lnTo>
                    <a:lnTo>
                      <a:pt x="328" y="52"/>
                    </a:lnTo>
                    <a:lnTo>
                      <a:pt x="328" y="51"/>
                    </a:lnTo>
                    <a:lnTo>
                      <a:pt x="326" y="49"/>
                    </a:lnTo>
                    <a:lnTo>
                      <a:pt x="324" y="46"/>
                    </a:lnTo>
                    <a:lnTo>
                      <a:pt x="321" y="45"/>
                    </a:lnTo>
                    <a:lnTo>
                      <a:pt x="318" y="43"/>
                    </a:lnTo>
                    <a:lnTo>
                      <a:pt x="315" y="43"/>
                    </a:lnTo>
                    <a:lnTo>
                      <a:pt x="314" y="43"/>
                    </a:lnTo>
                    <a:lnTo>
                      <a:pt x="311" y="43"/>
                    </a:lnTo>
                    <a:lnTo>
                      <a:pt x="308" y="42"/>
                    </a:lnTo>
                    <a:lnTo>
                      <a:pt x="308" y="41"/>
                    </a:lnTo>
                    <a:lnTo>
                      <a:pt x="308" y="39"/>
                    </a:lnTo>
                    <a:lnTo>
                      <a:pt x="308" y="38"/>
                    </a:lnTo>
                    <a:lnTo>
                      <a:pt x="307" y="38"/>
                    </a:lnTo>
                    <a:lnTo>
                      <a:pt x="307" y="35"/>
                    </a:lnTo>
                    <a:lnTo>
                      <a:pt x="307" y="35"/>
                    </a:lnTo>
                    <a:lnTo>
                      <a:pt x="308" y="33"/>
                    </a:lnTo>
                    <a:lnTo>
                      <a:pt x="308" y="30"/>
                    </a:lnTo>
                    <a:lnTo>
                      <a:pt x="310" y="29"/>
                    </a:lnTo>
                    <a:lnTo>
                      <a:pt x="308" y="28"/>
                    </a:lnTo>
                    <a:lnTo>
                      <a:pt x="308" y="25"/>
                    </a:lnTo>
                    <a:lnTo>
                      <a:pt x="307" y="23"/>
                    </a:lnTo>
                    <a:lnTo>
                      <a:pt x="305" y="23"/>
                    </a:lnTo>
                    <a:lnTo>
                      <a:pt x="305" y="22"/>
                    </a:lnTo>
                    <a:lnTo>
                      <a:pt x="304" y="20"/>
                    </a:lnTo>
                    <a:lnTo>
                      <a:pt x="304" y="20"/>
                    </a:lnTo>
                    <a:lnTo>
                      <a:pt x="304" y="19"/>
                    </a:lnTo>
                    <a:lnTo>
                      <a:pt x="303" y="19"/>
                    </a:lnTo>
                    <a:lnTo>
                      <a:pt x="303" y="19"/>
                    </a:lnTo>
                    <a:lnTo>
                      <a:pt x="300" y="18"/>
                    </a:lnTo>
                    <a:lnTo>
                      <a:pt x="295" y="13"/>
                    </a:lnTo>
                    <a:lnTo>
                      <a:pt x="294" y="12"/>
                    </a:lnTo>
                    <a:lnTo>
                      <a:pt x="291" y="10"/>
                    </a:lnTo>
                    <a:lnTo>
                      <a:pt x="290" y="10"/>
                    </a:lnTo>
                    <a:lnTo>
                      <a:pt x="290" y="12"/>
                    </a:lnTo>
                    <a:lnTo>
                      <a:pt x="288" y="13"/>
                    </a:lnTo>
                    <a:lnTo>
                      <a:pt x="287" y="13"/>
                    </a:lnTo>
                    <a:lnTo>
                      <a:pt x="287" y="13"/>
                    </a:lnTo>
                    <a:lnTo>
                      <a:pt x="281" y="12"/>
                    </a:lnTo>
                    <a:lnTo>
                      <a:pt x="280" y="13"/>
                    </a:lnTo>
                    <a:lnTo>
                      <a:pt x="277" y="13"/>
                    </a:lnTo>
                    <a:lnTo>
                      <a:pt x="275" y="13"/>
                    </a:lnTo>
                    <a:lnTo>
                      <a:pt x="274" y="13"/>
                    </a:lnTo>
                    <a:lnTo>
                      <a:pt x="271" y="12"/>
                    </a:lnTo>
                    <a:lnTo>
                      <a:pt x="268" y="15"/>
                    </a:lnTo>
                    <a:lnTo>
                      <a:pt x="265" y="16"/>
                    </a:lnTo>
                    <a:lnTo>
                      <a:pt x="252" y="23"/>
                    </a:lnTo>
                    <a:lnTo>
                      <a:pt x="248" y="23"/>
                    </a:lnTo>
                    <a:lnTo>
                      <a:pt x="245" y="25"/>
                    </a:lnTo>
                    <a:lnTo>
                      <a:pt x="242" y="23"/>
                    </a:lnTo>
                    <a:lnTo>
                      <a:pt x="234" y="22"/>
                    </a:lnTo>
                    <a:lnTo>
                      <a:pt x="231" y="22"/>
                    </a:lnTo>
                    <a:lnTo>
                      <a:pt x="228" y="22"/>
                    </a:lnTo>
                    <a:lnTo>
                      <a:pt x="219" y="23"/>
                    </a:lnTo>
                    <a:lnTo>
                      <a:pt x="216" y="25"/>
                    </a:lnTo>
                    <a:lnTo>
                      <a:pt x="213" y="25"/>
                    </a:lnTo>
                    <a:lnTo>
                      <a:pt x="198" y="20"/>
                    </a:lnTo>
                    <a:lnTo>
                      <a:pt x="193" y="19"/>
                    </a:lnTo>
                    <a:lnTo>
                      <a:pt x="191" y="18"/>
                    </a:lnTo>
                    <a:lnTo>
                      <a:pt x="188" y="16"/>
                    </a:lnTo>
                    <a:lnTo>
                      <a:pt x="185" y="16"/>
                    </a:lnTo>
                    <a:lnTo>
                      <a:pt x="183" y="16"/>
                    </a:lnTo>
                    <a:lnTo>
                      <a:pt x="183" y="16"/>
                    </a:lnTo>
                    <a:lnTo>
                      <a:pt x="182" y="18"/>
                    </a:lnTo>
                    <a:lnTo>
                      <a:pt x="180" y="18"/>
                    </a:lnTo>
                    <a:lnTo>
                      <a:pt x="179" y="16"/>
                    </a:lnTo>
                    <a:lnTo>
                      <a:pt x="178" y="16"/>
                    </a:lnTo>
                    <a:lnTo>
                      <a:pt x="178" y="15"/>
                    </a:lnTo>
                    <a:lnTo>
                      <a:pt x="176" y="13"/>
                    </a:lnTo>
                    <a:lnTo>
                      <a:pt x="176" y="12"/>
                    </a:lnTo>
                    <a:lnTo>
                      <a:pt x="175" y="10"/>
                    </a:lnTo>
                    <a:lnTo>
                      <a:pt x="175" y="9"/>
                    </a:lnTo>
                    <a:lnTo>
                      <a:pt x="173" y="7"/>
                    </a:lnTo>
                    <a:lnTo>
                      <a:pt x="170" y="7"/>
                    </a:lnTo>
                    <a:lnTo>
                      <a:pt x="168" y="9"/>
                    </a:lnTo>
                    <a:lnTo>
                      <a:pt x="166" y="9"/>
                    </a:lnTo>
                    <a:lnTo>
                      <a:pt x="163" y="9"/>
                    </a:lnTo>
                    <a:lnTo>
                      <a:pt x="160" y="6"/>
                    </a:lnTo>
                    <a:lnTo>
                      <a:pt x="159" y="3"/>
                    </a:lnTo>
                    <a:lnTo>
                      <a:pt x="159" y="0"/>
                    </a:lnTo>
                    <a:lnTo>
                      <a:pt x="157" y="0"/>
                    </a:lnTo>
                    <a:lnTo>
                      <a:pt x="156" y="0"/>
                    </a:lnTo>
                    <a:lnTo>
                      <a:pt x="155" y="0"/>
                    </a:lnTo>
                    <a:lnTo>
                      <a:pt x="153" y="2"/>
                    </a:lnTo>
                    <a:lnTo>
                      <a:pt x="150" y="2"/>
                    </a:lnTo>
                    <a:lnTo>
                      <a:pt x="146" y="2"/>
                    </a:lnTo>
                    <a:lnTo>
                      <a:pt x="130" y="2"/>
                    </a:lnTo>
                    <a:lnTo>
                      <a:pt x="124" y="2"/>
                    </a:lnTo>
                    <a:lnTo>
                      <a:pt x="119" y="3"/>
                    </a:lnTo>
                    <a:lnTo>
                      <a:pt x="113" y="6"/>
                    </a:lnTo>
                    <a:lnTo>
                      <a:pt x="97" y="13"/>
                    </a:lnTo>
                    <a:lnTo>
                      <a:pt x="94" y="16"/>
                    </a:lnTo>
                    <a:lnTo>
                      <a:pt x="91" y="19"/>
                    </a:lnTo>
                    <a:lnTo>
                      <a:pt x="89" y="20"/>
                    </a:lnTo>
                    <a:lnTo>
                      <a:pt x="86" y="20"/>
                    </a:lnTo>
                    <a:lnTo>
                      <a:pt x="83" y="20"/>
                    </a:lnTo>
                    <a:lnTo>
                      <a:pt x="76" y="19"/>
                    </a:lnTo>
                    <a:lnTo>
                      <a:pt x="73" y="19"/>
                    </a:lnTo>
                    <a:lnTo>
                      <a:pt x="71" y="19"/>
                    </a:lnTo>
                    <a:lnTo>
                      <a:pt x="68" y="19"/>
                    </a:lnTo>
                    <a:lnTo>
                      <a:pt x="67" y="20"/>
                    </a:lnTo>
                    <a:lnTo>
                      <a:pt x="64" y="19"/>
                    </a:lnTo>
                    <a:lnTo>
                      <a:pt x="58" y="19"/>
                    </a:lnTo>
                    <a:lnTo>
                      <a:pt x="56" y="19"/>
                    </a:lnTo>
                    <a:lnTo>
                      <a:pt x="53" y="19"/>
                    </a:lnTo>
                    <a:lnTo>
                      <a:pt x="51" y="22"/>
                    </a:lnTo>
                    <a:lnTo>
                      <a:pt x="53" y="25"/>
                    </a:lnTo>
                    <a:lnTo>
                      <a:pt x="54" y="26"/>
                    </a:lnTo>
                    <a:lnTo>
                      <a:pt x="58" y="28"/>
                    </a:lnTo>
                    <a:lnTo>
                      <a:pt x="63" y="28"/>
                    </a:lnTo>
                    <a:lnTo>
                      <a:pt x="66" y="28"/>
                    </a:lnTo>
                    <a:lnTo>
                      <a:pt x="61" y="30"/>
                    </a:lnTo>
                    <a:lnTo>
                      <a:pt x="51" y="30"/>
                    </a:lnTo>
                    <a:lnTo>
                      <a:pt x="47" y="33"/>
                    </a:lnTo>
                    <a:lnTo>
                      <a:pt x="48" y="33"/>
                    </a:lnTo>
                    <a:lnTo>
                      <a:pt x="50" y="35"/>
                    </a:lnTo>
                    <a:lnTo>
                      <a:pt x="51" y="36"/>
                    </a:lnTo>
                    <a:lnTo>
                      <a:pt x="50" y="36"/>
                    </a:lnTo>
                    <a:lnTo>
                      <a:pt x="47" y="36"/>
                    </a:lnTo>
                    <a:lnTo>
                      <a:pt x="41" y="36"/>
                    </a:lnTo>
                    <a:lnTo>
                      <a:pt x="34" y="36"/>
                    </a:lnTo>
                    <a:lnTo>
                      <a:pt x="31" y="36"/>
                    </a:lnTo>
                    <a:lnTo>
                      <a:pt x="33" y="35"/>
                    </a:lnTo>
                    <a:lnTo>
                      <a:pt x="31" y="33"/>
                    </a:lnTo>
                    <a:lnTo>
                      <a:pt x="30" y="33"/>
                    </a:lnTo>
                    <a:lnTo>
                      <a:pt x="28" y="35"/>
                    </a:lnTo>
                    <a:lnTo>
                      <a:pt x="28" y="35"/>
                    </a:lnTo>
                    <a:lnTo>
                      <a:pt x="30" y="36"/>
                    </a:lnTo>
                    <a:lnTo>
                      <a:pt x="30" y="36"/>
                    </a:lnTo>
                    <a:lnTo>
                      <a:pt x="28" y="38"/>
                    </a:lnTo>
                    <a:lnTo>
                      <a:pt x="27" y="38"/>
                    </a:lnTo>
                    <a:lnTo>
                      <a:pt x="25" y="38"/>
                    </a:lnTo>
                    <a:lnTo>
                      <a:pt x="24" y="38"/>
                    </a:lnTo>
                    <a:lnTo>
                      <a:pt x="22" y="38"/>
                    </a:lnTo>
                    <a:lnTo>
                      <a:pt x="21" y="36"/>
                    </a:lnTo>
                    <a:lnTo>
                      <a:pt x="21" y="35"/>
                    </a:lnTo>
                    <a:lnTo>
                      <a:pt x="18" y="35"/>
                    </a:lnTo>
                    <a:lnTo>
                      <a:pt x="14" y="36"/>
                    </a:lnTo>
                    <a:lnTo>
                      <a:pt x="11" y="36"/>
                    </a:lnTo>
                    <a:lnTo>
                      <a:pt x="8" y="38"/>
                    </a:lnTo>
                    <a:lnTo>
                      <a:pt x="5" y="41"/>
                    </a:lnTo>
                    <a:lnTo>
                      <a:pt x="4" y="42"/>
                    </a:lnTo>
                    <a:lnTo>
                      <a:pt x="1" y="45"/>
                    </a:lnTo>
                    <a:lnTo>
                      <a:pt x="1" y="48"/>
                    </a:lnTo>
                    <a:lnTo>
                      <a:pt x="0" y="55"/>
                    </a:lnTo>
                    <a:lnTo>
                      <a:pt x="1" y="56"/>
                    </a:lnTo>
                    <a:lnTo>
                      <a:pt x="2" y="56"/>
                    </a:lnTo>
                    <a:lnTo>
                      <a:pt x="11" y="53"/>
                    </a:lnTo>
                    <a:lnTo>
                      <a:pt x="12" y="53"/>
                    </a:lnTo>
                    <a:lnTo>
                      <a:pt x="14" y="55"/>
                    </a:lnTo>
                    <a:lnTo>
                      <a:pt x="14" y="55"/>
                    </a:lnTo>
                    <a:lnTo>
                      <a:pt x="12" y="56"/>
                    </a:lnTo>
                    <a:lnTo>
                      <a:pt x="12" y="58"/>
                    </a:lnTo>
                    <a:lnTo>
                      <a:pt x="11" y="59"/>
                    </a:lnTo>
                    <a:lnTo>
                      <a:pt x="11" y="59"/>
                    </a:lnTo>
                    <a:lnTo>
                      <a:pt x="11" y="59"/>
                    </a:lnTo>
                    <a:lnTo>
                      <a:pt x="11" y="61"/>
                    </a:lnTo>
                    <a:lnTo>
                      <a:pt x="11" y="62"/>
                    </a:lnTo>
                    <a:lnTo>
                      <a:pt x="12" y="64"/>
                    </a:lnTo>
                    <a:lnTo>
                      <a:pt x="12" y="64"/>
                    </a:lnTo>
                    <a:lnTo>
                      <a:pt x="12" y="65"/>
                    </a:lnTo>
                    <a:lnTo>
                      <a:pt x="12" y="65"/>
                    </a:lnTo>
                    <a:lnTo>
                      <a:pt x="12" y="66"/>
                    </a:lnTo>
                    <a:lnTo>
                      <a:pt x="12" y="66"/>
                    </a:lnTo>
                    <a:lnTo>
                      <a:pt x="14" y="66"/>
                    </a:lnTo>
                    <a:lnTo>
                      <a:pt x="15" y="68"/>
                    </a:lnTo>
                    <a:lnTo>
                      <a:pt x="15" y="69"/>
                    </a:lnTo>
                    <a:lnTo>
                      <a:pt x="14" y="69"/>
                    </a:lnTo>
                    <a:lnTo>
                      <a:pt x="12" y="71"/>
                    </a:lnTo>
                    <a:lnTo>
                      <a:pt x="12" y="71"/>
                    </a:lnTo>
                    <a:lnTo>
                      <a:pt x="11" y="74"/>
                    </a:lnTo>
                    <a:lnTo>
                      <a:pt x="12" y="76"/>
                    </a:lnTo>
                    <a:lnTo>
                      <a:pt x="15" y="76"/>
                    </a:lnTo>
                    <a:lnTo>
                      <a:pt x="18" y="78"/>
                    </a:lnTo>
                    <a:lnTo>
                      <a:pt x="15" y="78"/>
                    </a:lnTo>
                    <a:lnTo>
                      <a:pt x="11" y="78"/>
                    </a:lnTo>
                    <a:lnTo>
                      <a:pt x="10" y="79"/>
                    </a:lnTo>
                    <a:lnTo>
                      <a:pt x="8" y="78"/>
                    </a:lnTo>
                    <a:lnTo>
                      <a:pt x="8" y="76"/>
                    </a:lnTo>
                    <a:lnTo>
                      <a:pt x="8" y="75"/>
                    </a:lnTo>
                    <a:lnTo>
                      <a:pt x="7" y="74"/>
                    </a:lnTo>
                    <a:lnTo>
                      <a:pt x="5" y="74"/>
                    </a:lnTo>
                    <a:lnTo>
                      <a:pt x="4" y="75"/>
                    </a:lnTo>
                    <a:lnTo>
                      <a:pt x="4" y="79"/>
                    </a:lnTo>
                    <a:lnTo>
                      <a:pt x="4" y="79"/>
                    </a:lnTo>
                    <a:lnTo>
                      <a:pt x="4" y="79"/>
                    </a:lnTo>
                    <a:lnTo>
                      <a:pt x="4" y="81"/>
                    </a:lnTo>
                    <a:lnTo>
                      <a:pt x="4" y="82"/>
                    </a:lnTo>
                    <a:lnTo>
                      <a:pt x="4" y="82"/>
                    </a:lnTo>
                    <a:lnTo>
                      <a:pt x="7" y="84"/>
                    </a:lnTo>
                    <a:lnTo>
                      <a:pt x="8" y="84"/>
                    </a:lnTo>
                    <a:lnTo>
                      <a:pt x="8" y="84"/>
                    </a:lnTo>
                    <a:lnTo>
                      <a:pt x="10" y="84"/>
                    </a:lnTo>
                    <a:lnTo>
                      <a:pt x="10" y="82"/>
                    </a:lnTo>
                    <a:lnTo>
                      <a:pt x="10" y="82"/>
                    </a:lnTo>
                    <a:lnTo>
                      <a:pt x="11" y="84"/>
                    </a:lnTo>
                    <a:lnTo>
                      <a:pt x="14" y="85"/>
                    </a:lnTo>
                    <a:lnTo>
                      <a:pt x="18" y="87"/>
                    </a:lnTo>
                    <a:lnTo>
                      <a:pt x="20" y="88"/>
                    </a:lnTo>
                    <a:lnTo>
                      <a:pt x="20" y="91"/>
                    </a:lnTo>
                    <a:lnTo>
                      <a:pt x="18" y="92"/>
                    </a:lnTo>
                    <a:lnTo>
                      <a:pt x="17" y="94"/>
                    </a:lnTo>
                    <a:lnTo>
                      <a:pt x="17" y="95"/>
                    </a:lnTo>
                    <a:lnTo>
                      <a:pt x="21" y="99"/>
                    </a:lnTo>
                    <a:lnTo>
                      <a:pt x="21" y="99"/>
                    </a:lnTo>
                    <a:lnTo>
                      <a:pt x="24" y="101"/>
                    </a:lnTo>
                    <a:lnTo>
                      <a:pt x="24" y="102"/>
                    </a:lnTo>
                    <a:lnTo>
                      <a:pt x="24" y="104"/>
                    </a:lnTo>
                    <a:lnTo>
                      <a:pt x="22" y="104"/>
                    </a:lnTo>
                    <a:lnTo>
                      <a:pt x="20" y="105"/>
                    </a:lnTo>
                    <a:lnTo>
                      <a:pt x="20" y="107"/>
                    </a:lnTo>
                    <a:lnTo>
                      <a:pt x="24" y="107"/>
                    </a:lnTo>
                    <a:lnTo>
                      <a:pt x="28" y="107"/>
                    </a:lnTo>
                    <a:lnTo>
                      <a:pt x="37" y="107"/>
                    </a:lnTo>
                    <a:lnTo>
                      <a:pt x="34" y="110"/>
                    </a:lnTo>
                    <a:lnTo>
                      <a:pt x="33" y="110"/>
                    </a:lnTo>
                    <a:lnTo>
                      <a:pt x="31" y="111"/>
                    </a:lnTo>
                    <a:lnTo>
                      <a:pt x="30" y="111"/>
                    </a:lnTo>
                    <a:lnTo>
                      <a:pt x="27" y="111"/>
                    </a:lnTo>
                    <a:lnTo>
                      <a:pt x="25" y="111"/>
                    </a:lnTo>
                    <a:lnTo>
                      <a:pt x="24" y="112"/>
                    </a:lnTo>
                    <a:lnTo>
                      <a:pt x="25" y="114"/>
                    </a:lnTo>
                    <a:lnTo>
                      <a:pt x="28" y="112"/>
                    </a:lnTo>
                    <a:lnTo>
                      <a:pt x="34" y="112"/>
                    </a:lnTo>
                    <a:lnTo>
                      <a:pt x="34" y="112"/>
                    </a:lnTo>
                    <a:lnTo>
                      <a:pt x="34" y="114"/>
                    </a:lnTo>
                    <a:lnTo>
                      <a:pt x="34" y="114"/>
                    </a:lnTo>
                    <a:lnTo>
                      <a:pt x="33" y="114"/>
                    </a:lnTo>
                    <a:lnTo>
                      <a:pt x="35" y="114"/>
                    </a:lnTo>
                    <a:lnTo>
                      <a:pt x="38" y="111"/>
                    </a:lnTo>
                    <a:lnTo>
                      <a:pt x="41" y="111"/>
                    </a:lnTo>
                    <a:lnTo>
                      <a:pt x="43" y="111"/>
                    </a:lnTo>
                    <a:lnTo>
                      <a:pt x="44" y="112"/>
                    </a:lnTo>
                    <a:lnTo>
                      <a:pt x="45" y="112"/>
                    </a:lnTo>
                    <a:lnTo>
                      <a:pt x="47" y="112"/>
                    </a:lnTo>
                    <a:lnTo>
                      <a:pt x="50" y="112"/>
                    </a:lnTo>
                    <a:lnTo>
                      <a:pt x="51" y="114"/>
                    </a:lnTo>
                    <a:lnTo>
                      <a:pt x="51" y="115"/>
                    </a:lnTo>
                    <a:lnTo>
                      <a:pt x="53" y="117"/>
                    </a:lnTo>
                    <a:lnTo>
                      <a:pt x="53" y="118"/>
                    </a:lnTo>
                    <a:lnTo>
                      <a:pt x="54" y="121"/>
                    </a:lnTo>
                    <a:lnTo>
                      <a:pt x="57" y="122"/>
                    </a:lnTo>
                    <a:lnTo>
                      <a:pt x="60" y="124"/>
                    </a:lnTo>
                    <a:lnTo>
                      <a:pt x="63" y="124"/>
                    </a:lnTo>
                    <a:lnTo>
                      <a:pt x="64" y="124"/>
                    </a:lnTo>
                    <a:lnTo>
                      <a:pt x="68" y="122"/>
                    </a:lnTo>
                    <a:lnTo>
                      <a:pt x="71" y="121"/>
                    </a:lnTo>
                    <a:lnTo>
                      <a:pt x="74" y="121"/>
                    </a:lnTo>
                    <a:lnTo>
                      <a:pt x="76" y="121"/>
                    </a:lnTo>
                    <a:lnTo>
                      <a:pt x="76" y="121"/>
                    </a:lnTo>
                    <a:lnTo>
                      <a:pt x="77" y="118"/>
                    </a:lnTo>
                    <a:lnTo>
                      <a:pt x="77" y="117"/>
                    </a:lnTo>
                    <a:lnTo>
                      <a:pt x="77" y="114"/>
                    </a:lnTo>
                    <a:lnTo>
                      <a:pt x="78" y="111"/>
                    </a:lnTo>
                    <a:lnTo>
                      <a:pt x="80" y="110"/>
                    </a:lnTo>
                    <a:lnTo>
                      <a:pt x="81" y="110"/>
                    </a:lnTo>
                    <a:lnTo>
                      <a:pt x="86" y="110"/>
                    </a:lnTo>
                    <a:lnTo>
                      <a:pt x="91" y="111"/>
                    </a:lnTo>
                    <a:lnTo>
                      <a:pt x="96" y="112"/>
                    </a:lnTo>
                    <a:lnTo>
                      <a:pt x="100" y="115"/>
                    </a:lnTo>
                    <a:lnTo>
                      <a:pt x="104" y="118"/>
                    </a:lnTo>
                    <a:lnTo>
                      <a:pt x="107" y="121"/>
                    </a:lnTo>
                    <a:lnTo>
                      <a:pt x="112" y="124"/>
                    </a:lnTo>
                    <a:lnTo>
                      <a:pt x="116" y="125"/>
                    </a:lnTo>
                    <a:lnTo>
                      <a:pt x="126" y="124"/>
                    </a:lnTo>
                    <a:lnTo>
                      <a:pt x="132" y="124"/>
                    </a:lnTo>
                    <a:lnTo>
                      <a:pt x="136" y="121"/>
                    </a:lnTo>
                    <a:lnTo>
                      <a:pt x="139" y="118"/>
                    </a:lnTo>
                    <a:lnTo>
                      <a:pt x="145" y="114"/>
                    </a:lnTo>
                    <a:lnTo>
                      <a:pt x="147" y="112"/>
                    </a:lnTo>
                    <a:lnTo>
                      <a:pt x="149" y="111"/>
                    </a:lnTo>
                    <a:lnTo>
                      <a:pt x="152" y="111"/>
                    </a:lnTo>
                    <a:lnTo>
                      <a:pt x="155" y="111"/>
                    </a:lnTo>
                    <a:lnTo>
                      <a:pt x="159" y="114"/>
                    </a:lnTo>
                    <a:lnTo>
                      <a:pt x="160" y="115"/>
                    </a:lnTo>
                    <a:lnTo>
                      <a:pt x="163" y="115"/>
                    </a:lnTo>
                    <a:lnTo>
                      <a:pt x="166" y="114"/>
                    </a:lnTo>
                    <a:lnTo>
                      <a:pt x="169" y="111"/>
                    </a:lnTo>
                    <a:lnTo>
                      <a:pt x="170" y="111"/>
                    </a:lnTo>
                    <a:lnTo>
                      <a:pt x="173" y="110"/>
                    </a:lnTo>
                    <a:lnTo>
                      <a:pt x="175" y="110"/>
                    </a:lnTo>
                    <a:lnTo>
                      <a:pt x="176" y="111"/>
                    </a:lnTo>
                    <a:lnTo>
                      <a:pt x="178" y="114"/>
                    </a:lnTo>
                    <a:lnTo>
                      <a:pt x="175" y="115"/>
                    </a:lnTo>
                    <a:lnTo>
                      <a:pt x="173" y="117"/>
                    </a:lnTo>
                    <a:lnTo>
                      <a:pt x="172" y="120"/>
                    </a:lnTo>
                    <a:lnTo>
                      <a:pt x="170" y="121"/>
                    </a:lnTo>
                    <a:lnTo>
                      <a:pt x="172" y="127"/>
                    </a:lnTo>
                    <a:lnTo>
                      <a:pt x="172" y="128"/>
                    </a:lnTo>
                    <a:lnTo>
                      <a:pt x="173" y="130"/>
                    </a:lnTo>
                    <a:lnTo>
                      <a:pt x="175" y="13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61" name="Freeform 165">
                <a:extLst>
                  <a:ext uri="{FF2B5EF4-FFF2-40B4-BE49-F238E27FC236}">
                    <a16:creationId xmlns:a16="http://schemas.microsoft.com/office/drawing/2014/main" id="{2755D9D9-09E6-4033-4269-29B365A3AEE9}"/>
                  </a:ext>
                </a:extLst>
              </p:cNvPr>
              <p:cNvSpPr>
                <a:spLocks noEditPoints="1"/>
              </p:cNvSpPr>
              <p:nvPr/>
            </p:nvSpPr>
            <p:spPr bwMode="auto">
              <a:xfrm>
                <a:off x="6899555" y="2495844"/>
                <a:ext cx="949996" cy="508978"/>
              </a:xfrm>
              <a:custGeom>
                <a:avLst/>
                <a:gdLst>
                  <a:gd name="T0" fmla="*/ 5 w 657"/>
                  <a:gd name="T1" fmla="*/ 253 h 352"/>
                  <a:gd name="T2" fmla="*/ 654 w 657"/>
                  <a:gd name="T3" fmla="*/ 154 h 352"/>
                  <a:gd name="T4" fmla="*/ 645 w 657"/>
                  <a:gd name="T5" fmla="*/ 139 h 352"/>
                  <a:gd name="T6" fmla="*/ 622 w 657"/>
                  <a:gd name="T7" fmla="*/ 144 h 352"/>
                  <a:gd name="T8" fmla="*/ 615 w 657"/>
                  <a:gd name="T9" fmla="*/ 132 h 352"/>
                  <a:gd name="T10" fmla="*/ 601 w 657"/>
                  <a:gd name="T11" fmla="*/ 119 h 352"/>
                  <a:gd name="T12" fmla="*/ 580 w 657"/>
                  <a:gd name="T13" fmla="*/ 109 h 352"/>
                  <a:gd name="T14" fmla="*/ 565 w 657"/>
                  <a:gd name="T15" fmla="*/ 115 h 352"/>
                  <a:gd name="T16" fmla="*/ 546 w 657"/>
                  <a:gd name="T17" fmla="*/ 108 h 352"/>
                  <a:gd name="T18" fmla="*/ 540 w 657"/>
                  <a:gd name="T19" fmla="*/ 99 h 352"/>
                  <a:gd name="T20" fmla="*/ 532 w 657"/>
                  <a:gd name="T21" fmla="*/ 109 h 352"/>
                  <a:gd name="T22" fmla="*/ 507 w 657"/>
                  <a:gd name="T23" fmla="*/ 76 h 352"/>
                  <a:gd name="T24" fmla="*/ 471 w 657"/>
                  <a:gd name="T25" fmla="*/ 21 h 352"/>
                  <a:gd name="T26" fmla="*/ 444 w 657"/>
                  <a:gd name="T27" fmla="*/ 34 h 352"/>
                  <a:gd name="T28" fmla="*/ 421 w 657"/>
                  <a:gd name="T29" fmla="*/ 41 h 352"/>
                  <a:gd name="T30" fmla="*/ 412 w 657"/>
                  <a:gd name="T31" fmla="*/ 36 h 352"/>
                  <a:gd name="T32" fmla="*/ 405 w 657"/>
                  <a:gd name="T33" fmla="*/ 31 h 352"/>
                  <a:gd name="T34" fmla="*/ 389 w 657"/>
                  <a:gd name="T35" fmla="*/ 24 h 352"/>
                  <a:gd name="T36" fmla="*/ 372 w 657"/>
                  <a:gd name="T37" fmla="*/ 23 h 352"/>
                  <a:gd name="T38" fmla="*/ 359 w 657"/>
                  <a:gd name="T39" fmla="*/ 3 h 352"/>
                  <a:gd name="T40" fmla="*/ 333 w 657"/>
                  <a:gd name="T41" fmla="*/ 0 h 352"/>
                  <a:gd name="T42" fmla="*/ 318 w 657"/>
                  <a:gd name="T43" fmla="*/ 10 h 352"/>
                  <a:gd name="T44" fmla="*/ 300 w 657"/>
                  <a:gd name="T45" fmla="*/ 14 h 352"/>
                  <a:gd name="T46" fmla="*/ 267 w 657"/>
                  <a:gd name="T47" fmla="*/ 20 h 352"/>
                  <a:gd name="T48" fmla="*/ 254 w 657"/>
                  <a:gd name="T49" fmla="*/ 23 h 352"/>
                  <a:gd name="T50" fmla="*/ 239 w 657"/>
                  <a:gd name="T51" fmla="*/ 27 h 352"/>
                  <a:gd name="T52" fmla="*/ 213 w 657"/>
                  <a:gd name="T53" fmla="*/ 31 h 352"/>
                  <a:gd name="T54" fmla="*/ 196 w 657"/>
                  <a:gd name="T55" fmla="*/ 34 h 352"/>
                  <a:gd name="T56" fmla="*/ 198 w 657"/>
                  <a:gd name="T57" fmla="*/ 43 h 352"/>
                  <a:gd name="T58" fmla="*/ 197 w 657"/>
                  <a:gd name="T59" fmla="*/ 46 h 352"/>
                  <a:gd name="T60" fmla="*/ 213 w 657"/>
                  <a:gd name="T61" fmla="*/ 56 h 352"/>
                  <a:gd name="T62" fmla="*/ 190 w 657"/>
                  <a:gd name="T63" fmla="*/ 63 h 352"/>
                  <a:gd name="T64" fmla="*/ 184 w 657"/>
                  <a:gd name="T65" fmla="*/ 77 h 352"/>
                  <a:gd name="T66" fmla="*/ 180 w 657"/>
                  <a:gd name="T67" fmla="*/ 85 h 352"/>
                  <a:gd name="T68" fmla="*/ 203 w 657"/>
                  <a:gd name="T69" fmla="*/ 99 h 352"/>
                  <a:gd name="T70" fmla="*/ 178 w 657"/>
                  <a:gd name="T71" fmla="*/ 112 h 352"/>
                  <a:gd name="T72" fmla="*/ 170 w 657"/>
                  <a:gd name="T73" fmla="*/ 119 h 352"/>
                  <a:gd name="T74" fmla="*/ 141 w 657"/>
                  <a:gd name="T75" fmla="*/ 105 h 352"/>
                  <a:gd name="T76" fmla="*/ 128 w 657"/>
                  <a:gd name="T77" fmla="*/ 108 h 352"/>
                  <a:gd name="T78" fmla="*/ 107 w 657"/>
                  <a:gd name="T79" fmla="*/ 113 h 352"/>
                  <a:gd name="T80" fmla="*/ 55 w 657"/>
                  <a:gd name="T81" fmla="*/ 215 h 352"/>
                  <a:gd name="T82" fmla="*/ 48 w 657"/>
                  <a:gd name="T83" fmla="*/ 246 h 352"/>
                  <a:gd name="T84" fmla="*/ 25 w 657"/>
                  <a:gd name="T85" fmla="*/ 263 h 352"/>
                  <a:gd name="T86" fmla="*/ 10 w 657"/>
                  <a:gd name="T87" fmla="*/ 270 h 352"/>
                  <a:gd name="T88" fmla="*/ 28 w 657"/>
                  <a:gd name="T89" fmla="*/ 296 h 352"/>
                  <a:gd name="T90" fmla="*/ 46 w 657"/>
                  <a:gd name="T91" fmla="*/ 306 h 352"/>
                  <a:gd name="T92" fmla="*/ 79 w 657"/>
                  <a:gd name="T93" fmla="*/ 317 h 352"/>
                  <a:gd name="T94" fmla="*/ 196 w 657"/>
                  <a:gd name="T95" fmla="*/ 271 h 352"/>
                  <a:gd name="T96" fmla="*/ 265 w 657"/>
                  <a:gd name="T97" fmla="*/ 286 h 352"/>
                  <a:gd name="T98" fmla="*/ 290 w 657"/>
                  <a:gd name="T99" fmla="*/ 323 h 352"/>
                  <a:gd name="T100" fmla="*/ 318 w 657"/>
                  <a:gd name="T101" fmla="*/ 349 h 352"/>
                  <a:gd name="T102" fmla="*/ 333 w 657"/>
                  <a:gd name="T103" fmla="*/ 338 h 352"/>
                  <a:gd name="T104" fmla="*/ 359 w 657"/>
                  <a:gd name="T105" fmla="*/ 319 h 352"/>
                  <a:gd name="T106" fmla="*/ 389 w 657"/>
                  <a:gd name="T107" fmla="*/ 304 h 352"/>
                  <a:gd name="T108" fmla="*/ 428 w 657"/>
                  <a:gd name="T109" fmla="*/ 296 h 352"/>
                  <a:gd name="T110" fmla="*/ 516 w 657"/>
                  <a:gd name="T111" fmla="*/ 309 h 352"/>
                  <a:gd name="T112" fmla="*/ 535 w 657"/>
                  <a:gd name="T113" fmla="*/ 303 h 352"/>
                  <a:gd name="T114" fmla="*/ 533 w 657"/>
                  <a:gd name="T115" fmla="*/ 264 h 352"/>
                  <a:gd name="T116" fmla="*/ 559 w 657"/>
                  <a:gd name="T117" fmla="*/ 248 h 352"/>
                  <a:gd name="T118" fmla="*/ 572 w 657"/>
                  <a:gd name="T119" fmla="*/ 243 h 352"/>
                  <a:gd name="T120" fmla="*/ 605 w 657"/>
                  <a:gd name="T121" fmla="*/ 207 h 352"/>
                  <a:gd name="T122" fmla="*/ 626 w 657"/>
                  <a:gd name="T123" fmla="*/ 201 h 352"/>
                  <a:gd name="T124" fmla="*/ 647 w 657"/>
                  <a:gd name="T125" fmla="*/ 16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7" h="352">
                    <a:moveTo>
                      <a:pt x="2" y="256"/>
                    </a:moveTo>
                    <a:lnTo>
                      <a:pt x="3" y="257"/>
                    </a:lnTo>
                    <a:lnTo>
                      <a:pt x="2" y="257"/>
                    </a:lnTo>
                    <a:lnTo>
                      <a:pt x="0" y="256"/>
                    </a:lnTo>
                    <a:lnTo>
                      <a:pt x="0" y="253"/>
                    </a:lnTo>
                    <a:lnTo>
                      <a:pt x="2" y="251"/>
                    </a:lnTo>
                    <a:lnTo>
                      <a:pt x="0" y="253"/>
                    </a:lnTo>
                    <a:lnTo>
                      <a:pt x="0" y="254"/>
                    </a:lnTo>
                    <a:lnTo>
                      <a:pt x="2" y="256"/>
                    </a:lnTo>
                    <a:close/>
                    <a:moveTo>
                      <a:pt x="6" y="254"/>
                    </a:moveTo>
                    <a:lnTo>
                      <a:pt x="6" y="253"/>
                    </a:lnTo>
                    <a:lnTo>
                      <a:pt x="6" y="251"/>
                    </a:lnTo>
                    <a:lnTo>
                      <a:pt x="5" y="251"/>
                    </a:lnTo>
                    <a:lnTo>
                      <a:pt x="5" y="253"/>
                    </a:lnTo>
                    <a:lnTo>
                      <a:pt x="5" y="253"/>
                    </a:lnTo>
                    <a:lnTo>
                      <a:pt x="5" y="254"/>
                    </a:lnTo>
                    <a:lnTo>
                      <a:pt x="5" y="254"/>
                    </a:lnTo>
                    <a:lnTo>
                      <a:pt x="6" y="254"/>
                    </a:lnTo>
                    <a:close/>
                    <a:moveTo>
                      <a:pt x="46" y="241"/>
                    </a:moveTo>
                    <a:lnTo>
                      <a:pt x="45" y="243"/>
                    </a:lnTo>
                    <a:lnTo>
                      <a:pt x="46" y="244"/>
                    </a:lnTo>
                    <a:lnTo>
                      <a:pt x="46" y="243"/>
                    </a:lnTo>
                    <a:lnTo>
                      <a:pt x="46" y="241"/>
                    </a:lnTo>
                    <a:close/>
                    <a:moveTo>
                      <a:pt x="655" y="156"/>
                    </a:moveTo>
                    <a:lnTo>
                      <a:pt x="655" y="155"/>
                    </a:lnTo>
                    <a:lnTo>
                      <a:pt x="655" y="155"/>
                    </a:lnTo>
                    <a:lnTo>
                      <a:pt x="655" y="154"/>
                    </a:lnTo>
                    <a:lnTo>
                      <a:pt x="654" y="154"/>
                    </a:lnTo>
                    <a:lnTo>
                      <a:pt x="652" y="152"/>
                    </a:lnTo>
                    <a:lnTo>
                      <a:pt x="651" y="152"/>
                    </a:lnTo>
                    <a:lnTo>
                      <a:pt x="651" y="152"/>
                    </a:lnTo>
                    <a:lnTo>
                      <a:pt x="649" y="151"/>
                    </a:lnTo>
                    <a:lnTo>
                      <a:pt x="647" y="146"/>
                    </a:lnTo>
                    <a:lnTo>
                      <a:pt x="647" y="145"/>
                    </a:lnTo>
                    <a:lnTo>
                      <a:pt x="645" y="145"/>
                    </a:lnTo>
                    <a:lnTo>
                      <a:pt x="645" y="145"/>
                    </a:lnTo>
                    <a:lnTo>
                      <a:pt x="644" y="145"/>
                    </a:lnTo>
                    <a:lnTo>
                      <a:pt x="644" y="142"/>
                    </a:lnTo>
                    <a:lnTo>
                      <a:pt x="645" y="142"/>
                    </a:lnTo>
                    <a:lnTo>
                      <a:pt x="645" y="141"/>
                    </a:lnTo>
                    <a:lnTo>
                      <a:pt x="645" y="141"/>
                    </a:lnTo>
                    <a:lnTo>
                      <a:pt x="645" y="139"/>
                    </a:lnTo>
                    <a:lnTo>
                      <a:pt x="644" y="139"/>
                    </a:lnTo>
                    <a:lnTo>
                      <a:pt x="642" y="141"/>
                    </a:lnTo>
                    <a:lnTo>
                      <a:pt x="641" y="142"/>
                    </a:lnTo>
                    <a:lnTo>
                      <a:pt x="639" y="144"/>
                    </a:lnTo>
                    <a:lnTo>
                      <a:pt x="638" y="144"/>
                    </a:lnTo>
                    <a:lnTo>
                      <a:pt x="636" y="146"/>
                    </a:lnTo>
                    <a:lnTo>
                      <a:pt x="635" y="146"/>
                    </a:lnTo>
                    <a:lnTo>
                      <a:pt x="632" y="146"/>
                    </a:lnTo>
                    <a:lnTo>
                      <a:pt x="631" y="145"/>
                    </a:lnTo>
                    <a:lnTo>
                      <a:pt x="631" y="145"/>
                    </a:lnTo>
                    <a:lnTo>
                      <a:pt x="628" y="144"/>
                    </a:lnTo>
                    <a:lnTo>
                      <a:pt x="624" y="144"/>
                    </a:lnTo>
                    <a:lnTo>
                      <a:pt x="624" y="144"/>
                    </a:lnTo>
                    <a:lnTo>
                      <a:pt x="622" y="144"/>
                    </a:lnTo>
                    <a:lnTo>
                      <a:pt x="621" y="144"/>
                    </a:lnTo>
                    <a:lnTo>
                      <a:pt x="621" y="144"/>
                    </a:lnTo>
                    <a:lnTo>
                      <a:pt x="619" y="144"/>
                    </a:lnTo>
                    <a:lnTo>
                      <a:pt x="619" y="144"/>
                    </a:lnTo>
                    <a:lnTo>
                      <a:pt x="619" y="142"/>
                    </a:lnTo>
                    <a:lnTo>
                      <a:pt x="618" y="141"/>
                    </a:lnTo>
                    <a:lnTo>
                      <a:pt x="616" y="139"/>
                    </a:lnTo>
                    <a:lnTo>
                      <a:pt x="616" y="138"/>
                    </a:lnTo>
                    <a:lnTo>
                      <a:pt x="616" y="136"/>
                    </a:lnTo>
                    <a:lnTo>
                      <a:pt x="615" y="136"/>
                    </a:lnTo>
                    <a:lnTo>
                      <a:pt x="615" y="135"/>
                    </a:lnTo>
                    <a:lnTo>
                      <a:pt x="615" y="135"/>
                    </a:lnTo>
                    <a:lnTo>
                      <a:pt x="615" y="133"/>
                    </a:lnTo>
                    <a:lnTo>
                      <a:pt x="615" y="132"/>
                    </a:lnTo>
                    <a:lnTo>
                      <a:pt x="614" y="131"/>
                    </a:lnTo>
                    <a:lnTo>
                      <a:pt x="614" y="131"/>
                    </a:lnTo>
                    <a:lnTo>
                      <a:pt x="612" y="131"/>
                    </a:lnTo>
                    <a:lnTo>
                      <a:pt x="611" y="131"/>
                    </a:lnTo>
                    <a:lnTo>
                      <a:pt x="611" y="129"/>
                    </a:lnTo>
                    <a:lnTo>
                      <a:pt x="609" y="129"/>
                    </a:lnTo>
                    <a:lnTo>
                      <a:pt x="608" y="128"/>
                    </a:lnTo>
                    <a:lnTo>
                      <a:pt x="608" y="128"/>
                    </a:lnTo>
                    <a:lnTo>
                      <a:pt x="605" y="128"/>
                    </a:lnTo>
                    <a:lnTo>
                      <a:pt x="603" y="126"/>
                    </a:lnTo>
                    <a:lnTo>
                      <a:pt x="602" y="125"/>
                    </a:lnTo>
                    <a:lnTo>
                      <a:pt x="601" y="122"/>
                    </a:lnTo>
                    <a:lnTo>
                      <a:pt x="601" y="121"/>
                    </a:lnTo>
                    <a:lnTo>
                      <a:pt x="601" y="119"/>
                    </a:lnTo>
                    <a:lnTo>
                      <a:pt x="601" y="118"/>
                    </a:lnTo>
                    <a:lnTo>
                      <a:pt x="599" y="118"/>
                    </a:lnTo>
                    <a:lnTo>
                      <a:pt x="599" y="116"/>
                    </a:lnTo>
                    <a:lnTo>
                      <a:pt x="595" y="112"/>
                    </a:lnTo>
                    <a:lnTo>
                      <a:pt x="592" y="109"/>
                    </a:lnTo>
                    <a:lnTo>
                      <a:pt x="589" y="108"/>
                    </a:lnTo>
                    <a:lnTo>
                      <a:pt x="586" y="106"/>
                    </a:lnTo>
                    <a:lnTo>
                      <a:pt x="585" y="106"/>
                    </a:lnTo>
                    <a:lnTo>
                      <a:pt x="583" y="106"/>
                    </a:lnTo>
                    <a:lnTo>
                      <a:pt x="583" y="108"/>
                    </a:lnTo>
                    <a:lnTo>
                      <a:pt x="582" y="108"/>
                    </a:lnTo>
                    <a:lnTo>
                      <a:pt x="580" y="109"/>
                    </a:lnTo>
                    <a:lnTo>
                      <a:pt x="580" y="109"/>
                    </a:lnTo>
                    <a:lnTo>
                      <a:pt x="580" y="109"/>
                    </a:lnTo>
                    <a:lnTo>
                      <a:pt x="579" y="109"/>
                    </a:lnTo>
                    <a:lnTo>
                      <a:pt x="579" y="109"/>
                    </a:lnTo>
                    <a:lnTo>
                      <a:pt x="576" y="109"/>
                    </a:lnTo>
                    <a:lnTo>
                      <a:pt x="575" y="110"/>
                    </a:lnTo>
                    <a:lnTo>
                      <a:pt x="575" y="110"/>
                    </a:lnTo>
                    <a:lnTo>
                      <a:pt x="575" y="112"/>
                    </a:lnTo>
                    <a:lnTo>
                      <a:pt x="573" y="112"/>
                    </a:lnTo>
                    <a:lnTo>
                      <a:pt x="573" y="113"/>
                    </a:lnTo>
                    <a:lnTo>
                      <a:pt x="572" y="113"/>
                    </a:lnTo>
                    <a:lnTo>
                      <a:pt x="570" y="113"/>
                    </a:lnTo>
                    <a:lnTo>
                      <a:pt x="568" y="113"/>
                    </a:lnTo>
                    <a:lnTo>
                      <a:pt x="566" y="115"/>
                    </a:lnTo>
                    <a:lnTo>
                      <a:pt x="565" y="115"/>
                    </a:lnTo>
                    <a:lnTo>
                      <a:pt x="565" y="115"/>
                    </a:lnTo>
                    <a:lnTo>
                      <a:pt x="562" y="113"/>
                    </a:lnTo>
                    <a:lnTo>
                      <a:pt x="558" y="113"/>
                    </a:lnTo>
                    <a:lnTo>
                      <a:pt x="556" y="113"/>
                    </a:lnTo>
                    <a:lnTo>
                      <a:pt x="555" y="113"/>
                    </a:lnTo>
                    <a:lnTo>
                      <a:pt x="553" y="113"/>
                    </a:lnTo>
                    <a:lnTo>
                      <a:pt x="553" y="113"/>
                    </a:lnTo>
                    <a:lnTo>
                      <a:pt x="553" y="110"/>
                    </a:lnTo>
                    <a:lnTo>
                      <a:pt x="552" y="109"/>
                    </a:lnTo>
                    <a:lnTo>
                      <a:pt x="552" y="108"/>
                    </a:lnTo>
                    <a:lnTo>
                      <a:pt x="550" y="108"/>
                    </a:lnTo>
                    <a:lnTo>
                      <a:pt x="549" y="108"/>
                    </a:lnTo>
                    <a:lnTo>
                      <a:pt x="547" y="108"/>
                    </a:lnTo>
                    <a:lnTo>
                      <a:pt x="547" y="108"/>
                    </a:lnTo>
                    <a:lnTo>
                      <a:pt x="546" y="108"/>
                    </a:lnTo>
                    <a:lnTo>
                      <a:pt x="546" y="108"/>
                    </a:lnTo>
                    <a:lnTo>
                      <a:pt x="546" y="105"/>
                    </a:lnTo>
                    <a:lnTo>
                      <a:pt x="547" y="103"/>
                    </a:lnTo>
                    <a:lnTo>
                      <a:pt x="547" y="103"/>
                    </a:lnTo>
                    <a:lnTo>
                      <a:pt x="547" y="102"/>
                    </a:lnTo>
                    <a:lnTo>
                      <a:pt x="547" y="102"/>
                    </a:lnTo>
                    <a:lnTo>
                      <a:pt x="546" y="102"/>
                    </a:lnTo>
                    <a:lnTo>
                      <a:pt x="545" y="102"/>
                    </a:lnTo>
                    <a:lnTo>
                      <a:pt x="543" y="100"/>
                    </a:lnTo>
                    <a:lnTo>
                      <a:pt x="543" y="100"/>
                    </a:lnTo>
                    <a:lnTo>
                      <a:pt x="543" y="99"/>
                    </a:lnTo>
                    <a:lnTo>
                      <a:pt x="542" y="99"/>
                    </a:lnTo>
                    <a:lnTo>
                      <a:pt x="540" y="99"/>
                    </a:lnTo>
                    <a:lnTo>
                      <a:pt x="540" y="99"/>
                    </a:lnTo>
                    <a:lnTo>
                      <a:pt x="539" y="99"/>
                    </a:lnTo>
                    <a:lnTo>
                      <a:pt x="539" y="99"/>
                    </a:lnTo>
                    <a:lnTo>
                      <a:pt x="537" y="100"/>
                    </a:lnTo>
                    <a:lnTo>
                      <a:pt x="537" y="100"/>
                    </a:lnTo>
                    <a:lnTo>
                      <a:pt x="536" y="102"/>
                    </a:lnTo>
                    <a:lnTo>
                      <a:pt x="535" y="102"/>
                    </a:lnTo>
                    <a:lnTo>
                      <a:pt x="535" y="103"/>
                    </a:lnTo>
                    <a:lnTo>
                      <a:pt x="535" y="106"/>
                    </a:lnTo>
                    <a:lnTo>
                      <a:pt x="535" y="108"/>
                    </a:lnTo>
                    <a:lnTo>
                      <a:pt x="535" y="109"/>
                    </a:lnTo>
                    <a:lnTo>
                      <a:pt x="533" y="109"/>
                    </a:lnTo>
                    <a:lnTo>
                      <a:pt x="533" y="109"/>
                    </a:lnTo>
                    <a:lnTo>
                      <a:pt x="532" y="109"/>
                    </a:lnTo>
                    <a:lnTo>
                      <a:pt x="532" y="109"/>
                    </a:lnTo>
                    <a:lnTo>
                      <a:pt x="530" y="110"/>
                    </a:lnTo>
                    <a:lnTo>
                      <a:pt x="529" y="110"/>
                    </a:lnTo>
                    <a:lnTo>
                      <a:pt x="529" y="112"/>
                    </a:lnTo>
                    <a:lnTo>
                      <a:pt x="529" y="113"/>
                    </a:lnTo>
                    <a:lnTo>
                      <a:pt x="527" y="113"/>
                    </a:lnTo>
                    <a:lnTo>
                      <a:pt x="527" y="112"/>
                    </a:lnTo>
                    <a:lnTo>
                      <a:pt x="526" y="112"/>
                    </a:lnTo>
                    <a:lnTo>
                      <a:pt x="526" y="110"/>
                    </a:lnTo>
                    <a:lnTo>
                      <a:pt x="519" y="96"/>
                    </a:lnTo>
                    <a:lnTo>
                      <a:pt x="517" y="93"/>
                    </a:lnTo>
                    <a:lnTo>
                      <a:pt x="514" y="89"/>
                    </a:lnTo>
                    <a:lnTo>
                      <a:pt x="514" y="86"/>
                    </a:lnTo>
                    <a:lnTo>
                      <a:pt x="512" y="82"/>
                    </a:lnTo>
                    <a:lnTo>
                      <a:pt x="507" y="76"/>
                    </a:lnTo>
                    <a:lnTo>
                      <a:pt x="503" y="70"/>
                    </a:lnTo>
                    <a:lnTo>
                      <a:pt x="497" y="60"/>
                    </a:lnTo>
                    <a:lnTo>
                      <a:pt x="496" y="57"/>
                    </a:lnTo>
                    <a:lnTo>
                      <a:pt x="489" y="49"/>
                    </a:lnTo>
                    <a:lnTo>
                      <a:pt x="487" y="47"/>
                    </a:lnTo>
                    <a:lnTo>
                      <a:pt x="471" y="36"/>
                    </a:lnTo>
                    <a:lnTo>
                      <a:pt x="468" y="34"/>
                    </a:lnTo>
                    <a:lnTo>
                      <a:pt x="467" y="33"/>
                    </a:lnTo>
                    <a:lnTo>
                      <a:pt x="466" y="31"/>
                    </a:lnTo>
                    <a:lnTo>
                      <a:pt x="464" y="29"/>
                    </a:lnTo>
                    <a:lnTo>
                      <a:pt x="468" y="29"/>
                    </a:lnTo>
                    <a:lnTo>
                      <a:pt x="470" y="27"/>
                    </a:lnTo>
                    <a:lnTo>
                      <a:pt x="471" y="24"/>
                    </a:lnTo>
                    <a:lnTo>
                      <a:pt x="471" y="21"/>
                    </a:lnTo>
                    <a:lnTo>
                      <a:pt x="470" y="21"/>
                    </a:lnTo>
                    <a:lnTo>
                      <a:pt x="468" y="23"/>
                    </a:lnTo>
                    <a:lnTo>
                      <a:pt x="466" y="24"/>
                    </a:lnTo>
                    <a:lnTo>
                      <a:pt x="461" y="24"/>
                    </a:lnTo>
                    <a:lnTo>
                      <a:pt x="461" y="24"/>
                    </a:lnTo>
                    <a:lnTo>
                      <a:pt x="460" y="26"/>
                    </a:lnTo>
                    <a:lnTo>
                      <a:pt x="460" y="26"/>
                    </a:lnTo>
                    <a:lnTo>
                      <a:pt x="454" y="29"/>
                    </a:lnTo>
                    <a:lnTo>
                      <a:pt x="451" y="30"/>
                    </a:lnTo>
                    <a:lnTo>
                      <a:pt x="447" y="30"/>
                    </a:lnTo>
                    <a:lnTo>
                      <a:pt x="447" y="30"/>
                    </a:lnTo>
                    <a:lnTo>
                      <a:pt x="445" y="31"/>
                    </a:lnTo>
                    <a:lnTo>
                      <a:pt x="445" y="33"/>
                    </a:lnTo>
                    <a:lnTo>
                      <a:pt x="444" y="34"/>
                    </a:lnTo>
                    <a:lnTo>
                      <a:pt x="443" y="34"/>
                    </a:lnTo>
                    <a:lnTo>
                      <a:pt x="441" y="36"/>
                    </a:lnTo>
                    <a:lnTo>
                      <a:pt x="440" y="36"/>
                    </a:lnTo>
                    <a:lnTo>
                      <a:pt x="437" y="36"/>
                    </a:lnTo>
                    <a:lnTo>
                      <a:pt x="434" y="37"/>
                    </a:lnTo>
                    <a:lnTo>
                      <a:pt x="434" y="37"/>
                    </a:lnTo>
                    <a:lnTo>
                      <a:pt x="431" y="40"/>
                    </a:lnTo>
                    <a:lnTo>
                      <a:pt x="430" y="41"/>
                    </a:lnTo>
                    <a:lnTo>
                      <a:pt x="430" y="43"/>
                    </a:lnTo>
                    <a:lnTo>
                      <a:pt x="428" y="44"/>
                    </a:lnTo>
                    <a:lnTo>
                      <a:pt x="427" y="43"/>
                    </a:lnTo>
                    <a:lnTo>
                      <a:pt x="425" y="41"/>
                    </a:lnTo>
                    <a:lnTo>
                      <a:pt x="423" y="41"/>
                    </a:lnTo>
                    <a:lnTo>
                      <a:pt x="421" y="41"/>
                    </a:lnTo>
                    <a:lnTo>
                      <a:pt x="420" y="41"/>
                    </a:lnTo>
                    <a:lnTo>
                      <a:pt x="418" y="41"/>
                    </a:lnTo>
                    <a:lnTo>
                      <a:pt x="417" y="41"/>
                    </a:lnTo>
                    <a:lnTo>
                      <a:pt x="415" y="43"/>
                    </a:lnTo>
                    <a:lnTo>
                      <a:pt x="414" y="43"/>
                    </a:lnTo>
                    <a:lnTo>
                      <a:pt x="412" y="44"/>
                    </a:lnTo>
                    <a:lnTo>
                      <a:pt x="411" y="46"/>
                    </a:lnTo>
                    <a:lnTo>
                      <a:pt x="411" y="44"/>
                    </a:lnTo>
                    <a:lnTo>
                      <a:pt x="410" y="43"/>
                    </a:lnTo>
                    <a:lnTo>
                      <a:pt x="410" y="41"/>
                    </a:lnTo>
                    <a:lnTo>
                      <a:pt x="410" y="39"/>
                    </a:lnTo>
                    <a:lnTo>
                      <a:pt x="410" y="37"/>
                    </a:lnTo>
                    <a:lnTo>
                      <a:pt x="411" y="37"/>
                    </a:lnTo>
                    <a:lnTo>
                      <a:pt x="412" y="36"/>
                    </a:lnTo>
                    <a:lnTo>
                      <a:pt x="414" y="36"/>
                    </a:lnTo>
                    <a:lnTo>
                      <a:pt x="417" y="34"/>
                    </a:lnTo>
                    <a:lnTo>
                      <a:pt x="417" y="31"/>
                    </a:lnTo>
                    <a:lnTo>
                      <a:pt x="417" y="31"/>
                    </a:lnTo>
                    <a:lnTo>
                      <a:pt x="415" y="30"/>
                    </a:lnTo>
                    <a:lnTo>
                      <a:pt x="415" y="30"/>
                    </a:lnTo>
                    <a:lnTo>
                      <a:pt x="414" y="31"/>
                    </a:lnTo>
                    <a:lnTo>
                      <a:pt x="414" y="31"/>
                    </a:lnTo>
                    <a:lnTo>
                      <a:pt x="412" y="33"/>
                    </a:lnTo>
                    <a:lnTo>
                      <a:pt x="411" y="33"/>
                    </a:lnTo>
                    <a:lnTo>
                      <a:pt x="410" y="33"/>
                    </a:lnTo>
                    <a:lnTo>
                      <a:pt x="408" y="33"/>
                    </a:lnTo>
                    <a:lnTo>
                      <a:pt x="407" y="33"/>
                    </a:lnTo>
                    <a:lnTo>
                      <a:pt x="405" y="31"/>
                    </a:lnTo>
                    <a:lnTo>
                      <a:pt x="405" y="31"/>
                    </a:lnTo>
                    <a:lnTo>
                      <a:pt x="402" y="30"/>
                    </a:lnTo>
                    <a:lnTo>
                      <a:pt x="398" y="29"/>
                    </a:lnTo>
                    <a:lnTo>
                      <a:pt x="397" y="29"/>
                    </a:lnTo>
                    <a:lnTo>
                      <a:pt x="397" y="30"/>
                    </a:lnTo>
                    <a:lnTo>
                      <a:pt x="397" y="31"/>
                    </a:lnTo>
                    <a:lnTo>
                      <a:pt x="394" y="33"/>
                    </a:lnTo>
                    <a:lnTo>
                      <a:pt x="394" y="30"/>
                    </a:lnTo>
                    <a:lnTo>
                      <a:pt x="394" y="29"/>
                    </a:lnTo>
                    <a:lnTo>
                      <a:pt x="392" y="27"/>
                    </a:lnTo>
                    <a:lnTo>
                      <a:pt x="391" y="26"/>
                    </a:lnTo>
                    <a:lnTo>
                      <a:pt x="391" y="26"/>
                    </a:lnTo>
                    <a:lnTo>
                      <a:pt x="391" y="24"/>
                    </a:lnTo>
                    <a:lnTo>
                      <a:pt x="389" y="24"/>
                    </a:lnTo>
                    <a:lnTo>
                      <a:pt x="388" y="24"/>
                    </a:lnTo>
                    <a:lnTo>
                      <a:pt x="388" y="27"/>
                    </a:lnTo>
                    <a:lnTo>
                      <a:pt x="385" y="27"/>
                    </a:lnTo>
                    <a:lnTo>
                      <a:pt x="384" y="27"/>
                    </a:lnTo>
                    <a:lnTo>
                      <a:pt x="382" y="27"/>
                    </a:lnTo>
                    <a:lnTo>
                      <a:pt x="381" y="27"/>
                    </a:lnTo>
                    <a:lnTo>
                      <a:pt x="378" y="29"/>
                    </a:lnTo>
                    <a:lnTo>
                      <a:pt x="377" y="29"/>
                    </a:lnTo>
                    <a:lnTo>
                      <a:pt x="374" y="29"/>
                    </a:lnTo>
                    <a:lnTo>
                      <a:pt x="371" y="27"/>
                    </a:lnTo>
                    <a:lnTo>
                      <a:pt x="369" y="26"/>
                    </a:lnTo>
                    <a:lnTo>
                      <a:pt x="371" y="24"/>
                    </a:lnTo>
                    <a:lnTo>
                      <a:pt x="371" y="24"/>
                    </a:lnTo>
                    <a:lnTo>
                      <a:pt x="372" y="23"/>
                    </a:lnTo>
                    <a:lnTo>
                      <a:pt x="372" y="21"/>
                    </a:lnTo>
                    <a:lnTo>
                      <a:pt x="372" y="18"/>
                    </a:lnTo>
                    <a:lnTo>
                      <a:pt x="372" y="17"/>
                    </a:lnTo>
                    <a:lnTo>
                      <a:pt x="371" y="14"/>
                    </a:lnTo>
                    <a:lnTo>
                      <a:pt x="369" y="13"/>
                    </a:lnTo>
                    <a:lnTo>
                      <a:pt x="368" y="8"/>
                    </a:lnTo>
                    <a:lnTo>
                      <a:pt x="368" y="7"/>
                    </a:lnTo>
                    <a:lnTo>
                      <a:pt x="368" y="6"/>
                    </a:lnTo>
                    <a:lnTo>
                      <a:pt x="367" y="6"/>
                    </a:lnTo>
                    <a:lnTo>
                      <a:pt x="367" y="4"/>
                    </a:lnTo>
                    <a:lnTo>
                      <a:pt x="365" y="3"/>
                    </a:lnTo>
                    <a:lnTo>
                      <a:pt x="365" y="1"/>
                    </a:lnTo>
                    <a:lnTo>
                      <a:pt x="362" y="3"/>
                    </a:lnTo>
                    <a:lnTo>
                      <a:pt x="359" y="3"/>
                    </a:lnTo>
                    <a:lnTo>
                      <a:pt x="358" y="3"/>
                    </a:lnTo>
                    <a:lnTo>
                      <a:pt x="356" y="4"/>
                    </a:lnTo>
                    <a:lnTo>
                      <a:pt x="355" y="6"/>
                    </a:lnTo>
                    <a:lnTo>
                      <a:pt x="354" y="6"/>
                    </a:lnTo>
                    <a:lnTo>
                      <a:pt x="354" y="4"/>
                    </a:lnTo>
                    <a:lnTo>
                      <a:pt x="352" y="4"/>
                    </a:lnTo>
                    <a:lnTo>
                      <a:pt x="351" y="4"/>
                    </a:lnTo>
                    <a:lnTo>
                      <a:pt x="348" y="3"/>
                    </a:lnTo>
                    <a:lnTo>
                      <a:pt x="348" y="3"/>
                    </a:lnTo>
                    <a:lnTo>
                      <a:pt x="346" y="1"/>
                    </a:lnTo>
                    <a:lnTo>
                      <a:pt x="345" y="1"/>
                    </a:lnTo>
                    <a:lnTo>
                      <a:pt x="345" y="1"/>
                    </a:lnTo>
                    <a:lnTo>
                      <a:pt x="342" y="1"/>
                    </a:lnTo>
                    <a:lnTo>
                      <a:pt x="333" y="0"/>
                    </a:lnTo>
                    <a:lnTo>
                      <a:pt x="331" y="1"/>
                    </a:lnTo>
                    <a:lnTo>
                      <a:pt x="328" y="3"/>
                    </a:lnTo>
                    <a:lnTo>
                      <a:pt x="326" y="4"/>
                    </a:lnTo>
                    <a:lnTo>
                      <a:pt x="323" y="4"/>
                    </a:lnTo>
                    <a:lnTo>
                      <a:pt x="322" y="4"/>
                    </a:lnTo>
                    <a:lnTo>
                      <a:pt x="321" y="6"/>
                    </a:lnTo>
                    <a:lnTo>
                      <a:pt x="321" y="6"/>
                    </a:lnTo>
                    <a:lnTo>
                      <a:pt x="321" y="7"/>
                    </a:lnTo>
                    <a:lnTo>
                      <a:pt x="321" y="8"/>
                    </a:lnTo>
                    <a:lnTo>
                      <a:pt x="321" y="8"/>
                    </a:lnTo>
                    <a:lnTo>
                      <a:pt x="319" y="8"/>
                    </a:lnTo>
                    <a:lnTo>
                      <a:pt x="319" y="10"/>
                    </a:lnTo>
                    <a:lnTo>
                      <a:pt x="318" y="10"/>
                    </a:lnTo>
                    <a:lnTo>
                      <a:pt x="318" y="10"/>
                    </a:lnTo>
                    <a:lnTo>
                      <a:pt x="315" y="10"/>
                    </a:lnTo>
                    <a:lnTo>
                      <a:pt x="313" y="10"/>
                    </a:lnTo>
                    <a:lnTo>
                      <a:pt x="313" y="10"/>
                    </a:lnTo>
                    <a:lnTo>
                      <a:pt x="313" y="10"/>
                    </a:lnTo>
                    <a:lnTo>
                      <a:pt x="312" y="11"/>
                    </a:lnTo>
                    <a:lnTo>
                      <a:pt x="312" y="11"/>
                    </a:lnTo>
                    <a:lnTo>
                      <a:pt x="310" y="11"/>
                    </a:lnTo>
                    <a:lnTo>
                      <a:pt x="310" y="11"/>
                    </a:lnTo>
                    <a:lnTo>
                      <a:pt x="309" y="11"/>
                    </a:lnTo>
                    <a:lnTo>
                      <a:pt x="309" y="11"/>
                    </a:lnTo>
                    <a:lnTo>
                      <a:pt x="305" y="13"/>
                    </a:lnTo>
                    <a:lnTo>
                      <a:pt x="303" y="13"/>
                    </a:lnTo>
                    <a:lnTo>
                      <a:pt x="300" y="14"/>
                    </a:lnTo>
                    <a:lnTo>
                      <a:pt x="300" y="14"/>
                    </a:lnTo>
                    <a:lnTo>
                      <a:pt x="300" y="14"/>
                    </a:lnTo>
                    <a:lnTo>
                      <a:pt x="295" y="14"/>
                    </a:lnTo>
                    <a:lnTo>
                      <a:pt x="286" y="17"/>
                    </a:lnTo>
                    <a:lnTo>
                      <a:pt x="283" y="17"/>
                    </a:lnTo>
                    <a:lnTo>
                      <a:pt x="279" y="16"/>
                    </a:lnTo>
                    <a:lnTo>
                      <a:pt x="279" y="16"/>
                    </a:lnTo>
                    <a:lnTo>
                      <a:pt x="276" y="17"/>
                    </a:lnTo>
                    <a:lnTo>
                      <a:pt x="272" y="17"/>
                    </a:lnTo>
                    <a:lnTo>
                      <a:pt x="272" y="18"/>
                    </a:lnTo>
                    <a:lnTo>
                      <a:pt x="270" y="18"/>
                    </a:lnTo>
                    <a:lnTo>
                      <a:pt x="269" y="18"/>
                    </a:lnTo>
                    <a:lnTo>
                      <a:pt x="269" y="20"/>
                    </a:lnTo>
                    <a:lnTo>
                      <a:pt x="269" y="20"/>
                    </a:lnTo>
                    <a:lnTo>
                      <a:pt x="267" y="20"/>
                    </a:lnTo>
                    <a:lnTo>
                      <a:pt x="266" y="23"/>
                    </a:lnTo>
                    <a:lnTo>
                      <a:pt x="266" y="23"/>
                    </a:lnTo>
                    <a:lnTo>
                      <a:pt x="265" y="24"/>
                    </a:lnTo>
                    <a:lnTo>
                      <a:pt x="263" y="23"/>
                    </a:lnTo>
                    <a:lnTo>
                      <a:pt x="262" y="23"/>
                    </a:lnTo>
                    <a:lnTo>
                      <a:pt x="262" y="23"/>
                    </a:lnTo>
                    <a:lnTo>
                      <a:pt x="260" y="23"/>
                    </a:lnTo>
                    <a:lnTo>
                      <a:pt x="259" y="24"/>
                    </a:lnTo>
                    <a:lnTo>
                      <a:pt x="259" y="24"/>
                    </a:lnTo>
                    <a:lnTo>
                      <a:pt x="257" y="24"/>
                    </a:lnTo>
                    <a:lnTo>
                      <a:pt x="257" y="24"/>
                    </a:lnTo>
                    <a:lnTo>
                      <a:pt x="256" y="24"/>
                    </a:lnTo>
                    <a:lnTo>
                      <a:pt x="254" y="24"/>
                    </a:lnTo>
                    <a:lnTo>
                      <a:pt x="254" y="23"/>
                    </a:lnTo>
                    <a:lnTo>
                      <a:pt x="253" y="23"/>
                    </a:lnTo>
                    <a:lnTo>
                      <a:pt x="253" y="23"/>
                    </a:lnTo>
                    <a:lnTo>
                      <a:pt x="252" y="23"/>
                    </a:lnTo>
                    <a:lnTo>
                      <a:pt x="250" y="24"/>
                    </a:lnTo>
                    <a:lnTo>
                      <a:pt x="250" y="24"/>
                    </a:lnTo>
                    <a:lnTo>
                      <a:pt x="249" y="24"/>
                    </a:lnTo>
                    <a:lnTo>
                      <a:pt x="247" y="26"/>
                    </a:lnTo>
                    <a:lnTo>
                      <a:pt x="244" y="26"/>
                    </a:lnTo>
                    <a:lnTo>
                      <a:pt x="243" y="26"/>
                    </a:lnTo>
                    <a:lnTo>
                      <a:pt x="243" y="27"/>
                    </a:lnTo>
                    <a:lnTo>
                      <a:pt x="242" y="26"/>
                    </a:lnTo>
                    <a:lnTo>
                      <a:pt x="240" y="26"/>
                    </a:lnTo>
                    <a:lnTo>
                      <a:pt x="240" y="27"/>
                    </a:lnTo>
                    <a:lnTo>
                      <a:pt x="239" y="27"/>
                    </a:lnTo>
                    <a:lnTo>
                      <a:pt x="236" y="27"/>
                    </a:lnTo>
                    <a:lnTo>
                      <a:pt x="233" y="29"/>
                    </a:lnTo>
                    <a:lnTo>
                      <a:pt x="233" y="29"/>
                    </a:lnTo>
                    <a:lnTo>
                      <a:pt x="232" y="29"/>
                    </a:lnTo>
                    <a:lnTo>
                      <a:pt x="232" y="29"/>
                    </a:lnTo>
                    <a:lnTo>
                      <a:pt x="230" y="29"/>
                    </a:lnTo>
                    <a:lnTo>
                      <a:pt x="230" y="30"/>
                    </a:lnTo>
                    <a:lnTo>
                      <a:pt x="226" y="30"/>
                    </a:lnTo>
                    <a:lnTo>
                      <a:pt x="221" y="30"/>
                    </a:lnTo>
                    <a:lnTo>
                      <a:pt x="220" y="31"/>
                    </a:lnTo>
                    <a:lnTo>
                      <a:pt x="219" y="31"/>
                    </a:lnTo>
                    <a:lnTo>
                      <a:pt x="216" y="31"/>
                    </a:lnTo>
                    <a:lnTo>
                      <a:pt x="214" y="31"/>
                    </a:lnTo>
                    <a:lnTo>
                      <a:pt x="213" y="31"/>
                    </a:lnTo>
                    <a:lnTo>
                      <a:pt x="211" y="31"/>
                    </a:lnTo>
                    <a:lnTo>
                      <a:pt x="211" y="31"/>
                    </a:lnTo>
                    <a:lnTo>
                      <a:pt x="211" y="33"/>
                    </a:lnTo>
                    <a:lnTo>
                      <a:pt x="210" y="33"/>
                    </a:lnTo>
                    <a:lnTo>
                      <a:pt x="210" y="33"/>
                    </a:lnTo>
                    <a:lnTo>
                      <a:pt x="207" y="33"/>
                    </a:lnTo>
                    <a:lnTo>
                      <a:pt x="201" y="31"/>
                    </a:lnTo>
                    <a:lnTo>
                      <a:pt x="198" y="31"/>
                    </a:lnTo>
                    <a:lnTo>
                      <a:pt x="198" y="31"/>
                    </a:lnTo>
                    <a:lnTo>
                      <a:pt x="197" y="31"/>
                    </a:lnTo>
                    <a:lnTo>
                      <a:pt x="197" y="31"/>
                    </a:lnTo>
                    <a:lnTo>
                      <a:pt x="196" y="33"/>
                    </a:lnTo>
                    <a:lnTo>
                      <a:pt x="196" y="33"/>
                    </a:lnTo>
                    <a:lnTo>
                      <a:pt x="196" y="34"/>
                    </a:lnTo>
                    <a:lnTo>
                      <a:pt x="196" y="34"/>
                    </a:lnTo>
                    <a:lnTo>
                      <a:pt x="196" y="37"/>
                    </a:lnTo>
                    <a:lnTo>
                      <a:pt x="194" y="39"/>
                    </a:lnTo>
                    <a:lnTo>
                      <a:pt x="194" y="39"/>
                    </a:lnTo>
                    <a:lnTo>
                      <a:pt x="194" y="40"/>
                    </a:lnTo>
                    <a:lnTo>
                      <a:pt x="193" y="40"/>
                    </a:lnTo>
                    <a:lnTo>
                      <a:pt x="193" y="41"/>
                    </a:lnTo>
                    <a:lnTo>
                      <a:pt x="194" y="41"/>
                    </a:lnTo>
                    <a:lnTo>
                      <a:pt x="196" y="41"/>
                    </a:lnTo>
                    <a:lnTo>
                      <a:pt x="196" y="43"/>
                    </a:lnTo>
                    <a:lnTo>
                      <a:pt x="197" y="43"/>
                    </a:lnTo>
                    <a:lnTo>
                      <a:pt x="197" y="43"/>
                    </a:lnTo>
                    <a:lnTo>
                      <a:pt x="198" y="43"/>
                    </a:lnTo>
                    <a:lnTo>
                      <a:pt x="198" y="43"/>
                    </a:lnTo>
                    <a:lnTo>
                      <a:pt x="200" y="41"/>
                    </a:lnTo>
                    <a:lnTo>
                      <a:pt x="201" y="41"/>
                    </a:lnTo>
                    <a:lnTo>
                      <a:pt x="201" y="41"/>
                    </a:lnTo>
                    <a:lnTo>
                      <a:pt x="201" y="43"/>
                    </a:lnTo>
                    <a:lnTo>
                      <a:pt x="203" y="43"/>
                    </a:lnTo>
                    <a:lnTo>
                      <a:pt x="203" y="43"/>
                    </a:lnTo>
                    <a:lnTo>
                      <a:pt x="203" y="44"/>
                    </a:lnTo>
                    <a:lnTo>
                      <a:pt x="203" y="44"/>
                    </a:lnTo>
                    <a:lnTo>
                      <a:pt x="201" y="44"/>
                    </a:lnTo>
                    <a:lnTo>
                      <a:pt x="201" y="44"/>
                    </a:lnTo>
                    <a:lnTo>
                      <a:pt x="200" y="44"/>
                    </a:lnTo>
                    <a:lnTo>
                      <a:pt x="198" y="44"/>
                    </a:lnTo>
                    <a:lnTo>
                      <a:pt x="198" y="44"/>
                    </a:lnTo>
                    <a:lnTo>
                      <a:pt x="197" y="46"/>
                    </a:lnTo>
                    <a:lnTo>
                      <a:pt x="197" y="46"/>
                    </a:lnTo>
                    <a:lnTo>
                      <a:pt x="197" y="46"/>
                    </a:lnTo>
                    <a:lnTo>
                      <a:pt x="196" y="47"/>
                    </a:lnTo>
                    <a:lnTo>
                      <a:pt x="196" y="49"/>
                    </a:lnTo>
                    <a:lnTo>
                      <a:pt x="197" y="49"/>
                    </a:lnTo>
                    <a:lnTo>
                      <a:pt x="197" y="49"/>
                    </a:lnTo>
                    <a:lnTo>
                      <a:pt x="201" y="50"/>
                    </a:lnTo>
                    <a:lnTo>
                      <a:pt x="203" y="50"/>
                    </a:lnTo>
                    <a:lnTo>
                      <a:pt x="204" y="50"/>
                    </a:lnTo>
                    <a:lnTo>
                      <a:pt x="206" y="52"/>
                    </a:lnTo>
                    <a:lnTo>
                      <a:pt x="207" y="52"/>
                    </a:lnTo>
                    <a:lnTo>
                      <a:pt x="211" y="53"/>
                    </a:lnTo>
                    <a:lnTo>
                      <a:pt x="213" y="54"/>
                    </a:lnTo>
                    <a:lnTo>
                      <a:pt x="213" y="56"/>
                    </a:lnTo>
                    <a:lnTo>
                      <a:pt x="211" y="56"/>
                    </a:lnTo>
                    <a:lnTo>
                      <a:pt x="211" y="56"/>
                    </a:lnTo>
                    <a:lnTo>
                      <a:pt x="211" y="57"/>
                    </a:lnTo>
                    <a:lnTo>
                      <a:pt x="210" y="57"/>
                    </a:lnTo>
                    <a:lnTo>
                      <a:pt x="209" y="57"/>
                    </a:lnTo>
                    <a:lnTo>
                      <a:pt x="206" y="57"/>
                    </a:lnTo>
                    <a:lnTo>
                      <a:pt x="201" y="56"/>
                    </a:lnTo>
                    <a:lnTo>
                      <a:pt x="200" y="56"/>
                    </a:lnTo>
                    <a:lnTo>
                      <a:pt x="196" y="56"/>
                    </a:lnTo>
                    <a:lnTo>
                      <a:pt x="194" y="57"/>
                    </a:lnTo>
                    <a:lnTo>
                      <a:pt x="193" y="59"/>
                    </a:lnTo>
                    <a:lnTo>
                      <a:pt x="191" y="60"/>
                    </a:lnTo>
                    <a:lnTo>
                      <a:pt x="190" y="62"/>
                    </a:lnTo>
                    <a:lnTo>
                      <a:pt x="190" y="63"/>
                    </a:lnTo>
                    <a:lnTo>
                      <a:pt x="190" y="63"/>
                    </a:lnTo>
                    <a:lnTo>
                      <a:pt x="190" y="64"/>
                    </a:lnTo>
                    <a:lnTo>
                      <a:pt x="190" y="66"/>
                    </a:lnTo>
                    <a:lnTo>
                      <a:pt x="191" y="69"/>
                    </a:lnTo>
                    <a:lnTo>
                      <a:pt x="193" y="70"/>
                    </a:lnTo>
                    <a:lnTo>
                      <a:pt x="193" y="72"/>
                    </a:lnTo>
                    <a:lnTo>
                      <a:pt x="193" y="73"/>
                    </a:lnTo>
                    <a:lnTo>
                      <a:pt x="191" y="75"/>
                    </a:lnTo>
                    <a:lnTo>
                      <a:pt x="188" y="76"/>
                    </a:lnTo>
                    <a:lnTo>
                      <a:pt x="188" y="76"/>
                    </a:lnTo>
                    <a:lnTo>
                      <a:pt x="187" y="77"/>
                    </a:lnTo>
                    <a:lnTo>
                      <a:pt x="187" y="77"/>
                    </a:lnTo>
                    <a:lnTo>
                      <a:pt x="186" y="77"/>
                    </a:lnTo>
                    <a:lnTo>
                      <a:pt x="184" y="77"/>
                    </a:lnTo>
                    <a:lnTo>
                      <a:pt x="184" y="77"/>
                    </a:lnTo>
                    <a:lnTo>
                      <a:pt x="183" y="77"/>
                    </a:lnTo>
                    <a:lnTo>
                      <a:pt x="183" y="77"/>
                    </a:lnTo>
                    <a:lnTo>
                      <a:pt x="183" y="79"/>
                    </a:lnTo>
                    <a:lnTo>
                      <a:pt x="181" y="79"/>
                    </a:lnTo>
                    <a:lnTo>
                      <a:pt x="180" y="80"/>
                    </a:lnTo>
                    <a:lnTo>
                      <a:pt x="180" y="80"/>
                    </a:lnTo>
                    <a:lnTo>
                      <a:pt x="178" y="80"/>
                    </a:lnTo>
                    <a:lnTo>
                      <a:pt x="177" y="82"/>
                    </a:lnTo>
                    <a:lnTo>
                      <a:pt x="177" y="82"/>
                    </a:lnTo>
                    <a:lnTo>
                      <a:pt x="176" y="83"/>
                    </a:lnTo>
                    <a:lnTo>
                      <a:pt x="177" y="83"/>
                    </a:lnTo>
                    <a:lnTo>
                      <a:pt x="177" y="83"/>
                    </a:lnTo>
                    <a:lnTo>
                      <a:pt x="180" y="85"/>
                    </a:lnTo>
                    <a:lnTo>
                      <a:pt x="181" y="86"/>
                    </a:lnTo>
                    <a:lnTo>
                      <a:pt x="183" y="86"/>
                    </a:lnTo>
                    <a:lnTo>
                      <a:pt x="183" y="87"/>
                    </a:lnTo>
                    <a:lnTo>
                      <a:pt x="183" y="89"/>
                    </a:lnTo>
                    <a:lnTo>
                      <a:pt x="184" y="89"/>
                    </a:lnTo>
                    <a:lnTo>
                      <a:pt x="186" y="90"/>
                    </a:lnTo>
                    <a:lnTo>
                      <a:pt x="190" y="92"/>
                    </a:lnTo>
                    <a:lnTo>
                      <a:pt x="191" y="92"/>
                    </a:lnTo>
                    <a:lnTo>
                      <a:pt x="193" y="93"/>
                    </a:lnTo>
                    <a:lnTo>
                      <a:pt x="200" y="95"/>
                    </a:lnTo>
                    <a:lnTo>
                      <a:pt x="201" y="98"/>
                    </a:lnTo>
                    <a:lnTo>
                      <a:pt x="203" y="98"/>
                    </a:lnTo>
                    <a:lnTo>
                      <a:pt x="203" y="99"/>
                    </a:lnTo>
                    <a:lnTo>
                      <a:pt x="203" y="99"/>
                    </a:lnTo>
                    <a:lnTo>
                      <a:pt x="203" y="100"/>
                    </a:lnTo>
                    <a:lnTo>
                      <a:pt x="201" y="105"/>
                    </a:lnTo>
                    <a:lnTo>
                      <a:pt x="201" y="108"/>
                    </a:lnTo>
                    <a:lnTo>
                      <a:pt x="200" y="110"/>
                    </a:lnTo>
                    <a:lnTo>
                      <a:pt x="196" y="113"/>
                    </a:lnTo>
                    <a:lnTo>
                      <a:pt x="193" y="115"/>
                    </a:lnTo>
                    <a:lnTo>
                      <a:pt x="191" y="115"/>
                    </a:lnTo>
                    <a:lnTo>
                      <a:pt x="190" y="115"/>
                    </a:lnTo>
                    <a:lnTo>
                      <a:pt x="187" y="116"/>
                    </a:lnTo>
                    <a:lnTo>
                      <a:pt x="184" y="116"/>
                    </a:lnTo>
                    <a:lnTo>
                      <a:pt x="183" y="115"/>
                    </a:lnTo>
                    <a:lnTo>
                      <a:pt x="181" y="115"/>
                    </a:lnTo>
                    <a:lnTo>
                      <a:pt x="180" y="113"/>
                    </a:lnTo>
                    <a:lnTo>
                      <a:pt x="178" y="112"/>
                    </a:lnTo>
                    <a:lnTo>
                      <a:pt x="178" y="112"/>
                    </a:lnTo>
                    <a:lnTo>
                      <a:pt x="177" y="110"/>
                    </a:lnTo>
                    <a:lnTo>
                      <a:pt x="177" y="110"/>
                    </a:lnTo>
                    <a:lnTo>
                      <a:pt x="177" y="110"/>
                    </a:lnTo>
                    <a:lnTo>
                      <a:pt x="176" y="110"/>
                    </a:lnTo>
                    <a:lnTo>
                      <a:pt x="176" y="112"/>
                    </a:lnTo>
                    <a:lnTo>
                      <a:pt x="174" y="112"/>
                    </a:lnTo>
                    <a:lnTo>
                      <a:pt x="174" y="113"/>
                    </a:lnTo>
                    <a:lnTo>
                      <a:pt x="174" y="113"/>
                    </a:lnTo>
                    <a:lnTo>
                      <a:pt x="174" y="115"/>
                    </a:lnTo>
                    <a:lnTo>
                      <a:pt x="173" y="116"/>
                    </a:lnTo>
                    <a:lnTo>
                      <a:pt x="173" y="118"/>
                    </a:lnTo>
                    <a:lnTo>
                      <a:pt x="171" y="119"/>
                    </a:lnTo>
                    <a:lnTo>
                      <a:pt x="170" y="119"/>
                    </a:lnTo>
                    <a:lnTo>
                      <a:pt x="167" y="121"/>
                    </a:lnTo>
                    <a:lnTo>
                      <a:pt x="167" y="119"/>
                    </a:lnTo>
                    <a:lnTo>
                      <a:pt x="167" y="119"/>
                    </a:lnTo>
                    <a:lnTo>
                      <a:pt x="167" y="119"/>
                    </a:lnTo>
                    <a:lnTo>
                      <a:pt x="167" y="118"/>
                    </a:lnTo>
                    <a:lnTo>
                      <a:pt x="165" y="116"/>
                    </a:lnTo>
                    <a:lnTo>
                      <a:pt x="163" y="116"/>
                    </a:lnTo>
                    <a:lnTo>
                      <a:pt x="158" y="115"/>
                    </a:lnTo>
                    <a:lnTo>
                      <a:pt x="154" y="113"/>
                    </a:lnTo>
                    <a:lnTo>
                      <a:pt x="148" y="106"/>
                    </a:lnTo>
                    <a:lnTo>
                      <a:pt x="144" y="105"/>
                    </a:lnTo>
                    <a:lnTo>
                      <a:pt x="144" y="105"/>
                    </a:lnTo>
                    <a:lnTo>
                      <a:pt x="141" y="105"/>
                    </a:lnTo>
                    <a:lnTo>
                      <a:pt x="141" y="105"/>
                    </a:lnTo>
                    <a:lnTo>
                      <a:pt x="140" y="105"/>
                    </a:lnTo>
                    <a:lnTo>
                      <a:pt x="138" y="105"/>
                    </a:lnTo>
                    <a:lnTo>
                      <a:pt x="138" y="105"/>
                    </a:lnTo>
                    <a:lnTo>
                      <a:pt x="137" y="105"/>
                    </a:lnTo>
                    <a:lnTo>
                      <a:pt x="137" y="105"/>
                    </a:lnTo>
                    <a:lnTo>
                      <a:pt x="135" y="106"/>
                    </a:lnTo>
                    <a:lnTo>
                      <a:pt x="135" y="108"/>
                    </a:lnTo>
                    <a:lnTo>
                      <a:pt x="134" y="109"/>
                    </a:lnTo>
                    <a:lnTo>
                      <a:pt x="132" y="109"/>
                    </a:lnTo>
                    <a:lnTo>
                      <a:pt x="131" y="109"/>
                    </a:lnTo>
                    <a:lnTo>
                      <a:pt x="131" y="109"/>
                    </a:lnTo>
                    <a:lnTo>
                      <a:pt x="130" y="109"/>
                    </a:lnTo>
                    <a:lnTo>
                      <a:pt x="130" y="109"/>
                    </a:lnTo>
                    <a:lnTo>
                      <a:pt x="128" y="108"/>
                    </a:lnTo>
                    <a:lnTo>
                      <a:pt x="127" y="106"/>
                    </a:lnTo>
                    <a:lnTo>
                      <a:pt x="125" y="105"/>
                    </a:lnTo>
                    <a:lnTo>
                      <a:pt x="122" y="105"/>
                    </a:lnTo>
                    <a:lnTo>
                      <a:pt x="119" y="106"/>
                    </a:lnTo>
                    <a:lnTo>
                      <a:pt x="117" y="108"/>
                    </a:lnTo>
                    <a:lnTo>
                      <a:pt x="115" y="106"/>
                    </a:lnTo>
                    <a:lnTo>
                      <a:pt x="114" y="106"/>
                    </a:lnTo>
                    <a:lnTo>
                      <a:pt x="112" y="106"/>
                    </a:lnTo>
                    <a:lnTo>
                      <a:pt x="112" y="108"/>
                    </a:lnTo>
                    <a:lnTo>
                      <a:pt x="108" y="110"/>
                    </a:lnTo>
                    <a:lnTo>
                      <a:pt x="108" y="110"/>
                    </a:lnTo>
                    <a:lnTo>
                      <a:pt x="108" y="112"/>
                    </a:lnTo>
                    <a:lnTo>
                      <a:pt x="107" y="112"/>
                    </a:lnTo>
                    <a:lnTo>
                      <a:pt x="107" y="113"/>
                    </a:lnTo>
                    <a:lnTo>
                      <a:pt x="107" y="113"/>
                    </a:lnTo>
                    <a:lnTo>
                      <a:pt x="107" y="115"/>
                    </a:lnTo>
                    <a:lnTo>
                      <a:pt x="105" y="115"/>
                    </a:lnTo>
                    <a:lnTo>
                      <a:pt x="105" y="115"/>
                    </a:lnTo>
                    <a:lnTo>
                      <a:pt x="104" y="116"/>
                    </a:lnTo>
                    <a:lnTo>
                      <a:pt x="102" y="118"/>
                    </a:lnTo>
                    <a:lnTo>
                      <a:pt x="104" y="125"/>
                    </a:lnTo>
                    <a:lnTo>
                      <a:pt x="104" y="149"/>
                    </a:lnTo>
                    <a:lnTo>
                      <a:pt x="86" y="164"/>
                    </a:lnTo>
                    <a:lnTo>
                      <a:pt x="81" y="182"/>
                    </a:lnTo>
                    <a:lnTo>
                      <a:pt x="82" y="198"/>
                    </a:lnTo>
                    <a:lnTo>
                      <a:pt x="71" y="211"/>
                    </a:lnTo>
                    <a:lnTo>
                      <a:pt x="55" y="214"/>
                    </a:lnTo>
                    <a:lnTo>
                      <a:pt x="55" y="215"/>
                    </a:lnTo>
                    <a:lnTo>
                      <a:pt x="53" y="217"/>
                    </a:lnTo>
                    <a:lnTo>
                      <a:pt x="53" y="218"/>
                    </a:lnTo>
                    <a:lnTo>
                      <a:pt x="53" y="220"/>
                    </a:lnTo>
                    <a:lnTo>
                      <a:pt x="55" y="223"/>
                    </a:lnTo>
                    <a:lnTo>
                      <a:pt x="55" y="224"/>
                    </a:lnTo>
                    <a:lnTo>
                      <a:pt x="55" y="227"/>
                    </a:lnTo>
                    <a:lnTo>
                      <a:pt x="53" y="231"/>
                    </a:lnTo>
                    <a:lnTo>
                      <a:pt x="51" y="237"/>
                    </a:lnTo>
                    <a:lnTo>
                      <a:pt x="49" y="240"/>
                    </a:lnTo>
                    <a:lnTo>
                      <a:pt x="51" y="243"/>
                    </a:lnTo>
                    <a:lnTo>
                      <a:pt x="53" y="244"/>
                    </a:lnTo>
                    <a:lnTo>
                      <a:pt x="56" y="246"/>
                    </a:lnTo>
                    <a:lnTo>
                      <a:pt x="52" y="247"/>
                    </a:lnTo>
                    <a:lnTo>
                      <a:pt x="48" y="246"/>
                    </a:lnTo>
                    <a:lnTo>
                      <a:pt x="43" y="246"/>
                    </a:lnTo>
                    <a:lnTo>
                      <a:pt x="39" y="244"/>
                    </a:lnTo>
                    <a:lnTo>
                      <a:pt x="30" y="244"/>
                    </a:lnTo>
                    <a:lnTo>
                      <a:pt x="28" y="246"/>
                    </a:lnTo>
                    <a:lnTo>
                      <a:pt x="23" y="247"/>
                    </a:lnTo>
                    <a:lnTo>
                      <a:pt x="23" y="247"/>
                    </a:lnTo>
                    <a:lnTo>
                      <a:pt x="20" y="253"/>
                    </a:lnTo>
                    <a:lnTo>
                      <a:pt x="19" y="254"/>
                    </a:lnTo>
                    <a:lnTo>
                      <a:pt x="18" y="254"/>
                    </a:lnTo>
                    <a:lnTo>
                      <a:pt x="18" y="256"/>
                    </a:lnTo>
                    <a:lnTo>
                      <a:pt x="18" y="257"/>
                    </a:lnTo>
                    <a:lnTo>
                      <a:pt x="19" y="260"/>
                    </a:lnTo>
                    <a:lnTo>
                      <a:pt x="22" y="261"/>
                    </a:lnTo>
                    <a:lnTo>
                      <a:pt x="25" y="263"/>
                    </a:lnTo>
                    <a:lnTo>
                      <a:pt x="26" y="264"/>
                    </a:lnTo>
                    <a:lnTo>
                      <a:pt x="25" y="264"/>
                    </a:lnTo>
                    <a:lnTo>
                      <a:pt x="22" y="266"/>
                    </a:lnTo>
                    <a:lnTo>
                      <a:pt x="20" y="266"/>
                    </a:lnTo>
                    <a:lnTo>
                      <a:pt x="19" y="264"/>
                    </a:lnTo>
                    <a:lnTo>
                      <a:pt x="16" y="263"/>
                    </a:lnTo>
                    <a:lnTo>
                      <a:pt x="15" y="263"/>
                    </a:lnTo>
                    <a:lnTo>
                      <a:pt x="12" y="261"/>
                    </a:lnTo>
                    <a:lnTo>
                      <a:pt x="7" y="263"/>
                    </a:lnTo>
                    <a:lnTo>
                      <a:pt x="5" y="264"/>
                    </a:lnTo>
                    <a:lnTo>
                      <a:pt x="5" y="267"/>
                    </a:lnTo>
                    <a:lnTo>
                      <a:pt x="6" y="269"/>
                    </a:lnTo>
                    <a:lnTo>
                      <a:pt x="7" y="270"/>
                    </a:lnTo>
                    <a:lnTo>
                      <a:pt x="10" y="270"/>
                    </a:lnTo>
                    <a:lnTo>
                      <a:pt x="13" y="271"/>
                    </a:lnTo>
                    <a:lnTo>
                      <a:pt x="15" y="274"/>
                    </a:lnTo>
                    <a:lnTo>
                      <a:pt x="18" y="280"/>
                    </a:lnTo>
                    <a:lnTo>
                      <a:pt x="19" y="283"/>
                    </a:lnTo>
                    <a:lnTo>
                      <a:pt x="22" y="287"/>
                    </a:lnTo>
                    <a:lnTo>
                      <a:pt x="22" y="289"/>
                    </a:lnTo>
                    <a:lnTo>
                      <a:pt x="23" y="292"/>
                    </a:lnTo>
                    <a:lnTo>
                      <a:pt x="23" y="293"/>
                    </a:lnTo>
                    <a:lnTo>
                      <a:pt x="23" y="294"/>
                    </a:lnTo>
                    <a:lnTo>
                      <a:pt x="23" y="294"/>
                    </a:lnTo>
                    <a:lnTo>
                      <a:pt x="23" y="296"/>
                    </a:lnTo>
                    <a:lnTo>
                      <a:pt x="25" y="296"/>
                    </a:lnTo>
                    <a:lnTo>
                      <a:pt x="26" y="296"/>
                    </a:lnTo>
                    <a:lnTo>
                      <a:pt x="28" y="296"/>
                    </a:lnTo>
                    <a:lnTo>
                      <a:pt x="29" y="297"/>
                    </a:lnTo>
                    <a:lnTo>
                      <a:pt x="30" y="297"/>
                    </a:lnTo>
                    <a:lnTo>
                      <a:pt x="32" y="300"/>
                    </a:lnTo>
                    <a:lnTo>
                      <a:pt x="32" y="302"/>
                    </a:lnTo>
                    <a:lnTo>
                      <a:pt x="33" y="302"/>
                    </a:lnTo>
                    <a:lnTo>
                      <a:pt x="33" y="302"/>
                    </a:lnTo>
                    <a:lnTo>
                      <a:pt x="35" y="302"/>
                    </a:lnTo>
                    <a:lnTo>
                      <a:pt x="36" y="302"/>
                    </a:lnTo>
                    <a:lnTo>
                      <a:pt x="41" y="303"/>
                    </a:lnTo>
                    <a:lnTo>
                      <a:pt x="42" y="303"/>
                    </a:lnTo>
                    <a:lnTo>
                      <a:pt x="43" y="303"/>
                    </a:lnTo>
                    <a:lnTo>
                      <a:pt x="43" y="303"/>
                    </a:lnTo>
                    <a:lnTo>
                      <a:pt x="45" y="303"/>
                    </a:lnTo>
                    <a:lnTo>
                      <a:pt x="46" y="306"/>
                    </a:lnTo>
                    <a:lnTo>
                      <a:pt x="46" y="309"/>
                    </a:lnTo>
                    <a:lnTo>
                      <a:pt x="45" y="312"/>
                    </a:lnTo>
                    <a:lnTo>
                      <a:pt x="43" y="317"/>
                    </a:lnTo>
                    <a:lnTo>
                      <a:pt x="43" y="320"/>
                    </a:lnTo>
                    <a:lnTo>
                      <a:pt x="43" y="323"/>
                    </a:lnTo>
                    <a:lnTo>
                      <a:pt x="43" y="326"/>
                    </a:lnTo>
                    <a:lnTo>
                      <a:pt x="48" y="323"/>
                    </a:lnTo>
                    <a:lnTo>
                      <a:pt x="52" y="320"/>
                    </a:lnTo>
                    <a:lnTo>
                      <a:pt x="56" y="317"/>
                    </a:lnTo>
                    <a:lnTo>
                      <a:pt x="61" y="316"/>
                    </a:lnTo>
                    <a:lnTo>
                      <a:pt x="66" y="315"/>
                    </a:lnTo>
                    <a:lnTo>
                      <a:pt x="71" y="315"/>
                    </a:lnTo>
                    <a:lnTo>
                      <a:pt x="74" y="315"/>
                    </a:lnTo>
                    <a:lnTo>
                      <a:pt x="79" y="317"/>
                    </a:lnTo>
                    <a:lnTo>
                      <a:pt x="82" y="320"/>
                    </a:lnTo>
                    <a:lnTo>
                      <a:pt x="85" y="323"/>
                    </a:lnTo>
                    <a:lnTo>
                      <a:pt x="94" y="335"/>
                    </a:lnTo>
                    <a:lnTo>
                      <a:pt x="95" y="336"/>
                    </a:lnTo>
                    <a:lnTo>
                      <a:pt x="97" y="338"/>
                    </a:lnTo>
                    <a:lnTo>
                      <a:pt x="98" y="338"/>
                    </a:lnTo>
                    <a:lnTo>
                      <a:pt x="102" y="336"/>
                    </a:lnTo>
                    <a:lnTo>
                      <a:pt x="105" y="336"/>
                    </a:lnTo>
                    <a:lnTo>
                      <a:pt x="105" y="254"/>
                    </a:lnTo>
                    <a:lnTo>
                      <a:pt x="148" y="241"/>
                    </a:lnTo>
                    <a:lnTo>
                      <a:pt x="150" y="241"/>
                    </a:lnTo>
                    <a:lnTo>
                      <a:pt x="193" y="267"/>
                    </a:lnTo>
                    <a:lnTo>
                      <a:pt x="194" y="269"/>
                    </a:lnTo>
                    <a:lnTo>
                      <a:pt x="196" y="271"/>
                    </a:lnTo>
                    <a:lnTo>
                      <a:pt x="197" y="273"/>
                    </a:lnTo>
                    <a:lnTo>
                      <a:pt x="197" y="274"/>
                    </a:lnTo>
                    <a:lnTo>
                      <a:pt x="209" y="287"/>
                    </a:lnTo>
                    <a:lnTo>
                      <a:pt x="211" y="289"/>
                    </a:lnTo>
                    <a:lnTo>
                      <a:pt x="214" y="289"/>
                    </a:lnTo>
                    <a:lnTo>
                      <a:pt x="226" y="286"/>
                    </a:lnTo>
                    <a:lnTo>
                      <a:pt x="229" y="286"/>
                    </a:lnTo>
                    <a:lnTo>
                      <a:pt x="236" y="286"/>
                    </a:lnTo>
                    <a:lnTo>
                      <a:pt x="250" y="287"/>
                    </a:lnTo>
                    <a:lnTo>
                      <a:pt x="254" y="287"/>
                    </a:lnTo>
                    <a:lnTo>
                      <a:pt x="257" y="286"/>
                    </a:lnTo>
                    <a:lnTo>
                      <a:pt x="260" y="284"/>
                    </a:lnTo>
                    <a:lnTo>
                      <a:pt x="262" y="284"/>
                    </a:lnTo>
                    <a:lnTo>
                      <a:pt x="265" y="286"/>
                    </a:lnTo>
                    <a:lnTo>
                      <a:pt x="272" y="293"/>
                    </a:lnTo>
                    <a:lnTo>
                      <a:pt x="273" y="294"/>
                    </a:lnTo>
                    <a:lnTo>
                      <a:pt x="276" y="300"/>
                    </a:lnTo>
                    <a:lnTo>
                      <a:pt x="277" y="302"/>
                    </a:lnTo>
                    <a:lnTo>
                      <a:pt x="279" y="302"/>
                    </a:lnTo>
                    <a:lnTo>
                      <a:pt x="280" y="300"/>
                    </a:lnTo>
                    <a:lnTo>
                      <a:pt x="283" y="299"/>
                    </a:lnTo>
                    <a:lnTo>
                      <a:pt x="282" y="313"/>
                    </a:lnTo>
                    <a:lnTo>
                      <a:pt x="282" y="317"/>
                    </a:lnTo>
                    <a:lnTo>
                      <a:pt x="282" y="320"/>
                    </a:lnTo>
                    <a:lnTo>
                      <a:pt x="283" y="320"/>
                    </a:lnTo>
                    <a:lnTo>
                      <a:pt x="289" y="322"/>
                    </a:lnTo>
                    <a:lnTo>
                      <a:pt x="289" y="322"/>
                    </a:lnTo>
                    <a:lnTo>
                      <a:pt x="290" y="323"/>
                    </a:lnTo>
                    <a:lnTo>
                      <a:pt x="290" y="325"/>
                    </a:lnTo>
                    <a:lnTo>
                      <a:pt x="292" y="332"/>
                    </a:lnTo>
                    <a:lnTo>
                      <a:pt x="292" y="336"/>
                    </a:lnTo>
                    <a:lnTo>
                      <a:pt x="293" y="339"/>
                    </a:lnTo>
                    <a:lnTo>
                      <a:pt x="298" y="340"/>
                    </a:lnTo>
                    <a:lnTo>
                      <a:pt x="309" y="339"/>
                    </a:lnTo>
                    <a:lnTo>
                      <a:pt x="313" y="339"/>
                    </a:lnTo>
                    <a:lnTo>
                      <a:pt x="316" y="340"/>
                    </a:lnTo>
                    <a:lnTo>
                      <a:pt x="316" y="340"/>
                    </a:lnTo>
                    <a:lnTo>
                      <a:pt x="318" y="342"/>
                    </a:lnTo>
                    <a:lnTo>
                      <a:pt x="318" y="343"/>
                    </a:lnTo>
                    <a:lnTo>
                      <a:pt x="316" y="346"/>
                    </a:lnTo>
                    <a:lnTo>
                      <a:pt x="318" y="348"/>
                    </a:lnTo>
                    <a:lnTo>
                      <a:pt x="318" y="349"/>
                    </a:lnTo>
                    <a:lnTo>
                      <a:pt x="319" y="349"/>
                    </a:lnTo>
                    <a:lnTo>
                      <a:pt x="322" y="350"/>
                    </a:lnTo>
                    <a:lnTo>
                      <a:pt x="323" y="350"/>
                    </a:lnTo>
                    <a:lnTo>
                      <a:pt x="325" y="352"/>
                    </a:lnTo>
                    <a:lnTo>
                      <a:pt x="325" y="352"/>
                    </a:lnTo>
                    <a:lnTo>
                      <a:pt x="326" y="350"/>
                    </a:lnTo>
                    <a:lnTo>
                      <a:pt x="326" y="349"/>
                    </a:lnTo>
                    <a:lnTo>
                      <a:pt x="326" y="348"/>
                    </a:lnTo>
                    <a:lnTo>
                      <a:pt x="326" y="348"/>
                    </a:lnTo>
                    <a:lnTo>
                      <a:pt x="328" y="346"/>
                    </a:lnTo>
                    <a:lnTo>
                      <a:pt x="328" y="343"/>
                    </a:lnTo>
                    <a:lnTo>
                      <a:pt x="329" y="342"/>
                    </a:lnTo>
                    <a:lnTo>
                      <a:pt x="332" y="339"/>
                    </a:lnTo>
                    <a:lnTo>
                      <a:pt x="333" y="338"/>
                    </a:lnTo>
                    <a:lnTo>
                      <a:pt x="335" y="338"/>
                    </a:lnTo>
                    <a:lnTo>
                      <a:pt x="335" y="335"/>
                    </a:lnTo>
                    <a:lnTo>
                      <a:pt x="336" y="335"/>
                    </a:lnTo>
                    <a:lnTo>
                      <a:pt x="336" y="333"/>
                    </a:lnTo>
                    <a:lnTo>
                      <a:pt x="338" y="333"/>
                    </a:lnTo>
                    <a:lnTo>
                      <a:pt x="339" y="333"/>
                    </a:lnTo>
                    <a:lnTo>
                      <a:pt x="344" y="329"/>
                    </a:lnTo>
                    <a:lnTo>
                      <a:pt x="345" y="329"/>
                    </a:lnTo>
                    <a:lnTo>
                      <a:pt x="351" y="326"/>
                    </a:lnTo>
                    <a:lnTo>
                      <a:pt x="354" y="325"/>
                    </a:lnTo>
                    <a:lnTo>
                      <a:pt x="355" y="323"/>
                    </a:lnTo>
                    <a:lnTo>
                      <a:pt x="355" y="322"/>
                    </a:lnTo>
                    <a:lnTo>
                      <a:pt x="356" y="320"/>
                    </a:lnTo>
                    <a:lnTo>
                      <a:pt x="359" y="319"/>
                    </a:lnTo>
                    <a:lnTo>
                      <a:pt x="359" y="319"/>
                    </a:lnTo>
                    <a:lnTo>
                      <a:pt x="361" y="320"/>
                    </a:lnTo>
                    <a:lnTo>
                      <a:pt x="362" y="319"/>
                    </a:lnTo>
                    <a:lnTo>
                      <a:pt x="364" y="319"/>
                    </a:lnTo>
                    <a:lnTo>
                      <a:pt x="368" y="316"/>
                    </a:lnTo>
                    <a:lnTo>
                      <a:pt x="368" y="313"/>
                    </a:lnTo>
                    <a:lnTo>
                      <a:pt x="369" y="310"/>
                    </a:lnTo>
                    <a:lnTo>
                      <a:pt x="371" y="307"/>
                    </a:lnTo>
                    <a:lnTo>
                      <a:pt x="374" y="304"/>
                    </a:lnTo>
                    <a:lnTo>
                      <a:pt x="377" y="304"/>
                    </a:lnTo>
                    <a:lnTo>
                      <a:pt x="379" y="303"/>
                    </a:lnTo>
                    <a:lnTo>
                      <a:pt x="384" y="303"/>
                    </a:lnTo>
                    <a:lnTo>
                      <a:pt x="387" y="303"/>
                    </a:lnTo>
                    <a:lnTo>
                      <a:pt x="389" y="304"/>
                    </a:lnTo>
                    <a:lnTo>
                      <a:pt x="402" y="309"/>
                    </a:lnTo>
                    <a:lnTo>
                      <a:pt x="408" y="310"/>
                    </a:lnTo>
                    <a:lnTo>
                      <a:pt x="408" y="310"/>
                    </a:lnTo>
                    <a:lnTo>
                      <a:pt x="410" y="312"/>
                    </a:lnTo>
                    <a:lnTo>
                      <a:pt x="411" y="312"/>
                    </a:lnTo>
                    <a:lnTo>
                      <a:pt x="412" y="312"/>
                    </a:lnTo>
                    <a:lnTo>
                      <a:pt x="412" y="307"/>
                    </a:lnTo>
                    <a:lnTo>
                      <a:pt x="412" y="304"/>
                    </a:lnTo>
                    <a:lnTo>
                      <a:pt x="414" y="300"/>
                    </a:lnTo>
                    <a:lnTo>
                      <a:pt x="417" y="297"/>
                    </a:lnTo>
                    <a:lnTo>
                      <a:pt x="420" y="296"/>
                    </a:lnTo>
                    <a:lnTo>
                      <a:pt x="423" y="294"/>
                    </a:lnTo>
                    <a:lnTo>
                      <a:pt x="425" y="294"/>
                    </a:lnTo>
                    <a:lnTo>
                      <a:pt x="428" y="296"/>
                    </a:lnTo>
                    <a:lnTo>
                      <a:pt x="440" y="300"/>
                    </a:lnTo>
                    <a:lnTo>
                      <a:pt x="444" y="302"/>
                    </a:lnTo>
                    <a:lnTo>
                      <a:pt x="447" y="303"/>
                    </a:lnTo>
                    <a:lnTo>
                      <a:pt x="450" y="303"/>
                    </a:lnTo>
                    <a:lnTo>
                      <a:pt x="451" y="303"/>
                    </a:lnTo>
                    <a:lnTo>
                      <a:pt x="453" y="303"/>
                    </a:lnTo>
                    <a:lnTo>
                      <a:pt x="454" y="302"/>
                    </a:lnTo>
                    <a:lnTo>
                      <a:pt x="456" y="300"/>
                    </a:lnTo>
                    <a:lnTo>
                      <a:pt x="458" y="300"/>
                    </a:lnTo>
                    <a:lnTo>
                      <a:pt x="467" y="300"/>
                    </a:lnTo>
                    <a:lnTo>
                      <a:pt x="473" y="300"/>
                    </a:lnTo>
                    <a:lnTo>
                      <a:pt x="496" y="302"/>
                    </a:lnTo>
                    <a:lnTo>
                      <a:pt x="512" y="304"/>
                    </a:lnTo>
                    <a:lnTo>
                      <a:pt x="516" y="309"/>
                    </a:lnTo>
                    <a:lnTo>
                      <a:pt x="517" y="310"/>
                    </a:lnTo>
                    <a:lnTo>
                      <a:pt x="519" y="312"/>
                    </a:lnTo>
                    <a:lnTo>
                      <a:pt x="520" y="312"/>
                    </a:lnTo>
                    <a:lnTo>
                      <a:pt x="524" y="312"/>
                    </a:lnTo>
                    <a:lnTo>
                      <a:pt x="526" y="312"/>
                    </a:lnTo>
                    <a:lnTo>
                      <a:pt x="527" y="313"/>
                    </a:lnTo>
                    <a:lnTo>
                      <a:pt x="530" y="317"/>
                    </a:lnTo>
                    <a:lnTo>
                      <a:pt x="532" y="315"/>
                    </a:lnTo>
                    <a:lnTo>
                      <a:pt x="532" y="313"/>
                    </a:lnTo>
                    <a:lnTo>
                      <a:pt x="530" y="310"/>
                    </a:lnTo>
                    <a:lnTo>
                      <a:pt x="530" y="307"/>
                    </a:lnTo>
                    <a:lnTo>
                      <a:pt x="532" y="304"/>
                    </a:lnTo>
                    <a:lnTo>
                      <a:pt x="533" y="303"/>
                    </a:lnTo>
                    <a:lnTo>
                      <a:pt x="535" y="303"/>
                    </a:lnTo>
                    <a:lnTo>
                      <a:pt x="537" y="302"/>
                    </a:lnTo>
                    <a:lnTo>
                      <a:pt x="533" y="300"/>
                    </a:lnTo>
                    <a:lnTo>
                      <a:pt x="536" y="297"/>
                    </a:lnTo>
                    <a:lnTo>
                      <a:pt x="539" y="296"/>
                    </a:lnTo>
                    <a:lnTo>
                      <a:pt x="540" y="296"/>
                    </a:lnTo>
                    <a:lnTo>
                      <a:pt x="540" y="294"/>
                    </a:lnTo>
                    <a:lnTo>
                      <a:pt x="540" y="293"/>
                    </a:lnTo>
                    <a:lnTo>
                      <a:pt x="539" y="292"/>
                    </a:lnTo>
                    <a:lnTo>
                      <a:pt x="539" y="292"/>
                    </a:lnTo>
                    <a:lnTo>
                      <a:pt x="537" y="284"/>
                    </a:lnTo>
                    <a:lnTo>
                      <a:pt x="535" y="274"/>
                    </a:lnTo>
                    <a:lnTo>
                      <a:pt x="533" y="271"/>
                    </a:lnTo>
                    <a:lnTo>
                      <a:pt x="533" y="267"/>
                    </a:lnTo>
                    <a:lnTo>
                      <a:pt x="533" y="264"/>
                    </a:lnTo>
                    <a:lnTo>
                      <a:pt x="535" y="261"/>
                    </a:lnTo>
                    <a:lnTo>
                      <a:pt x="535" y="260"/>
                    </a:lnTo>
                    <a:lnTo>
                      <a:pt x="533" y="259"/>
                    </a:lnTo>
                    <a:lnTo>
                      <a:pt x="526" y="257"/>
                    </a:lnTo>
                    <a:lnTo>
                      <a:pt x="524" y="256"/>
                    </a:lnTo>
                    <a:lnTo>
                      <a:pt x="529" y="254"/>
                    </a:lnTo>
                    <a:lnTo>
                      <a:pt x="532" y="253"/>
                    </a:lnTo>
                    <a:lnTo>
                      <a:pt x="542" y="251"/>
                    </a:lnTo>
                    <a:lnTo>
                      <a:pt x="546" y="250"/>
                    </a:lnTo>
                    <a:lnTo>
                      <a:pt x="550" y="247"/>
                    </a:lnTo>
                    <a:lnTo>
                      <a:pt x="555" y="246"/>
                    </a:lnTo>
                    <a:lnTo>
                      <a:pt x="558" y="246"/>
                    </a:lnTo>
                    <a:lnTo>
                      <a:pt x="559" y="247"/>
                    </a:lnTo>
                    <a:lnTo>
                      <a:pt x="559" y="248"/>
                    </a:lnTo>
                    <a:lnTo>
                      <a:pt x="560" y="250"/>
                    </a:lnTo>
                    <a:lnTo>
                      <a:pt x="562" y="250"/>
                    </a:lnTo>
                    <a:lnTo>
                      <a:pt x="563" y="250"/>
                    </a:lnTo>
                    <a:lnTo>
                      <a:pt x="566" y="250"/>
                    </a:lnTo>
                    <a:lnTo>
                      <a:pt x="569" y="250"/>
                    </a:lnTo>
                    <a:lnTo>
                      <a:pt x="570" y="250"/>
                    </a:lnTo>
                    <a:lnTo>
                      <a:pt x="570" y="250"/>
                    </a:lnTo>
                    <a:lnTo>
                      <a:pt x="572" y="250"/>
                    </a:lnTo>
                    <a:lnTo>
                      <a:pt x="573" y="248"/>
                    </a:lnTo>
                    <a:lnTo>
                      <a:pt x="573" y="248"/>
                    </a:lnTo>
                    <a:lnTo>
                      <a:pt x="573" y="246"/>
                    </a:lnTo>
                    <a:lnTo>
                      <a:pt x="573" y="244"/>
                    </a:lnTo>
                    <a:lnTo>
                      <a:pt x="573" y="244"/>
                    </a:lnTo>
                    <a:lnTo>
                      <a:pt x="572" y="243"/>
                    </a:lnTo>
                    <a:lnTo>
                      <a:pt x="570" y="243"/>
                    </a:lnTo>
                    <a:lnTo>
                      <a:pt x="569" y="241"/>
                    </a:lnTo>
                    <a:lnTo>
                      <a:pt x="568" y="240"/>
                    </a:lnTo>
                    <a:lnTo>
                      <a:pt x="568" y="238"/>
                    </a:lnTo>
                    <a:lnTo>
                      <a:pt x="569" y="237"/>
                    </a:lnTo>
                    <a:lnTo>
                      <a:pt x="570" y="234"/>
                    </a:lnTo>
                    <a:lnTo>
                      <a:pt x="579" y="210"/>
                    </a:lnTo>
                    <a:lnTo>
                      <a:pt x="580" y="204"/>
                    </a:lnTo>
                    <a:lnTo>
                      <a:pt x="580" y="204"/>
                    </a:lnTo>
                    <a:lnTo>
                      <a:pt x="583" y="202"/>
                    </a:lnTo>
                    <a:lnTo>
                      <a:pt x="586" y="204"/>
                    </a:lnTo>
                    <a:lnTo>
                      <a:pt x="593" y="207"/>
                    </a:lnTo>
                    <a:lnTo>
                      <a:pt x="598" y="207"/>
                    </a:lnTo>
                    <a:lnTo>
                      <a:pt x="605" y="207"/>
                    </a:lnTo>
                    <a:lnTo>
                      <a:pt x="609" y="208"/>
                    </a:lnTo>
                    <a:lnTo>
                      <a:pt x="609" y="208"/>
                    </a:lnTo>
                    <a:lnTo>
                      <a:pt x="611" y="210"/>
                    </a:lnTo>
                    <a:lnTo>
                      <a:pt x="611" y="211"/>
                    </a:lnTo>
                    <a:lnTo>
                      <a:pt x="612" y="211"/>
                    </a:lnTo>
                    <a:lnTo>
                      <a:pt x="615" y="210"/>
                    </a:lnTo>
                    <a:lnTo>
                      <a:pt x="616" y="210"/>
                    </a:lnTo>
                    <a:lnTo>
                      <a:pt x="618" y="207"/>
                    </a:lnTo>
                    <a:lnTo>
                      <a:pt x="619" y="207"/>
                    </a:lnTo>
                    <a:lnTo>
                      <a:pt x="621" y="205"/>
                    </a:lnTo>
                    <a:lnTo>
                      <a:pt x="622" y="205"/>
                    </a:lnTo>
                    <a:lnTo>
                      <a:pt x="624" y="205"/>
                    </a:lnTo>
                    <a:lnTo>
                      <a:pt x="625" y="204"/>
                    </a:lnTo>
                    <a:lnTo>
                      <a:pt x="626" y="201"/>
                    </a:lnTo>
                    <a:lnTo>
                      <a:pt x="626" y="200"/>
                    </a:lnTo>
                    <a:lnTo>
                      <a:pt x="625" y="190"/>
                    </a:lnTo>
                    <a:lnTo>
                      <a:pt x="625" y="185"/>
                    </a:lnTo>
                    <a:lnTo>
                      <a:pt x="625" y="182"/>
                    </a:lnTo>
                    <a:lnTo>
                      <a:pt x="626" y="178"/>
                    </a:lnTo>
                    <a:lnTo>
                      <a:pt x="626" y="177"/>
                    </a:lnTo>
                    <a:lnTo>
                      <a:pt x="628" y="175"/>
                    </a:lnTo>
                    <a:lnTo>
                      <a:pt x="629" y="174"/>
                    </a:lnTo>
                    <a:lnTo>
                      <a:pt x="631" y="174"/>
                    </a:lnTo>
                    <a:lnTo>
                      <a:pt x="635" y="172"/>
                    </a:lnTo>
                    <a:lnTo>
                      <a:pt x="639" y="172"/>
                    </a:lnTo>
                    <a:lnTo>
                      <a:pt x="642" y="169"/>
                    </a:lnTo>
                    <a:lnTo>
                      <a:pt x="645" y="167"/>
                    </a:lnTo>
                    <a:lnTo>
                      <a:pt x="647" y="162"/>
                    </a:lnTo>
                    <a:lnTo>
                      <a:pt x="647" y="159"/>
                    </a:lnTo>
                    <a:lnTo>
                      <a:pt x="647" y="158"/>
                    </a:lnTo>
                    <a:lnTo>
                      <a:pt x="648" y="156"/>
                    </a:lnTo>
                    <a:lnTo>
                      <a:pt x="651" y="156"/>
                    </a:lnTo>
                    <a:lnTo>
                      <a:pt x="652" y="156"/>
                    </a:lnTo>
                    <a:lnTo>
                      <a:pt x="654" y="156"/>
                    </a:lnTo>
                    <a:lnTo>
                      <a:pt x="657" y="156"/>
                    </a:lnTo>
                    <a:lnTo>
                      <a:pt x="655" y="15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62" name="Freeform 166">
                <a:extLst>
                  <a:ext uri="{FF2B5EF4-FFF2-40B4-BE49-F238E27FC236}">
                    <a16:creationId xmlns:a16="http://schemas.microsoft.com/office/drawing/2014/main" id="{A464D197-84DC-24EE-BDE7-BAAA5EBBBF09}"/>
                  </a:ext>
                </a:extLst>
              </p:cNvPr>
              <p:cNvSpPr>
                <a:spLocks noEditPoints="1"/>
              </p:cNvSpPr>
              <p:nvPr/>
            </p:nvSpPr>
            <p:spPr bwMode="auto">
              <a:xfrm>
                <a:off x="6559755" y="1266778"/>
                <a:ext cx="3905538" cy="1719247"/>
              </a:xfrm>
              <a:custGeom>
                <a:avLst/>
                <a:gdLst>
                  <a:gd name="T0" fmla="*/ 873 w 2701"/>
                  <a:gd name="T1" fmla="*/ 269 h 1189"/>
                  <a:gd name="T2" fmla="*/ 961 w 2701"/>
                  <a:gd name="T3" fmla="*/ 6 h 1189"/>
                  <a:gd name="T4" fmla="*/ 1035 w 2701"/>
                  <a:gd name="T5" fmla="*/ 204 h 1189"/>
                  <a:gd name="T6" fmla="*/ 1857 w 2701"/>
                  <a:gd name="T7" fmla="*/ 271 h 1189"/>
                  <a:gd name="T8" fmla="*/ 1791 w 2701"/>
                  <a:gd name="T9" fmla="*/ 209 h 1189"/>
                  <a:gd name="T10" fmla="*/ 1966 w 2701"/>
                  <a:gd name="T11" fmla="*/ 246 h 1189"/>
                  <a:gd name="T12" fmla="*/ 2309 w 2701"/>
                  <a:gd name="T13" fmla="*/ 436 h 1189"/>
                  <a:gd name="T14" fmla="*/ 1114 w 2701"/>
                  <a:gd name="T15" fmla="*/ 131 h 1189"/>
                  <a:gd name="T16" fmla="*/ 1117 w 2701"/>
                  <a:gd name="T17" fmla="*/ 127 h 1189"/>
                  <a:gd name="T18" fmla="*/ 1084 w 2701"/>
                  <a:gd name="T19" fmla="*/ 69 h 1189"/>
                  <a:gd name="T20" fmla="*/ 2075 w 2701"/>
                  <a:gd name="T21" fmla="*/ 1002 h 1189"/>
                  <a:gd name="T22" fmla="*/ 1924 w 2701"/>
                  <a:gd name="T23" fmla="*/ 1121 h 1189"/>
                  <a:gd name="T24" fmla="*/ 579 w 2701"/>
                  <a:gd name="T25" fmla="*/ 525 h 1189"/>
                  <a:gd name="T26" fmla="*/ 14 w 2701"/>
                  <a:gd name="T27" fmla="*/ 1096 h 1189"/>
                  <a:gd name="T28" fmla="*/ 142 w 2701"/>
                  <a:gd name="T29" fmla="*/ 1156 h 1189"/>
                  <a:gd name="T30" fmla="*/ 194 w 2701"/>
                  <a:gd name="T31" fmla="*/ 1129 h 1189"/>
                  <a:gd name="T32" fmla="*/ 2622 w 2701"/>
                  <a:gd name="T33" fmla="*/ 529 h 1189"/>
                  <a:gd name="T34" fmla="*/ 2402 w 2701"/>
                  <a:gd name="T35" fmla="*/ 440 h 1189"/>
                  <a:gd name="T36" fmla="*/ 2109 w 2701"/>
                  <a:gd name="T37" fmla="*/ 400 h 1189"/>
                  <a:gd name="T38" fmla="*/ 1835 w 2701"/>
                  <a:gd name="T39" fmla="*/ 351 h 1189"/>
                  <a:gd name="T40" fmla="*/ 1679 w 2701"/>
                  <a:gd name="T41" fmla="*/ 388 h 1189"/>
                  <a:gd name="T42" fmla="*/ 1582 w 2701"/>
                  <a:gd name="T43" fmla="*/ 322 h 1189"/>
                  <a:gd name="T44" fmla="*/ 1384 w 2701"/>
                  <a:gd name="T45" fmla="*/ 312 h 1189"/>
                  <a:gd name="T46" fmla="*/ 1233 w 2701"/>
                  <a:gd name="T47" fmla="*/ 331 h 1189"/>
                  <a:gd name="T48" fmla="*/ 1289 w 2701"/>
                  <a:gd name="T49" fmla="*/ 187 h 1189"/>
                  <a:gd name="T50" fmla="*/ 1107 w 2701"/>
                  <a:gd name="T51" fmla="*/ 220 h 1189"/>
                  <a:gd name="T52" fmla="*/ 935 w 2701"/>
                  <a:gd name="T53" fmla="*/ 239 h 1189"/>
                  <a:gd name="T54" fmla="*/ 854 w 2701"/>
                  <a:gd name="T55" fmla="*/ 312 h 1189"/>
                  <a:gd name="T56" fmla="*/ 803 w 2701"/>
                  <a:gd name="T57" fmla="*/ 398 h 1189"/>
                  <a:gd name="T58" fmla="*/ 679 w 2701"/>
                  <a:gd name="T59" fmla="*/ 374 h 1189"/>
                  <a:gd name="T60" fmla="*/ 719 w 2701"/>
                  <a:gd name="T61" fmla="*/ 490 h 1189"/>
                  <a:gd name="T62" fmla="*/ 632 w 2701"/>
                  <a:gd name="T63" fmla="*/ 499 h 1189"/>
                  <a:gd name="T64" fmla="*/ 537 w 2701"/>
                  <a:gd name="T65" fmla="*/ 421 h 1189"/>
                  <a:gd name="T66" fmla="*/ 446 w 2701"/>
                  <a:gd name="T67" fmla="*/ 903 h 1189"/>
                  <a:gd name="T68" fmla="*/ 495 w 2701"/>
                  <a:gd name="T69" fmla="*/ 873 h 1189"/>
                  <a:gd name="T70" fmla="*/ 623 w 2701"/>
                  <a:gd name="T71" fmla="*/ 877 h 1189"/>
                  <a:gd name="T72" fmla="*/ 749 w 2701"/>
                  <a:gd name="T73" fmla="*/ 939 h 1189"/>
                  <a:gd name="T74" fmla="*/ 844 w 2701"/>
                  <a:gd name="T75" fmla="*/ 979 h 1189"/>
                  <a:gd name="T76" fmla="*/ 917 w 2701"/>
                  <a:gd name="T77" fmla="*/ 998 h 1189"/>
                  <a:gd name="T78" fmla="*/ 966 w 2701"/>
                  <a:gd name="T79" fmla="*/ 968 h 1189"/>
                  <a:gd name="T80" fmla="*/ 1042 w 2701"/>
                  <a:gd name="T81" fmla="*/ 983 h 1189"/>
                  <a:gd name="T82" fmla="*/ 1103 w 2701"/>
                  <a:gd name="T83" fmla="*/ 933 h 1189"/>
                  <a:gd name="T84" fmla="*/ 1203 w 2701"/>
                  <a:gd name="T85" fmla="*/ 973 h 1189"/>
                  <a:gd name="T86" fmla="*/ 1344 w 2701"/>
                  <a:gd name="T87" fmla="*/ 991 h 1189"/>
                  <a:gd name="T88" fmla="*/ 1460 w 2701"/>
                  <a:gd name="T89" fmla="*/ 955 h 1189"/>
                  <a:gd name="T90" fmla="*/ 1572 w 2701"/>
                  <a:gd name="T91" fmla="*/ 913 h 1189"/>
                  <a:gd name="T92" fmla="*/ 1636 w 2701"/>
                  <a:gd name="T93" fmla="*/ 1002 h 1189"/>
                  <a:gd name="T94" fmla="*/ 1717 w 2701"/>
                  <a:gd name="T95" fmla="*/ 1047 h 1189"/>
                  <a:gd name="T96" fmla="*/ 1661 w 2701"/>
                  <a:gd name="T97" fmla="*/ 1114 h 1189"/>
                  <a:gd name="T98" fmla="*/ 1788 w 2701"/>
                  <a:gd name="T99" fmla="*/ 1067 h 1189"/>
                  <a:gd name="T100" fmla="*/ 1791 w 2701"/>
                  <a:gd name="T101" fmla="*/ 883 h 1189"/>
                  <a:gd name="T102" fmla="*/ 1956 w 2701"/>
                  <a:gd name="T103" fmla="*/ 752 h 1189"/>
                  <a:gd name="T104" fmla="*/ 2071 w 2701"/>
                  <a:gd name="T105" fmla="*/ 756 h 1189"/>
                  <a:gd name="T106" fmla="*/ 2217 w 2701"/>
                  <a:gd name="T107" fmla="*/ 687 h 1189"/>
                  <a:gd name="T108" fmla="*/ 2137 w 2701"/>
                  <a:gd name="T109" fmla="*/ 788 h 1189"/>
                  <a:gd name="T110" fmla="*/ 2214 w 2701"/>
                  <a:gd name="T111" fmla="*/ 827 h 1189"/>
                  <a:gd name="T112" fmla="*/ 2280 w 2701"/>
                  <a:gd name="T113" fmla="*/ 722 h 1189"/>
                  <a:gd name="T114" fmla="*/ 2503 w 2701"/>
                  <a:gd name="T115" fmla="*/ 669 h 1189"/>
                  <a:gd name="T116" fmla="*/ 2456 w 2701"/>
                  <a:gd name="T117" fmla="*/ 595 h 1189"/>
                  <a:gd name="T118" fmla="*/ 2542 w 2701"/>
                  <a:gd name="T119" fmla="*/ 557 h 1189"/>
                  <a:gd name="T120" fmla="*/ 2651 w 2701"/>
                  <a:gd name="T121" fmla="*/ 564 h 1189"/>
                  <a:gd name="T122" fmla="*/ 1875 w 2701"/>
                  <a:gd name="T123" fmla="*/ 906 h 1189"/>
                  <a:gd name="T124" fmla="*/ 1880 w 2701"/>
                  <a:gd name="T125" fmla="*/ 1070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01" h="1189">
                    <a:moveTo>
                      <a:pt x="820" y="301"/>
                    </a:moveTo>
                    <a:lnTo>
                      <a:pt x="811" y="299"/>
                    </a:lnTo>
                    <a:lnTo>
                      <a:pt x="814" y="298"/>
                    </a:lnTo>
                    <a:lnTo>
                      <a:pt x="818" y="298"/>
                    </a:lnTo>
                    <a:lnTo>
                      <a:pt x="823" y="298"/>
                    </a:lnTo>
                    <a:lnTo>
                      <a:pt x="826" y="299"/>
                    </a:lnTo>
                    <a:lnTo>
                      <a:pt x="823" y="301"/>
                    </a:lnTo>
                    <a:lnTo>
                      <a:pt x="820" y="301"/>
                    </a:lnTo>
                    <a:close/>
                    <a:moveTo>
                      <a:pt x="844" y="288"/>
                    </a:moveTo>
                    <a:lnTo>
                      <a:pt x="849" y="285"/>
                    </a:lnTo>
                    <a:lnTo>
                      <a:pt x="846" y="285"/>
                    </a:lnTo>
                    <a:lnTo>
                      <a:pt x="843" y="285"/>
                    </a:lnTo>
                    <a:lnTo>
                      <a:pt x="841" y="286"/>
                    </a:lnTo>
                    <a:lnTo>
                      <a:pt x="840" y="286"/>
                    </a:lnTo>
                    <a:lnTo>
                      <a:pt x="843" y="289"/>
                    </a:lnTo>
                    <a:lnTo>
                      <a:pt x="844" y="288"/>
                    </a:lnTo>
                    <a:close/>
                    <a:moveTo>
                      <a:pt x="807" y="301"/>
                    </a:moveTo>
                    <a:lnTo>
                      <a:pt x="808" y="301"/>
                    </a:lnTo>
                    <a:lnTo>
                      <a:pt x="810" y="299"/>
                    </a:lnTo>
                    <a:lnTo>
                      <a:pt x="808" y="298"/>
                    </a:lnTo>
                    <a:lnTo>
                      <a:pt x="807" y="298"/>
                    </a:lnTo>
                    <a:lnTo>
                      <a:pt x="805" y="298"/>
                    </a:lnTo>
                    <a:lnTo>
                      <a:pt x="803" y="298"/>
                    </a:lnTo>
                    <a:lnTo>
                      <a:pt x="804" y="299"/>
                    </a:lnTo>
                    <a:lnTo>
                      <a:pt x="807" y="301"/>
                    </a:lnTo>
                    <a:close/>
                    <a:moveTo>
                      <a:pt x="747" y="348"/>
                    </a:moveTo>
                    <a:lnTo>
                      <a:pt x="752" y="348"/>
                    </a:lnTo>
                    <a:lnTo>
                      <a:pt x="754" y="342"/>
                    </a:lnTo>
                    <a:lnTo>
                      <a:pt x="754" y="341"/>
                    </a:lnTo>
                    <a:lnTo>
                      <a:pt x="752" y="338"/>
                    </a:lnTo>
                    <a:lnTo>
                      <a:pt x="751" y="335"/>
                    </a:lnTo>
                    <a:lnTo>
                      <a:pt x="748" y="335"/>
                    </a:lnTo>
                    <a:lnTo>
                      <a:pt x="747" y="335"/>
                    </a:lnTo>
                    <a:lnTo>
                      <a:pt x="744" y="337"/>
                    </a:lnTo>
                    <a:lnTo>
                      <a:pt x="738" y="342"/>
                    </a:lnTo>
                    <a:lnTo>
                      <a:pt x="741" y="345"/>
                    </a:lnTo>
                    <a:lnTo>
                      <a:pt x="747" y="348"/>
                    </a:lnTo>
                    <a:close/>
                    <a:moveTo>
                      <a:pt x="758" y="26"/>
                    </a:moveTo>
                    <a:lnTo>
                      <a:pt x="765" y="25"/>
                    </a:lnTo>
                    <a:lnTo>
                      <a:pt x="770" y="22"/>
                    </a:lnTo>
                    <a:lnTo>
                      <a:pt x="767" y="20"/>
                    </a:lnTo>
                    <a:lnTo>
                      <a:pt x="762" y="19"/>
                    </a:lnTo>
                    <a:lnTo>
                      <a:pt x="759" y="19"/>
                    </a:lnTo>
                    <a:lnTo>
                      <a:pt x="751" y="19"/>
                    </a:lnTo>
                    <a:lnTo>
                      <a:pt x="749" y="19"/>
                    </a:lnTo>
                    <a:lnTo>
                      <a:pt x="748" y="20"/>
                    </a:lnTo>
                    <a:lnTo>
                      <a:pt x="747" y="20"/>
                    </a:lnTo>
                    <a:lnTo>
                      <a:pt x="745" y="23"/>
                    </a:lnTo>
                    <a:lnTo>
                      <a:pt x="745" y="25"/>
                    </a:lnTo>
                    <a:lnTo>
                      <a:pt x="745" y="26"/>
                    </a:lnTo>
                    <a:lnTo>
                      <a:pt x="749" y="28"/>
                    </a:lnTo>
                    <a:lnTo>
                      <a:pt x="758" y="26"/>
                    </a:lnTo>
                    <a:close/>
                    <a:moveTo>
                      <a:pt x="791" y="250"/>
                    </a:moveTo>
                    <a:lnTo>
                      <a:pt x="793" y="250"/>
                    </a:lnTo>
                    <a:lnTo>
                      <a:pt x="794" y="250"/>
                    </a:lnTo>
                    <a:lnTo>
                      <a:pt x="795" y="249"/>
                    </a:lnTo>
                    <a:lnTo>
                      <a:pt x="795" y="250"/>
                    </a:lnTo>
                    <a:lnTo>
                      <a:pt x="795" y="252"/>
                    </a:lnTo>
                    <a:lnTo>
                      <a:pt x="797" y="252"/>
                    </a:lnTo>
                    <a:lnTo>
                      <a:pt x="797" y="253"/>
                    </a:lnTo>
                    <a:lnTo>
                      <a:pt x="798" y="250"/>
                    </a:lnTo>
                    <a:lnTo>
                      <a:pt x="798" y="249"/>
                    </a:lnTo>
                    <a:lnTo>
                      <a:pt x="800" y="248"/>
                    </a:lnTo>
                    <a:lnTo>
                      <a:pt x="801" y="248"/>
                    </a:lnTo>
                    <a:lnTo>
                      <a:pt x="800" y="239"/>
                    </a:lnTo>
                    <a:lnTo>
                      <a:pt x="798" y="239"/>
                    </a:lnTo>
                    <a:lnTo>
                      <a:pt x="797" y="240"/>
                    </a:lnTo>
                    <a:lnTo>
                      <a:pt x="795" y="242"/>
                    </a:lnTo>
                    <a:lnTo>
                      <a:pt x="795" y="245"/>
                    </a:lnTo>
                    <a:lnTo>
                      <a:pt x="795" y="245"/>
                    </a:lnTo>
                    <a:lnTo>
                      <a:pt x="794" y="245"/>
                    </a:lnTo>
                    <a:lnTo>
                      <a:pt x="793" y="243"/>
                    </a:lnTo>
                    <a:lnTo>
                      <a:pt x="793" y="243"/>
                    </a:lnTo>
                    <a:lnTo>
                      <a:pt x="790" y="246"/>
                    </a:lnTo>
                    <a:lnTo>
                      <a:pt x="790" y="248"/>
                    </a:lnTo>
                    <a:lnTo>
                      <a:pt x="790" y="249"/>
                    </a:lnTo>
                    <a:lnTo>
                      <a:pt x="791" y="250"/>
                    </a:lnTo>
                    <a:close/>
                    <a:moveTo>
                      <a:pt x="876" y="271"/>
                    </a:moveTo>
                    <a:lnTo>
                      <a:pt x="883" y="272"/>
                    </a:lnTo>
                    <a:lnTo>
                      <a:pt x="884" y="272"/>
                    </a:lnTo>
                    <a:lnTo>
                      <a:pt x="886" y="271"/>
                    </a:lnTo>
                    <a:lnTo>
                      <a:pt x="887" y="268"/>
                    </a:lnTo>
                    <a:lnTo>
                      <a:pt x="887" y="266"/>
                    </a:lnTo>
                    <a:lnTo>
                      <a:pt x="886" y="265"/>
                    </a:lnTo>
                    <a:lnTo>
                      <a:pt x="883" y="265"/>
                    </a:lnTo>
                    <a:lnTo>
                      <a:pt x="877" y="265"/>
                    </a:lnTo>
                    <a:lnTo>
                      <a:pt x="876" y="266"/>
                    </a:lnTo>
                    <a:lnTo>
                      <a:pt x="873" y="268"/>
                    </a:lnTo>
                    <a:lnTo>
                      <a:pt x="873" y="269"/>
                    </a:lnTo>
                    <a:lnTo>
                      <a:pt x="874" y="271"/>
                    </a:lnTo>
                    <a:lnTo>
                      <a:pt x="876" y="271"/>
                    </a:lnTo>
                    <a:close/>
                    <a:moveTo>
                      <a:pt x="968" y="49"/>
                    </a:moveTo>
                    <a:lnTo>
                      <a:pt x="969" y="51"/>
                    </a:lnTo>
                    <a:lnTo>
                      <a:pt x="972" y="52"/>
                    </a:lnTo>
                    <a:lnTo>
                      <a:pt x="975" y="52"/>
                    </a:lnTo>
                    <a:lnTo>
                      <a:pt x="978" y="55"/>
                    </a:lnTo>
                    <a:lnTo>
                      <a:pt x="979" y="56"/>
                    </a:lnTo>
                    <a:lnTo>
                      <a:pt x="982" y="56"/>
                    </a:lnTo>
                    <a:lnTo>
                      <a:pt x="991" y="59"/>
                    </a:lnTo>
                    <a:lnTo>
                      <a:pt x="1001" y="64"/>
                    </a:lnTo>
                    <a:lnTo>
                      <a:pt x="1004" y="64"/>
                    </a:lnTo>
                    <a:lnTo>
                      <a:pt x="1008" y="64"/>
                    </a:lnTo>
                    <a:lnTo>
                      <a:pt x="1012" y="62"/>
                    </a:lnTo>
                    <a:lnTo>
                      <a:pt x="1018" y="59"/>
                    </a:lnTo>
                    <a:lnTo>
                      <a:pt x="1022" y="58"/>
                    </a:lnTo>
                    <a:lnTo>
                      <a:pt x="1055" y="54"/>
                    </a:lnTo>
                    <a:lnTo>
                      <a:pt x="1063" y="52"/>
                    </a:lnTo>
                    <a:lnTo>
                      <a:pt x="1068" y="46"/>
                    </a:lnTo>
                    <a:lnTo>
                      <a:pt x="1065" y="45"/>
                    </a:lnTo>
                    <a:lnTo>
                      <a:pt x="1064" y="42"/>
                    </a:lnTo>
                    <a:lnTo>
                      <a:pt x="1063" y="39"/>
                    </a:lnTo>
                    <a:lnTo>
                      <a:pt x="1063" y="36"/>
                    </a:lnTo>
                    <a:lnTo>
                      <a:pt x="1067" y="33"/>
                    </a:lnTo>
                    <a:lnTo>
                      <a:pt x="1071" y="33"/>
                    </a:lnTo>
                    <a:lnTo>
                      <a:pt x="1075" y="32"/>
                    </a:lnTo>
                    <a:lnTo>
                      <a:pt x="1077" y="29"/>
                    </a:lnTo>
                    <a:lnTo>
                      <a:pt x="1074" y="28"/>
                    </a:lnTo>
                    <a:lnTo>
                      <a:pt x="1071" y="26"/>
                    </a:lnTo>
                    <a:lnTo>
                      <a:pt x="1064" y="23"/>
                    </a:lnTo>
                    <a:lnTo>
                      <a:pt x="1060" y="22"/>
                    </a:lnTo>
                    <a:lnTo>
                      <a:pt x="1058" y="20"/>
                    </a:lnTo>
                    <a:lnTo>
                      <a:pt x="1057" y="19"/>
                    </a:lnTo>
                    <a:lnTo>
                      <a:pt x="1055" y="18"/>
                    </a:lnTo>
                    <a:lnTo>
                      <a:pt x="1054" y="16"/>
                    </a:lnTo>
                    <a:lnTo>
                      <a:pt x="1054" y="15"/>
                    </a:lnTo>
                    <a:lnTo>
                      <a:pt x="1052" y="13"/>
                    </a:lnTo>
                    <a:lnTo>
                      <a:pt x="1051" y="10"/>
                    </a:lnTo>
                    <a:lnTo>
                      <a:pt x="1041" y="2"/>
                    </a:lnTo>
                    <a:lnTo>
                      <a:pt x="1040" y="2"/>
                    </a:lnTo>
                    <a:lnTo>
                      <a:pt x="1035" y="0"/>
                    </a:lnTo>
                    <a:lnTo>
                      <a:pt x="1032" y="0"/>
                    </a:lnTo>
                    <a:lnTo>
                      <a:pt x="1031" y="0"/>
                    </a:lnTo>
                    <a:lnTo>
                      <a:pt x="1029" y="2"/>
                    </a:lnTo>
                    <a:lnTo>
                      <a:pt x="1028" y="3"/>
                    </a:lnTo>
                    <a:lnTo>
                      <a:pt x="1027" y="6"/>
                    </a:lnTo>
                    <a:lnTo>
                      <a:pt x="1025" y="8"/>
                    </a:lnTo>
                    <a:lnTo>
                      <a:pt x="1024" y="9"/>
                    </a:lnTo>
                    <a:lnTo>
                      <a:pt x="1022" y="10"/>
                    </a:lnTo>
                    <a:lnTo>
                      <a:pt x="1021" y="10"/>
                    </a:lnTo>
                    <a:lnTo>
                      <a:pt x="1008" y="15"/>
                    </a:lnTo>
                    <a:lnTo>
                      <a:pt x="998" y="16"/>
                    </a:lnTo>
                    <a:lnTo>
                      <a:pt x="995" y="18"/>
                    </a:lnTo>
                    <a:lnTo>
                      <a:pt x="992" y="19"/>
                    </a:lnTo>
                    <a:lnTo>
                      <a:pt x="989" y="20"/>
                    </a:lnTo>
                    <a:lnTo>
                      <a:pt x="986" y="23"/>
                    </a:lnTo>
                    <a:lnTo>
                      <a:pt x="985" y="26"/>
                    </a:lnTo>
                    <a:lnTo>
                      <a:pt x="984" y="29"/>
                    </a:lnTo>
                    <a:lnTo>
                      <a:pt x="986" y="29"/>
                    </a:lnTo>
                    <a:lnTo>
                      <a:pt x="989" y="29"/>
                    </a:lnTo>
                    <a:lnTo>
                      <a:pt x="995" y="28"/>
                    </a:lnTo>
                    <a:lnTo>
                      <a:pt x="988" y="35"/>
                    </a:lnTo>
                    <a:lnTo>
                      <a:pt x="985" y="38"/>
                    </a:lnTo>
                    <a:lnTo>
                      <a:pt x="982" y="39"/>
                    </a:lnTo>
                    <a:lnTo>
                      <a:pt x="975" y="41"/>
                    </a:lnTo>
                    <a:lnTo>
                      <a:pt x="972" y="41"/>
                    </a:lnTo>
                    <a:lnTo>
                      <a:pt x="968" y="42"/>
                    </a:lnTo>
                    <a:lnTo>
                      <a:pt x="966" y="45"/>
                    </a:lnTo>
                    <a:lnTo>
                      <a:pt x="965" y="48"/>
                    </a:lnTo>
                    <a:lnTo>
                      <a:pt x="968" y="49"/>
                    </a:lnTo>
                    <a:close/>
                    <a:moveTo>
                      <a:pt x="1005" y="69"/>
                    </a:moveTo>
                    <a:lnTo>
                      <a:pt x="975" y="62"/>
                    </a:lnTo>
                    <a:lnTo>
                      <a:pt x="968" y="62"/>
                    </a:lnTo>
                    <a:lnTo>
                      <a:pt x="962" y="62"/>
                    </a:lnTo>
                    <a:lnTo>
                      <a:pt x="956" y="65"/>
                    </a:lnTo>
                    <a:lnTo>
                      <a:pt x="958" y="69"/>
                    </a:lnTo>
                    <a:lnTo>
                      <a:pt x="961" y="71"/>
                    </a:lnTo>
                    <a:lnTo>
                      <a:pt x="976" y="78"/>
                    </a:lnTo>
                    <a:lnTo>
                      <a:pt x="979" y="78"/>
                    </a:lnTo>
                    <a:lnTo>
                      <a:pt x="986" y="78"/>
                    </a:lnTo>
                    <a:lnTo>
                      <a:pt x="994" y="77"/>
                    </a:lnTo>
                    <a:lnTo>
                      <a:pt x="999" y="74"/>
                    </a:lnTo>
                    <a:lnTo>
                      <a:pt x="1005" y="69"/>
                    </a:lnTo>
                    <a:close/>
                    <a:moveTo>
                      <a:pt x="942" y="12"/>
                    </a:moveTo>
                    <a:lnTo>
                      <a:pt x="955" y="13"/>
                    </a:lnTo>
                    <a:lnTo>
                      <a:pt x="959" y="13"/>
                    </a:lnTo>
                    <a:lnTo>
                      <a:pt x="962" y="12"/>
                    </a:lnTo>
                    <a:lnTo>
                      <a:pt x="966" y="9"/>
                    </a:lnTo>
                    <a:lnTo>
                      <a:pt x="961" y="6"/>
                    </a:lnTo>
                    <a:lnTo>
                      <a:pt x="950" y="5"/>
                    </a:lnTo>
                    <a:lnTo>
                      <a:pt x="940" y="5"/>
                    </a:lnTo>
                    <a:lnTo>
                      <a:pt x="936" y="9"/>
                    </a:lnTo>
                    <a:lnTo>
                      <a:pt x="938" y="10"/>
                    </a:lnTo>
                    <a:lnTo>
                      <a:pt x="942" y="12"/>
                    </a:lnTo>
                    <a:close/>
                    <a:moveTo>
                      <a:pt x="928" y="173"/>
                    </a:moveTo>
                    <a:lnTo>
                      <a:pt x="930" y="171"/>
                    </a:lnTo>
                    <a:lnTo>
                      <a:pt x="932" y="170"/>
                    </a:lnTo>
                    <a:lnTo>
                      <a:pt x="930" y="169"/>
                    </a:lnTo>
                    <a:lnTo>
                      <a:pt x="928" y="169"/>
                    </a:lnTo>
                    <a:lnTo>
                      <a:pt x="925" y="170"/>
                    </a:lnTo>
                    <a:lnTo>
                      <a:pt x="923" y="171"/>
                    </a:lnTo>
                    <a:lnTo>
                      <a:pt x="926" y="173"/>
                    </a:lnTo>
                    <a:lnTo>
                      <a:pt x="928" y="173"/>
                    </a:lnTo>
                    <a:close/>
                    <a:moveTo>
                      <a:pt x="1045" y="179"/>
                    </a:moveTo>
                    <a:lnTo>
                      <a:pt x="1048" y="177"/>
                    </a:lnTo>
                    <a:lnTo>
                      <a:pt x="1051" y="177"/>
                    </a:lnTo>
                    <a:lnTo>
                      <a:pt x="1052" y="174"/>
                    </a:lnTo>
                    <a:lnTo>
                      <a:pt x="1052" y="173"/>
                    </a:lnTo>
                    <a:lnTo>
                      <a:pt x="1050" y="173"/>
                    </a:lnTo>
                    <a:lnTo>
                      <a:pt x="1044" y="174"/>
                    </a:lnTo>
                    <a:lnTo>
                      <a:pt x="1034" y="176"/>
                    </a:lnTo>
                    <a:lnTo>
                      <a:pt x="1031" y="177"/>
                    </a:lnTo>
                    <a:lnTo>
                      <a:pt x="1042" y="179"/>
                    </a:lnTo>
                    <a:lnTo>
                      <a:pt x="1045" y="179"/>
                    </a:lnTo>
                    <a:close/>
                    <a:moveTo>
                      <a:pt x="524" y="411"/>
                    </a:moveTo>
                    <a:lnTo>
                      <a:pt x="524" y="410"/>
                    </a:lnTo>
                    <a:lnTo>
                      <a:pt x="524" y="410"/>
                    </a:lnTo>
                    <a:lnTo>
                      <a:pt x="524" y="410"/>
                    </a:lnTo>
                    <a:lnTo>
                      <a:pt x="523" y="411"/>
                    </a:lnTo>
                    <a:lnTo>
                      <a:pt x="523" y="413"/>
                    </a:lnTo>
                    <a:lnTo>
                      <a:pt x="524" y="416"/>
                    </a:lnTo>
                    <a:lnTo>
                      <a:pt x="524" y="417"/>
                    </a:lnTo>
                    <a:lnTo>
                      <a:pt x="525" y="419"/>
                    </a:lnTo>
                    <a:lnTo>
                      <a:pt x="525" y="416"/>
                    </a:lnTo>
                    <a:lnTo>
                      <a:pt x="525" y="414"/>
                    </a:lnTo>
                    <a:lnTo>
                      <a:pt x="524" y="411"/>
                    </a:lnTo>
                    <a:close/>
                    <a:moveTo>
                      <a:pt x="589" y="337"/>
                    </a:moveTo>
                    <a:lnTo>
                      <a:pt x="591" y="335"/>
                    </a:lnTo>
                    <a:lnTo>
                      <a:pt x="606" y="332"/>
                    </a:lnTo>
                    <a:lnTo>
                      <a:pt x="612" y="331"/>
                    </a:lnTo>
                    <a:lnTo>
                      <a:pt x="614" y="331"/>
                    </a:lnTo>
                    <a:lnTo>
                      <a:pt x="614" y="328"/>
                    </a:lnTo>
                    <a:lnTo>
                      <a:pt x="613" y="324"/>
                    </a:lnTo>
                    <a:lnTo>
                      <a:pt x="610" y="321"/>
                    </a:lnTo>
                    <a:lnTo>
                      <a:pt x="604" y="318"/>
                    </a:lnTo>
                    <a:lnTo>
                      <a:pt x="600" y="318"/>
                    </a:lnTo>
                    <a:lnTo>
                      <a:pt x="594" y="318"/>
                    </a:lnTo>
                    <a:lnTo>
                      <a:pt x="591" y="318"/>
                    </a:lnTo>
                    <a:lnTo>
                      <a:pt x="590" y="319"/>
                    </a:lnTo>
                    <a:lnTo>
                      <a:pt x="587" y="321"/>
                    </a:lnTo>
                    <a:lnTo>
                      <a:pt x="587" y="324"/>
                    </a:lnTo>
                    <a:lnTo>
                      <a:pt x="587" y="328"/>
                    </a:lnTo>
                    <a:lnTo>
                      <a:pt x="586" y="332"/>
                    </a:lnTo>
                    <a:lnTo>
                      <a:pt x="586" y="334"/>
                    </a:lnTo>
                    <a:lnTo>
                      <a:pt x="587" y="335"/>
                    </a:lnTo>
                    <a:lnTo>
                      <a:pt x="589" y="337"/>
                    </a:lnTo>
                    <a:close/>
                    <a:moveTo>
                      <a:pt x="718" y="353"/>
                    </a:moveTo>
                    <a:lnTo>
                      <a:pt x="716" y="354"/>
                    </a:lnTo>
                    <a:lnTo>
                      <a:pt x="714" y="357"/>
                    </a:lnTo>
                    <a:lnTo>
                      <a:pt x="712" y="357"/>
                    </a:lnTo>
                    <a:lnTo>
                      <a:pt x="709" y="360"/>
                    </a:lnTo>
                    <a:lnTo>
                      <a:pt x="708" y="361"/>
                    </a:lnTo>
                    <a:lnTo>
                      <a:pt x="709" y="363"/>
                    </a:lnTo>
                    <a:lnTo>
                      <a:pt x="712" y="364"/>
                    </a:lnTo>
                    <a:lnTo>
                      <a:pt x="716" y="364"/>
                    </a:lnTo>
                    <a:lnTo>
                      <a:pt x="721" y="363"/>
                    </a:lnTo>
                    <a:lnTo>
                      <a:pt x="724" y="363"/>
                    </a:lnTo>
                    <a:lnTo>
                      <a:pt x="726" y="360"/>
                    </a:lnTo>
                    <a:lnTo>
                      <a:pt x="734" y="357"/>
                    </a:lnTo>
                    <a:lnTo>
                      <a:pt x="731" y="354"/>
                    </a:lnTo>
                    <a:lnTo>
                      <a:pt x="728" y="353"/>
                    </a:lnTo>
                    <a:lnTo>
                      <a:pt x="724" y="351"/>
                    </a:lnTo>
                    <a:lnTo>
                      <a:pt x="719" y="351"/>
                    </a:lnTo>
                    <a:lnTo>
                      <a:pt x="718" y="353"/>
                    </a:lnTo>
                    <a:close/>
                    <a:moveTo>
                      <a:pt x="1045" y="209"/>
                    </a:moveTo>
                    <a:lnTo>
                      <a:pt x="1048" y="210"/>
                    </a:lnTo>
                    <a:lnTo>
                      <a:pt x="1050" y="209"/>
                    </a:lnTo>
                    <a:lnTo>
                      <a:pt x="1051" y="206"/>
                    </a:lnTo>
                    <a:lnTo>
                      <a:pt x="1051" y="206"/>
                    </a:lnTo>
                    <a:lnTo>
                      <a:pt x="1054" y="206"/>
                    </a:lnTo>
                    <a:lnTo>
                      <a:pt x="1052" y="204"/>
                    </a:lnTo>
                    <a:lnTo>
                      <a:pt x="1050" y="203"/>
                    </a:lnTo>
                    <a:lnTo>
                      <a:pt x="1042" y="203"/>
                    </a:lnTo>
                    <a:lnTo>
                      <a:pt x="1040" y="203"/>
                    </a:lnTo>
                    <a:lnTo>
                      <a:pt x="1038" y="203"/>
                    </a:lnTo>
                    <a:lnTo>
                      <a:pt x="1037" y="204"/>
                    </a:lnTo>
                    <a:lnTo>
                      <a:pt x="1037" y="204"/>
                    </a:lnTo>
                    <a:lnTo>
                      <a:pt x="1035" y="204"/>
                    </a:lnTo>
                    <a:lnTo>
                      <a:pt x="1032" y="204"/>
                    </a:lnTo>
                    <a:lnTo>
                      <a:pt x="1032" y="204"/>
                    </a:lnTo>
                    <a:lnTo>
                      <a:pt x="1031" y="206"/>
                    </a:lnTo>
                    <a:lnTo>
                      <a:pt x="1041" y="207"/>
                    </a:lnTo>
                    <a:lnTo>
                      <a:pt x="1045" y="209"/>
                    </a:lnTo>
                    <a:close/>
                    <a:moveTo>
                      <a:pt x="695" y="82"/>
                    </a:moveTo>
                    <a:lnTo>
                      <a:pt x="696" y="82"/>
                    </a:lnTo>
                    <a:lnTo>
                      <a:pt x="698" y="82"/>
                    </a:lnTo>
                    <a:lnTo>
                      <a:pt x="701" y="84"/>
                    </a:lnTo>
                    <a:lnTo>
                      <a:pt x="702" y="84"/>
                    </a:lnTo>
                    <a:lnTo>
                      <a:pt x="703" y="84"/>
                    </a:lnTo>
                    <a:lnTo>
                      <a:pt x="703" y="84"/>
                    </a:lnTo>
                    <a:lnTo>
                      <a:pt x="703" y="85"/>
                    </a:lnTo>
                    <a:lnTo>
                      <a:pt x="703" y="85"/>
                    </a:lnTo>
                    <a:lnTo>
                      <a:pt x="708" y="85"/>
                    </a:lnTo>
                    <a:lnTo>
                      <a:pt x="719" y="85"/>
                    </a:lnTo>
                    <a:lnTo>
                      <a:pt x="716" y="82"/>
                    </a:lnTo>
                    <a:lnTo>
                      <a:pt x="714" y="82"/>
                    </a:lnTo>
                    <a:lnTo>
                      <a:pt x="699" y="81"/>
                    </a:lnTo>
                    <a:lnTo>
                      <a:pt x="696" y="79"/>
                    </a:lnTo>
                    <a:lnTo>
                      <a:pt x="695" y="79"/>
                    </a:lnTo>
                    <a:lnTo>
                      <a:pt x="693" y="79"/>
                    </a:lnTo>
                    <a:lnTo>
                      <a:pt x="693" y="81"/>
                    </a:lnTo>
                    <a:lnTo>
                      <a:pt x="695" y="82"/>
                    </a:lnTo>
                    <a:close/>
                    <a:moveTo>
                      <a:pt x="696" y="317"/>
                    </a:moveTo>
                    <a:lnTo>
                      <a:pt x="693" y="318"/>
                    </a:lnTo>
                    <a:lnTo>
                      <a:pt x="696" y="319"/>
                    </a:lnTo>
                    <a:lnTo>
                      <a:pt x="699" y="319"/>
                    </a:lnTo>
                    <a:lnTo>
                      <a:pt x="702" y="319"/>
                    </a:lnTo>
                    <a:lnTo>
                      <a:pt x="705" y="319"/>
                    </a:lnTo>
                    <a:lnTo>
                      <a:pt x="699" y="317"/>
                    </a:lnTo>
                    <a:lnTo>
                      <a:pt x="696" y="317"/>
                    </a:lnTo>
                    <a:close/>
                    <a:moveTo>
                      <a:pt x="686" y="319"/>
                    </a:moveTo>
                    <a:lnTo>
                      <a:pt x="689" y="318"/>
                    </a:lnTo>
                    <a:lnTo>
                      <a:pt x="693" y="317"/>
                    </a:lnTo>
                    <a:lnTo>
                      <a:pt x="689" y="317"/>
                    </a:lnTo>
                    <a:lnTo>
                      <a:pt x="686" y="317"/>
                    </a:lnTo>
                    <a:lnTo>
                      <a:pt x="682" y="318"/>
                    </a:lnTo>
                    <a:lnTo>
                      <a:pt x="680" y="319"/>
                    </a:lnTo>
                    <a:lnTo>
                      <a:pt x="683" y="319"/>
                    </a:lnTo>
                    <a:lnTo>
                      <a:pt x="686" y="319"/>
                    </a:lnTo>
                    <a:close/>
                    <a:moveTo>
                      <a:pt x="662" y="340"/>
                    </a:moveTo>
                    <a:lnTo>
                      <a:pt x="665" y="341"/>
                    </a:lnTo>
                    <a:lnTo>
                      <a:pt x="668" y="342"/>
                    </a:lnTo>
                    <a:lnTo>
                      <a:pt x="669" y="342"/>
                    </a:lnTo>
                    <a:lnTo>
                      <a:pt x="669" y="341"/>
                    </a:lnTo>
                    <a:lnTo>
                      <a:pt x="668" y="340"/>
                    </a:lnTo>
                    <a:lnTo>
                      <a:pt x="669" y="338"/>
                    </a:lnTo>
                    <a:lnTo>
                      <a:pt x="669" y="337"/>
                    </a:lnTo>
                    <a:lnTo>
                      <a:pt x="670" y="337"/>
                    </a:lnTo>
                    <a:lnTo>
                      <a:pt x="672" y="335"/>
                    </a:lnTo>
                    <a:lnTo>
                      <a:pt x="673" y="335"/>
                    </a:lnTo>
                    <a:lnTo>
                      <a:pt x="669" y="334"/>
                    </a:lnTo>
                    <a:lnTo>
                      <a:pt x="663" y="334"/>
                    </a:lnTo>
                    <a:lnTo>
                      <a:pt x="659" y="334"/>
                    </a:lnTo>
                    <a:lnTo>
                      <a:pt x="660" y="338"/>
                    </a:lnTo>
                    <a:lnTo>
                      <a:pt x="662" y="340"/>
                    </a:lnTo>
                    <a:close/>
                    <a:moveTo>
                      <a:pt x="1113" y="78"/>
                    </a:moveTo>
                    <a:lnTo>
                      <a:pt x="1113" y="81"/>
                    </a:lnTo>
                    <a:lnTo>
                      <a:pt x="1114" y="81"/>
                    </a:lnTo>
                    <a:lnTo>
                      <a:pt x="1116" y="81"/>
                    </a:lnTo>
                    <a:lnTo>
                      <a:pt x="1117" y="79"/>
                    </a:lnTo>
                    <a:lnTo>
                      <a:pt x="1119" y="78"/>
                    </a:lnTo>
                    <a:lnTo>
                      <a:pt x="1114" y="78"/>
                    </a:lnTo>
                    <a:lnTo>
                      <a:pt x="1113" y="78"/>
                    </a:lnTo>
                    <a:close/>
                    <a:moveTo>
                      <a:pt x="1765" y="253"/>
                    </a:moveTo>
                    <a:lnTo>
                      <a:pt x="1765" y="255"/>
                    </a:lnTo>
                    <a:lnTo>
                      <a:pt x="1768" y="258"/>
                    </a:lnTo>
                    <a:lnTo>
                      <a:pt x="1771" y="261"/>
                    </a:lnTo>
                    <a:lnTo>
                      <a:pt x="1776" y="263"/>
                    </a:lnTo>
                    <a:lnTo>
                      <a:pt x="1779" y="266"/>
                    </a:lnTo>
                    <a:lnTo>
                      <a:pt x="1782" y="272"/>
                    </a:lnTo>
                    <a:lnTo>
                      <a:pt x="1785" y="273"/>
                    </a:lnTo>
                    <a:lnTo>
                      <a:pt x="1788" y="275"/>
                    </a:lnTo>
                    <a:lnTo>
                      <a:pt x="1799" y="278"/>
                    </a:lnTo>
                    <a:lnTo>
                      <a:pt x="1804" y="279"/>
                    </a:lnTo>
                    <a:lnTo>
                      <a:pt x="1805" y="278"/>
                    </a:lnTo>
                    <a:lnTo>
                      <a:pt x="1808" y="275"/>
                    </a:lnTo>
                    <a:lnTo>
                      <a:pt x="1811" y="268"/>
                    </a:lnTo>
                    <a:lnTo>
                      <a:pt x="1812" y="266"/>
                    </a:lnTo>
                    <a:lnTo>
                      <a:pt x="1815" y="268"/>
                    </a:lnTo>
                    <a:lnTo>
                      <a:pt x="1818" y="269"/>
                    </a:lnTo>
                    <a:lnTo>
                      <a:pt x="1824" y="271"/>
                    </a:lnTo>
                    <a:lnTo>
                      <a:pt x="1832" y="271"/>
                    </a:lnTo>
                    <a:lnTo>
                      <a:pt x="1850" y="265"/>
                    </a:lnTo>
                    <a:lnTo>
                      <a:pt x="1851" y="265"/>
                    </a:lnTo>
                    <a:lnTo>
                      <a:pt x="1854" y="266"/>
                    </a:lnTo>
                    <a:lnTo>
                      <a:pt x="1854" y="266"/>
                    </a:lnTo>
                    <a:lnTo>
                      <a:pt x="1857" y="271"/>
                    </a:lnTo>
                    <a:lnTo>
                      <a:pt x="1858" y="271"/>
                    </a:lnTo>
                    <a:lnTo>
                      <a:pt x="1862" y="272"/>
                    </a:lnTo>
                    <a:lnTo>
                      <a:pt x="1865" y="271"/>
                    </a:lnTo>
                    <a:lnTo>
                      <a:pt x="1872" y="266"/>
                    </a:lnTo>
                    <a:lnTo>
                      <a:pt x="1870" y="263"/>
                    </a:lnTo>
                    <a:lnTo>
                      <a:pt x="1865" y="259"/>
                    </a:lnTo>
                    <a:lnTo>
                      <a:pt x="1862" y="258"/>
                    </a:lnTo>
                    <a:lnTo>
                      <a:pt x="1861" y="255"/>
                    </a:lnTo>
                    <a:lnTo>
                      <a:pt x="1858" y="250"/>
                    </a:lnTo>
                    <a:lnTo>
                      <a:pt x="1857" y="248"/>
                    </a:lnTo>
                    <a:lnTo>
                      <a:pt x="1855" y="243"/>
                    </a:lnTo>
                    <a:lnTo>
                      <a:pt x="1855" y="242"/>
                    </a:lnTo>
                    <a:lnTo>
                      <a:pt x="1854" y="233"/>
                    </a:lnTo>
                    <a:lnTo>
                      <a:pt x="1854" y="232"/>
                    </a:lnTo>
                    <a:lnTo>
                      <a:pt x="1855" y="232"/>
                    </a:lnTo>
                    <a:lnTo>
                      <a:pt x="1857" y="230"/>
                    </a:lnTo>
                    <a:lnTo>
                      <a:pt x="1860" y="229"/>
                    </a:lnTo>
                    <a:lnTo>
                      <a:pt x="1864" y="227"/>
                    </a:lnTo>
                    <a:lnTo>
                      <a:pt x="1867" y="227"/>
                    </a:lnTo>
                    <a:lnTo>
                      <a:pt x="1870" y="229"/>
                    </a:lnTo>
                    <a:lnTo>
                      <a:pt x="1870" y="230"/>
                    </a:lnTo>
                    <a:lnTo>
                      <a:pt x="1870" y="232"/>
                    </a:lnTo>
                    <a:lnTo>
                      <a:pt x="1870" y="233"/>
                    </a:lnTo>
                    <a:lnTo>
                      <a:pt x="1868" y="235"/>
                    </a:lnTo>
                    <a:lnTo>
                      <a:pt x="1867" y="238"/>
                    </a:lnTo>
                    <a:lnTo>
                      <a:pt x="1865" y="239"/>
                    </a:lnTo>
                    <a:lnTo>
                      <a:pt x="1865" y="240"/>
                    </a:lnTo>
                    <a:lnTo>
                      <a:pt x="1865" y="245"/>
                    </a:lnTo>
                    <a:lnTo>
                      <a:pt x="1865" y="248"/>
                    </a:lnTo>
                    <a:lnTo>
                      <a:pt x="1867" y="250"/>
                    </a:lnTo>
                    <a:lnTo>
                      <a:pt x="1868" y="253"/>
                    </a:lnTo>
                    <a:lnTo>
                      <a:pt x="1871" y="256"/>
                    </a:lnTo>
                    <a:lnTo>
                      <a:pt x="1874" y="259"/>
                    </a:lnTo>
                    <a:lnTo>
                      <a:pt x="1877" y="261"/>
                    </a:lnTo>
                    <a:lnTo>
                      <a:pt x="1887" y="262"/>
                    </a:lnTo>
                    <a:lnTo>
                      <a:pt x="1890" y="262"/>
                    </a:lnTo>
                    <a:lnTo>
                      <a:pt x="1894" y="261"/>
                    </a:lnTo>
                    <a:lnTo>
                      <a:pt x="1895" y="259"/>
                    </a:lnTo>
                    <a:lnTo>
                      <a:pt x="1901" y="253"/>
                    </a:lnTo>
                    <a:lnTo>
                      <a:pt x="1903" y="252"/>
                    </a:lnTo>
                    <a:lnTo>
                      <a:pt x="1901" y="248"/>
                    </a:lnTo>
                    <a:lnTo>
                      <a:pt x="1901" y="248"/>
                    </a:lnTo>
                    <a:lnTo>
                      <a:pt x="1901" y="248"/>
                    </a:lnTo>
                    <a:lnTo>
                      <a:pt x="1901" y="246"/>
                    </a:lnTo>
                    <a:lnTo>
                      <a:pt x="1901" y="245"/>
                    </a:lnTo>
                    <a:lnTo>
                      <a:pt x="1903" y="245"/>
                    </a:lnTo>
                    <a:lnTo>
                      <a:pt x="1904" y="243"/>
                    </a:lnTo>
                    <a:lnTo>
                      <a:pt x="1906" y="242"/>
                    </a:lnTo>
                    <a:lnTo>
                      <a:pt x="1907" y="240"/>
                    </a:lnTo>
                    <a:lnTo>
                      <a:pt x="1911" y="239"/>
                    </a:lnTo>
                    <a:lnTo>
                      <a:pt x="1908" y="235"/>
                    </a:lnTo>
                    <a:lnTo>
                      <a:pt x="1904" y="232"/>
                    </a:lnTo>
                    <a:lnTo>
                      <a:pt x="1894" y="227"/>
                    </a:lnTo>
                    <a:lnTo>
                      <a:pt x="1885" y="223"/>
                    </a:lnTo>
                    <a:lnTo>
                      <a:pt x="1883" y="222"/>
                    </a:lnTo>
                    <a:lnTo>
                      <a:pt x="1881" y="222"/>
                    </a:lnTo>
                    <a:lnTo>
                      <a:pt x="1880" y="222"/>
                    </a:lnTo>
                    <a:lnTo>
                      <a:pt x="1875" y="223"/>
                    </a:lnTo>
                    <a:lnTo>
                      <a:pt x="1871" y="223"/>
                    </a:lnTo>
                    <a:lnTo>
                      <a:pt x="1867" y="223"/>
                    </a:lnTo>
                    <a:lnTo>
                      <a:pt x="1864" y="222"/>
                    </a:lnTo>
                    <a:lnTo>
                      <a:pt x="1860" y="219"/>
                    </a:lnTo>
                    <a:lnTo>
                      <a:pt x="1852" y="213"/>
                    </a:lnTo>
                    <a:lnTo>
                      <a:pt x="1847" y="210"/>
                    </a:lnTo>
                    <a:lnTo>
                      <a:pt x="1844" y="210"/>
                    </a:lnTo>
                    <a:lnTo>
                      <a:pt x="1841" y="210"/>
                    </a:lnTo>
                    <a:lnTo>
                      <a:pt x="1837" y="215"/>
                    </a:lnTo>
                    <a:lnTo>
                      <a:pt x="1835" y="216"/>
                    </a:lnTo>
                    <a:lnTo>
                      <a:pt x="1835" y="217"/>
                    </a:lnTo>
                    <a:lnTo>
                      <a:pt x="1834" y="219"/>
                    </a:lnTo>
                    <a:lnTo>
                      <a:pt x="1834" y="222"/>
                    </a:lnTo>
                    <a:lnTo>
                      <a:pt x="1834" y="227"/>
                    </a:lnTo>
                    <a:lnTo>
                      <a:pt x="1832" y="232"/>
                    </a:lnTo>
                    <a:lnTo>
                      <a:pt x="1831" y="233"/>
                    </a:lnTo>
                    <a:lnTo>
                      <a:pt x="1827" y="232"/>
                    </a:lnTo>
                    <a:lnTo>
                      <a:pt x="1825" y="229"/>
                    </a:lnTo>
                    <a:lnTo>
                      <a:pt x="1825" y="227"/>
                    </a:lnTo>
                    <a:lnTo>
                      <a:pt x="1824" y="225"/>
                    </a:lnTo>
                    <a:lnTo>
                      <a:pt x="1822" y="223"/>
                    </a:lnTo>
                    <a:lnTo>
                      <a:pt x="1822" y="223"/>
                    </a:lnTo>
                    <a:lnTo>
                      <a:pt x="1819" y="223"/>
                    </a:lnTo>
                    <a:lnTo>
                      <a:pt x="1819" y="223"/>
                    </a:lnTo>
                    <a:lnTo>
                      <a:pt x="1818" y="223"/>
                    </a:lnTo>
                    <a:lnTo>
                      <a:pt x="1816" y="222"/>
                    </a:lnTo>
                    <a:lnTo>
                      <a:pt x="1815" y="220"/>
                    </a:lnTo>
                    <a:lnTo>
                      <a:pt x="1812" y="217"/>
                    </a:lnTo>
                    <a:lnTo>
                      <a:pt x="1801" y="209"/>
                    </a:lnTo>
                    <a:lnTo>
                      <a:pt x="1796" y="207"/>
                    </a:lnTo>
                    <a:lnTo>
                      <a:pt x="1791" y="209"/>
                    </a:lnTo>
                    <a:lnTo>
                      <a:pt x="1786" y="210"/>
                    </a:lnTo>
                    <a:lnTo>
                      <a:pt x="1783" y="213"/>
                    </a:lnTo>
                    <a:lnTo>
                      <a:pt x="1781" y="215"/>
                    </a:lnTo>
                    <a:lnTo>
                      <a:pt x="1778" y="215"/>
                    </a:lnTo>
                    <a:lnTo>
                      <a:pt x="1776" y="216"/>
                    </a:lnTo>
                    <a:lnTo>
                      <a:pt x="1775" y="217"/>
                    </a:lnTo>
                    <a:lnTo>
                      <a:pt x="1773" y="220"/>
                    </a:lnTo>
                    <a:lnTo>
                      <a:pt x="1775" y="222"/>
                    </a:lnTo>
                    <a:lnTo>
                      <a:pt x="1775" y="225"/>
                    </a:lnTo>
                    <a:lnTo>
                      <a:pt x="1776" y="226"/>
                    </a:lnTo>
                    <a:lnTo>
                      <a:pt x="1772" y="226"/>
                    </a:lnTo>
                    <a:lnTo>
                      <a:pt x="1771" y="226"/>
                    </a:lnTo>
                    <a:lnTo>
                      <a:pt x="1769" y="229"/>
                    </a:lnTo>
                    <a:lnTo>
                      <a:pt x="1769" y="233"/>
                    </a:lnTo>
                    <a:lnTo>
                      <a:pt x="1769" y="238"/>
                    </a:lnTo>
                    <a:lnTo>
                      <a:pt x="1769" y="248"/>
                    </a:lnTo>
                    <a:lnTo>
                      <a:pt x="1768" y="248"/>
                    </a:lnTo>
                    <a:lnTo>
                      <a:pt x="1766" y="248"/>
                    </a:lnTo>
                    <a:lnTo>
                      <a:pt x="1765" y="248"/>
                    </a:lnTo>
                    <a:lnTo>
                      <a:pt x="1763" y="248"/>
                    </a:lnTo>
                    <a:lnTo>
                      <a:pt x="1763" y="249"/>
                    </a:lnTo>
                    <a:lnTo>
                      <a:pt x="1763" y="252"/>
                    </a:lnTo>
                    <a:lnTo>
                      <a:pt x="1765" y="253"/>
                    </a:lnTo>
                    <a:close/>
                    <a:moveTo>
                      <a:pt x="1814" y="322"/>
                    </a:moveTo>
                    <a:lnTo>
                      <a:pt x="1818" y="322"/>
                    </a:lnTo>
                    <a:lnTo>
                      <a:pt x="1824" y="319"/>
                    </a:lnTo>
                    <a:lnTo>
                      <a:pt x="1828" y="319"/>
                    </a:lnTo>
                    <a:lnTo>
                      <a:pt x="1831" y="319"/>
                    </a:lnTo>
                    <a:lnTo>
                      <a:pt x="1835" y="321"/>
                    </a:lnTo>
                    <a:lnTo>
                      <a:pt x="1838" y="321"/>
                    </a:lnTo>
                    <a:lnTo>
                      <a:pt x="1839" y="322"/>
                    </a:lnTo>
                    <a:lnTo>
                      <a:pt x="1844" y="324"/>
                    </a:lnTo>
                    <a:lnTo>
                      <a:pt x="1845" y="325"/>
                    </a:lnTo>
                    <a:lnTo>
                      <a:pt x="1848" y="325"/>
                    </a:lnTo>
                    <a:lnTo>
                      <a:pt x="1875" y="328"/>
                    </a:lnTo>
                    <a:lnTo>
                      <a:pt x="1877" y="328"/>
                    </a:lnTo>
                    <a:lnTo>
                      <a:pt x="1878" y="325"/>
                    </a:lnTo>
                    <a:lnTo>
                      <a:pt x="1878" y="321"/>
                    </a:lnTo>
                    <a:lnTo>
                      <a:pt x="1877" y="318"/>
                    </a:lnTo>
                    <a:lnTo>
                      <a:pt x="1874" y="315"/>
                    </a:lnTo>
                    <a:lnTo>
                      <a:pt x="1864" y="309"/>
                    </a:lnTo>
                    <a:lnTo>
                      <a:pt x="1860" y="308"/>
                    </a:lnTo>
                    <a:lnTo>
                      <a:pt x="1857" y="307"/>
                    </a:lnTo>
                    <a:lnTo>
                      <a:pt x="1852" y="307"/>
                    </a:lnTo>
                    <a:lnTo>
                      <a:pt x="1848" y="307"/>
                    </a:lnTo>
                    <a:lnTo>
                      <a:pt x="1841" y="307"/>
                    </a:lnTo>
                    <a:lnTo>
                      <a:pt x="1837" y="308"/>
                    </a:lnTo>
                    <a:lnTo>
                      <a:pt x="1834" y="309"/>
                    </a:lnTo>
                    <a:lnTo>
                      <a:pt x="1828" y="315"/>
                    </a:lnTo>
                    <a:lnTo>
                      <a:pt x="1825" y="318"/>
                    </a:lnTo>
                    <a:lnTo>
                      <a:pt x="1821" y="319"/>
                    </a:lnTo>
                    <a:lnTo>
                      <a:pt x="1812" y="321"/>
                    </a:lnTo>
                    <a:lnTo>
                      <a:pt x="1814" y="322"/>
                    </a:lnTo>
                    <a:close/>
                    <a:moveTo>
                      <a:pt x="1928" y="256"/>
                    </a:moveTo>
                    <a:lnTo>
                      <a:pt x="1934" y="259"/>
                    </a:lnTo>
                    <a:lnTo>
                      <a:pt x="1943" y="263"/>
                    </a:lnTo>
                    <a:lnTo>
                      <a:pt x="1951" y="266"/>
                    </a:lnTo>
                    <a:lnTo>
                      <a:pt x="1954" y="268"/>
                    </a:lnTo>
                    <a:lnTo>
                      <a:pt x="1959" y="271"/>
                    </a:lnTo>
                    <a:lnTo>
                      <a:pt x="1962" y="272"/>
                    </a:lnTo>
                    <a:lnTo>
                      <a:pt x="1967" y="273"/>
                    </a:lnTo>
                    <a:lnTo>
                      <a:pt x="1979" y="275"/>
                    </a:lnTo>
                    <a:lnTo>
                      <a:pt x="1986" y="273"/>
                    </a:lnTo>
                    <a:lnTo>
                      <a:pt x="1992" y="273"/>
                    </a:lnTo>
                    <a:lnTo>
                      <a:pt x="1997" y="271"/>
                    </a:lnTo>
                    <a:lnTo>
                      <a:pt x="2000" y="269"/>
                    </a:lnTo>
                    <a:lnTo>
                      <a:pt x="2003" y="268"/>
                    </a:lnTo>
                    <a:lnTo>
                      <a:pt x="2005" y="266"/>
                    </a:lnTo>
                    <a:lnTo>
                      <a:pt x="2006" y="263"/>
                    </a:lnTo>
                    <a:lnTo>
                      <a:pt x="2007" y="258"/>
                    </a:lnTo>
                    <a:lnTo>
                      <a:pt x="2006" y="258"/>
                    </a:lnTo>
                    <a:lnTo>
                      <a:pt x="2006" y="258"/>
                    </a:lnTo>
                    <a:lnTo>
                      <a:pt x="2005" y="258"/>
                    </a:lnTo>
                    <a:lnTo>
                      <a:pt x="2003" y="259"/>
                    </a:lnTo>
                    <a:lnTo>
                      <a:pt x="2003" y="259"/>
                    </a:lnTo>
                    <a:lnTo>
                      <a:pt x="2002" y="259"/>
                    </a:lnTo>
                    <a:lnTo>
                      <a:pt x="2000" y="259"/>
                    </a:lnTo>
                    <a:lnTo>
                      <a:pt x="1999" y="258"/>
                    </a:lnTo>
                    <a:lnTo>
                      <a:pt x="1995" y="255"/>
                    </a:lnTo>
                    <a:lnTo>
                      <a:pt x="1992" y="253"/>
                    </a:lnTo>
                    <a:lnTo>
                      <a:pt x="1990" y="253"/>
                    </a:lnTo>
                    <a:lnTo>
                      <a:pt x="1982" y="252"/>
                    </a:lnTo>
                    <a:lnTo>
                      <a:pt x="1979" y="253"/>
                    </a:lnTo>
                    <a:lnTo>
                      <a:pt x="1973" y="253"/>
                    </a:lnTo>
                    <a:lnTo>
                      <a:pt x="1972" y="253"/>
                    </a:lnTo>
                    <a:lnTo>
                      <a:pt x="1969" y="253"/>
                    </a:lnTo>
                    <a:lnTo>
                      <a:pt x="1967" y="252"/>
                    </a:lnTo>
                    <a:lnTo>
                      <a:pt x="1967" y="248"/>
                    </a:lnTo>
                    <a:lnTo>
                      <a:pt x="1966" y="246"/>
                    </a:lnTo>
                    <a:lnTo>
                      <a:pt x="1964" y="245"/>
                    </a:lnTo>
                    <a:lnTo>
                      <a:pt x="1951" y="243"/>
                    </a:lnTo>
                    <a:lnTo>
                      <a:pt x="1949" y="243"/>
                    </a:lnTo>
                    <a:lnTo>
                      <a:pt x="1946" y="245"/>
                    </a:lnTo>
                    <a:lnTo>
                      <a:pt x="1944" y="246"/>
                    </a:lnTo>
                    <a:lnTo>
                      <a:pt x="1941" y="248"/>
                    </a:lnTo>
                    <a:lnTo>
                      <a:pt x="1939" y="248"/>
                    </a:lnTo>
                    <a:lnTo>
                      <a:pt x="1937" y="246"/>
                    </a:lnTo>
                    <a:lnTo>
                      <a:pt x="1936" y="243"/>
                    </a:lnTo>
                    <a:lnTo>
                      <a:pt x="1936" y="242"/>
                    </a:lnTo>
                    <a:lnTo>
                      <a:pt x="1936" y="239"/>
                    </a:lnTo>
                    <a:lnTo>
                      <a:pt x="1933" y="236"/>
                    </a:lnTo>
                    <a:lnTo>
                      <a:pt x="1931" y="236"/>
                    </a:lnTo>
                    <a:lnTo>
                      <a:pt x="1930" y="239"/>
                    </a:lnTo>
                    <a:lnTo>
                      <a:pt x="1928" y="242"/>
                    </a:lnTo>
                    <a:lnTo>
                      <a:pt x="1927" y="246"/>
                    </a:lnTo>
                    <a:lnTo>
                      <a:pt x="1926" y="250"/>
                    </a:lnTo>
                    <a:lnTo>
                      <a:pt x="1926" y="253"/>
                    </a:lnTo>
                    <a:lnTo>
                      <a:pt x="1927" y="256"/>
                    </a:lnTo>
                    <a:lnTo>
                      <a:pt x="1928" y="256"/>
                    </a:lnTo>
                    <a:close/>
                    <a:moveTo>
                      <a:pt x="1977" y="190"/>
                    </a:moveTo>
                    <a:lnTo>
                      <a:pt x="1979" y="189"/>
                    </a:lnTo>
                    <a:lnTo>
                      <a:pt x="1982" y="186"/>
                    </a:lnTo>
                    <a:lnTo>
                      <a:pt x="1983" y="186"/>
                    </a:lnTo>
                    <a:lnTo>
                      <a:pt x="1973" y="186"/>
                    </a:lnTo>
                    <a:lnTo>
                      <a:pt x="1969" y="187"/>
                    </a:lnTo>
                    <a:lnTo>
                      <a:pt x="1964" y="190"/>
                    </a:lnTo>
                    <a:lnTo>
                      <a:pt x="1974" y="190"/>
                    </a:lnTo>
                    <a:lnTo>
                      <a:pt x="1977" y="190"/>
                    </a:lnTo>
                    <a:close/>
                    <a:moveTo>
                      <a:pt x="1769" y="386"/>
                    </a:moveTo>
                    <a:lnTo>
                      <a:pt x="1766" y="387"/>
                    </a:lnTo>
                    <a:lnTo>
                      <a:pt x="1768" y="388"/>
                    </a:lnTo>
                    <a:lnTo>
                      <a:pt x="1769" y="388"/>
                    </a:lnTo>
                    <a:lnTo>
                      <a:pt x="1771" y="388"/>
                    </a:lnTo>
                    <a:lnTo>
                      <a:pt x="1772" y="388"/>
                    </a:lnTo>
                    <a:lnTo>
                      <a:pt x="1776" y="390"/>
                    </a:lnTo>
                    <a:lnTo>
                      <a:pt x="1779" y="390"/>
                    </a:lnTo>
                    <a:lnTo>
                      <a:pt x="1781" y="387"/>
                    </a:lnTo>
                    <a:lnTo>
                      <a:pt x="1779" y="386"/>
                    </a:lnTo>
                    <a:lnTo>
                      <a:pt x="1775" y="384"/>
                    </a:lnTo>
                    <a:lnTo>
                      <a:pt x="1769" y="386"/>
                    </a:lnTo>
                    <a:close/>
                    <a:moveTo>
                      <a:pt x="1743" y="246"/>
                    </a:moveTo>
                    <a:lnTo>
                      <a:pt x="1746" y="245"/>
                    </a:lnTo>
                    <a:lnTo>
                      <a:pt x="1748" y="243"/>
                    </a:lnTo>
                    <a:lnTo>
                      <a:pt x="1748" y="242"/>
                    </a:lnTo>
                    <a:lnTo>
                      <a:pt x="1746" y="240"/>
                    </a:lnTo>
                    <a:lnTo>
                      <a:pt x="1746" y="239"/>
                    </a:lnTo>
                    <a:lnTo>
                      <a:pt x="1748" y="238"/>
                    </a:lnTo>
                    <a:lnTo>
                      <a:pt x="1750" y="235"/>
                    </a:lnTo>
                    <a:lnTo>
                      <a:pt x="1749" y="233"/>
                    </a:lnTo>
                    <a:lnTo>
                      <a:pt x="1746" y="230"/>
                    </a:lnTo>
                    <a:lnTo>
                      <a:pt x="1745" y="229"/>
                    </a:lnTo>
                    <a:lnTo>
                      <a:pt x="1743" y="225"/>
                    </a:lnTo>
                    <a:lnTo>
                      <a:pt x="1742" y="222"/>
                    </a:lnTo>
                    <a:lnTo>
                      <a:pt x="1740" y="226"/>
                    </a:lnTo>
                    <a:lnTo>
                      <a:pt x="1740" y="229"/>
                    </a:lnTo>
                    <a:lnTo>
                      <a:pt x="1739" y="235"/>
                    </a:lnTo>
                    <a:lnTo>
                      <a:pt x="1739" y="238"/>
                    </a:lnTo>
                    <a:lnTo>
                      <a:pt x="1737" y="243"/>
                    </a:lnTo>
                    <a:lnTo>
                      <a:pt x="1737" y="246"/>
                    </a:lnTo>
                    <a:lnTo>
                      <a:pt x="1740" y="246"/>
                    </a:lnTo>
                    <a:lnTo>
                      <a:pt x="1743" y="246"/>
                    </a:lnTo>
                    <a:close/>
                    <a:moveTo>
                      <a:pt x="1822" y="304"/>
                    </a:moveTo>
                    <a:lnTo>
                      <a:pt x="1825" y="305"/>
                    </a:lnTo>
                    <a:lnTo>
                      <a:pt x="1828" y="305"/>
                    </a:lnTo>
                    <a:lnTo>
                      <a:pt x="1831" y="305"/>
                    </a:lnTo>
                    <a:lnTo>
                      <a:pt x="1834" y="304"/>
                    </a:lnTo>
                    <a:lnTo>
                      <a:pt x="1835" y="301"/>
                    </a:lnTo>
                    <a:lnTo>
                      <a:pt x="1837" y="298"/>
                    </a:lnTo>
                    <a:lnTo>
                      <a:pt x="1834" y="294"/>
                    </a:lnTo>
                    <a:lnTo>
                      <a:pt x="1828" y="294"/>
                    </a:lnTo>
                    <a:lnTo>
                      <a:pt x="1822" y="295"/>
                    </a:lnTo>
                    <a:lnTo>
                      <a:pt x="1819" y="299"/>
                    </a:lnTo>
                    <a:lnTo>
                      <a:pt x="1821" y="302"/>
                    </a:lnTo>
                    <a:lnTo>
                      <a:pt x="1822" y="304"/>
                    </a:lnTo>
                    <a:close/>
                    <a:moveTo>
                      <a:pt x="2311" y="443"/>
                    </a:moveTo>
                    <a:lnTo>
                      <a:pt x="2316" y="446"/>
                    </a:lnTo>
                    <a:lnTo>
                      <a:pt x="2325" y="447"/>
                    </a:lnTo>
                    <a:lnTo>
                      <a:pt x="2328" y="447"/>
                    </a:lnTo>
                    <a:lnTo>
                      <a:pt x="2329" y="447"/>
                    </a:lnTo>
                    <a:lnTo>
                      <a:pt x="2331" y="447"/>
                    </a:lnTo>
                    <a:lnTo>
                      <a:pt x="2332" y="446"/>
                    </a:lnTo>
                    <a:lnTo>
                      <a:pt x="2332" y="444"/>
                    </a:lnTo>
                    <a:lnTo>
                      <a:pt x="2335" y="440"/>
                    </a:lnTo>
                    <a:lnTo>
                      <a:pt x="2332" y="439"/>
                    </a:lnTo>
                    <a:lnTo>
                      <a:pt x="2326" y="436"/>
                    </a:lnTo>
                    <a:lnTo>
                      <a:pt x="2318" y="434"/>
                    </a:lnTo>
                    <a:lnTo>
                      <a:pt x="2313" y="434"/>
                    </a:lnTo>
                    <a:lnTo>
                      <a:pt x="2309" y="436"/>
                    </a:lnTo>
                    <a:lnTo>
                      <a:pt x="2306" y="439"/>
                    </a:lnTo>
                    <a:lnTo>
                      <a:pt x="2306" y="442"/>
                    </a:lnTo>
                    <a:lnTo>
                      <a:pt x="2311" y="443"/>
                    </a:lnTo>
                    <a:close/>
                    <a:moveTo>
                      <a:pt x="2042" y="212"/>
                    </a:moveTo>
                    <a:lnTo>
                      <a:pt x="2043" y="210"/>
                    </a:lnTo>
                    <a:lnTo>
                      <a:pt x="2043" y="207"/>
                    </a:lnTo>
                    <a:lnTo>
                      <a:pt x="2042" y="207"/>
                    </a:lnTo>
                    <a:lnTo>
                      <a:pt x="2041" y="207"/>
                    </a:lnTo>
                    <a:lnTo>
                      <a:pt x="2038" y="209"/>
                    </a:lnTo>
                    <a:lnTo>
                      <a:pt x="2041" y="212"/>
                    </a:lnTo>
                    <a:lnTo>
                      <a:pt x="2042" y="212"/>
                    </a:lnTo>
                    <a:close/>
                    <a:moveTo>
                      <a:pt x="2502" y="409"/>
                    </a:moveTo>
                    <a:lnTo>
                      <a:pt x="2503" y="407"/>
                    </a:lnTo>
                    <a:lnTo>
                      <a:pt x="2507" y="407"/>
                    </a:lnTo>
                    <a:lnTo>
                      <a:pt x="2512" y="406"/>
                    </a:lnTo>
                    <a:lnTo>
                      <a:pt x="2513" y="406"/>
                    </a:lnTo>
                    <a:lnTo>
                      <a:pt x="2517" y="404"/>
                    </a:lnTo>
                    <a:lnTo>
                      <a:pt x="2522" y="403"/>
                    </a:lnTo>
                    <a:lnTo>
                      <a:pt x="2524" y="404"/>
                    </a:lnTo>
                    <a:lnTo>
                      <a:pt x="2527" y="404"/>
                    </a:lnTo>
                    <a:lnTo>
                      <a:pt x="2532" y="406"/>
                    </a:lnTo>
                    <a:lnTo>
                      <a:pt x="2536" y="404"/>
                    </a:lnTo>
                    <a:lnTo>
                      <a:pt x="2547" y="403"/>
                    </a:lnTo>
                    <a:lnTo>
                      <a:pt x="2558" y="401"/>
                    </a:lnTo>
                    <a:lnTo>
                      <a:pt x="2562" y="400"/>
                    </a:lnTo>
                    <a:lnTo>
                      <a:pt x="2565" y="396"/>
                    </a:lnTo>
                    <a:lnTo>
                      <a:pt x="2563" y="394"/>
                    </a:lnTo>
                    <a:lnTo>
                      <a:pt x="2560" y="391"/>
                    </a:lnTo>
                    <a:lnTo>
                      <a:pt x="2550" y="387"/>
                    </a:lnTo>
                    <a:lnTo>
                      <a:pt x="2547" y="386"/>
                    </a:lnTo>
                    <a:lnTo>
                      <a:pt x="2543" y="386"/>
                    </a:lnTo>
                    <a:lnTo>
                      <a:pt x="2539" y="386"/>
                    </a:lnTo>
                    <a:lnTo>
                      <a:pt x="2533" y="384"/>
                    </a:lnTo>
                    <a:lnTo>
                      <a:pt x="2526" y="386"/>
                    </a:lnTo>
                    <a:lnTo>
                      <a:pt x="2519" y="387"/>
                    </a:lnTo>
                    <a:lnTo>
                      <a:pt x="2512" y="390"/>
                    </a:lnTo>
                    <a:lnTo>
                      <a:pt x="2506" y="393"/>
                    </a:lnTo>
                    <a:lnTo>
                      <a:pt x="2502" y="396"/>
                    </a:lnTo>
                    <a:lnTo>
                      <a:pt x="2499" y="398"/>
                    </a:lnTo>
                    <a:lnTo>
                      <a:pt x="2497" y="401"/>
                    </a:lnTo>
                    <a:lnTo>
                      <a:pt x="2497" y="404"/>
                    </a:lnTo>
                    <a:lnTo>
                      <a:pt x="2499" y="407"/>
                    </a:lnTo>
                    <a:lnTo>
                      <a:pt x="2502" y="409"/>
                    </a:lnTo>
                    <a:close/>
                    <a:moveTo>
                      <a:pt x="2190" y="455"/>
                    </a:moveTo>
                    <a:lnTo>
                      <a:pt x="2188" y="456"/>
                    </a:lnTo>
                    <a:lnTo>
                      <a:pt x="2190" y="457"/>
                    </a:lnTo>
                    <a:lnTo>
                      <a:pt x="2190" y="459"/>
                    </a:lnTo>
                    <a:lnTo>
                      <a:pt x="2193" y="459"/>
                    </a:lnTo>
                    <a:lnTo>
                      <a:pt x="2194" y="460"/>
                    </a:lnTo>
                    <a:lnTo>
                      <a:pt x="2194" y="460"/>
                    </a:lnTo>
                    <a:lnTo>
                      <a:pt x="2194" y="463"/>
                    </a:lnTo>
                    <a:lnTo>
                      <a:pt x="2196" y="462"/>
                    </a:lnTo>
                    <a:lnTo>
                      <a:pt x="2196" y="460"/>
                    </a:lnTo>
                    <a:lnTo>
                      <a:pt x="2193" y="456"/>
                    </a:lnTo>
                    <a:lnTo>
                      <a:pt x="2193" y="455"/>
                    </a:lnTo>
                    <a:lnTo>
                      <a:pt x="2193" y="453"/>
                    </a:lnTo>
                    <a:lnTo>
                      <a:pt x="2193" y="452"/>
                    </a:lnTo>
                    <a:lnTo>
                      <a:pt x="2193" y="450"/>
                    </a:lnTo>
                    <a:lnTo>
                      <a:pt x="2194" y="450"/>
                    </a:lnTo>
                    <a:lnTo>
                      <a:pt x="2196" y="450"/>
                    </a:lnTo>
                    <a:lnTo>
                      <a:pt x="2197" y="449"/>
                    </a:lnTo>
                    <a:lnTo>
                      <a:pt x="2197" y="446"/>
                    </a:lnTo>
                    <a:lnTo>
                      <a:pt x="2196" y="446"/>
                    </a:lnTo>
                    <a:lnTo>
                      <a:pt x="2194" y="446"/>
                    </a:lnTo>
                    <a:lnTo>
                      <a:pt x="2190" y="449"/>
                    </a:lnTo>
                    <a:lnTo>
                      <a:pt x="2188" y="450"/>
                    </a:lnTo>
                    <a:lnTo>
                      <a:pt x="2190" y="453"/>
                    </a:lnTo>
                    <a:lnTo>
                      <a:pt x="2190" y="455"/>
                    </a:lnTo>
                    <a:close/>
                    <a:moveTo>
                      <a:pt x="2178" y="409"/>
                    </a:moveTo>
                    <a:lnTo>
                      <a:pt x="2180" y="409"/>
                    </a:lnTo>
                    <a:lnTo>
                      <a:pt x="2181" y="409"/>
                    </a:lnTo>
                    <a:lnTo>
                      <a:pt x="2181" y="407"/>
                    </a:lnTo>
                    <a:lnTo>
                      <a:pt x="2180" y="406"/>
                    </a:lnTo>
                    <a:lnTo>
                      <a:pt x="2178" y="404"/>
                    </a:lnTo>
                    <a:lnTo>
                      <a:pt x="2177" y="406"/>
                    </a:lnTo>
                    <a:lnTo>
                      <a:pt x="2177" y="407"/>
                    </a:lnTo>
                    <a:lnTo>
                      <a:pt x="2178" y="409"/>
                    </a:lnTo>
                    <a:close/>
                    <a:moveTo>
                      <a:pt x="1057" y="204"/>
                    </a:moveTo>
                    <a:lnTo>
                      <a:pt x="1057" y="207"/>
                    </a:lnTo>
                    <a:lnTo>
                      <a:pt x="1058" y="207"/>
                    </a:lnTo>
                    <a:lnTo>
                      <a:pt x="1061" y="206"/>
                    </a:lnTo>
                    <a:lnTo>
                      <a:pt x="1061" y="204"/>
                    </a:lnTo>
                    <a:lnTo>
                      <a:pt x="1061" y="202"/>
                    </a:lnTo>
                    <a:lnTo>
                      <a:pt x="1060" y="200"/>
                    </a:lnTo>
                    <a:lnTo>
                      <a:pt x="1058" y="202"/>
                    </a:lnTo>
                    <a:lnTo>
                      <a:pt x="1057" y="204"/>
                    </a:lnTo>
                    <a:close/>
                    <a:moveTo>
                      <a:pt x="1117" y="127"/>
                    </a:moveTo>
                    <a:lnTo>
                      <a:pt x="1116" y="130"/>
                    </a:lnTo>
                    <a:lnTo>
                      <a:pt x="1114" y="131"/>
                    </a:lnTo>
                    <a:lnTo>
                      <a:pt x="1113" y="134"/>
                    </a:lnTo>
                    <a:lnTo>
                      <a:pt x="1110" y="135"/>
                    </a:lnTo>
                    <a:lnTo>
                      <a:pt x="1107" y="137"/>
                    </a:lnTo>
                    <a:lnTo>
                      <a:pt x="1104" y="143"/>
                    </a:lnTo>
                    <a:lnTo>
                      <a:pt x="1101" y="144"/>
                    </a:lnTo>
                    <a:lnTo>
                      <a:pt x="1108" y="147"/>
                    </a:lnTo>
                    <a:lnTo>
                      <a:pt x="1116" y="147"/>
                    </a:lnTo>
                    <a:lnTo>
                      <a:pt x="1123" y="144"/>
                    </a:lnTo>
                    <a:lnTo>
                      <a:pt x="1130" y="141"/>
                    </a:lnTo>
                    <a:lnTo>
                      <a:pt x="1136" y="138"/>
                    </a:lnTo>
                    <a:lnTo>
                      <a:pt x="1144" y="137"/>
                    </a:lnTo>
                    <a:lnTo>
                      <a:pt x="1152" y="137"/>
                    </a:lnTo>
                    <a:lnTo>
                      <a:pt x="1159" y="137"/>
                    </a:lnTo>
                    <a:lnTo>
                      <a:pt x="1159" y="137"/>
                    </a:lnTo>
                    <a:lnTo>
                      <a:pt x="1162" y="138"/>
                    </a:lnTo>
                    <a:lnTo>
                      <a:pt x="1163" y="138"/>
                    </a:lnTo>
                    <a:lnTo>
                      <a:pt x="1164" y="137"/>
                    </a:lnTo>
                    <a:lnTo>
                      <a:pt x="1166" y="135"/>
                    </a:lnTo>
                    <a:lnTo>
                      <a:pt x="1167" y="135"/>
                    </a:lnTo>
                    <a:lnTo>
                      <a:pt x="1172" y="135"/>
                    </a:lnTo>
                    <a:lnTo>
                      <a:pt x="1179" y="135"/>
                    </a:lnTo>
                    <a:lnTo>
                      <a:pt x="1198" y="133"/>
                    </a:lnTo>
                    <a:lnTo>
                      <a:pt x="1205" y="130"/>
                    </a:lnTo>
                    <a:lnTo>
                      <a:pt x="1208" y="124"/>
                    </a:lnTo>
                    <a:lnTo>
                      <a:pt x="1208" y="121"/>
                    </a:lnTo>
                    <a:lnTo>
                      <a:pt x="1208" y="118"/>
                    </a:lnTo>
                    <a:lnTo>
                      <a:pt x="1206" y="117"/>
                    </a:lnTo>
                    <a:lnTo>
                      <a:pt x="1205" y="114"/>
                    </a:lnTo>
                    <a:lnTo>
                      <a:pt x="1203" y="114"/>
                    </a:lnTo>
                    <a:lnTo>
                      <a:pt x="1200" y="112"/>
                    </a:lnTo>
                    <a:lnTo>
                      <a:pt x="1199" y="114"/>
                    </a:lnTo>
                    <a:lnTo>
                      <a:pt x="1196" y="114"/>
                    </a:lnTo>
                    <a:lnTo>
                      <a:pt x="1193" y="112"/>
                    </a:lnTo>
                    <a:lnTo>
                      <a:pt x="1193" y="111"/>
                    </a:lnTo>
                    <a:lnTo>
                      <a:pt x="1193" y="110"/>
                    </a:lnTo>
                    <a:lnTo>
                      <a:pt x="1192" y="108"/>
                    </a:lnTo>
                    <a:lnTo>
                      <a:pt x="1190" y="107"/>
                    </a:lnTo>
                    <a:lnTo>
                      <a:pt x="1186" y="105"/>
                    </a:lnTo>
                    <a:lnTo>
                      <a:pt x="1185" y="105"/>
                    </a:lnTo>
                    <a:lnTo>
                      <a:pt x="1183" y="104"/>
                    </a:lnTo>
                    <a:lnTo>
                      <a:pt x="1183" y="102"/>
                    </a:lnTo>
                    <a:lnTo>
                      <a:pt x="1182" y="101"/>
                    </a:lnTo>
                    <a:lnTo>
                      <a:pt x="1179" y="101"/>
                    </a:lnTo>
                    <a:lnTo>
                      <a:pt x="1176" y="101"/>
                    </a:lnTo>
                    <a:lnTo>
                      <a:pt x="1175" y="102"/>
                    </a:lnTo>
                    <a:lnTo>
                      <a:pt x="1170" y="104"/>
                    </a:lnTo>
                    <a:lnTo>
                      <a:pt x="1167" y="105"/>
                    </a:lnTo>
                    <a:lnTo>
                      <a:pt x="1164" y="105"/>
                    </a:lnTo>
                    <a:lnTo>
                      <a:pt x="1163" y="107"/>
                    </a:lnTo>
                    <a:lnTo>
                      <a:pt x="1160" y="111"/>
                    </a:lnTo>
                    <a:lnTo>
                      <a:pt x="1159" y="112"/>
                    </a:lnTo>
                    <a:lnTo>
                      <a:pt x="1156" y="114"/>
                    </a:lnTo>
                    <a:lnTo>
                      <a:pt x="1157" y="111"/>
                    </a:lnTo>
                    <a:lnTo>
                      <a:pt x="1163" y="102"/>
                    </a:lnTo>
                    <a:lnTo>
                      <a:pt x="1164" y="98"/>
                    </a:lnTo>
                    <a:lnTo>
                      <a:pt x="1164" y="97"/>
                    </a:lnTo>
                    <a:lnTo>
                      <a:pt x="1166" y="95"/>
                    </a:lnTo>
                    <a:lnTo>
                      <a:pt x="1167" y="95"/>
                    </a:lnTo>
                    <a:lnTo>
                      <a:pt x="1167" y="95"/>
                    </a:lnTo>
                    <a:lnTo>
                      <a:pt x="1169" y="94"/>
                    </a:lnTo>
                    <a:lnTo>
                      <a:pt x="1164" y="89"/>
                    </a:lnTo>
                    <a:lnTo>
                      <a:pt x="1157" y="88"/>
                    </a:lnTo>
                    <a:lnTo>
                      <a:pt x="1152" y="89"/>
                    </a:lnTo>
                    <a:lnTo>
                      <a:pt x="1153" y="97"/>
                    </a:lnTo>
                    <a:lnTo>
                      <a:pt x="1150" y="95"/>
                    </a:lnTo>
                    <a:lnTo>
                      <a:pt x="1149" y="94"/>
                    </a:lnTo>
                    <a:lnTo>
                      <a:pt x="1146" y="92"/>
                    </a:lnTo>
                    <a:lnTo>
                      <a:pt x="1144" y="91"/>
                    </a:lnTo>
                    <a:lnTo>
                      <a:pt x="1143" y="92"/>
                    </a:lnTo>
                    <a:lnTo>
                      <a:pt x="1141" y="92"/>
                    </a:lnTo>
                    <a:lnTo>
                      <a:pt x="1141" y="94"/>
                    </a:lnTo>
                    <a:lnTo>
                      <a:pt x="1141" y="95"/>
                    </a:lnTo>
                    <a:lnTo>
                      <a:pt x="1140" y="95"/>
                    </a:lnTo>
                    <a:lnTo>
                      <a:pt x="1139" y="97"/>
                    </a:lnTo>
                    <a:lnTo>
                      <a:pt x="1137" y="97"/>
                    </a:lnTo>
                    <a:lnTo>
                      <a:pt x="1136" y="98"/>
                    </a:lnTo>
                    <a:lnTo>
                      <a:pt x="1134" y="100"/>
                    </a:lnTo>
                    <a:lnTo>
                      <a:pt x="1133" y="102"/>
                    </a:lnTo>
                    <a:lnTo>
                      <a:pt x="1130" y="108"/>
                    </a:lnTo>
                    <a:lnTo>
                      <a:pt x="1129" y="111"/>
                    </a:lnTo>
                    <a:lnTo>
                      <a:pt x="1129" y="114"/>
                    </a:lnTo>
                    <a:lnTo>
                      <a:pt x="1130" y="115"/>
                    </a:lnTo>
                    <a:lnTo>
                      <a:pt x="1129" y="115"/>
                    </a:lnTo>
                    <a:lnTo>
                      <a:pt x="1126" y="115"/>
                    </a:lnTo>
                    <a:lnTo>
                      <a:pt x="1123" y="115"/>
                    </a:lnTo>
                    <a:lnTo>
                      <a:pt x="1121" y="117"/>
                    </a:lnTo>
                    <a:lnTo>
                      <a:pt x="1120" y="118"/>
                    </a:lnTo>
                    <a:lnTo>
                      <a:pt x="1119" y="121"/>
                    </a:lnTo>
                    <a:lnTo>
                      <a:pt x="1117" y="127"/>
                    </a:lnTo>
                    <a:close/>
                    <a:moveTo>
                      <a:pt x="1075" y="66"/>
                    </a:moveTo>
                    <a:lnTo>
                      <a:pt x="1077" y="65"/>
                    </a:lnTo>
                    <a:lnTo>
                      <a:pt x="1080" y="64"/>
                    </a:lnTo>
                    <a:lnTo>
                      <a:pt x="1074" y="58"/>
                    </a:lnTo>
                    <a:lnTo>
                      <a:pt x="1068" y="56"/>
                    </a:lnTo>
                    <a:lnTo>
                      <a:pt x="1063" y="56"/>
                    </a:lnTo>
                    <a:lnTo>
                      <a:pt x="1052" y="59"/>
                    </a:lnTo>
                    <a:lnTo>
                      <a:pt x="1047" y="59"/>
                    </a:lnTo>
                    <a:lnTo>
                      <a:pt x="1038" y="59"/>
                    </a:lnTo>
                    <a:lnTo>
                      <a:pt x="1035" y="59"/>
                    </a:lnTo>
                    <a:lnTo>
                      <a:pt x="1035" y="59"/>
                    </a:lnTo>
                    <a:lnTo>
                      <a:pt x="1032" y="62"/>
                    </a:lnTo>
                    <a:lnTo>
                      <a:pt x="1032" y="62"/>
                    </a:lnTo>
                    <a:lnTo>
                      <a:pt x="1031" y="62"/>
                    </a:lnTo>
                    <a:lnTo>
                      <a:pt x="1029" y="62"/>
                    </a:lnTo>
                    <a:lnTo>
                      <a:pt x="1028" y="61"/>
                    </a:lnTo>
                    <a:lnTo>
                      <a:pt x="1027" y="61"/>
                    </a:lnTo>
                    <a:lnTo>
                      <a:pt x="1025" y="61"/>
                    </a:lnTo>
                    <a:lnTo>
                      <a:pt x="1025" y="61"/>
                    </a:lnTo>
                    <a:lnTo>
                      <a:pt x="1025" y="61"/>
                    </a:lnTo>
                    <a:lnTo>
                      <a:pt x="1024" y="62"/>
                    </a:lnTo>
                    <a:lnTo>
                      <a:pt x="1021" y="64"/>
                    </a:lnTo>
                    <a:lnTo>
                      <a:pt x="1017" y="66"/>
                    </a:lnTo>
                    <a:lnTo>
                      <a:pt x="1015" y="68"/>
                    </a:lnTo>
                    <a:lnTo>
                      <a:pt x="1014" y="71"/>
                    </a:lnTo>
                    <a:lnTo>
                      <a:pt x="1012" y="72"/>
                    </a:lnTo>
                    <a:lnTo>
                      <a:pt x="1009" y="75"/>
                    </a:lnTo>
                    <a:lnTo>
                      <a:pt x="1008" y="77"/>
                    </a:lnTo>
                    <a:lnTo>
                      <a:pt x="998" y="81"/>
                    </a:lnTo>
                    <a:lnTo>
                      <a:pt x="995" y="82"/>
                    </a:lnTo>
                    <a:lnTo>
                      <a:pt x="992" y="85"/>
                    </a:lnTo>
                    <a:lnTo>
                      <a:pt x="995" y="87"/>
                    </a:lnTo>
                    <a:lnTo>
                      <a:pt x="1006" y="88"/>
                    </a:lnTo>
                    <a:lnTo>
                      <a:pt x="1009" y="88"/>
                    </a:lnTo>
                    <a:lnTo>
                      <a:pt x="1011" y="89"/>
                    </a:lnTo>
                    <a:lnTo>
                      <a:pt x="1012" y="89"/>
                    </a:lnTo>
                    <a:lnTo>
                      <a:pt x="1019" y="101"/>
                    </a:lnTo>
                    <a:lnTo>
                      <a:pt x="1022" y="102"/>
                    </a:lnTo>
                    <a:lnTo>
                      <a:pt x="1025" y="104"/>
                    </a:lnTo>
                    <a:lnTo>
                      <a:pt x="1028" y="105"/>
                    </a:lnTo>
                    <a:lnTo>
                      <a:pt x="1031" y="104"/>
                    </a:lnTo>
                    <a:lnTo>
                      <a:pt x="1032" y="104"/>
                    </a:lnTo>
                    <a:lnTo>
                      <a:pt x="1034" y="102"/>
                    </a:lnTo>
                    <a:lnTo>
                      <a:pt x="1035" y="102"/>
                    </a:lnTo>
                    <a:lnTo>
                      <a:pt x="1037" y="104"/>
                    </a:lnTo>
                    <a:lnTo>
                      <a:pt x="1040" y="107"/>
                    </a:lnTo>
                    <a:lnTo>
                      <a:pt x="1041" y="107"/>
                    </a:lnTo>
                    <a:lnTo>
                      <a:pt x="1045" y="107"/>
                    </a:lnTo>
                    <a:lnTo>
                      <a:pt x="1054" y="107"/>
                    </a:lnTo>
                    <a:lnTo>
                      <a:pt x="1058" y="108"/>
                    </a:lnTo>
                    <a:lnTo>
                      <a:pt x="1067" y="112"/>
                    </a:lnTo>
                    <a:lnTo>
                      <a:pt x="1071" y="114"/>
                    </a:lnTo>
                    <a:lnTo>
                      <a:pt x="1078" y="115"/>
                    </a:lnTo>
                    <a:lnTo>
                      <a:pt x="1085" y="115"/>
                    </a:lnTo>
                    <a:lnTo>
                      <a:pt x="1101" y="114"/>
                    </a:lnTo>
                    <a:lnTo>
                      <a:pt x="1106" y="112"/>
                    </a:lnTo>
                    <a:lnTo>
                      <a:pt x="1110" y="111"/>
                    </a:lnTo>
                    <a:lnTo>
                      <a:pt x="1113" y="108"/>
                    </a:lnTo>
                    <a:lnTo>
                      <a:pt x="1111" y="104"/>
                    </a:lnTo>
                    <a:lnTo>
                      <a:pt x="1110" y="102"/>
                    </a:lnTo>
                    <a:lnTo>
                      <a:pt x="1106" y="101"/>
                    </a:lnTo>
                    <a:lnTo>
                      <a:pt x="1104" y="101"/>
                    </a:lnTo>
                    <a:lnTo>
                      <a:pt x="1100" y="97"/>
                    </a:lnTo>
                    <a:lnTo>
                      <a:pt x="1097" y="95"/>
                    </a:lnTo>
                    <a:lnTo>
                      <a:pt x="1098" y="94"/>
                    </a:lnTo>
                    <a:lnTo>
                      <a:pt x="1101" y="95"/>
                    </a:lnTo>
                    <a:lnTo>
                      <a:pt x="1103" y="95"/>
                    </a:lnTo>
                    <a:lnTo>
                      <a:pt x="1106" y="95"/>
                    </a:lnTo>
                    <a:lnTo>
                      <a:pt x="1107" y="94"/>
                    </a:lnTo>
                    <a:lnTo>
                      <a:pt x="1108" y="92"/>
                    </a:lnTo>
                    <a:lnTo>
                      <a:pt x="1110" y="84"/>
                    </a:lnTo>
                    <a:lnTo>
                      <a:pt x="1110" y="81"/>
                    </a:lnTo>
                    <a:lnTo>
                      <a:pt x="1111" y="77"/>
                    </a:lnTo>
                    <a:lnTo>
                      <a:pt x="1116" y="75"/>
                    </a:lnTo>
                    <a:lnTo>
                      <a:pt x="1114" y="72"/>
                    </a:lnTo>
                    <a:lnTo>
                      <a:pt x="1113" y="71"/>
                    </a:lnTo>
                    <a:lnTo>
                      <a:pt x="1111" y="69"/>
                    </a:lnTo>
                    <a:lnTo>
                      <a:pt x="1104" y="65"/>
                    </a:lnTo>
                    <a:lnTo>
                      <a:pt x="1101" y="64"/>
                    </a:lnTo>
                    <a:lnTo>
                      <a:pt x="1100" y="64"/>
                    </a:lnTo>
                    <a:lnTo>
                      <a:pt x="1097" y="62"/>
                    </a:lnTo>
                    <a:lnTo>
                      <a:pt x="1093" y="62"/>
                    </a:lnTo>
                    <a:lnTo>
                      <a:pt x="1090" y="62"/>
                    </a:lnTo>
                    <a:lnTo>
                      <a:pt x="1088" y="62"/>
                    </a:lnTo>
                    <a:lnTo>
                      <a:pt x="1088" y="64"/>
                    </a:lnTo>
                    <a:lnTo>
                      <a:pt x="1087" y="66"/>
                    </a:lnTo>
                    <a:lnTo>
                      <a:pt x="1087" y="68"/>
                    </a:lnTo>
                    <a:lnTo>
                      <a:pt x="1085" y="69"/>
                    </a:lnTo>
                    <a:lnTo>
                      <a:pt x="1084" y="69"/>
                    </a:lnTo>
                    <a:lnTo>
                      <a:pt x="1081" y="69"/>
                    </a:lnTo>
                    <a:lnTo>
                      <a:pt x="1080" y="71"/>
                    </a:lnTo>
                    <a:lnTo>
                      <a:pt x="1078" y="71"/>
                    </a:lnTo>
                    <a:lnTo>
                      <a:pt x="1077" y="72"/>
                    </a:lnTo>
                    <a:lnTo>
                      <a:pt x="1074" y="74"/>
                    </a:lnTo>
                    <a:lnTo>
                      <a:pt x="1073" y="75"/>
                    </a:lnTo>
                    <a:lnTo>
                      <a:pt x="1071" y="74"/>
                    </a:lnTo>
                    <a:lnTo>
                      <a:pt x="1073" y="72"/>
                    </a:lnTo>
                    <a:lnTo>
                      <a:pt x="1075" y="66"/>
                    </a:lnTo>
                    <a:close/>
                    <a:moveTo>
                      <a:pt x="1226" y="137"/>
                    </a:moveTo>
                    <a:lnTo>
                      <a:pt x="1231" y="135"/>
                    </a:lnTo>
                    <a:lnTo>
                      <a:pt x="1232" y="134"/>
                    </a:lnTo>
                    <a:lnTo>
                      <a:pt x="1231" y="133"/>
                    </a:lnTo>
                    <a:lnTo>
                      <a:pt x="1229" y="133"/>
                    </a:lnTo>
                    <a:lnTo>
                      <a:pt x="1228" y="133"/>
                    </a:lnTo>
                    <a:lnTo>
                      <a:pt x="1226" y="134"/>
                    </a:lnTo>
                    <a:lnTo>
                      <a:pt x="1223" y="135"/>
                    </a:lnTo>
                    <a:lnTo>
                      <a:pt x="1220" y="135"/>
                    </a:lnTo>
                    <a:lnTo>
                      <a:pt x="1220" y="137"/>
                    </a:lnTo>
                    <a:lnTo>
                      <a:pt x="1223" y="137"/>
                    </a:lnTo>
                    <a:lnTo>
                      <a:pt x="1226" y="137"/>
                    </a:lnTo>
                    <a:close/>
                    <a:moveTo>
                      <a:pt x="1068" y="189"/>
                    </a:moveTo>
                    <a:lnTo>
                      <a:pt x="1067" y="189"/>
                    </a:lnTo>
                    <a:lnTo>
                      <a:pt x="1067" y="190"/>
                    </a:lnTo>
                    <a:lnTo>
                      <a:pt x="1068" y="192"/>
                    </a:lnTo>
                    <a:lnTo>
                      <a:pt x="1070" y="192"/>
                    </a:lnTo>
                    <a:lnTo>
                      <a:pt x="1071" y="192"/>
                    </a:lnTo>
                    <a:lnTo>
                      <a:pt x="1070" y="189"/>
                    </a:lnTo>
                    <a:lnTo>
                      <a:pt x="1068" y="189"/>
                    </a:lnTo>
                    <a:close/>
                    <a:moveTo>
                      <a:pt x="1243" y="169"/>
                    </a:moveTo>
                    <a:lnTo>
                      <a:pt x="1242" y="170"/>
                    </a:lnTo>
                    <a:lnTo>
                      <a:pt x="1243" y="171"/>
                    </a:lnTo>
                    <a:lnTo>
                      <a:pt x="1245" y="171"/>
                    </a:lnTo>
                    <a:lnTo>
                      <a:pt x="1249" y="170"/>
                    </a:lnTo>
                    <a:lnTo>
                      <a:pt x="1248" y="169"/>
                    </a:lnTo>
                    <a:lnTo>
                      <a:pt x="1245" y="169"/>
                    </a:lnTo>
                    <a:lnTo>
                      <a:pt x="1243" y="169"/>
                    </a:lnTo>
                    <a:close/>
                    <a:moveTo>
                      <a:pt x="1465" y="335"/>
                    </a:moveTo>
                    <a:lnTo>
                      <a:pt x="1467" y="335"/>
                    </a:lnTo>
                    <a:lnTo>
                      <a:pt x="1470" y="334"/>
                    </a:lnTo>
                    <a:lnTo>
                      <a:pt x="1467" y="332"/>
                    </a:lnTo>
                    <a:lnTo>
                      <a:pt x="1465" y="331"/>
                    </a:lnTo>
                    <a:lnTo>
                      <a:pt x="1462" y="331"/>
                    </a:lnTo>
                    <a:lnTo>
                      <a:pt x="1459" y="332"/>
                    </a:lnTo>
                    <a:lnTo>
                      <a:pt x="1462" y="335"/>
                    </a:lnTo>
                    <a:lnTo>
                      <a:pt x="1465" y="335"/>
                    </a:lnTo>
                    <a:close/>
                    <a:moveTo>
                      <a:pt x="1544" y="308"/>
                    </a:moveTo>
                    <a:lnTo>
                      <a:pt x="1546" y="308"/>
                    </a:lnTo>
                    <a:lnTo>
                      <a:pt x="1548" y="307"/>
                    </a:lnTo>
                    <a:lnTo>
                      <a:pt x="1546" y="305"/>
                    </a:lnTo>
                    <a:lnTo>
                      <a:pt x="1545" y="305"/>
                    </a:lnTo>
                    <a:lnTo>
                      <a:pt x="1542" y="305"/>
                    </a:lnTo>
                    <a:lnTo>
                      <a:pt x="1542" y="305"/>
                    </a:lnTo>
                    <a:lnTo>
                      <a:pt x="1542" y="308"/>
                    </a:lnTo>
                    <a:lnTo>
                      <a:pt x="1544" y="308"/>
                    </a:lnTo>
                    <a:close/>
                    <a:moveTo>
                      <a:pt x="1739" y="298"/>
                    </a:moveTo>
                    <a:lnTo>
                      <a:pt x="1745" y="304"/>
                    </a:lnTo>
                    <a:lnTo>
                      <a:pt x="1748" y="305"/>
                    </a:lnTo>
                    <a:lnTo>
                      <a:pt x="1750" y="305"/>
                    </a:lnTo>
                    <a:lnTo>
                      <a:pt x="1752" y="304"/>
                    </a:lnTo>
                    <a:lnTo>
                      <a:pt x="1748" y="301"/>
                    </a:lnTo>
                    <a:lnTo>
                      <a:pt x="1745" y="298"/>
                    </a:lnTo>
                    <a:lnTo>
                      <a:pt x="1740" y="296"/>
                    </a:lnTo>
                    <a:lnTo>
                      <a:pt x="1736" y="294"/>
                    </a:lnTo>
                    <a:lnTo>
                      <a:pt x="1737" y="296"/>
                    </a:lnTo>
                    <a:lnTo>
                      <a:pt x="1739" y="298"/>
                    </a:lnTo>
                    <a:close/>
                    <a:moveTo>
                      <a:pt x="1226" y="140"/>
                    </a:moveTo>
                    <a:lnTo>
                      <a:pt x="1245" y="143"/>
                    </a:lnTo>
                    <a:lnTo>
                      <a:pt x="1248" y="143"/>
                    </a:lnTo>
                    <a:lnTo>
                      <a:pt x="1249" y="140"/>
                    </a:lnTo>
                    <a:lnTo>
                      <a:pt x="1245" y="138"/>
                    </a:lnTo>
                    <a:lnTo>
                      <a:pt x="1239" y="137"/>
                    </a:lnTo>
                    <a:lnTo>
                      <a:pt x="1232" y="138"/>
                    </a:lnTo>
                    <a:lnTo>
                      <a:pt x="1226" y="140"/>
                    </a:lnTo>
                    <a:close/>
                    <a:moveTo>
                      <a:pt x="1327" y="192"/>
                    </a:moveTo>
                    <a:lnTo>
                      <a:pt x="1332" y="196"/>
                    </a:lnTo>
                    <a:lnTo>
                      <a:pt x="1334" y="196"/>
                    </a:lnTo>
                    <a:lnTo>
                      <a:pt x="1334" y="197"/>
                    </a:lnTo>
                    <a:lnTo>
                      <a:pt x="1335" y="196"/>
                    </a:lnTo>
                    <a:lnTo>
                      <a:pt x="1337" y="194"/>
                    </a:lnTo>
                    <a:lnTo>
                      <a:pt x="1335" y="192"/>
                    </a:lnTo>
                    <a:lnTo>
                      <a:pt x="1331" y="190"/>
                    </a:lnTo>
                    <a:lnTo>
                      <a:pt x="1328" y="190"/>
                    </a:lnTo>
                    <a:lnTo>
                      <a:pt x="1324" y="190"/>
                    </a:lnTo>
                    <a:lnTo>
                      <a:pt x="1325" y="192"/>
                    </a:lnTo>
                    <a:lnTo>
                      <a:pt x="1327" y="192"/>
                    </a:lnTo>
                    <a:close/>
                    <a:moveTo>
                      <a:pt x="2075" y="996"/>
                    </a:moveTo>
                    <a:lnTo>
                      <a:pt x="2075" y="1001"/>
                    </a:lnTo>
                    <a:lnTo>
                      <a:pt x="2075" y="1002"/>
                    </a:lnTo>
                    <a:lnTo>
                      <a:pt x="2076" y="1002"/>
                    </a:lnTo>
                    <a:lnTo>
                      <a:pt x="2078" y="1001"/>
                    </a:lnTo>
                    <a:lnTo>
                      <a:pt x="2078" y="999"/>
                    </a:lnTo>
                    <a:lnTo>
                      <a:pt x="2078" y="998"/>
                    </a:lnTo>
                    <a:lnTo>
                      <a:pt x="2079" y="996"/>
                    </a:lnTo>
                    <a:lnTo>
                      <a:pt x="2079" y="994"/>
                    </a:lnTo>
                    <a:lnTo>
                      <a:pt x="2076" y="994"/>
                    </a:lnTo>
                    <a:lnTo>
                      <a:pt x="2075" y="996"/>
                    </a:lnTo>
                    <a:close/>
                    <a:moveTo>
                      <a:pt x="2065" y="1012"/>
                    </a:moveTo>
                    <a:lnTo>
                      <a:pt x="2065" y="1014"/>
                    </a:lnTo>
                    <a:lnTo>
                      <a:pt x="2063" y="1015"/>
                    </a:lnTo>
                    <a:lnTo>
                      <a:pt x="2063" y="1015"/>
                    </a:lnTo>
                    <a:lnTo>
                      <a:pt x="2063" y="1015"/>
                    </a:lnTo>
                    <a:lnTo>
                      <a:pt x="2063" y="1015"/>
                    </a:lnTo>
                    <a:lnTo>
                      <a:pt x="2065" y="1014"/>
                    </a:lnTo>
                    <a:lnTo>
                      <a:pt x="2068" y="1012"/>
                    </a:lnTo>
                    <a:lnTo>
                      <a:pt x="2066" y="1011"/>
                    </a:lnTo>
                    <a:lnTo>
                      <a:pt x="2065" y="1012"/>
                    </a:lnTo>
                    <a:close/>
                    <a:moveTo>
                      <a:pt x="1928" y="1134"/>
                    </a:moveTo>
                    <a:lnTo>
                      <a:pt x="1928" y="1134"/>
                    </a:lnTo>
                    <a:lnTo>
                      <a:pt x="1927" y="1134"/>
                    </a:lnTo>
                    <a:lnTo>
                      <a:pt x="1928" y="1134"/>
                    </a:lnTo>
                    <a:lnTo>
                      <a:pt x="1928" y="1134"/>
                    </a:lnTo>
                    <a:lnTo>
                      <a:pt x="1928" y="1134"/>
                    </a:lnTo>
                    <a:lnTo>
                      <a:pt x="1928" y="1134"/>
                    </a:lnTo>
                    <a:lnTo>
                      <a:pt x="1928" y="1134"/>
                    </a:lnTo>
                    <a:close/>
                    <a:moveTo>
                      <a:pt x="2026" y="1060"/>
                    </a:moveTo>
                    <a:lnTo>
                      <a:pt x="2023" y="1061"/>
                    </a:lnTo>
                    <a:lnTo>
                      <a:pt x="2025" y="1063"/>
                    </a:lnTo>
                    <a:lnTo>
                      <a:pt x="2029" y="1060"/>
                    </a:lnTo>
                    <a:lnTo>
                      <a:pt x="2033" y="1054"/>
                    </a:lnTo>
                    <a:lnTo>
                      <a:pt x="2030" y="1055"/>
                    </a:lnTo>
                    <a:lnTo>
                      <a:pt x="2026" y="1060"/>
                    </a:lnTo>
                    <a:close/>
                    <a:moveTo>
                      <a:pt x="2105" y="960"/>
                    </a:moveTo>
                    <a:lnTo>
                      <a:pt x="2104" y="962"/>
                    </a:lnTo>
                    <a:lnTo>
                      <a:pt x="2102" y="963"/>
                    </a:lnTo>
                    <a:lnTo>
                      <a:pt x="2104" y="966"/>
                    </a:lnTo>
                    <a:lnTo>
                      <a:pt x="2105" y="966"/>
                    </a:lnTo>
                    <a:lnTo>
                      <a:pt x="2107" y="965"/>
                    </a:lnTo>
                    <a:lnTo>
                      <a:pt x="2107" y="963"/>
                    </a:lnTo>
                    <a:lnTo>
                      <a:pt x="2107" y="960"/>
                    </a:lnTo>
                    <a:lnTo>
                      <a:pt x="2105" y="960"/>
                    </a:lnTo>
                    <a:close/>
                    <a:moveTo>
                      <a:pt x="2092" y="962"/>
                    </a:moveTo>
                    <a:lnTo>
                      <a:pt x="2092" y="960"/>
                    </a:lnTo>
                    <a:lnTo>
                      <a:pt x="2092" y="959"/>
                    </a:lnTo>
                    <a:lnTo>
                      <a:pt x="2091" y="959"/>
                    </a:lnTo>
                    <a:lnTo>
                      <a:pt x="2089" y="959"/>
                    </a:lnTo>
                    <a:lnTo>
                      <a:pt x="2089" y="960"/>
                    </a:lnTo>
                    <a:lnTo>
                      <a:pt x="2091" y="962"/>
                    </a:lnTo>
                    <a:lnTo>
                      <a:pt x="2091" y="962"/>
                    </a:lnTo>
                    <a:lnTo>
                      <a:pt x="2092" y="962"/>
                    </a:lnTo>
                    <a:close/>
                    <a:moveTo>
                      <a:pt x="2098" y="965"/>
                    </a:moveTo>
                    <a:lnTo>
                      <a:pt x="2097" y="966"/>
                    </a:lnTo>
                    <a:lnTo>
                      <a:pt x="2095" y="969"/>
                    </a:lnTo>
                    <a:lnTo>
                      <a:pt x="2094" y="972"/>
                    </a:lnTo>
                    <a:lnTo>
                      <a:pt x="2091" y="973"/>
                    </a:lnTo>
                    <a:lnTo>
                      <a:pt x="2088" y="975"/>
                    </a:lnTo>
                    <a:lnTo>
                      <a:pt x="2086" y="975"/>
                    </a:lnTo>
                    <a:lnTo>
                      <a:pt x="2085" y="978"/>
                    </a:lnTo>
                    <a:lnTo>
                      <a:pt x="2085" y="978"/>
                    </a:lnTo>
                    <a:lnTo>
                      <a:pt x="2085" y="979"/>
                    </a:lnTo>
                    <a:lnTo>
                      <a:pt x="2085" y="981"/>
                    </a:lnTo>
                    <a:lnTo>
                      <a:pt x="2086" y="982"/>
                    </a:lnTo>
                    <a:lnTo>
                      <a:pt x="2088" y="982"/>
                    </a:lnTo>
                    <a:lnTo>
                      <a:pt x="2089" y="982"/>
                    </a:lnTo>
                    <a:lnTo>
                      <a:pt x="2089" y="981"/>
                    </a:lnTo>
                    <a:lnTo>
                      <a:pt x="2091" y="979"/>
                    </a:lnTo>
                    <a:lnTo>
                      <a:pt x="2092" y="978"/>
                    </a:lnTo>
                    <a:lnTo>
                      <a:pt x="2095" y="978"/>
                    </a:lnTo>
                    <a:lnTo>
                      <a:pt x="2097" y="976"/>
                    </a:lnTo>
                    <a:lnTo>
                      <a:pt x="2097" y="975"/>
                    </a:lnTo>
                    <a:lnTo>
                      <a:pt x="2098" y="975"/>
                    </a:lnTo>
                    <a:lnTo>
                      <a:pt x="2099" y="972"/>
                    </a:lnTo>
                    <a:lnTo>
                      <a:pt x="2101" y="969"/>
                    </a:lnTo>
                    <a:lnTo>
                      <a:pt x="2101" y="968"/>
                    </a:lnTo>
                    <a:lnTo>
                      <a:pt x="2101" y="965"/>
                    </a:lnTo>
                    <a:lnTo>
                      <a:pt x="2101" y="963"/>
                    </a:lnTo>
                    <a:lnTo>
                      <a:pt x="2098" y="965"/>
                    </a:lnTo>
                    <a:close/>
                    <a:moveTo>
                      <a:pt x="1927" y="1116"/>
                    </a:moveTo>
                    <a:lnTo>
                      <a:pt x="1924" y="1116"/>
                    </a:lnTo>
                    <a:lnTo>
                      <a:pt x="1924" y="1116"/>
                    </a:lnTo>
                    <a:lnTo>
                      <a:pt x="1920" y="1121"/>
                    </a:lnTo>
                    <a:lnTo>
                      <a:pt x="1914" y="1129"/>
                    </a:lnTo>
                    <a:lnTo>
                      <a:pt x="1913" y="1132"/>
                    </a:lnTo>
                    <a:lnTo>
                      <a:pt x="1916" y="1134"/>
                    </a:lnTo>
                    <a:lnTo>
                      <a:pt x="1916" y="1132"/>
                    </a:lnTo>
                    <a:lnTo>
                      <a:pt x="1917" y="1129"/>
                    </a:lnTo>
                    <a:lnTo>
                      <a:pt x="1923" y="1123"/>
                    </a:lnTo>
                    <a:lnTo>
                      <a:pt x="1924" y="1121"/>
                    </a:lnTo>
                    <a:lnTo>
                      <a:pt x="1931" y="1119"/>
                    </a:lnTo>
                    <a:lnTo>
                      <a:pt x="1933" y="1117"/>
                    </a:lnTo>
                    <a:lnTo>
                      <a:pt x="1930" y="1117"/>
                    </a:lnTo>
                    <a:lnTo>
                      <a:pt x="1927" y="1116"/>
                    </a:lnTo>
                    <a:close/>
                    <a:moveTo>
                      <a:pt x="1934" y="1130"/>
                    </a:moveTo>
                    <a:lnTo>
                      <a:pt x="1933" y="1132"/>
                    </a:lnTo>
                    <a:lnTo>
                      <a:pt x="1934" y="1133"/>
                    </a:lnTo>
                    <a:lnTo>
                      <a:pt x="1936" y="1133"/>
                    </a:lnTo>
                    <a:lnTo>
                      <a:pt x="1937" y="1132"/>
                    </a:lnTo>
                    <a:lnTo>
                      <a:pt x="1937" y="1132"/>
                    </a:lnTo>
                    <a:lnTo>
                      <a:pt x="1939" y="1130"/>
                    </a:lnTo>
                    <a:lnTo>
                      <a:pt x="1937" y="1130"/>
                    </a:lnTo>
                    <a:lnTo>
                      <a:pt x="1934" y="1130"/>
                    </a:lnTo>
                    <a:close/>
                    <a:moveTo>
                      <a:pt x="2006" y="758"/>
                    </a:moveTo>
                    <a:lnTo>
                      <a:pt x="2005" y="758"/>
                    </a:lnTo>
                    <a:lnTo>
                      <a:pt x="2005" y="758"/>
                    </a:lnTo>
                    <a:lnTo>
                      <a:pt x="2005" y="758"/>
                    </a:lnTo>
                    <a:lnTo>
                      <a:pt x="2002" y="761"/>
                    </a:lnTo>
                    <a:lnTo>
                      <a:pt x="2002" y="761"/>
                    </a:lnTo>
                    <a:lnTo>
                      <a:pt x="2003" y="762"/>
                    </a:lnTo>
                    <a:lnTo>
                      <a:pt x="2003" y="761"/>
                    </a:lnTo>
                    <a:lnTo>
                      <a:pt x="2005" y="761"/>
                    </a:lnTo>
                    <a:lnTo>
                      <a:pt x="2006" y="759"/>
                    </a:lnTo>
                    <a:lnTo>
                      <a:pt x="2006" y="759"/>
                    </a:lnTo>
                    <a:lnTo>
                      <a:pt x="2006" y="758"/>
                    </a:lnTo>
                    <a:close/>
                    <a:moveTo>
                      <a:pt x="1972" y="1091"/>
                    </a:moveTo>
                    <a:lnTo>
                      <a:pt x="1970" y="1093"/>
                    </a:lnTo>
                    <a:lnTo>
                      <a:pt x="1967" y="1094"/>
                    </a:lnTo>
                    <a:lnTo>
                      <a:pt x="1964" y="1097"/>
                    </a:lnTo>
                    <a:lnTo>
                      <a:pt x="1963" y="1097"/>
                    </a:lnTo>
                    <a:lnTo>
                      <a:pt x="1960" y="1097"/>
                    </a:lnTo>
                    <a:lnTo>
                      <a:pt x="1959" y="1097"/>
                    </a:lnTo>
                    <a:lnTo>
                      <a:pt x="1959" y="1096"/>
                    </a:lnTo>
                    <a:lnTo>
                      <a:pt x="1957" y="1096"/>
                    </a:lnTo>
                    <a:lnTo>
                      <a:pt x="1956" y="1096"/>
                    </a:lnTo>
                    <a:lnTo>
                      <a:pt x="1956" y="1096"/>
                    </a:lnTo>
                    <a:lnTo>
                      <a:pt x="1954" y="1098"/>
                    </a:lnTo>
                    <a:lnTo>
                      <a:pt x="1954" y="1100"/>
                    </a:lnTo>
                    <a:lnTo>
                      <a:pt x="1946" y="1106"/>
                    </a:lnTo>
                    <a:lnTo>
                      <a:pt x="1946" y="1107"/>
                    </a:lnTo>
                    <a:lnTo>
                      <a:pt x="1944" y="1109"/>
                    </a:lnTo>
                    <a:lnTo>
                      <a:pt x="1943" y="1110"/>
                    </a:lnTo>
                    <a:lnTo>
                      <a:pt x="1943" y="1111"/>
                    </a:lnTo>
                    <a:lnTo>
                      <a:pt x="1941" y="1113"/>
                    </a:lnTo>
                    <a:lnTo>
                      <a:pt x="1940" y="1114"/>
                    </a:lnTo>
                    <a:lnTo>
                      <a:pt x="1939" y="1116"/>
                    </a:lnTo>
                    <a:lnTo>
                      <a:pt x="1939" y="1117"/>
                    </a:lnTo>
                    <a:lnTo>
                      <a:pt x="1951" y="1107"/>
                    </a:lnTo>
                    <a:lnTo>
                      <a:pt x="1951" y="1106"/>
                    </a:lnTo>
                    <a:lnTo>
                      <a:pt x="1951" y="1106"/>
                    </a:lnTo>
                    <a:lnTo>
                      <a:pt x="1951" y="1106"/>
                    </a:lnTo>
                    <a:lnTo>
                      <a:pt x="1951" y="1104"/>
                    </a:lnTo>
                    <a:lnTo>
                      <a:pt x="1951" y="1104"/>
                    </a:lnTo>
                    <a:lnTo>
                      <a:pt x="1953" y="1104"/>
                    </a:lnTo>
                    <a:lnTo>
                      <a:pt x="1954" y="1104"/>
                    </a:lnTo>
                    <a:lnTo>
                      <a:pt x="1963" y="1098"/>
                    </a:lnTo>
                    <a:lnTo>
                      <a:pt x="1964" y="1098"/>
                    </a:lnTo>
                    <a:lnTo>
                      <a:pt x="1970" y="1097"/>
                    </a:lnTo>
                    <a:lnTo>
                      <a:pt x="1973" y="1096"/>
                    </a:lnTo>
                    <a:lnTo>
                      <a:pt x="1972" y="1093"/>
                    </a:lnTo>
                    <a:lnTo>
                      <a:pt x="1972" y="1091"/>
                    </a:lnTo>
                    <a:close/>
                    <a:moveTo>
                      <a:pt x="1999" y="1075"/>
                    </a:moveTo>
                    <a:lnTo>
                      <a:pt x="1995" y="1078"/>
                    </a:lnTo>
                    <a:lnTo>
                      <a:pt x="1990" y="1081"/>
                    </a:lnTo>
                    <a:lnTo>
                      <a:pt x="1986" y="1086"/>
                    </a:lnTo>
                    <a:lnTo>
                      <a:pt x="1983" y="1090"/>
                    </a:lnTo>
                    <a:lnTo>
                      <a:pt x="1986" y="1090"/>
                    </a:lnTo>
                    <a:lnTo>
                      <a:pt x="1989" y="1088"/>
                    </a:lnTo>
                    <a:lnTo>
                      <a:pt x="2003" y="1075"/>
                    </a:lnTo>
                    <a:lnTo>
                      <a:pt x="2000" y="1075"/>
                    </a:lnTo>
                    <a:lnTo>
                      <a:pt x="1999" y="1075"/>
                    </a:lnTo>
                    <a:close/>
                    <a:moveTo>
                      <a:pt x="2046" y="1040"/>
                    </a:moveTo>
                    <a:lnTo>
                      <a:pt x="2046" y="1040"/>
                    </a:lnTo>
                    <a:lnTo>
                      <a:pt x="2046" y="1040"/>
                    </a:lnTo>
                    <a:lnTo>
                      <a:pt x="2046" y="1041"/>
                    </a:lnTo>
                    <a:lnTo>
                      <a:pt x="2046" y="1041"/>
                    </a:lnTo>
                    <a:lnTo>
                      <a:pt x="2048" y="1040"/>
                    </a:lnTo>
                    <a:lnTo>
                      <a:pt x="2048" y="1038"/>
                    </a:lnTo>
                    <a:lnTo>
                      <a:pt x="2046" y="1040"/>
                    </a:lnTo>
                    <a:close/>
                    <a:moveTo>
                      <a:pt x="538" y="447"/>
                    </a:moveTo>
                    <a:lnTo>
                      <a:pt x="534" y="449"/>
                    </a:lnTo>
                    <a:lnTo>
                      <a:pt x="537" y="450"/>
                    </a:lnTo>
                    <a:lnTo>
                      <a:pt x="538" y="449"/>
                    </a:lnTo>
                    <a:lnTo>
                      <a:pt x="538" y="447"/>
                    </a:lnTo>
                    <a:close/>
                    <a:moveTo>
                      <a:pt x="587" y="526"/>
                    </a:moveTo>
                    <a:lnTo>
                      <a:pt x="586" y="526"/>
                    </a:lnTo>
                    <a:lnTo>
                      <a:pt x="584" y="525"/>
                    </a:lnTo>
                    <a:lnTo>
                      <a:pt x="581" y="525"/>
                    </a:lnTo>
                    <a:lnTo>
                      <a:pt x="579" y="525"/>
                    </a:lnTo>
                    <a:lnTo>
                      <a:pt x="577" y="525"/>
                    </a:lnTo>
                    <a:lnTo>
                      <a:pt x="579" y="528"/>
                    </a:lnTo>
                    <a:lnTo>
                      <a:pt x="581" y="532"/>
                    </a:lnTo>
                    <a:lnTo>
                      <a:pt x="586" y="534"/>
                    </a:lnTo>
                    <a:lnTo>
                      <a:pt x="589" y="531"/>
                    </a:lnTo>
                    <a:lnTo>
                      <a:pt x="587" y="531"/>
                    </a:lnTo>
                    <a:lnTo>
                      <a:pt x="587" y="529"/>
                    </a:lnTo>
                    <a:lnTo>
                      <a:pt x="587" y="529"/>
                    </a:lnTo>
                    <a:lnTo>
                      <a:pt x="587" y="528"/>
                    </a:lnTo>
                    <a:lnTo>
                      <a:pt x="587" y="526"/>
                    </a:lnTo>
                    <a:lnTo>
                      <a:pt x="587" y="526"/>
                    </a:lnTo>
                    <a:close/>
                    <a:moveTo>
                      <a:pt x="2249" y="756"/>
                    </a:moveTo>
                    <a:lnTo>
                      <a:pt x="2247" y="756"/>
                    </a:lnTo>
                    <a:lnTo>
                      <a:pt x="2246" y="758"/>
                    </a:lnTo>
                    <a:lnTo>
                      <a:pt x="2239" y="761"/>
                    </a:lnTo>
                    <a:lnTo>
                      <a:pt x="2236" y="761"/>
                    </a:lnTo>
                    <a:lnTo>
                      <a:pt x="2234" y="764"/>
                    </a:lnTo>
                    <a:lnTo>
                      <a:pt x="2234" y="766"/>
                    </a:lnTo>
                    <a:lnTo>
                      <a:pt x="2233" y="771"/>
                    </a:lnTo>
                    <a:lnTo>
                      <a:pt x="2229" y="774"/>
                    </a:lnTo>
                    <a:lnTo>
                      <a:pt x="2230" y="774"/>
                    </a:lnTo>
                    <a:lnTo>
                      <a:pt x="2233" y="772"/>
                    </a:lnTo>
                    <a:lnTo>
                      <a:pt x="2239" y="768"/>
                    </a:lnTo>
                    <a:lnTo>
                      <a:pt x="2247" y="765"/>
                    </a:lnTo>
                    <a:lnTo>
                      <a:pt x="2250" y="764"/>
                    </a:lnTo>
                    <a:lnTo>
                      <a:pt x="2250" y="759"/>
                    </a:lnTo>
                    <a:lnTo>
                      <a:pt x="2250" y="756"/>
                    </a:lnTo>
                    <a:lnTo>
                      <a:pt x="2249" y="756"/>
                    </a:lnTo>
                    <a:close/>
                    <a:moveTo>
                      <a:pt x="1338" y="285"/>
                    </a:moveTo>
                    <a:lnTo>
                      <a:pt x="1332" y="284"/>
                    </a:lnTo>
                    <a:lnTo>
                      <a:pt x="1327" y="284"/>
                    </a:lnTo>
                    <a:lnTo>
                      <a:pt x="1325" y="285"/>
                    </a:lnTo>
                    <a:lnTo>
                      <a:pt x="1325" y="285"/>
                    </a:lnTo>
                    <a:lnTo>
                      <a:pt x="1325" y="286"/>
                    </a:lnTo>
                    <a:lnTo>
                      <a:pt x="1324" y="289"/>
                    </a:lnTo>
                    <a:lnTo>
                      <a:pt x="1322" y="289"/>
                    </a:lnTo>
                    <a:lnTo>
                      <a:pt x="1321" y="291"/>
                    </a:lnTo>
                    <a:lnTo>
                      <a:pt x="1318" y="291"/>
                    </a:lnTo>
                    <a:lnTo>
                      <a:pt x="1317" y="291"/>
                    </a:lnTo>
                    <a:lnTo>
                      <a:pt x="1320" y="294"/>
                    </a:lnTo>
                    <a:lnTo>
                      <a:pt x="1325" y="296"/>
                    </a:lnTo>
                    <a:lnTo>
                      <a:pt x="1331" y="298"/>
                    </a:lnTo>
                    <a:lnTo>
                      <a:pt x="1335" y="299"/>
                    </a:lnTo>
                    <a:lnTo>
                      <a:pt x="1338" y="299"/>
                    </a:lnTo>
                    <a:lnTo>
                      <a:pt x="1340" y="299"/>
                    </a:lnTo>
                    <a:lnTo>
                      <a:pt x="1343" y="296"/>
                    </a:lnTo>
                    <a:lnTo>
                      <a:pt x="1347" y="294"/>
                    </a:lnTo>
                    <a:lnTo>
                      <a:pt x="1348" y="292"/>
                    </a:lnTo>
                    <a:lnTo>
                      <a:pt x="1350" y="289"/>
                    </a:lnTo>
                    <a:lnTo>
                      <a:pt x="1345" y="286"/>
                    </a:lnTo>
                    <a:lnTo>
                      <a:pt x="1338" y="285"/>
                    </a:lnTo>
                    <a:close/>
                    <a:moveTo>
                      <a:pt x="161" y="1104"/>
                    </a:moveTo>
                    <a:lnTo>
                      <a:pt x="136" y="1084"/>
                    </a:lnTo>
                    <a:lnTo>
                      <a:pt x="110" y="1073"/>
                    </a:lnTo>
                    <a:lnTo>
                      <a:pt x="93" y="1058"/>
                    </a:lnTo>
                    <a:lnTo>
                      <a:pt x="82" y="1055"/>
                    </a:lnTo>
                    <a:lnTo>
                      <a:pt x="46" y="1055"/>
                    </a:lnTo>
                    <a:lnTo>
                      <a:pt x="44" y="1057"/>
                    </a:lnTo>
                    <a:lnTo>
                      <a:pt x="40" y="1060"/>
                    </a:lnTo>
                    <a:lnTo>
                      <a:pt x="31" y="1061"/>
                    </a:lnTo>
                    <a:lnTo>
                      <a:pt x="31" y="1063"/>
                    </a:lnTo>
                    <a:lnTo>
                      <a:pt x="33" y="1065"/>
                    </a:lnTo>
                    <a:lnTo>
                      <a:pt x="28" y="1064"/>
                    </a:lnTo>
                    <a:lnTo>
                      <a:pt x="26" y="1064"/>
                    </a:lnTo>
                    <a:lnTo>
                      <a:pt x="24" y="1065"/>
                    </a:lnTo>
                    <a:lnTo>
                      <a:pt x="23" y="1065"/>
                    </a:lnTo>
                    <a:lnTo>
                      <a:pt x="21" y="1065"/>
                    </a:lnTo>
                    <a:lnTo>
                      <a:pt x="20" y="1065"/>
                    </a:lnTo>
                    <a:lnTo>
                      <a:pt x="20" y="1068"/>
                    </a:lnTo>
                    <a:lnTo>
                      <a:pt x="21" y="1070"/>
                    </a:lnTo>
                    <a:lnTo>
                      <a:pt x="27" y="1073"/>
                    </a:lnTo>
                    <a:lnTo>
                      <a:pt x="30" y="1077"/>
                    </a:lnTo>
                    <a:lnTo>
                      <a:pt x="33" y="1078"/>
                    </a:lnTo>
                    <a:lnTo>
                      <a:pt x="30" y="1078"/>
                    </a:lnTo>
                    <a:lnTo>
                      <a:pt x="28" y="1078"/>
                    </a:lnTo>
                    <a:lnTo>
                      <a:pt x="27" y="1080"/>
                    </a:lnTo>
                    <a:lnTo>
                      <a:pt x="26" y="1081"/>
                    </a:lnTo>
                    <a:lnTo>
                      <a:pt x="24" y="1080"/>
                    </a:lnTo>
                    <a:lnTo>
                      <a:pt x="23" y="1080"/>
                    </a:lnTo>
                    <a:lnTo>
                      <a:pt x="21" y="1084"/>
                    </a:lnTo>
                    <a:lnTo>
                      <a:pt x="20" y="1086"/>
                    </a:lnTo>
                    <a:lnTo>
                      <a:pt x="18" y="1088"/>
                    </a:lnTo>
                    <a:lnTo>
                      <a:pt x="17" y="1088"/>
                    </a:lnTo>
                    <a:lnTo>
                      <a:pt x="17" y="1090"/>
                    </a:lnTo>
                    <a:lnTo>
                      <a:pt x="17" y="1091"/>
                    </a:lnTo>
                    <a:lnTo>
                      <a:pt x="17" y="1093"/>
                    </a:lnTo>
                    <a:lnTo>
                      <a:pt x="17" y="1094"/>
                    </a:lnTo>
                    <a:lnTo>
                      <a:pt x="16" y="1096"/>
                    </a:lnTo>
                    <a:lnTo>
                      <a:pt x="14" y="1096"/>
                    </a:lnTo>
                    <a:lnTo>
                      <a:pt x="11" y="1097"/>
                    </a:lnTo>
                    <a:lnTo>
                      <a:pt x="8" y="1096"/>
                    </a:lnTo>
                    <a:lnTo>
                      <a:pt x="6" y="1094"/>
                    </a:lnTo>
                    <a:lnTo>
                      <a:pt x="4" y="1094"/>
                    </a:lnTo>
                    <a:lnTo>
                      <a:pt x="1" y="1096"/>
                    </a:lnTo>
                    <a:lnTo>
                      <a:pt x="6" y="1097"/>
                    </a:lnTo>
                    <a:lnTo>
                      <a:pt x="4" y="1098"/>
                    </a:lnTo>
                    <a:lnTo>
                      <a:pt x="1" y="1098"/>
                    </a:lnTo>
                    <a:lnTo>
                      <a:pt x="0" y="1100"/>
                    </a:lnTo>
                    <a:lnTo>
                      <a:pt x="0" y="1101"/>
                    </a:lnTo>
                    <a:lnTo>
                      <a:pt x="1" y="1101"/>
                    </a:lnTo>
                    <a:lnTo>
                      <a:pt x="7" y="1103"/>
                    </a:lnTo>
                    <a:lnTo>
                      <a:pt x="10" y="1104"/>
                    </a:lnTo>
                    <a:lnTo>
                      <a:pt x="11" y="1106"/>
                    </a:lnTo>
                    <a:lnTo>
                      <a:pt x="13" y="1109"/>
                    </a:lnTo>
                    <a:lnTo>
                      <a:pt x="14" y="1110"/>
                    </a:lnTo>
                    <a:lnTo>
                      <a:pt x="16" y="1111"/>
                    </a:lnTo>
                    <a:lnTo>
                      <a:pt x="17" y="1111"/>
                    </a:lnTo>
                    <a:lnTo>
                      <a:pt x="20" y="1111"/>
                    </a:lnTo>
                    <a:lnTo>
                      <a:pt x="20" y="1111"/>
                    </a:lnTo>
                    <a:lnTo>
                      <a:pt x="21" y="1111"/>
                    </a:lnTo>
                    <a:lnTo>
                      <a:pt x="23" y="1113"/>
                    </a:lnTo>
                    <a:lnTo>
                      <a:pt x="24" y="1114"/>
                    </a:lnTo>
                    <a:lnTo>
                      <a:pt x="27" y="1116"/>
                    </a:lnTo>
                    <a:lnTo>
                      <a:pt x="28" y="1117"/>
                    </a:lnTo>
                    <a:lnTo>
                      <a:pt x="33" y="1119"/>
                    </a:lnTo>
                    <a:lnTo>
                      <a:pt x="36" y="1120"/>
                    </a:lnTo>
                    <a:lnTo>
                      <a:pt x="37" y="1121"/>
                    </a:lnTo>
                    <a:lnTo>
                      <a:pt x="41" y="1124"/>
                    </a:lnTo>
                    <a:lnTo>
                      <a:pt x="54" y="1136"/>
                    </a:lnTo>
                    <a:lnTo>
                      <a:pt x="59" y="1140"/>
                    </a:lnTo>
                    <a:lnTo>
                      <a:pt x="59" y="1139"/>
                    </a:lnTo>
                    <a:lnTo>
                      <a:pt x="60" y="1137"/>
                    </a:lnTo>
                    <a:lnTo>
                      <a:pt x="60" y="1137"/>
                    </a:lnTo>
                    <a:lnTo>
                      <a:pt x="60" y="1137"/>
                    </a:lnTo>
                    <a:lnTo>
                      <a:pt x="62" y="1136"/>
                    </a:lnTo>
                    <a:lnTo>
                      <a:pt x="63" y="1137"/>
                    </a:lnTo>
                    <a:lnTo>
                      <a:pt x="69" y="1137"/>
                    </a:lnTo>
                    <a:lnTo>
                      <a:pt x="69" y="1137"/>
                    </a:lnTo>
                    <a:lnTo>
                      <a:pt x="70" y="1137"/>
                    </a:lnTo>
                    <a:lnTo>
                      <a:pt x="74" y="1139"/>
                    </a:lnTo>
                    <a:lnTo>
                      <a:pt x="76" y="1140"/>
                    </a:lnTo>
                    <a:lnTo>
                      <a:pt x="77" y="1140"/>
                    </a:lnTo>
                    <a:lnTo>
                      <a:pt x="79" y="1140"/>
                    </a:lnTo>
                    <a:lnTo>
                      <a:pt x="80" y="1142"/>
                    </a:lnTo>
                    <a:lnTo>
                      <a:pt x="83" y="1142"/>
                    </a:lnTo>
                    <a:lnTo>
                      <a:pt x="86" y="1143"/>
                    </a:lnTo>
                    <a:lnTo>
                      <a:pt x="87" y="1144"/>
                    </a:lnTo>
                    <a:lnTo>
                      <a:pt x="89" y="1144"/>
                    </a:lnTo>
                    <a:lnTo>
                      <a:pt x="90" y="1144"/>
                    </a:lnTo>
                    <a:lnTo>
                      <a:pt x="95" y="1144"/>
                    </a:lnTo>
                    <a:lnTo>
                      <a:pt x="97" y="1144"/>
                    </a:lnTo>
                    <a:lnTo>
                      <a:pt x="99" y="1144"/>
                    </a:lnTo>
                    <a:lnTo>
                      <a:pt x="102" y="1144"/>
                    </a:lnTo>
                    <a:lnTo>
                      <a:pt x="102" y="1144"/>
                    </a:lnTo>
                    <a:lnTo>
                      <a:pt x="103" y="1144"/>
                    </a:lnTo>
                    <a:lnTo>
                      <a:pt x="105" y="1146"/>
                    </a:lnTo>
                    <a:lnTo>
                      <a:pt x="105" y="1146"/>
                    </a:lnTo>
                    <a:lnTo>
                      <a:pt x="107" y="1146"/>
                    </a:lnTo>
                    <a:lnTo>
                      <a:pt x="109" y="1146"/>
                    </a:lnTo>
                    <a:lnTo>
                      <a:pt x="112" y="1147"/>
                    </a:lnTo>
                    <a:lnTo>
                      <a:pt x="113" y="1149"/>
                    </a:lnTo>
                    <a:lnTo>
                      <a:pt x="118" y="1152"/>
                    </a:lnTo>
                    <a:lnTo>
                      <a:pt x="119" y="1152"/>
                    </a:lnTo>
                    <a:lnTo>
                      <a:pt x="120" y="1153"/>
                    </a:lnTo>
                    <a:lnTo>
                      <a:pt x="122" y="1153"/>
                    </a:lnTo>
                    <a:lnTo>
                      <a:pt x="123" y="1154"/>
                    </a:lnTo>
                    <a:lnTo>
                      <a:pt x="125" y="1154"/>
                    </a:lnTo>
                    <a:lnTo>
                      <a:pt x="125" y="1154"/>
                    </a:lnTo>
                    <a:lnTo>
                      <a:pt x="125" y="1154"/>
                    </a:lnTo>
                    <a:lnTo>
                      <a:pt x="126" y="1154"/>
                    </a:lnTo>
                    <a:lnTo>
                      <a:pt x="125" y="1156"/>
                    </a:lnTo>
                    <a:lnTo>
                      <a:pt x="125" y="1156"/>
                    </a:lnTo>
                    <a:lnTo>
                      <a:pt x="125" y="1157"/>
                    </a:lnTo>
                    <a:lnTo>
                      <a:pt x="125" y="1159"/>
                    </a:lnTo>
                    <a:lnTo>
                      <a:pt x="126" y="1159"/>
                    </a:lnTo>
                    <a:lnTo>
                      <a:pt x="128" y="1159"/>
                    </a:lnTo>
                    <a:lnTo>
                      <a:pt x="128" y="1159"/>
                    </a:lnTo>
                    <a:lnTo>
                      <a:pt x="129" y="1159"/>
                    </a:lnTo>
                    <a:lnTo>
                      <a:pt x="130" y="1157"/>
                    </a:lnTo>
                    <a:lnTo>
                      <a:pt x="135" y="1156"/>
                    </a:lnTo>
                    <a:lnTo>
                      <a:pt x="138" y="1154"/>
                    </a:lnTo>
                    <a:lnTo>
                      <a:pt x="138" y="1154"/>
                    </a:lnTo>
                    <a:lnTo>
                      <a:pt x="138" y="1154"/>
                    </a:lnTo>
                    <a:lnTo>
                      <a:pt x="139" y="1154"/>
                    </a:lnTo>
                    <a:lnTo>
                      <a:pt x="139" y="1154"/>
                    </a:lnTo>
                    <a:lnTo>
                      <a:pt x="141" y="1154"/>
                    </a:lnTo>
                    <a:lnTo>
                      <a:pt x="141" y="1156"/>
                    </a:lnTo>
                    <a:lnTo>
                      <a:pt x="142" y="1156"/>
                    </a:lnTo>
                    <a:lnTo>
                      <a:pt x="142" y="1156"/>
                    </a:lnTo>
                    <a:lnTo>
                      <a:pt x="143" y="1157"/>
                    </a:lnTo>
                    <a:lnTo>
                      <a:pt x="143" y="1156"/>
                    </a:lnTo>
                    <a:lnTo>
                      <a:pt x="143" y="1154"/>
                    </a:lnTo>
                    <a:lnTo>
                      <a:pt x="143" y="1154"/>
                    </a:lnTo>
                    <a:lnTo>
                      <a:pt x="145" y="1154"/>
                    </a:lnTo>
                    <a:lnTo>
                      <a:pt x="145" y="1154"/>
                    </a:lnTo>
                    <a:lnTo>
                      <a:pt x="145" y="1154"/>
                    </a:lnTo>
                    <a:lnTo>
                      <a:pt x="148" y="1156"/>
                    </a:lnTo>
                    <a:lnTo>
                      <a:pt x="149" y="1156"/>
                    </a:lnTo>
                    <a:lnTo>
                      <a:pt x="152" y="1159"/>
                    </a:lnTo>
                    <a:lnTo>
                      <a:pt x="153" y="1159"/>
                    </a:lnTo>
                    <a:lnTo>
                      <a:pt x="155" y="1159"/>
                    </a:lnTo>
                    <a:lnTo>
                      <a:pt x="156" y="1159"/>
                    </a:lnTo>
                    <a:lnTo>
                      <a:pt x="158" y="1160"/>
                    </a:lnTo>
                    <a:lnTo>
                      <a:pt x="158" y="1160"/>
                    </a:lnTo>
                    <a:lnTo>
                      <a:pt x="159" y="1160"/>
                    </a:lnTo>
                    <a:lnTo>
                      <a:pt x="159" y="1160"/>
                    </a:lnTo>
                    <a:lnTo>
                      <a:pt x="159" y="1162"/>
                    </a:lnTo>
                    <a:lnTo>
                      <a:pt x="159" y="1162"/>
                    </a:lnTo>
                    <a:lnTo>
                      <a:pt x="159" y="1162"/>
                    </a:lnTo>
                    <a:lnTo>
                      <a:pt x="158" y="1166"/>
                    </a:lnTo>
                    <a:lnTo>
                      <a:pt x="158" y="1167"/>
                    </a:lnTo>
                    <a:lnTo>
                      <a:pt x="159" y="1167"/>
                    </a:lnTo>
                    <a:lnTo>
                      <a:pt x="162" y="1169"/>
                    </a:lnTo>
                    <a:lnTo>
                      <a:pt x="163" y="1170"/>
                    </a:lnTo>
                    <a:lnTo>
                      <a:pt x="165" y="1170"/>
                    </a:lnTo>
                    <a:lnTo>
                      <a:pt x="166" y="1172"/>
                    </a:lnTo>
                    <a:lnTo>
                      <a:pt x="168" y="1172"/>
                    </a:lnTo>
                    <a:lnTo>
                      <a:pt x="169" y="1173"/>
                    </a:lnTo>
                    <a:lnTo>
                      <a:pt x="172" y="1173"/>
                    </a:lnTo>
                    <a:lnTo>
                      <a:pt x="172" y="1173"/>
                    </a:lnTo>
                    <a:lnTo>
                      <a:pt x="172" y="1173"/>
                    </a:lnTo>
                    <a:lnTo>
                      <a:pt x="172" y="1173"/>
                    </a:lnTo>
                    <a:lnTo>
                      <a:pt x="172" y="1173"/>
                    </a:lnTo>
                    <a:lnTo>
                      <a:pt x="174" y="1175"/>
                    </a:lnTo>
                    <a:lnTo>
                      <a:pt x="174" y="1175"/>
                    </a:lnTo>
                    <a:lnTo>
                      <a:pt x="174" y="1175"/>
                    </a:lnTo>
                    <a:lnTo>
                      <a:pt x="174" y="1175"/>
                    </a:lnTo>
                    <a:lnTo>
                      <a:pt x="175" y="1176"/>
                    </a:lnTo>
                    <a:lnTo>
                      <a:pt x="175" y="1176"/>
                    </a:lnTo>
                    <a:lnTo>
                      <a:pt x="176" y="1175"/>
                    </a:lnTo>
                    <a:lnTo>
                      <a:pt x="178" y="1176"/>
                    </a:lnTo>
                    <a:lnTo>
                      <a:pt x="178" y="1176"/>
                    </a:lnTo>
                    <a:lnTo>
                      <a:pt x="179" y="1177"/>
                    </a:lnTo>
                    <a:lnTo>
                      <a:pt x="179" y="1177"/>
                    </a:lnTo>
                    <a:lnTo>
                      <a:pt x="181" y="1179"/>
                    </a:lnTo>
                    <a:lnTo>
                      <a:pt x="181" y="1179"/>
                    </a:lnTo>
                    <a:lnTo>
                      <a:pt x="182" y="1179"/>
                    </a:lnTo>
                    <a:lnTo>
                      <a:pt x="182" y="1180"/>
                    </a:lnTo>
                    <a:lnTo>
                      <a:pt x="184" y="1182"/>
                    </a:lnTo>
                    <a:lnTo>
                      <a:pt x="185" y="1182"/>
                    </a:lnTo>
                    <a:lnTo>
                      <a:pt x="185" y="1183"/>
                    </a:lnTo>
                    <a:lnTo>
                      <a:pt x="185" y="1183"/>
                    </a:lnTo>
                    <a:lnTo>
                      <a:pt x="186" y="1183"/>
                    </a:lnTo>
                    <a:lnTo>
                      <a:pt x="186" y="1185"/>
                    </a:lnTo>
                    <a:lnTo>
                      <a:pt x="186" y="1186"/>
                    </a:lnTo>
                    <a:lnTo>
                      <a:pt x="186" y="1186"/>
                    </a:lnTo>
                    <a:lnTo>
                      <a:pt x="186" y="1186"/>
                    </a:lnTo>
                    <a:lnTo>
                      <a:pt x="188" y="1188"/>
                    </a:lnTo>
                    <a:lnTo>
                      <a:pt x="189" y="1188"/>
                    </a:lnTo>
                    <a:lnTo>
                      <a:pt x="191" y="1188"/>
                    </a:lnTo>
                    <a:lnTo>
                      <a:pt x="192" y="1188"/>
                    </a:lnTo>
                    <a:lnTo>
                      <a:pt x="192" y="1189"/>
                    </a:lnTo>
                    <a:lnTo>
                      <a:pt x="194" y="1189"/>
                    </a:lnTo>
                    <a:lnTo>
                      <a:pt x="197" y="1189"/>
                    </a:lnTo>
                    <a:lnTo>
                      <a:pt x="198" y="1188"/>
                    </a:lnTo>
                    <a:lnTo>
                      <a:pt x="199" y="1186"/>
                    </a:lnTo>
                    <a:lnTo>
                      <a:pt x="199" y="1185"/>
                    </a:lnTo>
                    <a:lnTo>
                      <a:pt x="201" y="1183"/>
                    </a:lnTo>
                    <a:lnTo>
                      <a:pt x="201" y="1183"/>
                    </a:lnTo>
                    <a:lnTo>
                      <a:pt x="202" y="1183"/>
                    </a:lnTo>
                    <a:lnTo>
                      <a:pt x="202" y="1182"/>
                    </a:lnTo>
                    <a:lnTo>
                      <a:pt x="205" y="1182"/>
                    </a:lnTo>
                    <a:lnTo>
                      <a:pt x="205" y="1180"/>
                    </a:lnTo>
                    <a:lnTo>
                      <a:pt x="207" y="1179"/>
                    </a:lnTo>
                    <a:lnTo>
                      <a:pt x="208" y="1176"/>
                    </a:lnTo>
                    <a:lnTo>
                      <a:pt x="209" y="1175"/>
                    </a:lnTo>
                    <a:lnTo>
                      <a:pt x="207" y="1172"/>
                    </a:lnTo>
                    <a:lnTo>
                      <a:pt x="205" y="1170"/>
                    </a:lnTo>
                    <a:lnTo>
                      <a:pt x="201" y="1165"/>
                    </a:lnTo>
                    <a:lnTo>
                      <a:pt x="197" y="1157"/>
                    </a:lnTo>
                    <a:lnTo>
                      <a:pt x="197" y="1157"/>
                    </a:lnTo>
                    <a:lnTo>
                      <a:pt x="195" y="1153"/>
                    </a:lnTo>
                    <a:lnTo>
                      <a:pt x="192" y="1150"/>
                    </a:lnTo>
                    <a:lnTo>
                      <a:pt x="191" y="1149"/>
                    </a:lnTo>
                    <a:lnTo>
                      <a:pt x="191" y="1147"/>
                    </a:lnTo>
                    <a:lnTo>
                      <a:pt x="191" y="1143"/>
                    </a:lnTo>
                    <a:lnTo>
                      <a:pt x="194" y="1129"/>
                    </a:lnTo>
                    <a:lnTo>
                      <a:pt x="192" y="1130"/>
                    </a:lnTo>
                    <a:lnTo>
                      <a:pt x="191" y="1133"/>
                    </a:lnTo>
                    <a:lnTo>
                      <a:pt x="191" y="1137"/>
                    </a:lnTo>
                    <a:lnTo>
                      <a:pt x="189" y="1132"/>
                    </a:lnTo>
                    <a:lnTo>
                      <a:pt x="188" y="1127"/>
                    </a:lnTo>
                    <a:lnTo>
                      <a:pt x="186" y="1121"/>
                    </a:lnTo>
                    <a:lnTo>
                      <a:pt x="182" y="1119"/>
                    </a:lnTo>
                    <a:lnTo>
                      <a:pt x="178" y="1117"/>
                    </a:lnTo>
                    <a:lnTo>
                      <a:pt x="176" y="1116"/>
                    </a:lnTo>
                    <a:lnTo>
                      <a:pt x="178" y="1113"/>
                    </a:lnTo>
                    <a:lnTo>
                      <a:pt x="178" y="1111"/>
                    </a:lnTo>
                    <a:lnTo>
                      <a:pt x="181" y="1109"/>
                    </a:lnTo>
                    <a:lnTo>
                      <a:pt x="176" y="1107"/>
                    </a:lnTo>
                    <a:lnTo>
                      <a:pt x="161" y="1104"/>
                    </a:lnTo>
                    <a:close/>
                    <a:moveTo>
                      <a:pt x="1762" y="858"/>
                    </a:moveTo>
                    <a:lnTo>
                      <a:pt x="1759" y="860"/>
                    </a:lnTo>
                    <a:lnTo>
                      <a:pt x="1765" y="860"/>
                    </a:lnTo>
                    <a:lnTo>
                      <a:pt x="1766" y="860"/>
                    </a:lnTo>
                    <a:lnTo>
                      <a:pt x="1768" y="857"/>
                    </a:lnTo>
                    <a:lnTo>
                      <a:pt x="1765" y="857"/>
                    </a:lnTo>
                    <a:lnTo>
                      <a:pt x="1763" y="857"/>
                    </a:lnTo>
                    <a:lnTo>
                      <a:pt x="1762" y="858"/>
                    </a:lnTo>
                    <a:close/>
                    <a:moveTo>
                      <a:pt x="1775" y="854"/>
                    </a:moveTo>
                    <a:lnTo>
                      <a:pt x="1773" y="856"/>
                    </a:lnTo>
                    <a:lnTo>
                      <a:pt x="1772" y="858"/>
                    </a:lnTo>
                    <a:lnTo>
                      <a:pt x="1769" y="861"/>
                    </a:lnTo>
                    <a:lnTo>
                      <a:pt x="1769" y="864"/>
                    </a:lnTo>
                    <a:lnTo>
                      <a:pt x="1771" y="863"/>
                    </a:lnTo>
                    <a:lnTo>
                      <a:pt x="1772" y="863"/>
                    </a:lnTo>
                    <a:lnTo>
                      <a:pt x="1772" y="863"/>
                    </a:lnTo>
                    <a:lnTo>
                      <a:pt x="1773" y="863"/>
                    </a:lnTo>
                    <a:lnTo>
                      <a:pt x="1775" y="864"/>
                    </a:lnTo>
                    <a:lnTo>
                      <a:pt x="1775" y="866"/>
                    </a:lnTo>
                    <a:lnTo>
                      <a:pt x="1776" y="866"/>
                    </a:lnTo>
                    <a:lnTo>
                      <a:pt x="1778" y="867"/>
                    </a:lnTo>
                    <a:lnTo>
                      <a:pt x="1781" y="866"/>
                    </a:lnTo>
                    <a:lnTo>
                      <a:pt x="1782" y="863"/>
                    </a:lnTo>
                    <a:lnTo>
                      <a:pt x="1783" y="860"/>
                    </a:lnTo>
                    <a:lnTo>
                      <a:pt x="1786" y="858"/>
                    </a:lnTo>
                    <a:lnTo>
                      <a:pt x="1776" y="854"/>
                    </a:lnTo>
                    <a:lnTo>
                      <a:pt x="1775" y="854"/>
                    </a:lnTo>
                    <a:close/>
                    <a:moveTo>
                      <a:pt x="2701" y="548"/>
                    </a:moveTo>
                    <a:lnTo>
                      <a:pt x="2700" y="547"/>
                    </a:lnTo>
                    <a:lnTo>
                      <a:pt x="2698" y="545"/>
                    </a:lnTo>
                    <a:lnTo>
                      <a:pt x="2697" y="545"/>
                    </a:lnTo>
                    <a:lnTo>
                      <a:pt x="2693" y="545"/>
                    </a:lnTo>
                    <a:lnTo>
                      <a:pt x="2694" y="542"/>
                    </a:lnTo>
                    <a:lnTo>
                      <a:pt x="2691" y="541"/>
                    </a:lnTo>
                    <a:lnTo>
                      <a:pt x="2688" y="541"/>
                    </a:lnTo>
                    <a:lnTo>
                      <a:pt x="2685" y="542"/>
                    </a:lnTo>
                    <a:lnTo>
                      <a:pt x="2687" y="539"/>
                    </a:lnTo>
                    <a:lnTo>
                      <a:pt x="2685" y="536"/>
                    </a:lnTo>
                    <a:lnTo>
                      <a:pt x="2684" y="535"/>
                    </a:lnTo>
                    <a:lnTo>
                      <a:pt x="2672" y="526"/>
                    </a:lnTo>
                    <a:lnTo>
                      <a:pt x="2668" y="522"/>
                    </a:lnTo>
                    <a:lnTo>
                      <a:pt x="2665" y="519"/>
                    </a:lnTo>
                    <a:lnTo>
                      <a:pt x="2662" y="518"/>
                    </a:lnTo>
                    <a:lnTo>
                      <a:pt x="2644" y="515"/>
                    </a:lnTo>
                    <a:lnTo>
                      <a:pt x="2645" y="516"/>
                    </a:lnTo>
                    <a:lnTo>
                      <a:pt x="2648" y="516"/>
                    </a:lnTo>
                    <a:lnTo>
                      <a:pt x="2649" y="518"/>
                    </a:lnTo>
                    <a:lnTo>
                      <a:pt x="2652" y="518"/>
                    </a:lnTo>
                    <a:lnTo>
                      <a:pt x="2649" y="519"/>
                    </a:lnTo>
                    <a:lnTo>
                      <a:pt x="2642" y="518"/>
                    </a:lnTo>
                    <a:lnTo>
                      <a:pt x="2639" y="518"/>
                    </a:lnTo>
                    <a:lnTo>
                      <a:pt x="2639" y="519"/>
                    </a:lnTo>
                    <a:lnTo>
                      <a:pt x="2641" y="521"/>
                    </a:lnTo>
                    <a:lnTo>
                      <a:pt x="2639" y="522"/>
                    </a:lnTo>
                    <a:lnTo>
                      <a:pt x="2639" y="522"/>
                    </a:lnTo>
                    <a:lnTo>
                      <a:pt x="2638" y="522"/>
                    </a:lnTo>
                    <a:lnTo>
                      <a:pt x="2638" y="521"/>
                    </a:lnTo>
                    <a:lnTo>
                      <a:pt x="2638" y="521"/>
                    </a:lnTo>
                    <a:lnTo>
                      <a:pt x="2638" y="518"/>
                    </a:lnTo>
                    <a:lnTo>
                      <a:pt x="2639" y="516"/>
                    </a:lnTo>
                    <a:lnTo>
                      <a:pt x="2639" y="515"/>
                    </a:lnTo>
                    <a:lnTo>
                      <a:pt x="2641" y="515"/>
                    </a:lnTo>
                    <a:lnTo>
                      <a:pt x="2634" y="512"/>
                    </a:lnTo>
                    <a:lnTo>
                      <a:pt x="2632" y="512"/>
                    </a:lnTo>
                    <a:lnTo>
                      <a:pt x="2629" y="512"/>
                    </a:lnTo>
                    <a:lnTo>
                      <a:pt x="2616" y="513"/>
                    </a:lnTo>
                    <a:lnTo>
                      <a:pt x="2618" y="515"/>
                    </a:lnTo>
                    <a:lnTo>
                      <a:pt x="2622" y="516"/>
                    </a:lnTo>
                    <a:lnTo>
                      <a:pt x="2625" y="518"/>
                    </a:lnTo>
                    <a:lnTo>
                      <a:pt x="2625" y="519"/>
                    </a:lnTo>
                    <a:lnTo>
                      <a:pt x="2626" y="522"/>
                    </a:lnTo>
                    <a:lnTo>
                      <a:pt x="2626" y="524"/>
                    </a:lnTo>
                    <a:lnTo>
                      <a:pt x="2625" y="526"/>
                    </a:lnTo>
                    <a:lnTo>
                      <a:pt x="2624" y="528"/>
                    </a:lnTo>
                    <a:lnTo>
                      <a:pt x="2622" y="529"/>
                    </a:lnTo>
                    <a:lnTo>
                      <a:pt x="2624" y="531"/>
                    </a:lnTo>
                    <a:lnTo>
                      <a:pt x="2625" y="532"/>
                    </a:lnTo>
                    <a:lnTo>
                      <a:pt x="2629" y="534"/>
                    </a:lnTo>
                    <a:lnTo>
                      <a:pt x="2629" y="535"/>
                    </a:lnTo>
                    <a:lnTo>
                      <a:pt x="2629" y="538"/>
                    </a:lnTo>
                    <a:lnTo>
                      <a:pt x="2628" y="539"/>
                    </a:lnTo>
                    <a:lnTo>
                      <a:pt x="2626" y="541"/>
                    </a:lnTo>
                    <a:lnTo>
                      <a:pt x="2626" y="542"/>
                    </a:lnTo>
                    <a:lnTo>
                      <a:pt x="2625" y="542"/>
                    </a:lnTo>
                    <a:lnTo>
                      <a:pt x="2625" y="538"/>
                    </a:lnTo>
                    <a:lnTo>
                      <a:pt x="2625" y="535"/>
                    </a:lnTo>
                    <a:lnTo>
                      <a:pt x="2625" y="534"/>
                    </a:lnTo>
                    <a:lnTo>
                      <a:pt x="2622" y="535"/>
                    </a:lnTo>
                    <a:lnTo>
                      <a:pt x="2621" y="536"/>
                    </a:lnTo>
                    <a:lnTo>
                      <a:pt x="2619" y="539"/>
                    </a:lnTo>
                    <a:lnTo>
                      <a:pt x="2619" y="536"/>
                    </a:lnTo>
                    <a:lnTo>
                      <a:pt x="2618" y="534"/>
                    </a:lnTo>
                    <a:lnTo>
                      <a:pt x="2618" y="532"/>
                    </a:lnTo>
                    <a:lnTo>
                      <a:pt x="2616" y="531"/>
                    </a:lnTo>
                    <a:lnTo>
                      <a:pt x="2615" y="531"/>
                    </a:lnTo>
                    <a:lnTo>
                      <a:pt x="2614" y="531"/>
                    </a:lnTo>
                    <a:lnTo>
                      <a:pt x="2611" y="529"/>
                    </a:lnTo>
                    <a:lnTo>
                      <a:pt x="2611" y="529"/>
                    </a:lnTo>
                    <a:lnTo>
                      <a:pt x="2611" y="528"/>
                    </a:lnTo>
                    <a:lnTo>
                      <a:pt x="2611" y="525"/>
                    </a:lnTo>
                    <a:lnTo>
                      <a:pt x="2612" y="524"/>
                    </a:lnTo>
                    <a:lnTo>
                      <a:pt x="2612" y="522"/>
                    </a:lnTo>
                    <a:lnTo>
                      <a:pt x="2612" y="521"/>
                    </a:lnTo>
                    <a:lnTo>
                      <a:pt x="2612" y="519"/>
                    </a:lnTo>
                    <a:lnTo>
                      <a:pt x="2612" y="518"/>
                    </a:lnTo>
                    <a:lnTo>
                      <a:pt x="2611" y="515"/>
                    </a:lnTo>
                    <a:lnTo>
                      <a:pt x="2609" y="513"/>
                    </a:lnTo>
                    <a:lnTo>
                      <a:pt x="2609" y="512"/>
                    </a:lnTo>
                    <a:lnTo>
                      <a:pt x="2611" y="508"/>
                    </a:lnTo>
                    <a:lnTo>
                      <a:pt x="2611" y="506"/>
                    </a:lnTo>
                    <a:lnTo>
                      <a:pt x="2611" y="503"/>
                    </a:lnTo>
                    <a:lnTo>
                      <a:pt x="2608" y="503"/>
                    </a:lnTo>
                    <a:lnTo>
                      <a:pt x="2605" y="505"/>
                    </a:lnTo>
                    <a:lnTo>
                      <a:pt x="2602" y="505"/>
                    </a:lnTo>
                    <a:lnTo>
                      <a:pt x="2605" y="499"/>
                    </a:lnTo>
                    <a:lnTo>
                      <a:pt x="2601" y="495"/>
                    </a:lnTo>
                    <a:lnTo>
                      <a:pt x="2569" y="480"/>
                    </a:lnTo>
                    <a:lnTo>
                      <a:pt x="2568" y="480"/>
                    </a:lnTo>
                    <a:lnTo>
                      <a:pt x="2566" y="480"/>
                    </a:lnTo>
                    <a:lnTo>
                      <a:pt x="2563" y="480"/>
                    </a:lnTo>
                    <a:lnTo>
                      <a:pt x="2562" y="480"/>
                    </a:lnTo>
                    <a:lnTo>
                      <a:pt x="2563" y="479"/>
                    </a:lnTo>
                    <a:lnTo>
                      <a:pt x="2563" y="479"/>
                    </a:lnTo>
                    <a:lnTo>
                      <a:pt x="2565" y="479"/>
                    </a:lnTo>
                    <a:lnTo>
                      <a:pt x="2560" y="476"/>
                    </a:lnTo>
                    <a:lnTo>
                      <a:pt x="2558" y="475"/>
                    </a:lnTo>
                    <a:lnTo>
                      <a:pt x="2553" y="472"/>
                    </a:lnTo>
                    <a:lnTo>
                      <a:pt x="2549" y="472"/>
                    </a:lnTo>
                    <a:lnTo>
                      <a:pt x="2552" y="473"/>
                    </a:lnTo>
                    <a:lnTo>
                      <a:pt x="2558" y="476"/>
                    </a:lnTo>
                    <a:lnTo>
                      <a:pt x="2559" y="478"/>
                    </a:lnTo>
                    <a:lnTo>
                      <a:pt x="2559" y="478"/>
                    </a:lnTo>
                    <a:lnTo>
                      <a:pt x="2558" y="479"/>
                    </a:lnTo>
                    <a:lnTo>
                      <a:pt x="2556" y="479"/>
                    </a:lnTo>
                    <a:lnTo>
                      <a:pt x="2555" y="479"/>
                    </a:lnTo>
                    <a:lnTo>
                      <a:pt x="2555" y="476"/>
                    </a:lnTo>
                    <a:lnTo>
                      <a:pt x="2550" y="473"/>
                    </a:lnTo>
                    <a:lnTo>
                      <a:pt x="2545" y="472"/>
                    </a:lnTo>
                    <a:lnTo>
                      <a:pt x="2543" y="469"/>
                    </a:lnTo>
                    <a:lnTo>
                      <a:pt x="2543" y="469"/>
                    </a:lnTo>
                    <a:lnTo>
                      <a:pt x="2545" y="470"/>
                    </a:lnTo>
                    <a:lnTo>
                      <a:pt x="2546" y="470"/>
                    </a:lnTo>
                    <a:lnTo>
                      <a:pt x="2546" y="470"/>
                    </a:lnTo>
                    <a:lnTo>
                      <a:pt x="2539" y="466"/>
                    </a:lnTo>
                    <a:lnTo>
                      <a:pt x="2522" y="460"/>
                    </a:lnTo>
                    <a:lnTo>
                      <a:pt x="2510" y="456"/>
                    </a:lnTo>
                    <a:lnTo>
                      <a:pt x="2503" y="453"/>
                    </a:lnTo>
                    <a:lnTo>
                      <a:pt x="2502" y="453"/>
                    </a:lnTo>
                    <a:lnTo>
                      <a:pt x="2499" y="452"/>
                    </a:lnTo>
                    <a:lnTo>
                      <a:pt x="2497" y="450"/>
                    </a:lnTo>
                    <a:lnTo>
                      <a:pt x="2461" y="443"/>
                    </a:lnTo>
                    <a:lnTo>
                      <a:pt x="2456" y="442"/>
                    </a:lnTo>
                    <a:lnTo>
                      <a:pt x="2451" y="440"/>
                    </a:lnTo>
                    <a:lnTo>
                      <a:pt x="2450" y="439"/>
                    </a:lnTo>
                    <a:lnTo>
                      <a:pt x="2447" y="439"/>
                    </a:lnTo>
                    <a:lnTo>
                      <a:pt x="2444" y="439"/>
                    </a:lnTo>
                    <a:lnTo>
                      <a:pt x="2438" y="440"/>
                    </a:lnTo>
                    <a:lnTo>
                      <a:pt x="2433" y="440"/>
                    </a:lnTo>
                    <a:lnTo>
                      <a:pt x="2415" y="439"/>
                    </a:lnTo>
                    <a:lnTo>
                      <a:pt x="2412" y="439"/>
                    </a:lnTo>
                    <a:lnTo>
                      <a:pt x="2408" y="437"/>
                    </a:lnTo>
                    <a:lnTo>
                      <a:pt x="2405" y="437"/>
                    </a:lnTo>
                    <a:lnTo>
                      <a:pt x="2404" y="437"/>
                    </a:lnTo>
                    <a:lnTo>
                      <a:pt x="2402" y="440"/>
                    </a:lnTo>
                    <a:lnTo>
                      <a:pt x="2401" y="440"/>
                    </a:lnTo>
                    <a:lnTo>
                      <a:pt x="2398" y="440"/>
                    </a:lnTo>
                    <a:lnTo>
                      <a:pt x="2388" y="436"/>
                    </a:lnTo>
                    <a:lnTo>
                      <a:pt x="2377" y="433"/>
                    </a:lnTo>
                    <a:lnTo>
                      <a:pt x="2354" y="432"/>
                    </a:lnTo>
                    <a:lnTo>
                      <a:pt x="2354" y="436"/>
                    </a:lnTo>
                    <a:lnTo>
                      <a:pt x="2354" y="437"/>
                    </a:lnTo>
                    <a:lnTo>
                      <a:pt x="2354" y="440"/>
                    </a:lnTo>
                    <a:lnTo>
                      <a:pt x="2352" y="442"/>
                    </a:lnTo>
                    <a:lnTo>
                      <a:pt x="2349" y="444"/>
                    </a:lnTo>
                    <a:lnTo>
                      <a:pt x="2348" y="446"/>
                    </a:lnTo>
                    <a:lnTo>
                      <a:pt x="2354" y="446"/>
                    </a:lnTo>
                    <a:lnTo>
                      <a:pt x="2355" y="446"/>
                    </a:lnTo>
                    <a:lnTo>
                      <a:pt x="2355" y="447"/>
                    </a:lnTo>
                    <a:lnTo>
                      <a:pt x="2356" y="449"/>
                    </a:lnTo>
                    <a:lnTo>
                      <a:pt x="2356" y="450"/>
                    </a:lnTo>
                    <a:lnTo>
                      <a:pt x="2356" y="450"/>
                    </a:lnTo>
                    <a:lnTo>
                      <a:pt x="2361" y="455"/>
                    </a:lnTo>
                    <a:lnTo>
                      <a:pt x="2362" y="457"/>
                    </a:lnTo>
                    <a:lnTo>
                      <a:pt x="2362" y="459"/>
                    </a:lnTo>
                    <a:lnTo>
                      <a:pt x="2358" y="463"/>
                    </a:lnTo>
                    <a:lnTo>
                      <a:pt x="2351" y="465"/>
                    </a:lnTo>
                    <a:lnTo>
                      <a:pt x="2344" y="466"/>
                    </a:lnTo>
                    <a:lnTo>
                      <a:pt x="2339" y="466"/>
                    </a:lnTo>
                    <a:lnTo>
                      <a:pt x="2336" y="465"/>
                    </a:lnTo>
                    <a:lnTo>
                      <a:pt x="2335" y="463"/>
                    </a:lnTo>
                    <a:lnTo>
                      <a:pt x="2333" y="460"/>
                    </a:lnTo>
                    <a:lnTo>
                      <a:pt x="2332" y="459"/>
                    </a:lnTo>
                    <a:lnTo>
                      <a:pt x="2331" y="457"/>
                    </a:lnTo>
                    <a:lnTo>
                      <a:pt x="2326" y="456"/>
                    </a:lnTo>
                    <a:lnTo>
                      <a:pt x="2318" y="455"/>
                    </a:lnTo>
                    <a:lnTo>
                      <a:pt x="2316" y="453"/>
                    </a:lnTo>
                    <a:lnTo>
                      <a:pt x="2315" y="453"/>
                    </a:lnTo>
                    <a:lnTo>
                      <a:pt x="2313" y="450"/>
                    </a:lnTo>
                    <a:lnTo>
                      <a:pt x="2312" y="447"/>
                    </a:lnTo>
                    <a:lnTo>
                      <a:pt x="2311" y="446"/>
                    </a:lnTo>
                    <a:lnTo>
                      <a:pt x="2308" y="444"/>
                    </a:lnTo>
                    <a:lnTo>
                      <a:pt x="2305" y="443"/>
                    </a:lnTo>
                    <a:lnTo>
                      <a:pt x="2300" y="444"/>
                    </a:lnTo>
                    <a:lnTo>
                      <a:pt x="2290" y="447"/>
                    </a:lnTo>
                    <a:lnTo>
                      <a:pt x="2286" y="449"/>
                    </a:lnTo>
                    <a:lnTo>
                      <a:pt x="2260" y="446"/>
                    </a:lnTo>
                    <a:lnTo>
                      <a:pt x="2252" y="446"/>
                    </a:lnTo>
                    <a:lnTo>
                      <a:pt x="2249" y="446"/>
                    </a:lnTo>
                    <a:lnTo>
                      <a:pt x="2242" y="443"/>
                    </a:lnTo>
                    <a:lnTo>
                      <a:pt x="2239" y="443"/>
                    </a:lnTo>
                    <a:lnTo>
                      <a:pt x="2210" y="446"/>
                    </a:lnTo>
                    <a:lnTo>
                      <a:pt x="2203" y="447"/>
                    </a:lnTo>
                    <a:lnTo>
                      <a:pt x="2197" y="450"/>
                    </a:lnTo>
                    <a:lnTo>
                      <a:pt x="2196" y="455"/>
                    </a:lnTo>
                    <a:lnTo>
                      <a:pt x="2196" y="456"/>
                    </a:lnTo>
                    <a:lnTo>
                      <a:pt x="2196" y="459"/>
                    </a:lnTo>
                    <a:lnTo>
                      <a:pt x="2197" y="460"/>
                    </a:lnTo>
                    <a:lnTo>
                      <a:pt x="2196" y="462"/>
                    </a:lnTo>
                    <a:lnTo>
                      <a:pt x="2196" y="463"/>
                    </a:lnTo>
                    <a:lnTo>
                      <a:pt x="2194" y="463"/>
                    </a:lnTo>
                    <a:lnTo>
                      <a:pt x="2194" y="465"/>
                    </a:lnTo>
                    <a:lnTo>
                      <a:pt x="2190" y="469"/>
                    </a:lnTo>
                    <a:lnTo>
                      <a:pt x="2187" y="470"/>
                    </a:lnTo>
                    <a:lnTo>
                      <a:pt x="2184" y="472"/>
                    </a:lnTo>
                    <a:lnTo>
                      <a:pt x="2188" y="469"/>
                    </a:lnTo>
                    <a:lnTo>
                      <a:pt x="2191" y="467"/>
                    </a:lnTo>
                    <a:lnTo>
                      <a:pt x="2191" y="465"/>
                    </a:lnTo>
                    <a:lnTo>
                      <a:pt x="2191" y="462"/>
                    </a:lnTo>
                    <a:lnTo>
                      <a:pt x="2190" y="460"/>
                    </a:lnTo>
                    <a:lnTo>
                      <a:pt x="2188" y="459"/>
                    </a:lnTo>
                    <a:lnTo>
                      <a:pt x="2187" y="457"/>
                    </a:lnTo>
                    <a:lnTo>
                      <a:pt x="2187" y="456"/>
                    </a:lnTo>
                    <a:lnTo>
                      <a:pt x="2186" y="450"/>
                    </a:lnTo>
                    <a:lnTo>
                      <a:pt x="2186" y="447"/>
                    </a:lnTo>
                    <a:lnTo>
                      <a:pt x="2183" y="446"/>
                    </a:lnTo>
                    <a:lnTo>
                      <a:pt x="2181" y="444"/>
                    </a:lnTo>
                    <a:lnTo>
                      <a:pt x="2168" y="443"/>
                    </a:lnTo>
                    <a:lnTo>
                      <a:pt x="2167" y="442"/>
                    </a:lnTo>
                    <a:lnTo>
                      <a:pt x="2164" y="440"/>
                    </a:lnTo>
                    <a:lnTo>
                      <a:pt x="2164" y="439"/>
                    </a:lnTo>
                    <a:lnTo>
                      <a:pt x="2165" y="436"/>
                    </a:lnTo>
                    <a:lnTo>
                      <a:pt x="2167" y="430"/>
                    </a:lnTo>
                    <a:lnTo>
                      <a:pt x="2168" y="426"/>
                    </a:lnTo>
                    <a:lnTo>
                      <a:pt x="2168" y="424"/>
                    </a:lnTo>
                    <a:lnTo>
                      <a:pt x="2168" y="421"/>
                    </a:lnTo>
                    <a:lnTo>
                      <a:pt x="2167" y="419"/>
                    </a:lnTo>
                    <a:lnTo>
                      <a:pt x="2167" y="417"/>
                    </a:lnTo>
                    <a:lnTo>
                      <a:pt x="2165" y="414"/>
                    </a:lnTo>
                    <a:lnTo>
                      <a:pt x="2163" y="413"/>
                    </a:lnTo>
                    <a:lnTo>
                      <a:pt x="2154" y="407"/>
                    </a:lnTo>
                    <a:lnTo>
                      <a:pt x="2142" y="403"/>
                    </a:lnTo>
                    <a:lnTo>
                      <a:pt x="2132" y="401"/>
                    </a:lnTo>
                    <a:lnTo>
                      <a:pt x="2109" y="400"/>
                    </a:lnTo>
                    <a:lnTo>
                      <a:pt x="2085" y="401"/>
                    </a:lnTo>
                    <a:lnTo>
                      <a:pt x="2041" y="409"/>
                    </a:lnTo>
                    <a:lnTo>
                      <a:pt x="2038" y="407"/>
                    </a:lnTo>
                    <a:lnTo>
                      <a:pt x="2033" y="407"/>
                    </a:lnTo>
                    <a:lnTo>
                      <a:pt x="2025" y="403"/>
                    </a:lnTo>
                    <a:lnTo>
                      <a:pt x="2028" y="403"/>
                    </a:lnTo>
                    <a:lnTo>
                      <a:pt x="2029" y="403"/>
                    </a:lnTo>
                    <a:lnTo>
                      <a:pt x="2030" y="401"/>
                    </a:lnTo>
                    <a:lnTo>
                      <a:pt x="2022" y="396"/>
                    </a:lnTo>
                    <a:lnTo>
                      <a:pt x="2013" y="393"/>
                    </a:lnTo>
                    <a:lnTo>
                      <a:pt x="2005" y="393"/>
                    </a:lnTo>
                    <a:lnTo>
                      <a:pt x="1995" y="396"/>
                    </a:lnTo>
                    <a:lnTo>
                      <a:pt x="2002" y="391"/>
                    </a:lnTo>
                    <a:lnTo>
                      <a:pt x="2003" y="390"/>
                    </a:lnTo>
                    <a:lnTo>
                      <a:pt x="2005" y="387"/>
                    </a:lnTo>
                    <a:lnTo>
                      <a:pt x="2003" y="387"/>
                    </a:lnTo>
                    <a:lnTo>
                      <a:pt x="1997" y="387"/>
                    </a:lnTo>
                    <a:lnTo>
                      <a:pt x="1993" y="386"/>
                    </a:lnTo>
                    <a:lnTo>
                      <a:pt x="1985" y="383"/>
                    </a:lnTo>
                    <a:lnTo>
                      <a:pt x="1974" y="381"/>
                    </a:lnTo>
                    <a:lnTo>
                      <a:pt x="1976" y="380"/>
                    </a:lnTo>
                    <a:lnTo>
                      <a:pt x="1980" y="378"/>
                    </a:lnTo>
                    <a:lnTo>
                      <a:pt x="1985" y="377"/>
                    </a:lnTo>
                    <a:lnTo>
                      <a:pt x="1990" y="377"/>
                    </a:lnTo>
                    <a:lnTo>
                      <a:pt x="1992" y="377"/>
                    </a:lnTo>
                    <a:lnTo>
                      <a:pt x="1993" y="374"/>
                    </a:lnTo>
                    <a:lnTo>
                      <a:pt x="1993" y="373"/>
                    </a:lnTo>
                    <a:lnTo>
                      <a:pt x="1990" y="371"/>
                    </a:lnTo>
                    <a:lnTo>
                      <a:pt x="1989" y="368"/>
                    </a:lnTo>
                    <a:lnTo>
                      <a:pt x="1986" y="368"/>
                    </a:lnTo>
                    <a:lnTo>
                      <a:pt x="1982" y="365"/>
                    </a:lnTo>
                    <a:lnTo>
                      <a:pt x="1976" y="364"/>
                    </a:lnTo>
                    <a:lnTo>
                      <a:pt x="1964" y="363"/>
                    </a:lnTo>
                    <a:lnTo>
                      <a:pt x="1953" y="361"/>
                    </a:lnTo>
                    <a:lnTo>
                      <a:pt x="1947" y="361"/>
                    </a:lnTo>
                    <a:lnTo>
                      <a:pt x="1943" y="363"/>
                    </a:lnTo>
                    <a:lnTo>
                      <a:pt x="1939" y="367"/>
                    </a:lnTo>
                    <a:lnTo>
                      <a:pt x="1930" y="374"/>
                    </a:lnTo>
                    <a:lnTo>
                      <a:pt x="1926" y="377"/>
                    </a:lnTo>
                    <a:lnTo>
                      <a:pt x="1921" y="380"/>
                    </a:lnTo>
                    <a:lnTo>
                      <a:pt x="1914" y="381"/>
                    </a:lnTo>
                    <a:lnTo>
                      <a:pt x="1908" y="381"/>
                    </a:lnTo>
                    <a:lnTo>
                      <a:pt x="1906" y="380"/>
                    </a:lnTo>
                    <a:lnTo>
                      <a:pt x="1906" y="378"/>
                    </a:lnTo>
                    <a:lnTo>
                      <a:pt x="1906" y="377"/>
                    </a:lnTo>
                    <a:lnTo>
                      <a:pt x="1907" y="375"/>
                    </a:lnTo>
                    <a:lnTo>
                      <a:pt x="1907" y="374"/>
                    </a:lnTo>
                    <a:lnTo>
                      <a:pt x="1910" y="374"/>
                    </a:lnTo>
                    <a:lnTo>
                      <a:pt x="1913" y="375"/>
                    </a:lnTo>
                    <a:lnTo>
                      <a:pt x="1916" y="375"/>
                    </a:lnTo>
                    <a:lnTo>
                      <a:pt x="1918" y="374"/>
                    </a:lnTo>
                    <a:lnTo>
                      <a:pt x="1918" y="373"/>
                    </a:lnTo>
                    <a:lnTo>
                      <a:pt x="1917" y="370"/>
                    </a:lnTo>
                    <a:lnTo>
                      <a:pt x="1917" y="367"/>
                    </a:lnTo>
                    <a:lnTo>
                      <a:pt x="1918" y="365"/>
                    </a:lnTo>
                    <a:lnTo>
                      <a:pt x="1920" y="365"/>
                    </a:lnTo>
                    <a:lnTo>
                      <a:pt x="1924" y="367"/>
                    </a:lnTo>
                    <a:lnTo>
                      <a:pt x="1927" y="368"/>
                    </a:lnTo>
                    <a:lnTo>
                      <a:pt x="1923" y="374"/>
                    </a:lnTo>
                    <a:lnTo>
                      <a:pt x="1927" y="373"/>
                    </a:lnTo>
                    <a:lnTo>
                      <a:pt x="1931" y="370"/>
                    </a:lnTo>
                    <a:lnTo>
                      <a:pt x="1936" y="367"/>
                    </a:lnTo>
                    <a:lnTo>
                      <a:pt x="1937" y="363"/>
                    </a:lnTo>
                    <a:lnTo>
                      <a:pt x="1910" y="364"/>
                    </a:lnTo>
                    <a:lnTo>
                      <a:pt x="1900" y="367"/>
                    </a:lnTo>
                    <a:lnTo>
                      <a:pt x="1894" y="367"/>
                    </a:lnTo>
                    <a:lnTo>
                      <a:pt x="1891" y="364"/>
                    </a:lnTo>
                    <a:lnTo>
                      <a:pt x="1894" y="364"/>
                    </a:lnTo>
                    <a:lnTo>
                      <a:pt x="1901" y="361"/>
                    </a:lnTo>
                    <a:lnTo>
                      <a:pt x="1904" y="360"/>
                    </a:lnTo>
                    <a:lnTo>
                      <a:pt x="1908" y="360"/>
                    </a:lnTo>
                    <a:lnTo>
                      <a:pt x="1923" y="361"/>
                    </a:lnTo>
                    <a:lnTo>
                      <a:pt x="1926" y="361"/>
                    </a:lnTo>
                    <a:lnTo>
                      <a:pt x="1927" y="361"/>
                    </a:lnTo>
                    <a:lnTo>
                      <a:pt x="1928" y="360"/>
                    </a:lnTo>
                    <a:lnTo>
                      <a:pt x="1927" y="358"/>
                    </a:lnTo>
                    <a:lnTo>
                      <a:pt x="1924" y="357"/>
                    </a:lnTo>
                    <a:lnTo>
                      <a:pt x="1911" y="354"/>
                    </a:lnTo>
                    <a:lnTo>
                      <a:pt x="1878" y="350"/>
                    </a:lnTo>
                    <a:lnTo>
                      <a:pt x="1852" y="348"/>
                    </a:lnTo>
                    <a:lnTo>
                      <a:pt x="1844" y="345"/>
                    </a:lnTo>
                    <a:lnTo>
                      <a:pt x="1837" y="342"/>
                    </a:lnTo>
                    <a:lnTo>
                      <a:pt x="1834" y="341"/>
                    </a:lnTo>
                    <a:lnTo>
                      <a:pt x="1829" y="342"/>
                    </a:lnTo>
                    <a:lnTo>
                      <a:pt x="1829" y="344"/>
                    </a:lnTo>
                    <a:lnTo>
                      <a:pt x="1829" y="344"/>
                    </a:lnTo>
                    <a:lnTo>
                      <a:pt x="1832" y="347"/>
                    </a:lnTo>
                    <a:lnTo>
                      <a:pt x="1834" y="348"/>
                    </a:lnTo>
                    <a:lnTo>
                      <a:pt x="1835" y="351"/>
                    </a:lnTo>
                    <a:lnTo>
                      <a:pt x="1837" y="353"/>
                    </a:lnTo>
                    <a:lnTo>
                      <a:pt x="1829" y="355"/>
                    </a:lnTo>
                    <a:lnTo>
                      <a:pt x="1827" y="355"/>
                    </a:lnTo>
                    <a:lnTo>
                      <a:pt x="1824" y="357"/>
                    </a:lnTo>
                    <a:lnTo>
                      <a:pt x="1815" y="355"/>
                    </a:lnTo>
                    <a:lnTo>
                      <a:pt x="1811" y="357"/>
                    </a:lnTo>
                    <a:lnTo>
                      <a:pt x="1808" y="358"/>
                    </a:lnTo>
                    <a:lnTo>
                      <a:pt x="1805" y="358"/>
                    </a:lnTo>
                    <a:lnTo>
                      <a:pt x="1804" y="360"/>
                    </a:lnTo>
                    <a:lnTo>
                      <a:pt x="1802" y="363"/>
                    </a:lnTo>
                    <a:lnTo>
                      <a:pt x="1802" y="364"/>
                    </a:lnTo>
                    <a:lnTo>
                      <a:pt x="1802" y="365"/>
                    </a:lnTo>
                    <a:lnTo>
                      <a:pt x="1804" y="367"/>
                    </a:lnTo>
                    <a:lnTo>
                      <a:pt x="1805" y="367"/>
                    </a:lnTo>
                    <a:lnTo>
                      <a:pt x="1806" y="367"/>
                    </a:lnTo>
                    <a:lnTo>
                      <a:pt x="1814" y="365"/>
                    </a:lnTo>
                    <a:lnTo>
                      <a:pt x="1816" y="365"/>
                    </a:lnTo>
                    <a:lnTo>
                      <a:pt x="1821" y="367"/>
                    </a:lnTo>
                    <a:lnTo>
                      <a:pt x="1816" y="367"/>
                    </a:lnTo>
                    <a:lnTo>
                      <a:pt x="1815" y="368"/>
                    </a:lnTo>
                    <a:lnTo>
                      <a:pt x="1814" y="370"/>
                    </a:lnTo>
                    <a:lnTo>
                      <a:pt x="1811" y="373"/>
                    </a:lnTo>
                    <a:lnTo>
                      <a:pt x="1808" y="373"/>
                    </a:lnTo>
                    <a:lnTo>
                      <a:pt x="1806" y="374"/>
                    </a:lnTo>
                    <a:lnTo>
                      <a:pt x="1808" y="374"/>
                    </a:lnTo>
                    <a:lnTo>
                      <a:pt x="1809" y="374"/>
                    </a:lnTo>
                    <a:lnTo>
                      <a:pt x="1811" y="375"/>
                    </a:lnTo>
                    <a:lnTo>
                      <a:pt x="1812" y="375"/>
                    </a:lnTo>
                    <a:lnTo>
                      <a:pt x="1812" y="377"/>
                    </a:lnTo>
                    <a:lnTo>
                      <a:pt x="1812" y="377"/>
                    </a:lnTo>
                    <a:lnTo>
                      <a:pt x="1812" y="380"/>
                    </a:lnTo>
                    <a:lnTo>
                      <a:pt x="1814" y="381"/>
                    </a:lnTo>
                    <a:lnTo>
                      <a:pt x="1816" y="386"/>
                    </a:lnTo>
                    <a:lnTo>
                      <a:pt x="1816" y="388"/>
                    </a:lnTo>
                    <a:lnTo>
                      <a:pt x="1806" y="390"/>
                    </a:lnTo>
                    <a:lnTo>
                      <a:pt x="1804" y="390"/>
                    </a:lnTo>
                    <a:lnTo>
                      <a:pt x="1801" y="387"/>
                    </a:lnTo>
                    <a:lnTo>
                      <a:pt x="1798" y="386"/>
                    </a:lnTo>
                    <a:lnTo>
                      <a:pt x="1796" y="384"/>
                    </a:lnTo>
                    <a:lnTo>
                      <a:pt x="1793" y="384"/>
                    </a:lnTo>
                    <a:lnTo>
                      <a:pt x="1792" y="384"/>
                    </a:lnTo>
                    <a:lnTo>
                      <a:pt x="1792" y="386"/>
                    </a:lnTo>
                    <a:lnTo>
                      <a:pt x="1791" y="386"/>
                    </a:lnTo>
                    <a:lnTo>
                      <a:pt x="1791" y="386"/>
                    </a:lnTo>
                    <a:lnTo>
                      <a:pt x="1788" y="384"/>
                    </a:lnTo>
                    <a:lnTo>
                      <a:pt x="1788" y="384"/>
                    </a:lnTo>
                    <a:lnTo>
                      <a:pt x="1786" y="384"/>
                    </a:lnTo>
                    <a:lnTo>
                      <a:pt x="1785" y="386"/>
                    </a:lnTo>
                    <a:lnTo>
                      <a:pt x="1783" y="386"/>
                    </a:lnTo>
                    <a:lnTo>
                      <a:pt x="1783" y="387"/>
                    </a:lnTo>
                    <a:lnTo>
                      <a:pt x="1781" y="390"/>
                    </a:lnTo>
                    <a:lnTo>
                      <a:pt x="1782" y="391"/>
                    </a:lnTo>
                    <a:lnTo>
                      <a:pt x="1785" y="391"/>
                    </a:lnTo>
                    <a:lnTo>
                      <a:pt x="1788" y="393"/>
                    </a:lnTo>
                    <a:lnTo>
                      <a:pt x="1785" y="393"/>
                    </a:lnTo>
                    <a:lnTo>
                      <a:pt x="1782" y="396"/>
                    </a:lnTo>
                    <a:lnTo>
                      <a:pt x="1779" y="396"/>
                    </a:lnTo>
                    <a:lnTo>
                      <a:pt x="1781" y="397"/>
                    </a:lnTo>
                    <a:lnTo>
                      <a:pt x="1782" y="398"/>
                    </a:lnTo>
                    <a:lnTo>
                      <a:pt x="1778" y="397"/>
                    </a:lnTo>
                    <a:lnTo>
                      <a:pt x="1773" y="396"/>
                    </a:lnTo>
                    <a:lnTo>
                      <a:pt x="1771" y="393"/>
                    </a:lnTo>
                    <a:lnTo>
                      <a:pt x="1766" y="390"/>
                    </a:lnTo>
                    <a:lnTo>
                      <a:pt x="1756" y="386"/>
                    </a:lnTo>
                    <a:lnTo>
                      <a:pt x="1750" y="384"/>
                    </a:lnTo>
                    <a:lnTo>
                      <a:pt x="1746" y="384"/>
                    </a:lnTo>
                    <a:lnTo>
                      <a:pt x="1743" y="384"/>
                    </a:lnTo>
                    <a:lnTo>
                      <a:pt x="1740" y="384"/>
                    </a:lnTo>
                    <a:lnTo>
                      <a:pt x="1736" y="386"/>
                    </a:lnTo>
                    <a:lnTo>
                      <a:pt x="1729" y="387"/>
                    </a:lnTo>
                    <a:lnTo>
                      <a:pt x="1726" y="388"/>
                    </a:lnTo>
                    <a:lnTo>
                      <a:pt x="1725" y="390"/>
                    </a:lnTo>
                    <a:lnTo>
                      <a:pt x="1725" y="390"/>
                    </a:lnTo>
                    <a:lnTo>
                      <a:pt x="1723" y="391"/>
                    </a:lnTo>
                    <a:lnTo>
                      <a:pt x="1722" y="391"/>
                    </a:lnTo>
                    <a:lnTo>
                      <a:pt x="1713" y="391"/>
                    </a:lnTo>
                    <a:lnTo>
                      <a:pt x="1709" y="390"/>
                    </a:lnTo>
                    <a:lnTo>
                      <a:pt x="1706" y="390"/>
                    </a:lnTo>
                    <a:lnTo>
                      <a:pt x="1702" y="387"/>
                    </a:lnTo>
                    <a:lnTo>
                      <a:pt x="1697" y="386"/>
                    </a:lnTo>
                    <a:lnTo>
                      <a:pt x="1693" y="381"/>
                    </a:lnTo>
                    <a:lnTo>
                      <a:pt x="1690" y="378"/>
                    </a:lnTo>
                    <a:lnTo>
                      <a:pt x="1689" y="377"/>
                    </a:lnTo>
                    <a:lnTo>
                      <a:pt x="1687" y="375"/>
                    </a:lnTo>
                    <a:lnTo>
                      <a:pt x="1686" y="375"/>
                    </a:lnTo>
                    <a:lnTo>
                      <a:pt x="1684" y="378"/>
                    </a:lnTo>
                    <a:lnTo>
                      <a:pt x="1683" y="380"/>
                    </a:lnTo>
                    <a:lnTo>
                      <a:pt x="1681" y="383"/>
                    </a:lnTo>
                    <a:lnTo>
                      <a:pt x="1679" y="388"/>
                    </a:lnTo>
                    <a:lnTo>
                      <a:pt x="1677" y="393"/>
                    </a:lnTo>
                    <a:lnTo>
                      <a:pt x="1677" y="393"/>
                    </a:lnTo>
                    <a:lnTo>
                      <a:pt x="1677" y="394"/>
                    </a:lnTo>
                    <a:lnTo>
                      <a:pt x="1677" y="394"/>
                    </a:lnTo>
                    <a:lnTo>
                      <a:pt x="1677" y="396"/>
                    </a:lnTo>
                    <a:lnTo>
                      <a:pt x="1676" y="396"/>
                    </a:lnTo>
                    <a:lnTo>
                      <a:pt x="1671" y="403"/>
                    </a:lnTo>
                    <a:lnTo>
                      <a:pt x="1667" y="407"/>
                    </a:lnTo>
                    <a:lnTo>
                      <a:pt x="1666" y="409"/>
                    </a:lnTo>
                    <a:lnTo>
                      <a:pt x="1664" y="410"/>
                    </a:lnTo>
                    <a:lnTo>
                      <a:pt x="1661" y="410"/>
                    </a:lnTo>
                    <a:lnTo>
                      <a:pt x="1659" y="410"/>
                    </a:lnTo>
                    <a:lnTo>
                      <a:pt x="1657" y="409"/>
                    </a:lnTo>
                    <a:lnTo>
                      <a:pt x="1657" y="406"/>
                    </a:lnTo>
                    <a:lnTo>
                      <a:pt x="1656" y="404"/>
                    </a:lnTo>
                    <a:lnTo>
                      <a:pt x="1654" y="404"/>
                    </a:lnTo>
                    <a:lnTo>
                      <a:pt x="1653" y="406"/>
                    </a:lnTo>
                    <a:lnTo>
                      <a:pt x="1651" y="406"/>
                    </a:lnTo>
                    <a:lnTo>
                      <a:pt x="1651" y="406"/>
                    </a:lnTo>
                    <a:lnTo>
                      <a:pt x="1650" y="406"/>
                    </a:lnTo>
                    <a:lnTo>
                      <a:pt x="1648" y="406"/>
                    </a:lnTo>
                    <a:lnTo>
                      <a:pt x="1647" y="404"/>
                    </a:lnTo>
                    <a:lnTo>
                      <a:pt x="1646" y="404"/>
                    </a:lnTo>
                    <a:lnTo>
                      <a:pt x="1643" y="401"/>
                    </a:lnTo>
                    <a:lnTo>
                      <a:pt x="1643" y="401"/>
                    </a:lnTo>
                    <a:lnTo>
                      <a:pt x="1641" y="400"/>
                    </a:lnTo>
                    <a:lnTo>
                      <a:pt x="1638" y="400"/>
                    </a:lnTo>
                    <a:lnTo>
                      <a:pt x="1637" y="398"/>
                    </a:lnTo>
                    <a:lnTo>
                      <a:pt x="1636" y="397"/>
                    </a:lnTo>
                    <a:lnTo>
                      <a:pt x="1628" y="387"/>
                    </a:lnTo>
                    <a:lnTo>
                      <a:pt x="1627" y="386"/>
                    </a:lnTo>
                    <a:lnTo>
                      <a:pt x="1625" y="384"/>
                    </a:lnTo>
                    <a:lnTo>
                      <a:pt x="1624" y="384"/>
                    </a:lnTo>
                    <a:lnTo>
                      <a:pt x="1623" y="384"/>
                    </a:lnTo>
                    <a:lnTo>
                      <a:pt x="1623" y="384"/>
                    </a:lnTo>
                    <a:lnTo>
                      <a:pt x="1621" y="383"/>
                    </a:lnTo>
                    <a:lnTo>
                      <a:pt x="1624" y="381"/>
                    </a:lnTo>
                    <a:lnTo>
                      <a:pt x="1627" y="380"/>
                    </a:lnTo>
                    <a:lnTo>
                      <a:pt x="1630" y="380"/>
                    </a:lnTo>
                    <a:lnTo>
                      <a:pt x="1633" y="380"/>
                    </a:lnTo>
                    <a:lnTo>
                      <a:pt x="1628" y="375"/>
                    </a:lnTo>
                    <a:lnTo>
                      <a:pt x="1625" y="374"/>
                    </a:lnTo>
                    <a:lnTo>
                      <a:pt x="1627" y="375"/>
                    </a:lnTo>
                    <a:lnTo>
                      <a:pt x="1625" y="378"/>
                    </a:lnTo>
                    <a:lnTo>
                      <a:pt x="1624" y="380"/>
                    </a:lnTo>
                    <a:lnTo>
                      <a:pt x="1623" y="380"/>
                    </a:lnTo>
                    <a:lnTo>
                      <a:pt x="1620" y="378"/>
                    </a:lnTo>
                    <a:lnTo>
                      <a:pt x="1614" y="371"/>
                    </a:lnTo>
                    <a:lnTo>
                      <a:pt x="1604" y="363"/>
                    </a:lnTo>
                    <a:lnTo>
                      <a:pt x="1601" y="360"/>
                    </a:lnTo>
                    <a:lnTo>
                      <a:pt x="1604" y="360"/>
                    </a:lnTo>
                    <a:lnTo>
                      <a:pt x="1608" y="361"/>
                    </a:lnTo>
                    <a:lnTo>
                      <a:pt x="1614" y="364"/>
                    </a:lnTo>
                    <a:lnTo>
                      <a:pt x="1621" y="368"/>
                    </a:lnTo>
                    <a:lnTo>
                      <a:pt x="1624" y="370"/>
                    </a:lnTo>
                    <a:lnTo>
                      <a:pt x="1628" y="370"/>
                    </a:lnTo>
                    <a:lnTo>
                      <a:pt x="1631" y="367"/>
                    </a:lnTo>
                    <a:lnTo>
                      <a:pt x="1631" y="364"/>
                    </a:lnTo>
                    <a:lnTo>
                      <a:pt x="1631" y="361"/>
                    </a:lnTo>
                    <a:lnTo>
                      <a:pt x="1628" y="358"/>
                    </a:lnTo>
                    <a:lnTo>
                      <a:pt x="1625" y="357"/>
                    </a:lnTo>
                    <a:lnTo>
                      <a:pt x="1617" y="357"/>
                    </a:lnTo>
                    <a:lnTo>
                      <a:pt x="1614" y="355"/>
                    </a:lnTo>
                    <a:lnTo>
                      <a:pt x="1621" y="353"/>
                    </a:lnTo>
                    <a:lnTo>
                      <a:pt x="1625" y="351"/>
                    </a:lnTo>
                    <a:lnTo>
                      <a:pt x="1628" y="350"/>
                    </a:lnTo>
                    <a:lnTo>
                      <a:pt x="1628" y="345"/>
                    </a:lnTo>
                    <a:lnTo>
                      <a:pt x="1624" y="344"/>
                    </a:lnTo>
                    <a:lnTo>
                      <a:pt x="1617" y="342"/>
                    </a:lnTo>
                    <a:lnTo>
                      <a:pt x="1623" y="338"/>
                    </a:lnTo>
                    <a:lnTo>
                      <a:pt x="1624" y="337"/>
                    </a:lnTo>
                    <a:lnTo>
                      <a:pt x="1625" y="334"/>
                    </a:lnTo>
                    <a:lnTo>
                      <a:pt x="1623" y="334"/>
                    </a:lnTo>
                    <a:lnTo>
                      <a:pt x="1623" y="332"/>
                    </a:lnTo>
                    <a:lnTo>
                      <a:pt x="1621" y="331"/>
                    </a:lnTo>
                    <a:lnTo>
                      <a:pt x="1621" y="330"/>
                    </a:lnTo>
                    <a:lnTo>
                      <a:pt x="1618" y="328"/>
                    </a:lnTo>
                    <a:lnTo>
                      <a:pt x="1615" y="327"/>
                    </a:lnTo>
                    <a:lnTo>
                      <a:pt x="1611" y="327"/>
                    </a:lnTo>
                    <a:lnTo>
                      <a:pt x="1611" y="324"/>
                    </a:lnTo>
                    <a:lnTo>
                      <a:pt x="1608" y="321"/>
                    </a:lnTo>
                    <a:lnTo>
                      <a:pt x="1605" y="319"/>
                    </a:lnTo>
                    <a:lnTo>
                      <a:pt x="1601" y="318"/>
                    </a:lnTo>
                    <a:lnTo>
                      <a:pt x="1594" y="317"/>
                    </a:lnTo>
                    <a:lnTo>
                      <a:pt x="1591" y="317"/>
                    </a:lnTo>
                    <a:lnTo>
                      <a:pt x="1590" y="318"/>
                    </a:lnTo>
                    <a:lnTo>
                      <a:pt x="1588" y="318"/>
                    </a:lnTo>
                    <a:lnTo>
                      <a:pt x="1584" y="321"/>
                    </a:lnTo>
                    <a:lnTo>
                      <a:pt x="1582" y="322"/>
                    </a:lnTo>
                    <a:lnTo>
                      <a:pt x="1581" y="322"/>
                    </a:lnTo>
                    <a:lnTo>
                      <a:pt x="1580" y="322"/>
                    </a:lnTo>
                    <a:lnTo>
                      <a:pt x="1577" y="321"/>
                    </a:lnTo>
                    <a:lnTo>
                      <a:pt x="1577" y="321"/>
                    </a:lnTo>
                    <a:lnTo>
                      <a:pt x="1577" y="321"/>
                    </a:lnTo>
                    <a:lnTo>
                      <a:pt x="1577" y="319"/>
                    </a:lnTo>
                    <a:lnTo>
                      <a:pt x="1577" y="319"/>
                    </a:lnTo>
                    <a:lnTo>
                      <a:pt x="1577" y="319"/>
                    </a:lnTo>
                    <a:lnTo>
                      <a:pt x="1577" y="318"/>
                    </a:lnTo>
                    <a:lnTo>
                      <a:pt x="1575" y="318"/>
                    </a:lnTo>
                    <a:lnTo>
                      <a:pt x="1575" y="318"/>
                    </a:lnTo>
                    <a:lnTo>
                      <a:pt x="1571" y="318"/>
                    </a:lnTo>
                    <a:lnTo>
                      <a:pt x="1567" y="319"/>
                    </a:lnTo>
                    <a:lnTo>
                      <a:pt x="1564" y="319"/>
                    </a:lnTo>
                    <a:lnTo>
                      <a:pt x="1562" y="317"/>
                    </a:lnTo>
                    <a:lnTo>
                      <a:pt x="1558" y="314"/>
                    </a:lnTo>
                    <a:lnTo>
                      <a:pt x="1551" y="312"/>
                    </a:lnTo>
                    <a:lnTo>
                      <a:pt x="1546" y="311"/>
                    </a:lnTo>
                    <a:lnTo>
                      <a:pt x="1545" y="311"/>
                    </a:lnTo>
                    <a:lnTo>
                      <a:pt x="1542" y="311"/>
                    </a:lnTo>
                    <a:lnTo>
                      <a:pt x="1541" y="311"/>
                    </a:lnTo>
                    <a:lnTo>
                      <a:pt x="1535" y="312"/>
                    </a:lnTo>
                    <a:lnTo>
                      <a:pt x="1534" y="312"/>
                    </a:lnTo>
                    <a:lnTo>
                      <a:pt x="1534" y="314"/>
                    </a:lnTo>
                    <a:lnTo>
                      <a:pt x="1532" y="314"/>
                    </a:lnTo>
                    <a:lnTo>
                      <a:pt x="1532" y="314"/>
                    </a:lnTo>
                    <a:lnTo>
                      <a:pt x="1531" y="314"/>
                    </a:lnTo>
                    <a:lnTo>
                      <a:pt x="1529" y="314"/>
                    </a:lnTo>
                    <a:lnTo>
                      <a:pt x="1528" y="314"/>
                    </a:lnTo>
                    <a:lnTo>
                      <a:pt x="1526" y="314"/>
                    </a:lnTo>
                    <a:lnTo>
                      <a:pt x="1525" y="315"/>
                    </a:lnTo>
                    <a:lnTo>
                      <a:pt x="1524" y="318"/>
                    </a:lnTo>
                    <a:lnTo>
                      <a:pt x="1524" y="319"/>
                    </a:lnTo>
                    <a:lnTo>
                      <a:pt x="1525" y="322"/>
                    </a:lnTo>
                    <a:lnTo>
                      <a:pt x="1526" y="327"/>
                    </a:lnTo>
                    <a:lnTo>
                      <a:pt x="1529" y="330"/>
                    </a:lnTo>
                    <a:lnTo>
                      <a:pt x="1529" y="330"/>
                    </a:lnTo>
                    <a:lnTo>
                      <a:pt x="1529" y="330"/>
                    </a:lnTo>
                    <a:lnTo>
                      <a:pt x="1528" y="331"/>
                    </a:lnTo>
                    <a:lnTo>
                      <a:pt x="1528" y="331"/>
                    </a:lnTo>
                    <a:lnTo>
                      <a:pt x="1528" y="331"/>
                    </a:lnTo>
                    <a:lnTo>
                      <a:pt x="1525" y="335"/>
                    </a:lnTo>
                    <a:lnTo>
                      <a:pt x="1525" y="337"/>
                    </a:lnTo>
                    <a:lnTo>
                      <a:pt x="1524" y="338"/>
                    </a:lnTo>
                    <a:lnTo>
                      <a:pt x="1521" y="340"/>
                    </a:lnTo>
                    <a:lnTo>
                      <a:pt x="1519" y="340"/>
                    </a:lnTo>
                    <a:lnTo>
                      <a:pt x="1512" y="337"/>
                    </a:lnTo>
                    <a:lnTo>
                      <a:pt x="1512" y="337"/>
                    </a:lnTo>
                    <a:lnTo>
                      <a:pt x="1511" y="337"/>
                    </a:lnTo>
                    <a:lnTo>
                      <a:pt x="1509" y="338"/>
                    </a:lnTo>
                    <a:lnTo>
                      <a:pt x="1511" y="340"/>
                    </a:lnTo>
                    <a:lnTo>
                      <a:pt x="1512" y="340"/>
                    </a:lnTo>
                    <a:lnTo>
                      <a:pt x="1513" y="340"/>
                    </a:lnTo>
                    <a:lnTo>
                      <a:pt x="1513" y="341"/>
                    </a:lnTo>
                    <a:lnTo>
                      <a:pt x="1513" y="342"/>
                    </a:lnTo>
                    <a:lnTo>
                      <a:pt x="1512" y="342"/>
                    </a:lnTo>
                    <a:lnTo>
                      <a:pt x="1511" y="342"/>
                    </a:lnTo>
                    <a:lnTo>
                      <a:pt x="1508" y="342"/>
                    </a:lnTo>
                    <a:lnTo>
                      <a:pt x="1505" y="342"/>
                    </a:lnTo>
                    <a:lnTo>
                      <a:pt x="1503" y="342"/>
                    </a:lnTo>
                    <a:lnTo>
                      <a:pt x="1501" y="341"/>
                    </a:lnTo>
                    <a:lnTo>
                      <a:pt x="1499" y="341"/>
                    </a:lnTo>
                    <a:lnTo>
                      <a:pt x="1498" y="340"/>
                    </a:lnTo>
                    <a:lnTo>
                      <a:pt x="1498" y="340"/>
                    </a:lnTo>
                    <a:lnTo>
                      <a:pt x="1496" y="338"/>
                    </a:lnTo>
                    <a:lnTo>
                      <a:pt x="1490" y="340"/>
                    </a:lnTo>
                    <a:lnTo>
                      <a:pt x="1486" y="340"/>
                    </a:lnTo>
                    <a:lnTo>
                      <a:pt x="1483" y="340"/>
                    </a:lnTo>
                    <a:lnTo>
                      <a:pt x="1480" y="340"/>
                    </a:lnTo>
                    <a:lnTo>
                      <a:pt x="1478" y="338"/>
                    </a:lnTo>
                    <a:lnTo>
                      <a:pt x="1475" y="338"/>
                    </a:lnTo>
                    <a:lnTo>
                      <a:pt x="1466" y="340"/>
                    </a:lnTo>
                    <a:lnTo>
                      <a:pt x="1463" y="338"/>
                    </a:lnTo>
                    <a:lnTo>
                      <a:pt x="1460" y="338"/>
                    </a:lnTo>
                    <a:lnTo>
                      <a:pt x="1455" y="335"/>
                    </a:lnTo>
                    <a:lnTo>
                      <a:pt x="1446" y="332"/>
                    </a:lnTo>
                    <a:lnTo>
                      <a:pt x="1440" y="330"/>
                    </a:lnTo>
                    <a:lnTo>
                      <a:pt x="1439" y="328"/>
                    </a:lnTo>
                    <a:lnTo>
                      <a:pt x="1437" y="325"/>
                    </a:lnTo>
                    <a:lnTo>
                      <a:pt x="1437" y="322"/>
                    </a:lnTo>
                    <a:lnTo>
                      <a:pt x="1439" y="319"/>
                    </a:lnTo>
                    <a:lnTo>
                      <a:pt x="1442" y="319"/>
                    </a:lnTo>
                    <a:lnTo>
                      <a:pt x="1447" y="318"/>
                    </a:lnTo>
                    <a:lnTo>
                      <a:pt x="1443" y="317"/>
                    </a:lnTo>
                    <a:lnTo>
                      <a:pt x="1436" y="315"/>
                    </a:lnTo>
                    <a:lnTo>
                      <a:pt x="1424" y="315"/>
                    </a:lnTo>
                    <a:lnTo>
                      <a:pt x="1403" y="314"/>
                    </a:lnTo>
                    <a:lnTo>
                      <a:pt x="1387" y="312"/>
                    </a:lnTo>
                    <a:lnTo>
                      <a:pt x="1384" y="312"/>
                    </a:lnTo>
                    <a:lnTo>
                      <a:pt x="1376" y="315"/>
                    </a:lnTo>
                    <a:lnTo>
                      <a:pt x="1373" y="315"/>
                    </a:lnTo>
                    <a:lnTo>
                      <a:pt x="1366" y="315"/>
                    </a:lnTo>
                    <a:lnTo>
                      <a:pt x="1363" y="315"/>
                    </a:lnTo>
                    <a:lnTo>
                      <a:pt x="1351" y="318"/>
                    </a:lnTo>
                    <a:lnTo>
                      <a:pt x="1353" y="319"/>
                    </a:lnTo>
                    <a:lnTo>
                      <a:pt x="1354" y="321"/>
                    </a:lnTo>
                    <a:lnTo>
                      <a:pt x="1358" y="324"/>
                    </a:lnTo>
                    <a:lnTo>
                      <a:pt x="1355" y="325"/>
                    </a:lnTo>
                    <a:lnTo>
                      <a:pt x="1353" y="327"/>
                    </a:lnTo>
                    <a:lnTo>
                      <a:pt x="1353" y="328"/>
                    </a:lnTo>
                    <a:lnTo>
                      <a:pt x="1353" y="330"/>
                    </a:lnTo>
                    <a:lnTo>
                      <a:pt x="1351" y="335"/>
                    </a:lnTo>
                    <a:lnTo>
                      <a:pt x="1351" y="337"/>
                    </a:lnTo>
                    <a:lnTo>
                      <a:pt x="1347" y="344"/>
                    </a:lnTo>
                    <a:lnTo>
                      <a:pt x="1347" y="345"/>
                    </a:lnTo>
                    <a:lnTo>
                      <a:pt x="1348" y="348"/>
                    </a:lnTo>
                    <a:lnTo>
                      <a:pt x="1350" y="348"/>
                    </a:lnTo>
                    <a:lnTo>
                      <a:pt x="1355" y="351"/>
                    </a:lnTo>
                    <a:lnTo>
                      <a:pt x="1353" y="351"/>
                    </a:lnTo>
                    <a:lnTo>
                      <a:pt x="1350" y="351"/>
                    </a:lnTo>
                    <a:lnTo>
                      <a:pt x="1347" y="350"/>
                    </a:lnTo>
                    <a:lnTo>
                      <a:pt x="1345" y="348"/>
                    </a:lnTo>
                    <a:lnTo>
                      <a:pt x="1345" y="345"/>
                    </a:lnTo>
                    <a:lnTo>
                      <a:pt x="1345" y="344"/>
                    </a:lnTo>
                    <a:lnTo>
                      <a:pt x="1350" y="340"/>
                    </a:lnTo>
                    <a:lnTo>
                      <a:pt x="1350" y="337"/>
                    </a:lnTo>
                    <a:lnTo>
                      <a:pt x="1351" y="335"/>
                    </a:lnTo>
                    <a:lnTo>
                      <a:pt x="1351" y="325"/>
                    </a:lnTo>
                    <a:lnTo>
                      <a:pt x="1351" y="324"/>
                    </a:lnTo>
                    <a:lnTo>
                      <a:pt x="1351" y="322"/>
                    </a:lnTo>
                    <a:lnTo>
                      <a:pt x="1350" y="322"/>
                    </a:lnTo>
                    <a:lnTo>
                      <a:pt x="1347" y="321"/>
                    </a:lnTo>
                    <a:lnTo>
                      <a:pt x="1345" y="319"/>
                    </a:lnTo>
                    <a:lnTo>
                      <a:pt x="1348" y="317"/>
                    </a:lnTo>
                    <a:lnTo>
                      <a:pt x="1348" y="315"/>
                    </a:lnTo>
                    <a:lnTo>
                      <a:pt x="1348" y="314"/>
                    </a:lnTo>
                    <a:lnTo>
                      <a:pt x="1348" y="311"/>
                    </a:lnTo>
                    <a:lnTo>
                      <a:pt x="1347" y="309"/>
                    </a:lnTo>
                    <a:lnTo>
                      <a:pt x="1344" y="307"/>
                    </a:lnTo>
                    <a:lnTo>
                      <a:pt x="1343" y="305"/>
                    </a:lnTo>
                    <a:lnTo>
                      <a:pt x="1340" y="304"/>
                    </a:lnTo>
                    <a:lnTo>
                      <a:pt x="1341" y="307"/>
                    </a:lnTo>
                    <a:lnTo>
                      <a:pt x="1341" y="308"/>
                    </a:lnTo>
                    <a:lnTo>
                      <a:pt x="1341" y="309"/>
                    </a:lnTo>
                    <a:lnTo>
                      <a:pt x="1338" y="311"/>
                    </a:lnTo>
                    <a:lnTo>
                      <a:pt x="1337" y="312"/>
                    </a:lnTo>
                    <a:lnTo>
                      <a:pt x="1334" y="312"/>
                    </a:lnTo>
                    <a:lnTo>
                      <a:pt x="1328" y="312"/>
                    </a:lnTo>
                    <a:lnTo>
                      <a:pt x="1324" y="311"/>
                    </a:lnTo>
                    <a:lnTo>
                      <a:pt x="1318" y="311"/>
                    </a:lnTo>
                    <a:lnTo>
                      <a:pt x="1314" y="308"/>
                    </a:lnTo>
                    <a:lnTo>
                      <a:pt x="1311" y="304"/>
                    </a:lnTo>
                    <a:lnTo>
                      <a:pt x="1315" y="302"/>
                    </a:lnTo>
                    <a:lnTo>
                      <a:pt x="1317" y="302"/>
                    </a:lnTo>
                    <a:lnTo>
                      <a:pt x="1314" y="301"/>
                    </a:lnTo>
                    <a:lnTo>
                      <a:pt x="1311" y="301"/>
                    </a:lnTo>
                    <a:lnTo>
                      <a:pt x="1310" y="301"/>
                    </a:lnTo>
                    <a:lnTo>
                      <a:pt x="1310" y="302"/>
                    </a:lnTo>
                    <a:lnTo>
                      <a:pt x="1308" y="304"/>
                    </a:lnTo>
                    <a:lnTo>
                      <a:pt x="1308" y="305"/>
                    </a:lnTo>
                    <a:lnTo>
                      <a:pt x="1308" y="305"/>
                    </a:lnTo>
                    <a:lnTo>
                      <a:pt x="1307" y="305"/>
                    </a:lnTo>
                    <a:lnTo>
                      <a:pt x="1301" y="304"/>
                    </a:lnTo>
                    <a:lnTo>
                      <a:pt x="1297" y="304"/>
                    </a:lnTo>
                    <a:lnTo>
                      <a:pt x="1292" y="304"/>
                    </a:lnTo>
                    <a:lnTo>
                      <a:pt x="1288" y="305"/>
                    </a:lnTo>
                    <a:lnTo>
                      <a:pt x="1285" y="308"/>
                    </a:lnTo>
                    <a:lnTo>
                      <a:pt x="1285" y="309"/>
                    </a:lnTo>
                    <a:lnTo>
                      <a:pt x="1287" y="311"/>
                    </a:lnTo>
                    <a:lnTo>
                      <a:pt x="1291" y="312"/>
                    </a:lnTo>
                    <a:lnTo>
                      <a:pt x="1294" y="311"/>
                    </a:lnTo>
                    <a:lnTo>
                      <a:pt x="1298" y="311"/>
                    </a:lnTo>
                    <a:lnTo>
                      <a:pt x="1302" y="311"/>
                    </a:lnTo>
                    <a:lnTo>
                      <a:pt x="1305" y="311"/>
                    </a:lnTo>
                    <a:lnTo>
                      <a:pt x="1302" y="314"/>
                    </a:lnTo>
                    <a:lnTo>
                      <a:pt x="1288" y="318"/>
                    </a:lnTo>
                    <a:lnTo>
                      <a:pt x="1285" y="319"/>
                    </a:lnTo>
                    <a:lnTo>
                      <a:pt x="1284" y="319"/>
                    </a:lnTo>
                    <a:lnTo>
                      <a:pt x="1282" y="319"/>
                    </a:lnTo>
                    <a:lnTo>
                      <a:pt x="1279" y="319"/>
                    </a:lnTo>
                    <a:lnTo>
                      <a:pt x="1278" y="319"/>
                    </a:lnTo>
                    <a:lnTo>
                      <a:pt x="1276" y="319"/>
                    </a:lnTo>
                    <a:lnTo>
                      <a:pt x="1274" y="321"/>
                    </a:lnTo>
                    <a:lnTo>
                      <a:pt x="1272" y="322"/>
                    </a:lnTo>
                    <a:lnTo>
                      <a:pt x="1259" y="327"/>
                    </a:lnTo>
                    <a:lnTo>
                      <a:pt x="1254" y="328"/>
                    </a:lnTo>
                    <a:lnTo>
                      <a:pt x="1246" y="331"/>
                    </a:lnTo>
                    <a:lnTo>
                      <a:pt x="1233" y="331"/>
                    </a:lnTo>
                    <a:lnTo>
                      <a:pt x="1226" y="332"/>
                    </a:lnTo>
                    <a:lnTo>
                      <a:pt x="1223" y="335"/>
                    </a:lnTo>
                    <a:lnTo>
                      <a:pt x="1220" y="340"/>
                    </a:lnTo>
                    <a:lnTo>
                      <a:pt x="1218" y="342"/>
                    </a:lnTo>
                    <a:lnTo>
                      <a:pt x="1215" y="344"/>
                    </a:lnTo>
                    <a:lnTo>
                      <a:pt x="1212" y="345"/>
                    </a:lnTo>
                    <a:lnTo>
                      <a:pt x="1208" y="345"/>
                    </a:lnTo>
                    <a:lnTo>
                      <a:pt x="1205" y="347"/>
                    </a:lnTo>
                    <a:lnTo>
                      <a:pt x="1209" y="342"/>
                    </a:lnTo>
                    <a:lnTo>
                      <a:pt x="1212" y="341"/>
                    </a:lnTo>
                    <a:lnTo>
                      <a:pt x="1213" y="340"/>
                    </a:lnTo>
                    <a:lnTo>
                      <a:pt x="1216" y="335"/>
                    </a:lnTo>
                    <a:lnTo>
                      <a:pt x="1220" y="328"/>
                    </a:lnTo>
                    <a:lnTo>
                      <a:pt x="1222" y="325"/>
                    </a:lnTo>
                    <a:lnTo>
                      <a:pt x="1225" y="324"/>
                    </a:lnTo>
                    <a:lnTo>
                      <a:pt x="1231" y="324"/>
                    </a:lnTo>
                    <a:lnTo>
                      <a:pt x="1233" y="322"/>
                    </a:lnTo>
                    <a:lnTo>
                      <a:pt x="1238" y="318"/>
                    </a:lnTo>
                    <a:lnTo>
                      <a:pt x="1241" y="315"/>
                    </a:lnTo>
                    <a:lnTo>
                      <a:pt x="1243" y="315"/>
                    </a:lnTo>
                    <a:lnTo>
                      <a:pt x="1255" y="314"/>
                    </a:lnTo>
                    <a:lnTo>
                      <a:pt x="1258" y="312"/>
                    </a:lnTo>
                    <a:lnTo>
                      <a:pt x="1261" y="311"/>
                    </a:lnTo>
                    <a:lnTo>
                      <a:pt x="1271" y="304"/>
                    </a:lnTo>
                    <a:lnTo>
                      <a:pt x="1282" y="299"/>
                    </a:lnTo>
                    <a:lnTo>
                      <a:pt x="1287" y="296"/>
                    </a:lnTo>
                    <a:lnTo>
                      <a:pt x="1287" y="292"/>
                    </a:lnTo>
                    <a:lnTo>
                      <a:pt x="1292" y="291"/>
                    </a:lnTo>
                    <a:lnTo>
                      <a:pt x="1294" y="289"/>
                    </a:lnTo>
                    <a:lnTo>
                      <a:pt x="1295" y="289"/>
                    </a:lnTo>
                    <a:lnTo>
                      <a:pt x="1297" y="286"/>
                    </a:lnTo>
                    <a:lnTo>
                      <a:pt x="1298" y="286"/>
                    </a:lnTo>
                    <a:lnTo>
                      <a:pt x="1314" y="278"/>
                    </a:lnTo>
                    <a:lnTo>
                      <a:pt x="1320" y="276"/>
                    </a:lnTo>
                    <a:lnTo>
                      <a:pt x="1322" y="275"/>
                    </a:lnTo>
                    <a:lnTo>
                      <a:pt x="1340" y="263"/>
                    </a:lnTo>
                    <a:lnTo>
                      <a:pt x="1345" y="259"/>
                    </a:lnTo>
                    <a:lnTo>
                      <a:pt x="1350" y="255"/>
                    </a:lnTo>
                    <a:lnTo>
                      <a:pt x="1354" y="249"/>
                    </a:lnTo>
                    <a:lnTo>
                      <a:pt x="1355" y="245"/>
                    </a:lnTo>
                    <a:lnTo>
                      <a:pt x="1354" y="243"/>
                    </a:lnTo>
                    <a:lnTo>
                      <a:pt x="1350" y="239"/>
                    </a:lnTo>
                    <a:lnTo>
                      <a:pt x="1347" y="235"/>
                    </a:lnTo>
                    <a:lnTo>
                      <a:pt x="1345" y="235"/>
                    </a:lnTo>
                    <a:lnTo>
                      <a:pt x="1341" y="236"/>
                    </a:lnTo>
                    <a:lnTo>
                      <a:pt x="1340" y="232"/>
                    </a:lnTo>
                    <a:lnTo>
                      <a:pt x="1338" y="229"/>
                    </a:lnTo>
                    <a:lnTo>
                      <a:pt x="1337" y="226"/>
                    </a:lnTo>
                    <a:lnTo>
                      <a:pt x="1334" y="223"/>
                    </a:lnTo>
                    <a:lnTo>
                      <a:pt x="1334" y="222"/>
                    </a:lnTo>
                    <a:lnTo>
                      <a:pt x="1335" y="223"/>
                    </a:lnTo>
                    <a:lnTo>
                      <a:pt x="1338" y="225"/>
                    </a:lnTo>
                    <a:lnTo>
                      <a:pt x="1343" y="227"/>
                    </a:lnTo>
                    <a:lnTo>
                      <a:pt x="1345" y="229"/>
                    </a:lnTo>
                    <a:lnTo>
                      <a:pt x="1348" y="230"/>
                    </a:lnTo>
                    <a:lnTo>
                      <a:pt x="1350" y="232"/>
                    </a:lnTo>
                    <a:lnTo>
                      <a:pt x="1351" y="233"/>
                    </a:lnTo>
                    <a:lnTo>
                      <a:pt x="1351" y="236"/>
                    </a:lnTo>
                    <a:lnTo>
                      <a:pt x="1354" y="235"/>
                    </a:lnTo>
                    <a:lnTo>
                      <a:pt x="1355" y="229"/>
                    </a:lnTo>
                    <a:lnTo>
                      <a:pt x="1357" y="223"/>
                    </a:lnTo>
                    <a:lnTo>
                      <a:pt x="1357" y="219"/>
                    </a:lnTo>
                    <a:lnTo>
                      <a:pt x="1353" y="220"/>
                    </a:lnTo>
                    <a:lnTo>
                      <a:pt x="1351" y="216"/>
                    </a:lnTo>
                    <a:lnTo>
                      <a:pt x="1350" y="210"/>
                    </a:lnTo>
                    <a:lnTo>
                      <a:pt x="1347" y="206"/>
                    </a:lnTo>
                    <a:lnTo>
                      <a:pt x="1343" y="206"/>
                    </a:lnTo>
                    <a:lnTo>
                      <a:pt x="1344" y="207"/>
                    </a:lnTo>
                    <a:lnTo>
                      <a:pt x="1343" y="210"/>
                    </a:lnTo>
                    <a:lnTo>
                      <a:pt x="1340" y="213"/>
                    </a:lnTo>
                    <a:lnTo>
                      <a:pt x="1337" y="213"/>
                    </a:lnTo>
                    <a:lnTo>
                      <a:pt x="1338" y="212"/>
                    </a:lnTo>
                    <a:lnTo>
                      <a:pt x="1338" y="210"/>
                    </a:lnTo>
                    <a:lnTo>
                      <a:pt x="1338" y="209"/>
                    </a:lnTo>
                    <a:lnTo>
                      <a:pt x="1337" y="202"/>
                    </a:lnTo>
                    <a:lnTo>
                      <a:pt x="1335" y="200"/>
                    </a:lnTo>
                    <a:lnTo>
                      <a:pt x="1334" y="199"/>
                    </a:lnTo>
                    <a:lnTo>
                      <a:pt x="1330" y="199"/>
                    </a:lnTo>
                    <a:lnTo>
                      <a:pt x="1327" y="199"/>
                    </a:lnTo>
                    <a:lnTo>
                      <a:pt x="1324" y="200"/>
                    </a:lnTo>
                    <a:lnTo>
                      <a:pt x="1325" y="196"/>
                    </a:lnTo>
                    <a:lnTo>
                      <a:pt x="1325" y="194"/>
                    </a:lnTo>
                    <a:lnTo>
                      <a:pt x="1322" y="193"/>
                    </a:lnTo>
                    <a:lnTo>
                      <a:pt x="1315" y="189"/>
                    </a:lnTo>
                    <a:lnTo>
                      <a:pt x="1311" y="189"/>
                    </a:lnTo>
                    <a:lnTo>
                      <a:pt x="1308" y="187"/>
                    </a:lnTo>
                    <a:lnTo>
                      <a:pt x="1304" y="187"/>
                    </a:lnTo>
                    <a:lnTo>
                      <a:pt x="1301" y="187"/>
                    </a:lnTo>
                    <a:lnTo>
                      <a:pt x="1289" y="187"/>
                    </a:lnTo>
                    <a:lnTo>
                      <a:pt x="1287" y="187"/>
                    </a:lnTo>
                    <a:lnTo>
                      <a:pt x="1279" y="187"/>
                    </a:lnTo>
                    <a:lnTo>
                      <a:pt x="1261" y="187"/>
                    </a:lnTo>
                    <a:lnTo>
                      <a:pt x="1256" y="187"/>
                    </a:lnTo>
                    <a:lnTo>
                      <a:pt x="1255" y="189"/>
                    </a:lnTo>
                    <a:lnTo>
                      <a:pt x="1254" y="192"/>
                    </a:lnTo>
                    <a:lnTo>
                      <a:pt x="1251" y="193"/>
                    </a:lnTo>
                    <a:lnTo>
                      <a:pt x="1248" y="194"/>
                    </a:lnTo>
                    <a:lnTo>
                      <a:pt x="1245" y="194"/>
                    </a:lnTo>
                    <a:lnTo>
                      <a:pt x="1242" y="194"/>
                    </a:lnTo>
                    <a:lnTo>
                      <a:pt x="1238" y="194"/>
                    </a:lnTo>
                    <a:lnTo>
                      <a:pt x="1235" y="196"/>
                    </a:lnTo>
                    <a:lnTo>
                      <a:pt x="1231" y="196"/>
                    </a:lnTo>
                    <a:lnTo>
                      <a:pt x="1228" y="194"/>
                    </a:lnTo>
                    <a:lnTo>
                      <a:pt x="1226" y="192"/>
                    </a:lnTo>
                    <a:lnTo>
                      <a:pt x="1228" y="192"/>
                    </a:lnTo>
                    <a:lnTo>
                      <a:pt x="1231" y="193"/>
                    </a:lnTo>
                    <a:lnTo>
                      <a:pt x="1231" y="193"/>
                    </a:lnTo>
                    <a:lnTo>
                      <a:pt x="1232" y="192"/>
                    </a:lnTo>
                    <a:lnTo>
                      <a:pt x="1236" y="187"/>
                    </a:lnTo>
                    <a:lnTo>
                      <a:pt x="1245" y="180"/>
                    </a:lnTo>
                    <a:lnTo>
                      <a:pt x="1242" y="179"/>
                    </a:lnTo>
                    <a:lnTo>
                      <a:pt x="1239" y="177"/>
                    </a:lnTo>
                    <a:lnTo>
                      <a:pt x="1232" y="177"/>
                    </a:lnTo>
                    <a:lnTo>
                      <a:pt x="1229" y="177"/>
                    </a:lnTo>
                    <a:lnTo>
                      <a:pt x="1226" y="177"/>
                    </a:lnTo>
                    <a:lnTo>
                      <a:pt x="1223" y="177"/>
                    </a:lnTo>
                    <a:lnTo>
                      <a:pt x="1222" y="177"/>
                    </a:lnTo>
                    <a:lnTo>
                      <a:pt x="1218" y="179"/>
                    </a:lnTo>
                    <a:lnTo>
                      <a:pt x="1216" y="179"/>
                    </a:lnTo>
                    <a:lnTo>
                      <a:pt x="1215" y="177"/>
                    </a:lnTo>
                    <a:lnTo>
                      <a:pt x="1215" y="177"/>
                    </a:lnTo>
                    <a:lnTo>
                      <a:pt x="1213" y="176"/>
                    </a:lnTo>
                    <a:lnTo>
                      <a:pt x="1213" y="176"/>
                    </a:lnTo>
                    <a:lnTo>
                      <a:pt x="1212" y="174"/>
                    </a:lnTo>
                    <a:lnTo>
                      <a:pt x="1206" y="176"/>
                    </a:lnTo>
                    <a:lnTo>
                      <a:pt x="1187" y="176"/>
                    </a:lnTo>
                    <a:lnTo>
                      <a:pt x="1192" y="174"/>
                    </a:lnTo>
                    <a:lnTo>
                      <a:pt x="1205" y="171"/>
                    </a:lnTo>
                    <a:lnTo>
                      <a:pt x="1209" y="171"/>
                    </a:lnTo>
                    <a:lnTo>
                      <a:pt x="1216" y="169"/>
                    </a:lnTo>
                    <a:lnTo>
                      <a:pt x="1220" y="167"/>
                    </a:lnTo>
                    <a:lnTo>
                      <a:pt x="1218" y="164"/>
                    </a:lnTo>
                    <a:lnTo>
                      <a:pt x="1215" y="163"/>
                    </a:lnTo>
                    <a:lnTo>
                      <a:pt x="1206" y="163"/>
                    </a:lnTo>
                    <a:lnTo>
                      <a:pt x="1202" y="161"/>
                    </a:lnTo>
                    <a:lnTo>
                      <a:pt x="1195" y="158"/>
                    </a:lnTo>
                    <a:lnTo>
                      <a:pt x="1189" y="158"/>
                    </a:lnTo>
                    <a:lnTo>
                      <a:pt x="1186" y="157"/>
                    </a:lnTo>
                    <a:lnTo>
                      <a:pt x="1183" y="158"/>
                    </a:lnTo>
                    <a:lnTo>
                      <a:pt x="1179" y="160"/>
                    </a:lnTo>
                    <a:lnTo>
                      <a:pt x="1176" y="160"/>
                    </a:lnTo>
                    <a:lnTo>
                      <a:pt x="1164" y="163"/>
                    </a:lnTo>
                    <a:lnTo>
                      <a:pt x="1160" y="164"/>
                    </a:lnTo>
                    <a:lnTo>
                      <a:pt x="1141" y="171"/>
                    </a:lnTo>
                    <a:lnTo>
                      <a:pt x="1133" y="177"/>
                    </a:lnTo>
                    <a:lnTo>
                      <a:pt x="1131" y="179"/>
                    </a:lnTo>
                    <a:lnTo>
                      <a:pt x="1130" y="180"/>
                    </a:lnTo>
                    <a:lnTo>
                      <a:pt x="1130" y="181"/>
                    </a:lnTo>
                    <a:lnTo>
                      <a:pt x="1131" y="186"/>
                    </a:lnTo>
                    <a:lnTo>
                      <a:pt x="1133" y="187"/>
                    </a:lnTo>
                    <a:lnTo>
                      <a:pt x="1133" y="189"/>
                    </a:lnTo>
                    <a:lnTo>
                      <a:pt x="1131" y="190"/>
                    </a:lnTo>
                    <a:lnTo>
                      <a:pt x="1131" y="192"/>
                    </a:lnTo>
                    <a:lnTo>
                      <a:pt x="1131" y="193"/>
                    </a:lnTo>
                    <a:lnTo>
                      <a:pt x="1131" y="194"/>
                    </a:lnTo>
                    <a:lnTo>
                      <a:pt x="1133" y="194"/>
                    </a:lnTo>
                    <a:lnTo>
                      <a:pt x="1136" y="194"/>
                    </a:lnTo>
                    <a:lnTo>
                      <a:pt x="1143" y="196"/>
                    </a:lnTo>
                    <a:lnTo>
                      <a:pt x="1141" y="197"/>
                    </a:lnTo>
                    <a:lnTo>
                      <a:pt x="1139" y="197"/>
                    </a:lnTo>
                    <a:lnTo>
                      <a:pt x="1127" y="194"/>
                    </a:lnTo>
                    <a:lnTo>
                      <a:pt x="1126" y="194"/>
                    </a:lnTo>
                    <a:lnTo>
                      <a:pt x="1124" y="194"/>
                    </a:lnTo>
                    <a:lnTo>
                      <a:pt x="1121" y="196"/>
                    </a:lnTo>
                    <a:lnTo>
                      <a:pt x="1119" y="196"/>
                    </a:lnTo>
                    <a:lnTo>
                      <a:pt x="1106" y="196"/>
                    </a:lnTo>
                    <a:lnTo>
                      <a:pt x="1100" y="194"/>
                    </a:lnTo>
                    <a:lnTo>
                      <a:pt x="1096" y="194"/>
                    </a:lnTo>
                    <a:lnTo>
                      <a:pt x="1093" y="196"/>
                    </a:lnTo>
                    <a:lnTo>
                      <a:pt x="1103" y="202"/>
                    </a:lnTo>
                    <a:lnTo>
                      <a:pt x="1107" y="204"/>
                    </a:lnTo>
                    <a:lnTo>
                      <a:pt x="1110" y="209"/>
                    </a:lnTo>
                    <a:lnTo>
                      <a:pt x="1111" y="213"/>
                    </a:lnTo>
                    <a:lnTo>
                      <a:pt x="1110" y="219"/>
                    </a:lnTo>
                    <a:lnTo>
                      <a:pt x="1108" y="223"/>
                    </a:lnTo>
                    <a:lnTo>
                      <a:pt x="1104" y="225"/>
                    </a:lnTo>
                    <a:lnTo>
                      <a:pt x="1106" y="223"/>
                    </a:lnTo>
                    <a:lnTo>
                      <a:pt x="1107" y="220"/>
                    </a:lnTo>
                    <a:lnTo>
                      <a:pt x="1108" y="219"/>
                    </a:lnTo>
                    <a:lnTo>
                      <a:pt x="1108" y="216"/>
                    </a:lnTo>
                    <a:lnTo>
                      <a:pt x="1108" y="215"/>
                    </a:lnTo>
                    <a:lnTo>
                      <a:pt x="1108" y="213"/>
                    </a:lnTo>
                    <a:lnTo>
                      <a:pt x="1107" y="212"/>
                    </a:lnTo>
                    <a:lnTo>
                      <a:pt x="1106" y="210"/>
                    </a:lnTo>
                    <a:lnTo>
                      <a:pt x="1104" y="209"/>
                    </a:lnTo>
                    <a:lnTo>
                      <a:pt x="1098" y="207"/>
                    </a:lnTo>
                    <a:lnTo>
                      <a:pt x="1096" y="206"/>
                    </a:lnTo>
                    <a:lnTo>
                      <a:pt x="1093" y="206"/>
                    </a:lnTo>
                    <a:lnTo>
                      <a:pt x="1091" y="206"/>
                    </a:lnTo>
                    <a:lnTo>
                      <a:pt x="1088" y="206"/>
                    </a:lnTo>
                    <a:lnTo>
                      <a:pt x="1084" y="209"/>
                    </a:lnTo>
                    <a:lnTo>
                      <a:pt x="1078" y="210"/>
                    </a:lnTo>
                    <a:lnTo>
                      <a:pt x="1077" y="212"/>
                    </a:lnTo>
                    <a:lnTo>
                      <a:pt x="1074" y="212"/>
                    </a:lnTo>
                    <a:lnTo>
                      <a:pt x="1073" y="212"/>
                    </a:lnTo>
                    <a:lnTo>
                      <a:pt x="1073" y="213"/>
                    </a:lnTo>
                    <a:lnTo>
                      <a:pt x="1073" y="215"/>
                    </a:lnTo>
                    <a:lnTo>
                      <a:pt x="1071" y="216"/>
                    </a:lnTo>
                    <a:lnTo>
                      <a:pt x="1070" y="216"/>
                    </a:lnTo>
                    <a:lnTo>
                      <a:pt x="1070" y="216"/>
                    </a:lnTo>
                    <a:lnTo>
                      <a:pt x="1067" y="215"/>
                    </a:lnTo>
                    <a:lnTo>
                      <a:pt x="1067" y="215"/>
                    </a:lnTo>
                    <a:lnTo>
                      <a:pt x="1065" y="215"/>
                    </a:lnTo>
                    <a:lnTo>
                      <a:pt x="1064" y="215"/>
                    </a:lnTo>
                    <a:lnTo>
                      <a:pt x="1063" y="216"/>
                    </a:lnTo>
                    <a:lnTo>
                      <a:pt x="1060" y="217"/>
                    </a:lnTo>
                    <a:lnTo>
                      <a:pt x="1058" y="219"/>
                    </a:lnTo>
                    <a:lnTo>
                      <a:pt x="1052" y="220"/>
                    </a:lnTo>
                    <a:lnTo>
                      <a:pt x="1052" y="216"/>
                    </a:lnTo>
                    <a:lnTo>
                      <a:pt x="1048" y="216"/>
                    </a:lnTo>
                    <a:lnTo>
                      <a:pt x="1042" y="219"/>
                    </a:lnTo>
                    <a:lnTo>
                      <a:pt x="1038" y="220"/>
                    </a:lnTo>
                    <a:lnTo>
                      <a:pt x="1042" y="216"/>
                    </a:lnTo>
                    <a:lnTo>
                      <a:pt x="1044" y="215"/>
                    </a:lnTo>
                    <a:lnTo>
                      <a:pt x="1045" y="212"/>
                    </a:lnTo>
                    <a:lnTo>
                      <a:pt x="1042" y="210"/>
                    </a:lnTo>
                    <a:lnTo>
                      <a:pt x="1038" y="210"/>
                    </a:lnTo>
                    <a:lnTo>
                      <a:pt x="1035" y="209"/>
                    </a:lnTo>
                    <a:lnTo>
                      <a:pt x="1008" y="210"/>
                    </a:lnTo>
                    <a:lnTo>
                      <a:pt x="1005" y="212"/>
                    </a:lnTo>
                    <a:lnTo>
                      <a:pt x="1005" y="212"/>
                    </a:lnTo>
                    <a:lnTo>
                      <a:pt x="1004" y="213"/>
                    </a:lnTo>
                    <a:lnTo>
                      <a:pt x="1002" y="213"/>
                    </a:lnTo>
                    <a:lnTo>
                      <a:pt x="1001" y="213"/>
                    </a:lnTo>
                    <a:lnTo>
                      <a:pt x="999" y="212"/>
                    </a:lnTo>
                    <a:lnTo>
                      <a:pt x="998" y="212"/>
                    </a:lnTo>
                    <a:lnTo>
                      <a:pt x="996" y="212"/>
                    </a:lnTo>
                    <a:lnTo>
                      <a:pt x="995" y="212"/>
                    </a:lnTo>
                    <a:lnTo>
                      <a:pt x="994" y="213"/>
                    </a:lnTo>
                    <a:lnTo>
                      <a:pt x="992" y="215"/>
                    </a:lnTo>
                    <a:lnTo>
                      <a:pt x="992" y="213"/>
                    </a:lnTo>
                    <a:lnTo>
                      <a:pt x="991" y="213"/>
                    </a:lnTo>
                    <a:lnTo>
                      <a:pt x="991" y="212"/>
                    </a:lnTo>
                    <a:lnTo>
                      <a:pt x="989" y="215"/>
                    </a:lnTo>
                    <a:lnTo>
                      <a:pt x="989" y="216"/>
                    </a:lnTo>
                    <a:lnTo>
                      <a:pt x="988" y="219"/>
                    </a:lnTo>
                    <a:lnTo>
                      <a:pt x="989" y="220"/>
                    </a:lnTo>
                    <a:lnTo>
                      <a:pt x="991" y="220"/>
                    </a:lnTo>
                    <a:lnTo>
                      <a:pt x="992" y="219"/>
                    </a:lnTo>
                    <a:lnTo>
                      <a:pt x="992" y="219"/>
                    </a:lnTo>
                    <a:lnTo>
                      <a:pt x="992" y="219"/>
                    </a:lnTo>
                    <a:lnTo>
                      <a:pt x="994" y="217"/>
                    </a:lnTo>
                    <a:lnTo>
                      <a:pt x="994" y="217"/>
                    </a:lnTo>
                    <a:lnTo>
                      <a:pt x="995" y="219"/>
                    </a:lnTo>
                    <a:lnTo>
                      <a:pt x="996" y="219"/>
                    </a:lnTo>
                    <a:lnTo>
                      <a:pt x="998" y="219"/>
                    </a:lnTo>
                    <a:lnTo>
                      <a:pt x="998" y="219"/>
                    </a:lnTo>
                    <a:lnTo>
                      <a:pt x="999" y="219"/>
                    </a:lnTo>
                    <a:lnTo>
                      <a:pt x="999" y="217"/>
                    </a:lnTo>
                    <a:lnTo>
                      <a:pt x="1001" y="217"/>
                    </a:lnTo>
                    <a:lnTo>
                      <a:pt x="1001" y="217"/>
                    </a:lnTo>
                    <a:lnTo>
                      <a:pt x="1002" y="217"/>
                    </a:lnTo>
                    <a:lnTo>
                      <a:pt x="1002" y="219"/>
                    </a:lnTo>
                    <a:lnTo>
                      <a:pt x="1011" y="217"/>
                    </a:lnTo>
                    <a:lnTo>
                      <a:pt x="1009" y="220"/>
                    </a:lnTo>
                    <a:lnTo>
                      <a:pt x="1005" y="222"/>
                    </a:lnTo>
                    <a:lnTo>
                      <a:pt x="979" y="227"/>
                    </a:lnTo>
                    <a:lnTo>
                      <a:pt x="972" y="227"/>
                    </a:lnTo>
                    <a:lnTo>
                      <a:pt x="969" y="229"/>
                    </a:lnTo>
                    <a:lnTo>
                      <a:pt x="965" y="230"/>
                    </a:lnTo>
                    <a:lnTo>
                      <a:pt x="963" y="232"/>
                    </a:lnTo>
                    <a:lnTo>
                      <a:pt x="961" y="232"/>
                    </a:lnTo>
                    <a:lnTo>
                      <a:pt x="950" y="233"/>
                    </a:lnTo>
                    <a:lnTo>
                      <a:pt x="946" y="233"/>
                    </a:lnTo>
                    <a:lnTo>
                      <a:pt x="942" y="235"/>
                    </a:lnTo>
                    <a:lnTo>
                      <a:pt x="940" y="236"/>
                    </a:lnTo>
                    <a:lnTo>
                      <a:pt x="935" y="239"/>
                    </a:lnTo>
                    <a:lnTo>
                      <a:pt x="932" y="240"/>
                    </a:lnTo>
                    <a:lnTo>
                      <a:pt x="930" y="242"/>
                    </a:lnTo>
                    <a:lnTo>
                      <a:pt x="926" y="242"/>
                    </a:lnTo>
                    <a:lnTo>
                      <a:pt x="922" y="243"/>
                    </a:lnTo>
                    <a:lnTo>
                      <a:pt x="919" y="245"/>
                    </a:lnTo>
                    <a:lnTo>
                      <a:pt x="912" y="250"/>
                    </a:lnTo>
                    <a:lnTo>
                      <a:pt x="905" y="255"/>
                    </a:lnTo>
                    <a:lnTo>
                      <a:pt x="900" y="258"/>
                    </a:lnTo>
                    <a:lnTo>
                      <a:pt x="897" y="259"/>
                    </a:lnTo>
                    <a:lnTo>
                      <a:pt x="894" y="258"/>
                    </a:lnTo>
                    <a:lnTo>
                      <a:pt x="890" y="256"/>
                    </a:lnTo>
                    <a:lnTo>
                      <a:pt x="889" y="256"/>
                    </a:lnTo>
                    <a:lnTo>
                      <a:pt x="886" y="256"/>
                    </a:lnTo>
                    <a:lnTo>
                      <a:pt x="884" y="258"/>
                    </a:lnTo>
                    <a:lnTo>
                      <a:pt x="884" y="259"/>
                    </a:lnTo>
                    <a:lnTo>
                      <a:pt x="884" y="262"/>
                    </a:lnTo>
                    <a:lnTo>
                      <a:pt x="886" y="262"/>
                    </a:lnTo>
                    <a:lnTo>
                      <a:pt x="889" y="262"/>
                    </a:lnTo>
                    <a:lnTo>
                      <a:pt x="892" y="262"/>
                    </a:lnTo>
                    <a:lnTo>
                      <a:pt x="893" y="263"/>
                    </a:lnTo>
                    <a:lnTo>
                      <a:pt x="893" y="266"/>
                    </a:lnTo>
                    <a:lnTo>
                      <a:pt x="892" y="269"/>
                    </a:lnTo>
                    <a:lnTo>
                      <a:pt x="884" y="276"/>
                    </a:lnTo>
                    <a:lnTo>
                      <a:pt x="882" y="278"/>
                    </a:lnTo>
                    <a:lnTo>
                      <a:pt x="880" y="278"/>
                    </a:lnTo>
                    <a:lnTo>
                      <a:pt x="877" y="278"/>
                    </a:lnTo>
                    <a:lnTo>
                      <a:pt x="876" y="276"/>
                    </a:lnTo>
                    <a:lnTo>
                      <a:pt x="871" y="272"/>
                    </a:lnTo>
                    <a:lnTo>
                      <a:pt x="870" y="273"/>
                    </a:lnTo>
                    <a:lnTo>
                      <a:pt x="870" y="275"/>
                    </a:lnTo>
                    <a:lnTo>
                      <a:pt x="869" y="276"/>
                    </a:lnTo>
                    <a:lnTo>
                      <a:pt x="867" y="276"/>
                    </a:lnTo>
                    <a:lnTo>
                      <a:pt x="866" y="276"/>
                    </a:lnTo>
                    <a:lnTo>
                      <a:pt x="866" y="276"/>
                    </a:lnTo>
                    <a:lnTo>
                      <a:pt x="864" y="276"/>
                    </a:lnTo>
                    <a:lnTo>
                      <a:pt x="864" y="279"/>
                    </a:lnTo>
                    <a:lnTo>
                      <a:pt x="871" y="281"/>
                    </a:lnTo>
                    <a:lnTo>
                      <a:pt x="877" y="284"/>
                    </a:lnTo>
                    <a:lnTo>
                      <a:pt x="883" y="286"/>
                    </a:lnTo>
                    <a:lnTo>
                      <a:pt x="889" y="291"/>
                    </a:lnTo>
                    <a:lnTo>
                      <a:pt x="886" y="291"/>
                    </a:lnTo>
                    <a:lnTo>
                      <a:pt x="884" y="292"/>
                    </a:lnTo>
                    <a:lnTo>
                      <a:pt x="883" y="292"/>
                    </a:lnTo>
                    <a:lnTo>
                      <a:pt x="882" y="291"/>
                    </a:lnTo>
                    <a:lnTo>
                      <a:pt x="879" y="288"/>
                    </a:lnTo>
                    <a:lnTo>
                      <a:pt x="877" y="288"/>
                    </a:lnTo>
                    <a:lnTo>
                      <a:pt x="874" y="288"/>
                    </a:lnTo>
                    <a:lnTo>
                      <a:pt x="871" y="288"/>
                    </a:lnTo>
                    <a:lnTo>
                      <a:pt x="870" y="289"/>
                    </a:lnTo>
                    <a:lnTo>
                      <a:pt x="867" y="292"/>
                    </a:lnTo>
                    <a:lnTo>
                      <a:pt x="871" y="294"/>
                    </a:lnTo>
                    <a:lnTo>
                      <a:pt x="874" y="295"/>
                    </a:lnTo>
                    <a:lnTo>
                      <a:pt x="879" y="295"/>
                    </a:lnTo>
                    <a:lnTo>
                      <a:pt x="882" y="298"/>
                    </a:lnTo>
                    <a:lnTo>
                      <a:pt x="887" y="305"/>
                    </a:lnTo>
                    <a:lnTo>
                      <a:pt x="889" y="307"/>
                    </a:lnTo>
                    <a:lnTo>
                      <a:pt x="890" y="308"/>
                    </a:lnTo>
                    <a:lnTo>
                      <a:pt x="893" y="308"/>
                    </a:lnTo>
                    <a:lnTo>
                      <a:pt x="896" y="309"/>
                    </a:lnTo>
                    <a:lnTo>
                      <a:pt x="893" y="311"/>
                    </a:lnTo>
                    <a:lnTo>
                      <a:pt x="889" y="314"/>
                    </a:lnTo>
                    <a:lnTo>
                      <a:pt x="886" y="315"/>
                    </a:lnTo>
                    <a:lnTo>
                      <a:pt x="882" y="315"/>
                    </a:lnTo>
                    <a:lnTo>
                      <a:pt x="874" y="317"/>
                    </a:lnTo>
                    <a:lnTo>
                      <a:pt x="870" y="317"/>
                    </a:lnTo>
                    <a:lnTo>
                      <a:pt x="867" y="321"/>
                    </a:lnTo>
                    <a:lnTo>
                      <a:pt x="870" y="325"/>
                    </a:lnTo>
                    <a:lnTo>
                      <a:pt x="880" y="332"/>
                    </a:lnTo>
                    <a:lnTo>
                      <a:pt x="879" y="332"/>
                    </a:lnTo>
                    <a:lnTo>
                      <a:pt x="876" y="331"/>
                    </a:lnTo>
                    <a:lnTo>
                      <a:pt x="870" y="327"/>
                    </a:lnTo>
                    <a:lnTo>
                      <a:pt x="866" y="324"/>
                    </a:lnTo>
                    <a:lnTo>
                      <a:pt x="864" y="322"/>
                    </a:lnTo>
                    <a:lnTo>
                      <a:pt x="864" y="319"/>
                    </a:lnTo>
                    <a:lnTo>
                      <a:pt x="866" y="318"/>
                    </a:lnTo>
                    <a:lnTo>
                      <a:pt x="869" y="317"/>
                    </a:lnTo>
                    <a:lnTo>
                      <a:pt x="874" y="315"/>
                    </a:lnTo>
                    <a:lnTo>
                      <a:pt x="877" y="314"/>
                    </a:lnTo>
                    <a:lnTo>
                      <a:pt x="886" y="308"/>
                    </a:lnTo>
                    <a:lnTo>
                      <a:pt x="883" y="307"/>
                    </a:lnTo>
                    <a:lnTo>
                      <a:pt x="877" y="307"/>
                    </a:lnTo>
                    <a:lnTo>
                      <a:pt x="864" y="308"/>
                    </a:lnTo>
                    <a:lnTo>
                      <a:pt x="863" y="308"/>
                    </a:lnTo>
                    <a:lnTo>
                      <a:pt x="860" y="309"/>
                    </a:lnTo>
                    <a:lnTo>
                      <a:pt x="860" y="309"/>
                    </a:lnTo>
                    <a:lnTo>
                      <a:pt x="859" y="311"/>
                    </a:lnTo>
                    <a:lnTo>
                      <a:pt x="857" y="311"/>
                    </a:lnTo>
                    <a:lnTo>
                      <a:pt x="856" y="312"/>
                    </a:lnTo>
                    <a:lnTo>
                      <a:pt x="854" y="312"/>
                    </a:lnTo>
                    <a:lnTo>
                      <a:pt x="851" y="312"/>
                    </a:lnTo>
                    <a:lnTo>
                      <a:pt x="846" y="311"/>
                    </a:lnTo>
                    <a:lnTo>
                      <a:pt x="844" y="311"/>
                    </a:lnTo>
                    <a:lnTo>
                      <a:pt x="775" y="315"/>
                    </a:lnTo>
                    <a:lnTo>
                      <a:pt x="774" y="317"/>
                    </a:lnTo>
                    <a:lnTo>
                      <a:pt x="772" y="317"/>
                    </a:lnTo>
                    <a:lnTo>
                      <a:pt x="772" y="318"/>
                    </a:lnTo>
                    <a:lnTo>
                      <a:pt x="771" y="319"/>
                    </a:lnTo>
                    <a:lnTo>
                      <a:pt x="771" y="321"/>
                    </a:lnTo>
                    <a:lnTo>
                      <a:pt x="770" y="322"/>
                    </a:lnTo>
                    <a:lnTo>
                      <a:pt x="770" y="322"/>
                    </a:lnTo>
                    <a:lnTo>
                      <a:pt x="770" y="324"/>
                    </a:lnTo>
                    <a:lnTo>
                      <a:pt x="770" y="327"/>
                    </a:lnTo>
                    <a:lnTo>
                      <a:pt x="770" y="331"/>
                    </a:lnTo>
                    <a:lnTo>
                      <a:pt x="771" y="334"/>
                    </a:lnTo>
                    <a:lnTo>
                      <a:pt x="772" y="334"/>
                    </a:lnTo>
                    <a:lnTo>
                      <a:pt x="774" y="335"/>
                    </a:lnTo>
                    <a:lnTo>
                      <a:pt x="775" y="337"/>
                    </a:lnTo>
                    <a:lnTo>
                      <a:pt x="777" y="338"/>
                    </a:lnTo>
                    <a:lnTo>
                      <a:pt x="777" y="340"/>
                    </a:lnTo>
                    <a:lnTo>
                      <a:pt x="777" y="341"/>
                    </a:lnTo>
                    <a:lnTo>
                      <a:pt x="774" y="347"/>
                    </a:lnTo>
                    <a:lnTo>
                      <a:pt x="774" y="348"/>
                    </a:lnTo>
                    <a:lnTo>
                      <a:pt x="775" y="351"/>
                    </a:lnTo>
                    <a:lnTo>
                      <a:pt x="777" y="354"/>
                    </a:lnTo>
                    <a:lnTo>
                      <a:pt x="778" y="357"/>
                    </a:lnTo>
                    <a:lnTo>
                      <a:pt x="781" y="360"/>
                    </a:lnTo>
                    <a:lnTo>
                      <a:pt x="785" y="361"/>
                    </a:lnTo>
                    <a:lnTo>
                      <a:pt x="793" y="361"/>
                    </a:lnTo>
                    <a:lnTo>
                      <a:pt x="797" y="363"/>
                    </a:lnTo>
                    <a:lnTo>
                      <a:pt x="801" y="365"/>
                    </a:lnTo>
                    <a:lnTo>
                      <a:pt x="801" y="367"/>
                    </a:lnTo>
                    <a:lnTo>
                      <a:pt x="803" y="370"/>
                    </a:lnTo>
                    <a:lnTo>
                      <a:pt x="804" y="370"/>
                    </a:lnTo>
                    <a:lnTo>
                      <a:pt x="805" y="373"/>
                    </a:lnTo>
                    <a:lnTo>
                      <a:pt x="807" y="374"/>
                    </a:lnTo>
                    <a:lnTo>
                      <a:pt x="808" y="374"/>
                    </a:lnTo>
                    <a:lnTo>
                      <a:pt x="811" y="375"/>
                    </a:lnTo>
                    <a:lnTo>
                      <a:pt x="820" y="377"/>
                    </a:lnTo>
                    <a:lnTo>
                      <a:pt x="823" y="378"/>
                    </a:lnTo>
                    <a:lnTo>
                      <a:pt x="824" y="383"/>
                    </a:lnTo>
                    <a:lnTo>
                      <a:pt x="824" y="387"/>
                    </a:lnTo>
                    <a:lnTo>
                      <a:pt x="823" y="390"/>
                    </a:lnTo>
                    <a:lnTo>
                      <a:pt x="820" y="393"/>
                    </a:lnTo>
                    <a:lnTo>
                      <a:pt x="818" y="396"/>
                    </a:lnTo>
                    <a:lnTo>
                      <a:pt x="818" y="398"/>
                    </a:lnTo>
                    <a:lnTo>
                      <a:pt x="818" y="400"/>
                    </a:lnTo>
                    <a:lnTo>
                      <a:pt x="821" y="403"/>
                    </a:lnTo>
                    <a:lnTo>
                      <a:pt x="823" y="407"/>
                    </a:lnTo>
                    <a:lnTo>
                      <a:pt x="826" y="410"/>
                    </a:lnTo>
                    <a:lnTo>
                      <a:pt x="827" y="414"/>
                    </a:lnTo>
                    <a:lnTo>
                      <a:pt x="827" y="419"/>
                    </a:lnTo>
                    <a:lnTo>
                      <a:pt x="826" y="421"/>
                    </a:lnTo>
                    <a:lnTo>
                      <a:pt x="821" y="424"/>
                    </a:lnTo>
                    <a:lnTo>
                      <a:pt x="821" y="424"/>
                    </a:lnTo>
                    <a:lnTo>
                      <a:pt x="820" y="424"/>
                    </a:lnTo>
                    <a:lnTo>
                      <a:pt x="818" y="424"/>
                    </a:lnTo>
                    <a:lnTo>
                      <a:pt x="817" y="426"/>
                    </a:lnTo>
                    <a:lnTo>
                      <a:pt x="817" y="426"/>
                    </a:lnTo>
                    <a:lnTo>
                      <a:pt x="817" y="427"/>
                    </a:lnTo>
                    <a:lnTo>
                      <a:pt x="817" y="427"/>
                    </a:lnTo>
                    <a:lnTo>
                      <a:pt x="817" y="429"/>
                    </a:lnTo>
                    <a:lnTo>
                      <a:pt x="817" y="430"/>
                    </a:lnTo>
                    <a:lnTo>
                      <a:pt x="815" y="432"/>
                    </a:lnTo>
                    <a:lnTo>
                      <a:pt x="814" y="432"/>
                    </a:lnTo>
                    <a:lnTo>
                      <a:pt x="813" y="432"/>
                    </a:lnTo>
                    <a:lnTo>
                      <a:pt x="810" y="427"/>
                    </a:lnTo>
                    <a:lnTo>
                      <a:pt x="811" y="424"/>
                    </a:lnTo>
                    <a:lnTo>
                      <a:pt x="814" y="420"/>
                    </a:lnTo>
                    <a:lnTo>
                      <a:pt x="815" y="416"/>
                    </a:lnTo>
                    <a:lnTo>
                      <a:pt x="815" y="411"/>
                    </a:lnTo>
                    <a:lnTo>
                      <a:pt x="815" y="407"/>
                    </a:lnTo>
                    <a:lnTo>
                      <a:pt x="813" y="404"/>
                    </a:lnTo>
                    <a:lnTo>
                      <a:pt x="808" y="406"/>
                    </a:lnTo>
                    <a:lnTo>
                      <a:pt x="807" y="407"/>
                    </a:lnTo>
                    <a:lnTo>
                      <a:pt x="804" y="413"/>
                    </a:lnTo>
                    <a:lnTo>
                      <a:pt x="803" y="417"/>
                    </a:lnTo>
                    <a:lnTo>
                      <a:pt x="801" y="419"/>
                    </a:lnTo>
                    <a:lnTo>
                      <a:pt x="801" y="421"/>
                    </a:lnTo>
                    <a:lnTo>
                      <a:pt x="801" y="419"/>
                    </a:lnTo>
                    <a:lnTo>
                      <a:pt x="801" y="417"/>
                    </a:lnTo>
                    <a:lnTo>
                      <a:pt x="801" y="414"/>
                    </a:lnTo>
                    <a:lnTo>
                      <a:pt x="803" y="411"/>
                    </a:lnTo>
                    <a:lnTo>
                      <a:pt x="803" y="409"/>
                    </a:lnTo>
                    <a:lnTo>
                      <a:pt x="803" y="407"/>
                    </a:lnTo>
                    <a:lnTo>
                      <a:pt x="803" y="404"/>
                    </a:lnTo>
                    <a:lnTo>
                      <a:pt x="801" y="401"/>
                    </a:lnTo>
                    <a:lnTo>
                      <a:pt x="801" y="401"/>
                    </a:lnTo>
                    <a:lnTo>
                      <a:pt x="803" y="398"/>
                    </a:lnTo>
                    <a:lnTo>
                      <a:pt x="803" y="397"/>
                    </a:lnTo>
                    <a:lnTo>
                      <a:pt x="804" y="396"/>
                    </a:lnTo>
                    <a:lnTo>
                      <a:pt x="804" y="396"/>
                    </a:lnTo>
                    <a:lnTo>
                      <a:pt x="813" y="390"/>
                    </a:lnTo>
                    <a:lnTo>
                      <a:pt x="815" y="388"/>
                    </a:lnTo>
                    <a:lnTo>
                      <a:pt x="817" y="387"/>
                    </a:lnTo>
                    <a:lnTo>
                      <a:pt x="818" y="384"/>
                    </a:lnTo>
                    <a:lnTo>
                      <a:pt x="818" y="383"/>
                    </a:lnTo>
                    <a:lnTo>
                      <a:pt x="817" y="381"/>
                    </a:lnTo>
                    <a:lnTo>
                      <a:pt x="814" y="380"/>
                    </a:lnTo>
                    <a:lnTo>
                      <a:pt x="813" y="380"/>
                    </a:lnTo>
                    <a:lnTo>
                      <a:pt x="810" y="380"/>
                    </a:lnTo>
                    <a:lnTo>
                      <a:pt x="797" y="381"/>
                    </a:lnTo>
                    <a:lnTo>
                      <a:pt x="791" y="380"/>
                    </a:lnTo>
                    <a:lnTo>
                      <a:pt x="787" y="378"/>
                    </a:lnTo>
                    <a:lnTo>
                      <a:pt x="781" y="375"/>
                    </a:lnTo>
                    <a:lnTo>
                      <a:pt x="780" y="374"/>
                    </a:lnTo>
                    <a:lnTo>
                      <a:pt x="777" y="373"/>
                    </a:lnTo>
                    <a:lnTo>
                      <a:pt x="777" y="371"/>
                    </a:lnTo>
                    <a:lnTo>
                      <a:pt x="775" y="371"/>
                    </a:lnTo>
                    <a:lnTo>
                      <a:pt x="775" y="370"/>
                    </a:lnTo>
                    <a:lnTo>
                      <a:pt x="774" y="370"/>
                    </a:lnTo>
                    <a:lnTo>
                      <a:pt x="774" y="368"/>
                    </a:lnTo>
                    <a:lnTo>
                      <a:pt x="772" y="368"/>
                    </a:lnTo>
                    <a:lnTo>
                      <a:pt x="762" y="365"/>
                    </a:lnTo>
                    <a:lnTo>
                      <a:pt x="759" y="364"/>
                    </a:lnTo>
                    <a:lnTo>
                      <a:pt x="754" y="361"/>
                    </a:lnTo>
                    <a:lnTo>
                      <a:pt x="751" y="360"/>
                    </a:lnTo>
                    <a:lnTo>
                      <a:pt x="748" y="360"/>
                    </a:lnTo>
                    <a:lnTo>
                      <a:pt x="737" y="360"/>
                    </a:lnTo>
                    <a:lnTo>
                      <a:pt x="731" y="361"/>
                    </a:lnTo>
                    <a:lnTo>
                      <a:pt x="718" y="367"/>
                    </a:lnTo>
                    <a:lnTo>
                      <a:pt x="718" y="367"/>
                    </a:lnTo>
                    <a:lnTo>
                      <a:pt x="718" y="370"/>
                    </a:lnTo>
                    <a:lnTo>
                      <a:pt x="721" y="370"/>
                    </a:lnTo>
                    <a:lnTo>
                      <a:pt x="724" y="370"/>
                    </a:lnTo>
                    <a:lnTo>
                      <a:pt x="726" y="370"/>
                    </a:lnTo>
                    <a:lnTo>
                      <a:pt x="729" y="371"/>
                    </a:lnTo>
                    <a:lnTo>
                      <a:pt x="731" y="373"/>
                    </a:lnTo>
                    <a:lnTo>
                      <a:pt x="729" y="374"/>
                    </a:lnTo>
                    <a:lnTo>
                      <a:pt x="728" y="375"/>
                    </a:lnTo>
                    <a:lnTo>
                      <a:pt x="725" y="377"/>
                    </a:lnTo>
                    <a:lnTo>
                      <a:pt x="721" y="377"/>
                    </a:lnTo>
                    <a:lnTo>
                      <a:pt x="718" y="377"/>
                    </a:lnTo>
                    <a:lnTo>
                      <a:pt x="709" y="373"/>
                    </a:lnTo>
                    <a:lnTo>
                      <a:pt x="703" y="373"/>
                    </a:lnTo>
                    <a:lnTo>
                      <a:pt x="699" y="373"/>
                    </a:lnTo>
                    <a:lnTo>
                      <a:pt x="692" y="375"/>
                    </a:lnTo>
                    <a:lnTo>
                      <a:pt x="696" y="383"/>
                    </a:lnTo>
                    <a:lnTo>
                      <a:pt x="698" y="384"/>
                    </a:lnTo>
                    <a:lnTo>
                      <a:pt x="702" y="387"/>
                    </a:lnTo>
                    <a:lnTo>
                      <a:pt x="715" y="393"/>
                    </a:lnTo>
                    <a:lnTo>
                      <a:pt x="719" y="393"/>
                    </a:lnTo>
                    <a:lnTo>
                      <a:pt x="721" y="394"/>
                    </a:lnTo>
                    <a:lnTo>
                      <a:pt x="725" y="393"/>
                    </a:lnTo>
                    <a:lnTo>
                      <a:pt x="726" y="393"/>
                    </a:lnTo>
                    <a:lnTo>
                      <a:pt x="729" y="394"/>
                    </a:lnTo>
                    <a:lnTo>
                      <a:pt x="731" y="396"/>
                    </a:lnTo>
                    <a:lnTo>
                      <a:pt x="734" y="398"/>
                    </a:lnTo>
                    <a:lnTo>
                      <a:pt x="737" y="401"/>
                    </a:lnTo>
                    <a:lnTo>
                      <a:pt x="739" y="403"/>
                    </a:lnTo>
                    <a:lnTo>
                      <a:pt x="747" y="403"/>
                    </a:lnTo>
                    <a:lnTo>
                      <a:pt x="742" y="406"/>
                    </a:lnTo>
                    <a:lnTo>
                      <a:pt x="738" y="406"/>
                    </a:lnTo>
                    <a:lnTo>
                      <a:pt x="732" y="404"/>
                    </a:lnTo>
                    <a:lnTo>
                      <a:pt x="728" y="403"/>
                    </a:lnTo>
                    <a:lnTo>
                      <a:pt x="722" y="398"/>
                    </a:lnTo>
                    <a:lnTo>
                      <a:pt x="719" y="397"/>
                    </a:lnTo>
                    <a:lnTo>
                      <a:pt x="718" y="397"/>
                    </a:lnTo>
                    <a:lnTo>
                      <a:pt x="711" y="397"/>
                    </a:lnTo>
                    <a:lnTo>
                      <a:pt x="709" y="397"/>
                    </a:lnTo>
                    <a:lnTo>
                      <a:pt x="709" y="398"/>
                    </a:lnTo>
                    <a:lnTo>
                      <a:pt x="709" y="398"/>
                    </a:lnTo>
                    <a:lnTo>
                      <a:pt x="706" y="398"/>
                    </a:lnTo>
                    <a:lnTo>
                      <a:pt x="702" y="397"/>
                    </a:lnTo>
                    <a:lnTo>
                      <a:pt x="701" y="397"/>
                    </a:lnTo>
                    <a:lnTo>
                      <a:pt x="695" y="396"/>
                    </a:lnTo>
                    <a:lnTo>
                      <a:pt x="683" y="394"/>
                    </a:lnTo>
                    <a:lnTo>
                      <a:pt x="682" y="393"/>
                    </a:lnTo>
                    <a:lnTo>
                      <a:pt x="680" y="391"/>
                    </a:lnTo>
                    <a:lnTo>
                      <a:pt x="679" y="390"/>
                    </a:lnTo>
                    <a:lnTo>
                      <a:pt x="680" y="388"/>
                    </a:lnTo>
                    <a:lnTo>
                      <a:pt x="682" y="387"/>
                    </a:lnTo>
                    <a:lnTo>
                      <a:pt x="683" y="384"/>
                    </a:lnTo>
                    <a:lnTo>
                      <a:pt x="682" y="381"/>
                    </a:lnTo>
                    <a:lnTo>
                      <a:pt x="680" y="380"/>
                    </a:lnTo>
                    <a:lnTo>
                      <a:pt x="679" y="378"/>
                    </a:lnTo>
                    <a:lnTo>
                      <a:pt x="679" y="375"/>
                    </a:lnTo>
                    <a:lnTo>
                      <a:pt x="679" y="374"/>
                    </a:lnTo>
                    <a:lnTo>
                      <a:pt x="679" y="374"/>
                    </a:lnTo>
                    <a:lnTo>
                      <a:pt x="680" y="374"/>
                    </a:lnTo>
                    <a:lnTo>
                      <a:pt x="680" y="373"/>
                    </a:lnTo>
                    <a:lnTo>
                      <a:pt x="683" y="367"/>
                    </a:lnTo>
                    <a:lnTo>
                      <a:pt x="686" y="364"/>
                    </a:lnTo>
                    <a:lnTo>
                      <a:pt x="686" y="363"/>
                    </a:lnTo>
                    <a:lnTo>
                      <a:pt x="686" y="361"/>
                    </a:lnTo>
                    <a:lnTo>
                      <a:pt x="686" y="360"/>
                    </a:lnTo>
                    <a:lnTo>
                      <a:pt x="685" y="358"/>
                    </a:lnTo>
                    <a:lnTo>
                      <a:pt x="685" y="357"/>
                    </a:lnTo>
                    <a:lnTo>
                      <a:pt x="685" y="357"/>
                    </a:lnTo>
                    <a:lnTo>
                      <a:pt x="685" y="354"/>
                    </a:lnTo>
                    <a:lnTo>
                      <a:pt x="685" y="353"/>
                    </a:lnTo>
                    <a:lnTo>
                      <a:pt x="683" y="351"/>
                    </a:lnTo>
                    <a:lnTo>
                      <a:pt x="682" y="348"/>
                    </a:lnTo>
                    <a:lnTo>
                      <a:pt x="680" y="347"/>
                    </a:lnTo>
                    <a:lnTo>
                      <a:pt x="679" y="345"/>
                    </a:lnTo>
                    <a:lnTo>
                      <a:pt x="678" y="344"/>
                    </a:lnTo>
                    <a:lnTo>
                      <a:pt x="675" y="344"/>
                    </a:lnTo>
                    <a:lnTo>
                      <a:pt x="672" y="344"/>
                    </a:lnTo>
                    <a:lnTo>
                      <a:pt x="670" y="345"/>
                    </a:lnTo>
                    <a:lnTo>
                      <a:pt x="670" y="347"/>
                    </a:lnTo>
                    <a:lnTo>
                      <a:pt x="675" y="354"/>
                    </a:lnTo>
                    <a:lnTo>
                      <a:pt x="676" y="357"/>
                    </a:lnTo>
                    <a:lnTo>
                      <a:pt x="676" y="360"/>
                    </a:lnTo>
                    <a:lnTo>
                      <a:pt x="676" y="363"/>
                    </a:lnTo>
                    <a:lnTo>
                      <a:pt x="676" y="365"/>
                    </a:lnTo>
                    <a:lnTo>
                      <a:pt x="673" y="368"/>
                    </a:lnTo>
                    <a:lnTo>
                      <a:pt x="669" y="371"/>
                    </a:lnTo>
                    <a:lnTo>
                      <a:pt x="665" y="373"/>
                    </a:lnTo>
                    <a:lnTo>
                      <a:pt x="655" y="375"/>
                    </a:lnTo>
                    <a:lnTo>
                      <a:pt x="653" y="375"/>
                    </a:lnTo>
                    <a:lnTo>
                      <a:pt x="650" y="377"/>
                    </a:lnTo>
                    <a:lnTo>
                      <a:pt x="649" y="380"/>
                    </a:lnTo>
                    <a:lnTo>
                      <a:pt x="646" y="383"/>
                    </a:lnTo>
                    <a:lnTo>
                      <a:pt x="643" y="386"/>
                    </a:lnTo>
                    <a:lnTo>
                      <a:pt x="642" y="388"/>
                    </a:lnTo>
                    <a:lnTo>
                      <a:pt x="642" y="390"/>
                    </a:lnTo>
                    <a:lnTo>
                      <a:pt x="642" y="391"/>
                    </a:lnTo>
                    <a:lnTo>
                      <a:pt x="646" y="393"/>
                    </a:lnTo>
                    <a:lnTo>
                      <a:pt x="647" y="396"/>
                    </a:lnTo>
                    <a:lnTo>
                      <a:pt x="649" y="397"/>
                    </a:lnTo>
                    <a:lnTo>
                      <a:pt x="652" y="401"/>
                    </a:lnTo>
                    <a:lnTo>
                      <a:pt x="660" y="410"/>
                    </a:lnTo>
                    <a:lnTo>
                      <a:pt x="662" y="414"/>
                    </a:lnTo>
                    <a:lnTo>
                      <a:pt x="660" y="420"/>
                    </a:lnTo>
                    <a:lnTo>
                      <a:pt x="655" y="429"/>
                    </a:lnTo>
                    <a:lnTo>
                      <a:pt x="652" y="433"/>
                    </a:lnTo>
                    <a:lnTo>
                      <a:pt x="649" y="442"/>
                    </a:lnTo>
                    <a:lnTo>
                      <a:pt x="649" y="443"/>
                    </a:lnTo>
                    <a:lnTo>
                      <a:pt x="650" y="444"/>
                    </a:lnTo>
                    <a:lnTo>
                      <a:pt x="650" y="446"/>
                    </a:lnTo>
                    <a:lnTo>
                      <a:pt x="652" y="447"/>
                    </a:lnTo>
                    <a:lnTo>
                      <a:pt x="653" y="447"/>
                    </a:lnTo>
                    <a:lnTo>
                      <a:pt x="653" y="449"/>
                    </a:lnTo>
                    <a:lnTo>
                      <a:pt x="655" y="449"/>
                    </a:lnTo>
                    <a:lnTo>
                      <a:pt x="655" y="452"/>
                    </a:lnTo>
                    <a:lnTo>
                      <a:pt x="653" y="453"/>
                    </a:lnTo>
                    <a:lnTo>
                      <a:pt x="653" y="455"/>
                    </a:lnTo>
                    <a:lnTo>
                      <a:pt x="655" y="457"/>
                    </a:lnTo>
                    <a:lnTo>
                      <a:pt x="656" y="457"/>
                    </a:lnTo>
                    <a:lnTo>
                      <a:pt x="660" y="457"/>
                    </a:lnTo>
                    <a:lnTo>
                      <a:pt x="663" y="457"/>
                    </a:lnTo>
                    <a:lnTo>
                      <a:pt x="670" y="459"/>
                    </a:lnTo>
                    <a:lnTo>
                      <a:pt x="673" y="457"/>
                    </a:lnTo>
                    <a:lnTo>
                      <a:pt x="676" y="457"/>
                    </a:lnTo>
                    <a:lnTo>
                      <a:pt x="679" y="456"/>
                    </a:lnTo>
                    <a:lnTo>
                      <a:pt x="682" y="455"/>
                    </a:lnTo>
                    <a:lnTo>
                      <a:pt x="683" y="455"/>
                    </a:lnTo>
                    <a:lnTo>
                      <a:pt x="686" y="455"/>
                    </a:lnTo>
                    <a:lnTo>
                      <a:pt x="692" y="455"/>
                    </a:lnTo>
                    <a:lnTo>
                      <a:pt x="698" y="456"/>
                    </a:lnTo>
                    <a:lnTo>
                      <a:pt x="721" y="463"/>
                    </a:lnTo>
                    <a:lnTo>
                      <a:pt x="721" y="463"/>
                    </a:lnTo>
                    <a:lnTo>
                      <a:pt x="722" y="465"/>
                    </a:lnTo>
                    <a:lnTo>
                      <a:pt x="722" y="469"/>
                    </a:lnTo>
                    <a:lnTo>
                      <a:pt x="725" y="473"/>
                    </a:lnTo>
                    <a:lnTo>
                      <a:pt x="726" y="476"/>
                    </a:lnTo>
                    <a:lnTo>
                      <a:pt x="726" y="479"/>
                    </a:lnTo>
                    <a:lnTo>
                      <a:pt x="726" y="480"/>
                    </a:lnTo>
                    <a:lnTo>
                      <a:pt x="725" y="480"/>
                    </a:lnTo>
                    <a:lnTo>
                      <a:pt x="724" y="480"/>
                    </a:lnTo>
                    <a:lnTo>
                      <a:pt x="722" y="480"/>
                    </a:lnTo>
                    <a:lnTo>
                      <a:pt x="722" y="482"/>
                    </a:lnTo>
                    <a:lnTo>
                      <a:pt x="721" y="483"/>
                    </a:lnTo>
                    <a:lnTo>
                      <a:pt x="719" y="485"/>
                    </a:lnTo>
                    <a:lnTo>
                      <a:pt x="719" y="486"/>
                    </a:lnTo>
                    <a:lnTo>
                      <a:pt x="719" y="488"/>
                    </a:lnTo>
                    <a:lnTo>
                      <a:pt x="719" y="490"/>
                    </a:lnTo>
                    <a:lnTo>
                      <a:pt x="719" y="492"/>
                    </a:lnTo>
                    <a:lnTo>
                      <a:pt x="722" y="493"/>
                    </a:lnTo>
                    <a:lnTo>
                      <a:pt x="726" y="495"/>
                    </a:lnTo>
                    <a:lnTo>
                      <a:pt x="739" y="496"/>
                    </a:lnTo>
                    <a:lnTo>
                      <a:pt x="744" y="499"/>
                    </a:lnTo>
                    <a:lnTo>
                      <a:pt x="731" y="499"/>
                    </a:lnTo>
                    <a:lnTo>
                      <a:pt x="725" y="499"/>
                    </a:lnTo>
                    <a:lnTo>
                      <a:pt x="719" y="496"/>
                    </a:lnTo>
                    <a:lnTo>
                      <a:pt x="715" y="495"/>
                    </a:lnTo>
                    <a:lnTo>
                      <a:pt x="714" y="493"/>
                    </a:lnTo>
                    <a:lnTo>
                      <a:pt x="714" y="492"/>
                    </a:lnTo>
                    <a:lnTo>
                      <a:pt x="714" y="492"/>
                    </a:lnTo>
                    <a:lnTo>
                      <a:pt x="714" y="488"/>
                    </a:lnTo>
                    <a:lnTo>
                      <a:pt x="715" y="482"/>
                    </a:lnTo>
                    <a:lnTo>
                      <a:pt x="715" y="478"/>
                    </a:lnTo>
                    <a:lnTo>
                      <a:pt x="714" y="475"/>
                    </a:lnTo>
                    <a:lnTo>
                      <a:pt x="712" y="472"/>
                    </a:lnTo>
                    <a:lnTo>
                      <a:pt x="709" y="469"/>
                    </a:lnTo>
                    <a:lnTo>
                      <a:pt x="705" y="466"/>
                    </a:lnTo>
                    <a:lnTo>
                      <a:pt x="702" y="463"/>
                    </a:lnTo>
                    <a:lnTo>
                      <a:pt x="701" y="462"/>
                    </a:lnTo>
                    <a:lnTo>
                      <a:pt x="698" y="460"/>
                    </a:lnTo>
                    <a:lnTo>
                      <a:pt x="693" y="460"/>
                    </a:lnTo>
                    <a:lnTo>
                      <a:pt x="680" y="463"/>
                    </a:lnTo>
                    <a:lnTo>
                      <a:pt x="673" y="465"/>
                    </a:lnTo>
                    <a:lnTo>
                      <a:pt x="668" y="466"/>
                    </a:lnTo>
                    <a:lnTo>
                      <a:pt x="663" y="472"/>
                    </a:lnTo>
                    <a:lnTo>
                      <a:pt x="665" y="478"/>
                    </a:lnTo>
                    <a:lnTo>
                      <a:pt x="669" y="483"/>
                    </a:lnTo>
                    <a:lnTo>
                      <a:pt x="670" y="489"/>
                    </a:lnTo>
                    <a:lnTo>
                      <a:pt x="669" y="495"/>
                    </a:lnTo>
                    <a:lnTo>
                      <a:pt x="665" y="499"/>
                    </a:lnTo>
                    <a:lnTo>
                      <a:pt x="659" y="503"/>
                    </a:lnTo>
                    <a:lnTo>
                      <a:pt x="656" y="509"/>
                    </a:lnTo>
                    <a:lnTo>
                      <a:pt x="653" y="515"/>
                    </a:lnTo>
                    <a:lnTo>
                      <a:pt x="649" y="519"/>
                    </a:lnTo>
                    <a:lnTo>
                      <a:pt x="645" y="524"/>
                    </a:lnTo>
                    <a:lnTo>
                      <a:pt x="632" y="529"/>
                    </a:lnTo>
                    <a:lnTo>
                      <a:pt x="629" y="532"/>
                    </a:lnTo>
                    <a:lnTo>
                      <a:pt x="627" y="535"/>
                    </a:lnTo>
                    <a:lnTo>
                      <a:pt x="627" y="538"/>
                    </a:lnTo>
                    <a:lnTo>
                      <a:pt x="626" y="541"/>
                    </a:lnTo>
                    <a:lnTo>
                      <a:pt x="623" y="542"/>
                    </a:lnTo>
                    <a:lnTo>
                      <a:pt x="620" y="542"/>
                    </a:lnTo>
                    <a:lnTo>
                      <a:pt x="616" y="541"/>
                    </a:lnTo>
                    <a:lnTo>
                      <a:pt x="610" y="538"/>
                    </a:lnTo>
                    <a:lnTo>
                      <a:pt x="606" y="538"/>
                    </a:lnTo>
                    <a:lnTo>
                      <a:pt x="594" y="538"/>
                    </a:lnTo>
                    <a:lnTo>
                      <a:pt x="590" y="538"/>
                    </a:lnTo>
                    <a:lnTo>
                      <a:pt x="589" y="538"/>
                    </a:lnTo>
                    <a:lnTo>
                      <a:pt x="583" y="535"/>
                    </a:lnTo>
                    <a:lnTo>
                      <a:pt x="581" y="534"/>
                    </a:lnTo>
                    <a:lnTo>
                      <a:pt x="577" y="534"/>
                    </a:lnTo>
                    <a:lnTo>
                      <a:pt x="576" y="532"/>
                    </a:lnTo>
                    <a:lnTo>
                      <a:pt x="573" y="531"/>
                    </a:lnTo>
                    <a:lnTo>
                      <a:pt x="571" y="529"/>
                    </a:lnTo>
                    <a:lnTo>
                      <a:pt x="571" y="526"/>
                    </a:lnTo>
                    <a:lnTo>
                      <a:pt x="568" y="524"/>
                    </a:lnTo>
                    <a:lnTo>
                      <a:pt x="571" y="522"/>
                    </a:lnTo>
                    <a:lnTo>
                      <a:pt x="573" y="522"/>
                    </a:lnTo>
                    <a:lnTo>
                      <a:pt x="577" y="522"/>
                    </a:lnTo>
                    <a:lnTo>
                      <a:pt x="583" y="522"/>
                    </a:lnTo>
                    <a:lnTo>
                      <a:pt x="586" y="522"/>
                    </a:lnTo>
                    <a:lnTo>
                      <a:pt x="587" y="524"/>
                    </a:lnTo>
                    <a:lnTo>
                      <a:pt x="590" y="526"/>
                    </a:lnTo>
                    <a:lnTo>
                      <a:pt x="591" y="526"/>
                    </a:lnTo>
                    <a:lnTo>
                      <a:pt x="594" y="526"/>
                    </a:lnTo>
                    <a:lnTo>
                      <a:pt x="597" y="525"/>
                    </a:lnTo>
                    <a:lnTo>
                      <a:pt x="599" y="525"/>
                    </a:lnTo>
                    <a:lnTo>
                      <a:pt x="594" y="526"/>
                    </a:lnTo>
                    <a:lnTo>
                      <a:pt x="594" y="528"/>
                    </a:lnTo>
                    <a:lnTo>
                      <a:pt x="593" y="531"/>
                    </a:lnTo>
                    <a:lnTo>
                      <a:pt x="596" y="532"/>
                    </a:lnTo>
                    <a:lnTo>
                      <a:pt x="599" y="532"/>
                    </a:lnTo>
                    <a:lnTo>
                      <a:pt x="602" y="532"/>
                    </a:lnTo>
                    <a:lnTo>
                      <a:pt x="603" y="531"/>
                    </a:lnTo>
                    <a:lnTo>
                      <a:pt x="604" y="531"/>
                    </a:lnTo>
                    <a:lnTo>
                      <a:pt x="606" y="529"/>
                    </a:lnTo>
                    <a:lnTo>
                      <a:pt x="607" y="528"/>
                    </a:lnTo>
                    <a:lnTo>
                      <a:pt x="612" y="526"/>
                    </a:lnTo>
                    <a:lnTo>
                      <a:pt x="613" y="526"/>
                    </a:lnTo>
                    <a:lnTo>
                      <a:pt x="613" y="525"/>
                    </a:lnTo>
                    <a:lnTo>
                      <a:pt x="613" y="522"/>
                    </a:lnTo>
                    <a:lnTo>
                      <a:pt x="610" y="518"/>
                    </a:lnTo>
                    <a:lnTo>
                      <a:pt x="616" y="518"/>
                    </a:lnTo>
                    <a:lnTo>
                      <a:pt x="619" y="516"/>
                    </a:lnTo>
                    <a:lnTo>
                      <a:pt x="622" y="513"/>
                    </a:lnTo>
                    <a:lnTo>
                      <a:pt x="630" y="501"/>
                    </a:lnTo>
                    <a:lnTo>
                      <a:pt x="632" y="499"/>
                    </a:lnTo>
                    <a:lnTo>
                      <a:pt x="633" y="498"/>
                    </a:lnTo>
                    <a:lnTo>
                      <a:pt x="636" y="496"/>
                    </a:lnTo>
                    <a:lnTo>
                      <a:pt x="639" y="495"/>
                    </a:lnTo>
                    <a:lnTo>
                      <a:pt x="640" y="492"/>
                    </a:lnTo>
                    <a:lnTo>
                      <a:pt x="642" y="488"/>
                    </a:lnTo>
                    <a:lnTo>
                      <a:pt x="642" y="483"/>
                    </a:lnTo>
                    <a:lnTo>
                      <a:pt x="643" y="480"/>
                    </a:lnTo>
                    <a:lnTo>
                      <a:pt x="646" y="476"/>
                    </a:lnTo>
                    <a:lnTo>
                      <a:pt x="647" y="475"/>
                    </a:lnTo>
                    <a:lnTo>
                      <a:pt x="649" y="472"/>
                    </a:lnTo>
                    <a:lnTo>
                      <a:pt x="645" y="469"/>
                    </a:lnTo>
                    <a:lnTo>
                      <a:pt x="637" y="466"/>
                    </a:lnTo>
                    <a:lnTo>
                      <a:pt x="633" y="463"/>
                    </a:lnTo>
                    <a:lnTo>
                      <a:pt x="632" y="459"/>
                    </a:lnTo>
                    <a:lnTo>
                      <a:pt x="630" y="455"/>
                    </a:lnTo>
                    <a:lnTo>
                      <a:pt x="632" y="446"/>
                    </a:lnTo>
                    <a:lnTo>
                      <a:pt x="632" y="442"/>
                    </a:lnTo>
                    <a:lnTo>
                      <a:pt x="630" y="427"/>
                    </a:lnTo>
                    <a:lnTo>
                      <a:pt x="632" y="424"/>
                    </a:lnTo>
                    <a:lnTo>
                      <a:pt x="633" y="420"/>
                    </a:lnTo>
                    <a:lnTo>
                      <a:pt x="635" y="419"/>
                    </a:lnTo>
                    <a:lnTo>
                      <a:pt x="635" y="416"/>
                    </a:lnTo>
                    <a:lnTo>
                      <a:pt x="635" y="410"/>
                    </a:lnTo>
                    <a:lnTo>
                      <a:pt x="635" y="406"/>
                    </a:lnTo>
                    <a:lnTo>
                      <a:pt x="633" y="403"/>
                    </a:lnTo>
                    <a:lnTo>
                      <a:pt x="633" y="400"/>
                    </a:lnTo>
                    <a:lnTo>
                      <a:pt x="632" y="398"/>
                    </a:lnTo>
                    <a:lnTo>
                      <a:pt x="630" y="397"/>
                    </a:lnTo>
                    <a:lnTo>
                      <a:pt x="626" y="396"/>
                    </a:lnTo>
                    <a:lnTo>
                      <a:pt x="623" y="394"/>
                    </a:lnTo>
                    <a:lnTo>
                      <a:pt x="622" y="393"/>
                    </a:lnTo>
                    <a:lnTo>
                      <a:pt x="620" y="391"/>
                    </a:lnTo>
                    <a:lnTo>
                      <a:pt x="620" y="390"/>
                    </a:lnTo>
                    <a:lnTo>
                      <a:pt x="619" y="388"/>
                    </a:lnTo>
                    <a:lnTo>
                      <a:pt x="620" y="386"/>
                    </a:lnTo>
                    <a:lnTo>
                      <a:pt x="622" y="386"/>
                    </a:lnTo>
                    <a:lnTo>
                      <a:pt x="624" y="384"/>
                    </a:lnTo>
                    <a:lnTo>
                      <a:pt x="626" y="383"/>
                    </a:lnTo>
                    <a:lnTo>
                      <a:pt x="627" y="380"/>
                    </a:lnTo>
                    <a:lnTo>
                      <a:pt x="630" y="375"/>
                    </a:lnTo>
                    <a:lnTo>
                      <a:pt x="632" y="371"/>
                    </a:lnTo>
                    <a:lnTo>
                      <a:pt x="635" y="364"/>
                    </a:lnTo>
                    <a:lnTo>
                      <a:pt x="636" y="358"/>
                    </a:lnTo>
                    <a:lnTo>
                      <a:pt x="636" y="353"/>
                    </a:lnTo>
                    <a:lnTo>
                      <a:pt x="636" y="350"/>
                    </a:lnTo>
                    <a:lnTo>
                      <a:pt x="633" y="347"/>
                    </a:lnTo>
                    <a:lnTo>
                      <a:pt x="629" y="345"/>
                    </a:lnTo>
                    <a:lnTo>
                      <a:pt x="620" y="344"/>
                    </a:lnTo>
                    <a:lnTo>
                      <a:pt x="617" y="344"/>
                    </a:lnTo>
                    <a:lnTo>
                      <a:pt x="614" y="341"/>
                    </a:lnTo>
                    <a:lnTo>
                      <a:pt x="612" y="341"/>
                    </a:lnTo>
                    <a:lnTo>
                      <a:pt x="609" y="341"/>
                    </a:lnTo>
                    <a:lnTo>
                      <a:pt x="600" y="342"/>
                    </a:lnTo>
                    <a:lnTo>
                      <a:pt x="591" y="341"/>
                    </a:lnTo>
                    <a:lnTo>
                      <a:pt x="584" y="342"/>
                    </a:lnTo>
                    <a:lnTo>
                      <a:pt x="583" y="342"/>
                    </a:lnTo>
                    <a:lnTo>
                      <a:pt x="581" y="341"/>
                    </a:lnTo>
                    <a:lnTo>
                      <a:pt x="581" y="340"/>
                    </a:lnTo>
                    <a:lnTo>
                      <a:pt x="581" y="340"/>
                    </a:lnTo>
                    <a:lnTo>
                      <a:pt x="581" y="338"/>
                    </a:lnTo>
                    <a:lnTo>
                      <a:pt x="580" y="338"/>
                    </a:lnTo>
                    <a:lnTo>
                      <a:pt x="577" y="338"/>
                    </a:lnTo>
                    <a:lnTo>
                      <a:pt x="576" y="340"/>
                    </a:lnTo>
                    <a:lnTo>
                      <a:pt x="574" y="341"/>
                    </a:lnTo>
                    <a:lnTo>
                      <a:pt x="568" y="350"/>
                    </a:lnTo>
                    <a:lnTo>
                      <a:pt x="563" y="371"/>
                    </a:lnTo>
                    <a:lnTo>
                      <a:pt x="557" y="381"/>
                    </a:lnTo>
                    <a:lnTo>
                      <a:pt x="553" y="384"/>
                    </a:lnTo>
                    <a:lnTo>
                      <a:pt x="548" y="387"/>
                    </a:lnTo>
                    <a:lnTo>
                      <a:pt x="544" y="390"/>
                    </a:lnTo>
                    <a:lnTo>
                      <a:pt x="535" y="394"/>
                    </a:lnTo>
                    <a:lnTo>
                      <a:pt x="533" y="394"/>
                    </a:lnTo>
                    <a:lnTo>
                      <a:pt x="531" y="396"/>
                    </a:lnTo>
                    <a:lnTo>
                      <a:pt x="530" y="398"/>
                    </a:lnTo>
                    <a:lnTo>
                      <a:pt x="528" y="400"/>
                    </a:lnTo>
                    <a:lnTo>
                      <a:pt x="528" y="401"/>
                    </a:lnTo>
                    <a:lnTo>
                      <a:pt x="531" y="401"/>
                    </a:lnTo>
                    <a:lnTo>
                      <a:pt x="530" y="403"/>
                    </a:lnTo>
                    <a:lnTo>
                      <a:pt x="530" y="404"/>
                    </a:lnTo>
                    <a:lnTo>
                      <a:pt x="528" y="406"/>
                    </a:lnTo>
                    <a:lnTo>
                      <a:pt x="528" y="407"/>
                    </a:lnTo>
                    <a:lnTo>
                      <a:pt x="528" y="409"/>
                    </a:lnTo>
                    <a:lnTo>
                      <a:pt x="531" y="409"/>
                    </a:lnTo>
                    <a:lnTo>
                      <a:pt x="533" y="409"/>
                    </a:lnTo>
                    <a:lnTo>
                      <a:pt x="534" y="409"/>
                    </a:lnTo>
                    <a:lnTo>
                      <a:pt x="538" y="410"/>
                    </a:lnTo>
                    <a:lnTo>
                      <a:pt x="538" y="413"/>
                    </a:lnTo>
                    <a:lnTo>
                      <a:pt x="538" y="417"/>
                    </a:lnTo>
                    <a:lnTo>
                      <a:pt x="537" y="421"/>
                    </a:lnTo>
                    <a:lnTo>
                      <a:pt x="537" y="424"/>
                    </a:lnTo>
                    <a:lnTo>
                      <a:pt x="537" y="426"/>
                    </a:lnTo>
                    <a:lnTo>
                      <a:pt x="537" y="432"/>
                    </a:lnTo>
                    <a:lnTo>
                      <a:pt x="537" y="432"/>
                    </a:lnTo>
                    <a:lnTo>
                      <a:pt x="535" y="433"/>
                    </a:lnTo>
                    <a:lnTo>
                      <a:pt x="534" y="434"/>
                    </a:lnTo>
                    <a:lnTo>
                      <a:pt x="534" y="434"/>
                    </a:lnTo>
                    <a:lnTo>
                      <a:pt x="534" y="434"/>
                    </a:lnTo>
                    <a:lnTo>
                      <a:pt x="533" y="434"/>
                    </a:lnTo>
                    <a:lnTo>
                      <a:pt x="533" y="436"/>
                    </a:lnTo>
                    <a:lnTo>
                      <a:pt x="531" y="436"/>
                    </a:lnTo>
                    <a:lnTo>
                      <a:pt x="531" y="437"/>
                    </a:lnTo>
                    <a:lnTo>
                      <a:pt x="530" y="442"/>
                    </a:lnTo>
                    <a:lnTo>
                      <a:pt x="530" y="444"/>
                    </a:lnTo>
                    <a:lnTo>
                      <a:pt x="531" y="446"/>
                    </a:lnTo>
                    <a:lnTo>
                      <a:pt x="531" y="447"/>
                    </a:lnTo>
                    <a:lnTo>
                      <a:pt x="535" y="444"/>
                    </a:lnTo>
                    <a:lnTo>
                      <a:pt x="543" y="446"/>
                    </a:lnTo>
                    <a:lnTo>
                      <a:pt x="548" y="447"/>
                    </a:lnTo>
                    <a:lnTo>
                      <a:pt x="553" y="450"/>
                    </a:lnTo>
                    <a:lnTo>
                      <a:pt x="553" y="453"/>
                    </a:lnTo>
                    <a:lnTo>
                      <a:pt x="554" y="455"/>
                    </a:lnTo>
                    <a:lnTo>
                      <a:pt x="556" y="457"/>
                    </a:lnTo>
                    <a:lnTo>
                      <a:pt x="557" y="457"/>
                    </a:lnTo>
                    <a:lnTo>
                      <a:pt x="557" y="459"/>
                    </a:lnTo>
                    <a:lnTo>
                      <a:pt x="558" y="460"/>
                    </a:lnTo>
                    <a:lnTo>
                      <a:pt x="560" y="460"/>
                    </a:lnTo>
                    <a:lnTo>
                      <a:pt x="563" y="462"/>
                    </a:lnTo>
                    <a:lnTo>
                      <a:pt x="566" y="462"/>
                    </a:lnTo>
                    <a:lnTo>
                      <a:pt x="568" y="462"/>
                    </a:lnTo>
                    <a:lnTo>
                      <a:pt x="571" y="462"/>
                    </a:lnTo>
                    <a:lnTo>
                      <a:pt x="566" y="472"/>
                    </a:lnTo>
                    <a:lnTo>
                      <a:pt x="561" y="476"/>
                    </a:lnTo>
                    <a:lnTo>
                      <a:pt x="557" y="478"/>
                    </a:lnTo>
                    <a:lnTo>
                      <a:pt x="561" y="492"/>
                    </a:lnTo>
                    <a:lnTo>
                      <a:pt x="548" y="512"/>
                    </a:lnTo>
                    <a:lnTo>
                      <a:pt x="521" y="535"/>
                    </a:lnTo>
                    <a:lnTo>
                      <a:pt x="502" y="567"/>
                    </a:lnTo>
                    <a:lnTo>
                      <a:pt x="464" y="600"/>
                    </a:lnTo>
                    <a:lnTo>
                      <a:pt x="433" y="637"/>
                    </a:lnTo>
                    <a:lnTo>
                      <a:pt x="432" y="677"/>
                    </a:lnTo>
                    <a:lnTo>
                      <a:pt x="425" y="719"/>
                    </a:lnTo>
                    <a:lnTo>
                      <a:pt x="428" y="743"/>
                    </a:lnTo>
                    <a:lnTo>
                      <a:pt x="432" y="768"/>
                    </a:lnTo>
                    <a:lnTo>
                      <a:pt x="423" y="843"/>
                    </a:lnTo>
                    <a:lnTo>
                      <a:pt x="406" y="883"/>
                    </a:lnTo>
                    <a:lnTo>
                      <a:pt x="409" y="913"/>
                    </a:lnTo>
                    <a:lnTo>
                      <a:pt x="409" y="926"/>
                    </a:lnTo>
                    <a:lnTo>
                      <a:pt x="412" y="932"/>
                    </a:lnTo>
                    <a:lnTo>
                      <a:pt x="412" y="932"/>
                    </a:lnTo>
                    <a:lnTo>
                      <a:pt x="413" y="930"/>
                    </a:lnTo>
                    <a:lnTo>
                      <a:pt x="415" y="930"/>
                    </a:lnTo>
                    <a:lnTo>
                      <a:pt x="415" y="930"/>
                    </a:lnTo>
                    <a:lnTo>
                      <a:pt x="416" y="929"/>
                    </a:lnTo>
                    <a:lnTo>
                      <a:pt x="418" y="929"/>
                    </a:lnTo>
                    <a:lnTo>
                      <a:pt x="418" y="927"/>
                    </a:lnTo>
                    <a:lnTo>
                      <a:pt x="418" y="927"/>
                    </a:lnTo>
                    <a:lnTo>
                      <a:pt x="419" y="927"/>
                    </a:lnTo>
                    <a:lnTo>
                      <a:pt x="419" y="927"/>
                    </a:lnTo>
                    <a:lnTo>
                      <a:pt x="421" y="927"/>
                    </a:lnTo>
                    <a:lnTo>
                      <a:pt x="422" y="927"/>
                    </a:lnTo>
                    <a:lnTo>
                      <a:pt x="422" y="927"/>
                    </a:lnTo>
                    <a:lnTo>
                      <a:pt x="423" y="926"/>
                    </a:lnTo>
                    <a:lnTo>
                      <a:pt x="423" y="926"/>
                    </a:lnTo>
                    <a:lnTo>
                      <a:pt x="426" y="925"/>
                    </a:lnTo>
                    <a:lnTo>
                      <a:pt x="428" y="923"/>
                    </a:lnTo>
                    <a:lnTo>
                      <a:pt x="428" y="922"/>
                    </a:lnTo>
                    <a:lnTo>
                      <a:pt x="428" y="920"/>
                    </a:lnTo>
                    <a:lnTo>
                      <a:pt x="426" y="919"/>
                    </a:lnTo>
                    <a:lnTo>
                      <a:pt x="425" y="916"/>
                    </a:lnTo>
                    <a:lnTo>
                      <a:pt x="425" y="914"/>
                    </a:lnTo>
                    <a:lnTo>
                      <a:pt x="425" y="913"/>
                    </a:lnTo>
                    <a:lnTo>
                      <a:pt x="425" y="913"/>
                    </a:lnTo>
                    <a:lnTo>
                      <a:pt x="425" y="912"/>
                    </a:lnTo>
                    <a:lnTo>
                      <a:pt x="426" y="910"/>
                    </a:lnTo>
                    <a:lnTo>
                      <a:pt x="428" y="909"/>
                    </a:lnTo>
                    <a:lnTo>
                      <a:pt x="429" y="907"/>
                    </a:lnTo>
                    <a:lnTo>
                      <a:pt x="431" y="906"/>
                    </a:lnTo>
                    <a:lnTo>
                      <a:pt x="435" y="906"/>
                    </a:lnTo>
                    <a:lnTo>
                      <a:pt x="436" y="906"/>
                    </a:lnTo>
                    <a:lnTo>
                      <a:pt x="441" y="907"/>
                    </a:lnTo>
                    <a:lnTo>
                      <a:pt x="444" y="907"/>
                    </a:lnTo>
                    <a:lnTo>
                      <a:pt x="445" y="907"/>
                    </a:lnTo>
                    <a:lnTo>
                      <a:pt x="446" y="907"/>
                    </a:lnTo>
                    <a:lnTo>
                      <a:pt x="446" y="906"/>
                    </a:lnTo>
                    <a:lnTo>
                      <a:pt x="446" y="906"/>
                    </a:lnTo>
                    <a:lnTo>
                      <a:pt x="448" y="906"/>
                    </a:lnTo>
                    <a:lnTo>
                      <a:pt x="448" y="904"/>
                    </a:lnTo>
                    <a:lnTo>
                      <a:pt x="446" y="903"/>
                    </a:lnTo>
                    <a:lnTo>
                      <a:pt x="442" y="902"/>
                    </a:lnTo>
                    <a:lnTo>
                      <a:pt x="441" y="902"/>
                    </a:lnTo>
                    <a:lnTo>
                      <a:pt x="439" y="900"/>
                    </a:lnTo>
                    <a:lnTo>
                      <a:pt x="438" y="900"/>
                    </a:lnTo>
                    <a:lnTo>
                      <a:pt x="436" y="900"/>
                    </a:lnTo>
                    <a:lnTo>
                      <a:pt x="432" y="899"/>
                    </a:lnTo>
                    <a:lnTo>
                      <a:pt x="432" y="899"/>
                    </a:lnTo>
                    <a:lnTo>
                      <a:pt x="431" y="899"/>
                    </a:lnTo>
                    <a:lnTo>
                      <a:pt x="431" y="897"/>
                    </a:lnTo>
                    <a:lnTo>
                      <a:pt x="432" y="896"/>
                    </a:lnTo>
                    <a:lnTo>
                      <a:pt x="432" y="896"/>
                    </a:lnTo>
                    <a:lnTo>
                      <a:pt x="432" y="896"/>
                    </a:lnTo>
                    <a:lnTo>
                      <a:pt x="433" y="894"/>
                    </a:lnTo>
                    <a:lnTo>
                      <a:pt x="433" y="894"/>
                    </a:lnTo>
                    <a:lnTo>
                      <a:pt x="435" y="894"/>
                    </a:lnTo>
                    <a:lnTo>
                      <a:pt x="436" y="894"/>
                    </a:lnTo>
                    <a:lnTo>
                      <a:pt x="436" y="894"/>
                    </a:lnTo>
                    <a:lnTo>
                      <a:pt x="438" y="894"/>
                    </a:lnTo>
                    <a:lnTo>
                      <a:pt x="438" y="894"/>
                    </a:lnTo>
                    <a:lnTo>
                      <a:pt x="438" y="893"/>
                    </a:lnTo>
                    <a:lnTo>
                      <a:pt x="438" y="893"/>
                    </a:lnTo>
                    <a:lnTo>
                      <a:pt x="436" y="893"/>
                    </a:lnTo>
                    <a:lnTo>
                      <a:pt x="436" y="891"/>
                    </a:lnTo>
                    <a:lnTo>
                      <a:pt x="436" y="891"/>
                    </a:lnTo>
                    <a:lnTo>
                      <a:pt x="435" y="891"/>
                    </a:lnTo>
                    <a:lnTo>
                      <a:pt x="433" y="893"/>
                    </a:lnTo>
                    <a:lnTo>
                      <a:pt x="433" y="893"/>
                    </a:lnTo>
                    <a:lnTo>
                      <a:pt x="432" y="893"/>
                    </a:lnTo>
                    <a:lnTo>
                      <a:pt x="432" y="893"/>
                    </a:lnTo>
                    <a:lnTo>
                      <a:pt x="431" y="893"/>
                    </a:lnTo>
                    <a:lnTo>
                      <a:pt x="431" y="891"/>
                    </a:lnTo>
                    <a:lnTo>
                      <a:pt x="429" y="891"/>
                    </a:lnTo>
                    <a:lnTo>
                      <a:pt x="428" y="891"/>
                    </a:lnTo>
                    <a:lnTo>
                      <a:pt x="428" y="890"/>
                    </a:lnTo>
                    <a:lnTo>
                      <a:pt x="429" y="890"/>
                    </a:lnTo>
                    <a:lnTo>
                      <a:pt x="429" y="889"/>
                    </a:lnTo>
                    <a:lnTo>
                      <a:pt x="429" y="889"/>
                    </a:lnTo>
                    <a:lnTo>
                      <a:pt x="431" y="887"/>
                    </a:lnTo>
                    <a:lnTo>
                      <a:pt x="431" y="884"/>
                    </a:lnTo>
                    <a:lnTo>
                      <a:pt x="431" y="884"/>
                    </a:lnTo>
                    <a:lnTo>
                      <a:pt x="431" y="883"/>
                    </a:lnTo>
                    <a:lnTo>
                      <a:pt x="431" y="883"/>
                    </a:lnTo>
                    <a:lnTo>
                      <a:pt x="432" y="881"/>
                    </a:lnTo>
                    <a:lnTo>
                      <a:pt x="432" y="881"/>
                    </a:lnTo>
                    <a:lnTo>
                      <a:pt x="433" y="881"/>
                    </a:lnTo>
                    <a:lnTo>
                      <a:pt x="433" y="881"/>
                    </a:lnTo>
                    <a:lnTo>
                      <a:pt x="436" y="881"/>
                    </a:lnTo>
                    <a:lnTo>
                      <a:pt x="442" y="883"/>
                    </a:lnTo>
                    <a:lnTo>
                      <a:pt x="445" y="883"/>
                    </a:lnTo>
                    <a:lnTo>
                      <a:pt x="445" y="883"/>
                    </a:lnTo>
                    <a:lnTo>
                      <a:pt x="446" y="883"/>
                    </a:lnTo>
                    <a:lnTo>
                      <a:pt x="446" y="881"/>
                    </a:lnTo>
                    <a:lnTo>
                      <a:pt x="446" y="881"/>
                    </a:lnTo>
                    <a:lnTo>
                      <a:pt x="448" y="881"/>
                    </a:lnTo>
                    <a:lnTo>
                      <a:pt x="449" y="881"/>
                    </a:lnTo>
                    <a:lnTo>
                      <a:pt x="451" y="881"/>
                    </a:lnTo>
                    <a:lnTo>
                      <a:pt x="454" y="881"/>
                    </a:lnTo>
                    <a:lnTo>
                      <a:pt x="455" y="881"/>
                    </a:lnTo>
                    <a:lnTo>
                      <a:pt x="456" y="880"/>
                    </a:lnTo>
                    <a:lnTo>
                      <a:pt x="461" y="880"/>
                    </a:lnTo>
                    <a:lnTo>
                      <a:pt x="465" y="880"/>
                    </a:lnTo>
                    <a:lnTo>
                      <a:pt x="465" y="879"/>
                    </a:lnTo>
                    <a:lnTo>
                      <a:pt x="467" y="879"/>
                    </a:lnTo>
                    <a:lnTo>
                      <a:pt x="467" y="879"/>
                    </a:lnTo>
                    <a:lnTo>
                      <a:pt x="468" y="879"/>
                    </a:lnTo>
                    <a:lnTo>
                      <a:pt x="468" y="879"/>
                    </a:lnTo>
                    <a:lnTo>
                      <a:pt x="471" y="877"/>
                    </a:lnTo>
                    <a:lnTo>
                      <a:pt x="474" y="877"/>
                    </a:lnTo>
                    <a:lnTo>
                      <a:pt x="475" y="877"/>
                    </a:lnTo>
                    <a:lnTo>
                      <a:pt x="475" y="876"/>
                    </a:lnTo>
                    <a:lnTo>
                      <a:pt x="477" y="876"/>
                    </a:lnTo>
                    <a:lnTo>
                      <a:pt x="478" y="877"/>
                    </a:lnTo>
                    <a:lnTo>
                      <a:pt x="478" y="876"/>
                    </a:lnTo>
                    <a:lnTo>
                      <a:pt x="479" y="876"/>
                    </a:lnTo>
                    <a:lnTo>
                      <a:pt x="482" y="876"/>
                    </a:lnTo>
                    <a:lnTo>
                      <a:pt x="484" y="874"/>
                    </a:lnTo>
                    <a:lnTo>
                      <a:pt x="485" y="874"/>
                    </a:lnTo>
                    <a:lnTo>
                      <a:pt x="485" y="874"/>
                    </a:lnTo>
                    <a:lnTo>
                      <a:pt x="487" y="873"/>
                    </a:lnTo>
                    <a:lnTo>
                      <a:pt x="488" y="873"/>
                    </a:lnTo>
                    <a:lnTo>
                      <a:pt x="488" y="873"/>
                    </a:lnTo>
                    <a:lnTo>
                      <a:pt x="489" y="873"/>
                    </a:lnTo>
                    <a:lnTo>
                      <a:pt x="489" y="874"/>
                    </a:lnTo>
                    <a:lnTo>
                      <a:pt x="491" y="874"/>
                    </a:lnTo>
                    <a:lnTo>
                      <a:pt x="492" y="874"/>
                    </a:lnTo>
                    <a:lnTo>
                      <a:pt x="492" y="874"/>
                    </a:lnTo>
                    <a:lnTo>
                      <a:pt x="494" y="874"/>
                    </a:lnTo>
                    <a:lnTo>
                      <a:pt x="494" y="874"/>
                    </a:lnTo>
                    <a:lnTo>
                      <a:pt x="495" y="873"/>
                    </a:lnTo>
                    <a:lnTo>
                      <a:pt x="497" y="873"/>
                    </a:lnTo>
                    <a:lnTo>
                      <a:pt x="497" y="873"/>
                    </a:lnTo>
                    <a:lnTo>
                      <a:pt x="498" y="873"/>
                    </a:lnTo>
                    <a:lnTo>
                      <a:pt x="500" y="874"/>
                    </a:lnTo>
                    <a:lnTo>
                      <a:pt x="501" y="873"/>
                    </a:lnTo>
                    <a:lnTo>
                      <a:pt x="501" y="873"/>
                    </a:lnTo>
                    <a:lnTo>
                      <a:pt x="502" y="870"/>
                    </a:lnTo>
                    <a:lnTo>
                      <a:pt x="504" y="870"/>
                    </a:lnTo>
                    <a:lnTo>
                      <a:pt x="504" y="870"/>
                    </a:lnTo>
                    <a:lnTo>
                      <a:pt x="504" y="868"/>
                    </a:lnTo>
                    <a:lnTo>
                      <a:pt x="505" y="868"/>
                    </a:lnTo>
                    <a:lnTo>
                      <a:pt x="507" y="868"/>
                    </a:lnTo>
                    <a:lnTo>
                      <a:pt x="507" y="867"/>
                    </a:lnTo>
                    <a:lnTo>
                      <a:pt x="511" y="867"/>
                    </a:lnTo>
                    <a:lnTo>
                      <a:pt x="514" y="866"/>
                    </a:lnTo>
                    <a:lnTo>
                      <a:pt x="514" y="866"/>
                    </a:lnTo>
                    <a:lnTo>
                      <a:pt x="518" y="867"/>
                    </a:lnTo>
                    <a:lnTo>
                      <a:pt x="521" y="867"/>
                    </a:lnTo>
                    <a:lnTo>
                      <a:pt x="530" y="864"/>
                    </a:lnTo>
                    <a:lnTo>
                      <a:pt x="535" y="864"/>
                    </a:lnTo>
                    <a:lnTo>
                      <a:pt x="535" y="864"/>
                    </a:lnTo>
                    <a:lnTo>
                      <a:pt x="535" y="864"/>
                    </a:lnTo>
                    <a:lnTo>
                      <a:pt x="538" y="863"/>
                    </a:lnTo>
                    <a:lnTo>
                      <a:pt x="540" y="863"/>
                    </a:lnTo>
                    <a:lnTo>
                      <a:pt x="544" y="861"/>
                    </a:lnTo>
                    <a:lnTo>
                      <a:pt x="544" y="861"/>
                    </a:lnTo>
                    <a:lnTo>
                      <a:pt x="545" y="861"/>
                    </a:lnTo>
                    <a:lnTo>
                      <a:pt x="545" y="861"/>
                    </a:lnTo>
                    <a:lnTo>
                      <a:pt x="547" y="861"/>
                    </a:lnTo>
                    <a:lnTo>
                      <a:pt x="547" y="861"/>
                    </a:lnTo>
                    <a:lnTo>
                      <a:pt x="548" y="860"/>
                    </a:lnTo>
                    <a:lnTo>
                      <a:pt x="548" y="860"/>
                    </a:lnTo>
                    <a:lnTo>
                      <a:pt x="548" y="860"/>
                    </a:lnTo>
                    <a:lnTo>
                      <a:pt x="550" y="860"/>
                    </a:lnTo>
                    <a:lnTo>
                      <a:pt x="553" y="860"/>
                    </a:lnTo>
                    <a:lnTo>
                      <a:pt x="553" y="860"/>
                    </a:lnTo>
                    <a:lnTo>
                      <a:pt x="554" y="860"/>
                    </a:lnTo>
                    <a:lnTo>
                      <a:pt x="554" y="858"/>
                    </a:lnTo>
                    <a:lnTo>
                      <a:pt x="556" y="858"/>
                    </a:lnTo>
                    <a:lnTo>
                      <a:pt x="556" y="858"/>
                    </a:lnTo>
                    <a:lnTo>
                      <a:pt x="556" y="857"/>
                    </a:lnTo>
                    <a:lnTo>
                      <a:pt x="556" y="856"/>
                    </a:lnTo>
                    <a:lnTo>
                      <a:pt x="556" y="856"/>
                    </a:lnTo>
                    <a:lnTo>
                      <a:pt x="557" y="854"/>
                    </a:lnTo>
                    <a:lnTo>
                      <a:pt x="558" y="854"/>
                    </a:lnTo>
                    <a:lnTo>
                      <a:pt x="561" y="854"/>
                    </a:lnTo>
                    <a:lnTo>
                      <a:pt x="563" y="853"/>
                    </a:lnTo>
                    <a:lnTo>
                      <a:pt x="566" y="851"/>
                    </a:lnTo>
                    <a:lnTo>
                      <a:pt x="568" y="850"/>
                    </a:lnTo>
                    <a:lnTo>
                      <a:pt x="577" y="851"/>
                    </a:lnTo>
                    <a:lnTo>
                      <a:pt x="580" y="851"/>
                    </a:lnTo>
                    <a:lnTo>
                      <a:pt x="580" y="851"/>
                    </a:lnTo>
                    <a:lnTo>
                      <a:pt x="581" y="851"/>
                    </a:lnTo>
                    <a:lnTo>
                      <a:pt x="583" y="853"/>
                    </a:lnTo>
                    <a:lnTo>
                      <a:pt x="583" y="853"/>
                    </a:lnTo>
                    <a:lnTo>
                      <a:pt x="586" y="854"/>
                    </a:lnTo>
                    <a:lnTo>
                      <a:pt x="587" y="854"/>
                    </a:lnTo>
                    <a:lnTo>
                      <a:pt x="589" y="854"/>
                    </a:lnTo>
                    <a:lnTo>
                      <a:pt x="589" y="856"/>
                    </a:lnTo>
                    <a:lnTo>
                      <a:pt x="590" y="856"/>
                    </a:lnTo>
                    <a:lnTo>
                      <a:pt x="591" y="854"/>
                    </a:lnTo>
                    <a:lnTo>
                      <a:pt x="593" y="853"/>
                    </a:lnTo>
                    <a:lnTo>
                      <a:pt x="594" y="853"/>
                    </a:lnTo>
                    <a:lnTo>
                      <a:pt x="597" y="853"/>
                    </a:lnTo>
                    <a:lnTo>
                      <a:pt x="600" y="851"/>
                    </a:lnTo>
                    <a:lnTo>
                      <a:pt x="600" y="853"/>
                    </a:lnTo>
                    <a:lnTo>
                      <a:pt x="602" y="854"/>
                    </a:lnTo>
                    <a:lnTo>
                      <a:pt x="602" y="856"/>
                    </a:lnTo>
                    <a:lnTo>
                      <a:pt x="603" y="856"/>
                    </a:lnTo>
                    <a:lnTo>
                      <a:pt x="603" y="857"/>
                    </a:lnTo>
                    <a:lnTo>
                      <a:pt x="603" y="858"/>
                    </a:lnTo>
                    <a:lnTo>
                      <a:pt x="604" y="863"/>
                    </a:lnTo>
                    <a:lnTo>
                      <a:pt x="606" y="864"/>
                    </a:lnTo>
                    <a:lnTo>
                      <a:pt x="607" y="867"/>
                    </a:lnTo>
                    <a:lnTo>
                      <a:pt x="607" y="868"/>
                    </a:lnTo>
                    <a:lnTo>
                      <a:pt x="607" y="871"/>
                    </a:lnTo>
                    <a:lnTo>
                      <a:pt x="607" y="873"/>
                    </a:lnTo>
                    <a:lnTo>
                      <a:pt x="606" y="874"/>
                    </a:lnTo>
                    <a:lnTo>
                      <a:pt x="606" y="874"/>
                    </a:lnTo>
                    <a:lnTo>
                      <a:pt x="604" y="876"/>
                    </a:lnTo>
                    <a:lnTo>
                      <a:pt x="606" y="877"/>
                    </a:lnTo>
                    <a:lnTo>
                      <a:pt x="609" y="879"/>
                    </a:lnTo>
                    <a:lnTo>
                      <a:pt x="612" y="879"/>
                    </a:lnTo>
                    <a:lnTo>
                      <a:pt x="613" y="879"/>
                    </a:lnTo>
                    <a:lnTo>
                      <a:pt x="616" y="877"/>
                    </a:lnTo>
                    <a:lnTo>
                      <a:pt x="617" y="877"/>
                    </a:lnTo>
                    <a:lnTo>
                      <a:pt x="619" y="877"/>
                    </a:lnTo>
                    <a:lnTo>
                      <a:pt x="620" y="877"/>
                    </a:lnTo>
                    <a:lnTo>
                      <a:pt x="623" y="877"/>
                    </a:lnTo>
                    <a:lnTo>
                      <a:pt x="623" y="874"/>
                    </a:lnTo>
                    <a:lnTo>
                      <a:pt x="624" y="874"/>
                    </a:lnTo>
                    <a:lnTo>
                      <a:pt x="626" y="874"/>
                    </a:lnTo>
                    <a:lnTo>
                      <a:pt x="626" y="876"/>
                    </a:lnTo>
                    <a:lnTo>
                      <a:pt x="626" y="876"/>
                    </a:lnTo>
                    <a:lnTo>
                      <a:pt x="627" y="877"/>
                    </a:lnTo>
                    <a:lnTo>
                      <a:pt x="629" y="879"/>
                    </a:lnTo>
                    <a:lnTo>
                      <a:pt x="629" y="880"/>
                    </a:lnTo>
                    <a:lnTo>
                      <a:pt x="629" y="883"/>
                    </a:lnTo>
                    <a:lnTo>
                      <a:pt x="632" y="881"/>
                    </a:lnTo>
                    <a:lnTo>
                      <a:pt x="632" y="880"/>
                    </a:lnTo>
                    <a:lnTo>
                      <a:pt x="632" y="879"/>
                    </a:lnTo>
                    <a:lnTo>
                      <a:pt x="633" y="879"/>
                    </a:lnTo>
                    <a:lnTo>
                      <a:pt x="637" y="880"/>
                    </a:lnTo>
                    <a:lnTo>
                      <a:pt x="640" y="881"/>
                    </a:lnTo>
                    <a:lnTo>
                      <a:pt x="640" y="881"/>
                    </a:lnTo>
                    <a:lnTo>
                      <a:pt x="642" y="883"/>
                    </a:lnTo>
                    <a:lnTo>
                      <a:pt x="643" y="883"/>
                    </a:lnTo>
                    <a:lnTo>
                      <a:pt x="645" y="883"/>
                    </a:lnTo>
                    <a:lnTo>
                      <a:pt x="646" y="883"/>
                    </a:lnTo>
                    <a:lnTo>
                      <a:pt x="647" y="883"/>
                    </a:lnTo>
                    <a:lnTo>
                      <a:pt x="649" y="881"/>
                    </a:lnTo>
                    <a:lnTo>
                      <a:pt x="649" y="881"/>
                    </a:lnTo>
                    <a:lnTo>
                      <a:pt x="650" y="880"/>
                    </a:lnTo>
                    <a:lnTo>
                      <a:pt x="650" y="880"/>
                    </a:lnTo>
                    <a:lnTo>
                      <a:pt x="652" y="881"/>
                    </a:lnTo>
                    <a:lnTo>
                      <a:pt x="652" y="881"/>
                    </a:lnTo>
                    <a:lnTo>
                      <a:pt x="652" y="884"/>
                    </a:lnTo>
                    <a:lnTo>
                      <a:pt x="649" y="886"/>
                    </a:lnTo>
                    <a:lnTo>
                      <a:pt x="647" y="886"/>
                    </a:lnTo>
                    <a:lnTo>
                      <a:pt x="646" y="887"/>
                    </a:lnTo>
                    <a:lnTo>
                      <a:pt x="645" y="887"/>
                    </a:lnTo>
                    <a:lnTo>
                      <a:pt x="645" y="889"/>
                    </a:lnTo>
                    <a:lnTo>
                      <a:pt x="645" y="891"/>
                    </a:lnTo>
                    <a:lnTo>
                      <a:pt x="645" y="893"/>
                    </a:lnTo>
                    <a:lnTo>
                      <a:pt x="646" y="894"/>
                    </a:lnTo>
                    <a:lnTo>
                      <a:pt x="646" y="896"/>
                    </a:lnTo>
                    <a:lnTo>
                      <a:pt x="647" y="894"/>
                    </a:lnTo>
                    <a:lnTo>
                      <a:pt x="649" y="893"/>
                    </a:lnTo>
                    <a:lnTo>
                      <a:pt x="650" y="893"/>
                    </a:lnTo>
                    <a:lnTo>
                      <a:pt x="652" y="891"/>
                    </a:lnTo>
                    <a:lnTo>
                      <a:pt x="653" y="891"/>
                    </a:lnTo>
                    <a:lnTo>
                      <a:pt x="655" y="891"/>
                    </a:lnTo>
                    <a:lnTo>
                      <a:pt x="656" y="891"/>
                    </a:lnTo>
                    <a:lnTo>
                      <a:pt x="658" y="891"/>
                    </a:lnTo>
                    <a:lnTo>
                      <a:pt x="660" y="891"/>
                    </a:lnTo>
                    <a:lnTo>
                      <a:pt x="662" y="893"/>
                    </a:lnTo>
                    <a:lnTo>
                      <a:pt x="663" y="894"/>
                    </a:lnTo>
                    <a:lnTo>
                      <a:pt x="665" y="893"/>
                    </a:lnTo>
                    <a:lnTo>
                      <a:pt x="665" y="891"/>
                    </a:lnTo>
                    <a:lnTo>
                      <a:pt x="666" y="890"/>
                    </a:lnTo>
                    <a:lnTo>
                      <a:pt x="669" y="887"/>
                    </a:lnTo>
                    <a:lnTo>
                      <a:pt x="669" y="887"/>
                    </a:lnTo>
                    <a:lnTo>
                      <a:pt x="672" y="886"/>
                    </a:lnTo>
                    <a:lnTo>
                      <a:pt x="675" y="886"/>
                    </a:lnTo>
                    <a:lnTo>
                      <a:pt x="676" y="886"/>
                    </a:lnTo>
                    <a:lnTo>
                      <a:pt x="678" y="884"/>
                    </a:lnTo>
                    <a:lnTo>
                      <a:pt x="679" y="884"/>
                    </a:lnTo>
                    <a:lnTo>
                      <a:pt x="680" y="883"/>
                    </a:lnTo>
                    <a:lnTo>
                      <a:pt x="680" y="881"/>
                    </a:lnTo>
                    <a:lnTo>
                      <a:pt x="682" y="880"/>
                    </a:lnTo>
                    <a:lnTo>
                      <a:pt x="682" y="880"/>
                    </a:lnTo>
                    <a:lnTo>
                      <a:pt x="686" y="880"/>
                    </a:lnTo>
                    <a:lnTo>
                      <a:pt x="689" y="879"/>
                    </a:lnTo>
                    <a:lnTo>
                      <a:pt x="695" y="876"/>
                    </a:lnTo>
                    <a:lnTo>
                      <a:pt x="695" y="876"/>
                    </a:lnTo>
                    <a:lnTo>
                      <a:pt x="696" y="874"/>
                    </a:lnTo>
                    <a:lnTo>
                      <a:pt x="696" y="874"/>
                    </a:lnTo>
                    <a:lnTo>
                      <a:pt x="701" y="874"/>
                    </a:lnTo>
                    <a:lnTo>
                      <a:pt x="703" y="873"/>
                    </a:lnTo>
                    <a:lnTo>
                      <a:pt x="705" y="871"/>
                    </a:lnTo>
                    <a:lnTo>
                      <a:pt x="706" y="871"/>
                    </a:lnTo>
                    <a:lnTo>
                      <a:pt x="706" y="874"/>
                    </a:lnTo>
                    <a:lnTo>
                      <a:pt x="705" y="877"/>
                    </a:lnTo>
                    <a:lnTo>
                      <a:pt x="703" y="879"/>
                    </a:lnTo>
                    <a:lnTo>
                      <a:pt x="699" y="879"/>
                    </a:lnTo>
                    <a:lnTo>
                      <a:pt x="701" y="881"/>
                    </a:lnTo>
                    <a:lnTo>
                      <a:pt x="702" y="883"/>
                    </a:lnTo>
                    <a:lnTo>
                      <a:pt x="703" y="884"/>
                    </a:lnTo>
                    <a:lnTo>
                      <a:pt x="706" y="886"/>
                    </a:lnTo>
                    <a:lnTo>
                      <a:pt x="722" y="897"/>
                    </a:lnTo>
                    <a:lnTo>
                      <a:pt x="724" y="899"/>
                    </a:lnTo>
                    <a:lnTo>
                      <a:pt x="731" y="907"/>
                    </a:lnTo>
                    <a:lnTo>
                      <a:pt x="732" y="910"/>
                    </a:lnTo>
                    <a:lnTo>
                      <a:pt x="738" y="920"/>
                    </a:lnTo>
                    <a:lnTo>
                      <a:pt x="742" y="926"/>
                    </a:lnTo>
                    <a:lnTo>
                      <a:pt x="747" y="932"/>
                    </a:lnTo>
                    <a:lnTo>
                      <a:pt x="749" y="936"/>
                    </a:lnTo>
                    <a:lnTo>
                      <a:pt x="749" y="939"/>
                    </a:lnTo>
                    <a:lnTo>
                      <a:pt x="752" y="943"/>
                    </a:lnTo>
                    <a:lnTo>
                      <a:pt x="754" y="946"/>
                    </a:lnTo>
                    <a:lnTo>
                      <a:pt x="761" y="960"/>
                    </a:lnTo>
                    <a:lnTo>
                      <a:pt x="761" y="962"/>
                    </a:lnTo>
                    <a:lnTo>
                      <a:pt x="762" y="962"/>
                    </a:lnTo>
                    <a:lnTo>
                      <a:pt x="762" y="963"/>
                    </a:lnTo>
                    <a:lnTo>
                      <a:pt x="764" y="963"/>
                    </a:lnTo>
                    <a:lnTo>
                      <a:pt x="764" y="962"/>
                    </a:lnTo>
                    <a:lnTo>
                      <a:pt x="764" y="960"/>
                    </a:lnTo>
                    <a:lnTo>
                      <a:pt x="765" y="960"/>
                    </a:lnTo>
                    <a:lnTo>
                      <a:pt x="767" y="959"/>
                    </a:lnTo>
                    <a:lnTo>
                      <a:pt x="767" y="959"/>
                    </a:lnTo>
                    <a:lnTo>
                      <a:pt x="768" y="959"/>
                    </a:lnTo>
                    <a:lnTo>
                      <a:pt x="768" y="959"/>
                    </a:lnTo>
                    <a:lnTo>
                      <a:pt x="770" y="959"/>
                    </a:lnTo>
                    <a:lnTo>
                      <a:pt x="770" y="958"/>
                    </a:lnTo>
                    <a:lnTo>
                      <a:pt x="770" y="956"/>
                    </a:lnTo>
                    <a:lnTo>
                      <a:pt x="770" y="953"/>
                    </a:lnTo>
                    <a:lnTo>
                      <a:pt x="770" y="952"/>
                    </a:lnTo>
                    <a:lnTo>
                      <a:pt x="771" y="952"/>
                    </a:lnTo>
                    <a:lnTo>
                      <a:pt x="772" y="950"/>
                    </a:lnTo>
                    <a:lnTo>
                      <a:pt x="772" y="950"/>
                    </a:lnTo>
                    <a:lnTo>
                      <a:pt x="774" y="949"/>
                    </a:lnTo>
                    <a:lnTo>
                      <a:pt x="774" y="949"/>
                    </a:lnTo>
                    <a:lnTo>
                      <a:pt x="775" y="949"/>
                    </a:lnTo>
                    <a:lnTo>
                      <a:pt x="775" y="949"/>
                    </a:lnTo>
                    <a:lnTo>
                      <a:pt x="777" y="949"/>
                    </a:lnTo>
                    <a:lnTo>
                      <a:pt x="778" y="949"/>
                    </a:lnTo>
                    <a:lnTo>
                      <a:pt x="778" y="950"/>
                    </a:lnTo>
                    <a:lnTo>
                      <a:pt x="778" y="950"/>
                    </a:lnTo>
                    <a:lnTo>
                      <a:pt x="780" y="952"/>
                    </a:lnTo>
                    <a:lnTo>
                      <a:pt x="781" y="952"/>
                    </a:lnTo>
                    <a:lnTo>
                      <a:pt x="782" y="952"/>
                    </a:lnTo>
                    <a:lnTo>
                      <a:pt x="782" y="952"/>
                    </a:lnTo>
                    <a:lnTo>
                      <a:pt x="782" y="953"/>
                    </a:lnTo>
                    <a:lnTo>
                      <a:pt x="782" y="953"/>
                    </a:lnTo>
                    <a:lnTo>
                      <a:pt x="781" y="955"/>
                    </a:lnTo>
                    <a:lnTo>
                      <a:pt x="781" y="958"/>
                    </a:lnTo>
                    <a:lnTo>
                      <a:pt x="781" y="958"/>
                    </a:lnTo>
                    <a:lnTo>
                      <a:pt x="782" y="958"/>
                    </a:lnTo>
                    <a:lnTo>
                      <a:pt x="782" y="958"/>
                    </a:lnTo>
                    <a:lnTo>
                      <a:pt x="784" y="958"/>
                    </a:lnTo>
                    <a:lnTo>
                      <a:pt x="785" y="958"/>
                    </a:lnTo>
                    <a:lnTo>
                      <a:pt x="787" y="958"/>
                    </a:lnTo>
                    <a:lnTo>
                      <a:pt x="787" y="959"/>
                    </a:lnTo>
                    <a:lnTo>
                      <a:pt x="788" y="960"/>
                    </a:lnTo>
                    <a:lnTo>
                      <a:pt x="788" y="963"/>
                    </a:lnTo>
                    <a:lnTo>
                      <a:pt x="788" y="963"/>
                    </a:lnTo>
                    <a:lnTo>
                      <a:pt x="790" y="963"/>
                    </a:lnTo>
                    <a:lnTo>
                      <a:pt x="791" y="963"/>
                    </a:lnTo>
                    <a:lnTo>
                      <a:pt x="793" y="963"/>
                    </a:lnTo>
                    <a:lnTo>
                      <a:pt x="797" y="963"/>
                    </a:lnTo>
                    <a:lnTo>
                      <a:pt x="800" y="965"/>
                    </a:lnTo>
                    <a:lnTo>
                      <a:pt x="800" y="965"/>
                    </a:lnTo>
                    <a:lnTo>
                      <a:pt x="801" y="965"/>
                    </a:lnTo>
                    <a:lnTo>
                      <a:pt x="803" y="963"/>
                    </a:lnTo>
                    <a:lnTo>
                      <a:pt x="805" y="963"/>
                    </a:lnTo>
                    <a:lnTo>
                      <a:pt x="807" y="963"/>
                    </a:lnTo>
                    <a:lnTo>
                      <a:pt x="808" y="963"/>
                    </a:lnTo>
                    <a:lnTo>
                      <a:pt x="808" y="962"/>
                    </a:lnTo>
                    <a:lnTo>
                      <a:pt x="810" y="962"/>
                    </a:lnTo>
                    <a:lnTo>
                      <a:pt x="810" y="960"/>
                    </a:lnTo>
                    <a:lnTo>
                      <a:pt x="810" y="960"/>
                    </a:lnTo>
                    <a:lnTo>
                      <a:pt x="811" y="959"/>
                    </a:lnTo>
                    <a:lnTo>
                      <a:pt x="814" y="959"/>
                    </a:lnTo>
                    <a:lnTo>
                      <a:pt x="814" y="959"/>
                    </a:lnTo>
                    <a:lnTo>
                      <a:pt x="815" y="959"/>
                    </a:lnTo>
                    <a:lnTo>
                      <a:pt x="815" y="959"/>
                    </a:lnTo>
                    <a:lnTo>
                      <a:pt x="815" y="959"/>
                    </a:lnTo>
                    <a:lnTo>
                      <a:pt x="817" y="958"/>
                    </a:lnTo>
                    <a:lnTo>
                      <a:pt x="818" y="958"/>
                    </a:lnTo>
                    <a:lnTo>
                      <a:pt x="818" y="956"/>
                    </a:lnTo>
                    <a:lnTo>
                      <a:pt x="820" y="956"/>
                    </a:lnTo>
                    <a:lnTo>
                      <a:pt x="821" y="956"/>
                    </a:lnTo>
                    <a:lnTo>
                      <a:pt x="824" y="958"/>
                    </a:lnTo>
                    <a:lnTo>
                      <a:pt x="827" y="959"/>
                    </a:lnTo>
                    <a:lnTo>
                      <a:pt x="830" y="962"/>
                    </a:lnTo>
                    <a:lnTo>
                      <a:pt x="834" y="966"/>
                    </a:lnTo>
                    <a:lnTo>
                      <a:pt x="834" y="968"/>
                    </a:lnTo>
                    <a:lnTo>
                      <a:pt x="836" y="968"/>
                    </a:lnTo>
                    <a:lnTo>
                      <a:pt x="836" y="969"/>
                    </a:lnTo>
                    <a:lnTo>
                      <a:pt x="836" y="971"/>
                    </a:lnTo>
                    <a:lnTo>
                      <a:pt x="836" y="972"/>
                    </a:lnTo>
                    <a:lnTo>
                      <a:pt x="837" y="975"/>
                    </a:lnTo>
                    <a:lnTo>
                      <a:pt x="838" y="976"/>
                    </a:lnTo>
                    <a:lnTo>
                      <a:pt x="840" y="978"/>
                    </a:lnTo>
                    <a:lnTo>
                      <a:pt x="843" y="978"/>
                    </a:lnTo>
                    <a:lnTo>
                      <a:pt x="843" y="978"/>
                    </a:lnTo>
                    <a:lnTo>
                      <a:pt x="844" y="979"/>
                    </a:lnTo>
                    <a:lnTo>
                      <a:pt x="846" y="979"/>
                    </a:lnTo>
                    <a:lnTo>
                      <a:pt x="846" y="981"/>
                    </a:lnTo>
                    <a:lnTo>
                      <a:pt x="847" y="981"/>
                    </a:lnTo>
                    <a:lnTo>
                      <a:pt x="849" y="981"/>
                    </a:lnTo>
                    <a:lnTo>
                      <a:pt x="849" y="981"/>
                    </a:lnTo>
                    <a:lnTo>
                      <a:pt x="850" y="982"/>
                    </a:lnTo>
                    <a:lnTo>
                      <a:pt x="850" y="983"/>
                    </a:lnTo>
                    <a:lnTo>
                      <a:pt x="850" y="985"/>
                    </a:lnTo>
                    <a:lnTo>
                      <a:pt x="850" y="985"/>
                    </a:lnTo>
                    <a:lnTo>
                      <a:pt x="850" y="986"/>
                    </a:lnTo>
                    <a:lnTo>
                      <a:pt x="851" y="986"/>
                    </a:lnTo>
                    <a:lnTo>
                      <a:pt x="851" y="988"/>
                    </a:lnTo>
                    <a:lnTo>
                      <a:pt x="851" y="989"/>
                    </a:lnTo>
                    <a:lnTo>
                      <a:pt x="853" y="991"/>
                    </a:lnTo>
                    <a:lnTo>
                      <a:pt x="854" y="992"/>
                    </a:lnTo>
                    <a:lnTo>
                      <a:pt x="854" y="994"/>
                    </a:lnTo>
                    <a:lnTo>
                      <a:pt x="854" y="994"/>
                    </a:lnTo>
                    <a:lnTo>
                      <a:pt x="856" y="994"/>
                    </a:lnTo>
                    <a:lnTo>
                      <a:pt x="856" y="994"/>
                    </a:lnTo>
                    <a:lnTo>
                      <a:pt x="857" y="994"/>
                    </a:lnTo>
                    <a:lnTo>
                      <a:pt x="859" y="994"/>
                    </a:lnTo>
                    <a:lnTo>
                      <a:pt x="859" y="994"/>
                    </a:lnTo>
                    <a:lnTo>
                      <a:pt x="863" y="994"/>
                    </a:lnTo>
                    <a:lnTo>
                      <a:pt x="866" y="995"/>
                    </a:lnTo>
                    <a:lnTo>
                      <a:pt x="866" y="995"/>
                    </a:lnTo>
                    <a:lnTo>
                      <a:pt x="867" y="996"/>
                    </a:lnTo>
                    <a:lnTo>
                      <a:pt x="870" y="996"/>
                    </a:lnTo>
                    <a:lnTo>
                      <a:pt x="871" y="996"/>
                    </a:lnTo>
                    <a:lnTo>
                      <a:pt x="873" y="994"/>
                    </a:lnTo>
                    <a:lnTo>
                      <a:pt x="874" y="994"/>
                    </a:lnTo>
                    <a:lnTo>
                      <a:pt x="876" y="992"/>
                    </a:lnTo>
                    <a:lnTo>
                      <a:pt x="877" y="991"/>
                    </a:lnTo>
                    <a:lnTo>
                      <a:pt x="879" y="989"/>
                    </a:lnTo>
                    <a:lnTo>
                      <a:pt x="880" y="989"/>
                    </a:lnTo>
                    <a:lnTo>
                      <a:pt x="880" y="991"/>
                    </a:lnTo>
                    <a:lnTo>
                      <a:pt x="880" y="991"/>
                    </a:lnTo>
                    <a:lnTo>
                      <a:pt x="880" y="992"/>
                    </a:lnTo>
                    <a:lnTo>
                      <a:pt x="879" y="992"/>
                    </a:lnTo>
                    <a:lnTo>
                      <a:pt x="879" y="995"/>
                    </a:lnTo>
                    <a:lnTo>
                      <a:pt x="880" y="995"/>
                    </a:lnTo>
                    <a:lnTo>
                      <a:pt x="880" y="995"/>
                    </a:lnTo>
                    <a:lnTo>
                      <a:pt x="882" y="995"/>
                    </a:lnTo>
                    <a:lnTo>
                      <a:pt x="882" y="996"/>
                    </a:lnTo>
                    <a:lnTo>
                      <a:pt x="884" y="1001"/>
                    </a:lnTo>
                    <a:lnTo>
                      <a:pt x="886" y="1002"/>
                    </a:lnTo>
                    <a:lnTo>
                      <a:pt x="886" y="1002"/>
                    </a:lnTo>
                    <a:lnTo>
                      <a:pt x="887" y="1002"/>
                    </a:lnTo>
                    <a:lnTo>
                      <a:pt x="889" y="1004"/>
                    </a:lnTo>
                    <a:lnTo>
                      <a:pt x="890" y="1004"/>
                    </a:lnTo>
                    <a:lnTo>
                      <a:pt x="890" y="1005"/>
                    </a:lnTo>
                    <a:lnTo>
                      <a:pt x="890" y="1005"/>
                    </a:lnTo>
                    <a:lnTo>
                      <a:pt x="890" y="1006"/>
                    </a:lnTo>
                    <a:lnTo>
                      <a:pt x="892" y="1006"/>
                    </a:lnTo>
                    <a:lnTo>
                      <a:pt x="892" y="1006"/>
                    </a:lnTo>
                    <a:lnTo>
                      <a:pt x="892" y="1006"/>
                    </a:lnTo>
                    <a:lnTo>
                      <a:pt x="893" y="1006"/>
                    </a:lnTo>
                    <a:lnTo>
                      <a:pt x="893" y="1006"/>
                    </a:lnTo>
                    <a:lnTo>
                      <a:pt x="894" y="1005"/>
                    </a:lnTo>
                    <a:lnTo>
                      <a:pt x="896" y="1005"/>
                    </a:lnTo>
                    <a:lnTo>
                      <a:pt x="897" y="1005"/>
                    </a:lnTo>
                    <a:lnTo>
                      <a:pt x="899" y="1005"/>
                    </a:lnTo>
                    <a:lnTo>
                      <a:pt x="900" y="1005"/>
                    </a:lnTo>
                    <a:lnTo>
                      <a:pt x="900" y="1005"/>
                    </a:lnTo>
                    <a:lnTo>
                      <a:pt x="900" y="1005"/>
                    </a:lnTo>
                    <a:lnTo>
                      <a:pt x="900" y="1005"/>
                    </a:lnTo>
                    <a:lnTo>
                      <a:pt x="902" y="1005"/>
                    </a:lnTo>
                    <a:lnTo>
                      <a:pt x="902" y="1005"/>
                    </a:lnTo>
                    <a:lnTo>
                      <a:pt x="903" y="1004"/>
                    </a:lnTo>
                    <a:lnTo>
                      <a:pt x="903" y="1004"/>
                    </a:lnTo>
                    <a:lnTo>
                      <a:pt x="905" y="1002"/>
                    </a:lnTo>
                    <a:lnTo>
                      <a:pt x="906" y="1001"/>
                    </a:lnTo>
                    <a:lnTo>
                      <a:pt x="906" y="999"/>
                    </a:lnTo>
                    <a:lnTo>
                      <a:pt x="906" y="998"/>
                    </a:lnTo>
                    <a:lnTo>
                      <a:pt x="906" y="998"/>
                    </a:lnTo>
                    <a:lnTo>
                      <a:pt x="907" y="998"/>
                    </a:lnTo>
                    <a:lnTo>
                      <a:pt x="907" y="996"/>
                    </a:lnTo>
                    <a:lnTo>
                      <a:pt x="910" y="996"/>
                    </a:lnTo>
                    <a:lnTo>
                      <a:pt x="910" y="996"/>
                    </a:lnTo>
                    <a:lnTo>
                      <a:pt x="910" y="996"/>
                    </a:lnTo>
                    <a:lnTo>
                      <a:pt x="912" y="996"/>
                    </a:lnTo>
                    <a:lnTo>
                      <a:pt x="912" y="996"/>
                    </a:lnTo>
                    <a:lnTo>
                      <a:pt x="913" y="996"/>
                    </a:lnTo>
                    <a:lnTo>
                      <a:pt x="913" y="996"/>
                    </a:lnTo>
                    <a:lnTo>
                      <a:pt x="915" y="996"/>
                    </a:lnTo>
                    <a:lnTo>
                      <a:pt x="915" y="996"/>
                    </a:lnTo>
                    <a:lnTo>
                      <a:pt x="916" y="998"/>
                    </a:lnTo>
                    <a:lnTo>
                      <a:pt x="916" y="998"/>
                    </a:lnTo>
                    <a:lnTo>
                      <a:pt x="917" y="998"/>
                    </a:lnTo>
                    <a:lnTo>
                      <a:pt x="917" y="998"/>
                    </a:lnTo>
                    <a:lnTo>
                      <a:pt x="917" y="996"/>
                    </a:lnTo>
                    <a:lnTo>
                      <a:pt x="917" y="996"/>
                    </a:lnTo>
                    <a:lnTo>
                      <a:pt x="917" y="996"/>
                    </a:lnTo>
                    <a:lnTo>
                      <a:pt x="917" y="996"/>
                    </a:lnTo>
                    <a:lnTo>
                      <a:pt x="919" y="995"/>
                    </a:lnTo>
                    <a:lnTo>
                      <a:pt x="919" y="995"/>
                    </a:lnTo>
                    <a:lnTo>
                      <a:pt x="919" y="996"/>
                    </a:lnTo>
                    <a:lnTo>
                      <a:pt x="920" y="996"/>
                    </a:lnTo>
                    <a:lnTo>
                      <a:pt x="920" y="996"/>
                    </a:lnTo>
                    <a:lnTo>
                      <a:pt x="922" y="996"/>
                    </a:lnTo>
                    <a:lnTo>
                      <a:pt x="923" y="996"/>
                    </a:lnTo>
                    <a:lnTo>
                      <a:pt x="923" y="995"/>
                    </a:lnTo>
                    <a:lnTo>
                      <a:pt x="923" y="995"/>
                    </a:lnTo>
                    <a:lnTo>
                      <a:pt x="923" y="995"/>
                    </a:lnTo>
                    <a:lnTo>
                      <a:pt x="925" y="994"/>
                    </a:lnTo>
                    <a:lnTo>
                      <a:pt x="925" y="994"/>
                    </a:lnTo>
                    <a:lnTo>
                      <a:pt x="925" y="994"/>
                    </a:lnTo>
                    <a:lnTo>
                      <a:pt x="925" y="994"/>
                    </a:lnTo>
                    <a:lnTo>
                      <a:pt x="925" y="994"/>
                    </a:lnTo>
                    <a:lnTo>
                      <a:pt x="926" y="994"/>
                    </a:lnTo>
                    <a:lnTo>
                      <a:pt x="926" y="994"/>
                    </a:lnTo>
                    <a:lnTo>
                      <a:pt x="926" y="994"/>
                    </a:lnTo>
                    <a:lnTo>
                      <a:pt x="928" y="994"/>
                    </a:lnTo>
                    <a:lnTo>
                      <a:pt x="928" y="992"/>
                    </a:lnTo>
                    <a:lnTo>
                      <a:pt x="929" y="992"/>
                    </a:lnTo>
                    <a:lnTo>
                      <a:pt x="929" y="992"/>
                    </a:lnTo>
                    <a:lnTo>
                      <a:pt x="930" y="991"/>
                    </a:lnTo>
                    <a:lnTo>
                      <a:pt x="932" y="991"/>
                    </a:lnTo>
                    <a:lnTo>
                      <a:pt x="932" y="991"/>
                    </a:lnTo>
                    <a:lnTo>
                      <a:pt x="932" y="989"/>
                    </a:lnTo>
                    <a:lnTo>
                      <a:pt x="932" y="989"/>
                    </a:lnTo>
                    <a:lnTo>
                      <a:pt x="932" y="988"/>
                    </a:lnTo>
                    <a:lnTo>
                      <a:pt x="932" y="986"/>
                    </a:lnTo>
                    <a:lnTo>
                      <a:pt x="932" y="986"/>
                    </a:lnTo>
                    <a:lnTo>
                      <a:pt x="932" y="986"/>
                    </a:lnTo>
                    <a:lnTo>
                      <a:pt x="932" y="985"/>
                    </a:lnTo>
                    <a:lnTo>
                      <a:pt x="932" y="985"/>
                    </a:lnTo>
                    <a:lnTo>
                      <a:pt x="933" y="985"/>
                    </a:lnTo>
                    <a:lnTo>
                      <a:pt x="933" y="985"/>
                    </a:lnTo>
                    <a:lnTo>
                      <a:pt x="933" y="985"/>
                    </a:lnTo>
                    <a:lnTo>
                      <a:pt x="935" y="985"/>
                    </a:lnTo>
                    <a:lnTo>
                      <a:pt x="935" y="985"/>
                    </a:lnTo>
                    <a:lnTo>
                      <a:pt x="935" y="985"/>
                    </a:lnTo>
                    <a:lnTo>
                      <a:pt x="936" y="985"/>
                    </a:lnTo>
                    <a:lnTo>
                      <a:pt x="936" y="985"/>
                    </a:lnTo>
                    <a:lnTo>
                      <a:pt x="936" y="985"/>
                    </a:lnTo>
                    <a:lnTo>
                      <a:pt x="938" y="983"/>
                    </a:lnTo>
                    <a:lnTo>
                      <a:pt x="938" y="983"/>
                    </a:lnTo>
                    <a:lnTo>
                      <a:pt x="938" y="983"/>
                    </a:lnTo>
                    <a:lnTo>
                      <a:pt x="938" y="983"/>
                    </a:lnTo>
                    <a:lnTo>
                      <a:pt x="938" y="982"/>
                    </a:lnTo>
                    <a:lnTo>
                      <a:pt x="939" y="981"/>
                    </a:lnTo>
                    <a:lnTo>
                      <a:pt x="940" y="981"/>
                    </a:lnTo>
                    <a:lnTo>
                      <a:pt x="940" y="981"/>
                    </a:lnTo>
                    <a:lnTo>
                      <a:pt x="942" y="981"/>
                    </a:lnTo>
                    <a:lnTo>
                      <a:pt x="943" y="979"/>
                    </a:lnTo>
                    <a:lnTo>
                      <a:pt x="946" y="978"/>
                    </a:lnTo>
                    <a:lnTo>
                      <a:pt x="946" y="978"/>
                    </a:lnTo>
                    <a:lnTo>
                      <a:pt x="948" y="978"/>
                    </a:lnTo>
                    <a:lnTo>
                      <a:pt x="948" y="978"/>
                    </a:lnTo>
                    <a:lnTo>
                      <a:pt x="948" y="978"/>
                    </a:lnTo>
                    <a:lnTo>
                      <a:pt x="949" y="978"/>
                    </a:lnTo>
                    <a:lnTo>
                      <a:pt x="949" y="978"/>
                    </a:lnTo>
                    <a:lnTo>
                      <a:pt x="950" y="978"/>
                    </a:lnTo>
                    <a:lnTo>
                      <a:pt x="950" y="976"/>
                    </a:lnTo>
                    <a:lnTo>
                      <a:pt x="950" y="976"/>
                    </a:lnTo>
                    <a:lnTo>
                      <a:pt x="952" y="975"/>
                    </a:lnTo>
                    <a:lnTo>
                      <a:pt x="952" y="975"/>
                    </a:lnTo>
                    <a:lnTo>
                      <a:pt x="952" y="975"/>
                    </a:lnTo>
                    <a:lnTo>
                      <a:pt x="953" y="975"/>
                    </a:lnTo>
                    <a:lnTo>
                      <a:pt x="955" y="973"/>
                    </a:lnTo>
                    <a:lnTo>
                      <a:pt x="955" y="973"/>
                    </a:lnTo>
                    <a:lnTo>
                      <a:pt x="956" y="972"/>
                    </a:lnTo>
                    <a:lnTo>
                      <a:pt x="956" y="972"/>
                    </a:lnTo>
                    <a:lnTo>
                      <a:pt x="956" y="972"/>
                    </a:lnTo>
                    <a:lnTo>
                      <a:pt x="958" y="972"/>
                    </a:lnTo>
                    <a:lnTo>
                      <a:pt x="961" y="971"/>
                    </a:lnTo>
                    <a:lnTo>
                      <a:pt x="962" y="971"/>
                    </a:lnTo>
                    <a:lnTo>
                      <a:pt x="962" y="971"/>
                    </a:lnTo>
                    <a:lnTo>
                      <a:pt x="962" y="971"/>
                    </a:lnTo>
                    <a:lnTo>
                      <a:pt x="963" y="971"/>
                    </a:lnTo>
                    <a:lnTo>
                      <a:pt x="963" y="971"/>
                    </a:lnTo>
                    <a:lnTo>
                      <a:pt x="963" y="969"/>
                    </a:lnTo>
                    <a:lnTo>
                      <a:pt x="963" y="969"/>
                    </a:lnTo>
                    <a:lnTo>
                      <a:pt x="965" y="969"/>
                    </a:lnTo>
                    <a:lnTo>
                      <a:pt x="965" y="969"/>
                    </a:lnTo>
                    <a:lnTo>
                      <a:pt x="965" y="968"/>
                    </a:lnTo>
                    <a:lnTo>
                      <a:pt x="966" y="968"/>
                    </a:lnTo>
                    <a:lnTo>
                      <a:pt x="966" y="968"/>
                    </a:lnTo>
                    <a:lnTo>
                      <a:pt x="966" y="968"/>
                    </a:lnTo>
                    <a:lnTo>
                      <a:pt x="968" y="966"/>
                    </a:lnTo>
                    <a:lnTo>
                      <a:pt x="968" y="966"/>
                    </a:lnTo>
                    <a:lnTo>
                      <a:pt x="968" y="966"/>
                    </a:lnTo>
                    <a:lnTo>
                      <a:pt x="969" y="965"/>
                    </a:lnTo>
                    <a:lnTo>
                      <a:pt x="971" y="965"/>
                    </a:lnTo>
                    <a:lnTo>
                      <a:pt x="972" y="965"/>
                    </a:lnTo>
                    <a:lnTo>
                      <a:pt x="973" y="965"/>
                    </a:lnTo>
                    <a:lnTo>
                      <a:pt x="975" y="965"/>
                    </a:lnTo>
                    <a:lnTo>
                      <a:pt x="976" y="965"/>
                    </a:lnTo>
                    <a:lnTo>
                      <a:pt x="976" y="965"/>
                    </a:lnTo>
                    <a:lnTo>
                      <a:pt x="976" y="965"/>
                    </a:lnTo>
                    <a:lnTo>
                      <a:pt x="978" y="963"/>
                    </a:lnTo>
                    <a:lnTo>
                      <a:pt x="978" y="963"/>
                    </a:lnTo>
                    <a:lnTo>
                      <a:pt x="978" y="962"/>
                    </a:lnTo>
                    <a:lnTo>
                      <a:pt x="979" y="960"/>
                    </a:lnTo>
                    <a:lnTo>
                      <a:pt x="979" y="960"/>
                    </a:lnTo>
                    <a:lnTo>
                      <a:pt x="981" y="962"/>
                    </a:lnTo>
                    <a:lnTo>
                      <a:pt x="981" y="962"/>
                    </a:lnTo>
                    <a:lnTo>
                      <a:pt x="982" y="963"/>
                    </a:lnTo>
                    <a:lnTo>
                      <a:pt x="982" y="963"/>
                    </a:lnTo>
                    <a:lnTo>
                      <a:pt x="984" y="965"/>
                    </a:lnTo>
                    <a:lnTo>
                      <a:pt x="984" y="965"/>
                    </a:lnTo>
                    <a:lnTo>
                      <a:pt x="984" y="965"/>
                    </a:lnTo>
                    <a:lnTo>
                      <a:pt x="985" y="965"/>
                    </a:lnTo>
                    <a:lnTo>
                      <a:pt x="985" y="965"/>
                    </a:lnTo>
                    <a:lnTo>
                      <a:pt x="986" y="965"/>
                    </a:lnTo>
                    <a:lnTo>
                      <a:pt x="986" y="963"/>
                    </a:lnTo>
                    <a:lnTo>
                      <a:pt x="988" y="962"/>
                    </a:lnTo>
                    <a:lnTo>
                      <a:pt x="989" y="962"/>
                    </a:lnTo>
                    <a:lnTo>
                      <a:pt x="989" y="963"/>
                    </a:lnTo>
                    <a:lnTo>
                      <a:pt x="991" y="963"/>
                    </a:lnTo>
                    <a:lnTo>
                      <a:pt x="991" y="965"/>
                    </a:lnTo>
                    <a:lnTo>
                      <a:pt x="991" y="965"/>
                    </a:lnTo>
                    <a:lnTo>
                      <a:pt x="991" y="966"/>
                    </a:lnTo>
                    <a:lnTo>
                      <a:pt x="991" y="966"/>
                    </a:lnTo>
                    <a:lnTo>
                      <a:pt x="992" y="966"/>
                    </a:lnTo>
                    <a:lnTo>
                      <a:pt x="994" y="968"/>
                    </a:lnTo>
                    <a:lnTo>
                      <a:pt x="994" y="968"/>
                    </a:lnTo>
                    <a:lnTo>
                      <a:pt x="996" y="968"/>
                    </a:lnTo>
                    <a:lnTo>
                      <a:pt x="1001" y="968"/>
                    </a:lnTo>
                    <a:lnTo>
                      <a:pt x="1004" y="968"/>
                    </a:lnTo>
                    <a:lnTo>
                      <a:pt x="1006" y="968"/>
                    </a:lnTo>
                    <a:lnTo>
                      <a:pt x="1011" y="968"/>
                    </a:lnTo>
                    <a:lnTo>
                      <a:pt x="1012" y="969"/>
                    </a:lnTo>
                    <a:lnTo>
                      <a:pt x="1014" y="969"/>
                    </a:lnTo>
                    <a:lnTo>
                      <a:pt x="1014" y="971"/>
                    </a:lnTo>
                    <a:lnTo>
                      <a:pt x="1014" y="973"/>
                    </a:lnTo>
                    <a:lnTo>
                      <a:pt x="1015" y="976"/>
                    </a:lnTo>
                    <a:lnTo>
                      <a:pt x="1015" y="978"/>
                    </a:lnTo>
                    <a:lnTo>
                      <a:pt x="1015" y="978"/>
                    </a:lnTo>
                    <a:lnTo>
                      <a:pt x="1015" y="978"/>
                    </a:lnTo>
                    <a:lnTo>
                      <a:pt x="1015" y="979"/>
                    </a:lnTo>
                    <a:lnTo>
                      <a:pt x="1017" y="979"/>
                    </a:lnTo>
                    <a:lnTo>
                      <a:pt x="1018" y="981"/>
                    </a:lnTo>
                    <a:lnTo>
                      <a:pt x="1018" y="981"/>
                    </a:lnTo>
                    <a:lnTo>
                      <a:pt x="1018" y="982"/>
                    </a:lnTo>
                    <a:lnTo>
                      <a:pt x="1019" y="982"/>
                    </a:lnTo>
                    <a:lnTo>
                      <a:pt x="1019" y="982"/>
                    </a:lnTo>
                    <a:lnTo>
                      <a:pt x="1021" y="982"/>
                    </a:lnTo>
                    <a:lnTo>
                      <a:pt x="1021" y="982"/>
                    </a:lnTo>
                    <a:lnTo>
                      <a:pt x="1022" y="982"/>
                    </a:lnTo>
                    <a:lnTo>
                      <a:pt x="1024" y="982"/>
                    </a:lnTo>
                    <a:lnTo>
                      <a:pt x="1025" y="982"/>
                    </a:lnTo>
                    <a:lnTo>
                      <a:pt x="1025" y="982"/>
                    </a:lnTo>
                    <a:lnTo>
                      <a:pt x="1027" y="983"/>
                    </a:lnTo>
                    <a:lnTo>
                      <a:pt x="1027" y="983"/>
                    </a:lnTo>
                    <a:lnTo>
                      <a:pt x="1027" y="985"/>
                    </a:lnTo>
                    <a:lnTo>
                      <a:pt x="1027" y="985"/>
                    </a:lnTo>
                    <a:lnTo>
                      <a:pt x="1028" y="985"/>
                    </a:lnTo>
                    <a:lnTo>
                      <a:pt x="1028" y="985"/>
                    </a:lnTo>
                    <a:lnTo>
                      <a:pt x="1029" y="985"/>
                    </a:lnTo>
                    <a:lnTo>
                      <a:pt x="1032" y="985"/>
                    </a:lnTo>
                    <a:lnTo>
                      <a:pt x="1032" y="985"/>
                    </a:lnTo>
                    <a:lnTo>
                      <a:pt x="1032" y="985"/>
                    </a:lnTo>
                    <a:lnTo>
                      <a:pt x="1034" y="985"/>
                    </a:lnTo>
                    <a:lnTo>
                      <a:pt x="1034" y="985"/>
                    </a:lnTo>
                    <a:lnTo>
                      <a:pt x="1034" y="985"/>
                    </a:lnTo>
                    <a:lnTo>
                      <a:pt x="1035" y="985"/>
                    </a:lnTo>
                    <a:lnTo>
                      <a:pt x="1035" y="985"/>
                    </a:lnTo>
                    <a:lnTo>
                      <a:pt x="1037" y="985"/>
                    </a:lnTo>
                    <a:lnTo>
                      <a:pt x="1037" y="985"/>
                    </a:lnTo>
                    <a:lnTo>
                      <a:pt x="1038" y="985"/>
                    </a:lnTo>
                    <a:lnTo>
                      <a:pt x="1040" y="983"/>
                    </a:lnTo>
                    <a:lnTo>
                      <a:pt x="1040" y="983"/>
                    </a:lnTo>
                    <a:lnTo>
                      <a:pt x="1041" y="983"/>
                    </a:lnTo>
                    <a:lnTo>
                      <a:pt x="1041" y="983"/>
                    </a:lnTo>
                    <a:lnTo>
                      <a:pt x="1041" y="983"/>
                    </a:lnTo>
                    <a:lnTo>
                      <a:pt x="1042" y="983"/>
                    </a:lnTo>
                    <a:lnTo>
                      <a:pt x="1042" y="983"/>
                    </a:lnTo>
                    <a:lnTo>
                      <a:pt x="1044" y="983"/>
                    </a:lnTo>
                    <a:lnTo>
                      <a:pt x="1045" y="983"/>
                    </a:lnTo>
                    <a:lnTo>
                      <a:pt x="1047" y="983"/>
                    </a:lnTo>
                    <a:lnTo>
                      <a:pt x="1048" y="985"/>
                    </a:lnTo>
                    <a:lnTo>
                      <a:pt x="1051" y="985"/>
                    </a:lnTo>
                    <a:lnTo>
                      <a:pt x="1052" y="986"/>
                    </a:lnTo>
                    <a:lnTo>
                      <a:pt x="1054" y="986"/>
                    </a:lnTo>
                    <a:lnTo>
                      <a:pt x="1054" y="986"/>
                    </a:lnTo>
                    <a:lnTo>
                      <a:pt x="1055" y="986"/>
                    </a:lnTo>
                    <a:lnTo>
                      <a:pt x="1055" y="986"/>
                    </a:lnTo>
                    <a:lnTo>
                      <a:pt x="1057" y="985"/>
                    </a:lnTo>
                    <a:lnTo>
                      <a:pt x="1061" y="986"/>
                    </a:lnTo>
                    <a:lnTo>
                      <a:pt x="1061" y="986"/>
                    </a:lnTo>
                    <a:lnTo>
                      <a:pt x="1063" y="988"/>
                    </a:lnTo>
                    <a:lnTo>
                      <a:pt x="1063" y="988"/>
                    </a:lnTo>
                    <a:lnTo>
                      <a:pt x="1063" y="988"/>
                    </a:lnTo>
                    <a:lnTo>
                      <a:pt x="1063" y="989"/>
                    </a:lnTo>
                    <a:lnTo>
                      <a:pt x="1064" y="989"/>
                    </a:lnTo>
                    <a:lnTo>
                      <a:pt x="1064" y="989"/>
                    </a:lnTo>
                    <a:lnTo>
                      <a:pt x="1065" y="991"/>
                    </a:lnTo>
                    <a:lnTo>
                      <a:pt x="1067" y="991"/>
                    </a:lnTo>
                    <a:lnTo>
                      <a:pt x="1070" y="988"/>
                    </a:lnTo>
                    <a:lnTo>
                      <a:pt x="1070" y="988"/>
                    </a:lnTo>
                    <a:lnTo>
                      <a:pt x="1071" y="986"/>
                    </a:lnTo>
                    <a:lnTo>
                      <a:pt x="1071" y="986"/>
                    </a:lnTo>
                    <a:lnTo>
                      <a:pt x="1073" y="985"/>
                    </a:lnTo>
                    <a:lnTo>
                      <a:pt x="1073" y="985"/>
                    </a:lnTo>
                    <a:lnTo>
                      <a:pt x="1074" y="985"/>
                    </a:lnTo>
                    <a:lnTo>
                      <a:pt x="1075" y="985"/>
                    </a:lnTo>
                    <a:lnTo>
                      <a:pt x="1075" y="985"/>
                    </a:lnTo>
                    <a:lnTo>
                      <a:pt x="1077" y="985"/>
                    </a:lnTo>
                    <a:lnTo>
                      <a:pt x="1077" y="983"/>
                    </a:lnTo>
                    <a:lnTo>
                      <a:pt x="1078" y="983"/>
                    </a:lnTo>
                    <a:lnTo>
                      <a:pt x="1078" y="983"/>
                    </a:lnTo>
                    <a:lnTo>
                      <a:pt x="1080" y="982"/>
                    </a:lnTo>
                    <a:lnTo>
                      <a:pt x="1080" y="982"/>
                    </a:lnTo>
                    <a:lnTo>
                      <a:pt x="1081" y="981"/>
                    </a:lnTo>
                    <a:lnTo>
                      <a:pt x="1081" y="979"/>
                    </a:lnTo>
                    <a:lnTo>
                      <a:pt x="1081" y="979"/>
                    </a:lnTo>
                    <a:lnTo>
                      <a:pt x="1083" y="976"/>
                    </a:lnTo>
                    <a:lnTo>
                      <a:pt x="1083" y="975"/>
                    </a:lnTo>
                    <a:lnTo>
                      <a:pt x="1084" y="972"/>
                    </a:lnTo>
                    <a:lnTo>
                      <a:pt x="1084" y="971"/>
                    </a:lnTo>
                    <a:lnTo>
                      <a:pt x="1084" y="969"/>
                    </a:lnTo>
                    <a:lnTo>
                      <a:pt x="1081" y="968"/>
                    </a:lnTo>
                    <a:lnTo>
                      <a:pt x="1080" y="968"/>
                    </a:lnTo>
                    <a:lnTo>
                      <a:pt x="1080" y="966"/>
                    </a:lnTo>
                    <a:lnTo>
                      <a:pt x="1080" y="966"/>
                    </a:lnTo>
                    <a:lnTo>
                      <a:pt x="1078" y="965"/>
                    </a:lnTo>
                    <a:lnTo>
                      <a:pt x="1078" y="965"/>
                    </a:lnTo>
                    <a:lnTo>
                      <a:pt x="1078" y="963"/>
                    </a:lnTo>
                    <a:lnTo>
                      <a:pt x="1078" y="962"/>
                    </a:lnTo>
                    <a:lnTo>
                      <a:pt x="1078" y="960"/>
                    </a:lnTo>
                    <a:lnTo>
                      <a:pt x="1077" y="958"/>
                    </a:lnTo>
                    <a:lnTo>
                      <a:pt x="1075" y="958"/>
                    </a:lnTo>
                    <a:lnTo>
                      <a:pt x="1075" y="955"/>
                    </a:lnTo>
                    <a:lnTo>
                      <a:pt x="1077" y="955"/>
                    </a:lnTo>
                    <a:lnTo>
                      <a:pt x="1077" y="953"/>
                    </a:lnTo>
                    <a:lnTo>
                      <a:pt x="1077" y="952"/>
                    </a:lnTo>
                    <a:lnTo>
                      <a:pt x="1077" y="950"/>
                    </a:lnTo>
                    <a:lnTo>
                      <a:pt x="1077" y="950"/>
                    </a:lnTo>
                    <a:lnTo>
                      <a:pt x="1077" y="950"/>
                    </a:lnTo>
                    <a:lnTo>
                      <a:pt x="1077" y="950"/>
                    </a:lnTo>
                    <a:lnTo>
                      <a:pt x="1077" y="949"/>
                    </a:lnTo>
                    <a:lnTo>
                      <a:pt x="1078" y="948"/>
                    </a:lnTo>
                    <a:lnTo>
                      <a:pt x="1078" y="946"/>
                    </a:lnTo>
                    <a:lnTo>
                      <a:pt x="1080" y="945"/>
                    </a:lnTo>
                    <a:lnTo>
                      <a:pt x="1081" y="945"/>
                    </a:lnTo>
                    <a:lnTo>
                      <a:pt x="1083" y="945"/>
                    </a:lnTo>
                    <a:lnTo>
                      <a:pt x="1083" y="943"/>
                    </a:lnTo>
                    <a:lnTo>
                      <a:pt x="1084" y="940"/>
                    </a:lnTo>
                    <a:lnTo>
                      <a:pt x="1084" y="939"/>
                    </a:lnTo>
                    <a:lnTo>
                      <a:pt x="1085" y="937"/>
                    </a:lnTo>
                    <a:lnTo>
                      <a:pt x="1091" y="935"/>
                    </a:lnTo>
                    <a:lnTo>
                      <a:pt x="1093" y="932"/>
                    </a:lnTo>
                    <a:lnTo>
                      <a:pt x="1093" y="930"/>
                    </a:lnTo>
                    <a:lnTo>
                      <a:pt x="1094" y="930"/>
                    </a:lnTo>
                    <a:lnTo>
                      <a:pt x="1094" y="929"/>
                    </a:lnTo>
                    <a:lnTo>
                      <a:pt x="1094" y="929"/>
                    </a:lnTo>
                    <a:lnTo>
                      <a:pt x="1094" y="927"/>
                    </a:lnTo>
                    <a:lnTo>
                      <a:pt x="1096" y="929"/>
                    </a:lnTo>
                    <a:lnTo>
                      <a:pt x="1097" y="930"/>
                    </a:lnTo>
                    <a:lnTo>
                      <a:pt x="1097" y="930"/>
                    </a:lnTo>
                    <a:lnTo>
                      <a:pt x="1098" y="930"/>
                    </a:lnTo>
                    <a:lnTo>
                      <a:pt x="1098" y="930"/>
                    </a:lnTo>
                    <a:lnTo>
                      <a:pt x="1100" y="930"/>
                    </a:lnTo>
                    <a:lnTo>
                      <a:pt x="1101" y="932"/>
                    </a:lnTo>
                    <a:lnTo>
                      <a:pt x="1103" y="933"/>
                    </a:lnTo>
                    <a:lnTo>
                      <a:pt x="1104" y="933"/>
                    </a:lnTo>
                    <a:lnTo>
                      <a:pt x="1107" y="933"/>
                    </a:lnTo>
                    <a:lnTo>
                      <a:pt x="1108" y="935"/>
                    </a:lnTo>
                    <a:lnTo>
                      <a:pt x="1113" y="937"/>
                    </a:lnTo>
                    <a:lnTo>
                      <a:pt x="1114" y="937"/>
                    </a:lnTo>
                    <a:lnTo>
                      <a:pt x="1119" y="937"/>
                    </a:lnTo>
                    <a:lnTo>
                      <a:pt x="1120" y="937"/>
                    </a:lnTo>
                    <a:lnTo>
                      <a:pt x="1123" y="937"/>
                    </a:lnTo>
                    <a:lnTo>
                      <a:pt x="1124" y="939"/>
                    </a:lnTo>
                    <a:lnTo>
                      <a:pt x="1126" y="939"/>
                    </a:lnTo>
                    <a:lnTo>
                      <a:pt x="1131" y="942"/>
                    </a:lnTo>
                    <a:lnTo>
                      <a:pt x="1136" y="943"/>
                    </a:lnTo>
                    <a:lnTo>
                      <a:pt x="1137" y="945"/>
                    </a:lnTo>
                    <a:lnTo>
                      <a:pt x="1139" y="945"/>
                    </a:lnTo>
                    <a:lnTo>
                      <a:pt x="1141" y="945"/>
                    </a:lnTo>
                    <a:lnTo>
                      <a:pt x="1144" y="945"/>
                    </a:lnTo>
                    <a:lnTo>
                      <a:pt x="1147" y="946"/>
                    </a:lnTo>
                    <a:lnTo>
                      <a:pt x="1150" y="948"/>
                    </a:lnTo>
                    <a:lnTo>
                      <a:pt x="1152" y="948"/>
                    </a:lnTo>
                    <a:lnTo>
                      <a:pt x="1152" y="948"/>
                    </a:lnTo>
                    <a:lnTo>
                      <a:pt x="1152" y="949"/>
                    </a:lnTo>
                    <a:lnTo>
                      <a:pt x="1152" y="949"/>
                    </a:lnTo>
                    <a:lnTo>
                      <a:pt x="1152" y="950"/>
                    </a:lnTo>
                    <a:lnTo>
                      <a:pt x="1152" y="950"/>
                    </a:lnTo>
                    <a:lnTo>
                      <a:pt x="1152" y="952"/>
                    </a:lnTo>
                    <a:lnTo>
                      <a:pt x="1152" y="953"/>
                    </a:lnTo>
                    <a:lnTo>
                      <a:pt x="1152" y="953"/>
                    </a:lnTo>
                    <a:lnTo>
                      <a:pt x="1152" y="955"/>
                    </a:lnTo>
                    <a:lnTo>
                      <a:pt x="1153" y="956"/>
                    </a:lnTo>
                    <a:lnTo>
                      <a:pt x="1153" y="956"/>
                    </a:lnTo>
                    <a:lnTo>
                      <a:pt x="1153" y="958"/>
                    </a:lnTo>
                    <a:lnTo>
                      <a:pt x="1153" y="959"/>
                    </a:lnTo>
                    <a:lnTo>
                      <a:pt x="1153" y="962"/>
                    </a:lnTo>
                    <a:lnTo>
                      <a:pt x="1153" y="962"/>
                    </a:lnTo>
                    <a:lnTo>
                      <a:pt x="1153" y="963"/>
                    </a:lnTo>
                    <a:lnTo>
                      <a:pt x="1154" y="963"/>
                    </a:lnTo>
                    <a:lnTo>
                      <a:pt x="1154" y="963"/>
                    </a:lnTo>
                    <a:lnTo>
                      <a:pt x="1154" y="965"/>
                    </a:lnTo>
                    <a:lnTo>
                      <a:pt x="1154" y="966"/>
                    </a:lnTo>
                    <a:lnTo>
                      <a:pt x="1154" y="966"/>
                    </a:lnTo>
                    <a:lnTo>
                      <a:pt x="1154" y="968"/>
                    </a:lnTo>
                    <a:lnTo>
                      <a:pt x="1154" y="968"/>
                    </a:lnTo>
                    <a:lnTo>
                      <a:pt x="1154" y="969"/>
                    </a:lnTo>
                    <a:lnTo>
                      <a:pt x="1154" y="969"/>
                    </a:lnTo>
                    <a:lnTo>
                      <a:pt x="1156" y="969"/>
                    </a:lnTo>
                    <a:lnTo>
                      <a:pt x="1157" y="969"/>
                    </a:lnTo>
                    <a:lnTo>
                      <a:pt x="1159" y="971"/>
                    </a:lnTo>
                    <a:lnTo>
                      <a:pt x="1160" y="972"/>
                    </a:lnTo>
                    <a:lnTo>
                      <a:pt x="1160" y="972"/>
                    </a:lnTo>
                    <a:lnTo>
                      <a:pt x="1162" y="973"/>
                    </a:lnTo>
                    <a:lnTo>
                      <a:pt x="1162" y="973"/>
                    </a:lnTo>
                    <a:lnTo>
                      <a:pt x="1163" y="973"/>
                    </a:lnTo>
                    <a:lnTo>
                      <a:pt x="1164" y="975"/>
                    </a:lnTo>
                    <a:lnTo>
                      <a:pt x="1166" y="975"/>
                    </a:lnTo>
                    <a:lnTo>
                      <a:pt x="1167" y="975"/>
                    </a:lnTo>
                    <a:lnTo>
                      <a:pt x="1170" y="976"/>
                    </a:lnTo>
                    <a:lnTo>
                      <a:pt x="1170" y="976"/>
                    </a:lnTo>
                    <a:lnTo>
                      <a:pt x="1170" y="976"/>
                    </a:lnTo>
                    <a:lnTo>
                      <a:pt x="1172" y="976"/>
                    </a:lnTo>
                    <a:lnTo>
                      <a:pt x="1172" y="978"/>
                    </a:lnTo>
                    <a:lnTo>
                      <a:pt x="1172" y="978"/>
                    </a:lnTo>
                    <a:lnTo>
                      <a:pt x="1173" y="978"/>
                    </a:lnTo>
                    <a:lnTo>
                      <a:pt x="1176" y="979"/>
                    </a:lnTo>
                    <a:lnTo>
                      <a:pt x="1177" y="979"/>
                    </a:lnTo>
                    <a:lnTo>
                      <a:pt x="1179" y="979"/>
                    </a:lnTo>
                    <a:lnTo>
                      <a:pt x="1180" y="979"/>
                    </a:lnTo>
                    <a:lnTo>
                      <a:pt x="1180" y="979"/>
                    </a:lnTo>
                    <a:lnTo>
                      <a:pt x="1182" y="979"/>
                    </a:lnTo>
                    <a:lnTo>
                      <a:pt x="1183" y="979"/>
                    </a:lnTo>
                    <a:lnTo>
                      <a:pt x="1183" y="979"/>
                    </a:lnTo>
                    <a:lnTo>
                      <a:pt x="1185" y="979"/>
                    </a:lnTo>
                    <a:lnTo>
                      <a:pt x="1186" y="979"/>
                    </a:lnTo>
                    <a:lnTo>
                      <a:pt x="1186" y="979"/>
                    </a:lnTo>
                    <a:lnTo>
                      <a:pt x="1187" y="979"/>
                    </a:lnTo>
                    <a:lnTo>
                      <a:pt x="1189" y="978"/>
                    </a:lnTo>
                    <a:lnTo>
                      <a:pt x="1189" y="978"/>
                    </a:lnTo>
                    <a:lnTo>
                      <a:pt x="1190" y="976"/>
                    </a:lnTo>
                    <a:lnTo>
                      <a:pt x="1190" y="976"/>
                    </a:lnTo>
                    <a:lnTo>
                      <a:pt x="1190" y="976"/>
                    </a:lnTo>
                    <a:lnTo>
                      <a:pt x="1192" y="975"/>
                    </a:lnTo>
                    <a:lnTo>
                      <a:pt x="1192" y="975"/>
                    </a:lnTo>
                    <a:lnTo>
                      <a:pt x="1193" y="975"/>
                    </a:lnTo>
                    <a:lnTo>
                      <a:pt x="1195" y="975"/>
                    </a:lnTo>
                    <a:lnTo>
                      <a:pt x="1196" y="975"/>
                    </a:lnTo>
                    <a:lnTo>
                      <a:pt x="1196" y="975"/>
                    </a:lnTo>
                    <a:lnTo>
                      <a:pt x="1202" y="973"/>
                    </a:lnTo>
                    <a:lnTo>
                      <a:pt x="1202" y="973"/>
                    </a:lnTo>
                    <a:lnTo>
                      <a:pt x="1203" y="973"/>
                    </a:lnTo>
                    <a:lnTo>
                      <a:pt x="1203" y="973"/>
                    </a:lnTo>
                    <a:lnTo>
                      <a:pt x="1203" y="973"/>
                    </a:lnTo>
                    <a:lnTo>
                      <a:pt x="1205" y="972"/>
                    </a:lnTo>
                    <a:lnTo>
                      <a:pt x="1206" y="972"/>
                    </a:lnTo>
                    <a:lnTo>
                      <a:pt x="1208" y="971"/>
                    </a:lnTo>
                    <a:lnTo>
                      <a:pt x="1209" y="971"/>
                    </a:lnTo>
                    <a:lnTo>
                      <a:pt x="1212" y="972"/>
                    </a:lnTo>
                    <a:lnTo>
                      <a:pt x="1213" y="972"/>
                    </a:lnTo>
                    <a:lnTo>
                      <a:pt x="1218" y="972"/>
                    </a:lnTo>
                    <a:lnTo>
                      <a:pt x="1222" y="975"/>
                    </a:lnTo>
                    <a:lnTo>
                      <a:pt x="1223" y="975"/>
                    </a:lnTo>
                    <a:lnTo>
                      <a:pt x="1223" y="975"/>
                    </a:lnTo>
                    <a:lnTo>
                      <a:pt x="1223" y="975"/>
                    </a:lnTo>
                    <a:lnTo>
                      <a:pt x="1225" y="975"/>
                    </a:lnTo>
                    <a:lnTo>
                      <a:pt x="1228" y="975"/>
                    </a:lnTo>
                    <a:lnTo>
                      <a:pt x="1229" y="975"/>
                    </a:lnTo>
                    <a:lnTo>
                      <a:pt x="1232" y="975"/>
                    </a:lnTo>
                    <a:lnTo>
                      <a:pt x="1233" y="976"/>
                    </a:lnTo>
                    <a:lnTo>
                      <a:pt x="1235" y="976"/>
                    </a:lnTo>
                    <a:lnTo>
                      <a:pt x="1236" y="978"/>
                    </a:lnTo>
                    <a:lnTo>
                      <a:pt x="1238" y="981"/>
                    </a:lnTo>
                    <a:lnTo>
                      <a:pt x="1241" y="983"/>
                    </a:lnTo>
                    <a:lnTo>
                      <a:pt x="1241" y="983"/>
                    </a:lnTo>
                    <a:lnTo>
                      <a:pt x="1242" y="983"/>
                    </a:lnTo>
                    <a:lnTo>
                      <a:pt x="1242" y="983"/>
                    </a:lnTo>
                    <a:lnTo>
                      <a:pt x="1243" y="983"/>
                    </a:lnTo>
                    <a:lnTo>
                      <a:pt x="1248" y="983"/>
                    </a:lnTo>
                    <a:lnTo>
                      <a:pt x="1252" y="985"/>
                    </a:lnTo>
                    <a:lnTo>
                      <a:pt x="1254" y="985"/>
                    </a:lnTo>
                    <a:lnTo>
                      <a:pt x="1254" y="988"/>
                    </a:lnTo>
                    <a:lnTo>
                      <a:pt x="1254" y="991"/>
                    </a:lnTo>
                    <a:lnTo>
                      <a:pt x="1254" y="991"/>
                    </a:lnTo>
                    <a:lnTo>
                      <a:pt x="1254" y="992"/>
                    </a:lnTo>
                    <a:lnTo>
                      <a:pt x="1254" y="992"/>
                    </a:lnTo>
                    <a:lnTo>
                      <a:pt x="1255" y="992"/>
                    </a:lnTo>
                    <a:lnTo>
                      <a:pt x="1255" y="992"/>
                    </a:lnTo>
                    <a:lnTo>
                      <a:pt x="1255" y="994"/>
                    </a:lnTo>
                    <a:lnTo>
                      <a:pt x="1255" y="994"/>
                    </a:lnTo>
                    <a:lnTo>
                      <a:pt x="1256" y="994"/>
                    </a:lnTo>
                    <a:lnTo>
                      <a:pt x="1256" y="995"/>
                    </a:lnTo>
                    <a:lnTo>
                      <a:pt x="1258" y="995"/>
                    </a:lnTo>
                    <a:lnTo>
                      <a:pt x="1259" y="996"/>
                    </a:lnTo>
                    <a:lnTo>
                      <a:pt x="1262" y="999"/>
                    </a:lnTo>
                    <a:lnTo>
                      <a:pt x="1264" y="1001"/>
                    </a:lnTo>
                    <a:lnTo>
                      <a:pt x="1265" y="1001"/>
                    </a:lnTo>
                    <a:lnTo>
                      <a:pt x="1266" y="1001"/>
                    </a:lnTo>
                    <a:lnTo>
                      <a:pt x="1268" y="1001"/>
                    </a:lnTo>
                    <a:lnTo>
                      <a:pt x="1271" y="1001"/>
                    </a:lnTo>
                    <a:lnTo>
                      <a:pt x="1275" y="1001"/>
                    </a:lnTo>
                    <a:lnTo>
                      <a:pt x="1276" y="1001"/>
                    </a:lnTo>
                    <a:lnTo>
                      <a:pt x="1278" y="1001"/>
                    </a:lnTo>
                    <a:lnTo>
                      <a:pt x="1279" y="1001"/>
                    </a:lnTo>
                    <a:lnTo>
                      <a:pt x="1279" y="1001"/>
                    </a:lnTo>
                    <a:lnTo>
                      <a:pt x="1281" y="1002"/>
                    </a:lnTo>
                    <a:lnTo>
                      <a:pt x="1281" y="1002"/>
                    </a:lnTo>
                    <a:lnTo>
                      <a:pt x="1288" y="1004"/>
                    </a:lnTo>
                    <a:lnTo>
                      <a:pt x="1291" y="1004"/>
                    </a:lnTo>
                    <a:lnTo>
                      <a:pt x="1294" y="1005"/>
                    </a:lnTo>
                    <a:lnTo>
                      <a:pt x="1297" y="1004"/>
                    </a:lnTo>
                    <a:lnTo>
                      <a:pt x="1298" y="1004"/>
                    </a:lnTo>
                    <a:lnTo>
                      <a:pt x="1299" y="1004"/>
                    </a:lnTo>
                    <a:lnTo>
                      <a:pt x="1301" y="1005"/>
                    </a:lnTo>
                    <a:lnTo>
                      <a:pt x="1302" y="1005"/>
                    </a:lnTo>
                    <a:lnTo>
                      <a:pt x="1304" y="1005"/>
                    </a:lnTo>
                    <a:lnTo>
                      <a:pt x="1305" y="1005"/>
                    </a:lnTo>
                    <a:lnTo>
                      <a:pt x="1310" y="1002"/>
                    </a:lnTo>
                    <a:lnTo>
                      <a:pt x="1311" y="1001"/>
                    </a:lnTo>
                    <a:lnTo>
                      <a:pt x="1312" y="1001"/>
                    </a:lnTo>
                    <a:lnTo>
                      <a:pt x="1314" y="1001"/>
                    </a:lnTo>
                    <a:lnTo>
                      <a:pt x="1315" y="1001"/>
                    </a:lnTo>
                    <a:lnTo>
                      <a:pt x="1315" y="1001"/>
                    </a:lnTo>
                    <a:lnTo>
                      <a:pt x="1315" y="999"/>
                    </a:lnTo>
                    <a:lnTo>
                      <a:pt x="1317" y="999"/>
                    </a:lnTo>
                    <a:lnTo>
                      <a:pt x="1318" y="999"/>
                    </a:lnTo>
                    <a:lnTo>
                      <a:pt x="1320" y="999"/>
                    </a:lnTo>
                    <a:lnTo>
                      <a:pt x="1325" y="998"/>
                    </a:lnTo>
                    <a:lnTo>
                      <a:pt x="1327" y="998"/>
                    </a:lnTo>
                    <a:lnTo>
                      <a:pt x="1332" y="995"/>
                    </a:lnTo>
                    <a:lnTo>
                      <a:pt x="1334" y="995"/>
                    </a:lnTo>
                    <a:lnTo>
                      <a:pt x="1334" y="995"/>
                    </a:lnTo>
                    <a:lnTo>
                      <a:pt x="1335" y="995"/>
                    </a:lnTo>
                    <a:lnTo>
                      <a:pt x="1335" y="995"/>
                    </a:lnTo>
                    <a:lnTo>
                      <a:pt x="1337" y="996"/>
                    </a:lnTo>
                    <a:lnTo>
                      <a:pt x="1337" y="996"/>
                    </a:lnTo>
                    <a:lnTo>
                      <a:pt x="1338" y="996"/>
                    </a:lnTo>
                    <a:lnTo>
                      <a:pt x="1340" y="995"/>
                    </a:lnTo>
                    <a:lnTo>
                      <a:pt x="1341" y="994"/>
                    </a:lnTo>
                    <a:lnTo>
                      <a:pt x="1343" y="994"/>
                    </a:lnTo>
                    <a:lnTo>
                      <a:pt x="1344" y="992"/>
                    </a:lnTo>
                    <a:lnTo>
                      <a:pt x="1344" y="991"/>
                    </a:lnTo>
                    <a:lnTo>
                      <a:pt x="1345" y="989"/>
                    </a:lnTo>
                    <a:lnTo>
                      <a:pt x="1345" y="989"/>
                    </a:lnTo>
                    <a:lnTo>
                      <a:pt x="1350" y="986"/>
                    </a:lnTo>
                    <a:lnTo>
                      <a:pt x="1353" y="983"/>
                    </a:lnTo>
                    <a:lnTo>
                      <a:pt x="1354" y="982"/>
                    </a:lnTo>
                    <a:lnTo>
                      <a:pt x="1355" y="982"/>
                    </a:lnTo>
                    <a:lnTo>
                      <a:pt x="1357" y="981"/>
                    </a:lnTo>
                    <a:lnTo>
                      <a:pt x="1358" y="981"/>
                    </a:lnTo>
                    <a:lnTo>
                      <a:pt x="1360" y="979"/>
                    </a:lnTo>
                    <a:lnTo>
                      <a:pt x="1361" y="978"/>
                    </a:lnTo>
                    <a:lnTo>
                      <a:pt x="1363" y="976"/>
                    </a:lnTo>
                    <a:lnTo>
                      <a:pt x="1364" y="976"/>
                    </a:lnTo>
                    <a:lnTo>
                      <a:pt x="1367" y="976"/>
                    </a:lnTo>
                    <a:lnTo>
                      <a:pt x="1368" y="976"/>
                    </a:lnTo>
                    <a:lnTo>
                      <a:pt x="1371" y="978"/>
                    </a:lnTo>
                    <a:lnTo>
                      <a:pt x="1373" y="978"/>
                    </a:lnTo>
                    <a:lnTo>
                      <a:pt x="1376" y="979"/>
                    </a:lnTo>
                    <a:lnTo>
                      <a:pt x="1377" y="979"/>
                    </a:lnTo>
                    <a:lnTo>
                      <a:pt x="1380" y="982"/>
                    </a:lnTo>
                    <a:lnTo>
                      <a:pt x="1381" y="983"/>
                    </a:lnTo>
                    <a:lnTo>
                      <a:pt x="1381" y="983"/>
                    </a:lnTo>
                    <a:lnTo>
                      <a:pt x="1383" y="985"/>
                    </a:lnTo>
                    <a:lnTo>
                      <a:pt x="1383" y="985"/>
                    </a:lnTo>
                    <a:lnTo>
                      <a:pt x="1383" y="985"/>
                    </a:lnTo>
                    <a:lnTo>
                      <a:pt x="1384" y="985"/>
                    </a:lnTo>
                    <a:lnTo>
                      <a:pt x="1384" y="986"/>
                    </a:lnTo>
                    <a:lnTo>
                      <a:pt x="1386" y="986"/>
                    </a:lnTo>
                    <a:lnTo>
                      <a:pt x="1387" y="986"/>
                    </a:lnTo>
                    <a:lnTo>
                      <a:pt x="1389" y="986"/>
                    </a:lnTo>
                    <a:lnTo>
                      <a:pt x="1389" y="986"/>
                    </a:lnTo>
                    <a:lnTo>
                      <a:pt x="1390" y="986"/>
                    </a:lnTo>
                    <a:lnTo>
                      <a:pt x="1391" y="986"/>
                    </a:lnTo>
                    <a:lnTo>
                      <a:pt x="1394" y="985"/>
                    </a:lnTo>
                    <a:lnTo>
                      <a:pt x="1397" y="983"/>
                    </a:lnTo>
                    <a:lnTo>
                      <a:pt x="1397" y="983"/>
                    </a:lnTo>
                    <a:lnTo>
                      <a:pt x="1399" y="983"/>
                    </a:lnTo>
                    <a:lnTo>
                      <a:pt x="1401" y="983"/>
                    </a:lnTo>
                    <a:lnTo>
                      <a:pt x="1403" y="985"/>
                    </a:lnTo>
                    <a:lnTo>
                      <a:pt x="1404" y="985"/>
                    </a:lnTo>
                    <a:lnTo>
                      <a:pt x="1404" y="985"/>
                    </a:lnTo>
                    <a:lnTo>
                      <a:pt x="1406" y="986"/>
                    </a:lnTo>
                    <a:lnTo>
                      <a:pt x="1406" y="986"/>
                    </a:lnTo>
                    <a:lnTo>
                      <a:pt x="1407" y="988"/>
                    </a:lnTo>
                    <a:lnTo>
                      <a:pt x="1409" y="989"/>
                    </a:lnTo>
                    <a:lnTo>
                      <a:pt x="1411" y="991"/>
                    </a:lnTo>
                    <a:lnTo>
                      <a:pt x="1413" y="991"/>
                    </a:lnTo>
                    <a:lnTo>
                      <a:pt x="1426" y="995"/>
                    </a:lnTo>
                    <a:lnTo>
                      <a:pt x="1427" y="995"/>
                    </a:lnTo>
                    <a:lnTo>
                      <a:pt x="1429" y="995"/>
                    </a:lnTo>
                    <a:lnTo>
                      <a:pt x="1432" y="994"/>
                    </a:lnTo>
                    <a:lnTo>
                      <a:pt x="1439" y="988"/>
                    </a:lnTo>
                    <a:lnTo>
                      <a:pt x="1443" y="985"/>
                    </a:lnTo>
                    <a:lnTo>
                      <a:pt x="1447" y="983"/>
                    </a:lnTo>
                    <a:lnTo>
                      <a:pt x="1450" y="983"/>
                    </a:lnTo>
                    <a:lnTo>
                      <a:pt x="1452" y="982"/>
                    </a:lnTo>
                    <a:lnTo>
                      <a:pt x="1452" y="982"/>
                    </a:lnTo>
                    <a:lnTo>
                      <a:pt x="1453" y="982"/>
                    </a:lnTo>
                    <a:lnTo>
                      <a:pt x="1453" y="981"/>
                    </a:lnTo>
                    <a:lnTo>
                      <a:pt x="1453" y="981"/>
                    </a:lnTo>
                    <a:lnTo>
                      <a:pt x="1453" y="979"/>
                    </a:lnTo>
                    <a:lnTo>
                      <a:pt x="1453" y="979"/>
                    </a:lnTo>
                    <a:lnTo>
                      <a:pt x="1455" y="978"/>
                    </a:lnTo>
                    <a:lnTo>
                      <a:pt x="1455" y="978"/>
                    </a:lnTo>
                    <a:lnTo>
                      <a:pt x="1455" y="976"/>
                    </a:lnTo>
                    <a:lnTo>
                      <a:pt x="1455" y="976"/>
                    </a:lnTo>
                    <a:lnTo>
                      <a:pt x="1455" y="976"/>
                    </a:lnTo>
                    <a:lnTo>
                      <a:pt x="1453" y="975"/>
                    </a:lnTo>
                    <a:lnTo>
                      <a:pt x="1453" y="975"/>
                    </a:lnTo>
                    <a:lnTo>
                      <a:pt x="1453" y="973"/>
                    </a:lnTo>
                    <a:lnTo>
                      <a:pt x="1453" y="973"/>
                    </a:lnTo>
                    <a:lnTo>
                      <a:pt x="1452" y="973"/>
                    </a:lnTo>
                    <a:lnTo>
                      <a:pt x="1452" y="973"/>
                    </a:lnTo>
                    <a:lnTo>
                      <a:pt x="1450" y="972"/>
                    </a:lnTo>
                    <a:lnTo>
                      <a:pt x="1452" y="972"/>
                    </a:lnTo>
                    <a:lnTo>
                      <a:pt x="1452" y="971"/>
                    </a:lnTo>
                    <a:lnTo>
                      <a:pt x="1453" y="971"/>
                    </a:lnTo>
                    <a:lnTo>
                      <a:pt x="1453" y="969"/>
                    </a:lnTo>
                    <a:lnTo>
                      <a:pt x="1453" y="969"/>
                    </a:lnTo>
                    <a:lnTo>
                      <a:pt x="1453" y="968"/>
                    </a:lnTo>
                    <a:lnTo>
                      <a:pt x="1456" y="963"/>
                    </a:lnTo>
                    <a:lnTo>
                      <a:pt x="1457" y="962"/>
                    </a:lnTo>
                    <a:lnTo>
                      <a:pt x="1457" y="962"/>
                    </a:lnTo>
                    <a:lnTo>
                      <a:pt x="1457" y="960"/>
                    </a:lnTo>
                    <a:lnTo>
                      <a:pt x="1457" y="959"/>
                    </a:lnTo>
                    <a:lnTo>
                      <a:pt x="1457" y="959"/>
                    </a:lnTo>
                    <a:lnTo>
                      <a:pt x="1457" y="958"/>
                    </a:lnTo>
                    <a:lnTo>
                      <a:pt x="1459" y="958"/>
                    </a:lnTo>
                    <a:lnTo>
                      <a:pt x="1460" y="956"/>
                    </a:lnTo>
                    <a:lnTo>
                      <a:pt x="1460" y="955"/>
                    </a:lnTo>
                    <a:lnTo>
                      <a:pt x="1460" y="955"/>
                    </a:lnTo>
                    <a:lnTo>
                      <a:pt x="1462" y="953"/>
                    </a:lnTo>
                    <a:lnTo>
                      <a:pt x="1462" y="952"/>
                    </a:lnTo>
                    <a:lnTo>
                      <a:pt x="1462" y="952"/>
                    </a:lnTo>
                    <a:lnTo>
                      <a:pt x="1462" y="950"/>
                    </a:lnTo>
                    <a:lnTo>
                      <a:pt x="1462" y="949"/>
                    </a:lnTo>
                    <a:lnTo>
                      <a:pt x="1463" y="948"/>
                    </a:lnTo>
                    <a:lnTo>
                      <a:pt x="1465" y="946"/>
                    </a:lnTo>
                    <a:lnTo>
                      <a:pt x="1466" y="945"/>
                    </a:lnTo>
                    <a:lnTo>
                      <a:pt x="1466" y="940"/>
                    </a:lnTo>
                    <a:lnTo>
                      <a:pt x="1469" y="939"/>
                    </a:lnTo>
                    <a:lnTo>
                      <a:pt x="1470" y="937"/>
                    </a:lnTo>
                    <a:lnTo>
                      <a:pt x="1472" y="936"/>
                    </a:lnTo>
                    <a:lnTo>
                      <a:pt x="1473" y="936"/>
                    </a:lnTo>
                    <a:lnTo>
                      <a:pt x="1475" y="935"/>
                    </a:lnTo>
                    <a:lnTo>
                      <a:pt x="1475" y="935"/>
                    </a:lnTo>
                    <a:lnTo>
                      <a:pt x="1476" y="933"/>
                    </a:lnTo>
                    <a:lnTo>
                      <a:pt x="1476" y="932"/>
                    </a:lnTo>
                    <a:lnTo>
                      <a:pt x="1478" y="932"/>
                    </a:lnTo>
                    <a:lnTo>
                      <a:pt x="1478" y="930"/>
                    </a:lnTo>
                    <a:lnTo>
                      <a:pt x="1478" y="930"/>
                    </a:lnTo>
                    <a:lnTo>
                      <a:pt x="1479" y="929"/>
                    </a:lnTo>
                    <a:lnTo>
                      <a:pt x="1479" y="927"/>
                    </a:lnTo>
                    <a:lnTo>
                      <a:pt x="1479" y="927"/>
                    </a:lnTo>
                    <a:lnTo>
                      <a:pt x="1479" y="926"/>
                    </a:lnTo>
                    <a:lnTo>
                      <a:pt x="1478" y="923"/>
                    </a:lnTo>
                    <a:lnTo>
                      <a:pt x="1478" y="922"/>
                    </a:lnTo>
                    <a:lnTo>
                      <a:pt x="1478" y="920"/>
                    </a:lnTo>
                    <a:lnTo>
                      <a:pt x="1478" y="919"/>
                    </a:lnTo>
                    <a:lnTo>
                      <a:pt x="1478" y="916"/>
                    </a:lnTo>
                    <a:lnTo>
                      <a:pt x="1475" y="916"/>
                    </a:lnTo>
                    <a:lnTo>
                      <a:pt x="1472" y="914"/>
                    </a:lnTo>
                    <a:lnTo>
                      <a:pt x="1470" y="916"/>
                    </a:lnTo>
                    <a:lnTo>
                      <a:pt x="1469" y="916"/>
                    </a:lnTo>
                    <a:lnTo>
                      <a:pt x="1467" y="916"/>
                    </a:lnTo>
                    <a:lnTo>
                      <a:pt x="1467" y="914"/>
                    </a:lnTo>
                    <a:lnTo>
                      <a:pt x="1466" y="914"/>
                    </a:lnTo>
                    <a:lnTo>
                      <a:pt x="1466" y="913"/>
                    </a:lnTo>
                    <a:lnTo>
                      <a:pt x="1467" y="912"/>
                    </a:lnTo>
                    <a:lnTo>
                      <a:pt x="1469" y="910"/>
                    </a:lnTo>
                    <a:lnTo>
                      <a:pt x="1470" y="910"/>
                    </a:lnTo>
                    <a:lnTo>
                      <a:pt x="1472" y="909"/>
                    </a:lnTo>
                    <a:lnTo>
                      <a:pt x="1478" y="902"/>
                    </a:lnTo>
                    <a:lnTo>
                      <a:pt x="1480" y="900"/>
                    </a:lnTo>
                    <a:lnTo>
                      <a:pt x="1483" y="899"/>
                    </a:lnTo>
                    <a:lnTo>
                      <a:pt x="1486" y="899"/>
                    </a:lnTo>
                    <a:lnTo>
                      <a:pt x="1490" y="899"/>
                    </a:lnTo>
                    <a:lnTo>
                      <a:pt x="1506" y="894"/>
                    </a:lnTo>
                    <a:lnTo>
                      <a:pt x="1509" y="894"/>
                    </a:lnTo>
                    <a:lnTo>
                      <a:pt x="1512" y="894"/>
                    </a:lnTo>
                    <a:lnTo>
                      <a:pt x="1513" y="894"/>
                    </a:lnTo>
                    <a:lnTo>
                      <a:pt x="1516" y="894"/>
                    </a:lnTo>
                    <a:lnTo>
                      <a:pt x="1518" y="894"/>
                    </a:lnTo>
                    <a:lnTo>
                      <a:pt x="1519" y="893"/>
                    </a:lnTo>
                    <a:lnTo>
                      <a:pt x="1521" y="893"/>
                    </a:lnTo>
                    <a:lnTo>
                      <a:pt x="1522" y="893"/>
                    </a:lnTo>
                    <a:lnTo>
                      <a:pt x="1524" y="893"/>
                    </a:lnTo>
                    <a:lnTo>
                      <a:pt x="1525" y="893"/>
                    </a:lnTo>
                    <a:lnTo>
                      <a:pt x="1525" y="893"/>
                    </a:lnTo>
                    <a:lnTo>
                      <a:pt x="1526" y="893"/>
                    </a:lnTo>
                    <a:lnTo>
                      <a:pt x="1526" y="893"/>
                    </a:lnTo>
                    <a:lnTo>
                      <a:pt x="1528" y="893"/>
                    </a:lnTo>
                    <a:lnTo>
                      <a:pt x="1529" y="893"/>
                    </a:lnTo>
                    <a:lnTo>
                      <a:pt x="1529" y="893"/>
                    </a:lnTo>
                    <a:lnTo>
                      <a:pt x="1531" y="893"/>
                    </a:lnTo>
                    <a:lnTo>
                      <a:pt x="1531" y="893"/>
                    </a:lnTo>
                    <a:lnTo>
                      <a:pt x="1536" y="896"/>
                    </a:lnTo>
                    <a:lnTo>
                      <a:pt x="1536" y="897"/>
                    </a:lnTo>
                    <a:lnTo>
                      <a:pt x="1538" y="897"/>
                    </a:lnTo>
                    <a:lnTo>
                      <a:pt x="1541" y="897"/>
                    </a:lnTo>
                    <a:lnTo>
                      <a:pt x="1542" y="900"/>
                    </a:lnTo>
                    <a:lnTo>
                      <a:pt x="1544" y="900"/>
                    </a:lnTo>
                    <a:lnTo>
                      <a:pt x="1546" y="902"/>
                    </a:lnTo>
                    <a:lnTo>
                      <a:pt x="1549" y="903"/>
                    </a:lnTo>
                    <a:lnTo>
                      <a:pt x="1551" y="903"/>
                    </a:lnTo>
                    <a:lnTo>
                      <a:pt x="1552" y="902"/>
                    </a:lnTo>
                    <a:lnTo>
                      <a:pt x="1554" y="902"/>
                    </a:lnTo>
                    <a:lnTo>
                      <a:pt x="1555" y="902"/>
                    </a:lnTo>
                    <a:lnTo>
                      <a:pt x="1557" y="902"/>
                    </a:lnTo>
                    <a:lnTo>
                      <a:pt x="1558" y="902"/>
                    </a:lnTo>
                    <a:lnTo>
                      <a:pt x="1559" y="903"/>
                    </a:lnTo>
                    <a:lnTo>
                      <a:pt x="1561" y="904"/>
                    </a:lnTo>
                    <a:lnTo>
                      <a:pt x="1564" y="904"/>
                    </a:lnTo>
                    <a:lnTo>
                      <a:pt x="1565" y="906"/>
                    </a:lnTo>
                    <a:lnTo>
                      <a:pt x="1567" y="909"/>
                    </a:lnTo>
                    <a:lnTo>
                      <a:pt x="1569" y="909"/>
                    </a:lnTo>
                    <a:lnTo>
                      <a:pt x="1569" y="910"/>
                    </a:lnTo>
                    <a:lnTo>
                      <a:pt x="1571" y="912"/>
                    </a:lnTo>
                    <a:lnTo>
                      <a:pt x="1572" y="913"/>
                    </a:lnTo>
                    <a:lnTo>
                      <a:pt x="1572" y="913"/>
                    </a:lnTo>
                    <a:lnTo>
                      <a:pt x="1572" y="913"/>
                    </a:lnTo>
                    <a:lnTo>
                      <a:pt x="1571" y="916"/>
                    </a:lnTo>
                    <a:lnTo>
                      <a:pt x="1572" y="917"/>
                    </a:lnTo>
                    <a:lnTo>
                      <a:pt x="1574" y="917"/>
                    </a:lnTo>
                    <a:lnTo>
                      <a:pt x="1575" y="920"/>
                    </a:lnTo>
                    <a:lnTo>
                      <a:pt x="1575" y="920"/>
                    </a:lnTo>
                    <a:lnTo>
                      <a:pt x="1577" y="920"/>
                    </a:lnTo>
                    <a:lnTo>
                      <a:pt x="1577" y="922"/>
                    </a:lnTo>
                    <a:lnTo>
                      <a:pt x="1577" y="922"/>
                    </a:lnTo>
                    <a:lnTo>
                      <a:pt x="1577" y="923"/>
                    </a:lnTo>
                    <a:lnTo>
                      <a:pt x="1578" y="923"/>
                    </a:lnTo>
                    <a:lnTo>
                      <a:pt x="1578" y="926"/>
                    </a:lnTo>
                    <a:lnTo>
                      <a:pt x="1578" y="927"/>
                    </a:lnTo>
                    <a:lnTo>
                      <a:pt x="1580" y="927"/>
                    </a:lnTo>
                    <a:lnTo>
                      <a:pt x="1580" y="930"/>
                    </a:lnTo>
                    <a:lnTo>
                      <a:pt x="1580" y="933"/>
                    </a:lnTo>
                    <a:lnTo>
                      <a:pt x="1582" y="936"/>
                    </a:lnTo>
                    <a:lnTo>
                      <a:pt x="1582" y="937"/>
                    </a:lnTo>
                    <a:lnTo>
                      <a:pt x="1584" y="939"/>
                    </a:lnTo>
                    <a:lnTo>
                      <a:pt x="1584" y="939"/>
                    </a:lnTo>
                    <a:lnTo>
                      <a:pt x="1584" y="940"/>
                    </a:lnTo>
                    <a:lnTo>
                      <a:pt x="1584" y="942"/>
                    </a:lnTo>
                    <a:lnTo>
                      <a:pt x="1584" y="942"/>
                    </a:lnTo>
                    <a:lnTo>
                      <a:pt x="1585" y="943"/>
                    </a:lnTo>
                    <a:lnTo>
                      <a:pt x="1585" y="945"/>
                    </a:lnTo>
                    <a:lnTo>
                      <a:pt x="1585" y="946"/>
                    </a:lnTo>
                    <a:lnTo>
                      <a:pt x="1587" y="948"/>
                    </a:lnTo>
                    <a:lnTo>
                      <a:pt x="1585" y="949"/>
                    </a:lnTo>
                    <a:lnTo>
                      <a:pt x="1587" y="952"/>
                    </a:lnTo>
                    <a:lnTo>
                      <a:pt x="1587" y="955"/>
                    </a:lnTo>
                    <a:lnTo>
                      <a:pt x="1590" y="958"/>
                    </a:lnTo>
                    <a:lnTo>
                      <a:pt x="1592" y="960"/>
                    </a:lnTo>
                    <a:lnTo>
                      <a:pt x="1594" y="963"/>
                    </a:lnTo>
                    <a:lnTo>
                      <a:pt x="1594" y="966"/>
                    </a:lnTo>
                    <a:lnTo>
                      <a:pt x="1595" y="966"/>
                    </a:lnTo>
                    <a:lnTo>
                      <a:pt x="1595" y="968"/>
                    </a:lnTo>
                    <a:lnTo>
                      <a:pt x="1595" y="968"/>
                    </a:lnTo>
                    <a:lnTo>
                      <a:pt x="1595" y="969"/>
                    </a:lnTo>
                    <a:lnTo>
                      <a:pt x="1594" y="971"/>
                    </a:lnTo>
                    <a:lnTo>
                      <a:pt x="1594" y="972"/>
                    </a:lnTo>
                    <a:lnTo>
                      <a:pt x="1595" y="972"/>
                    </a:lnTo>
                    <a:lnTo>
                      <a:pt x="1595" y="973"/>
                    </a:lnTo>
                    <a:lnTo>
                      <a:pt x="1595" y="975"/>
                    </a:lnTo>
                    <a:lnTo>
                      <a:pt x="1595" y="975"/>
                    </a:lnTo>
                    <a:lnTo>
                      <a:pt x="1595" y="975"/>
                    </a:lnTo>
                    <a:lnTo>
                      <a:pt x="1597" y="976"/>
                    </a:lnTo>
                    <a:lnTo>
                      <a:pt x="1598" y="978"/>
                    </a:lnTo>
                    <a:lnTo>
                      <a:pt x="1598" y="978"/>
                    </a:lnTo>
                    <a:lnTo>
                      <a:pt x="1598" y="978"/>
                    </a:lnTo>
                    <a:lnTo>
                      <a:pt x="1598" y="979"/>
                    </a:lnTo>
                    <a:lnTo>
                      <a:pt x="1598" y="982"/>
                    </a:lnTo>
                    <a:lnTo>
                      <a:pt x="1598" y="983"/>
                    </a:lnTo>
                    <a:lnTo>
                      <a:pt x="1597" y="985"/>
                    </a:lnTo>
                    <a:lnTo>
                      <a:pt x="1598" y="988"/>
                    </a:lnTo>
                    <a:lnTo>
                      <a:pt x="1598" y="988"/>
                    </a:lnTo>
                    <a:lnTo>
                      <a:pt x="1600" y="989"/>
                    </a:lnTo>
                    <a:lnTo>
                      <a:pt x="1600" y="989"/>
                    </a:lnTo>
                    <a:lnTo>
                      <a:pt x="1601" y="991"/>
                    </a:lnTo>
                    <a:lnTo>
                      <a:pt x="1601" y="992"/>
                    </a:lnTo>
                    <a:lnTo>
                      <a:pt x="1601" y="992"/>
                    </a:lnTo>
                    <a:lnTo>
                      <a:pt x="1602" y="992"/>
                    </a:lnTo>
                    <a:lnTo>
                      <a:pt x="1602" y="994"/>
                    </a:lnTo>
                    <a:lnTo>
                      <a:pt x="1607" y="995"/>
                    </a:lnTo>
                    <a:lnTo>
                      <a:pt x="1611" y="995"/>
                    </a:lnTo>
                    <a:lnTo>
                      <a:pt x="1617" y="994"/>
                    </a:lnTo>
                    <a:lnTo>
                      <a:pt x="1618" y="994"/>
                    </a:lnTo>
                    <a:lnTo>
                      <a:pt x="1618" y="994"/>
                    </a:lnTo>
                    <a:lnTo>
                      <a:pt x="1620" y="995"/>
                    </a:lnTo>
                    <a:lnTo>
                      <a:pt x="1620" y="995"/>
                    </a:lnTo>
                    <a:lnTo>
                      <a:pt x="1620" y="996"/>
                    </a:lnTo>
                    <a:lnTo>
                      <a:pt x="1621" y="996"/>
                    </a:lnTo>
                    <a:lnTo>
                      <a:pt x="1624" y="998"/>
                    </a:lnTo>
                    <a:lnTo>
                      <a:pt x="1625" y="999"/>
                    </a:lnTo>
                    <a:lnTo>
                      <a:pt x="1625" y="999"/>
                    </a:lnTo>
                    <a:lnTo>
                      <a:pt x="1627" y="999"/>
                    </a:lnTo>
                    <a:lnTo>
                      <a:pt x="1628" y="999"/>
                    </a:lnTo>
                    <a:lnTo>
                      <a:pt x="1628" y="999"/>
                    </a:lnTo>
                    <a:lnTo>
                      <a:pt x="1630" y="999"/>
                    </a:lnTo>
                    <a:lnTo>
                      <a:pt x="1630" y="999"/>
                    </a:lnTo>
                    <a:lnTo>
                      <a:pt x="1631" y="999"/>
                    </a:lnTo>
                    <a:lnTo>
                      <a:pt x="1631" y="999"/>
                    </a:lnTo>
                    <a:lnTo>
                      <a:pt x="1631" y="999"/>
                    </a:lnTo>
                    <a:lnTo>
                      <a:pt x="1633" y="999"/>
                    </a:lnTo>
                    <a:lnTo>
                      <a:pt x="1633" y="1001"/>
                    </a:lnTo>
                    <a:lnTo>
                      <a:pt x="1634" y="1001"/>
                    </a:lnTo>
                    <a:lnTo>
                      <a:pt x="1634" y="1002"/>
                    </a:lnTo>
                    <a:lnTo>
                      <a:pt x="1636" y="1002"/>
                    </a:lnTo>
                    <a:lnTo>
                      <a:pt x="1636" y="1002"/>
                    </a:lnTo>
                    <a:lnTo>
                      <a:pt x="1638" y="1004"/>
                    </a:lnTo>
                    <a:lnTo>
                      <a:pt x="1640" y="1008"/>
                    </a:lnTo>
                    <a:lnTo>
                      <a:pt x="1641" y="1009"/>
                    </a:lnTo>
                    <a:lnTo>
                      <a:pt x="1644" y="1011"/>
                    </a:lnTo>
                    <a:lnTo>
                      <a:pt x="1646" y="1012"/>
                    </a:lnTo>
                    <a:lnTo>
                      <a:pt x="1647" y="1012"/>
                    </a:lnTo>
                    <a:lnTo>
                      <a:pt x="1648" y="1012"/>
                    </a:lnTo>
                    <a:lnTo>
                      <a:pt x="1651" y="1012"/>
                    </a:lnTo>
                    <a:lnTo>
                      <a:pt x="1653" y="1015"/>
                    </a:lnTo>
                    <a:lnTo>
                      <a:pt x="1651" y="1015"/>
                    </a:lnTo>
                    <a:lnTo>
                      <a:pt x="1651" y="1017"/>
                    </a:lnTo>
                    <a:lnTo>
                      <a:pt x="1651" y="1017"/>
                    </a:lnTo>
                    <a:lnTo>
                      <a:pt x="1651" y="1018"/>
                    </a:lnTo>
                    <a:lnTo>
                      <a:pt x="1651" y="1019"/>
                    </a:lnTo>
                    <a:lnTo>
                      <a:pt x="1654" y="1024"/>
                    </a:lnTo>
                    <a:lnTo>
                      <a:pt x="1656" y="1025"/>
                    </a:lnTo>
                    <a:lnTo>
                      <a:pt x="1656" y="1027"/>
                    </a:lnTo>
                    <a:lnTo>
                      <a:pt x="1656" y="1027"/>
                    </a:lnTo>
                    <a:lnTo>
                      <a:pt x="1656" y="1028"/>
                    </a:lnTo>
                    <a:lnTo>
                      <a:pt x="1656" y="1028"/>
                    </a:lnTo>
                    <a:lnTo>
                      <a:pt x="1654" y="1029"/>
                    </a:lnTo>
                    <a:lnTo>
                      <a:pt x="1654" y="1031"/>
                    </a:lnTo>
                    <a:lnTo>
                      <a:pt x="1654" y="1032"/>
                    </a:lnTo>
                    <a:lnTo>
                      <a:pt x="1654" y="1032"/>
                    </a:lnTo>
                    <a:lnTo>
                      <a:pt x="1654" y="1032"/>
                    </a:lnTo>
                    <a:lnTo>
                      <a:pt x="1654" y="1034"/>
                    </a:lnTo>
                    <a:lnTo>
                      <a:pt x="1656" y="1034"/>
                    </a:lnTo>
                    <a:lnTo>
                      <a:pt x="1656" y="1035"/>
                    </a:lnTo>
                    <a:lnTo>
                      <a:pt x="1656" y="1035"/>
                    </a:lnTo>
                    <a:lnTo>
                      <a:pt x="1657" y="1035"/>
                    </a:lnTo>
                    <a:lnTo>
                      <a:pt x="1657" y="1037"/>
                    </a:lnTo>
                    <a:lnTo>
                      <a:pt x="1659" y="1041"/>
                    </a:lnTo>
                    <a:lnTo>
                      <a:pt x="1660" y="1041"/>
                    </a:lnTo>
                    <a:lnTo>
                      <a:pt x="1660" y="1041"/>
                    </a:lnTo>
                    <a:lnTo>
                      <a:pt x="1661" y="1041"/>
                    </a:lnTo>
                    <a:lnTo>
                      <a:pt x="1663" y="1041"/>
                    </a:lnTo>
                    <a:lnTo>
                      <a:pt x="1664" y="1040"/>
                    </a:lnTo>
                    <a:lnTo>
                      <a:pt x="1666" y="1040"/>
                    </a:lnTo>
                    <a:lnTo>
                      <a:pt x="1666" y="1040"/>
                    </a:lnTo>
                    <a:lnTo>
                      <a:pt x="1667" y="1040"/>
                    </a:lnTo>
                    <a:lnTo>
                      <a:pt x="1669" y="1041"/>
                    </a:lnTo>
                    <a:lnTo>
                      <a:pt x="1674" y="1041"/>
                    </a:lnTo>
                    <a:lnTo>
                      <a:pt x="1676" y="1041"/>
                    </a:lnTo>
                    <a:lnTo>
                      <a:pt x="1679" y="1041"/>
                    </a:lnTo>
                    <a:lnTo>
                      <a:pt x="1681" y="1040"/>
                    </a:lnTo>
                    <a:lnTo>
                      <a:pt x="1683" y="1040"/>
                    </a:lnTo>
                    <a:lnTo>
                      <a:pt x="1684" y="1041"/>
                    </a:lnTo>
                    <a:lnTo>
                      <a:pt x="1686" y="1040"/>
                    </a:lnTo>
                    <a:lnTo>
                      <a:pt x="1686" y="1040"/>
                    </a:lnTo>
                    <a:lnTo>
                      <a:pt x="1687" y="1038"/>
                    </a:lnTo>
                    <a:lnTo>
                      <a:pt x="1687" y="1038"/>
                    </a:lnTo>
                    <a:lnTo>
                      <a:pt x="1687" y="1037"/>
                    </a:lnTo>
                    <a:lnTo>
                      <a:pt x="1689" y="1035"/>
                    </a:lnTo>
                    <a:lnTo>
                      <a:pt x="1689" y="1035"/>
                    </a:lnTo>
                    <a:lnTo>
                      <a:pt x="1690" y="1035"/>
                    </a:lnTo>
                    <a:lnTo>
                      <a:pt x="1692" y="1034"/>
                    </a:lnTo>
                    <a:lnTo>
                      <a:pt x="1693" y="1034"/>
                    </a:lnTo>
                    <a:lnTo>
                      <a:pt x="1693" y="1032"/>
                    </a:lnTo>
                    <a:lnTo>
                      <a:pt x="1694" y="1032"/>
                    </a:lnTo>
                    <a:lnTo>
                      <a:pt x="1696" y="1031"/>
                    </a:lnTo>
                    <a:lnTo>
                      <a:pt x="1696" y="1031"/>
                    </a:lnTo>
                    <a:lnTo>
                      <a:pt x="1697" y="1031"/>
                    </a:lnTo>
                    <a:lnTo>
                      <a:pt x="1699" y="1031"/>
                    </a:lnTo>
                    <a:lnTo>
                      <a:pt x="1703" y="1031"/>
                    </a:lnTo>
                    <a:lnTo>
                      <a:pt x="1703" y="1031"/>
                    </a:lnTo>
                    <a:lnTo>
                      <a:pt x="1707" y="1028"/>
                    </a:lnTo>
                    <a:lnTo>
                      <a:pt x="1709" y="1027"/>
                    </a:lnTo>
                    <a:lnTo>
                      <a:pt x="1710" y="1027"/>
                    </a:lnTo>
                    <a:lnTo>
                      <a:pt x="1715" y="1025"/>
                    </a:lnTo>
                    <a:lnTo>
                      <a:pt x="1716" y="1025"/>
                    </a:lnTo>
                    <a:lnTo>
                      <a:pt x="1717" y="1025"/>
                    </a:lnTo>
                    <a:lnTo>
                      <a:pt x="1719" y="1025"/>
                    </a:lnTo>
                    <a:lnTo>
                      <a:pt x="1720" y="1025"/>
                    </a:lnTo>
                    <a:lnTo>
                      <a:pt x="1722" y="1027"/>
                    </a:lnTo>
                    <a:lnTo>
                      <a:pt x="1723" y="1027"/>
                    </a:lnTo>
                    <a:lnTo>
                      <a:pt x="1723" y="1028"/>
                    </a:lnTo>
                    <a:lnTo>
                      <a:pt x="1723" y="1029"/>
                    </a:lnTo>
                    <a:lnTo>
                      <a:pt x="1723" y="1031"/>
                    </a:lnTo>
                    <a:lnTo>
                      <a:pt x="1723" y="1031"/>
                    </a:lnTo>
                    <a:lnTo>
                      <a:pt x="1722" y="1032"/>
                    </a:lnTo>
                    <a:lnTo>
                      <a:pt x="1723" y="1035"/>
                    </a:lnTo>
                    <a:lnTo>
                      <a:pt x="1725" y="1041"/>
                    </a:lnTo>
                    <a:lnTo>
                      <a:pt x="1725" y="1041"/>
                    </a:lnTo>
                    <a:lnTo>
                      <a:pt x="1725" y="1042"/>
                    </a:lnTo>
                    <a:lnTo>
                      <a:pt x="1723" y="1044"/>
                    </a:lnTo>
                    <a:lnTo>
                      <a:pt x="1722" y="1045"/>
                    </a:lnTo>
                    <a:lnTo>
                      <a:pt x="1720" y="1047"/>
                    </a:lnTo>
                    <a:lnTo>
                      <a:pt x="1719" y="1047"/>
                    </a:lnTo>
                    <a:lnTo>
                      <a:pt x="1717" y="1047"/>
                    </a:lnTo>
                    <a:lnTo>
                      <a:pt x="1717" y="1048"/>
                    </a:lnTo>
                    <a:lnTo>
                      <a:pt x="1716" y="1048"/>
                    </a:lnTo>
                    <a:lnTo>
                      <a:pt x="1716" y="1048"/>
                    </a:lnTo>
                    <a:lnTo>
                      <a:pt x="1716" y="1050"/>
                    </a:lnTo>
                    <a:lnTo>
                      <a:pt x="1715" y="1050"/>
                    </a:lnTo>
                    <a:lnTo>
                      <a:pt x="1715" y="1051"/>
                    </a:lnTo>
                    <a:lnTo>
                      <a:pt x="1715" y="1052"/>
                    </a:lnTo>
                    <a:lnTo>
                      <a:pt x="1716" y="1054"/>
                    </a:lnTo>
                    <a:lnTo>
                      <a:pt x="1715" y="1055"/>
                    </a:lnTo>
                    <a:lnTo>
                      <a:pt x="1715" y="1055"/>
                    </a:lnTo>
                    <a:lnTo>
                      <a:pt x="1713" y="1057"/>
                    </a:lnTo>
                    <a:lnTo>
                      <a:pt x="1713" y="1058"/>
                    </a:lnTo>
                    <a:lnTo>
                      <a:pt x="1713" y="1060"/>
                    </a:lnTo>
                    <a:lnTo>
                      <a:pt x="1713" y="1061"/>
                    </a:lnTo>
                    <a:lnTo>
                      <a:pt x="1713" y="1061"/>
                    </a:lnTo>
                    <a:lnTo>
                      <a:pt x="1712" y="1063"/>
                    </a:lnTo>
                    <a:lnTo>
                      <a:pt x="1712" y="1064"/>
                    </a:lnTo>
                    <a:lnTo>
                      <a:pt x="1712" y="1065"/>
                    </a:lnTo>
                    <a:lnTo>
                      <a:pt x="1710" y="1067"/>
                    </a:lnTo>
                    <a:lnTo>
                      <a:pt x="1709" y="1068"/>
                    </a:lnTo>
                    <a:lnTo>
                      <a:pt x="1710" y="1070"/>
                    </a:lnTo>
                    <a:lnTo>
                      <a:pt x="1710" y="1073"/>
                    </a:lnTo>
                    <a:lnTo>
                      <a:pt x="1709" y="1074"/>
                    </a:lnTo>
                    <a:lnTo>
                      <a:pt x="1709" y="1075"/>
                    </a:lnTo>
                    <a:lnTo>
                      <a:pt x="1707" y="1077"/>
                    </a:lnTo>
                    <a:lnTo>
                      <a:pt x="1706" y="1077"/>
                    </a:lnTo>
                    <a:lnTo>
                      <a:pt x="1706" y="1078"/>
                    </a:lnTo>
                    <a:lnTo>
                      <a:pt x="1707" y="1078"/>
                    </a:lnTo>
                    <a:lnTo>
                      <a:pt x="1706" y="1080"/>
                    </a:lnTo>
                    <a:lnTo>
                      <a:pt x="1706" y="1081"/>
                    </a:lnTo>
                    <a:lnTo>
                      <a:pt x="1706" y="1081"/>
                    </a:lnTo>
                    <a:lnTo>
                      <a:pt x="1706" y="1081"/>
                    </a:lnTo>
                    <a:lnTo>
                      <a:pt x="1704" y="1083"/>
                    </a:lnTo>
                    <a:lnTo>
                      <a:pt x="1704" y="1083"/>
                    </a:lnTo>
                    <a:lnTo>
                      <a:pt x="1703" y="1083"/>
                    </a:lnTo>
                    <a:lnTo>
                      <a:pt x="1703" y="1084"/>
                    </a:lnTo>
                    <a:lnTo>
                      <a:pt x="1703" y="1084"/>
                    </a:lnTo>
                    <a:lnTo>
                      <a:pt x="1703" y="1086"/>
                    </a:lnTo>
                    <a:lnTo>
                      <a:pt x="1703" y="1086"/>
                    </a:lnTo>
                    <a:lnTo>
                      <a:pt x="1703" y="1087"/>
                    </a:lnTo>
                    <a:lnTo>
                      <a:pt x="1702" y="1087"/>
                    </a:lnTo>
                    <a:lnTo>
                      <a:pt x="1702" y="1088"/>
                    </a:lnTo>
                    <a:lnTo>
                      <a:pt x="1702" y="1090"/>
                    </a:lnTo>
                    <a:lnTo>
                      <a:pt x="1700" y="1090"/>
                    </a:lnTo>
                    <a:lnTo>
                      <a:pt x="1700" y="1091"/>
                    </a:lnTo>
                    <a:lnTo>
                      <a:pt x="1699" y="1091"/>
                    </a:lnTo>
                    <a:lnTo>
                      <a:pt x="1699" y="1091"/>
                    </a:lnTo>
                    <a:lnTo>
                      <a:pt x="1697" y="1091"/>
                    </a:lnTo>
                    <a:lnTo>
                      <a:pt x="1697" y="1093"/>
                    </a:lnTo>
                    <a:lnTo>
                      <a:pt x="1697" y="1094"/>
                    </a:lnTo>
                    <a:lnTo>
                      <a:pt x="1696" y="1096"/>
                    </a:lnTo>
                    <a:lnTo>
                      <a:pt x="1696" y="1097"/>
                    </a:lnTo>
                    <a:lnTo>
                      <a:pt x="1696" y="1097"/>
                    </a:lnTo>
                    <a:lnTo>
                      <a:pt x="1696" y="1098"/>
                    </a:lnTo>
                    <a:lnTo>
                      <a:pt x="1696" y="1101"/>
                    </a:lnTo>
                    <a:lnTo>
                      <a:pt x="1694" y="1101"/>
                    </a:lnTo>
                    <a:lnTo>
                      <a:pt x="1693" y="1103"/>
                    </a:lnTo>
                    <a:lnTo>
                      <a:pt x="1692" y="1103"/>
                    </a:lnTo>
                    <a:lnTo>
                      <a:pt x="1689" y="1101"/>
                    </a:lnTo>
                    <a:lnTo>
                      <a:pt x="1684" y="1100"/>
                    </a:lnTo>
                    <a:lnTo>
                      <a:pt x="1681" y="1100"/>
                    </a:lnTo>
                    <a:lnTo>
                      <a:pt x="1677" y="1098"/>
                    </a:lnTo>
                    <a:lnTo>
                      <a:pt x="1676" y="1098"/>
                    </a:lnTo>
                    <a:lnTo>
                      <a:pt x="1676" y="1097"/>
                    </a:lnTo>
                    <a:lnTo>
                      <a:pt x="1674" y="1097"/>
                    </a:lnTo>
                    <a:lnTo>
                      <a:pt x="1674" y="1096"/>
                    </a:lnTo>
                    <a:lnTo>
                      <a:pt x="1670" y="1100"/>
                    </a:lnTo>
                    <a:lnTo>
                      <a:pt x="1670" y="1100"/>
                    </a:lnTo>
                    <a:lnTo>
                      <a:pt x="1670" y="1101"/>
                    </a:lnTo>
                    <a:lnTo>
                      <a:pt x="1669" y="1101"/>
                    </a:lnTo>
                    <a:lnTo>
                      <a:pt x="1669" y="1103"/>
                    </a:lnTo>
                    <a:lnTo>
                      <a:pt x="1667" y="1103"/>
                    </a:lnTo>
                    <a:lnTo>
                      <a:pt x="1667" y="1104"/>
                    </a:lnTo>
                    <a:lnTo>
                      <a:pt x="1667" y="1104"/>
                    </a:lnTo>
                    <a:lnTo>
                      <a:pt x="1666" y="1104"/>
                    </a:lnTo>
                    <a:lnTo>
                      <a:pt x="1666" y="1104"/>
                    </a:lnTo>
                    <a:lnTo>
                      <a:pt x="1664" y="1106"/>
                    </a:lnTo>
                    <a:lnTo>
                      <a:pt x="1663" y="1106"/>
                    </a:lnTo>
                    <a:lnTo>
                      <a:pt x="1661" y="1106"/>
                    </a:lnTo>
                    <a:lnTo>
                      <a:pt x="1660" y="1106"/>
                    </a:lnTo>
                    <a:lnTo>
                      <a:pt x="1660" y="1106"/>
                    </a:lnTo>
                    <a:lnTo>
                      <a:pt x="1660" y="1107"/>
                    </a:lnTo>
                    <a:lnTo>
                      <a:pt x="1659" y="1107"/>
                    </a:lnTo>
                    <a:lnTo>
                      <a:pt x="1659" y="1107"/>
                    </a:lnTo>
                    <a:lnTo>
                      <a:pt x="1659" y="1109"/>
                    </a:lnTo>
                    <a:lnTo>
                      <a:pt x="1659" y="1110"/>
                    </a:lnTo>
                    <a:lnTo>
                      <a:pt x="1660" y="1110"/>
                    </a:lnTo>
                    <a:lnTo>
                      <a:pt x="1660" y="1113"/>
                    </a:lnTo>
                    <a:lnTo>
                      <a:pt x="1661" y="1114"/>
                    </a:lnTo>
                    <a:lnTo>
                      <a:pt x="1663" y="1121"/>
                    </a:lnTo>
                    <a:lnTo>
                      <a:pt x="1663" y="1124"/>
                    </a:lnTo>
                    <a:lnTo>
                      <a:pt x="1663" y="1129"/>
                    </a:lnTo>
                    <a:lnTo>
                      <a:pt x="1663" y="1132"/>
                    </a:lnTo>
                    <a:lnTo>
                      <a:pt x="1663" y="1136"/>
                    </a:lnTo>
                    <a:lnTo>
                      <a:pt x="1663" y="1137"/>
                    </a:lnTo>
                    <a:lnTo>
                      <a:pt x="1663" y="1137"/>
                    </a:lnTo>
                    <a:lnTo>
                      <a:pt x="1663" y="1137"/>
                    </a:lnTo>
                    <a:lnTo>
                      <a:pt x="1663" y="1139"/>
                    </a:lnTo>
                    <a:lnTo>
                      <a:pt x="1663" y="1139"/>
                    </a:lnTo>
                    <a:lnTo>
                      <a:pt x="1664" y="1140"/>
                    </a:lnTo>
                    <a:lnTo>
                      <a:pt x="1664" y="1140"/>
                    </a:lnTo>
                    <a:lnTo>
                      <a:pt x="1663" y="1142"/>
                    </a:lnTo>
                    <a:lnTo>
                      <a:pt x="1663" y="1144"/>
                    </a:lnTo>
                    <a:lnTo>
                      <a:pt x="1661" y="1146"/>
                    </a:lnTo>
                    <a:lnTo>
                      <a:pt x="1661" y="1147"/>
                    </a:lnTo>
                    <a:lnTo>
                      <a:pt x="1660" y="1149"/>
                    </a:lnTo>
                    <a:lnTo>
                      <a:pt x="1660" y="1152"/>
                    </a:lnTo>
                    <a:lnTo>
                      <a:pt x="1659" y="1152"/>
                    </a:lnTo>
                    <a:lnTo>
                      <a:pt x="1659" y="1152"/>
                    </a:lnTo>
                    <a:lnTo>
                      <a:pt x="1659" y="1152"/>
                    </a:lnTo>
                    <a:lnTo>
                      <a:pt x="1657" y="1152"/>
                    </a:lnTo>
                    <a:lnTo>
                      <a:pt x="1657" y="1152"/>
                    </a:lnTo>
                    <a:lnTo>
                      <a:pt x="1651" y="1153"/>
                    </a:lnTo>
                    <a:lnTo>
                      <a:pt x="1651" y="1153"/>
                    </a:lnTo>
                    <a:lnTo>
                      <a:pt x="1650" y="1154"/>
                    </a:lnTo>
                    <a:lnTo>
                      <a:pt x="1650" y="1154"/>
                    </a:lnTo>
                    <a:lnTo>
                      <a:pt x="1650" y="1154"/>
                    </a:lnTo>
                    <a:lnTo>
                      <a:pt x="1648" y="1154"/>
                    </a:lnTo>
                    <a:lnTo>
                      <a:pt x="1648" y="1154"/>
                    </a:lnTo>
                    <a:lnTo>
                      <a:pt x="1648" y="1156"/>
                    </a:lnTo>
                    <a:lnTo>
                      <a:pt x="1648" y="1156"/>
                    </a:lnTo>
                    <a:lnTo>
                      <a:pt x="1650" y="1156"/>
                    </a:lnTo>
                    <a:lnTo>
                      <a:pt x="1650" y="1156"/>
                    </a:lnTo>
                    <a:lnTo>
                      <a:pt x="1651" y="1157"/>
                    </a:lnTo>
                    <a:lnTo>
                      <a:pt x="1651" y="1157"/>
                    </a:lnTo>
                    <a:lnTo>
                      <a:pt x="1651" y="1159"/>
                    </a:lnTo>
                    <a:lnTo>
                      <a:pt x="1651" y="1159"/>
                    </a:lnTo>
                    <a:lnTo>
                      <a:pt x="1651" y="1160"/>
                    </a:lnTo>
                    <a:lnTo>
                      <a:pt x="1651" y="1162"/>
                    </a:lnTo>
                    <a:lnTo>
                      <a:pt x="1653" y="1162"/>
                    </a:lnTo>
                    <a:lnTo>
                      <a:pt x="1653" y="1163"/>
                    </a:lnTo>
                    <a:lnTo>
                      <a:pt x="1653" y="1165"/>
                    </a:lnTo>
                    <a:lnTo>
                      <a:pt x="1654" y="1165"/>
                    </a:lnTo>
                    <a:lnTo>
                      <a:pt x="1656" y="1163"/>
                    </a:lnTo>
                    <a:lnTo>
                      <a:pt x="1656" y="1160"/>
                    </a:lnTo>
                    <a:lnTo>
                      <a:pt x="1656" y="1159"/>
                    </a:lnTo>
                    <a:lnTo>
                      <a:pt x="1654" y="1157"/>
                    </a:lnTo>
                    <a:lnTo>
                      <a:pt x="1656" y="1156"/>
                    </a:lnTo>
                    <a:lnTo>
                      <a:pt x="1659" y="1157"/>
                    </a:lnTo>
                    <a:lnTo>
                      <a:pt x="1660" y="1157"/>
                    </a:lnTo>
                    <a:lnTo>
                      <a:pt x="1661" y="1156"/>
                    </a:lnTo>
                    <a:lnTo>
                      <a:pt x="1664" y="1156"/>
                    </a:lnTo>
                    <a:lnTo>
                      <a:pt x="1666" y="1154"/>
                    </a:lnTo>
                    <a:lnTo>
                      <a:pt x="1667" y="1152"/>
                    </a:lnTo>
                    <a:lnTo>
                      <a:pt x="1670" y="1146"/>
                    </a:lnTo>
                    <a:lnTo>
                      <a:pt x="1673" y="1143"/>
                    </a:lnTo>
                    <a:lnTo>
                      <a:pt x="1677" y="1143"/>
                    </a:lnTo>
                    <a:lnTo>
                      <a:pt x="1676" y="1143"/>
                    </a:lnTo>
                    <a:lnTo>
                      <a:pt x="1676" y="1144"/>
                    </a:lnTo>
                    <a:lnTo>
                      <a:pt x="1674" y="1146"/>
                    </a:lnTo>
                    <a:lnTo>
                      <a:pt x="1674" y="1147"/>
                    </a:lnTo>
                    <a:lnTo>
                      <a:pt x="1677" y="1147"/>
                    </a:lnTo>
                    <a:lnTo>
                      <a:pt x="1679" y="1146"/>
                    </a:lnTo>
                    <a:lnTo>
                      <a:pt x="1680" y="1144"/>
                    </a:lnTo>
                    <a:lnTo>
                      <a:pt x="1681" y="1142"/>
                    </a:lnTo>
                    <a:lnTo>
                      <a:pt x="1683" y="1144"/>
                    </a:lnTo>
                    <a:lnTo>
                      <a:pt x="1683" y="1147"/>
                    </a:lnTo>
                    <a:lnTo>
                      <a:pt x="1681" y="1152"/>
                    </a:lnTo>
                    <a:lnTo>
                      <a:pt x="1684" y="1152"/>
                    </a:lnTo>
                    <a:lnTo>
                      <a:pt x="1686" y="1152"/>
                    </a:lnTo>
                    <a:lnTo>
                      <a:pt x="1687" y="1152"/>
                    </a:lnTo>
                    <a:lnTo>
                      <a:pt x="1690" y="1152"/>
                    </a:lnTo>
                    <a:lnTo>
                      <a:pt x="1693" y="1153"/>
                    </a:lnTo>
                    <a:lnTo>
                      <a:pt x="1696" y="1156"/>
                    </a:lnTo>
                    <a:lnTo>
                      <a:pt x="1699" y="1154"/>
                    </a:lnTo>
                    <a:lnTo>
                      <a:pt x="1703" y="1154"/>
                    </a:lnTo>
                    <a:lnTo>
                      <a:pt x="1707" y="1153"/>
                    </a:lnTo>
                    <a:lnTo>
                      <a:pt x="1712" y="1150"/>
                    </a:lnTo>
                    <a:lnTo>
                      <a:pt x="1726" y="1142"/>
                    </a:lnTo>
                    <a:lnTo>
                      <a:pt x="1733" y="1136"/>
                    </a:lnTo>
                    <a:lnTo>
                      <a:pt x="1737" y="1130"/>
                    </a:lnTo>
                    <a:lnTo>
                      <a:pt x="1742" y="1123"/>
                    </a:lnTo>
                    <a:lnTo>
                      <a:pt x="1745" y="1120"/>
                    </a:lnTo>
                    <a:lnTo>
                      <a:pt x="1750" y="1114"/>
                    </a:lnTo>
                    <a:lnTo>
                      <a:pt x="1782" y="1078"/>
                    </a:lnTo>
                    <a:lnTo>
                      <a:pt x="1783" y="1074"/>
                    </a:lnTo>
                    <a:lnTo>
                      <a:pt x="1786" y="1071"/>
                    </a:lnTo>
                    <a:lnTo>
                      <a:pt x="1788" y="1067"/>
                    </a:lnTo>
                    <a:lnTo>
                      <a:pt x="1789" y="1063"/>
                    </a:lnTo>
                    <a:lnTo>
                      <a:pt x="1791" y="1058"/>
                    </a:lnTo>
                    <a:lnTo>
                      <a:pt x="1799" y="1048"/>
                    </a:lnTo>
                    <a:lnTo>
                      <a:pt x="1806" y="1038"/>
                    </a:lnTo>
                    <a:lnTo>
                      <a:pt x="1809" y="1034"/>
                    </a:lnTo>
                    <a:lnTo>
                      <a:pt x="1815" y="1028"/>
                    </a:lnTo>
                    <a:lnTo>
                      <a:pt x="1818" y="1025"/>
                    </a:lnTo>
                    <a:lnTo>
                      <a:pt x="1819" y="1022"/>
                    </a:lnTo>
                    <a:lnTo>
                      <a:pt x="1821" y="1019"/>
                    </a:lnTo>
                    <a:lnTo>
                      <a:pt x="1821" y="1017"/>
                    </a:lnTo>
                    <a:lnTo>
                      <a:pt x="1821" y="1014"/>
                    </a:lnTo>
                    <a:lnTo>
                      <a:pt x="1822" y="1014"/>
                    </a:lnTo>
                    <a:lnTo>
                      <a:pt x="1824" y="1011"/>
                    </a:lnTo>
                    <a:lnTo>
                      <a:pt x="1824" y="1009"/>
                    </a:lnTo>
                    <a:lnTo>
                      <a:pt x="1824" y="1009"/>
                    </a:lnTo>
                    <a:lnTo>
                      <a:pt x="1824" y="1008"/>
                    </a:lnTo>
                    <a:lnTo>
                      <a:pt x="1822" y="1006"/>
                    </a:lnTo>
                    <a:lnTo>
                      <a:pt x="1824" y="1004"/>
                    </a:lnTo>
                    <a:lnTo>
                      <a:pt x="1825" y="996"/>
                    </a:lnTo>
                    <a:lnTo>
                      <a:pt x="1827" y="994"/>
                    </a:lnTo>
                    <a:lnTo>
                      <a:pt x="1827" y="991"/>
                    </a:lnTo>
                    <a:lnTo>
                      <a:pt x="1825" y="988"/>
                    </a:lnTo>
                    <a:lnTo>
                      <a:pt x="1825" y="985"/>
                    </a:lnTo>
                    <a:lnTo>
                      <a:pt x="1827" y="983"/>
                    </a:lnTo>
                    <a:lnTo>
                      <a:pt x="1828" y="982"/>
                    </a:lnTo>
                    <a:lnTo>
                      <a:pt x="1828" y="981"/>
                    </a:lnTo>
                    <a:lnTo>
                      <a:pt x="1828" y="979"/>
                    </a:lnTo>
                    <a:lnTo>
                      <a:pt x="1827" y="976"/>
                    </a:lnTo>
                    <a:lnTo>
                      <a:pt x="1827" y="975"/>
                    </a:lnTo>
                    <a:lnTo>
                      <a:pt x="1825" y="969"/>
                    </a:lnTo>
                    <a:lnTo>
                      <a:pt x="1827" y="968"/>
                    </a:lnTo>
                    <a:lnTo>
                      <a:pt x="1827" y="965"/>
                    </a:lnTo>
                    <a:lnTo>
                      <a:pt x="1828" y="955"/>
                    </a:lnTo>
                    <a:lnTo>
                      <a:pt x="1834" y="942"/>
                    </a:lnTo>
                    <a:lnTo>
                      <a:pt x="1835" y="940"/>
                    </a:lnTo>
                    <a:lnTo>
                      <a:pt x="1837" y="939"/>
                    </a:lnTo>
                    <a:lnTo>
                      <a:pt x="1841" y="935"/>
                    </a:lnTo>
                    <a:lnTo>
                      <a:pt x="1841" y="932"/>
                    </a:lnTo>
                    <a:lnTo>
                      <a:pt x="1842" y="927"/>
                    </a:lnTo>
                    <a:lnTo>
                      <a:pt x="1842" y="926"/>
                    </a:lnTo>
                    <a:lnTo>
                      <a:pt x="1842" y="926"/>
                    </a:lnTo>
                    <a:lnTo>
                      <a:pt x="1841" y="925"/>
                    </a:lnTo>
                    <a:lnTo>
                      <a:pt x="1841" y="923"/>
                    </a:lnTo>
                    <a:lnTo>
                      <a:pt x="1838" y="923"/>
                    </a:lnTo>
                    <a:lnTo>
                      <a:pt x="1838" y="922"/>
                    </a:lnTo>
                    <a:lnTo>
                      <a:pt x="1838" y="920"/>
                    </a:lnTo>
                    <a:lnTo>
                      <a:pt x="1838" y="920"/>
                    </a:lnTo>
                    <a:lnTo>
                      <a:pt x="1838" y="919"/>
                    </a:lnTo>
                    <a:lnTo>
                      <a:pt x="1838" y="917"/>
                    </a:lnTo>
                    <a:lnTo>
                      <a:pt x="1839" y="914"/>
                    </a:lnTo>
                    <a:lnTo>
                      <a:pt x="1839" y="912"/>
                    </a:lnTo>
                    <a:lnTo>
                      <a:pt x="1839" y="910"/>
                    </a:lnTo>
                    <a:lnTo>
                      <a:pt x="1838" y="909"/>
                    </a:lnTo>
                    <a:lnTo>
                      <a:pt x="1834" y="906"/>
                    </a:lnTo>
                    <a:lnTo>
                      <a:pt x="1832" y="904"/>
                    </a:lnTo>
                    <a:lnTo>
                      <a:pt x="1838" y="904"/>
                    </a:lnTo>
                    <a:lnTo>
                      <a:pt x="1841" y="904"/>
                    </a:lnTo>
                    <a:lnTo>
                      <a:pt x="1842" y="902"/>
                    </a:lnTo>
                    <a:lnTo>
                      <a:pt x="1841" y="900"/>
                    </a:lnTo>
                    <a:lnTo>
                      <a:pt x="1839" y="897"/>
                    </a:lnTo>
                    <a:lnTo>
                      <a:pt x="1835" y="894"/>
                    </a:lnTo>
                    <a:lnTo>
                      <a:pt x="1832" y="893"/>
                    </a:lnTo>
                    <a:lnTo>
                      <a:pt x="1829" y="891"/>
                    </a:lnTo>
                    <a:lnTo>
                      <a:pt x="1827" y="889"/>
                    </a:lnTo>
                    <a:lnTo>
                      <a:pt x="1824" y="887"/>
                    </a:lnTo>
                    <a:lnTo>
                      <a:pt x="1821" y="881"/>
                    </a:lnTo>
                    <a:lnTo>
                      <a:pt x="1818" y="880"/>
                    </a:lnTo>
                    <a:lnTo>
                      <a:pt x="1816" y="879"/>
                    </a:lnTo>
                    <a:lnTo>
                      <a:pt x="1814" y="877"/>
                    </a:lnTo>
                    <a:lnTo>
                      <a:pt x="1811" y="877"/>
                    </a:lnTo>
                    <a:lnTo>
                      <a:pt x="1809" y="877"/>
                    </a:lnTo>
                    <a:lnTo>
                      <a:pt x="1805" y="877"/>
                    </a:lnTo>
                    <a:lnTo>
                      <a:pt x="1802" y="877"/>
                    </a:lnTo>
                    <a:lnTo>
                      <a:pt x="1795" y="874"/>
                    </a:lnTo>
                    <a:lnTo>
                      <a:pt x="1793" y="876"/>
                    </a:lnTo>
                    <a:lnTo>
                      <a:pt x="1793" y="876"/>
                    </a:lnTo>
                    <a:lnTo>
                      <a:pt x="1795" y="880"/>
                    </a:lnTo>
                    <a:lnTo>
                      <a:pt x="1795" y="884"/>
                    </a:lnTo>
                    <a:lnTo>
                      <a:pt x="1795" y="886"/>
                    </a:lnTo>
                    <a:lnTo>
                      <a:pt x="1793" y="887"/>
                    </a:lnTo>
                    <a:lnTo>
                      <a:pt x="1793" y="890"/>
                    </a:lnTo>
                    <a:lnTo>
                      <a:pt x="1791" y="891"/>
                    </a:lnTo>
                    <a:lnTo>
                      <a:pt x="1789" y="893"/>
                    </a:lnTo>
                    <a:lnTo>
                      <a:pt x="1786" y="893"/>
                    </a:lnTo>
                    <a:lnTo>
                      <a:pt x="1788" y="891"/>
                    </a:lnTo>
                    <a:lnTo>
                      <a:pt x="1791" y="889"/>
                    </a:lnTo>
                    <a:lnTo>
                      <a:pt x="1792" y="887"/>
                    </a:lnTo>
                    <a:lnTo>
                      <a:pt x="1792" y="884"/>
                    </a:lnTo>
                    <a:lnTo>
                      <a:pt x="1791" y="883"/>
                    </a:lnTo>
                    <a:lnTo>
                      <a:pt x="1791" y="884"/>
                    </a:lnTo>
                    <a:lnTo>
                      <a:pt x="1788" y="887"/>
                    </a:lnTo>
                    <a:lnTo>
                      <a:pt x="1783" y="890"/>
                    </a:lnTo>
                    <a:lnTo>
                      <a:pt x="1778" y="893"/>
                    </a:lnTo>
                    <a:lnTo>
                      <a:pt x="1773" y="893"/>
                    </a:lnTo>
                    <a:lnTo>
                      <a:pt x="1769" y="891"/>
                    </a:lnTo>
                    <a:lnTo>
                      <a:pt x="1775" y="887"/>
                    </a:lnTo>
                    <a:lnTo>
                      <a:pt x="1779" y="883"/>
                    </a:lnTo>
                    <a:lnTo>
                      <a:pt x="1776" y="883"/>
                    </a:lnTo>
                    <a:lnTo>
                      <a:pt x="1775" y="883"/>
                    </a:lnTo>
                    <a:lnTo>
                      <a:pt x="1772" y="881"/>
                    </a:lnTo>
                    <a:lnTo>
                      <a:pt x="1771" y="880"/>
                    </a:lnTo>
                    <a:lnTo>
                      <a:pt x="1772" y="879"/>
                    </a:lnTo>
                    <a:lnTo>
                      <a:pt x="1773" y="879"/>
                    </a:lnTo>
                    <a:lnTo>
                      <a:pt x="1776" y="876"/>
                    </a:lnTo>
                    <a:lnTo>
                      <a:pt x="1773" y="876"/>
                    </a:lnTo>
                    <a:lnTo>
                      <a:pt x="1772" y="876"/>
                    </a:lnTo>
                    <a:lnTo>
                      <a:pt x="1769" y="876"/>
                    </a:lnTo>
                    <a:lnTo>
                      <a:pt x="1768" y="877"/>
                    </a:lnTo>
                    <a:lnTo>
                      <a:pt x="1768" y="879"/>
                    </a:lnTo>
                    <a:lnTo>
                      <a:pt x="1768" y="880"/>
                    </a:lnTo>
                    <a:lnTo>
                      <a:pt x="1768" y="881"/>
                    </a:lnTo>
                    <a:lnTo>
                      <a:pt x="1768" y="884"/>
                    </a:lnTo>
                    <a:lnTo>
                      <a:pt x="1768" y="886"/>
                    </a:lnTo>
                    <a:lnTo>
                      <a:pt x="1766" y="886"/>
                    </a:lnTo>
                    <a:lnTo>
                      <a:pt x="1763" y="887"/>
                    </a:lnTo>
                    <a:lnTo>
                      <a:pt x="1762" y="887"/>
                    </a:lnTo>
                    <a:lnTo>
                      <a:pt x="1760" y="886"/>
                    </a:lnTo>
                    <a:lnTo>
                      <a:pt x="1759" y="884"/>
                    </a:lnTo>
                    <a:lnTo>
                      <a:pt x="1759" y="883"/>
                    </a:lnTo>
                    <a:lnTo>
                      <a:pt x="1760" y="873"/>
                    </a:lnTo>
                    <a:lnTo>
                      <a:pt x="1762" y="871"/>
                    </a:lnTo>
                    <a:lnTo>
                      <a:pt x="1762" y="868"/>
                    </a:lnTo>
                    <a:lnTo>
                      <a:pt x="1760" y="868"/>
                    </a:lnTo>
                    <a:lnTo>
                      <a:pt x="1759" y="867"/>
                    </a:lnTo>
                    <a:lnTo>
                      <a:pt x="1748" y="867"/>
                    </a:lnTo>
                    <a:lnTo>
                      <a:pt x="1742" y="867"/>
                    </a:lnTo>
                    <a:lnTo>
                      <a:pt x="1737" y="866"/>
                    </a:lnTo>
                    <a:lnTo>
                      <a:pt x="1735" y="864"/>
                    </a:lnTo>
                    <a:lnTo>
                      <a:pt x="1733" y="861"/>
                    </a:lnTo>
                    <a:lnTo>
                      <a:pt x="1736" y="858"/>
                    </a:lnTo>
                    <a:lnTo>
                      <a:pt x="1739" y="856"/>
                    </a:lnTo>
                    <a:lnTo>
                      <a:pt x="1748" y="853"/>
                    </a:lnTo>
                    <a:lnTo>
                      <a:pt x="1749" y="851"/>
                    </a:lnTo>
                    <a:lnTo>
                      <a:pt x="1750" y="850"/>
                    </a:lnTo>
                    <a:lnTo>
                      <a:pt x="1753" y="847"/>
                    </a:lnTo>
                    <a:lnTo>
                      <a:pt x="1755" y="845"/>
                    </a:lnTo>
                    <a:lnTo>
                      <a:pt x="1772" y="835"/>
                    </a:lnTo>
                    <a:lnTo>
                      <a:pt x="1779" y="830"/>
                    </a:lnTo>
                    <a:lnTo>
                      <a:pt x="1792" y="817"/>
                    </a:lnTo>
                    <a:lnTo>
                      <a:pt x="1814" y="801"/>
                    </a:lnTo>
                    <a:lnTo>
                      <a:pt x="1818" y="797"/>
                    </a:lnTo>
                    <a:lnTo>
                      <a:pt x="1821" y="795"/>
                    </a:lnTo>
                    <a:lnTo>
                      <a:pt x="1824" y="794"/>
                    </a:lnTo>
                    <a:lnTo>
                      <a:pt x="1825" y="792"/>
                    </a:lnTo>
                    <a:lnTo>
                      <a:pt x="1827" y="791"/>
                    </a:lnTo>
                    <a:lnTo>
                      <a:pt x="1829" y="784"/>
                    </a:lnTo>
                    <a:lnTo>
                      <a:pt x="1832" y="781"/>
                    </a:lnTo>
                    <a:lnTo>
                      <a:pt x="1835" y="778"/>
                    </a:lnTo>
                    <a:lnTo>
                      <a:pt x="1841" y="775"/>
                    </a:lnTo>
                    <a:lnTo>
                      <a:pt x="1844" y="772"/>
                    </a:lnTo>
                    <a:lnTo>
                      <a:pt x="1854" y="762"/>
                    </a:lnTo>
                    <a:lnTo>
                      <a:pt x="1857" y="758"/>
                    </a:lnTo>
                    <a:lnTo>
                      <a:pt x="1861" y="756"/>
                    </a:lnTo>
                    <a:lnTo>
                      <a:pt x="1867" y="754"/>
                    </a:lnTo>
                    <a:lnTo>
                      <a:pt x="1871" y="752"/>
                    </a:lnTo>
                    <a:lnTo>
                      <a:pt x="1874" y="752"/>
                    </a:lnTo>
                    <a:lnTo>
                      <a:pt x="1877" y="752"/>
                    </a:lnTo>
                    <a:lnTo>
                      <a:pt x="1880" y="752"/>
                    </a:lnTo>
                    <a:lnTo>
                      <a:pt x="1881" y="752"/>
                    </a:lnTo>
                    <a:lnTo>
                      <a:pt x="1887" y="751"/>
                    </a:lnTo>
                    <a:lnTo>
                      <a:pt x="1914" y="751"/>
                    </a:lnTo>
                    <a:lnTo>
                      <a:pt x="1916" y="751"/>
                    </a:lnTo>
                    <a:lnTo>
                      <a:pt x="1918" y="752"/>
                    </a:lnTo>
                    <a:lnTo>
                      <a:pt x="1920" y="754"/>
                    </a:lnTo>
                    <a:lnTo>
                      <a:pt x="1923" y="756"/>
                    </a:lnTo>
                    <a:lnTo>
                      <a:pt x="1926" y="758"/>
                    </a:lnTo>
                    <a:lnTo>
                      <a:pt x="1928" y="755"/>
                    </a:lnTo>
                    <a:lnTo>
                      <a:pt x="1928" y="755"/>
                    </a:lnTo>
                    <a:lnTo>
                      <a:pt x="1930" y="751"/>
                    </a:lnTo>
                    <a:lnTo>
                      <a:pt x="1930" y="751"/>
                    </a:lnTo>
                    <a:lnTo>
                      <a:pt x="1933" y="749"/>
                    </a:lnTo>
                    <a:lnTo>
                      <a:pt x="1933" y="751"/>
                    </a:lnTo>
                    <a:lnTo>
                      <a:pt x="1934" y="751"/>
                    </a:lnTo>
                    <a:lnTo>
                      <a:pt x="1937" y="752"/>
                    </a:lnTo>
                    <a:lnTo>
                      <a:pt x="1947" y="754"/>
                    </a:lnTo>
                    <a:lnTo>
                      <a:pt x="1950" y="754"/>
                    </a:lnTo>
                    <a:lnTo>
                      <a:pt x="1951" y="754"/>
                    </a:lnTo>
                    <a:lnTo>
                      <a:pt x="1956" y="752"/>
                    </a:lnTo>
                    <a:lnTo>
                      <a:pt x="1960" y="751"/>
                    </a:lnTo>
                    <a:lnTo>
                      <a:pt x="1962" y="752"/>
                    </a:lnTo>
                    <a:lnTo>
                      <a:pt x="1964" y="754"/>
                    </a:lnTo>
                    <a:lnTo>
                      <a:pt x="1966" y="755"/>
                    </a:lnTo>
                    <a:lnTo>
                      <a:pt x="1969" y="755"/>
                    </a:lnTo>
                    <a:lnTo>
                      <a:pt x="1972" y="755"/>
                    </a:lnTo>
                    <a:lnTo>
                      <a:pt x="1973" y="755"/>
                    </a:lnTo>
                    <a:lnTo>
                      <a:pt x="1974" y="752"/>
                    </a:lnTo>
                    <a:lnTo>
                      <a:pt x="1974" y="752"/>
                    </a:lnTo>
                    <a:lnTo>
                      <a:pt x="1973" y="752"/>
                    </a:lnTo>
                    <a:lnTo>
                      <a:pt x="1973" y="752"/>
                    </a:lnTo>
                    <a:lnTo>
                      <a:pt x="1972" y="752"/>
                    </a:lnTo>
                    <a:lnTo>
                      <a:pt x="1972" y="751"/>
                    </a:lnTo>
                    <a:lnTo>
                      <a:pt x="1970" y="751"/>
                    </a:lnTo>
                    <a:lnTo>
                      <a:pt x="1970" y="749"/>
                    </a:lnTo>
                    <a:lnTo>
                      <a:pt x="1972" y="748"/>
                    </a:lnTo>
                    <a:lnTo>
                      <a:pt x="1973" y="749"/>
                    </a:lnTo>
                    <a:lnTo>
                      <a:pt x="1976" y="749"/>
                    </a:lnTo>
                    <a:lnTo>
                      <a:pt x="1977" y="749"/>
                    </a:lnTo>
                    <a:lnTo>
                      <a:pt x="1979" y="749"/>
                    </a:lnTo>
                    <a:lnTo>
                      <a:pt x="1977" y="748"/>
                    </a:lnTo>
                    <a:lnTo>
                      <a:pt x="1977" y="746"/>
                    </a:lnTo>
                    <a:lnTo>
                      <a:pt x="1977" y="745"/>
                    </a:lnTo>
                    <a:lnTo>
                      <a:pt x="1979" y="743"/>
                    </a:lnTo>
                    <a:lnTo>
                      <a:pt x="1980" y="742"/>
                    </a:lnTo>
                    <a:lnTo>
                      <a:pt x="1983" y="742"/>
                    </a:lnTo>
                    <a:lnTo>
                      <a:pt x="1985" y="741"/>
                    </a:lnTo>
                    <a:lnTo>
                      <a:pt x="1987" y="741"/>
                    </a:lnTo>
                    <a:lnTo>
                      <a:pt x="1992" y="742"/>
                    </a:lnTo>
                    <a:lnTo>
                      <a:pt x="2000" y="745"/>
                    </a:lnTo>
                    <a:lnTo>
                      <a:pt x="2005" y="746"/>
                    </a:lnTo>
                    <a:lnTo>
                      <a:pt x="2005" y="748"/>
                    </a:lnTo>
                    <a:lnTo>
                      <a:pt x="2003" y="748"/>
                    </a:lnTo>
                    <a:lnTo>
                      <a:pt x="2002" y="749"/>
                    </a:lnTo>
                    <a:lnTo>
                      <a:pt x="2003" y="748"/>
                    </a:lnTo>
                    <a:lnTo>
                      <a:pt x="2007" y="749"/>
                    </a:lnTo>
                    <a:lnTo>
                      <a:pt x="2009" y="749"/>
                    </a:lnTo>
                    <a:lnTo>
                      <a:pt x="2009" y="748"/>
                    </a:lnTo>
                    <a:lnTo>
                      <a:pt x="2010" y="746"/>
                    </a:lnTo>
                    <a:lnTo>
                      <a:pt x="2010" y="746"/>
                    </a:lnTo>
                    <a:lnTo>
                      <a:pt x="2012" y="746"/>
                    </a:lnTo>
                    <a:lnTo>
                      <a:pt x="2013" y="746"/>
                    </a:lnTo>
                    <a:lnTo>
                      <a:pt x="2016" y="746"/>
                    </a:lnTo>
                    <a:lnTo>
                      <a:pt x="2019" y="748"/>
                    </a:lnTo>
                    <a:lnTo>
                      <a:pt x="2020" y="749"/>
                    </a:lnTo>
                    <a:lnTo>
                      <a:pt x="2022" y="751"/>
                    </a:lnTo>
                    <a:lnTo>
                      <a:pt x="2025" y="754"/>
                    </a:lnTo>
                    <a:lnTo>
                      <a:pt x="2026" y="754"/>
                    </a:lnTo>
                    <a:lnTo>
                      <a:pt x="2029" y="754"/>
                    </a:lnTo>
                    <a:lnTo>
                      <a:pt x="2030" y="755"/>
                    </a:lnTo>
                    <a:lnTo>
                      <a:pt x="2033" y="756"/>
                    </a:lnTo>
                    <a:lnTo>
                      <a:pt x="2028" y="758"/>
                    </a:lnTo>
                    <a:lnTo>
                      <a:pt x="2018" y="758"/>
                    </a:lnTo>
                    <a:lnTo>
                      <a:pt x="2013" y="759"/>
                    </a:lnTo>
                    <a:lnTo>
                      <a:pt x="2015" y="762"/>
                    </a:lnTo>
                    <a:lnTo>
                      <a:pt x="2016" y="765"/>
                    </a:lnTo>
                    <a:lnTo>
                      <a:pt x="2019" y="765"/>
                    </a:lnTo>
                    <a:lnTo>
                      <a:pt x="2023" y="765"/>
                    </a:lnTo>
                    <a:lnTo>
                      <a:pt x="2025" y="765"/>
                    </a:lnTo>
                    <a:lnTo>
                      <a:pt x="2026" y="765"/>
                    </a:lnTo>
                    <a:lnTo>
                      <a:pt x="2028" y="765"/>
                    </a:lnTo>
                    <a:lnTo>
                      <a:pt x="2029" y="764"/>
                    </a:lnTo>
                    <a:lnTo>
                      <a:pt x="2030" y="762"/>
                    </a:lnTo>
                    <a:lnTo>
                      <a:pt x="2032" y="762"/>
                    </a:lnTo>
                    <a:lnTo>
                      <a:pt x="2033" y="761"/>
                    </a:lnTo>
                    <a:lnTo>
                      <a:pt x="2036" y="762"/>
                    </a:lnTo>
                    <a:lnTo>
                      <a:pt x="2038" y="762"/>
                    </a:lnTo>
                    <a:lnTo>
                      <a:pt x="2041" y="764"/>
                    </a:lnTo>
                    <a:lnTo>
                      <a:pt x="2042" y="764"/>
                    </a:lnTo>
                    <a:lnTo>
                      <a:pt x="2043" y="764"/>
                    </a:lnTo>
                    <a:lnTo>
                      <a:pt x="2043" y="764"/>
                    </a:lnTo>
                    <a:lnTo>
                      <a:pt x="2045" y="762"/>
                    </a:lnTo>
                    <a:lnTo>
                      <a:pt x="2045" y="762"/>
                    </a:lnTo>
                    <a:lnTo>
                      <a:pt x="2046" y="761"/>
                    </a:lnTo>
                    <a:lnTo>
                      <a:pt x="2046" y="761"/>
                    </a:lnTo>
                    <a:lnTo>
                      <a:pt x="2048" y="759"/>
                    </a:lnTo>
                    <a:lnTo>
                      <a:pt x="2049" y="759"/>
                    </a:lnTo>
                    <a:lnTo>
                      <a:pt x="2049" y="759"/>
                    </a:lnTo>
                    <a:lnTo>
                      <a:pt x="2051" y="758"/>
                    </a:lnTo>
                    <a:lnTo>
                      <a:pt x="2052" y="756"/>
                    </a:lnTo>
                    <a:lnTo>
                      <a:pt x="2055" y="755"/>
                    </a:lnTo>
                    <a:lnTo>
                      <a:pt x="2058" y="756"/>
                    </a:lnTo>
                    <a:lnTo>
                      <a:pt x="2059" y="756"/>
                    </a:lnTo>
                    <a:lnTo>
                      <a:pt x="2062" y="758"/>
                    </a:lnTo>
                    <a:lnTo>
                      <a:pt x="2063" y="759"/>
                    </a:lnTo>
                    <a:lnTo>
                      <a:pt x="2066" y="759"/>
                    </a:lnTo>
                    <a:lnTo>
                      <a:pt x="2066" y="759"/>
                    </a:lnTo>
                    <a:lnTo>
                      <a:pt x="2069" y="758"/>
                    </a:lnTo>
                    <a:lnTo>
                      <a:pt x="2071" y="756"/>
                    </a:lnTo>
                    <a:lnTo>
                      <a:pt x="2072" y="756"/>
                    </a:lnTo>
                    <a:lnTo>
                      <a:pt x="2072" y="756"/>
                    </a:lnTo>
                    <a:lnTo>
                      <a:pt x="2074" y="758"/>
                    </a:lnTo>
                    <a:lnTo>
                      <a:pt x="2075" y="758"/>
                    </a:lnTo>
                    <a:lnTo>
                      <a:pt x="2076" y="758"/>
                    </a:lnTo>
                    <a:lnTo>
                      <a:pt x="2081" y="756"/>
                    </a:lnTo>
                    <a:lnTo>
                      <a:pt x="2084" y="756"/>
                    </a:lnTo>
                    <a:lnTo>
                      <a:pt x="2084" y="755"/>
                    </a:lnTo>
                    <a:lnTo>
                      <a:pt x="2084" y="752"/>
                    </a:lnTo>
                    <a:lnTo>
                      <a:pt x="2082" y="751"/>
                    </a:lnTo>
                    <a:lnTo>
                      <a:pt x="2081" y="749"/>
                    </a:lnTo>
                    <a:lnTo>
                      <a:pt x="2078" y="748"/>
                    </a:lnTo>
                    <a:lnTo>
                      <a:pt x="2075" y="748"/>
                    </a:lnTo>
                    <a:lnTo>
                      <a:pt x="2074" y="748"/>
                    </a:lnTo>
                    <a:lnTo>
                      <a:pt x="2072" y="748"/>
                    </a:lnTo>
                    <a:lnTo>
                      <a:pt x="2071" y="749"/>
                    </a:lnTo>
                    <a:lnTo>
                      <a:pt x="2069" y="749"/>
                    </a:lnTo>
                    <a:lnTo>
                      <a:pt x="2066" y="748"/>
                    </a:lnTo>
                    <a:lnTo>
                      <a:pt x="2066" y="748"/>
                    </a:lnTo>
                    <a:lnTo>
                      <a:pt x="2068" y="743"/>
                    </a:lnTo>
                    <a:lnTo>
                      <a:pt x="2068" y="742"/>
                    </a:lnTo>
                    <a:lnTo>
                      <a:pt x="2069" y="741"/>
                    </a:lnTo>
                    <a:lnTo>
                      <a:pt x="2069" y="739"/>
                    </a:lnTo>
                    <a:lnTo>
                      <a:pt x="2069" y="739"/>
                    </a:lnTo>
                    <a:lnTo>
                      <a:pt x="2071" y="738"/>
                    </a:lnTo>
                    <a:lnTo>
                      <a:pt x="2072" y="736"/>
                    </a:lnTo>
                    <a:lnTo>
                      <a:pt x="2076" y="729"/>
                    </a:lnTo>
                    <a:lnTo>
                      <a:pt x="2078" y="728"/>
                    </a:lnTo>
                    <a:lnTo>
                      <a:pt x="2081" y="725"/>
                    </a:lnTo>
                    <a:lnTo>
                      <a:pt x="2091" y="718"/>
                    </a:lnTo>
                    <a:lnTo>
                      <a:pt x="2094" y="713"/>
                    </a:lnTo>
                    <a:lnTo>
                      <a:pt x="2099" y="706"/>
                    </a:lnTo>
                    <a:lnTo>
                      <a:pt x="2102" y="705"/>
                    </a:lnTo>
                    <a:lnTo>
                      <a:pt x="2105" y="702"/>
                    </a:lnTo>
                    <a:lnTo>
                      <a:pt x="2108" y="700"/>
                    </a:lnTo>
                    <a:lnTo>
                      <a:pt x="2109" y="699"/>
                    </a:lnTo>
                    <a:lnTo>
                      <a:pt x="2111" y="693"/>
                    </a:lnTo>
                    <a:lnTo>
                      <a:pt x="2112" y="692"/>
                    </a:lnTo>
                    <a:lnTo>
                      <a:pt x="2117" y="689"/>
                    </a:lnTo>
                    <a:lnTo>
                      <a:pt x="2121" y="686"/>
                    </a:lnTo>
                    <a:lnTo>
                      <a:pt x="2125" y="685"/>
                    </a:lnTo>
                    <a:lnTo>
                      <a:pt x="2130" y="683"/>
                    </a:lnTo>
                    <a:lnTo>
                      <a:pt x="2134" y="685"/>
                    </a:lnTo>
                    <a:lnTo>
                      <a:pt x="2145" y="683"/>
                    </a:lnTo>
                    <a:lnTo>
                      <a:pt x="2148" y="682"/>
                    </a:lnTo>
                    <a:lnTo>
                      <a:pt x="2153" y="680"/>
                    </a:lnTo>
                    <a:lnTo>
                      <a:pt x="2154" y="680"/>
                    </a:lnTo>
                    <a:lnTo>
                      <a:pt x="2157" y="680"/>
                    </a:lnTo>
                    <a:lnTo>
                      <a:pt x="2158" y="682"/>
                    </a:lnTo>
                    <a:lnTo>
                      <a:pt x="2160" y="685"/>
                    </a:lnTo>
                    <a:lnTo>
                      <a:pt x="2161" y="685"/>
                    </a:lnTo>
                    <a:lnTo>
                      <a:pt x="2164" y="685"/>
                    </a:lnTo>
                    <a:lnTo>
                      <a:pt x="2165" y="683"/>
                    </a:lnTo>
                    <a:lnTo>
                      <a:pt x="2168" y="682"/>
                    </a:lnTo>
                    <a:lnTo>
                      <a:pt x="2171" y="680"/>
                    </a:lnTo>
                    <a:lnTo>
                      <a:pt x="2173" y="680"/>
                    </a:lnTo>
                    <a:lnTo>
                      <a:pt x="2174" y="682"/>
                    </a:lnTo>
                    <a:lnTo>
                      <a:pt x="2174" y="685"/>
                    </a:lnTo>
                    <a:lnTo>
                      <a:pt x="2174" y="686"/>
                    </a:lnTo>
                    <a:lnTo>
                      <a:pt x="2173" y="689"/>
                    </a:lnTo>
                    <a:lnTo>
                      <a:pt x="2171" y="690"/>
                    </a:lnTo>
                    <a:lnTo>
                      <a:pt x="2168" y="696"/>
                    </a:lnTo>
                    <a:lnTo>
                      <a:pt x="2167" y="697"/>
                    </a:lnTo>
                    <a:lnTo>
                      <a:pt x="2167" y="699"/>
                    </a:lnTo>
                    <a:lnTo>
                      <a:pt x="2168" y="702"/>
                    </a:lnTo>
                    <a:lnTo>
                      <a:pt x="2168" y="703"/>
                    </a:lnTo>
                    <a:lnTo>
                      <a:pt x="2168" y="705"/>
                    </a:lnTo>
                    <a:lnTo>
                      <a:pt x="2165" y="708"/>
                    </a:lnTo>
                    <a:lnTo>
                      <a:pt x="2168" y="708"/>
                    </a:lnTo>
                    <a:lnTo>
                      <a:pt x="2170" y="706"/>
                    </a:lnTo>
                    <a:lnTo>
                      <a:pt x="2173" y="706"/>
                    </a:lnTo>
                    <a:lnTo>
                      <a:pt x="2176" y="706"/>
                    </a:lnTo>
                    <a:lnTo>
                      <a:pt x="2173" y="712"/>
                    </a:lnTo>
                    <a:lnTo>
                      <a:pt x="2173" y="715"/>
                    </a:lnTo>
                    <a:lnTo>
                      <a:pt x="2173" y="718"/>
                    </a:lnTo>
                    <a:lnTo>
                      <a:pt x="2174" y="716"/>
                    </a:lnTo>
                    <a:lnTo>
                      <a:pt x="2177" y="715"/>
                    </a:lnTo>
                    <a:lnTo>
                      <a:pt x="2178" y="715"/>
                    </a:lnTo>
                    <a:lnTo>
                      <a:pt x="2181" y="713"/>
                    </a:lnTo>
                    <a:lnTo>
                      <a:pt x="2183" y="713"/>
                    </a:lnTo>
                    <a:lnTo>
                      <a:pt x="2187" y="708"/>
                    </a:lnTo>
                    <a:lnTo>
                      <a:pt x="2209" y="690"/>
                    </a:lnTo>
                    <a:lnTo>
                      <a:pt x="2210" y="689"/>
                    </a:lnTo>
                    <a:lnTo>
                      <a:pt x="2211" y="687"/>
                    </a:lnTo>
                    <a:lnTo>
                      <a:pt x="2213" y="687"/>
                    </a:lnTo>
                    <a:lnTo>
                      <a:pt x="2214" y="687"/>
                    </a:lnTo>
                    <a:lnTo>
                      <a:pt x="2216" y="687"/>
                    </a:lnTo>
                    <a:lnTo>
                      <a:pt x="2216" y="687"/>
                    </a:lnTo>
                    <a:lnTo>
                      <a:pt x="2217" y="687"/>
                    </a:lnTo>
                    <a:lnTo>
                      <a:pt x="2217" y="687"/>
                    </a:lnTo>
                    <a:lnTo>
                      <a:pt x="2217" y="686"/>
                    </a:lnTo>
                    <a:lnTo>
                      <a:pt x="2217" y="686"/>
                    </a:lnTo>
                    <a:lnTo>
                      <a:pt x="2220" y="687"/>
                    </a:lnTo>
                    <a:lnTo>
                      <a:pt x="2221" y="689"/>
                    </a:lnTo>
                    <a:lnTo>
                      <a:pt x="2221" y="690"/>
                    </a:lnTo>
                    <a:lnTo>
                      <a:pt x="2224" y="689"/>
                    </a:lnTo>
                    <a:lnTo>
                      <a:pt x="2226" y="687"/>
                    </a:lnTo>
                    <a:lnTo>
                      <a:pt x="2226" y="686"/>
                    </a:lnTo>
                    <a:lnTo>
                      <a:pt x="2224" y="685"/>
                    </a:lnTo>
                    <a:lnTo>
                      <a:pt x="2224" y="685"/>
                    </a:lnTo>
                    <a:lnTo>
                      <a:pt x="2223" y="685"/>
                    </a:lnTo>
                    <a:lnTo>
                      <a:pt x="2223" y="683"/>
                    </a:lnTo>
                    <a:lnTo>
                      <a:pt x="2221" y="683"/>
                    </a:lnTo>
                    <a:lnTo>
                      <a:pt x="2221" y="682"/>
                    </a:lnTo>
                    <a:lnTo>
                      <a:pt x="2221" y="682"/>
                    </a:lnTo>
                    <a:lnTo>
                      <a:pt x="2223" y="679"/>
                    </a:lnTo>
                    <a:lnTo>
                      <a:pt x="2224" y="673"/>
                    </a:lnTo>
                    <a:lnTo>
                      <a:pt x="2224" y="672"/>
                    </a:lnTo>
                    <a:lnTo>
                      <a:pt x="2226" y="670"/>
                    </a:lnTo>
                    <a:lnTo>
                      <a:pt x="2227" y="669"/>
                    </a:lnTo>
                    <a:lnTo>
                      <a:pt x="2227" y="667"/>
                    </a:lnTo>
                    <a:lnTo>
                      <a:pt x="2227" y="666"/>
                    </a:lnTo>
                    <a:lnTo>
                      <a:pt x="2226" y="664"/>
                    </a:lnTo>
                    <a:lnTo>
                      <a:pt x="2227" y="664"/>
                    </a:lnTo>
                    <a:lnTo>
                      <a:pt x="2229" y="663"/>
                    </a:lnTo>
                    <a:lnTo>
                      <a:pt x="2230" y="663"/>
                    </a:lnTo>
                    <a:lnTo>
                      <a:pt x="2234" y="662"/>
                    </a:lnTo>
                    <a:lnTo>
                      <a:pt x="2242" y="660"/>
                    </a:lnTo>
                    <a:lnTo>
                      <a:pt x="2246" y="660"/>
                    </a:lnTo>
                    <a:lnTo>
                      <a:pt x="2250" y="660"/>
                    </a:lnTo>
                    <a:lnTo>
                      <a:pt x="2256" y="663"/>
                    </a:lnTo>
                    <a:lnTo>
                      <a:pt x="2257" y="664"/>
                    </a:lnTo>
                    <a:lnTo>
                      <a:pt x="2262" y="664"/>
                    </a:lnTo>
                    <a:lnTo>
                      <a:pt x="2263" y="664"/>
                    </a:lnTo>
                    <a:lnTo>
                      <a:pt x="2265" y="666"/>
                    </a:lnTo>
                    <a:lnTo>
                      <a:pt x="2263" y="666"/>
                    </a:lnTo>
                    <a:lnTo>
                      <a:pt x="2262" y="666"/>
                    </a:lnTo>
                    <a:lnTo>
                      <a:pt x="2260" y="667"/>
                    </a:lnTo>
                    <a:lnTo>
                      <a:pt x="2260" y="669"/>
                    </a:lnTo>
                    <a:lnTo>
                      <a:pt x="2257" y="666"/>
                    </a:lnTo>
                    <a:lnTo>
                      <a:pt x="2253" y="666"/>
                    </a:lnTo>
                    <a:lnTo>
                      <a:pt x="2249" y="667"/>
                    </a:lnTo>
                    <a:lnTo>
                      <a:pt x="2244" y="669"/>
                    </a:lnTo>
                    <a:lnTo>
                      <a:pt x="2242" y="673"/>
                    </a:lnTo>
                    <a:lnTo>
                      <a:pt x="2242" y="677"/>
                    </a:lnTo>
                    <a:lnTo>
                      <a:pt x="2242" y="680"/>
                    </a:lnTo>
                    <a:lnTo>
                      <a:pt x="2240" y="685"/>
                    </a:lnTo>
                    <a:lnTo>
                      <a:pt x="2239" y="686"/>
                    </a:lnTo>
                    <a:lnTo>
                      <a:pt x="2237" y="687"/>
                    </a:lnTo>
                    <a:lnTo>
                      <a:pt x="2237" y="689"/>
                    </a:lnTo>
                    <a:lnTo>
                      <a:pt x="2236" y="692"/>
                    </a:lnTo>
                    <a:lnTo>
                      <a:pt x="2237" y="693"/>
                    </a:lnTo>
                    <a:lnTo>
                      <a:pt x="2239" y="695"/>
                    </a:lnTo>
                    <a:lnTo>
                      <a:pt x="2239" y="697"/>
                    </a:lnTo>
                    <a:lnTo>
                      <a:pt x="2237" y="700"/>
                    </a:lnTo>
                    <a:lnTo>
                      <a:pt x="2234" y="703"/>
                    </a:lnTo>
                    <a:lnTo>
                      <a:pt x="2232" y="705"/>
                    </a:lnTo>
                    <a:lnTo>
                      <a:pt x="2234" y="709"/>
                    </a:lnTo>
                    <a:lnTo>
                      <a:pt x="2230" y="712"/>
                    </a:lnTo>
                    <a:lnTo>
                      <a:pt x="2229" y="712"/>
                    </a:lnTo>
                    <a:lnTo>
                      <a:pt x="2227" y="712"/>
                    </a:lnTo>
                    <a:lnTo>
                      <a:pt x="2223" y="713"/>
                    </a:lnTo>
                    <a:lnTo>
                      <a:pt x="2221" y="713"/>
                    </a:lnTo>
                    <a:lnTo>
                      <a:pt x="2220" y="713"/>
                    </a:lnTo>
                    <a:lnTo>
                      <a:pt x="2217" y="716"/>
                    </a:lnTo>
                    <a:lnTo>
                      <a:pt x="2216" y="718"/>
                    </a:lnTo>
                    <a:lnTo>
                      <a:pt x="2209" y="720"/>
                    </a:lnTo>
                    <a:lnTo>
                      <a:pt x="2206" y="722"/>
                    </a:lnTo>
                    <a:lnTo>
                      <a:pt x="2204" y="723"/>
                    </a:lnTo>
                    <a:lnTo>
                      <a:pt x="2201" y="728"/>
                    </a:lnTo>
                    <a:lnTo>
                      <a:pt x="2200" y="729"/>
                    </a:lnTo>
                    <a:lnTo>
                      <a:pt x="2198" y="731"/>
                    </a:lnTo>
                    <a:lnTo>
                      <a:pt x="2196" y="733"/>
                    </a:lnTo>
                    <a:lnTo>
                      <a:pt x="2193" y="736"/>
                    </a:lnTo>
                    <a:lnTo>
                      <a:pt x="2187" y="742"/>
                    </a:lnTo>
                    <a:lnTo>
                      <a:pt x="2184" y="745"/>
                    </a:lnTo>
                    <a:lnTo>
                      <a:pt x="2178" y="748"/>
                    </a:lnTo>
                    <a:lnTo>
                      <a:pt x="2177" y="749"/>
                    </a:lnTo>
                    <a:lnTo>
                      <a:pt x="2167" y="758"/>
                    </a:lnTo>
                    <a:lnTo>
                      <a:pt x="2161" y="768"/>
                    </a:lnTo>
                    <a:lnTo>
                      <a:pt x="2158" y="771"/>
                    </a:lnTo>
                    <a:lnTo>
                      <a:pt x="2155" y="774"/>
                    </a:lnTo>
                    <a:lnTo>
                      <a:pt x="2153" y="776"/>
                    </a:lnTo>
                    <a:lnTo>
                      <a:pt x="2144" y="782"/>
                    </a:lnTo>
                    <a:lnTo>
                      <a:pt x="2138" y="787"/>
                    </a:lnTo>
                    <a:lnTo>
                      <a:pt x="2138" y="787"/>
                    </a:lnTo>
                    <a:lnTo>
                      <a:pt x="2138" y="788"/>
                    </a:lnTo>
                    <a:lnTo>
                      <a:pt x="2137" y="788"/>
                    </a:lnTo>
                    <a:lnTo>
                      <a:pt x="2135" y="788"/>
                    </a:lnTo>
                    <a:lnTo>
                      <a:pt x="2130" y="788"/>
                    </a:lnTo>
                    <a:lnTo>
                      <a:pt x="2128" y="788"/>
                    </a:lnTo>
                    <a:lnTo>
                      <a:pt x="2127" y="789"/>
                    </a:lnTo>
                    <a:lnTo>
                      <a:pt x="2125" y="792"/>
                    </a:lnTo>
                    <a:lnTo>
                      <a:pt x="2124" y="794"/>
                    </a:lnTo>
                    <a:lnTo>
                      <a:pt x="2121" y="794"/>
                    </a:lnTo>
                    <a:lnTo>
                      <a:pt x="2117" y="792"/>
                    </a:lnTo>
                    <a:lnTo>
                      <a:pt x="2115" y="794"/>
                    </a:lnTo>
                    <a:lnTo>
                      <a:pt x="2114" y="794"/>
                    </a:lnTo>
                    <a:lnTo>
                      <a:pt x="2114" y="795"/>
                    </a:lnTo>
                    <a:lnTo>
                      <a:pt x="2114" y="795"/>
                    </a:lnTo>
                    <a:lnTo>
                      <a:pt x="2115" y="797"/>
                    </a:lnTo>
                    <a:lnTo>
                      <a:pt x="2115" y="805"/>
                    </a:lnTo>
                    <a:lnTo>
                      <a:pt x="2111" y="811"/>
                    </a:lnTo>
                    <a:lnTo>
                      <a:pt x="2104" y="815"/>
                    </a:lnTo>
                    <a:lnTo>
                      <a:pt x="2099" y="820"/>
                    </a:lnTo>
                    <a:lnTo>
                      <a:pt x="2097" y="824"/>
                    </a:lnTo>
                    <a:lnTo>
                      <a:pt x="2095" y="828"/>
                    </a:lnTo>
                    <a:lnTo>
                      <a:pt x="2092" y="844"/>
                    </a:lnTo>
                    <a:lnTo>
                      <a:pt x="2091" y="848"/>
                    </a:lnTo>
                    <a:lnTo>
                      <a:pt x="2091" y="853"/>
                    </a:lnTo>
                    <a:lnTo>
                      <a:pt x="2092" y="861"/>
                    </a:lnTo>
                    <a:lnTo>
                      <a:pt x="2098" y="891"/>
                    </a:lnTo>
                    <a:lnTo>
                      <a:pt x="2101" y="906"/>
                    </a:lnTo>
                    <a:lnTo>
                      <a:pt x="2101" y="910"/>
                    </a:lnTo>
                    <a:lnTo>
                      <a:pt x="2104" y="917"/>
                    </a:lnTo>
                    <a:lnTo>
                      <a:pt x="2105" y="922"/>
                    </a:lnTo>
                    <a:lnTo>
                      <a:pt x="2108" y="945"/>
                    </a:lnTo>
                    <a:lnTo>
                      <a:pt x="2112" y="958"/>
                    </a:lnTo>
                    <a:lnTo>
                      <a:pt x="2115" y="956"/>
                    </a:lnTo>
                    <a:lnTo>
                      <a:pt x="2135" y="936"/>
                    </a:lnTo>
                    <a:lnTo>
                      <a:pt x="2138" y="930"/>
                    </a:lnTo>
                    <a:lnTo>
                      <a:pt x="2141" y="925"/>
                    </a:lnTo>
                    <a:lnTo>
                      <a:pt x="2144" y="910"/>
                    </a:lnTo>
                    <a:lnTo>
                      <a:pt x="2144" y="907"/>
                    </a:lnTo>
                    <a:lnTo>
                      <a:pt x="2142" y="907"/>
                    </a:lnTo>
                    <a:lnTo>
                      <a:pt x="2142" y="906"/>
                    </a:lnTo>
                    <a:lnTo>
                      <a:pt x="2141" y="904"/>
                    </a:lnTo>
                    <a:lnTo>
                      <a:pt x="2144" y="904"/>
                    </a:lnTo>
                    <a:lnTo>
                      <a:pt x="2144" y="906"/>
                    </a:lnTo>
                    <a:lnTo>
                      <a:pt x="2145" y="907"/>
                    </a:lnTo>
                    <a:lnTo>
                      <a:pt x="2147" y="909"/>
                    </a:lnTo>
                    <a:lnTo>
                      <a:pt x="2148" y="907"/>
                    </a:lnTo>
                    <a:lnTo>
                      <a:pt x="2151" y="904"/>
                    </a:lnTo>
                    <a:lnTo>
                      <a:pt x="2153" y="903"/>
                    </a:lnTo>
                    <a:lnTo>
                      <a:pt x="2161" y="900"/>
                    </a:lnTo>
                    <a:lnTo>
                      <a:pt x="2163" y="900"/>
                    </a:lnTo>
                    <a:lnTo>
                      <a:pt x="2164" y="900"/>
                    </a:lnTo>
                    <a:lnTo>
                      <a:pt x="2165" y="902"/>
                    </a:lnTo>
                    <a:lnTo>
                      <a:pt x="2167" y="902"/>
                    </a:lnTo>
                    <a:lnTo>
                      <a:pt x="2168" y="903"/>
                    </a:lnTo>
                    <a:lnTo>
                      <a:pt x="2170" y="903"/>
                    </a:lnTo>
                    <a:lnTo>
                      <a:pt x="2170" y="902"/>
                    </a:lnTo>
                    <a:lnTo>
                      <a:pt x="2168" y="900"/>
                    </a:lnTo>
                    <a:lnTo>
                      <a:pt x="2168" y="899"/>
                    </a:lnTo>
                    <a:lnTo>
                      <a:pt x="2168" y="897"/>
                    </a:lnTo>
                    <a:lnTo>
                      <a:pt x="2167" y="896"/>
                    </a:lnTo>
                    <a:lnTo>
                      <a:pt x="2168" y="893"/>
                    </a:lnTo>
                    <a:lnTo>
                      <a:pt x="2168" y="891"/>
                    </a:lnTo>
                    <a:lnTo>
                      <a:pt x="2167" y="886"/>
                    </a:lnTo>
                    <a:lnTo>
                      <a:pt x="2167" y="883"/>
                    </a:lnTo>
                    <a:lnTo>
                      <a:pt x="2168" y="880"/>
                    </a:lnTo>
                    <a:lnTo>
                      <a:pt x="2173" y="876"/>
                    </a:lnTo>
                    <a:lnTo>
                      <a:pt x="2177" y="871"/>
                    </a:lnTo>
                    <a:lnTo>
                      <a:pt x="2184" y="868"/>
                    </a:lnTo>
                    <a:lnTo>
                      <a:pt x="2190" y="868"/>
                    </a:lnTo>
                    <a:lnTo>
                      <a:pt x="2194" y="870"/>
                    </a:lnTo>
                    <a:lnTo>
                      <a:pt x="2197" y="870"/>
                    </a:lnTo>
                    <a:lnTo>
                      <a:pt x="2200" y="868"/>
                    </a:lnTo>
                    <a:lnTo>
                      <a:pt x="2203" y="867"/>
                    </a:lnTo>
                    <a:lnTo>
                      <a:pt x="2204" y="866"/>
                    </a:lnTo>
                    <a:lnTo>
                      <a:pt x="2206" y="863"/>
                    </a:lnTo>
                    <a:lnTo>
                      <a:pt x="2204" y="860"/>
                    </a:lnTo>
                    <a:lnTo>
                      <a:pt x="2201" y="854"/>
                    </a:lnTo>
                    <a:lnTo>
                      <a:pt x="2200" y="851"/>
                    </a:lnTo>
                    <a:lnTo>
                      <a:pt x="2200" y="848"/>
                    </a:lnTo>
                    <a:lnTo>
                      <a:pt x="2200" y="845"/>
                    </a:lnTo>
                    <a:lnTo>
                      <a:pt x="2201" y="843"/>
                    </a:lnTo>
                    <a:lnTo>
                      <a:pt x="2206" y="835"/>
                    </a:lnTo>
                    <a:lnTo>
                      <a:pt x="2206" y="834"/>
                    </a:lnTo>
                    <a:lnTo>
                      <a:pt x="2207" y="834"/>
                    </a:lnTo>
                    <a:lnTo>
                      <a:pt x="2209" y="833"/>
                    </a:lnTo>
                    <a:lnTo>
                      <a:pt x="2213" y="831"/>
                    </a:lnTo>
                    <a:lnTo>
                      <a:pt x="2213" y="831"/>
                    </a:lnTo>
                    <a:lnTo>
                      <a:pt x="2214" y="830"/>
                    </a:lnTo>
                    <a:lnTo>
                      <a:pt x="2213" y="828"/>
                    </a:lnTo>
                    <a:lnTo>
                      <a:pt x="2213" y="828"/>
                    </a:lnTo>
                    <a:lnTo>
                      <a:pt x="2214" y="827"/>
                    </a:lnTo>
                    <a:lnTo>
                      <a:pt x="2214" y="827"/>
                    </a:lnTo>
                    <a:lnTo>
                      <a:pt x="2214" y="825"/>
                    </a:lnTo>
                    <a:lnTo>
                      <a:pt x="2216" y="825"/>
                    </a:lnTo>
                    <a:lnTo>
                      <a:pt x="2216" y="825"/>
                    </a:lnTo>
                    <a:lnTo>
                      <a:pt x="2217" y="825"/>
                    </a:lnTo>
                    <a:lnTo>
                      <a:pt x="2221" y="825"/>
                    </a:lnTo>
                    <a:lnTo>
                      <a:pt x="2223" y="824"/>
                    </a:lnTo>
                    <a:lnTo>
                      <a:pt x="2220" y="827"/>
                    </a:lnTo>
                    <a:lnTo>
                      <a:pt x="2217" y="828"/>
                    </a:lnTo>
                    <a:lnTo>
                      <a:pt x="2216" y="830"/>
                    </a:lnTo>
                    <a:lnTo>
                      <a:pt x="2217" y="833"/>
                    </a:lnTo>
                    <a:lnTo>
                      <a:pt x="2219" y="834"/>
                    </a:lnTo>
                    <a:lnTo>
                      <a:pt x="2221" y="835"/>
                    </a:lnTo>
                    <a:lnTo>
                      <a:pt x="2224" y="834"/>
                    </a:lnTo>
                    <a:lnTo>
                      <a:pt x="2226" y="833"/>
                    </a:lnTo>
                    <a:lnTo>
                      <a:pt x="2227" y="831"/>
                    </a:lnTo>
                    <a:lnTo>
                      <a:pt x="2227" y="830"/>
                    </a:lnTo>
                    <a:lnTo>
                      <a:pt x="2227" y="828"/>
                    </a:lnTo>
                    <a:lnTo>
                      <a:pt x="2226" y="821"/>
                    </a:lnTo>
                    <a:lnTo>
                      <a:pt x="2226" y="821"/>
                    </a:lnTo>
                    <a:lnTo>
                      <a:pt x="2224" y="820"/>
                    </a:lnTo>
                    <a:lnTo>
                      <a:pt x="2221" y="820"/>
                    </a:lnTo>
                    <a:lnTo>
                      <a:pt x="2220" y="820"/>
                    </a:lnTo>
                    <a:lnTo>
                      <a:pt x="2219" y="817"/>
                    </a:lnTo>
                    <a:lnTo>
                      <a:pt x="2217" y="815"/>
                    </a:lnTo>
                    <a:lnTo>
                      <a:pt x="2217" y="808"/>
                    </a:lnTo>
                    <a:lnTo>
                      <a:pt x="2217" y="807"/>
                    </a:lnTo>
                    <a:lnTo>
                      <a:pt x="2219" y="804"/>
                    </a:lnTo>
                    <a:lnTo>
                      <a:pt x="2223" y="799"/>
                    </a:lnTo>
                    <a:lnTo>
                      <a:pt x="2224" y="798"/>
                    </a:lnTo>
                    <a:lnTo>
                      <a:pt x="2226" y="795"/>
                    </a:lnTo>
                    <a:lnTo>
                      <a:pt x="2224" y="792"/>
                    </a:lnTo>
                    <a:lnTo>
                      <a:pt x="2221" y="791"/>
                    </a:lnTo>
                    <a:lnTo>
                      <a:pt x="2219" y="791"/>
                    </a:lnTo>
                    <a:lnTo>
                      <a:pt x="2214" y="791"/>
                    </a:lnTo>
                    <a:lnTo>
                      <a:pt x="2214" y="792"/>
                    </a:lnTo>
                    <a:lnTo>
                      <a:pt x="2213" y="794"/>
                    </a:lnTo>
                    <a:lnTo>
                      <a:pt x="2211" y="795"/>
                    </a:lnTo>
                    <a:lnTo>
                      <a:pt x="2210" y="794"/>
                    </a:lnTo>
                    <a:lnTo>
                      <a:pt x="2209" y="792"/>
                    </a:lnTo>
                    <a:lnTo>
                      <a:pt x="2206" y="791"/>
                    </a:lnTo>
                    <a:lnTo>
                      <a:pt x="2204" y="789"/>
                    </a:lnTo>
                    <a:lnTo>
                      <a:pt x="2204" y="787"/>
                    </a:lnTo>
                    <a:lnTo>
                      <a:pt x="2204" y="784"/>
                    </a:lnTo>
                    <a:lnTo>
                      <a:pt x="2206" y="781"/>
                    </a:lnTo>
                    <a:lnTo>
                      <a:pt x="2206" y="778"/>
                    </a:lnTo>
                    <a:lnTo>
                      <a:pt x="2210" y="772"/>
                    </a:lnTo>
                    <a:lnTo>
                      <a:pt x="2219" y="765"/>
                    </a:lnTo>
                    <a:lnTo>
                      <a:pt x="2221" y="761"/>
                    </a:lnTo>
                    <a:lnTo>
                      <a:pt x="2221" y="759"/>
                    </a:lnTo>
                    <a:lnTo>
                      <a:pt x="2221" y="758"/>
                    </a:lnTo>
                    <a:lnTo>
                      <a:pt x="2223" y="758"/>
                    </a:lnTo>
                    <a:lnTo>
                      <a:pt x="2223" y="758"/>
                    </a:lnTo>
                    <a:lnTo>
                      <a:pt x="2223" y="758"/>
                    </a:lnTo>
                    <a:lnTo>
                      <a:pt x="2224" y="758"/>
                    </a:lnTo>
                    <a:lnTo>
                      <a:pt x="2224" y="756"/>
                    </a:lnTo>
                    <a:lnTo>
                      <a:pt x="2226" y="755"/>
                    </a:lnTo>
                    <a:lnTo>
                      <a:pt x="2226" y="755"/>
                    </a:lnTo>
                    <a:lnTo>
                      <a:pt x="2227" y="752"/>
                    </a:lnTo>
                    <a:lnTo>
                      <a:pt x="2227" y="746"/>
                    </a:lnTo>
                    <a:lnTo>
                      <a:pt x="2227" y="743"/>
                    </a:lnTo>
                    <a:lnTo>
                      <a:pt x="2229" y="741"/>
                    </a:lnTo>
                    <a:lnTo>
                      <a:pt x="2230" y="738"/>
                    </a:lnTo>
                    <a:lnTo>
                      <a:pt x="2233" y="736"/>
                    </a:lnTo>
                    <a:lnTo>
                      <a:pt x="2234" y="733"/>
                    </a:lnTo>
                    <a:lnTo>
                      <a:pt x="2237" y="733"/>
                    </a:lnTo>
                    <a:lnTo>
                      <a:pt x="2240" y="735"/>
                    </a:lnTo>
                    <a:lnTo>
                      <a:pt x="2242" y="735"/>
                    </a:lnTo>
                    <a:lnTo>
                      <a:pt x="2242" y="738"/>
                    </a:lnTo>
                    <a:lnTo>
                      <a:pt x="2244" y="735"/>
                    </a:lnTo>
                    <a:lnTo>
                      <a:pt x="2246" y="733"/>
                    </a:lnTo>
                    <a:lnTo>
                      <a:pt x="2249" y="733"/>
                    </a:lnTo>
                    <a:lnTo>
                      <a:pt x="2252" y="735"/>
                    </a:lnTo>
                    <a:lnTo>
                      <a:pt x="2253" y="738"/>
                    </a:lnTo>
                    <a:lnTo>
                      <a:pt x="2256" y="739"/>
                    </a:lnTo>
                    <a:lnTo>
                      <a:pt x="2256" y="738"/>
                    </a:lnTo>
                    <a:lnTo>
                      <a:pt x="2259" y="735"/>
                    </a:lnTo>
                    <a:lnTo>
                      <a:pt x="2259" y="733"/>
                    </a:lnTo>
                    <a:lnTo>
                      <a:pt x="2259" y="733"/>
                    </a:lnTo>
                    <a:lnTo>
                      <a:pt x="2259" y="732"/>
                    </a:lnTo>
                    <a:lnTo>
                      <a:pt x="2259" y="732"/>
                    </a:lnTo>
                    <a:lnTo>
                      <a:pt x="2260" y="732"/>
                    </a:lnTo>
                    <a:lnTo>
                      <a:pt x="2260" y="732"/>
                    </a:lnTo>
                    <a:lnTo>
                      <a:pt x="2262" y="732"/>
                    </a:lnTo>
                    <a:lnTo>
                      <a:pt x="2262" y="731"/>
                    </a:lnTo>
                    <a:lnTo>
                      <a:pt x="2267" y="728"/>
                    </a:lnTo>
                    <a:lnTo>
                      <a:pt x="2275" y="723"/>
                    </a:lnTo>
                    <a:lnTo>
                      <a:pt x="2277" y="722"/>
                    </a:lnTo>
                    <a:lnTo>
                      <a:pt x="2280" y="722"/>
                    </a:lnTo>
                    <a:lnTo>
                      <a:pt x="2279" y="725"/>
                    </a:lnTo>
                    <a:lnTo>
                      <a:pt x="2277" y="731"/>
                    </a:lnTo>
                    <a:lnTo>
                      <a:pt x="2277" y="735"/>
                    </a:lnTo>
                    <a:lnTo>
                      <a:pt x="2277" y="739"/>
                    </a:lnTo>
                    <a:lnTo>
                      <a:pt x="2280" y="738"/>
                    </a:lnTo>
                    <a:lnTo>
                      <a:pt x="2285" y="735"/>
                    </a:lnTo>
                    <a:lnTo>
                      <a:pt x="2290" y="728"/>
                    </a:lnTo>
                    <a:lnTo>
                      <a:pt x="2298" y="722"/>
                    </a:lnTo>
                    <a:lnTo>
                      <a:pt x="2306" y="720"/>
                    </a:lnTo>
                    <a:lnTo>
                      <a:pt x="2328" y="719"/>
                    </a:lnTo>
                    <a:lnTo>
                      <a:pt x="2331" y="719"/>
                    </a:lnTo>
                    <a:lnTo>
                      <a:pt x="2332" y="719"/>
                    </a:lnTo>
                    <a:lnTo>
                      <a:pt x="2335" y="720"/>
                    </a:lnTo>
                    <a:lnTo>
                      <a:pt x="2336" y="722"/>
                    </a:lnTo>
                    <a:lnTo>
                      <a:pt x="2338" y="723"/>
                    </a:lnTo>
                    <a:lnTo>
                      <a:pt x="2339" y="725"/>
                    </a:lnTo>
                    <a:lnTo>
                      <a:pt x="2342" y="728"/>
                    </a:lnTo>
                    <a:lnTo>
                      <a:pt x="2344" y="732"/>
                    </a:lnTo>
                    <a:lnTo>
                      <a:pt x="2345" y="733"/>
                    </a:lnTo>
                    <a:lnTo>
                      <a:pt x="2349" y="735"/>
                    </a:lnTo>
                    <a:lnTo>
                      <a:pt x="2352" y="735"/>
                    </a:lnTo>
                    <a:lnTo>
                      <a:pt x="2354" y="731"/>
                    </a:lnTo>
                    <a:lnTo>
                      <a:pt x="2354" y="726"/>
                    </a:lnTo>
                    <a:lnTo>
                      <a:pt x="2355" y="723"/>
                    </a:lnTo>
                    <a:lnTo>
                      <a:pt x="2356" y="722"/>
                    </a:lnTo>
                    <a:lnTo>
                      <a:pt x="2358" y="722"/>
                    </a:lnTo>
                    <a:lnTo>
                      <a:pt x="2362" y="720"/>
                    </a:lnTo>
                    <a:lnTo>
                      <a:pt x="2384" y="708"/>
                    </a:lnTo>
                    <a:lnTo>
                      <a:pt x="2387" y="705"/>
                    </a:lnTo>
                    <a:lnTo>
                      <a:pt x="2387" y="705"/>
                    </a:lnTo>
                    <a:lnTo>
                      <a:pt x="2387" y="703"/>
                    </a:lnTo>
                    <a:lnTo>
                      <a:pt x="2387" y="703"/>
                    </a:lnTo>
                    <a:lnTo>
                      <a:pt x="2388" y="702"/>
                    </a:lnTo>
                    <a:lnTo>
                      <a:pt x="2388" y="702"/>
                    </a:lnTo>
                    <a:lnTo>
                      <a:pt x="2392" y="700"/>
                    </a:lnTo>
                    <a:lnTo>
                      <a:pt x="2392" y="699"/>
                    </a:lnTo>
                    <a:lnTo>
                      <a:pt x="2392" y="699"/>
                    </a:lnTo>
                    <a:lnTo>
                      <a:pt x="2392" y="697"/>
                    </a:lnTo>
                    <a:lnTo>
                      <a:pt x="2395" y="697"/>
                    </a:lnTo>
                    <a:lnTo>
                      <a:pt x="2395" y="697"/>
                    </a:lnTo>
                    <a:lnTo>
                      <a:pt x="2394" y="696"/>
                    </a:lnTo>
                    <a:lnTo>
                      <a:pt x="2394" y="695"/>
                    </a:lnTo>
                    <a:lnTo>
                      <a:pt x="2395" y="693"/>
                    </a:lnTo>
                    <a:lnTo>
                      <a:pt x="2395" y="693"/>
                    </a:lnTo>
                    <a:lnTo>
                      <a:pt x="2398" y="695"/>
                    </a:lnTo>
                    <a:lnTo>
                      <a:pt x="2400" y="695"/>
                    </a:lnTo>
                    <a:lnTo>
                      <a:pt x="2402" y="693"/>
                    </a:lnTo>
                    <a:lnTo>
                      <a:pt x="2407" y="687"/>
                    </a:lnTo>
                    <a:lnTo>
                      <a:pt x="2408" y="686"/>
                    </a:lnTo>
                    <a:lnTo>
                      <a:pt x="2410" y="686"/>
                    </a:lnTo>
                    <a:lnTo>
                      <a:pt x="2412" y="686"/>
                    </a:lnTo>
                    <a:lnTo>
                      <a:pt x="2414" y="686"/>
                    </a:lnTo>
                    <a:lnTo>
                      <a:pt x="2415" y="686"/>
                    </a:lnTo>
                    <a:lnTo>
                      <a:pt x="2418" y="683"/>
                    </a:lnTo>
                    <a:lnTo>
                      <a:pt x="2420" y="683"/>
                    </a:lnTo>
                    <a:lnTo>
                      <a:pt x="2424" y="683"/>
                    </a:lnTo>
                    <a:lnTo>
                      <a:pt x="2425" y="682"/>
                    </a:lnTo>
                    <a:lnTo>
                      <a:pt x="2425" y="682"/>
                    </a:lnTo>
                    <a:lnTo>
                      <a:pt x="2427" y="680"/>
                    </a:lnTo>
                    <a:lnTo>
                      <a:pt x="2427" y="680"/>
                    </a:lnTo>
                    <a:lnTo>
                      <a:pt x="2428" y="680"/>
                    </a:lnTo>
                    <a:lnTo>
                      <a:pt x="2428" y="680"/>
                    </a:lnTo>
                    <a:lnTo>
                      <a:pt x="2428" y="680"/>
                    </a:lnTo>
                    <a:lnTo>
                      <a:pt x="2430" y="679"/>
                    </a:lnTo>
                    <a:lnTo>
                      <a:pt x="2454" y="669"/>
                    </a:lnTo>
                    <a:lnTo>
                      <a:pt x="2461" y="666"/>
                    </a:lnTo>
                    <a:lnTo>
                      <a:pt x="2470" y="663"/>
                    </a:lnTo>
                    <a:lnTo>
                      <a:pt x="2471" y="663"/>
                    </a:lnTo>
                    <a:lnTo>
                      <a:pt x="2470" y="662"/>
                    </a:lnTo>
                    <a:lnTo>
                      <a:pt x="2468" y="662"/>
                    </a:lnTo>
                    <a:lnTo>
                      <a:pt x="2467" y="662"/>
                    </a:lnTo>
                    <a:lnTo>
                      <a:pt x="2467" y="660"/>
                    </a:lnTo>
                    <a:lnTo>
                      <a:pt x="2467" y="659"/>
                    </a:lnTo>
                    <a:lnTo>
                      <a:pt x="2468" y="657"/>
                    </a:lnTo>
                    <a:lnTo>
                      <a:pt x="2470" y="657"/>
                    </a:lnTo>
                    <a:lnTo>
                      <a:pt x="2471" y="657"/>
                    </a:lnTo>
                    <a:lnTo>
                      <a:pt x="2471" y="657"/>
                    </a:lnTo>
                    <a:lnTo>
                      <a:pt x="2473" y="657"/>
                    </a:lnTo>
                    <a:lnTo>
                      <a:pt x="2474" y="657"/>
                    </a:lnTo>
                    <a:lnTo>
                      <a:pt x="2474" y="659"/>
                    </a:lnTo>
                    <a:lnTo>
                      <a:pt x="2474" y="660"/>
                    </a:lnTo>
                    <a:lnTo>
                      <a:pt x="2473" y="660"/>
                    </a:lnTo>
                    <a:lnTo>
                      <a:pt x="2473" y="662"/>
                    </a:lnTo>
                    <a:lnTo>
                      <a:pt x="2476" y="663"/>
                    </a:lnTo>
                    <a:lnTo>
                      <a:pt x="2486" y="663"/>
                    </a:lnTo>
                    <a:lnTo>
                      <a:pt x="2497" y="667"/>
                    </a:lnTo>
                    <a:lnTo>
                      <a:pt x="2502" y="669"/>
                    </a:lnTo>
                    <a:lnTo>
                      <a:pt x="2503" y="669"/>
                    </a:lnTo>
                    <a:lnTo>
                      <a:pt x="2503" y="669"/>
                    </a:lnTo>
                    <a:lnTo>
                      <a:pt x="2504" y="670"/>
                    </a:lnTo>
                    <a:lnTo>
                      <a:pt x="2504" y="669"/>
                    </a:lnTo>
                    <a:lnTo>
                      <a:pt x="2504" y="669"/>
                    </a:lnTo>
                    <a:lnTo>
                      <a:pt x="2504" y="669"/>
                    </a:lnTo>
                    <a:lnTo>
                      <a:pt x="2506" y="669"/>
                    </a:lnTo>
                    <a:lnTo>
                      <a:pt x="2506" y="667"/>
                    </a:lnTo>
                    <a:lnTo>
                      <a:pt x="2507" y="666"/>
                    </a:lnTo>
                    <a:lnTo>
                      <a:pt x="2507" y="664"/>
                    </a:lnTo>
                    <a:lnTo>
                      <a:pt x="2509" y="664"/>
                    </a:lnTo>
                    <a:lnTo>
                      <a:pt x="2509" y="663"/>
                    </a:lnTo>
                    <a:lnTo>
                      <a:pt x="2512" y="662"/>
                    </a:lnTo>
                    <a:lnTo>
                      <a:pt x="2513" y="660"/>
                    </a:lnTo>
                    <a:lnTo>
                      <a:pt x="2513" y="659"/>
                    </a:lnTo>
                    <a:lnTo>
                      <a:pt x="2513" y="657"/>
                    </a:lnTo>
                    <a:lnTo>
                      <a:pt x="2512" y="656"/>
                    </a:lnTo>
                    <a:lnTo>
                      <a:pt x="2512" y="656"/>
                    </a:lnTo>
                    <a:lnTo>
                      <a:pt x="2510" y="654"/>
                    </a:lnTo>
                    <a:lnTo>
                      <a:pt x="2509" y="653"/>
                    </a:lnTo>
                    <a:lnTo>
                      <a:pt x="2509" y="653"/>
                    </a:lnTo>
                    <a:lnTo>
                      <a:pt x="2509" y="651"/>
                    </a:lnTo>
                    <a:lnTo>
                      <a:pt x="2509" y="651"/>
                    </a:lnTo>
                    <a:lnTo>
                      <a:pt x="2509" y="650"/>
                    </a:lnTo>
                    <a:lnTo>
                      <a:pt x="2509" y="650"/>
                    </a:lnTo>
                    <a:lnTo>
                      <a:pt x="2509" y="650"/>
                    </a:lnTo>
                    <a:lnTo>
                      <a:pt x="2510" y="647"/>
                    </a:lnTo>
                    <a:lnTo>
                      <a:pt x="2509" y="647"/>
                    </a:lnTo>
                    <a:lnTo>
                      <a:pt x="2509" y="646"/>
                    </a:lnTo>
                    <a:lnTo>
                      <a:pt x="2506" y="644"/>
                    </a:lnTo>
                    <a:lnTo>
                      <a:pt x="2503" y="643"/>
                    </a:lnTo>
                    <a:lnTo>
                      <a:pt x="2502" y="641"/>
                    </a:lnTo>
                    <a:lnTo>
                      <a:pt x="2502" y="640"/>
                    </a:lnTo>
                    <a:lnTo>
                      <a:pt x="2500" y="636"/>
                    </a:lnTo>
                    <a:lnTo>
                      <a:pt x="2500" y="637"/>
                    </a:lnTo>
                    <a:lnTo>
                      <a:pt x="2499" y="639"/>
                    </a:lnTo>
                    <a:lnTo>
                      <a:pt x="2499" y="639"/>
                    </a:lnTo>
                    <a:lnTo>
                      <a:pt x="2497" y="639"/>
                    </a:lnTo>
                    <a:lnTo>
                      <a:pt x="2497" y="637"/>
                    </a:lnTo>
                    <a:lnTo>
                      <a:pt x="2497" y="637"/>
                    </a:lnTo>
                    <a:lnTo>
                      <a:pt x="2497" y="636"/>
                    </a:lnTo>
                    <a:lnTo>
                      <a:pt x="2497" y="636"/>
                    </a:lnTo>
                    <a:lnTo>
                      <a:pt x="2496" y="634"/>
                    </a:lnTo>
                    <a:lnTo>
                      <a:pt x="2494" y="634"/>
                    </a:lnTo>
                    <a:lnTo>
                      <a:pt x="2494" y="634"/>
                    </a:lnTo>
                    <a:lnTo>
                      <a:pt x="2493" y="634"/>
                    </a:lnTo>
                    <a:lnTo>
                      <a:pt x="2494" y="633"/>
                    </a:lnTo>
                    <a:lnTo>
                      <a:pt x="2496" y="633"/>
                    </a:lnTo>
                    <a:lnTo>
                      <a:pt x="2497" y="633"/>
                    </a:lnTo>
                    <a:lnTo>
                      <a:pt x="2499" y="631"/>
                    </a:lnTo>
                    <a:lnTo>
                      <a:pt x="2499" y="630"/>
                    </a:lnTo>
                    <a:lnTo>
                      <a:pt x="2497" y="627"/>
                    </a:lnTo>
                    <a:lnTo>
                      <a:pt x="2497" y="624"/>
                    </a:lnTo>
                    <a:lnTo>
                      <a:pt x="2496" y="623"/>
                    </a:lnTo>
                    <a:lnTo>
                      <a:pt x="2496" y="623"/>
                    </a:lnTo>
                    <a:lnTo>
                      <a:pt x="2494" y="621"/>
                    </a:lnTo>
                    <a:lnTo>
                      <a:pt x="2493" y="621"/>
                    </a:lnTo>
                    <a:lnTo>
                      <a:pt x="2493" y="620"/>
                    </a:lnTo>
                    <a:lnTo>
                      <a:pt x="2494" y="618"/>
                    </a:lnTo>
                    <a:lnTo>
                      <a:pt x="2494" y="618"/>
                    </a:lnTo>
                    <a:lnTo>
                      <a:pt x="2493" y="616"/>
                    </a:lnTo>
                    <a:lnTo>
                      <a:pt x="2493" y="614"/>
                    </a:lnTo>
                    <a:lnTo>
                      <a:pt x="2491" y="611"/>
                    </a:lnTo>
                    <a:lnTo>
                      <a:pt x="2490" y="610"/>
                    </a:lnTo>
                    <a:lnTo>
                      <a:pt x="2489" y="611"/>
                    </a:lnTo>
                    <a:lnTo>
                      <a:pt x="2489" y="613"/>
                    </a:lnTo>
                    <a:lnTo>
                      <a:pt x="2487" y="614"/>
                    </a:lnTo>
                    <a:lnTo>
                      <a:pt x="2486" y="614"/>
                    </a:lnTo>
                    <a:lnTo>
                      <a:pt x="2484" y="614"/>
                    </a:lnTo>
                    <a:lnTo>
                      <a:pt x="2483" y="614"/>
                    </a:lnTo>
                    <a:lnTo>
                      <a:pt x="2481" y="613"/>
                    </a:lnTo>
                    <a:lnTo>
                      <a:pt x="2479" y="610"/>
                    </a:lnTo>
                    <a:lnTo>
                      <a:pt x="2477" y="608"/>
                    </a:lnTo>
                    <a:lnTo>
                      <a:pt x="2476" y="607"/>
                    </a:lnTo>
                    <a:lnTo>
                      <a:pt x="2476" y="605"/>
                    </a:lnTo>
                    <a:lnTo>
                      <a:pt x="2476" y="604"/>
                    </a:lnTo>
                    <a:lnTo>
                      <a:pt x="2476" y="600"/>
                    </a:lnTo>
                    <a:lnTo>
                      <a:pt x="2476" y="598"/>
                    </a:lnTo>
                    <a:lnTo>
                      <a:pt x="2474" y="597"/>
                    </a:lnTo>
                    <a:lnTo>
                      <a:pt x="2471" y="597"/>
                    </a:lnTo>
                    <a:lnTo>
                      <a:pt x="2467" y="600"/>
                    </a:lnTo>
                    <a:lnTo>
                      <a:pt x="2464" y="601"/>
                    </a:lnTo>
                    <a:lnTo>
                      <a:pt x="2463" y="601"/>
                    </a:lnTo>
                    <a:lnTo>
                      <a:pt x="2461" y="600"/>
                    </a:lnTo>
                    <a:lnTo>
                      <a:pt x="2460" y="600"/>
                    </a:lnTo>
                    <a:lnTo>
                      <a:pt x="2458" y="600"/>
                    </a:lnTo>
                    <a:lnTo>
                      <a:pt x="2457" y="601"/>
                    </a:lnTo>
                    <a:lnTo>
                      <a:pt x="2453" y="603"/>
                    </a:lnTo>
                    <a:lnTo>
                      <a:pt x="2456" y="600"/>
                    </a:lnTo>
                    <a:lnTo>
                      <a:pt x="2456" y="598"/>
                    </a:lnTo>
                    <a:lnTo>
                      <a:pt x="2456" y="595"/>
                    </a:lnTo>
                    <a:lnTo>
                      <a:pt x="2453" y="593"/>
                    </a:lnTo>
                    <a:lnTo>
                      <a:pt x="2451" y="593"/>
                    </a:lnTo>
                    <a:lnTo>
                      <a:pt x="2450" y="594"/>
                    </a:lnTo>
                    <a:lnTo>
                      <a:pt x="2447" y="595"/>
                    </a:lnTo>
                    <a:lnTo>
                      <a:pt x="2444" y="597"/>
                    </a:lnTo>
                    <a:lnTo>
                      <a:pt x="2443" y="597"/>
                    </a:lnTo>
                    <a:lnTo>
                      <a:pt x="2437" y="597"/>
                    </a:lnTo>
                    <a:lnTo>
                      <a:pt x="2428" y="600"/>
                    </a:lnTo>
                    <a:lnTo>
                      <a:pt x="2425" y="600"/>
                    </a:lnTo>
                    <a:lnTo>
                      <a:pt x="2443" y="595"/>
                    </a:lnTo>
                    <a:lnTo>
                      <a:pt x="2444" y="594"/>
                    </a:lnTo>
                    <a:lnTo>
                      <a:pt x="2448" y="591"/>
                    </a:lnTo>
                    <a:lnTo>
                      <a:pt x="2451" y="591"/>
                    </a:lnTo>
                    <a:lnTo>
                      <a:pt x="2453" y="591"/>
                    </a:lnTo>
                    <a:lnTo>
                      <a:pt x="2457" y="593"/>
                    </a:lnTo>
                    <a:lnTo>
                      <a:pt x="2458" y="594"/>
                    </a:lnTo>
                    <a:lnTo>
                      <a:pt x="2468" y="595"/>
                    </a:lnTo>
                    <a:lnTo>
                      <a:pt x="2470" y="595"/>
                    </a:lnTo>
                    <a:lnTo>
                      <a:pt x="2471" y="594"/>
                    </a:lnTo>
                    <a:lnTo>
                      <a:pt x="2471" y="593"/>
                    </a:lnTo>
                    <a:lnTo>
                      <a:pt x="2468" y="590"/>
                    </a:lnTo>
                    <a:lnTo>
                      <a:pt x="2466" y="588"/>
                    </a:lnTo>
                    <a:lnTo>
                      <a:pt x="2460" y="588"/>
                    </a:lnTo>
                    <a:lnTo>
                      <a:pt x="2457" y="587"/>
                    </a:lnTo>
                    <a:lnTo>
                      <a:pt x="2457" y="587"/>
                    </a:lnTo>
                    <a:lnTo>
                      <a:pt x="2458" y="587"/>
                    </a:lnTo>
                    <a:lnTo>
                      <a:pt x="2460" y="587"/>
                    </a:lnTo>
                    <a:lnTo>
                      <a:pt x="2461" y="588"/>
                    </a:lnTo>
                    <a:lnTo>
                      <a:pt x="2463" y="587"/>
                    </a:lnTo>
                    <a:lnTo>
                      <a:pt x="2466" y="587"/>
                    </a:lnTo>
                    <a:lnTo>
                      <a:pt x="2467" y="587"/>
                    </a:lnTo>
                    <a:lnTo>
                      <a:pt x="2470" y="587"/>
                    </a:lnTo>
                    <a:lnTo>
                      <a:pt x="2471" y="590"/>
                    </a:lnTo>
                    <a:lnTo>
                      <a:pt x="2479" y="595"/>
                    </a:lnTo>
                    <a:lnTo>
                      <a:pt x="2480" y="597"/>
                    </a:lnTo>
                    <a:lnTo>
                      <a:pt x="2483" y="598"/>
                    </a:lnTo>
                    <a:lnTo>
                      <a:pt x="2489" y="600"/>
                    </a:lnTo>
                    <a:lnTo>
                      <a:pt x="2491" y="601"/>
                    </a:lnTo>
                    <a:lnTo>
                      <a:pt x="2494" y="601"/>
                    </a:lnTo>
                    <a:lnTo>
                      <a:pt x="2497" y="601"/>
                    </a:lnTo>
                    <a:lnTo>
                      <a:pt x="2500" y="600"/>
                    </a:lnTo>
                    <a:lnTo>
                      <a:pt x="2510" y="595"/>
                    </a:lnTo>
                    <a:lnTo>
                      <a:pt x="2513" y="594"/>
                    </a:lnTo>
                    <a:lnTo>
                      <a:pt x="2519" y="587"/>
                    </a:lnTo>
                    <a:lnTo>
                      <a:pt x="2523" y="584"/>
                    </a:lnTo>
                    <a:lnTo>
                      <a:pt x="2526" y="582"/>
                    </a:lnTo>
                    <a:lnTo>
                      <a:pt x="2527" y="580"/>
                    </a:lnTo>
                    <a:lnTo>
                      <a:pt x="2530" y="574"/>
                    </a:lnTo>
                    <a:lnTo>
                      <a:pt x="2532" y="571"/>
                    </a:lnTo>
                    <a:lnTo>
                      <a:pt x="2532" y="568"/>
                    </a:lnTo>
                    <a:lnTo>
                      <a:pt x="2532" y="565"/>
                    </a:lnTo>
                    <a:lnTo>
                      <a:pt x="2529" y="562"/>
                    </a:lnTo>
                    <a:lnTo>
                      <a:pt x="2527" y="561"/>
                    </a:lnTo>
                    <a:lnTo>
                      <a:pt x="2524" y="558"/>
                    </a:lnTo>
                    <a:lnTo>
                      <a:pt x="2524" y="555"/>
                    </a:lnTo>
                    <a:lnTo>
                      <a:pt x="2524" y="551"/>
                    </a:lnTo>
                    <a:lnTo>
                      <a:pt x="2524" y="548"/>
                    </a:lnTo>
                    <a:lnTo>
                      <a:pt x="2526" y="544"/>
                    </a:lnTo>
                    <a:lnTo>
                      <a:pt x="2527" y="545"/>
                    </a:lnTo>
                    <a:lnTo>
                      <a:pt x="2527" y="547"/>
                    </a:lnTo>
                    <a:lnTo>
                      <a:pt x="2529" y="547"/>
                    </a:lnTo>
                    <a:lnTo>
                      <a:pt x="2530" y="547"/>
                    </a:lnTo>
                    <a:lnTo>
                      <a:pt x="2532" y="547"/>
                    </a:lnTo>
                    <a:lnTo>
                      <a:pt x="2532" y="545"/>
                    </a:lnTo>
                    <a:lnTo>
                      <a:pt x="2533" y="544"/>
                    </a:lnTo>
                    <a:lnTo>
                      <a:pt x="2533" y="542"/>
                    </a:lnTo>
                    <a:lnTo>
                      <a:pt x="2533" y="541"/>
                    </a:lnTo>
                    <a:lnTo>
                      <a:pt x="2533" y="539"/>
                    </a:lnTo>
                    <a:lnTo>
                      <a:pt x="2533" y="539"/>
                    </a:lnTo>
                    <a:lnTo>
                      <a:pt x="2535" y="539"/>
                    </a:lnTo>
                    <a:lnTo>
                      <a:pt x="2535" y="538"/>
                    </a:lnTo>
                    <a:lnTo>
                      <a:pt x="2536" y="538"/>
                    </a:lnTo>
                    <a:lnTo>
                      <a:pt x="2536" y="539"/>
                    </a:lnTo>
                    <a:lnTo>
                      <a:pt x="2537" y="542"/>
                    </a:lnTo>
                    <a:lnTo>
                      <a:pt x="2537" y="544"/>
                    </a:lnTo>
                    <a:lnTo>
                      <a:pt x="2540" y="544"/>
                    </a:lnTo>
                    <a:lnTo>
                      <a:pt x="2542" y="544"/>
                    </a:lnTo>
                    <a:lnTo>
                      <a:pt x="2543" y="541"/>
                    </a:lnTo>
                    <a:lnTo>
                      <a:pt x="2545" y="538"/>
                    </a:lnTo>
                    <a:lnTo>
                      <a:pt x="2546" y="536"/>
                    </a:lnTo>
                    <a:lnTo>
                      <a:pt x="2546" y="541"/>
                    </a:lnTo>
                    <a:lnTo>
                      <a:pt x="2543" y="551"/>
                    </a:lnTo>
                    <a:lnTo>
                      <a:pt x="2542" y="551"/>
                    </a:lnTo>
                    <a:lnTo>
                      <a:pt x="2542" y="551"/>
                    </a:lnTo>
                    <a:lnTo>
                      <a:pt x="2539" y="551"/>
                    </a:lnTo>
                    <a:lnTo>
                      <a:pt x="2540" y="552"/>
                    </a:lnTo>
                    <a:lnTo>
                      <a:pt x="2540" y="554"/>
                    </a:lnTo>
                    <a:lnTo>
                      <a:pt x="2542" y="555"/>
                    </a:lnTo>
                    <a:lnTo>
                      <a:pt x="2542" y="557"/>
                    </a:lnTo>
                    <a:lnTo>
                      <a:pt x="2543" y="558"/>
                    </a:lnTo>
                    <a:lnTo>
                      <a:pt x="2546" y="561"/>
                    </a:lnTo>
                    <a:lnTo>
                      <a:pt x="2546" y="561"/>
                    </a:lnTo>
                    <a:lnTo>
                      <a:pt x="2547" y="564"/>
                    </a:lnTo>
                    <a:lnTo>
                      <a:pt x="2547" y="567"/>
                    </a:lnTo>
                    <a:lnTo>
                      <a:pt x="2547" y="570"/>
                    </a:lnTo>
                    <a:lnTo>
                      <a:pt x="2549" y="571"/>
                    </a:lnTo>
                    <a:lnTo>
                      <a:pt x="2553" y="572"/>
                    </a:lnTo>
                    <a:lnTo>
                      <a:pt x="2558" y="572"/>
                    </a:lnTo>
                    <a:lnTo>
                      <a:pt x="2562" y="571"/>
                    </a:lnTo>
                    <a:lnTo>
                      <a:pt x="2565" y="571"/>
                    </a:lnTo>
                    <a:lnTo>
                      <a:pt x="2570" y="568"/>
                    </a:lnTo>
                    <a:lnTo>
                      <a:pt x="2573" y="567"/>
                    </a:lnTo>
                    <a:lnTo>
                      <a:pt x="2578" y="568"/>
                    </a:lnTo>
                    <a:lnTo>
                      <a:pt x="2585" y="570"/>
                    </a:lnTo>
                    <a:lnTo>
                      <a:pt x="2588" y="572"/>
                    </a:lnTo>
                    <a:lnTo>
                      <a:pt x="2591" y="574"/>
                    </a:lnTo>
                    <a:lnTo>
                      <a:pt x="2592" y="577"/>
                    </a:lnTo>
                    <a:lnTo>
                      <a:pt x="2593" y="581"/>
                    </a:lnTo>
                    <a:lnTo>
                      <a:pt x="2593" y="584"/>
                    </a:lnTo>
                    <a:lnTo>
                      <a:pt x="2593" y="587"/>
                    </a:lnTo>
                    <a:lnTo>
                      <a:pt x="2596" y="593"/>
                    </a:lnTo>
                    <a:lnTo>
                      <a:pt x="2602" y="595"/>
                    </a:lnTo>
                    <a:lnTo>
                      <a:pt x="2609" y="597"/>
                    </a:lnTo>
                    <a:lnTo>
                      <a:pt x="2615" y="598"/>
                    </a:lnTo>
                    <a:lnTo>
                      <a:pt x="2621" y="603"/>
                    </a:lnTo>
                    <a:lnTo>
                      <a:pt x="2626" y="607"/>
                    </a:lnTo>
                    <a:lnTo>
                      <a:pt x="2632" y="610"/>
                    </a:lnTo>
                    <a:lnTo>
                      <a:pt x="2638" y="604"/>
                    </a:lnTo>
                    <a:lnTo>
                      <a:pt x="2638" y="607"/>
                    </a:lnTo>
                    <a:lnTo>
                      <a:pt x="2638" y="610"/>
                    </a:lnTo>
                    <a:lnTo>
                      <a:pt x="2638" y="611"/>
                    </a:lnTo>
                    <a:lnTo>
                      <a:pt x="2639" y="613"/>
                    </a:lnTo>
                    <a:lnTo>
                      <a:pt x="2641" y="613"/>
                    </a:lnTo>
                    <a:lnTo>
                      <a:pt x="2644" y="613"/>
                    </a:lnTo>
                    <a:lnTo>
                      <a:pt x="2645" y="611"/>
                    </a:lnTo>
                    <a:lnTo>
                      <a:pt x="2645" y="610"/>
                    </a:lnTo>
                    <a:lnTo>
                      <a:pt x="2645" y="607"/>
                    </a:lnTo>
                    <a:lnTo>
                      <a:pt x="2645" y="605"/>
                    </a:lnTo>
                    <a:lnTo>
                      <a:pt x="2647" y="605"/>
                    </a:lnTo>
                    <a:lnTo>
                      <a:pt x="2647" y="605"/>
                    </a:lnTo>
                    <a:lnTo>
                      <a:pt x="2648" y="607"/>
                    </a:lnTo>
                    <a:lnTo>
                      <a:pt x="2648" y="607"/>
                    </a:lnTo>
                    <a:lnTo>
                      <a:pt x="2648" y="608"/>
                    </a:lnTo>
                    <a:lnTo>
                      <a:pt x="2649" y="608"/>
                    </a:lnTo>
                    <a:lnTo>
                      <a:pt x="2651" y="608"/>
                    </a:lnTo>
                    <a:lnTo>
                      <a:pt x="2652" y="608"/>
                    </a:lnTo>
                    <a:lnTo>
                      <a:pt x="2654" y="608"/>
                    </a:lnTo>
                    <a:lnTo>
                      <a:pt x="2654" y="607"/>
                    </a:lnTo>
                    <a:lnTo>
                      <a:pt x="2654" y="605"/>
                    </a:lnTo>
                    <a:lnTo>
                      <a:pt x="2652" y="604"/>
                    </a:lnTo>
                    <a:lnTo>
                      <a:pt x="2651" y="604"/>
                    </a:lnTo>
                    <a:lnTo>
                      <a:pt x="2649" y="603"/>
                    </a:lnTo>
                    <a:lnTo>
                      <a:pt x="2647" y="603"/>
                    </a:lnTo>
                    <a:lnTo>
                      <a:pt x="2647" y="601"/>
                    </a:lnTo>
                    <a:lnTo>
                      <a:pt x="2645" y="600"/>
                    </a:lnTo>
                    <a:lnTo>
                      <a:pt x="2645" y="600"/>
                    </a:lnTo>
                    <a:lnTo>
                      <a:pt x="2645" y="598"/>
                    </a:lnTo>
                    <a:lnTo>
                      <a:pt x="2647" y="597"/>
                    </a:lnTo>
                    <a:lnTo>
                      <a:pt x="2647" y="597"/>
                    </a:lnTo>
                    <a:lnTo>
                      <a:pt x="2647" y="597"/>
                    </a:lnTo>
                    <a:lnTo>
                      <a:pt x="2647" y="595"/>
                    </a:lnTo>
                    <a:lnTo>
                      <a:pt x="2645" y="595"/>
                    </a:lnTo>
                    <a:lnTo>
                      <a:pt x="2644" y="594"/>
                    </a:lnTo>
                    <a:lnTo>
                      <a:pt x="2644" y="595"/>
                    </a:lnTo>
                    <a:lnTo>
                      <a:pt x="2642" y="595"/>
                    </a:lnTo>
                    <a:lnTo>
                      <a:pt x="2644" y="593"/>
                    </a:lnTo>
                    <a:lnTo>
                      <a:pt x="2652" y="591"/>
                    </a:lnTo>
                    <a:lnTo>
                      <a:pt x="2655" y="590"/>
                    </a:lnTo>
                    <a:lnTo>
                      <a:pt x="2657" y="588"/>
                    </a:lnTo>
                    <a:lnTo>
                      <a:pt x="2658" y="585"/>
                    </a:lnTo>
                    <a:lnTo>
                      <a:pt x="2658" y="584"/>
                    </a:lnTo>
                    <a:lnTo>
                      <a:pt x="2657" y="582"/>
                    </a:lnTo>
                    <a:lnTo>
                      <a:pt x="2655" y="581"/>
                    </a:lnTo>
                    <a:lnTo>
                      <a:pt x="2654" y="581"/>
                    </a:lnTo>
                    <a:lnTo>
                      <a:pt x="2651" y="581"/>
                    </a:lnTo>
                    <a:lnTo>
                      <a:pt x="2649" y="580"/>
                    </a:lnTo>
                    <a:lnTo>
                      <a:pt x="2654" y="580"/>
                    </a:lnTo>
                    <a:lnTo>
                      <a:pt x="2655" y="578"/>
                    </a:lnTo>
                    <a:lnTo>
                      <a:pt x="2657" y="577"/>
                    </a:lnTo>
                    <a:lnTo>
                      <a:pt x="2658" y="575"/>
                    </a:lnTo>
                    <a:lnTo>
                      <a:pt x="2658" y="574"/>
                    </a:lnTo>
                    <a:lnTo>
                      <a:pt x="2657" y="572"/>
                    </a:lnTo>
                    <a:lnTo>
                      <a:pt x="2654" y="572"/>
                    </a:lnTo>
                    <a:lnTo>
                      <a:pt x="2655" y="571"/>
                    </a:lnTo>
                    <a:lnTo>
                      <a:pt x="2652" y="568"/>
                    </a:lnTo>
                    <a:lnTo>
                      <a:pt x="2649" y="565"/>
                    </a:lnTo>
                    <a:lnTo>
                      <a:pt x="2648" y="564"/>
                    </a:lnTo>
                    <a:lnTo>
                      <a:pt x="2651" y="564"/>
                    </a:lnTo>
                    <a:lnTo>
                      <a:pt x="2654" y="565"/>
                    </a:lnTo>
                    <a:lnTo>
                      <a:pt x="2655" y="567"/>
                    </a:lnTo>
                    <a:lnTo>
                      <a:pt x="2658" y="568"/>
                    </a:lnTo>
                    <a:lnTo>
                      <a:pt x="2659" y="568"/>
                    </a:lnTo>
                    <a:lnTo>
                      <a:pt x="2662" y="570"/>
                    </a:lnTo>
                    <a:lnTo>
                      <a:pt x="2662" y="570"/>
                    </a:lnTo>
                    <a:lnTo>
                      <a:pt x="2662" y="570"/>
                    </a:lnTo>
                    <a:lnTo>
                      <a:pt x="2662" y="571"/>
                    </a:lnTo>
                    <a:lnTo>
                      <a:pt x="2662" y="571"/>
                    </a:lnTo>
                    <a:lnTo>
                      <a:pt x="2664" y="571"/>
                    </a:lnTo>
                    <a:lnTo>
                      <a:pt x="2668" y="570"/>
                    </a:lnTo>
                    <a:lnTo>
                      <a:pt x="2671" y="570"/>
                    </a:lnTo>
                    <a:lnTo>
                      <a:pt x="2675" y="571"/>
                    </a:lnTo>
                    <a:lnTo>
                      <a:pt x="2677" y="570"/>
                    </a:lnTo>
                    <a:lnTo>
                      <a:pt x="2677" y="567"/>
                    </a:lnTo>
                    <a:lnTo>
                      <a:pt x="2672" y="562"/>
                    </a:lnTo>
                    <a:lnTo>
                      <a:pt x="2671" y="559"/>
                    </a:lnTo>
                    <a:lnTo>
                      <a:pt x="2672" y="559"/>
                    </a:lnTo>
                    <a:lnTo>
                      <a:pt x="2675" y="561"/>
                    </a:lnTo>
                    <a:lnTo>
                      <a:pt x="2678" y="564"/>
                    </a:lnTo>
                    <a:lnTo>
                      <a:pt x="2681" y="567"/>
                    </a:lnTo>
                    <a:lnTo>
                      <a:pt x="2685" y="567"/>
                    </a:lnTo>
                    <a:lnTo>
                      <a:pt x="2687" y="564"/>
                    </a:lnTo>
                    <a:lnTo>
                      <a:pt x="2688" y="558"/>
                    </a:lnTo>
                    <a:lnTo>
                      <a:pt x="2690" y="555"/>
                    </a:lnTo>
                    <a:lnTo>
                      <a:pt x="2691" y="554"/>
                    </a:lnTo>
                    <a:lnTo>
                      <a:pt x="2693" y="552"/>
                    </a:lnTo>
                    <a:lnTo>
                      <a:pt x="2694" y="551"/>
                    </a:lnTo>
                    <a:lnTo>
                      <a:pt x="2695" y="551"/>
                    </a:lnTo>
                    <a:lnTo>
                      <a:pt x="2697" y="551"/>
                    </a:lnTo>
                    <a:lnTo>
                      <a:pt x="2698" y="552"/>
                    </a:lnTo>
                    <a:lnTo>
                      <a:pt x="2700" y="552"/>
                    </a:lnTo>
                    <a:lnTo>
                      <a:pt x="2701" y="551"/>
                    </a:lnTo>
                    <a:lnTo>
                      <a:pt x="2701" y="549"/>
                    </a:lnTo>
                    <a:lnTo>
                      <a:pt x="2701" y="548"/>
                    </a:lnTo>
                    <a:close/>
                    <a:moveTo>
                      <a:pt x="1924" y="1139"/>
                    </a:moveTo>
                    <a:lnTo>
                      <a:pt x="1924" y="1140"/>
                    </a:lnTo>
                    <a:lnTo>
                      <a:pt x="1923" y="1140"/>
                    </a:lnTo>
                    <a:lnTo>
                      <a:pt x="1924" y="1140"/>
                    </a:lnTo>
                    <a:lnTo>
                      <a:pt x="1924" y="1139"/>
                    </a:lnTo>
                    <a:lnTo>
                      <a:pt x="1924" y="1139"/>
                    </a:lnTo>
                    <a:lnTo>
                      <a:pt x="1924" y="1139"/>
                    </a:lnTo>
                    <a:lnTo>
                      <a:pt x="1924" y="1139"/>
                    </a:lnTo>
                    <a:close/>
                    <a:moveTo>
                      <a:pt x="288" y="400"/>
                    </a:moveTo>
                    <a:lnTo>
                      <a:pt x="290" y="398"/>
                    </a:lnTo>
                    <a:lnTo>
                      <a:pt x="290" y="397"/>
                    </a:lnTo>
                    <a:lnTo>
                      <a:pt x="290" y="397"/>
                    </a:lnTo>
                    <a:lnTo>
                      <a:pt x="290" y="396"/>
                    </a:lnTo>
                    <a:lnTo>
                      <a:pt x="288" y="394"/>
                    </a:lnTo>
                    <a:lnTo>
                      <a:pt x="286" y="391"/>
                    </a:lnTo>
                    <a:lnTo>
                      <a:pt x="284" y="391"/>
                    </a:lnTo>
                    <a:lnTo>
                      <a:pt x="283" y="391"/>
                    </a:lnTo>
                    <a:lnTo>
                      <a:pt x="281" y="391"/>
                    </a:lnTo>
                    <a:lnTo>
                      <a:pt x="278" y="391"/>
                    </a:lnTo>
                    <a:lnTo>
                      <a:pt x="276" y="391"/>
                    </a:lnTo>
                    <a:lnTo>
                      <a:pt x="274" y="393"/>
                    </a:lnTo>
                    <a:lnTo>
                      <a:pt x="276" y="394"/>
                    </a:lnTo>
                    <a:lnTo>
                      <a:pt x="278" y="396"/>
                    </a:lnTo>
                    <a:lnTo>
                      <a:pt x="280" y="396"/>
                    </a:lnTo>
                    <a:lnTo>
                      <a:pt x="283" y="397"/>
                    </a:lnTo>
                    <a:lnTo>
                      <a:pt x="284" y="398"/>
                    </a:lnTo>
                    <a:lnTo>
                      <a:pt x="286" y="401"/>
                    </a:lnTo>
                    <a:lnTo>
                      <a:pt x="287" y="403"/>
                    </a:lnTo>
                    <a:lnTo>
                      <a:pt x="290" y="403"/>
                    </a:lnTo>
                    <a:lnTo>
                      <a:pt x="288" y="403"/>
                    </a:lnTo>
                    <a:lnTo>
                      <a:pt x="288" y="401"/>
                    </a:lnTo>
                    <a:lnTo>
                      <a:pt x="288" y="401"/>
                    </a:lnTo>
                    <a:lnTo>
                      <a:pt x="288" y="400"/>
                    </a:lnTo>
                    <a:close/>
                    <a:moveTo>
                      <a:pt x="1921" y="1139"/>
                    </a:moveTo>
                    <a:lnTo>
                      <a:pt x="1921" y="1139"/>
                    </a:lnTo>
                    <a:lnTo>
                      <a:pt x="1920" y="1139"/>
                    </a:lnTo>
                    <a:lnTo>
                      <a:pt x="1921" y="1139"/>
                    </a:lnTo>
                    <a:lnTo>
                      <a:pt x="1921" y="1140"/>
                    </a:lnTo>
                    <a:lnTo>
                      <a:pt x="1921" y="1140"/>
                    </a:lnTo>
                    <a:lnTo>
                      <a:pt x="1921" y="1140"/>
                    </a:lnTo>
                    <a:lnTo>
                      <a:pt x="1921" y="1139"/>
                    </a:lnTo>
                    <a:lnTo>
                      <a:pt x="1921" y="1139"/>
                    </a:lnTo>
                    <a:close/>
                    <a:moveTo>
                      <a:pt x="1898" y="1011"/>
                    </a:moveTo>
                    <a:lnTo>
                      <a:pt x="1895" y="1008"/>
                    </a:lnTo>
                    <a:lnTo>
                      <a:pt x="1894" y="1005"/>
                    </a:lnTo>
                    <a:lnTo>
                      <a:pt x="1893" y="1001"/>
                    </a:lnTo>
                    <a:lnTo>
                      <a:pt x="1874" y="932"/>
                    </a:lnTo>
                    <a:lnTo>
                      <a:pt x="1872" y="929"/>
                    </a:lnTo>
                    <a:lnTo>
                      <a:pt x="1872" y="925"/>
                    </a:lnTo>
                    <a:lnTo>
                      <a:pt x="1874" y="922"/>
                    </a:lnTo>
                    <a:lnTo>
                      <a:pt x="1875" y="919"/>
                    </a:lnTo>
                    <a:lnTo>
                      <a:pt x="1875" y="914"/>
                    </a:lnTo>
                    <a:lnTo>
                      <a:pt x="1875" y="910"/>
                    </a:lnTo>
                    <a:lnTo>
                      <a:pt x="1875" y="906"/>
                    </a:lnTo>
                    <a:lnTo>
                      <a:pt x="1875" y="902"/>
                    </a:lnTo>
                    <a:lnTo>
                      <a:pt x="1874" y="899"/>
                    </a:lnTo>
                    <a:lnTo>
                      <a:pt x="1870" y="890"/>
                    </a:lnTo>
                    <a:lnTo>
                      <a:pt x="1868" y="886"/>
                    </a:lnTo>
                    <a:lnTo>
                      <a:pt x="1870" y="879"/>
                    </a:lnTo>
                    <a:lnTo>
                      <a:pt x="1868" y="874"/>
                    </a:lnTo>
                    <a:lnTo>
                      <a:pt x="1865" y="873"/>
                    </a:lnTo>
                    <a:lnTo>
                      <a:pt x="1864" y="874"/>
                    </a:lnTo>
                    <a:lnTo>
                      <a:pt x="1862" y="876"/>
                    </a:lnTo>
                    <a:lnTo>
                      <a:pt x="1861" y="876"/>
                    </a:lnTo>
                    <a:lnTo>
                      <a:pt x="1858" y="876"/>
                    </a:lnTo>
                    <a:lnTo>
                      <a:pt x="1862" y="880"/>
                    </a:lnTo>
                    <a:lnTo>
                      <a:pt x="1864" y="883"/>
                    </a:lnTo>
                    <a:lnTo>
                      <a:pt x="1865" y="886"/>
                    </a:lnTo>
                    <a:lnTo>
                      <a:pt x="1864" y="889"/>
                    </a:lnTo>
                    <a:lnTo>
                      <a:pt x="1864" y="889"/>
                    </a:lnTo>
                    <a:lnTo>
                      <a:pt x="1864" y="890"/>
                    </a:lnTo>
                    <a:lnTo>
                      <a:pt x="1862" y="890"/>
                    </a:lnTo>
                    <a:lnTo>
                      <a:pt x="1862" y="891"/>
                    </a:lnTo>
                    <a:lnTo>
                      <a:pt x="1862" y="891"/>
                    </a:lnTo>
                    <a:lnTo>
                      <a:pt x="1862" y="893"/>
                    </a:lnTo>
                    <a:lnTo>
                      <a:pt x="1862" y="894"/>
                    </a:lnTo>
                    <a:lnTo>
                      <a:pt x="1861" y="896"/>
                    </a:lnTo>
                    <a:lnTo>
                      <a:pt x="1861" y="896"/>
                    </a:lnTo>
                    <a:lnTo>
                      <a:pt x="1860" y="896"/>
                    </a:lnTo>
                    <a:lnTo>
                      <a:pt x="1860" y="896"/>
                    </a:lnTo>
                    <a:lnTo>
                      <a:pt x="1858" y="896"/>
                    </a:lnTo>
                    <a:lnTo>
                      <a:pt x="1855" y="896"/>
                    </a:lnTo>
                    <a:lnTo>
                      <a:pt x="1854" y="894"/>
                    </a:lnTo>
                    <a:lnTo>
                      <a:pt x="1852" y="894"/>
                    </a:lnTo>
                    <a:lnTo>
                      <a:pt x="1850" y="897"/>
                    </a:lnTo>
                    <a:lnTo>
                      <a:pt x="1850" y="899"/>
                    </a:lnTo>
                    <a:lnTo>
                      <a:pt x="1850" y="902"/>
                    </a:lnTo>
                    <a:lnTo>
                      <a:pt x="1850" y="906"/>
                    </a:lnTo>
                    <a:lnTo>
                      <a:pt x="1850" y="910"/>
                    </a:lnTo>
                    <a:lnTo>
                      <a:pt x="1850" y="913"/>
                    </a:lnTo>
                    <a:lnTo>
                      <a:pt x="1850" y="916"/>
                    </a:lnTo>
                    <a:lnTo>
                      <a:pt x="1847" y="923"/>
                    </a:lnTo>
                    <a:lnTo>
                      <a:pt x="1847" y="926"/>
                    </a:lnTo>
                    <a:lnTo>
                      <a:pt x="1847" y="930"/>
                    </a:lnTo>
                    <a:lnTo>
                      <a:pt x="1847" y="932"/>
                    </a:lnTo>
                    <a:lnTo>
                      <a:pt x="1848" y="935"/>
                    </a:lnTo>
                    <a:lnTo>
                      <a:pt x="1848" y="936"/>
                    </a:lnTo>
                    <a:lnTo>
                      <a:pt x="1848" y="937"/>
                    </a:lnTo>
                    <a:lnTo>
                      <a:pt x="1852" y="943"/>
                    </a:lnTo>
                    <a:lnTo>
                      <a:pt x="1854" y="946"/>
                    </a:lnTo>
                    <a:lnTo>
                      <a:pt x="1855" y="949"/>
                    </a:lnTo>
                    <a:lnTo>
                      <a:pt x="1855" y="953"/>
                    </a:lnTo>
                    <a:lnTo>
                      <a:pt x="1855" y="956"/>
                    </a:lnTo>
                    <a:lnTo>
                      <a:pt x="1854" y="963"/>
                    </a:lnTo>
                    <a:lnTo>
                      <a:pt x="1854" y="968"/>
                    </a:lnTo>
                    <a:lnTo>
                      <a:pt x="1855" y="982"/>
                    </a:lnTo>
                    <a:lnTo>
                      <a:pt x="1855" y="991"/>
                    </a:lnTo>
                    <a:lnTo>
                      <a:pt x="1854" y="999"/>
                    </a:lnTo>
                    <a:lnTo>
                      <a:pt x="1851" y="1014"/>
                    </a:lnTo>
                    <a:lnTo>
                      <a:pt x="1851" y="1017"/>
                    </a:lnTo>
                    <a:lnTo>
                      <a:pt x="1852" y="1019"/>
                    </a:lnTo>
                    <a:lnTo>
                      <a:pt x="1854" y="1022"/>
                    </a:lnTo>
                    <a:lnTo>
                      <a:pt x="1855" y="1027"/>
                    </a:lnTo>
                    <a:lnTo>
                      <a:pt x="1855" y="1031"/>
                    </a:lnTo>
                    <a:lnTo>
                      <a:pt x="1855" y="1034"/>
                    </a:lnTo>
                    <a:lnTo>
                      <a:pt x="1852" y="1041"/>
                    </a:lnTo>
                    <a:lnTo>
                      <a:pt x="1852" y="1044"/>
                    </a:lnTo>
                    <a:lnTo>
                      <a:pt x="1852" y="1047"/>
                    </a:lnTo>
                    <a:lnTo>
                      <a:pt x="1852" y="1054"/>
                    </a:lnTo>
                    <a:lnTo>
                      <a:pt x="1852" y="1058"/>
                    </a:lnTo>
                    <a:lnTo>
                      <a:pt x="1850" y="1065"/>
                    </a:lnTo>
                    <a:lnTo>
                      <a:pt x="1850" y="1070"/>
                    </a:lnTo>
                    <a:lnTo>
                      <a:pt x="1850" y="1074"/>
                    </a:lnTo>
                    <a:lnTo>
                      <a:pt x="1851" y="1078"/>
                    </a:lnTo>
                    <a:lnTo>
                      <a:pt x="1854" y="1083"/>
                    </a:lnTo>
                    <a:lnTo>
                      <a:pt x="1855" y="1077"/>
                    </a:lnTo>
                    <a:lnTo>
                      <a:pt x="1858" y="1071"/>
                    </a:lnTo>
                    <a:lnTo>
                      <a:pt x="1861" y="1065"/>
                    </a:lnTo>
                    <a:lnTo>
                      <a:pt x="1865" y="1064"/>
                    </a:lnTo>
                    <a:lnTo>
                      <a:pt x="1865" y="1064"/>
                    </a:lnTo>
                    <a:lnTo>
                      <a:pt x="1867" y="1065"/>
                    </a:lnTo>
                    <a:lnTo>
                      <a:pt x="1867" y="1067"/>
                    </a:lnTo>
                    <a:lnTo>
                      <a:pt x="1870" y="1067"/>
                    </a:lnTo>
                    <a:lnTo>
                      <a:pt x="1872" y="1067"/>
                    </a:lnTo>
                    <a:lnTo>
                      <a:pt x="1874" y="1067"/>
                    </a:lnTo>
                    <a:lnTo>
                      <a:pt x="1877" y="1070"/>
                    </a:lnTo>
                    <a:lnTo>
                      <a:pt x="1877" y="1073"/>
                    </a:lnTo>
                    <a:lnTo>
                      <a:pt x="1878" y="1080"/>
                    </a:lnTo>
                    <a:lnTo>
                      <a:pt x="1878" y="1078"/>
                    </a:lnTo>
                    <a:lnTo>
                      <a:pt x="1880" y="1075"/>
                    </a:lnTo>
                    <a:lnTo>
                      <a:pt x="1880" y="1073"/>
                    </a:lnTo>
                    <a:lnTo>
                      <a:pt x="1880" y="1071"/>
                    </a:lnTo>
                    <a:lnTo>
                      <a:pt x="1880" y="1070"/>
                    </a:lnTo>
                    <a:lnTo>
                      <a:pt x="1880" y="1067"/>
                    </a:lnTo>
                    <a:lnTo>
                      <a:pt x="1880" y="1065"/>
                    </a:lnTo>
                    <a:lnTo>
                      <a:pt x="1878" y="1064"/>
                    </a:lnTo>
                    <a:lnTo>
                      <a:pt x="1878" y="1063"/>
                    </a:lnTo>
                    <a:lnTo>
                      <a:pt x="1877" y="1063"/>
                    </a:lnTo>
                    <a:lnTo>
                      <a:pt x="1877" y="1063"/>
                    </a:lnTo>
                    <a:lnTo>
                      <a:pt x="1875" y="1061"/>
                    </a:lnTo>
                    <a:lnTo>
                      <a:pt x="1875" y="1061"/>
                    </a:lnTo>
                    <a:lnTo>
                      <a:pt x="1874" y="1061"/>
                    </a:lnTo>
                    <a:lnTo>
                      <a:pt x="1874" y="1061"/>
                    </a:lnTo>
                    <a:lnTo>
                      <a:pt x="1874" y="1061"/>
                    </a:lnTo>
                    <a:lnTo>
                      <a:pt x="1872" y="1061"/>
                    </a:lnTo>
                    <a:lnTo>
                      <a:pt x="1872" y="1060"/>
                    </a:lnTo>
                    <a:lnTo>
                      <a:pt x="1870" y="1051"/>
                    </a:lnTo>
                    <a:lnTo>
                      <a:pt x="1868" y="1050"/>
                    </a:lnTo>
                    <a:lnTo>
                      <a:pt x="1865" y="1047"/>
                    </a:lnTo>
                    <a:lnTo>
                      <a:pt x="1864" y="1045"/>
                    </a:lnTo>
                    <a:lnTo>
                      <a:pt x="1862" y="1038"/>
                    </a:lnTo>
                    <a:lnTo>
                      <a:pt x="1862" y="1032"/>
                    </a:lnTo>
                    <a:lnTo>
                      <a:pt x="1871" y="1008"/>
                    </a:lnTo>
                    <a:lnTo>
                      <a:pt x="1874" y="1004"/>
                    </a:lnTo>
                    <a:lnTo>
                      <a:pt x="1881" y="1001"/>
                    </a:lnTo>
                    <a:lnTo>
                      <a:pt x="1885" y="1002"/>
                    </a:lnTo>
                    <a:lnTo>
                      <a:pt x="1888" y="1002"/>
                    </a:lnTo>
                    <a:lnTo>
                      <a:pt x="1890" y="1005"/>
                    </a:lnTo>
                    <a:lnTo>
                      <a:pt x="1897" y="1011"/>
                    </a:lnTo>
                    <a:lnTo>
                      <a:pt x="1897" y="1012"/>
                    </a:lnTo>
                    <a:lnTo>
                      <a:pt x="1898" y="1014"/>
                    </a:lnTo>
                    <a:lnTo>
                      <a:pt x="1900" y="1017"/>
                    </a:lnTo>
                    <a:lnTo>
                      <a:pt x="1900" y="1018"/>
                    </a:lnTo>
                    <a:lnTo>
                      <a:pt x="1900" y="1014"/>
                    </a:lnTo>
                    <a:lnTo>
                      <a:pt x="1898" y="101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63" name="Freeform 167">
                <a:extLst>
                  <a:ext uri="{FF2B5EF4-FFF2-40B4-BE49-F238E27FC236}">
                    <a16:creationId xmlns:a16="http://schemas.microsoft.com/office/drawing/2014/main" id="{145DADF4-AF11-6D08-229D-1424C2C322EC}"/>
                  </a:ext>
                </a:extLst>
              </p:cNvPr>
              <p:cNvSpPr>
                <a:spLocks noEditPoints="1"/>
              </p:cNvSpPr>
              <p:nvPr/>
            </p:nvSpPr>
            <p:spPr bwMode="auto">
              <a:xfrm>
                <a:off x="8047648" y="3960602"/>
                <a:ext cx="935536" cy="428004"/>
              </a:xfrm>
              <a:custGeom>
                <a:avLst/>
                <a:gdLst>
                  <a:gd name="T0" fmla="*/ 358 w 647"/>
                  <a:gd name="T1" fmla="*/ 259 h 296"/>
                  <a:gd name="T2" fmla="*/ 500 w 647"/>
                  <a:gd name="T3" fmla="*/ 285 h 296"/>
                  <a:gd name="T4" fmla="*/ 588 w 647"/>
                  <a:gd name="T5" fmla="*/ 59 h 296"/>
                  <a:gd name="T6" fmla="*/ 553 w 647"/>
                  <a:gd name="T7" fmla="*/ 33 h 296"/>
                  <a:gd name="T8" fmla="*/ 125 w 647"/>
                  <a:gd name="T9" fmla="*/ 85 h 296"/>
                  <a:gd name="T10" fmla="*/ 154 w 647"/>
                  <a:gd name="T11" fmla="*/ 85 h 296"/>
                  <a:gd name="T12" fmla="*/ 158 w 647"/>
                  <a:gd name="T13" fmla="*/ 88 h 296"/>
                  <a:gd name="T14" fmla="*/ 166 w 647"/>
                  <a:gd name="T15" fmla="*/ 102 h 296"/>
                  <a:gd name="T16" fmla="*/ 170 w 647"/>
                  <a:gd name="T17" fmla="*/ 109 h 296"/>
                  <a:gd name="T18" fmla="*/ 227 w 647"/>
                  <a:gd name="T19" fmla="*/ 37 h 296"/>
                  <a:gd name="T20" fmla="*/ 42 w 647"/>
                  <a:gd name="T21" fmla="*/ 88 h 296"/>
                  <a:gd name="T22" fmla="*/ 588 w 647"/>
                  <a:gd name="T23" fmla="*/ 167 h 296"/>
                  <a:gd name="T24" fmla="*/ 638 w 647"/>
                  <a:gd name="T25" fmla="*/ 231 h 296"/>
                  <a:gd name="T26" fmla="*/ 576 w 647"/>
                  <a:gd name="T27" fmla="*/ 129 h 296"/>
                  <a:gd name="T28" fmla="*/ 584 w 647"/>
                  <a:gd name="T29" fmla="*/ 165 h 296"/>
                  <a:gd name="T30" fmla="*/ 581 w 647"/>
                  <a:gd name="T31" fmla="*/ 82 h 296"/>
                  <a:gd name="T32" fmla="*/ 569 w 647"/>
                  <a:gd name="T33" fmla="*/ 93 h 296"/>
                  <a:gd name="T34" fmla="*/ 575 w 647"/>
                  <a:gd name="T35" fmla="*/ 116 h 296"/>
                  <a:gd name="T36" fmla="*/ 627 w 647"/>
                  <a:gd name="T37" fmla="*/ 171 h 296"/>
                  <a:gd name="T38" fmla="*/ 566 w 647"/>
                  <a:gd name="T39" fmla="*/ 92 h 296"/>
                  <a:gd name="T40" fmla="*/ 645 w 647"/>
                  <a:gd name="T41" fmla="*/ 230 h 296"/>
                  <a:gd name="T42" fmla="*/ 556 w 647"/>
                  <a:gd name="T43" fmla="*/ 158 h 296"/>
                  <a:gd name="T44" fmla="*/ 539 w 647"/>
                  <a:gd name="T45" fmla="*/ 242 h 296"/>
                  <a:gd name="T46" fmla="*/ 500 w 647"/>
                  <a:gd name="T47" fmla="*/ 134 h 296"/>
                  <a:gd name="T48" fmla="*/ 499 w 647"/>
                  <a:gd name="T49" fmla="*/ 127 h 296"/>
                  <a:gd name="T50" fmla="*/ 515 w 647"/>
                  <a:gd name="T51" fmla="*/ 138 h 296"/>
                  <a:gd name="T52" fmla="*/ 487 w 647"/>
                  <a:gd name="T53" fmla="*/ 185 h 296"/>
                  <a:gd name="T54" fmla="*/ 466 w 647"/>
                  <a:gd name="T55" fmla="*/ 112 h 296"/>
                  <a:gd name="T56" fmla="*/ 486 w 647"/>
                  <a:gd name="T57" fmla="*/ 247 h 296"/>
                  <a:gd name="T58" fmla="*/ 454 w 647"/>
                  <a:gd name="T59" fmla="*/ 262 h 296"/>
                  <a:gd name="T60" fmla="*/ 417 w 647"/>
                  <a:gd name="T61" fmla="*/ 157 h 296"/>
                  <a:gd name="T62" fmla="*/ 441 w 647"/>
                  <a:gd name="T63" fmla="*/ 157 h 296"/>
                  <a:gd name="T64" fmla="*/ 482 w 647"/>
                  <a:gd name="T65" fmla="*/ 171 h 296"/>
                  <a:gd name="T66" fmla="*/ 497 w 647"/>
                  <a:gd name="T67" fmla="*/ 116 h 296"/>
                  <a:gd name="T68" fmla="*/ 440 w 647"/>
                  <a:gd name="T69" fmla="*/ 116 h 296"/>
                  <a:gd name="T70" fmla="*/ 487 w 647"/>
                  <a:gd name="T71" fmla="*/ 89 h 296"/>
                  <a:gd name="T72" fmla="*/ 433 w 647"/>
                  <a:gd name="T73" fmla="*/ 118 h 296"/>
                  <a:gd name="T74" fmla="*/ 382 w 647"/>
                  <a:gd name="T75" fmla="*/ 254 h 296"/>
                  <a:gd name="T76" fmla="*/ 449 w 647"/>
                  <a:gd name="T77" fmla="*/ 230 h 296"/>
                  <a:gd name="T78" fmla="*/ 427 w 647"/>
                  <a:gd name="T79" fmla="*/ 253 h 296"/>
                  <a:gd name="T80" fmla="*/ 247 w 647"/>
                  <a:gd name="T81" fmla="*/ 73 h 296"/>
                  <a:gd name="T82" fmla="*/ 342 w 647"/>
                  <a:gd name="T83" fmla="*/ 73 h 296"/>
                  <a:gd name="T84" fmla="*/ 395 w 647"/>
                  <a:gd name="T85" fmla="*/ 35 h 296"/>
                  <a:gd name="T86" fmla="*/ 400 w 647"/>
                  <a:gd name="T87" fmla="*/ 69 h 296"/>
                  <a:gd name="T88" fmla="*/ 378 w 647"/>
                  <a:gd name="T89" fmla="*/ 128 h 296"/>
                  <a:gd name="T90" fmla="*/ 339 w 647"/>
                  <a:gd name="T91" fmla="*/ 164 h 296"/>
                  <a:gd name="T92" fmla="*/ 292 w 647"/>
                  <a:gd name="T93" fmla="*/ 157 h 296"/>
                  <a:gd name="T94" fmla="*/ 246 w 647"/>
                  <a:gd name="T95" fmla="*/ 106 h 296"/>
                  <a:gd name="T96" fmla="*/ 203 w 647"/>
                  <a:gd name="T97" fmla="*/ 151 h 296"/>
                  <a:gd name="T98" fmla="*/ 187 w 647"/>
                  <a:gd name="T99" fmla="*/ 204 h 296"/>
                  <a:gd name="T100" fmla="*/ 164 w 647"/>
                  <a:gd name="T101" fmla="*/ 135 h 296"/>
                  <a:gd name="T102" fmla="*/ 127 w 647"/>
                  <a:gd name="T103" fmla="*/ 88 h 296"/>
                  <a:gd name="T104" fmla="*/ 54 w 647"/>
                  <a:gd name="T105" fmla="*/ 26 h 296"/>
                  <a:gd name="T106" fmla="*/ 54 w 647"/>
                  <a:gd name="T107" fmla="*/ 66 h 296"/>
                  <a:gd name="T108" fmla="*/ 206 w 647"/>
                  <a:gd name="T109" fmla="*/ 157 h 296"/>
                  <a:gd name="T110" fmla="*/ 174 w 647"/>
                  <a:gd name="T111" fmla="*/ 220 h 296"/>
                  <a:gd name="T112" fmla="*/ 301 w 647"/>
                  <a:gd name="T113" fmla="*/ 226 h 296"/>
                  <a:gd name="T114" fmla="*/ 193 w 647"/>
                  <a:gd name="T115" fmla="*/ 208 h 296"/>
                  <a:gd name="T116" fmla="*/ 258 w 647"/>
                  <a:gd name="T117" fmla="*/ 242 h 296"/>
                  <a:gd name="T118" fmla="*/ 87 w 647"/>
                  <a:gd name="T119" fmla="*/ 152 h 296"/>
                  <a:gd name="T120" fmla="*/ 348 w 647"/>
                  <a:gd name="T121" fmla="*/ 247 h 296"/>
                  <a:gd name="T122" fmla="*/ 250 w 647"/>
                  <a:gd name="T123" fmla="*/ 125 h 296"/>
                  <a:gd name="T124" fmla="*/ 352 w 647"/>
                  <a:gd name="T125" fmla="*/ 22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7" h="296">
                    <a:moveTo>
                      <a:pt x="2" y="2"/>
                    </a:moveTo>
                    <a:lnTo>
                      <a:pt x="0" y="0"/>
                    </a:lnTo>
                    <a:lnTo>
                      <a:pt x="2" y="0"/>
                    </a:lnTo>
                    <a:lnTo>
                      <a:pt x="2" y="0"/>
                    </a:lnTo>
                    <a:lnTo>
                      <a:pt x="3" y="0"/>
                    </a:lnTo>
                    <a:lnTo>
                      <a:pt x="3" y="0"/>
                    </a:lnTo>
                    <a:lnTo>
                      <a:pt x="3" y="2"/>
                    </a:lnTo>
                    <a:lnTo>
                      <a:pt x="2" y="2"/>
                    </a:lnTo>
                    <a:lnTo>
                      <a:pt x="2" y="2"/>
                    </a:lnTo>
                    <a:close/>
                    <a:moveTo>
                      <a:pt x="378" y="253"/>
                    </a:moveTo>
                    <a:lnTo>
                      <a:pt x="377" y="257"/>
                    </a:lnTo>
                    <a:lnTo>
                      <a:pt x="377" y="260"/>
                    </a:lnTo>
                    <a:lnTo>
                      <a:pt x="374" y="262"/>
                    </a:lnTo>
                    <a:lnTo>
                      <a:pt x="370" y="262"/>
                    </a:lnTo>
                    <a:lnTo>
                      <a:pt x="367" y="260"/>
                    </a:lnTo>
                    <a:lnTo>
                      <a:pt x="364" y="259"/>
                    </a:lnTo>
                    <a:lnTo>
                      <a:pt x="364" y="259"/>
                    </a:lnTo>
                    <a:lnTo>
                      <a:pt x="367" y="259"/>
                    </a:lnTo>
                    <a:lnTo>
                      <a:pt x="367" y="259"/>
                    </a:lnTo>
                    <a:lnTo>
                      <a:pt x="367" y="257"/>
                    </a:lnTo>
                    <a:lnTo>
                      <a:pt x="368" y="257"/>
                    </a:lnTo>
                    <a:lnTo>
                      <a:pt x="367" y="256"/>
                    </a:lnTo>
                    <a:lnTo>
                      <a:pt x="368" y="254"/>
                    </a:lnTo>
                    <a:lnTo>
                      <a:pt x="368" y="253"/>
                    </a:lnTo>
                    <a:lnTo>
                      <a:pt x="368" y="252"/>
                    </a:lnTo>
                    <a:lnTo>
                      <a:pt x="370" y="250"/>
                    </a:lnTo>
                    <a:lnTo>
                      <a:pt x="371" y="250"/>
                    </a:lnTo>
                    <a:lnTo>
                      <a:pt x="371" y="249"/>
                    </a:lnTo>
                    <a:lnTo>
                      <a:pt x="372" y="249"/>
                    </a:lnTo>
                    <a:lnTo>
                      <a:pt x="374" y="249"/>
                    </a:lnTo>
                    <a:lnTo>
                      <a:pt x="378" y="250"/>
                    </a:lnTo>
                    <a:lnTo>
                      <a:pt x="378" y="253"/>
                    </a:lnTo>
                    <a:close/>
                    <a:moveTo>
                      <a:pt x="357" y="257"/>
                    </a:moveTo>
                    <a:lnTo>
                      <a:pt x="358" y="257"/>
                    </a:lnTo>
                    <a:lnTo>
                      <a:pt x="358" y="259"/>
                    </a:lnTo>
                    <a:lnTo>
                      <a:pt x="358" y="259"/>
                    </a:lnTo>
                    <a:lnTo>
                      <a:pt x="360" y="259"/>
                    </a:lnTo>
                    <a:lnTo>
                      <a:pt x="360" y="257"/>
                    </a:lnTo>
                    <a:lnTo>
                      <a:pt x="360" y="257"/>
                    </a:lnTo>
                    <a:lnTo>
                      <a:pt x="358" y="257"/>
                    </a:lnTo>
                    <a:lnTo>
                      <a:pt x="357" y="257"/>
                    </a:lnTo>
                    <a:close/>
                    <a:moveTo>
                      <a:pt x="525" y="269"/>
                    </a:moveTo>
                    <a:lnTo>
                      <a:pt x="525" y="267"/>
                    </a:lnTo>
                    <a:lnTo>
                      <a:pt x="525" y="267"/>
                    </a:lnTo>
                    <a:lnTo>
                      <a:pt x="525" y="266"/>
                    </a:lnTo>
                    <a:lnTo>
                      <a:pt x="526" y="266"/>
                    </a:lnTo>
                    <a:lnTo>
                      <a:pt x="526" y="266"/>
                    </a:lnTo>
                    <a:lnTo>
                      <a:pt x="528" y="263"/>
                    </a:lnTo>
                    <a:lnTo>
                      <a:pt x="526" y="263"/>
                    </a:lnTo>
                    <a:lnTo>
                      <a:pt x="523" y="263"/>
                    </a:lnTo>
                    <a:lnTo>
                      <a:pt x="523" y="262"/>
                    </a:lnTo>
                    <a:lnTo>
                      <a:pt x="519" y="265"/>
                    </a:lnTo>
                    <a:lnTo>
                      <a:pt x="517" y="266"/>
                    </a:lnTo>
                    <a:lnTo>
                      <a:pt x="515" y="266"/>
                    </a:lnTo>
                    <a:lnTo>
                      <a:pt x="513" y="269"/>
                    </a:lnTo>
                    <a:lnTo>
                      <a:pt x="512" y="270"/>
                    </a:lnTo>
                    <a:lnTo>
                      <a:pt x="509" y="270"/>
                    </a:lnTo>
                    <a:lnTo>
                      <a:pt x="507" y="269"/>
                    </a:lnTo>
                    <a:lnTo>
                      <a:pt x="505" y="270"/>
                    </a:lnTo>
                    <a:lnTo>
                      <a:pt x="502" y="273"/>
                    </a:lnTo>
                    <a:lnTo>
                      <a:pt x="500" y="276"/>
                    </a:lnTo>
                    <a:lnTo>
                      <a:pt x="500" y="279"/>
                    </a:lnTo>
                    <a:lnTo>
                      <a:pt x="500" y="280"/>
                    </a:lnTo>
                    <a:lnTo>
                      <a:pt x="500" y="280"/>
                    </a:lnTo>
                    <a:lnTo>
                      <a:pt x="500" y="282"/>
                    </a:lnTo>
                    <a:lnTo>
                      <a:pt x="500" y="282"/>
                    </a:lnTo>
                    <a:lnTo>
                      <a:pt x="502" y="282"/>
                    </a:lnTo>
                    <a:lnTo>
                      <a:pt x="502" y="283"/>
                    </a:lnTo>
                    <a:lnTo>
                      <a:pt x="502" y="283"/>
                    </a:lnTo>
                    <a:lnTo>
                      <a:pt x="502" y="285"/>
                    </a:lnTo>
                    <a:lnTo>
                      <a:pt x="500" y="285"/>
                    </a:lnTo>
                    <a:lnTo>
                      <a:pt x="500" y="285"/>
                    </a:lnTo>
                    <a:lnTo>
                      <a:pt x="502" y="286"/>
                    </a:lnTo>
                    <a:lnTo>
                      <a:pt x="503" y="288"/>
                    </a:lnTo>
                    <a:lnTo>
                      <a:pt x="506" y="286"/>
                    </a:lnTo>
                    <a:lnTo>
                      <a:pt x="509" y="285"/>
                    </a:lnTo>
                    <a:lnTo>
                      <a:pt x="515" y="283"/>
                    </a:lnTo>
                    <a:lnTo>
                      <a:pt x="516" y="282"/>
                    </a:lnTo>
                    <a:lnTo>
                      <a:pt x="519" y="280"/>
                    </a:lnTo>
                    <a:lnTo>
                      <a:pt x="526" y="272"/>
                    </a:lnTo>
                    <a:lnTo>
                      <a:pt x="526" y="270"/>
                    </a:lnTo>
                    <a:lnTo>
                      <a:pt x="525" y="269"/>
                    </a:lnTo>
                    <a:close/>
                    <a:moveTo>
                      <a:pt x="497" y="285"/>
                    </a:moveTo>
                    <a:lnTo>
                      <a:pt x="495" y="286"/>
                    </a:lnTo>
                    <a:lnTo>
                      <a:pt x="496" y="285"/>
                    </a:lnTo>
                    <a:lnTo>
                      <a:pt x="496" y="283"/>
                    </a:lnTo>
                    <a:lnTo>
                      <a:pt x="497" y="283"/>
                    </a:lnTo>
                    <a:lnTo>
                      <a:pt x="497" y="285"/>
                    </a:lnTo>
                    <a:close/>
                    <a:moveTo>
                      <a:pt x="506" y="252"/>
                    </a:moveTo>
                    <a:lnTo>
                      <a:pt x="507" y="250"/>
                    </a:lnTo>
                    <a:lnTo>
                      <a:pt x="507" y="250"/>
                    </a:lnTo>
                    <a:lnTo>
                      <a:pt x="509" y="252"/>
                    </a:lnTo>
                    <a:lnTo>
                      <a:pt x="510" y="249"/>
                    </a:lnTo>
                    <a:lnTo>
                      <a:pt x="512" y="249"/>
                    </a:lnTo>
                    <a:lnTo>
                      <a:pt x="512" y="249"/>
                    </a:lnTo>
                    <a:lnTo>
                      <a:pt x="512" y="252"/>
                    </a:lnTo>
                    <a:lnTo>
                      <a:pt x="510" y="254"/>
                    </a:lnTo>
                    <a:lnTo>
                      <a:pt x="509" y="254"/>
                    </a:lnTo>
                    <a:lnTo>
                      <a:pt x="507" y="253"/>
                    </a:lnTo>
                    <a:lnTo>
                      <a:pt x="506" y="253"/>
                    </a:lnTo>
                    <a:lnTo>
                      <a:pt x="506" y="252"/>
                    </a:lnTo>
                    <a:close/>
                    <a:moveTo>
                      <a:pt x="565" y="89"/>
                    </a:moveTo>
                    <a:lnTo>
                      <a:pt x="565" y="89"/>
                    </a:lnTo>
                    <a:lnTo>
                      <a:pt x="565" y="91"/>
                    </a:lnTo>
                    <a:lnTo>
                      <a:pt x="566" y="89"/>
                    </a:lnTo>
                    <a:lnTo>
                      <a:pt x="565" y="89"/>
                    </a:lnTo>
                    <a:close/>
                    <a:moveTo>
                      <a:pt x="585" y="59"/>
                    </a:moveTo>
                    <a:lnTo>
                      <a:pt x="588" y="59"/>
                    </a:lnTo>
                    <a:lnTo>
                      <a:pt x="589" y="62"/>
                    </a:lnTo>
                    <a:lnTo>
                      <a:pt x="588" y="65"/>
                    </a:lnTo>
                    <a:lnTo>
                      <a:pt x="585" y="68"/>
                    </a:lnTo>
                    <a:lnTo>
                      <a:pt x="582" y="68"/>
                    </a:lnTo>
                    <a:lnTo>
                      <a:pt x="582" y="65"/>
                    </a:lnTo>
                    <a:lnTo>
                      <a:pt x="584" y="60"/>
                    </a:lnTo>
                    <a:lnTo>
                      <a:pt x="585" y="59"/>
                    </a:lnTo>
                    <a:close/>
                    <a:moveTo>
                      <a:pt x="555" y="32"/>
                    </a:moveTo>
                    <a:lnTo>
                      <a:pt x="555" y="32"/>
                    </a:lnTo>
                    <a:lnTo>
                      <a:pt x="556" y="33"/>
                    </a:lnTo>
                    <a:lnTo>
                      <a:pt x="558" y="30"/>
                    </a:lnTo>
                    <a:lnTo>
                      <a:pt x="558" y="27"/>
                    </a:lnTo>
                    <a:lnTo>
                      <a:pt x="558" y="25"/>
                    </a:lnTo>
                    <a:lnTo>
                      <a:pt x="555" y="23"/>
                    </a:lnTo>
                    <a:lnTo>
                      <a:pt x="555" y="25"/>
                    </a:lnTo>
                    <a:lnTo>
                      <a:pt x="555" y="26"/>
                    </a:lnTo>
                    <a:lnTo>
                      <a:pt x="556" y="27"/>
                    </a:lnTo>
                    <a:lnTo>
                      <a:pt x="556" y="29"/>
                    </a:lnTo>
                    <a:lnTo>
                      <a:pt x="556" y="30"/>
                    </a:lnTo>
                    <a:lnTo>
                      <a:pt x="555" y="32"/>
                    </a:lnTo>
                    <a:close/>
                    <a:moveTo>
                      <a:pt x="556" y="36"/>
                    </a:moveTo>
                    <a:lnTo>
                      <a:pt x="556" y="37"/>
                    </a:lnTo>
                    <a:lnTo>
                      <a:pt x="556" y="37"/>
                    </a:lnTo>
                    <a:lnTo>
                      <a:pt x="556" y="36"/>
                    </a:lnTo>
                    <a:lnTo>
                      <a:pt x="556" y="36"/>
                    </a:lnTo>
                    <a:lnTo>
                      <a:pt x="556" y="36"/>
                    </a:lnTo>
                    <a:lnTo>
                      <a:pt x="556" y="36"/>
                    </a:lnTo>
                    <a:close/>
                    <a:moveTo>
                      <a:pt x="553" y="33"/>
                    </a:moveTo>
                    <a:lnTo>
                      <a:pt x="553" y="33"/>
                    </a:lnTo>
                    <a:lnTo>
                      <a:pt x="553" y="35"/>
                    </a:lnTo>
                    <a:lnTo>
                      <a:pt x="555" y="35"/>
                    </a:lnTo>
                    <a:lnTo>
                      <a:pt x="555" y="36"/>
                    </a:lnTo>
                    <a:lnTo>
                      <a:pt x="555" y="35"/>
                    </a:lnTo>
                    <a:lnTo>
                      <a:pt x="555" y="35"/>
                    </a:lnTo>
                    <a:lnTo>
                      <a:pt x="555" y="33"/>
                    </a:lnTo>
                    <a:lnTo>
                      <a:pt x="553" y="33"/>
                    </a:lnTo>
                    <a:close/>
                    <a:moveTo>
                      <a:pt x="532" y="55"/>
                    </a:moveTo>
                    <a:lnTo>
                      <a:pt x="530" y="55"/>
                    </a:lnTo>
                    <a:lnTo>
                      <a:pt x="532" y="58"/>
                    </a:lnTo>
                    <a:lnTo>
                      <a:pt x="532" y="56"/>
                    </a:lnTo>
                    <a:lnTo>
                      <a:pt x="532" y="56"/>
                    </a:lnTo>
                    <a:lnTo>
                      <a:pt x="532" y="55"/>
                    </a:lnTo>
                    <a:lnTo>
                      <a:pt x="532" y="55"/>
                    </a:lnTo>
                    <a:close/>
                    <a:moveTo>
                      <a:pt x="535" y="43"/>
                    </a:moveTo>
                    <a:lnTo>
                      <a:pt x="536" y="43"/>
                    </a:lnTo>
                    <a:lnTo>
                      <a:pt x="535" y="40"/>
                    </a:lnTo>
                    <a:lnTo>
                      <a:pt x="533" y="39"/>
                    </a:lnTo>
                    <a:lnTo>
                      <a:pt x="533" y="37"/>
                    </a:lnTo>
                    <a:lnTo>
                      <a:pt x="533" y="40"/>
                    </a:lnTo>
                    <a:lnTo>
                      <a:pt x="533" y="42"/>
                    </a:lnTo>
                    <a:lnTo>
                      <a:pt x="535" y="43"/>
                    </a:lnTo>
                    <a:close/>
                    <a:moveTo>
                      <a:pt x="395" y="30"/>
                    </a:moveTo>
                    <a:lnTo>
                      <a:pt x="395" y="32"/>
                    </a:lnTo>
                    <a:lnTo>
                      <a:pt x="398" y="33"/>
                    </a:lnTo>
                    <a:lnTo>
                      <a:pt x="400" y="32"/>
                    </a:lnTo>
                    <a:lnTo>
                      <a:pt x="400" y="30"/>
                    </a:lnTo>
                    <a:lnTo>
                      <a:pt x="397" y="30"/>
                    </a:lnTo>
                    <a:lnTo>
                      <a:pt x="395" y="30"/>
                    </a:lnTo>
                    <a:close/>
                    <a:moveTo>
                      <a:pt x="394" y="43"/>
                    </a:moveTo>
                    <a:lnTo>
                      <a:pt x="395" y="43"/>
                    </a:lnTo>
                    <a:lnTo>
                      <a:pt x="395" y="45"/>
                    </a:lnTo>
                    <a:lnTo>
                      <a:pt x="395" y="45"/>
                    </a:lnTo>
                    <a:lnTo>
                      <a:pt x="395" y="46"/>
                    </a:lnTo>
                    <a:lnTo>
                      <a:pt x="394" y="45"/>
                    </a:lnTo>
                    <a:lnTo>
                      <a:pt x="394" y="43"/>
                    </a:lnTo>
                    <a:lnTo>
                      <a:pt x="394" y="43"/>
                    </a:lnTo>
                    <a:close/>
                    <a:moveTo>
                      <a:pt x="125" y="79"/>
                    </a:moveTo>
                    <a:lnTo>
                      <a:pt x="127" y="81"/>
                    </a:lnTo>
                    <a:lnTo>
                      <a:pt x="128" y="83"/>
                    </a:lnTo>
                    <a:lnTo>
                      <a:pt x="128" y="85"/>
                    </a:lnTo>
                    <a:lnTo>
                      <a:pt x="127" y="86"/>
                    </a:lnTo>
                    <a:lnTo>
                      <a:pt x="125" y="85"/>
                    </a:lnTo>
                    <a:lnTo>
                      <a:pt x="124" y="82"/>
                    </a:lnTo>
                    <a:lnTo>
                      <a:pt x="124" y="81"/>
                    </a:lnTo>
                    <a:lnTo>
                      <a:pt x="125" y="79"/>
                    </a:lnTo>
                    <a:close/>
                    <a:moveTo>
                      <a:pt x="146" y="85"/>
                    </a:moveTo>
                    <a:lnTo>
                      <a:pt x="144" y="85"/>
                    </a:lnTo>
                    <a:lnTo>
                      <a:pt x="144" y="83"/>
                    </a:lnTo>
                    <a:lnTo>
                      <a:pt x="144" y="83"/>
                    </a:lnTo>
                    <a:lnTo>
                      <a:pt x="144" y="85"/>
                    </a:lnTo>
                    <a:lnTo>
                      <a:pt x="143" y="85"/>
                    </a:lnTo>
                    <a:lnTo>
                      <a:pt x="144" y="86"/>
                    </a:lnTo>
                    <a:lnTo>
                      <a:pt x="144" y="86"/>
                    </a:lnTo>
                    <a:lnTo>
                      <a:pt x="146" y="86"/>
                    </a:lnTo>
                    <a:lnTo>
                      <a:pt x="146" y="85"/>
                    </a:lnTo>
                    <a:lnTo>
                      <a:pt x="146" y="85"/>
                    </a:lnTo>
                    <a:close/>
                    <a:moveTo>
                      <a:pt x="125" y="76"/>
                    </a:moveTo>
                    <a:lnTo>
                      <a:pt x="123" y="75"/>
                    </a:lnTo>
                    <a:lnTo>
                      <a:pt x="121" y="76"/>
                    </a:lnTo>
                    <a:lnTo>
                      <a:pt x="121" y="78"/>
                    </a:lnTo>
                    <a:lnTo>
                      <a:pt x="124" y="78"/>
                    </a:lnTo>
                    <a:lnTo>
                      <a:pt x="127" y="79"/>
                    </a:lnTo>
                    <a:lnTo>
                      <a:pt x="128" y="81"/>
                    </a:lnTo>
                    <a:lnTo>
                      <a:pt x="128" y="78"/>
                    </a:lnTo>
                    <a:lnTo>
                      <a:pt x="125" y="76"/>
                    </a:lnTo>
                    <a:close/>
                    <a:moveTo>
                      <a:pt x="144" y="89"/>
                    </a:moveTo>
                    <a:lnTo>
                      <a:pt x="144" y="89"/>
                    </a:lnTo>
                    <a:lnTo>
                      <a:pt x="144" y="91"/>
                    </a:lnTo>
                    <a:lnTo>
                      <a:pt x="144" y="91"/>
                    </a:lnTo>
                    <a:lnTo>
                      <a:pt x="146" y="92"/>
                    </a:lnTo>
                    <a:lnTo>
                      <a:pt x="146" y="91"/>
                    </a:lnTo>
                    <a:lnTo>
                      <a:pt x="146" y="91"/>
                    </a:lnTo>
                    <a:lnTo>
                      <a:pt x="146" y="89"/>
                    </a:lnTo>
                    <a:lnTo>
                      <a:pt x="144" y="88"/>
                    </a:lnTo>
                    <a:lnTo>
                      <a:pt x="144" y="89"/>
                    </a:lnTo>
                    <a:close/>
                    <a:moveTo>
                      <a:pt x="156" y="83"/>
                    </a:moveTo>
                    <a:lnTo>
                      <a:pt x="154" y="83"/>
                    </a:lnTo>
                    <a:lnTo>
                      <a:pt x="154" y="85"/>
                    </a:lnTo>
                    <a:lnTo>
                      <a:pt x="156" y="86"/>
                    </a:lnTo>
                    <a:lnTo>
                      <a:pt x="157" y="86"/>
                    </a:lnTo>
                    <a:lnTo>
                      <a:pt x="157" y="85"/>
                    </a:lnTo>
                    <a:lnTo>
                      <a:pt x="157" y="83"/>
                    </a:lnTo>
                    <a:lnTo>
                      <a:pt x="157" y="83"/>
                    </a:lnTo>
                    <a:lnTo>
                      <a:pt x="156" y="83"/>
                    </a:lnTo>
                    <a:close/>
                    <a:moveTo>
                      <a:pt x="143" y="92"/>
                    </a:moveTo>
                    <a:lnTo>
                      <a:pt x="141" y="92"/>
                    </a:lnTo>
                    <a:lnTo>
                      <a:pt x="140" y="93"/>
                    </a:lnTo>
                    <a:lnTo>
                      <a:pt x="143" y="93"/>
                    </a:lnTo>
                    <a:lnTo>
                      <a:pt x="143" y="92"/>
                    </a:lnTo>
                    <a:close/>
                    <a:moveTo>
                      <a:pt x="112" y="73"/>
                    </a:moveTo>
                    <a:lnTo>
                      <a:pt x="115" y="72"/>
                    </a:lnTo>
                    <a:lnTo>
                      <a:pt x="117" y="69"/>
                    </a:lnTo>
                    <a:lnTo>
                      <a:pt x="115" y="68"/>
                    </a:lnTo>
                    <a:lnTo>
                      <a:pt x="112" y="66"/>
                    </a:lnTo>
                    <a:lnTo>
                      <a:pt x="110" y="68"/>
                    </a:lnTo>
                    <a:lnTo>
                      <a:pt x="110" y="70"/>
                    </a:lnTo>
                    <a:lnTo>
                      <a:pt x="111" y="72"/>
                    </a:lnTo>
                    <a:lnTo>
                      <a:pt x="112" y="73"/>
                    </a:lnTo>
                    <a:close/>
                    <a:moveTo>
                      <a:pt x="130" y="85"/>
                    </a:moveTo>
                    <a:lnTo>
                      <a:pt x="128" y="85"/>
                    </a:lnTo>
                    <a:lnTo>
                      <a:pt x="128" y="88"/>
                    </a:lnTo>
                    <a:lnTo>
                      <a:pt x="130" y="89"/>
                    </a:lnTo>
                    <a:lnTo>
                      <a:pt x="135" y="91"/>
                    </a:lnTo>
                    <a:lnTo>
                      <a:pt x="138" y="91"/>
                    </a:lnTo>
                    <a:lnTo>
                      <a:pt x="138" y="89"/>
                    </a:lnTo>
                    <a:lnTo>
                      <a:pt x="137" y="88"/>
                    </a:lnTo>
                    <a:lnTo>
                      <a:pt x="130" y="85"/>
                    </a:lnTo>
                    <a:lnTo>
                      <a:pt x="130" y="85"/>
                    </a:lnTo>
                    <a:close/>
                    <a:moveTo>
                      <a:pt x="157" y="88"/>
                    </a:moveTo>
                    <a:lnTo>
                      <a:pt x="157" y="88"/>
                    </a:lnTo>
                    <a:lnTo>
                      <a:pt x="157" y="88"/>
                    </a:lnTo>
                    <a:lnTo>
                      <a:pt x="158" y="89"/>
                    </a:lnTo>
                    <a:lnTo>
                      <a:pt x="158" y="89"/>
                    </a:lnTo>
                    <a:lnTo>
                      <a:pt x="158" y="88"/>
                    </a:lnTo>
                    <a:lnTo>
                      <a:pt x="157" y="86"/>
                    </a:lnTo>
                    <a:lnTo>
                      <a:pt x="157" y="88"/>
                    </a:lnTo>
                    <a:lnTo>
                      <a:pt x="157" y="88"/>
                    </a:lnTo>
                    <a:close/>
                    <a:moveTo>
                      <a:pt x="163" y="83"/>
                    </a:moveTo>
                    <a:lnTo>
                      <a:pt x="161" y="83"/>
                    </a:lnTo>
                    <a:lnTo>
                      <a:pt x="160" y="85"/>
                    </a:lnTo>
                    <a:lnTo>
                      <a:pt x="160" y="86"/>
                    </a:lnTo>
                    <a:lnTo>
                      <a:pt x="161" y="85"/>
                    </a:lnTo>
                    <a:lnTo>
                      <a:pt x="163" y="85"/>
                    </a:lnTo>
                    <a:lnTo>
                      <a:pt x="163" y="86"/>
                    </a:lnTo>
                    <a:lnTo>
                      <a:pt x="164" y="89"/>
                    </a:lnTo>
                    <a:lnTo>
                      <a:pt x="166" y="88"/>
                    </a:lnTo>
                    <a:lnTo>
                      <a:pt x="166" y="85"/>
                    </a:lnTo>
                    <a:lnTo>
                      <a:pt x="166" y="82"/>
                    </a:lnTo>
                    <a:lnTo>
                      <a:pt x="163" y="83"/>
                    </a:lnTo>
                    <a:close/>
                    <a:moveTo>
                      <a:pt x="187" y="53"/>
                    </a:moveTo>
                    <a:lnTo>
                      <a:pt x="187" y="52"/>
                    </a:lnTo>
                    <a:lnTo>
                      <a:pt x="187" y="50"/>
                    </a:lnTo>
                    <a:lnTo>
                      <a:pt x="186" y="50"/>
                    </a:lnTo>
                    <a:lnTo>
                      <a:pt x="184" y="50"/>
                    </a:lnTo>
                    <a:lnTo>
                      <a:pt x="186" y="52"/>
                    </a:lnTo>
                    <a:lnTo>
                      <a:pt x="186" y="53"/>
                    </a:lnTo>
                    <a:lnTo>
                      <a:pt x="187" y="53"/>
                    </a:lnTo>
                    <a:close/>
                    <a:moveTo>
                      <a:pt x="196" y="48"/>
                    </a:moveTo>
                    <a:lnTo>
                      <a:pt x="194" y="48"/>
                    </a:lnTo>
                    <a:lnTo>
                      <a:pt x="194" y="48"/>
                    </a:lnTo>
                    <a:lnTo>
                      <a:pt x="194" y="48"/>
                    </a:lnTo>
                    <a:lnTo>
                      <a:pt x="196" y="49"/>
                    </a:lnTo>
                    <a:lnTo>
                      <a:pt x="196" y="48"/>
                    </a:lnTo>
                    <a:close/>
                    <a:moveTo>
                      <a:pt x="167" y="102"/>
                    </a:moveTo>
                    <a:lnTo>
                      <a:pt x="166" y="101"/>
                    </a:lnTo>
                    <a:lnTo>
                      <a:pt x="166" y="101"/>
                    </a:lnTo>
                    <a:lnTo>
                      <a:pt x="164" y="99"/>
                    </a:lnTo>
                    <a:lnTo>
                      <a:pt x="164" y="99"/>
                    </a:lnTo>
                    <a:lnTo>
                      <a:pt x="164" y="101"/>
                    </a:lnTo>
                    <a:lnTo>
                      <a:pt x="166" y="102"/>
                    </a:lnTo>
                    <a:lnTo>
                      <a:pt x="167" y="102"/>
                    </a:lnTo>
                    <a:lnTo>
                      <a:pt x="167" y="104"/>
                    </a:lnTo>
                    <a:lnTo>
                      <a:pt x="167" y="102"/>
                    </a:lnTo>
                    <a:lnTo>
                      <a:pt x="167" y="102"/>
                    </a:lnTo>
                    <a:close/>
                    <a:moveTo>
                      <a:pt x="151" y="89"/>
                    </a:moveTo>
                    <a:lnTo>
                      <a:pt x="151" y="88"/>
                    </a:lnTo>
                    <a:lnTo>
                      <a:pt x="151" y="88"/>
                    </a:lnTo>
                    <a:lnTo>
                      <a:pt x="151" y="89"/>
                    </a:lnTo>
                    <a:lnTo>
                      <a:pt x="151" y="89"/>
                    </a:lnTo>
                    <a:lnTo>
                      <a:pt x="153" y="91"/>
                    </a:lnTo>
                    <a:lnTo>
                      <a:pt x="153" y="89"/>
                    </a:lnTo>
                    <a:lnTo>
                      <a:pt x="151" y="89"/>
                    </a:lnTo>
                    <a:close/>
                    <a:moveTo>
                      <a:pt x="148" y="108"/>
                    </a:moveTo>
                    <a:lnTo>
                      <a:pt x="147" y="108"/>
                    </a:lnTo>
                    <a:lnTo>
                      <a:pt x="146" y="109"/>
                    </a:lnTo>
                    <a:lnTo>
                      <a:pt x="147" y="111"/>
                    </a:lnTo>
                    <a:lnTo>
                      <a:pt x="148" y="111"/>
                    </a:lnTo>
                    <a:lnTo>
                      <a:pt x="150" y="109"/>
                    </a:lnTo>
                    <a:lnTo>
                      <a:pt x="151" y="109"/>
                    </a:lnTo>
                    <a:lnTo>
                      <a:pt x="150" y="108"/>
                    </a:lnTo>
                    <a:lnTo>
                      <a:pt x="148" y="108"/>
                    </a:lnTo>
                    <a:close/>
                    <a:moveTo>
                      <a:pt x="163" y="109"/>
                    </a:moveTo>
                    <a:lnTo>
                      <a:pt x="161" y="111"/>
                    </a:lnTo>
                    <a:lnTo>
                      <a:pt x="160" y="112"/>
                    </a:lnTo>
                    <a:lnTo>
                      <a:pt x="160" y="112"/>
                    </a:lnTo>
                    <a:lnTo>
                      <a:pt x="161" y="114"/>
                    </a:lnTo>
                    <a:lnTo>
                      <a:pt x="161" y="114"/>
                    </a:lnTo>
                    <a:lnTo>
                      <a:pt x="161" y="115"/>
                    </a:lnTo>
                    <a:lnTo>
                      <a:pt x="164" y="114"/>
                    </a:lnTo>
                    <a:lnTo>
                      <a:pt x="166" y="112"/>
                    </a:lnTo>
                    <a:lnTo>
                      <a:pt x="166" y="111"/>
                    </a:lnTo>
                    <a:lnTo>
                      <a:pt x="164" y="109"/>
                    </a:lnTo>
                    <a:lnTo>
                      <a:pt x="163" y="109"/>
                    </a:lnTo>
                    <a:close/>
                    <a:moveTo>
                      <a:pt x="167" y="108"/>
                    </a:moveTo>
                    <a:lnTo>
                      <a:pt x="167" y="108"/>
                    </a:lnTo>
                    <a:lnTo>
                      <a:pt x="170" y="109"/>
                    </a:lnTo>
                    <a:lnTo>
                      <a:pt x="171" y="109"/>
                    </a:lnTo>
                    <a:lnTo>
                      <a:pt x="173" y="108"/>
                    </a:lnTo>
                    <a:lnTo>
                      <a:pt x="170" y="106"/>
                    </a:lnTo>
                    <a:lnTo>
                      <a:pt x="169" y="106"/>
                    </a:lnTo>
                    <a:lnTo>
                      <a:pt x="167" y="105"/>
                    </a:lnTo>
                    <a:lnTo>
                      <a:pt x="166" y="105"/>
                    </a:lnTo>
                    <a:lnTo>
                      <a:pt x="164" y="104"/>
                    </a:lnTo>
                    <a:lnTo>
                      <a:pt x="164" y="105"/>
                    </a:lnTo>
                    <a:lnTo>
                      <a:pt x="164" y="105"/>
                    </a:lnTo>
                    <a:lnTo>
                      <a:pt x="164" y="106"/>
                    </a:lnTo>
                    <a:lnTo>
                      <a:pt x="163" y="106"/>
                    </a:lnTo>
                    <a:lnTo>
                      <a:pt x="164" y="108"/>
                    </a:lnTo>
                    <a:lnTo>
                      <a:pt x="166" y="108"/>
                    </a:lnTo>
                    <a:lnTo>
                      <a:pt x="167" y="108"/>
                    </a:lnTo>
                    <a:close/>
                    <a:moveTo>
                      <a:pt x="137" y="85"/>
                    </a:moveTo>
                    <a:lnTo>
                      <a:pt x="134" y="83"/>
                    </a:lnTo>
                    <a:lnTo>
                      <a:pt x="133" y="83"/>
                    </a:lnTo>
                    <a:lnTo>
                      <a:pt x="134" y="85"/>
                    </a:lnTo>
                    <a:lnTo>
                      <a:pt x="138" y="88"/>
                    </a:lnTo>
                    <a:lnTo>
                      <a:pt x="140" y="88"/>
                    </a:lnTo>
                    <a:lnTo>
                      <a:pt x="140" y="86"/>
                    </a:lnTo>
                    <a:lnTo>
                      <a:pt x="137" y="85"/>
                    </a:lnTo>
                    <a:close/>
                    <a:moveTo>
                      <a:pt x="227" y="39"/>
                    </a:moveTo>
                    <a:lnTo>
                      <a:pt x="229" y="39"/>
                    </a:lnTo>
                    <a:lnTo>
                      <a:pt x="229" y="39"/>
                    </a:lnTo>
                    <a:lnTo>
                      <a:pt x="230" y="39"/>
                    </a:lnTo>
                    <a:lnTo>
                      <a:pt x="232" y="39"/>
                    </a:lnTo>
                    <a:lnTo>
                      <a:pt x="233" y="36"/>
                    </a:lnTo>
                    <a:lnTo>
                      <a:pt x="232" y="33"/>
                    </a:lnTo>
                    <a:lnTo>
                      <a:pt x="230" y="32"/>
                    </a:lnTo>
                    <a:lnTo>
                      <a:pt x="230" y="29"/>
                    </a:lnTo>
                    <a:lnTo>
                      <a:pt x="227" y="32"/>
                    </a:lnTo>
                    <a:lnTo>
                      <a:pt x="226" y="33"/>
                    </a:lnTo>
                    <a:lnTo>
                      <a:pt x="226" y="36"/>
                    </a:lnTo>
                    <a:lnTo>
                      <a:pt x="230" y="36"/>
                    </a:lnTo>
                    <a:lnTo>
                      <a:pt x="227" y="37"/>
                    </a:lnTo>
                    <a:lnTo>
                      <a:pt x="227" y="39"/>
                    </a:lnTo>
                    <a:close/>
                    <a:moveTo>
                      <a:pt x="22" y="62"/>
                    </a:moveTo>
                    <a:lnTo>
                      <a:pt x="22" y="59"/>
                    </a:lnTo>
                    <a:lnTo>
                      <a:pt x="21" y="58"/>
                    </a:lnTo>
                    <a:lnTo>
                      <a:pt x="16" y="56"/>
                    </a:lnTo>
                    <a:lnTo>
                      <a:pt x="15" y="55"/>
                    </a:lnTo>
                    <a:lnTo>
                      <a:pt x="13" y="53"/>
                    </a:lnTo>
                    <a:lnTo>
                      <a:pt x="12" y="53"/>
                    </a:lnTo>
                    <a:lnTo>
                      <a:pt x="9" y="53"/>
                    </a:lnTo>
                    <a:lnTo>
                      <a:pt x="12" y="56"/>
                    </a:lnTo>
                    <a:lnTo>
                      <a:pt x="16" y="59"/>
                    </a:lnTo>
                    <a:lnTo>
                      <a:pt x="21" y="62"/>
                    </a:lnTo>
                    <a:lnTo>
                      <a:pt x="22" y="62"/>
                    </a:lnTo>
                    <a:close/>
                    <a:moveTo>
                      <a:pt x="55" y="104"/>
                    </a:moveTo>
                    <a:lnTo>
                      <a:pt x="56" y="106"/>
                    </a:lnTo>
                    <a:lnTo>
                      <a:pt x="56" y="108"/>
                    </a:lnTo>
                    <a:lnTo>
                      <a:pt x="55" y="114"/>
                    </a:lnTo>
                    <a:lnTo>
                      <a:pt x="58" y="112"/>
                    </a:lnTo>
                    <a:lnTo>
                      <a:pt x="59" y="109"/>
                    </a:lnTo>
                    <a:lnTo>
                      <a:pt x="58" y="105"/>
                    </a:lnTo>
                    <a:lnTo>
                      <a:pt x="55" y="104"/>
                    </a:lnTo>
                    <a:close/>
                    <a:moveTo>
                      <a:pt x="44" y="82"/>
                    </a:moveTo>
                    <a:lnTo>
                      <a:pt x="41" y="79"/>
                    </a:lnTo>
                    <a:lnTo>
                      <a:pt x="41" y="78"/>
                    </a:lnTo>
                    <a:lnTo>
                      <a:pt x="38" y="76"/>
                    </a:lnTo>
                    <a:lnTo>
                      <a:pt x="38" y="76"/>
                    </a:lnTo>
                    <a:lnTo>
                      <a:pt x="36" y="78"/>
                    </a:lnTo>
                    <a:lnTo>
                      <a:pt x="35" y="79"/>
                    </a:lnTo>
                    <a:lnTo>
                      <a:pt x="34" y="79"/>
                    </a:lnTo>
                    <a:lnTo>
                      <a:pt x="38" y="83"/>
                    </a:lnTo>
                    <a:lnTo>
                      <a:pt x="38" y="85"/>
                    </a:lnTo>
                    <a:lnTo>
                      <a:pt x="39" y="86"/>
                    </a:lnTo>
                    <a:lnTo>
                      <a:pt x="39" y="86"/>
                    </a:lnTo>
                    <a:lnTo>
                      <a:pt x="39" y="88"/>
                    </a:lnTo>
                    <a:lnTo>
                      <a:pt x="42" y="88"/>
                    </a:lnTo>
                    <a:lnTo>
                      <a:pt x="42" y="88"/>
                    </a:lnTo>
                    <a:lnTo>
                      <a:pt x="45" y="93"/>
                    </a:lnTo>
                    <a:lnTo>
                      <a:pt x="46" y="93"/>
                    </a:lnTo>
                    <a:lnTo>
                      <a:pt x="48" y="91"/>
                    </a:lnTo>
                    <a:lnTo>
                      <a:pt x="48" y="88"/>
                    </a:lnTo>
                    <a:lnTo>
                      <a:pt x="48" y="85"/>
                    </a:lnTo>
                    <a:lnTo>
                      <a:pt x="44" y="82"/>
                    </a:lnTo>
                    <a:close/>
                    <a:moveTo>
                      <a:pt x="38" y="68"/>
                    </a:moveTo>
                    <a:lnTo>
                      <a:pt x="38" y="66"/>
                    </a:lnTo>
                    <a:lnTo>
                      <a:pt x="36" y="65"/>
                    </a:lnTo>
                    <a:lnTo>
                      <a:pt x="35" y="65"/>
                    </a:lnTo>
                    <a:lnTo>
                      <a:pt x="34" y="65"/>
                    </a:lnTo>
                    <a:lnTo>
                      <a:pt x="35" y="65"/>
                    </a:lnTo>
                    <a:lnTo>
                      <a:pt x="38" y="68"/>
                    </a:lnTo>
                    <a:close/>
                    <a:moveTo>
                      <a:pt x="240" y="52"/>
                    </a:moveTo>
                    <a:lnTo>
                      <a:pt x="240" y="52"/>
                    </a:lnTo>
                    <a:lnTo>
                      <a:pt x="240" y="52"/>
                    </a:lnTo>
                    <a:lnTo>
                      <a:pt x="239" y="53"/>
                    </a:lnTo>
                    <a:lnTo>
                      <a:pt x="240" y="53"/>
                    </a:lnTo>
                    <a:lnTo>
                      <a:pt x="240" y="53"/>
                    </a:lnTo>
                    <a:lnTo>
                      <a:pt x="242" y="52"/>
                    </a:lnTo>
                    <a:lnTo>
                      <a:pt x="242" y="50"/>
                    </a:lnTo>
                    <a:lnTo>
                      <a:pt x="240" y="52"/>
                    </a:lnTo>
                    <a:close/>
                    <a:moveTo>
                      <a:pt x="523" y="247"/>
                    </a:moveTo>
                    <a:lnTo>
                      <a:pt x="526" y="249"/>
                    </a:lnTo>
                    <a:lnTo>
                      <a:pt x="526" y="252"/>
                    </a:lnTo>
                    <a:lnTo>
                      <a:pt x="519" y="253"/>
                    </a:lnTo>
                    <a:lnTo>
                      <a:pt x="516" y="253"/>
                    </a:lnTo>
                    <a:lnTo>
                      <a:pt x="513" y="252"/>
                    </a:lnTo>
                    <a:lnTo>
                      <a:pt x="513" y="250"/>
                    </a:lnTo>
                    <a:lnTo>
                      <a:pt x="515" y="249"/>
                    </a:lnTo>
                    <a:lnTo>
                      <a:pt x="516" y="247"/>
                    </a:lnTo>
                    <a:lnTo>
                      <a:pt x="517" y="249"/>
                    </a:lnTo>
                    <a:lnTo>
                      <a:pt x="520" y="247"/>
                    </a:lnTo>
                    <a:lnTo>
                      <a:pt x="523" y="247"/>
                    </a:lnTo>
                    <a:close/>
                    <a:moveTo>
                      <a:pt x="586" y="165"/>
                    </a:moveTo>
                    <a:lnTo>
                      <a:pt x="588" y="167"/>
                    </a:lnTo>
                    <a:lnTo>
                      <a:pt x="585" y="168"/>
                    </a:lnTo>
                    <a:lnTo>
                      <a:pt x="584" y="168"/>
                    </a:lnTo>
                    <a:lnTo>
                      <a:pt x="585" y="167"/>
                    </a:lnTo>
                    <a:lnTo>
                      <a:pt x="585" y="165"/>
                    </a:lnTo>
                    <a:lnTo>
                      <a:pt x="586" y="165"/>
                    </a:lnTo>
                    <a:close/>
                    <a:moveTo>
                      <a:pt x="601" y="104"/>
                    </a:moveTo>
                    <a:lnTo>
                      <a:pt x="601" y="102"/>
                    </a:lnTo>
                    <a:lnTo>
                      <a:pt x="602" y="105"/>
                    </a:lnTo>
                    <a:lnTo>
                      <a:pt x="604" y="105"/>
                    </a:lnTo>
                    <a:lnTo>
                      <a:pt x="605" y="106"/>
                    </a:lnTo>
                    <a:lnTo>
                      <a:pt x="604" y="106"/>
                    </a:lnTo>
                    <a:lnTo>
                      <a:pt x="602" y="105"/>
                    </a:lnTo>
                    <a:lnTo>
                      <a:pt x="601" y="104"/>
                    </a:lnTo>
                    <a:close/>
                    <a:moveTo>
                      <a:pt x="608" y="242"/>
                    </a:moveTo>
                    <a:lnTo>
                      <a:pt x="609" y="243"/>
                    </a:lnTo>
                    <a:lnTo>
                      <a:pt x="609" y="244"/>
                    </a:lnTo>
                    <a:lnTo>
                      <a:pt x="608" y="246"/>
                    </a:lnTo>
                    <a:lnTo>
                      <a:pt x="607" y="244"/>
                    </a:lnTo>
                    <a:lnTo>
                      <a:pt x="605" y="243"/>
                    </a:lnTo>
                    <a:lnTo>
                      <a:pt x="605" y="242"/>
                    </a:lnTo>
                    <a:lnTo>
                      <a:pt x="607" y="242"/>
                    </a:lnTo>
                    <a:lnTo>
                      <a:pt x="608" y="242"/>
                    </a:lnTo>
                    <a:close/>
                    <a:moveTo>
                      <a:pt x="588" y="230"/>
                    </a:moveTo>
                    <a:lnTo>
                      <a:pt x="586" y="230"/>
                    </a:lnTo>
                    <a:lnTo>
                      <a:pt x="588" y="229"/>
                    </a:lnTo>
                    <a:lnTo>
                      <a:pt x="589" y="230"/>
                    </a:lnTo>
                    <a:lnTo>
                      <a:pt x="588" y="230"/>
                    </a:lnTo>
                    <a:close/>
                    <a:moveTo>
                      <a:pt x="640" y="239"/>
                    </a:moveTo>
                    <a:lnTo>
                      <a:pt x="638" y="242"/>
                    </a:lnTo>
                    <a:lnTo>
                      <a:pt x="637" y="243"/>
                    </a:lnTo>
                    <a:lnTo>
                      <a:pt x="635" y="244"/>
                    </a:lnTo>
                    <a:lnTo>
                      <a:pt x="632" y="244"/>
                    </a:lnTo>
                    <a:lnTo>
                      <a:pt x="632" y="242"/>
                    </a:lnTo>
                    <a:lnTo>
                      <a:pt x="634" y="237"/>
                    </a:lnTo>
                    <a:lnTo>
                      <a:pt x="635" y="234"/>
                    </a:lnTo>
                    <a:lnTo>
                      <a:pt x="638" y="231"/>
                    </a:lnTo>
                    <a:lnTo>
                      <a:pt x="640" y="230"/>
                    </a:lnTo>
                    <a:lnTo>
                      <a:pt x="641" y="229"/>
                    </a:lnTo>
                    <a:lnTo>
                      <a:pt x="642" y="230"/>
                    </a:lnTo>
                    <a:lnTo>
                      <a:pt x="642" y="230"/>
                    </a:lnTo>
                    <a:lnTo>
                      <a:pt x="642" y="234"/>
                    </a:lnTo>
                    <a:lnTo>
                      <a:pt x="642" y="236"/>
                    </a:lnTo>
                    <a:lnTo>
                      <a:pt x="641" y="237"/>
                    </a:lnTo>
                    <a:lnTo>
                      <a:pt x="641" y="239"/>
                    </a:lnTo>
                    <a:lnTo>
                      <a:pt x="640" y="239"/>
                    </a:lnTo>
                    <a:close/>
                    <a:moveTo>
                      <a:pt x="627" y="252"/>
                    </a:moveTo>
                    <a:lnTo>
                      <a:pt x="627" y="250"/>
                    </a:lnTo>
                    <a:lnTo>
                      <a:pt x="628" y="249"/>
                    </a:lnTo>
                    <a:lnTo>
                      <a:pt x="630" y="247"/>
                    </a:lnTo>
                    <a:lnTo>
                      <a:pt x="631" y="247"/>
                    </a:lnTo>
                    <a:lnTo>
                      <a:pt x="634" y="247"/>
                    </a:lnTo>
                    <a:lnTo>
                      <a:pt x="631" y="249"/>
                    </a:lnTo>
                    <a:lnTo>
                      <a:pt x="627" y="252"/>
                    </a:lnTo>
                    <a:close/>
                    <a:moveTo>
                      <a:pt x="624" y="111"/>
                    </a:moveTo>
                    <a:lnTo>
                      <a:pt x="624" y="112"/>
                    </a:lnTo>
                    <a:lnTo>
                      <a:pt x="624" y="112"/>
                    </a:lnTo>
                    <a:lnTo>
                      <a:pt x="622" y="114"/>
                    </a:lnTo>
                    <a:lnTo>
                      <a:pt x="622" y="112"/>
                    </a:lnTo>
                    <a:lnTo>
                      <a:pt x="621" y="112"/>
                    </a:lnTo>
                    <a:lnTo>
                      <a:pt x="621" y="111"/>
                    </a:lnTo>
                    <a:lnTo>
                      <a:pt x="622" y="111"/>
                    </a:lnTo>
                    <a:lnTo>
                      <a:pt x="624" y="111"/>
                    </a:lnTo>
                    <a:close/>
                    <a:moveTo>
                      <a:pt x="578" y="134"/>
                    </a:moveTo>
                    <a:lnTo>
                      <a:pt x="569" y="134"/>
                    </a:lnTo>
                    <a:lnTo>
                      <a:pt x="568" y="134"/>
                    </a:lnTo>
                    <a:lnTo>
                      <a:pt x="566" y="132"/>
                    </a:lnTo>
                    <a:lnTo>
                      <a:pt x="568" y="129"/>
                    </a:lnTo>
                    <a:lnTo>
                      <a:pt x="569" y="128"/>
                    </a:lnTo>
                    <a:lnTo>
                      <a:pt x="571" y="128"/>
                    </a:lnTo>
                    <a:lnTo>
                      <a:pt x="572" y="128"/>
                    </a:lnTo>
                    <a:lnTo>
                      <a:pt x="575" y="128"/>
                    </a:lnTo>
                    <a:lnTo>
                      <a:pt x="576" y="129"/>
                    </a:lnTo>
                    <a:lnTo>
                      <a:pt x="579" y="132"/>
                    </a:lnTo>
                    <a:lnTo>
                      <a:pt x="578" y="134"/>
                    </a:lnTo>
                    <a:close/>
                    <a:moveTo>
                      <a:pt x="576" y="249"/>
                    </a:moveTo>
                    <a:lnTo>
                      <a:pt x="573" y="247"/>
                    </a:lnTo>
                    <a:lnTo>
                      <a:pt x="578" y="247"/>
                    </a:lnTo>
                    <a:lnTo>
                      <a:pt x="578" y="249"/>
                    </a:lnTo>
                    <a:lnTo>
                      <a:pt x="576" y="249"/>
                    </a:lnTo>
                    <a:close/>
                    <a:moveTo>
                      <a:pt x="569" y="161"/>
                    </a:moveTo>
                    <a:lnTo>
                      <a:pt x="571" y="161"/>
                    </a:lnTo>
                    <a:lnTo>
                      <a:pt x="571" y="162"/>
                    </a:lnTo>
                    <a:lnTo>
                      <a:pt x="571" y="162"/>
                    </a:lnTo>
                    <a:lnTo>
                      <a:pt x="569" y="162"/>
                    </a:lnTo>
                    <a:lnTo>
                      <a:pt x="568" y="161"/>
                    </a:lnTo>
                    <a:lnTo>
                      <a:pt x="569" y="161"/>
                    </a:lnTo>
                    <a:lnTo>
                      <a:pt x="569" y="161"/>
                    </a:lnTo>
                    <a:close/>
                    <a:moveTo>
                      <a:pt x="589" y="167"/>
                    </a:moveTo>
                    <a:lnTo>
                      <a:pt x="589" y="167"/>
                    </a:lnTo>
                    <a:lnTo>
                      <a:pt x="588" y="167"/>
                    </a:lnTo>
                    <a:lnTo>
                      <a:pt x="588" y="167"/>
                    </a:lnTo>
                    <a:lnTo>
                      <a:pt x="588" y="165"/>
                    </a:lnTo>
                    <a:lnTo>
                      <a:pt x="589" y="165"/>
                    </a:lnTo>
                    <a:lnTo>
                      <a:pt x="589" y="165"/>
                    </a:lnTo>
                    <a:lnTo>
                      <a:pt x="589" y="167"/>
                    </a:lnTo>
                    <a:lnTo>
                      <a:pt x="589" y="167"/>
                    </a:lnTo>
                    <a:close/>
                    <a:moveTo>
                      <a:pt x="579" y="170"/>
                    </a:moveTo>
                    <a:lnTo>
                      <a:pt x="581" y="168"/>
                    </a:lnTo>
                    <a:lnTo>
                      <a:pt x="579" y="168"/>
                    </a:lnTo>
                    <a:lnTo>
                      <a:pt x="579" y="168"/>
                    </a:lnTo>
                    <a:lnTo>
                      <a:pt x="579" y="168"/>
                    </a:lnTo>
                    <a:lnTo>
                      <a:pt x="578" y="170"/>
                    </a:lnTo>
                    <a:lnTo>
                      <a:pt x="576" y="170"/>
                    </a:lnTo>
                    <a:lnTo>
                      <a:pt x="576" y="168"/>
                    </a:lnTo>
                    <a:lnTo>
                      <a:pt x="576" y="168"/>
                    </a:lnTo>
                    <a:lnTo>
                      <a:pt x="579" y="167"/>
                    </a:lnTo>
                    <a:lnTo>
                      <a:pt x="581" y="165"/>
                    </a:lnTo>
                    <a:lnTo>
                      <a:pt x="584" y="165"/>
                    </a:lnTo>
                    <a:lnTo>
                      <a:pt x="582" y="167"/>
                    </a:lnTo>
                    <a:lnTo>
                      <a:pt x="582" y="168"/>
                    </a:lnTo>
                    <a:lnTo>
                      <a:pt x="581" y="170"/>
                    </a:lnTo>
                    <a:lnTo>
                      <a:pt x="579" y="170"/>
                    </a:lnTo>
                    <a:lnTo>
                      <a:pt x="579" y="170"/>
                    </a:lnTo>
                    <a:close/>
                    <a:moveTo>
                      <a:pt x="575" y="157"/>
                    </a:moveTo>
                    <a:lnTo>
                      <a:pt x="576" y="155"/>
                    </a:lnTo>
                    <a:lnTo>
                      <a:pt x="576" y="155"/>
                    </a:lnTo>
                    <a:lnTo>
                      <a:pt x="576" y="157"/>
                    </a:lnTo>
                    <a:lnTo>
                      <a:pt x="575" y="157"/>
                    </a:lnTo>
                    <a:lnTo>
                      <a:pt x="575" y="157"/>
                    </a:lnTo>
                    <a:lnTo>
                      <a:pt x="575" y="157"/>
                    </a:lnTo>
                    <a:close/>
                    <a:moveTo>
                      <a:pt x="569" y="75"/>
                    </a:moveTo>
                    <a:lnTo>
                      <a:pt x="572" y="69"/>
                    </a:lnTo>
                    <a:lnTo>
                      <a:pt x="578" y="65"/>
                    </a:lnTo>
                    <a:lnTo>
                      <a:pt x="578" y="66"/>
                    </a:lnTo>
                    <a:lnTo>
                      <a:pt x="576" y="68"/>
                    </a:lnTo>
                    <a:lnTo>
                      <a:pt x="575" y="69"/>
                    </a:lnTo>
                    <a:lnTo>
                      <a:pt x="575" y="70"/>
                    </a:lnTo>
                    <a:lnTo>
                      <a:pt x="576" y="72"/>
                    </a:lnTo>
                    <a:lnTo>
                      <a:pt x="576" y="72"/>
                    </a:lnTo>
                    <a:lnTo>
                      <a:pt x="576" y="73"/>
                    </a:lnTo>
                    <a:lnTo>
                      <a:pt x="578" y="76"/>
                    </a:lnTo>
                    <a:lnTo>
                      <a:pt x="578" y="79"/>
                    </a:lnTo>
                    <a:lnTo>
                      <a:pt x="576" y="82"/>
                    </a:lnTo>
                    <a:lnTo>
                      <a:pt x="573" y="83"/>
                    </a:lnTo>
                    <a:lnTo>
                      <a:pt x="572" y="85"/>
                    </a:lnTo>
                    <a:lnTo>
                      <a:pt x="571" y="86"/>
                    </a:lnTo>
                    <a:lnTo>
                      <a:pt x="571" y="88"/>
                    </a:lnTo>
                    <a:lnTo>
                      <a:pt x="572" y="88"/>
                    </a:lnTo>
                    <a:lnTo>
                      <a:pt x="572" y="89"/>
                    </a:lnTo>
                    <a:lnTo>
                      <a:pt x="573" y="89"/>
                    </a:lnTo>
                    <a:lnTo>
                      <a:pt x="575" y="89"/>
                    </a:lnTo>
                    <a:lnTo>
                      <a:pt x="576" y="88"/>
                    </a:lnTo>
                    <a:lnTo>
                      <a:pt x="578" y="86"/>
                    </a:lnTo>
                    <a:lnTo>
                      <a:pt x="581" y="82"/>
                    </a:lnTo>
                    <a:lnTo>
                      <a:pt x="582" y="79"/>
                    </a:lnTo>
                    <a:lnTo>
                      <a:pt x="584" y="78"/>
                    </a:lnTo>
                    <a:lnTo>
                      <a:pt x="586" y="76"/>
                    </a:lnTo>
                    <a:lnTo>
                      <a:pt x="589" y="76"/>
                    </a:lnTo>
                    <a:lnTo>
                      <a:pt x="591" y="79"/>
                    </a:lnTo>
                    <a:lnTo>
                      <a:pt x="589" y="82"/>
                    </a:lnTo>
                    <a:lnTo>
                      <a:pt x="588" y="85"/>
                    </a:lnTo>
                    <a:lnTo>
                      <a:pt x="586" y="86"/>
                    </a:lnTo>
                    <a:lnTo>
                      <a:pt x="584" y="89"/>
                    </a:lnTo>
                    <a:lnTo>
                      <a:pt x="582" y="91"/>
                    </a:lnTo>
                    <a:lnTo>
                      <a:pt x="588" y="93"/>
                    </a:lnTo>
                    <a:lnTo>
                      <a:pt x="588" y="95"/>
                    </a:lnTo>
                    <a:lnTo>
                      <a:pt x="589" y="96"/>
                    </a:lnTo>
                    <a:lnTo>
                      <a:pt x="589" y="98"/>
                    </a:lnTo>
                    <a:lnTo>
                      <a:pt x="591" y="98"/>
                    </a:lnTo>
                    <a:lnTo>
                      <a:pt x="592" y="99"/>
                    </a:lnTo>
                    <a:lnTo>
                      <a:pt x="594" y="99"/>
                    </a:lnTo>
                    <a:lnTo>
                      <a:pt x="579" y="96"/>
                    </a:lnTo>
                    <a:lnTo>
                      <a:pt x="578" y="95"/>
                    </a:lnTo>
                    <a:lnTo>
                      <a:pt x="576" y="96"/>
                    </a:lnTo>
                    <a:lnTo>
                      <a:pt x="575" y="99"/>
                    </a:lnTo>
                    <a:lnTo>
                      <a:pt x="576" y="105"/>
                    </a:lnTo>
                    <a:lnTo>
                      <a:pt x="578" y="111"/>
                    </a:lnTo>
                    <a:lnTo>
                      <a:pt x="581" y="115"/>
                    </a:lnTo>
                    <a:lnTo>
                      <a:pt x="585" y="119"/>
                    </a:lnTo>
                    <a:lnTo>
                      <a:pt x="581" y="118"/>
                    </a:lnTo>
                    <a:lnTo>
                      <a:pt x="576" y="114"/>
                    </a:lnTo>
                    <a:lnTo>
                      <a:pt x="573" y="109"/>
                    </a:lnTo>
                    <a:lnTo>
                      <a:pt x="572" y="106"/>
                    </a:lnTo>
                    <a:lnTo>
                      <a:pt x="572" y="104"/>
                    </a:lnTo>
                    <a:lnTo>
                      <a:pt x="572" y="101"/>
                    </a:lnTo>
                    <a:lnTo>
                      <a:pt x="572" y="99"/>
                    </a:lnTo>
                    <a:lnTo>
                      <a:pt x="572" y="99"/>
                    </a:lnTo>
                    <a:lnTo>
                      <a:pt x="571" y="96"/>
                    </a:lnTo>
                    <a:lnTo>
                      <a:pt x="571" y="96"/>
                    </a:lnTo>
                    <a:lnTo>
                      <a:pt x="569" y="93"/>
                    </a:lnTo>
                    <a:lnTo>
                      <a:pt x="571" y="91"/>
                    </a:lnTo>
                    <a:lnTo>
                      <a:pt x="569" y="89"/>
                    </a:lnTo>
                    <a:lnTo>
                      <a:pt x="569" y="88"/>
                    </a:lnTo>
                    <a:lnTo>
                      <a:pt x="568" y="82"/>
                    </a:lnTo>
                    <a:lnTo>
                      <a:pt x="569" y="75"/>
                    </a:lnTo>
                    <a:close/>
                    <a:moveTo>
                      <a:pt x="566" y="239"/>
                    </a:moveTo>
                    <a:lnTo>
                      <a:pt x="566" y="237"/>
                    </a:lnTo>
                    <a:lnTo>
                      <a:pt x="566" y="236"/>
                    </a:lnTo>
                    <a:lnTo>
                      <a:pt x="568" y="237"/>
                    </a:lnTo>
                    <a:lnTo>
                      <a:pt x="568" y="237"/>
                    </a:lnTo>
                    <a:lnTo>
                      <a:pt x="568" y="239"/>
                    </a:lnTo>
                    <a:lnTo>
                      <a:pt x="566" y="239"/>
                    </a:lnTo>
                    <a:lnTo>
                      <a:pt x="566" y="239"/>
                    </a:lnTo>
                    <a:close/>
                    <a:moveTo>
                      <a:pt x="565" y="111"/>
                    </a:moveTo>
                    <a:lnTo>
                      <a:pt x="565" y="109"/>
                    </a:lnTo>
                    <a:lnTo>
                      <a:pt x="566" y="109"/>
                    </a:lnTo>
                    <a:lnTo>
                      <a:pt x="566" y="109"/>
                    </a:lnTo>
                    <a:lnTo>
                      <a:pt x="568" y="111"/>
                    </a:lnTo>
                    <a:lnTo>
                      <a:pt x="568" y="111"/>
                    </a:lnTo>
                    <a:lnTo>
                      <a:pt x="568" y="111"/>
                    </a:lnTo>
                    <a:lnTo>
                      <a:pt x="568" y="109"/>
                    </a:lnTo>
                    <a:lnTo>
                      <a:pt x="569" y="109"/>
                    </a:lnTo>
                    <a:lnTo>
                      <a:pt x="569" y="109"/>
                    </a:lnTo>
                    <a:lnTo>
                      <a:pt x="571" y="111"/>
                    </a:lnTo>
                    <a:lnTo>
                      <a:pt x="571" y="112"/>
                    </a:lnTo>
                    <a:lnTo>
                      <a:pt x="571" y="112"/>
                    </a:lnTo>
                    <a:lnTo>
                      <a:pt x="571" y="114"/>
                    </a:lnTo>
                    <a:lnTo>
                      <a:pt x="571" y="114"/>
                    </a:lnTo>
                    <a:lnTo>
                      <a:pt x="571" y="115"/>
                    </a:lnTo>
                    <a:lnTo>
                      <a:pt x="571" y="115"/>
                    </a:lnTo>
                    <a:lnTo>
                      <a:pt x="571" y="115"/>
                    </a:lnTo>
                    <a:lnTo>
                      <a:pt x="572" y="116"/>
                    </a:lnTo>
                    <a:lnTo>
                      <a:pt x="573" y="115"/>
                    </a:lnTo>
                    <a:lnTo>
                      <a:pt x="573" y="116"/>
                    </a:lnTo>
                    <a:lnTo>
                      <a:pt x="573" y="116"/>
                    </a:lnTo>
                    <a:lnTo>
                      <a:pt x="575" y="116"/>
                    </a:lnTo>
                    <a:lnTo>
                      <a:pt x="575" y="116"/>
                    </a:lnTo>
                    <a:lnTo>
                      <a:pt x="575" y="116"/>
                    </a:lnTo>
                    <a:lnTo>
                      <a:pt x="575" y="119"/>
                    </a:lnTo>
                    <a:lnTo>
                      <a:pt x="573" y="118"/>
                    </a:lnTo>
                    <a:lnTo>
                      <a:pt x="571" y="116"/>
                    </a:lnTo>
                    <a:lnTo>
                      <a:pt x="569" y="116"/>
                    </a:lnTo>
                    <a:lnTo>
                      <a:pt x="568" y="118"/>
                    </a:lnTo>
                    <a:lnTo>
                      <a:pt x="568" y="118"/>
                    </a:lnTo>
                    <a:lnTo>
                      <a:pt x="568" y="116"/>
                    </a:lnTo>
                    <a:lnTo>
                      <a:pt x="568" y="116"/>
                    </a:lnTo>
                    <a:lnTo>
                      <a:pt x="568" y="115"/>
                    </a:lnTo>
                    <a:lnTo>
                      <a:pt x="566" y="114"/>
                    </a:lnTo>
                    <a:lnTo>
                      <a:pt x="565" y="114"/>
                    </a:lnTo>
                    <a:lnTo>
                      <a:pt x="565" y="112"/>
                    </a:lnTo>
                    <a:lnTo>
                      <a:pt x="565" y="111"/>
                    </a:lnTo>
                    <a:close/>
                    <a:moveTo>
                      <a:pt x="588" y="154"/>
                    </a:moveTo>
                    <a:lnTo>
                      <a:pt x="596" y="154"/>
                    </a:lnTo>
                    <a:lnTo>
                      <a:pt x="596" y="154"/>
                    </a:lnTo>
                    <a:lnTo>
                      <a:pt x="598" y="155"/>
                    </a:lnTo>
                    <a:lnTo>
                      <a:pt x="598" y="155"/>
                    </a:lnTo>
                    <a:lnTo>
                      <a:pt x="599" y="155"/>
                    </a:lnTo>
                    <a:lnTo>
                      <a:pt x="599" y="154"/>
                    </a:lnTo>
                    <a:lnTo>
                      <a:pt x="602" y="152"/>
                    </a:lnTo>
                    <a:lnTo>
                      <a:pt x="602" y="152"/>
                    </a:lnTo>
                    <a:lnTo>
                      <a:pt x="605" y="152"/>
                    </a:lnTo>
                    <a:lnTo>
                      <a:pt x="607" y="154"/>
                    </a:lnTo>
                    <a:lnTo>
                      <a:pt x="611" y="155"/>
                    </a:lnTo>
                    <a:lnTo>
                      <a:pt x="612" y="155"/>
                    </a:lnTo>
                    <a:lnTo>
                      <a:pt x="618" y="157"/>
                    </a:lnTo>
                    <a:lnTo>
                      <a:pt x="619" y="157"/>
                    </a:lnTo>
                    <a:lnTo>
                      <a:pt x="621" y="158"/>
                    </a:lnTo>
                    <a:lnTo>
                      <a:pt x="622" y="160"/>
                    </a:lnTo>
                    <a:lnTo>
                      <a:pt x="627" y="165"/>
                    </a:lnTo>
                    <a:lnTo>
                      <a:pt x="627" y="167"/>
                    </a:lnTo>
                    <a:lnTo>
                      <a:pt x="627" y="168"/>
                    </a:lnTo>
                    <a:lnTo>
                      <a:pt x="627" y="171"/>
                    </a:lnTo>
                    <a:lnTo>
                      <a:pt x="609" y="162"/>
                    </a:lnTo>
                    <a:lnTo>
                      <a:pt x="608" y="162"/>
                    </a:lnTo>
                    <a:lnTo>
                      <a:pt x="607" y="162"/>
                    </a:lnTo>
                    <a:lnTo>
                      <a:pt x="605" y="162"/>
                    </a:lnTo>
                    <a:lnTo>
                      <a:pt x="604" y="162"/>
                    </a:lnTo>
                    <a:lnTo>
                      <a:pt x="604" y="164"/>
                    </a:lnTo>
                    <a:lnTo>
                      <a:pt x="604" y="164"/>
                    </a:lnTo>
                    <a:lnTo>
                      <a:pt x="602" y="164"/>
                    </a:lnTo>
                    <a:lnTo>
                      <a:pt x="601" y="164"/>
                    </a:lnTo>
                    <a:lnTo>
                      <a:pt x="594" y="162"/>
                    </a:lnTo>
                    <a:lnTo>
                      <a:pt x="594" y="161"/>
                    </a:lnTo>
                    <a:lnTo>
                      <a:pt x="594" y="161"/>
                    </a:lnTo>
                    <a:lnTo>
                      <a:pt x="594" y="161"/>
                    </a:lnTo>
                    <a:lnTo>
                      <a:pt x="594" y="161"/>
                    </a:lnTo>
                    <a:lnTo>
                      <a:pt x="591" y="161"/>
                    </a:lnTo>
                    <a:lnTo>
                      <a:pt x="589" y="162"/>
                    </a:lnTo>
                    <a:lnTo>
                      <a:pt x="588" y="164"/>
                    </a:lnTo>
                    <a:lnTo>
                      <a:pt x="585" y="164"/>
                    </a:lnTo>
                    <a:lnTo>
                      <a:pt x="582" y="161"/>
                    </a:lnTo>
                    <a:lnTo>
                      <a:pt x="581" y="160"/>
                    </a:lnTo>
                    <a:lnTo>
                      <a:pt x="579" y="160"/>
                    </a:lnTo>
                    <a:lnTo>
                      <a:pt x="578" y="161"/>
                    </a:lnTo>
                    <a:lnTo>
                      <a:pt x="576" y="164"/>
                    </a:lnTo>
                    <a:lnTo>
                      <a:pt x="576" y="165"/>
                    </a:lnTo>
                    <a:lnTo>
                      <a:pt x="576" y="162"/>
                    </a:lnTo>
                    <a:lnTo>
                      <a:pt x="576" y="161"/>
                    </a:lnTo>
                    <a:lnTo>
                      <a:pt x="576" y="160"/>
                    </a:lnTo>
                    <a:lnTo>
                      <a:pt x="578" y="158"/>
                    </a:lnTo>
                    <a:lnTo>
                      <a:pt x="579" y="155"/>
                    </a:lnTo>
                    <a:lnTo>
                      <a:pt x="582" y="154"/>
                    </a:lnTo>
                    <a:lnTo>
                      <a:pt x="584" y="154"/>
                    </a:lnTo>
                    <a:lnTo>
                      <a:pt x="588" y="154"/>
                    </a:lnTo>
                    <a:close/>
                    <a:moveTo>
                      <a:pt x="566" y="91"/>
                    </a:moveTo>
                    <a:lnTo>
                      <a:pt x="568" y="91"/>
                    </a:lnTo>
                    <a:lnTo>
                      <a:pt x="568" y="92"/>
                    </a:lnTo>
                    <a:lnTo>
                      <a:pt x="566" y="92"/>
                    </a:lnTo>
                    <a:lnTo>
                      <a:pt x="566" y="91"/>
                    </a:lnTo>
                    <a:close/>
                    <a:moveTo>
                      <a:pt x="568" y="102"/>
                    </a:moveTo>
                    <a:lnTo>
                      <a:pt x="568" y="101"/>
                    </a:lnTo>
                    <a:lnTo>
                      <a:pt x="568" y="102"/>
                    </a:lnTo>
                    <a:lnTo>
                      <a:pt x="568" y="102"/>
                    </a:lnTo>
                    <a:lnTo>
                      <a:pt x="568" y="104"/>
                    </a:lnTo>
                    <a:lnTo>
                      <a:pt x="568" y="104"/>
                    </a:lnTo>
                    <a:lnTo>
                      <a:pt x="568" y="104"/>
                    </a:lnTo>
                    <a:lnTo>
                      <a:pt x="568" y="104"/>
                    </a:lnTo>
                    <a:lnTo>
                      <a:pt x="566" y="104"/>
                    </a:lnTo>
                    <a:lnTo>
                      <a:pt x="566" y="102"/>
                    </a:lnTo>
                    <a:lnTo>
                      <a:pt x="568" y="102"/>
                    </a:lnTo>
                    <a:close/>
                    <a:moveTo>
                      <a:pt x="617" y="108"/>
                    </a:moveTo>
                    <a:lnTo>
                      <a:pt x="621" y="105"/>
                    </a:lnTo>
                    <a:lnTo>
                      <a:pt x="627" y="104"/>
                    </a:lnTo>
                    <a:lnTo>
                      <a:pt x="632" y="105"/>
                    </a:lnTo>
                    <a:lnTo>
                      <a:pt x="637" y="109"/>
                    </a:lnTo>
                    <a:lnTo>
                      <a:pt x="632" y="111"/>
                    </a:lnTo>
                    <a:lnTo>
                      <a:pt x="630" y="109"/>
                    </a:lnTo>
                    <a:lnTo>
                      <a:pt x="627" y="106"/>
                    </a:lnTo>
                    <a:lnTo>
                      <a:pt x="624" y="105"/>
                    </a:lnTo>
                    <a:lnTo>
                      <a:pt x="624" y="106"/>
                    </a:lnTo>
                    <a:lnTo>
                      <a:pt x="627" y="109"/>
                    </a:lnTo>
                    <a:lnTo>
                      <a:pt x="628" y="111"/>
                    </a:lnTo>
                    <a:lnTo>
                      <a:pt x="627" y="111"/>
                    </a:lnTo>
                    <a:lnTo>
                      <a:pt x="625" y="111"/>
                    </a:lnTo>
                    <a:lnTo>
                      <a:pt x="625" y="109"/>
                    </a:lnTo>
                    <a:lnTo>
                      <a:pt x="624" y="109"/>
                    </a:lnTo>
                    <a:lnTo>
                      <a:pt x="622" y="109"/>
                    </a:lnTo>
                    <a:lnTo>
                      <a:pt x="618" y="108"/>
                    </a:lnTo>
                    <a:lnTo>
                      <a:pt x="617" y="108"/>
                    </a:lnTo>
                    <a:close/>
                    <a:moveTo>
                      <a:pt x="647" y="229"/>
                    </a:moveTo>
                    <a:lnTo>
                      <a:pt x="647" y="230"/>
                    </a:lnTo>
                    <a:lnTo>
                      <a:pt x="647" y="231"/>
                    </a:lnTo>
                    <a:lnTo>
                      <a:pt x="647" y="231"/>
                    </a:lnTo>
                    <a:lnTo>
                      <a:pt x="645" y="230"/>
                    </a:lnTo>
                    <a:lnTo>
                      <a:pt x="644" y="230"/>
                    </a:lnTo>
                    <a:lnTo>
                      <a:pt x="644" y="229"/>
                    </a:lnTo>
                    <a:lnTo>
                      <a:pt x="645" y="229"/>
                    </a:lnTo>
                    <a:lnTo>
                      <a:pt x="647" y="229"/>
                    </a:lnTo>
                    <a:close/>
                    <a:moveTo>
                      <a:pt x="562" y="108"/>
                    </a:moveTo>
                    <a:lnTo>
                      <a:pt x="565" y="109"/>
                    </a:lnTo>
                    <a:lnTo>
                      <a:pt x="565" y="109"/>
                    </a:lnTo>
                    <a:lnTo>
                      <a:pt x="565" y="111"/>
                    </a:lnTo>
                    <a:lnTo>
                      <a:pt x="563" y="112"/>
                    </a:lnTo>
                    <a:lnTo>
                      <a:pt x="563" y="112"/>
                    </a:lnTo>
                    <a:lnTo>
                      <a:pt x="562" y="112"/>
                    </a:lnTo>
                    <a:lnTo>
                      <a:pt x="562" y="109"/>
                    </a:lnTo>
                    <a:lnTo>
                      <a:pt x="562" y="108"/>
                    </a:lnTo>
                    <a:close/>
                    <a:moveTo>
                      <a:pt x="565" y="115"/>
                    </a:moveTo>
                    <a:lnTo>
                      <a:pt x="565" y="118"/>
                    </a:lnTo>
                    <a:lnTo>
                      <a:pt x="563" y="116"/>
                    </a:lnTo>
                    <a:lnTo>
                      <a:pt x="563" y="115"/>
                    </a:lnTo>
                    <a:lnTo>
                      <a:pt x="565" y="115"/>
                    </a:lnTo>
                    <a:close/>
                    <a:moveTo>
                      <a:pt x="559" y="160"/>
                    </a:moveTo>
                    <a:lnTo>
                      <a:pt x="562" y="161"/>
                    </a:lnTo>
                    <a:lnTo>
                      <a:pt x="563" y="165"/>
                    </a:lnTo>
                    <a:lnTo>
                      <a:pt x="563" y="167"/>
                    </a:lnTo>
                    <a:lnTo>
                      <a:pt x="561" y="168"/>
                    </a:lnTo>
                    <a:lnTo>
                      <a:pt x="558" y="170"/>
                    </a:lnTo>
                    <a:lnTo>
                      <a:pt x="555" y="171"/>
                    </a:lnTo>
                    <a:lnTo>
                      <a:pt x="551" y="170"/>
                    </a:lnTo>
                    <a:lnTo>
                      <a:pt x="548" y="168"/>
                    </a:lnTo>
                    <a:lnTo>
                      <a:pt x="545" y="167"/>
                    </a:lnTo>
                    <a:lnTo>
                      <a:pt x="543" y="165"/>
                    </a:lnTo>
                    <a:lnTo>
                      <a:pt x="543" y="162"/>
                    </a:lnTo>
                    <a:lnTo>
                      <a:pt x="542" y="161"/>
                    </a:lnTo>
                    <a:lnTo>
                      <a:pt x="543" y="160"/>
                    </a:lnTo>
                    <a:lnTo>
                      <a:pt x="543" y="158"/>
                    </a:lnTo>
                    <a:lnTo>
                      <a:pt x="545" y="158"/>
                    </a:lnTo>
                    <a:lnTo>
                      <a:pt x="552" y="158"/>
                    </a:lnTo>
                    <a:lnTo>
                      <a:pt x="556" y="158"/>
                    </a:lnTo>
                    <a:lnTo>
                      <a:pt x="559" y="160"/>
                    </a:lnTo>
                    <a:close/>
                    <a:moveTo>
                      <a:pt x="543" y="147"/>
                    </a:moveTo>
                    <a:lnTo>
                      <a:pt x="542" y="145"/>
                    </a:lnTo>
                    <a:lnTo>
                      <a:pt x="540" y="144"/>
                    </a:lnTo>
                    <a:lnTo>
                      <a:pt x="540" y="141"/>
                    </a:lnTo>
                    <a:lnTo>
                      <a:pt x="540" y="139"/>
                    </a:lnTo>
                    <a:lnTo>
                      <a:pt x="540" y="138"/>
                    </a:lnTo>
                    <a:lnTo>
                      <a:pt x="542" y="141"/>
                    </a:lnTo>
                    <a:lnTo>
                      <a:pt x="543" y="145"/>
                    </a:lnTo>
                    <a:lnTo>
                      <a:pt x="543" y="147"/>
                    </a:lnTo>
                    <a:lnTo>
                      <a:pt x="543" y="147"/>
                    </a:lnTo>
                    <a:lnTo>
                      <a:pt x="543" y="147"/>
                    </a:lnTo>
                    <a:close/>
                    <a:moveTo>
                      <a:pt x="540" y="240"/>
                    </a:moveTo>
                    <a:lnTo>
                      <a:pt x="542" y="239"/>
                    </a:lnTo>
                    <a:lnTo>
                      <a:pt x="542" y="239"/>
                    </a:lnTo>
                    <a:lnTo>
                      <a:pt x="545" y="240"/>
                    </a:lnTo>
                    <a:lnTo>
                      <a:pt x="546" y="240"/>
                    </a:lnTo>
                    <a:lnTo>
                      <a:pt x="548" y="239"/>
                    </a:lnTo>
                    <a:lnTo>
                      <a:pt x="551" y="237"/>
                    </a:lnTo>
                    <a:lnTo>
                      <a:pt x="552" y="237"/>
                    </a:lnTo>
                    <a:lnTo>
                      <a:pt x="553" y="237"/>
                    </a:lnTo>
                    <a:lnTo>
                      <a:pt x="556" y="239"/>
                    </a:lnTo>
                    <a:lnTo>
                      <a:pt x="556" y="240"/>
                    </a:lnTo>
                    <a:lnTo>
                      <a:pt x="556" y="240"/>
                    </a:lnTo>
                    <a:lnTo>
                      <a:pt x="555" y="240"/>
                    </a:lnTo>
                    <a:lnTo>
                      <a:pt x="552" y="242"/>
                    </a:lnTo>
                    <a:lnTo>
                      <a:pt x="551" y="242"/>
                    </a:lnTo>
                    <a:lnTo>
                      <a:pt x="551" y="243"/>
                    </a:lnTo>
                    <a:lnTo>
                      <a:pt x="549" y="243"/>
                    </a:lnTo>
                    <a:lnTo>
                      <a:pt x="548" y="243"/>
                    </a:lnTo>
                    <a:lnTo>
                      <a:pt x="546" y="243"/>
                    </a:lnTo>
                    <a:lnTo>
                      <a:pt x="543" y="243"/>
                    </a:lnTo>
                    <a:lnTo>
                      <a:pt x="542" y="243"/>
                    </a:lnTo>
                    <a:lnTo>
                      <a:pt x="539" y="244"/>
                    </a:lnTo>
                    <a:lnTo>
                      <a:pt x="539" y="243"/>
                    </a:lnTo>
                    <a:lnTo>
                      <a:pt x="539" y="242"/>
                    </a:lnTo>
                    <a:lnTo>
                      <a:pt x="540" y="240"/>
                    </a:lnTo>
                    <a:close/>
                    <a:moveTo>
                      <a:pt x="479" y="193"/>
                    </a:moveTo>
                    <a:lnTo>
                      <a:pt x="479" y="191"/>
                    </a:lnTo>
                    <a:lnTo>
                      <a:pt x="479" y="190"/>
                    </a:lnTo>
                    <a:lnTo>
                      <a:pt x="479" y="190"/>
                    </a:lnTo>
                    <a:lnTo>
                      <a:pt x="479" y="188"/>
                    </a:lnTo>
                    <a:lnTo>
                      <a:pt x="479" y="187"/>
                    </a:lnTo>
                    <a:lnTo>
                      <a:pt x="482" y="185"/>
                    </a:lnTo>
                    <a:lnTo>
                      <a:pt x="483" y="185"/>
                    </a:lnTo>
                    <a:lnTo>
                      <a:pt x="484" y="187"/>
                    </a:lnTo>
                    <a:lnTo>
                      <a:pt x="484" y="188"/>
                    </a:lnTo>
                    <a:lnTo>
                      <a:pt x="484" y="190"/>
                    </a:lnTo>
                    <a:lnTo>
                      <a:pt x="484" y="191"/>
                    </a:lnTo>
                    <a:lnTo>
                      <a:pt x="483" y="193"/>
                    </a:lnTo>
                    <a:lnTo>
                      <a:pt x="483" y="194"/>
                    </a:lnTo>
                    <a:lnTo>
                      <a:pt x="483" y="196"/>
                    </a:lnTo>
                    <a:lnTo>
                      <a:pt x="483" y="197"/>
                    </a:lnTo>
                    <a:lnTo>
                      <a:pt x="483" y="197"/>
                    </a:lnTo>
                    <a:lnTo>
                      <a:pt x="482" y="198"/>
                    </a:lnTo>
                    <a:lnTo>
                      <a:pt x="480" y="198"/>
                    </a:lnTo>
                    <a:lnTo>
                      <a:pt x="479" y="198"/>
                    </a:lnTo>
                    <a:lnTo>
                      <a:pt x="477" y="198"/>
                    </a:lnTo>
                    <a:lnTo>
                      <a:pt x="477" y="197"/>
                    </a:lnTo>
                    <a:lnTo>
                      <a:pt x="477" y="196"/>
                    </a:lnTo>
                    <a:lnTo>
                      <a:pt x="479" y="193"/>
                    </a:lnTo>
                    <a:close/>
                    <a:moveTo>
                      <a:pt x="470" y="198"/>
                    </a:moveTo>
                    <a:lnTo>
                      <a:pt x="469" y="196"/>
                    </a:lnTo>
                    <a:lnTo>
                      <a:pt x="469" y="194"/>
                    </a:lnTo>
                    <a:lnTo>
                      <a:pt x="470" y="194"/>
                    </a:lnTo>
                    <a:lnTo>
                      <a:pt x="472" y="193"/>
                    </a:lnTo>
                    <a:lnTo>
                      <a:pt x="472" y="194"/>
                    </a:lnTo>
                    <a:lnTo>
                      <a:pt x="473" y="197"/>
                    </a:lnTo>
                    <a:lnTo>
                      <a:pt x="473" y="198"/>
                    </a:lnTo>
                    <a:lnTo>
                      <a:pt x="470" y="198"/>
                    </a:lnTo>
                    <a:close/>
                    <a:moveTo>
                      <a:pt x="499" y="131"/>
                    </a:moveTo>
                    <a:lnTo>
                      <a:pt x="500" y="134"/>
                    </a:lnTo>
                    <a:lnTo>
                      <a:pt x="497" y="134"/>
                    </a:lnTo>
                    <a:lnTo>
                      <a:pt x="497" y="131"/>
                    </a:lnTo>
                    <a:lnTo>
                      <a:pt x="499" y="131"/>
                    </a:lnTo>
                    <a:close/>
                    <a:moveTo>
                      <a:pt x="499" y="197"/>
                    </a:moveTo>
                    <a:lnTo>
                      <a:pt x="500" y="197"/>
                    </a:lnTo>
                    <a:lnTo>
                      <a:pt x="500" y="197"/>
                    </a:lnTo>
                    <a:lnTo>
                      <a:pt x="500" y="197"/>
                    </a:lnTo>
                    <a:lnTo>
                      <a:pt x="500" y="198"/>
                    </a:lnTo>
                    <a:lnTo>
                      <a:pt x="500" y="198"/>
                    </a:lnTo>
                    <a:lnTo>
                      <a:pt x="499" y="198"/>
                    </a:lnTo>
                    <a:lnTo>
                      <a:pt x="499" y="197"/>
                    </a:lnTo>
                    <a:lnTo>
                      <a:pt x="499" y="197"/>
                    </a:lnTo>
                    <a:close/>
                    <a:moveTo>
                      <a:pt x="499" y="127"/>
                    </a:moveTo>
                    <a:lnTo>
                      <a:pt x="499" y="129"/>
                    </a:lnTo>
                    <a:lnTo>
                      <a:pt x="496" y="129"/>
                    </a:lnTo>
                    <a:lnTo>
                      <a:pt x="495" y="129"/>
                    </a:lnTo>
                    <a:lnTo>
                      <a:pt x="495" y="129"/>
                    </a:lnTo>
                    <a:lnTo>
                      <a:pt x="493" y="131"/>
                    </a:lnTo>
                    <a:lnTo>
                      <a:pt x="493" y="132"/>
                    </a:lnTo>
                    <a:lnTo>
                      <a:pt x="492" y="131"/>
                    </a:lnTo>
                    <a:lnTo>
                      <a:pt x="492" y="129"/>
                    </a:lnTo>
                    <a:lnTo>
                      <a:pt x="492" y="128"/>
                    </a:lnTo>
                    <a:lnTo>
                      <a:pt x="492" y="127"/>
                    </a:lnTo>
                    <a:lnTo>
                      <a:pt x="490" y="128"/>
                    </a:lnTo>
                    <a:lnTo>
                      <a:pt x="489" y="131"/>
                    </a:lnTo>
                    <a:lnTo>
                      <a:pt x="487" y="131"/>
                    </a:lnTo>
                    <a:lnTo>
                      <a:pt x="486" y="129"/>
                    </a:lnTo>
                    <a:lnTo>
                      <a:pt x="486" y="128"/>
                    </a:lnTo>
                    <a:lnTo>
                      <a:pt x="487" y="125"/>
                    </a:lnTo>
                    <a:lnTo>
                      <a:pt x="489" y="125"/>
                    </a:lnTo>
                    <a:lnTo>
                      <a:pt x="492" y="124"/>
                    </a:lnTo>
                    <a:lnTo>
                      <a:pt x="493" y="125"/>
                    </a:lnTo>
                    <a:lnTo>
                      <a:pt x="493" y="127"/>
                    </a:lnTo>
                    <a:lnTo>
                      <a:pt x="493" y="128"/>
                    </a:lnTo>
                    <a:lnTo>
                      <a:pt x="496" y="125"/>
                    </a:lnTo>
                    <a:lnTo>
                      <a:pt x="499" y="127"/>
                    </a:lnTo>
                    <a:close/>
                    <a:moveTo>
                      <a:pt x="532" y="137"/>
                    </a:moveTo>
                    <a:lnTo>
                      <a:pt x="535" y="135"/>
                    </a:lnTo>
                    <a:lnTo>
                      <a:pt x="539" y="135"/>
                    </a:lnTo>
                    <a:lnTo>
                      <a:pt x="548" y="135"/>
                    </a:lnTo>
                    <a:lnTo>
                      <a:pt x="545" y="137"/>
                    </a:lnTo>
                    <a:lnTo>
                      <a:pt x="539" y="138"/>
                    </a:lnTo>
                    <a:lnTo>
                      <a:pt x="533" y="138"/>
                    </a:lnTo>
                    <a:lnTo>
                      <a:pt x="532" y="137"/>
                    </a:lnTo>
                    <a:close/>
                    <a:moveTo>
                      <a:pt x="444" y="214"/>
                    </a:moveTo>
                    <a:lnTo>
                      <a:pt x="444" y="213"/>
                    </a:lnTo>
                    <a:lnTo>
                      <a:pt x="444" y="211"/>
                    </a:lnTo>
                    <a:lnTo>
                      <a:pt x="444" y="207"/>
                    </a:lnTo>
                    <a:lnTo>
                      <a:pt x="446" y="206"/>
                    </a:lnTo>
                    <a:lnTo>
                      <a:pt x="446" y="208"/>
                    </a:lnTo>
                    <a:lnTo>
                      <a:pt x="446" y="211"/>
                    </a:lnTo>
                    <a:lnTo>
                      <a:pt x="446" y="214"/>
                    </a:lnTo>
                    <a:lnTo>
                      <a:pt x="446" y="217"/>
                    </a:lnTo>
                    <a:lnTo>
                      <a:pt x="444" y="214"/>
                    </a:lnTo>
                    <a:close/>
                    <a:moveTo>
                      <a:pt x="503" y="138"/>
                    </a:moveTo>
                    <a:lnTo>
                      <a:pt x="503" y="138"/>
                    </a:lnTo>
                    <a:lnTo>
                      <a:pt x="503" y="138"/>
                    </a:lnTo>
                    <a:lnTo>
                      <a:pt x="503" y="138"/>
                    </a:lnTo>
                    <a:lnTo>
                      <a:pt x="503" y="138"/>
                    </a:lnTo>
                    <a:lnTo>
                      <a:pt x="505" y="138"/>
                    </a:lnTo>
                    <a:lnTo>
                      <a:pt x="505" y="138"/>
                    </a:lnTo>
                    <a:lnTo>
                      <a:pt x="503" y="138"/>
                    </a:lnTo>
                    <a:lnTo>
                      <a:pt x="503" y="138"/>
                    </a:lnTo>
                    <a:close/>
                    <a:moveTo>
                      <a:pt x="528" y="137"/>
                    </a:moveTo>
                    <a:lnTo>
                      <a:pt x="526" y="138"/>
                    </a:lnTo>
                    <a:lnTo>
                      <a:pt x="525" y="138"/>
                    </a:lnTo>
                    <a:lnTo>
                      <a:pt x="523" y="137"/>
                    </a:lnTo>
                    <a:lnTo>
                      <a:pt x="522" y="137"/>
                    </a:lnTo>
                    <a:lnTo>
                      <a:pt x="520" y="137"/>
                    </a:lnTo>
                    <a:lnTo>
                      <a:pt x="519" y="138"/>
                    </a:lnTo>
                    <a:lnTo>
                      <a:pt x="517" y="138"/>
                    </a:lnTo>
                    <a:lnTo>
                      <a:pt x="515" y="138"/>
                    </a:lnTo>
                    <a:lnTo>
                      <a:pt x="513" y="137"/>
                    </a:lnTo>
                    <a:lnTo>
                      <a:pt x="513" y="135"/>
                    </a:lnTo>
                    <a:lnTo>
                      <a:pt x="515" y="132"/>
                    </a:lnTo>
                    <a:lnTo>
                      <a:pt x="517" y="132"/>
                    </a:lnTo>
                    <a:lnTo>
                      <a:pt x="522" y="132"/>
                    </a:lnTo>
                    <a:lnTo>
                      <a:pt x="526" y="134"/>
                    </a:lnTo>
                    <a:lnTo>
                      <a:pt x="528" y="135"/>
                    </a:lnTo>
                    <a:lnTo>
                      <a:pt x="530" y="135"/>
                    </a:lnTo>
                    <a:lnTo>
                      <a:pt x="530" y="137"/>
                    </a:lnTo>
                    <a:lnTo>
                      <a:pt x="529" y="137"/>
                    </a:lnTo>
                    <a:lnTo>
                      <a:pt x="528" y="137"/>
                    </a:lnTo>
                    <a:close/>
                    <a:moveTo>
                      <a:pt x="507" y="208"/>
                    </a:moveTo>
                    <a:lnTo>
                      <a:pt x="507" y="208"/>
                    </a:lnTo>
                    <a:lnTo>
                      <a:pt x="506" y="207"/>
                    </a:lnTo>
                    <a:lnTo>
                      <a:pt x="507" y="207"/>
                    </a:lnTo>
                    <a:lnTo>
                      <a:pt x="507" y="208"/>
                    </a:lnTo>
                    <a:lnTo>
                      <a:pt x="507" y="208"/>
                    </a:lnTo>
                    <a:lnTo>
                      <a:pt x="507" y="208"/>
                    </a:lnTo>
                    <a:lnTo>
                      <a:pt x="507" y="208"/>
                    </a:lnTo>
                    <a:lnTo>
                      <a:pt x="507" y="208"/>
                    </a:lnTo>
                    <a:close/>
                    <a:moveTo>
                      <a:pt x="490" y="174"/>
                    </a:moveTo>
                    <a:lnTo>
                      <a:pt x="492" y="174"/>
                    </a:lnTo>
                    <a:lnTo>
                      <a:pt x="493" y="174"/>
                    </a:lnTo>
                    <a:lnTo>
                      <a:pt x="493" y="177"/>
                    </a:lnTo>
                    <a:lnTo>
                      <a:pt x="492" y="178"/>
                    </a:lnTo>
                    <a:lnTo>
                      <a:pt x="490" y="178"/>
                    </a:lnTo>
                    <a:lnTo>
                      <a:pt x="489" y="177"/>
                    </a:lnTo>
                    <a:lnTo>
                      <a:pt x="489" y="174"/>
                    </a:lnTo>
                    <a:lnTo>
                      <a:pt x="490" y="174"/>
                    </a:lnTo>
                    <a:close/>
                    <a:moveTo>
                      <a:pt x="492" y="135"/>
                    </a:moveTo>
                    <a:lnTo>
                      <a:pt x="492" y="135"/>
                    </a:lnTo>
                    <a:lnTo>
                      <a:pt x="490" y="137"/>
                    </a:lnTo>
                    <a:lnTo>
                      <a:pt x="490" y="135"/>
                    </a:lnTo>
                    <a:lnTo>
                      <a:pt x="492" y="135"/>
                    </a:lnTo>
                    <a:lnTo>
                      <a:pt x="492" y="135"/>
                    </a:lnTo>
                    <a:close/>
                    <a:moveTo>
                      <a:pt x="487" y="185"/>
                    </a:moveTo>
                    <a:lnTo>
                      <a:pt x="487" y="183"/>
                    </a:lnTo>
                    <a:lnTo>
                      <a:pt x="490" y="181"/>
                    </a:lnTo>
                    <a:lnTo>
                      <a:pt x="492" y="184"/>
                    </a:lnTo>
                    <a:lnTo>
                      <a:pt x="493" y="187"/>
                    </a:lnTo>
                    <a:lnTo>
                      <a:pt x="493" y="188"/>
                    </a:lnTo>
                    <a:lnTo>
                      <a:pt x="492" y="187"/>
                    </a:lnTo>
                    <a:lnTo>
                      <a:pt x="490" y="188"/>
                    </a:lnTo>
                    <a:lnTo>
                      <a:pt x="489" y="193"/>
                    </a:lnTo>
                    <a:lnTo>
                      <a:pt x="489" y="196"/>
                    </a:lnTo>
                    <a:lnTo>
                      <a:pt x="490" y="194"/>
                    </a:lnTo>
                    <a:lnTo>
                      <a:pt x="492" y="196"/>
                    </a:lnTo>
                    <a:lnTo>
                      <a:pt x="493" y="197"/>
                    </a:lnTo>
                    <a:lnTo>
                      <a:pt x="492" y="198"/>
                    </a:lnTo>
                    <a:lnTo>
                      <a:pt x="492" y="198"/>
                    </a:lnTo>
                    <a:lnTo>
                      <a:pt x="490" y="198"/>
                    </a:lnTo>
                    <a:lnTo>
                      <a:pt x="489" y="198"/>
                    </a:lnTo>
                    <a:lnTo>
                      <a:pt x="489" y="200"/>
                    </a:lnTo>
                    <a:lnTo>
                      <a:pt x="487" y="200"/>
                    </a:lnTo>
                    <a:lnTo>
                      <a:pt x="487" y="201"/>
                    </a:lnTo>
                    <a:lnTo>
                      <a:pt x="487" y="203"/>
                    </a:lnTo>
                    <a:lnTo>
                      <a:pt x="486" y="204"/>
                    </a:lnTo>
                    <a:lnTo>
                      <a:pt x="484" y="204"/>
                    </a:lnTo>
                    <a:lnTo>
                      <a:pt x="483" y="203"/>
                    </a:lnTo>
                    <a:lnTo>
                      <a:pt x="483" y="203"/>
                    </a:lnTo>
                    <a:lnTo>
                      <a:pt x="482" y="201"/>
                    </a:lnTo>
                    <a:lnTo>
                      <a:pt x="483" y="198"/>
                    </a:lnTo>
                    <a:lnTo>
                      <a:pt x="484" y="194"/>
                    </a:lnTo>
                    <a:lnTo>
                      <a:pt x="486" y="193"/>
                    </a:lnTo>
                    <a:lnTo>
                      <a:pt x="487" y="185"/>
                    </a:lnTo>
                    <a:close/>
                    <a:moveTo>
                      <a:pt x="467" y="111"/>
                    </a:moveTo>
                    <a:lnTo>
                      <a:pt x="469" y="111"/>
                    </a:lnTo>
                    <a:lnTo>
                      <a:pt x="470" y="112"/>
                    </a:lnTo>
                    <a:lnTo>
                      <a:pt x="469" y="112"/>
                    </a:lnTo>
                    <a:lnTo>
                      <a:pt x="467" y="112"/>
                    </a:lnTo>
                    <a:lnTo>
                      <a:pt x="466" y="112"/>
                    </a:lnTo>
                    <a:lnTo>
                      <a:pt x="466" y="112"/>
                    </a:lnTo>
                    <a:lnTo>
                      <a:pt x="467" y="111"/>
                    </a:lnTo>
                    <a:close/>
                    <a:moveTo>
                      <a:pt x="500" y="253"/>
                    </a:moveTo>
                    <a:lnTo>
                      <a:pt x="499" y="254"/>
                    </a:lnTo>
                    <a:lnTo>
                      <a:pt x="496" y="254"/>
                    </a:lnTo>
                    <a:lnTo>
                      <a:pt x="493" y="254"/>
                    </a:lnTo>
                    <a:lnTo>
                      <a:pt x="495" y="253"/>
                    </a:lnTo>
                    <a:lnTo>
                      <a:pt x="497" y="250"/>
                    </a:lnTo>
                    <a:lnTo>
                      <a:pt x="497" y="250"/>
                    </a:lnTo>
                    <a:lnTo>
                      <a:pt x="496" y="250"/>
                    </a:lnTo>
                    <a:lnTo>
                      <a:pt x="500" y="250"/>
                    </a:lnTo>
                    <a:lnTo>
                      <a:pt x="502" y="249"/>
                    </a:lnTo>
                    <a:lnTo>
                      <a:pt x="503" y="249"/>
                    </a:lnTo>
                    <a:lnTo>
                      <a:pt x="505" y="249"/>
                    </a:lnTo>
                    <a:lnTo>
                      <a:pt x="506" y="250"/>
                    </a:lnTo>
                    <a:lnTo>
                      <a:pt x="503" y="250"/>
                    </a:lnTo>
                    <a:lnTo>
                      <a:pt x="502" y="252"/>
                    </a:lnTo>
                    <a:lnTo>
                      <a:pt x="500" y="253"/>
                    </a:lnTo>
                    <a:close/>
                    <a:moveTo>
                      <a:pt x="469" y="290"/>
                    </a:moveTo>
                    <a:lnTo>
                      <a:pt x="472" y="289"/>
                    </a:lnTo>
                    <a:lnTo>
                      <a:pt x="470" y="289"/>
                    </a:lnTo>
                    <a:lnTo>
                      <a:pt x="467" y="290"/>
                    </a:lnTo>
                    <a:lnTo>
                      <a:pt x="469" y="290"/>
                    </a:lnTo>
                    <a:close/>
                    <a:moveTo>
                      <a:pt x="480" y="257"/>
                    </a:moveTo>
                    <a:lnTo>
                      <a:pt x="482" y="257"/>
                    </a:lnTo>
                    <a:lnTo>
                      <a:pt x="483" y="256"/>
                    </a:lnTo>
                    <a:lnTo>
                      <a:pt x="486" y="256"/>
                    </a:lnTo>
                    <a:lnTo>
                      <a:pt x="486" y="254"/>
                    </a:lnTo>
                    <a:lnTo>
                      <a:pt x="486" y="254"/>
                    </a:lnTo>
                    <a:lnTo>
                      <a:pt x="486" y="253"/>
                    </a:lnTo>
                    <a:lnTo>
                      <a:pt x="487" y="252"/>
                    </a:lnTo>
                    <a:lnTo>
                      <a:pt x="489" y="252"/>
                    </a:lnTo>
                    <a:lnTo>
                      <a:pt x="489" y="250"/>
                    </a:lnTo>
                    <a:lnTo>
                      <a:pt x="489" y="249"/>
                    </a:lnTo>
                    <a:lnTo>
                      <a:pt x="489" y="247"/>
                    </a:lnTo>
                    <a:lnTo>
                      <a:pt x="487" y="247"/>
                    </a:lnTo>
                    <a:lnTo>
                      <a:pt x="486" y="247"/>
                    </a:lnTo>
                    <a:lnTo>
                      <a:pt x="484" y="249"/>
                    </a:lnTo>
                    <a:lnTo>
                      <a:pt x="486" y="249"/>
                    </a:lnTo>
                    <a:lnTo>
                      <a:pt x="487" y="249"/>
                    </a:lnTo>
                    <a:lnTo>
                      <a:pt x="487" y="249"/>
                    </a:lnTo>
                    <a:lnTo>
                      <a:pt x="486" y="250"/>
                    </a:lnTo>
                    <a:lnTo>
                      <a:pt x="484" y="252"/>
                    </a:lnTo>
                    <a:lnTo>
                      <a:pt x="483" y="252"/>
                    </a:lnTo>
                    <a:lnTo>
                      <a:pt x="480" y="253"/>
                    </a:lnTo>
                    <a:lnTo>
                      <a:pt x="480" y="254"/>
                    </a:lnTo>
                    <a:lnTo>
                      <a:pt x="479" y="256"/>
                    </a:lnTo>
                    <a:lnTo>
                      <a:pt x="479" y="256"/>
                    </a:lnTo>
                    <a:lnTo>
                      <a:pt x="476" y="256"/>
                    </a:lnTo>
                    <a:lnTo>
                      <a:pt x="474" y="256"/>
                    </a:lnTo>
                    <a:lnTo>
                      <a:pt x="472" y="254"/>
                    </a:lnTo>
                    <a:lnTo>
                      <a:pt x="470" y="253"/>
                    </a:lnTo>
                    <a:lnTo>
                      <a:pt x="469" y="254"/>
                    </a:lnTo>
                    <a:lnTo>
                      <a:pt x="464" y="254"/>
                    </a:lnTo>
                    <a:lnTo>
                      <a:pt x="463" y="256"/>
                    </a:lnTo>
                    <a:lnTo>
                      <a:pt x="460" y="254"/>
                    </a:lnTo>
                    <a:lnTo>
                      <a:pt x="451" y="250"/>
                    </a:lnTo>
                    <a:lnTo>
                      <a:pt x="447" y="249"/>
                    </a:lnTo>
                    <a:lnTo>
                      <a:pt x="446" y="249"/>
                    </a:lnTo>
                    <a:lnTo>
                      <a:pt x="444" y="249"/>
                    </a:lnTo>
                    <a:lnTo>
                      <a:pt x="443" y="250"/>
                    </a:lnTo>
                    <a:lnTo>
                      <a:pt x="441" y="250"/>
                    </a:lnTo>
                    <a:lnTo>
                      <a:pt x="440" y="250"/>
                    </a:lnTo>
                    <a:lnTo>
                      <a:pt x="438" y="252"/>
                    </a:lnTo>
                    <a:lnTo>
                      <a:pt x="436" y="253"/>
                    </a:lnTo>
                    <a:lnTo>
                      <a:pt x="434" y="253"/>
                    </a:lnTo>
                    <a:lnTo>
                      <a:pt x="434" y="254"/>
                    </a:lnTo>
                    <a:lnTo>
                      <a:pt x="433" y="256"/>
                    </a:lnTo>
                    <a:lnTo>
                      <a:pt x="433" y="256"/>
                    </a:lnTo>
                    <a:lnTo>
                      <a:pt x="434" y="259"/>
                    </a:lnTo>
                    <a:lnTo>
                      <a:pt x="434" y="259"/>
                    </a:lnTo>
                    <a:lnTo>
                      <a:pt x="450" y="260"/>
                    </a:lnTo>
                    <a:lnTo>
                      <a:pt x="454" y="262"/>
                    </a:lnTo>
                    <a:lnTo>
                      <a:pt x="457" y="262"/>
                    </a:lnTo>
                    <a:lnTo>
                      <a:pt x="461" y="260"/>
                    </a:lnTo>
                    <a:lnTo>
                      <a:pt x="464" y="259"/>
                    </a:lnTo>
                    <a:lnTo>
                      <a:pt x="464" y="260"/>
                    </a:lnTo>
                    <a:lnTo>
                      <a:pt x="466" y="260"/>
                    </a:lnTo>
                    <a:lnTo>
                      <a:pt x="466" y="260"/>
                    </a:lnTo>
                    <a:lnTo>
                      <a:pt x="467" y="260"/>
                    </a:lnTo>
                    <a:lnTo>
                      <a:pt x="476" y="259"/>
                    </a:lnTo>
                    <a:lnTo>
                      <a:pt x="480" y="257"/>
                    </a:lnTo>
                    <a:close/>
                    <a:moveTo>
                      <a:pt x="433" y="116"/>
                    </a:moveTo>
                    <a:lnTo>
                      <a:pt x="431" y="116"/>
                    </a:lnTo>
                    <a:lnTo>
                      <a:pt x="430" y="116"/>
                    </a:lnTo>
                    <a:lnTo>
                      <a:pt x="428" y="119"/>
                    </a:lnTo>
                    <a:lnTo>
                      <a:pt x="427" y="122"/>
                    </a:lnTo>
                    <a:lnTo>
                      <a:pt x="426" y="127"/>
                    </a:lnTo>
                    <a:lnTo>
                      <a:pt x="424" y="129"/>
                    </a:lnTo>
                    <a:lnTo>
                      <a:pt x="424" y="131"/>
                    </a:lnTo>
                    <a:lnTo>
                      <a:pt x="426" y="134"/>
                    </a:lnTo>
                    <a:lnTo>
                      <a:pt x="426" y="135"/>
                    </a:lnTo>
                    <a:lnTo>
                      <a:pt x="424" y="137"/>
                    </a:lnTo>
                    <a:lnTo>
                      <a:pt x="424" y="138"/>
                    </a:lnTo>
                    <a:lnTo>
                      <a:pt x="423" y="139"/>
                    </a:lnTo>
                    <a:lnTo>
                      <a:pt x="423" y="141"/>
                    </a:lnTo>
                    <a:lnTo>
                      <a:pt x="421" y="142"/>
                    </a:lnTo>
                    <a:lnTo>
                      <a:pt x="421" y="145"/>
                    </a:lnTo>
                    <a:lnTo>
                      <a:pt x="421" y="147"/>
                    </a:lnTo>
                    <a:lnTo>
                      <a:pt x="420" y="148"/>
                    </a:lnTo>
                    <a:lnTo>
                      <a:pt x="417" y="150"/>
                    </a:lnTo>
                    <a:lnTo>
                      <a:pt x="417" y="150"/>
                    </a:lnTo>
                    <a:lnTo>
                      <a:pt x="416" y="151"/>
                    </a:lnTo>
                    <a:lnTo>
                      <a:pt x="416" y="151"/>
                    </a:lnTo>
                    <a:lnTo>
                      <a:pt x="416" y="152"/>
                    </a:lnTo>
                    <a:lnTo>
                      <a:pt x="416" y="152"/>
                    </a:lnTo>
                    <a:lnTo>
                      <a:pt x="416" y="154"/>
                    </a:lnTo>
                    <a:lnTo>
                      <a:pt x="417" y="155"/>
                    </a:lnTo>
                    <a:lnTo>
                      <a:pt x="417" y="157"/>
                    </a:lnTo>
                    <a:lnTo>
                      <a:pt x="416" y="158"/>
                    </a:lnTo>
                    <a:lnTo>
                      <a:pt x="416" y="160"/>
                    </a:lnTo>
                    <a:lnTo>
                      <a:pt x="416" y="161"/>
                    </a:lnTo>
                    <a:lnTo>
                      <a:pt x="417" y="162"/>
                    </a:lnTo>
                    <a:lnTo>
                      <a:pt x="417" y="164"/>
                    </a:lnTo>
                    <a:lnTo>
                      <a:pt x="418" y="165"/>
                    </a:lnTo>
                    <a:lnTo>
                      <a:pt x="420" y="165"/>
                    </a:lnTo>
                    <a:lnTo>
                      <a:pt x="424" y="164"/>
                    </a:lnTo>
                    <a:lnTo>
                      <a:pt x="426" y="164"/>
                    </a:lnTo>
                    <a:lnTo>
                      <a:pt x="427" y="165"/>
                    </a:lnTo>
                    <a:lnTo>
                      <a:pt x="427" y="167"/>
                    </a:lnTo>
                    <a:lnTo>
                      <a:pt x="427" y="168"/>
                    </a:lnTo>
                    <a:lnTo>
                      <a:pt x="428" y="170"/>
                    </a:lnTo>
                    <a:lnTo>
                      <a:pt x="430" y="175"/>
                    </a:lnTo>
                    <a:lnTo>
                      <a:pt x="430" y="178"/>
                    </a:lnTo>
                    <a:lnTo>
                      <a:pt x="430" y="183"/>
                    </a:lnTo>
                    <a:lnTo>
                      <a:pt x="426" y="194"/>
                    </a:lnTo>
                    <a:lnTo>
                      <a:pt x="426" y="198"/>
                    </a:lnTo>
                    <a:lnTo>
                      <a:pt x="427" y="201"/>
                    </a:lnTo>
                    <a:lnTo>
                      <a:pt x="430" y="203"/>
                    </a:lnTo>
                    <a:lnTo>
                      <a:pt x="433" y="204"/>
                    </a:lnTo>
                    <a:lnTo>
                      <a:pt x="436" y="203"/>
                    </a:lnTo>
                    <a:lnTo>
                      <a:pt x="438" y="201"/>
                    </a:lnTo>
                    <a:lnTo>
                      <a:pt x="441" y="201"/>
                    </a:lnTo>
                    <a:lnTo>
                      <a:pt x="444" y="203"/>
                    </a:lnTo>
                    <a:lnTo>
                      <a:pt x="444" y="198"/>
                    </a:lnTo>
                    <a:lnTo>
                      <a:pt x="443" y="196"/>
                    </a:lnTo>
                    <a:lnTo>
                      <a:pt x="441" y="193"/>
                    </a:lnTo>
                    <a:lnTo>
                      <a:pt x="443" y="190"/>
                    </a:lnTo>
                    <a:lnTo>
                      <a:pt x="443" y="187"/>
                    </a:lnTo>
                    <a:lnTo>
                      <a:pt x="443" y="175"/>
                    </a:lnTo>
                    <a:lnTo>
                      <a:pt x="444" y="168"/>
                    </a:lnTo>
                    <a:lnTo>
                      <a:pt x="444" y="165"/>
                    </a:lnTo>
                    <a:lnTo>
                      <a:pt x="443" y="161"/>
                    </a:lnTo>
                    <a:lnTo>
                      <a:pt x="441" y="158"/>
                    </a:lnTo>
                    <a:lnTo>
                      <a:pt x="441" y="157"/>
                    </a:lnTo>
                    <a:lnTo>
                      <a:pt x="441" y="155"/>
                    </a:lnTo>
                    <a:lnTo>
                      <a:pt x="443" y="154"/>
                    </a:lnTo>
                    <a:lnTo>
                      <a:pt x="444" y="152"/>
                    </a:lnTo>
                    <a:lnTo>
                      <a:pt x="446" y="151"/>
                    </a:lnTo>
                    <a:lnTo>
                      <a:pt x="449" y="151"/>
                    </a:lnTo>
                    <a:lnTo>
                      <a:pt x="454" y="151"/>
                    </a:lnTo>
                    <a:lnTo>
                      <a:pt x="454" y="155"/>
                    </a:lnTo>
                    <a:lnTo>
                      <a:pt x="453" y="162"/>
                    </a:lnTo>
                    <a:lnTo>
                      <a:pt x="453" y="167"/>
                    </a:lnTo>
                    <a:lnTo>
                      <a:pt x="456" y="170"/>
                    </a:lnTo>
                    <a:lnTo>
                      <a:pt x="463" y="174"/>
                    </a:lnTo>
                    <a:lnTo>
                      <a:pt x="464" y="177"/>
                    </a:lnTo>
                    <a:lnTo>
                      <a:pt x="464" y="180"/>
                    </a:lnTo>
                    <a:lnTo>
                      <a:pt x="463" y="183"/>
                    </a:lnTo>
                    <a:lnTo>
                      <a:pt x="463" y="184"/>
                    </a:lnTo>
                    <a:lnTo>
                      <a:pt x="464" y="187"/>
                    </a:lnTo>
                    <a:lnTo>
                      <a:pt x="466" y="188"/>
                    </a:lnTo>
                    <a:lnTo>
                      <a:pt x="469" y="188"/>
                    </a:lnTo>
                    <a:lnTo>
                      <a:pt x="470" y="190"/>
                    </a:lnTo>
                    <a:lnTo>
                      <a:pt x="472" y="188"/>
                    </a:lnTo>
                    <a:lnTo>
                      <a:pt x="473" y="188"/>
                    </a:lnTo>
                    <a:lnTo>
                      <a:pt x="473" y="185"/>
                    </a:lnTo>
                    <a:lnTo>
                      <a:pt x="474" y="184"/>
                    </a:lnTo>
                    <a:lnTo>
                      <a:pt x="476" y="183"/>
                    </a:lnTo>
                    <a:lnTo>
                      <a:pt x="483" y="181"/>
                    </a:lnTo>
                    <a:lnTo>
                      <a:pt x="484" y="180"/>
                    </a:lnTo>
                    <a:lnTo>
                      <a:pt x="487" y="181"/>
                    </a:lnTo>
                    <a:lnTo>
                      <a:pt x="487" y="180"/>
                    </a:lnTo>
                    <a:lnTo>
                      <a:pt x="487" y="177"/>
                    </a:lnTo>
                    <a:lnTo>
                      <a:pt x="486" y="175"/>
                    </a:lnTo>
                    <a:lnTo>
                      <a:pt x="486" y="175"/>
                    </a:lnTo>
                    <a:lnTo>
                      <a:pt x="484" y="175"/>
                    </a:lnTo>
                    <a:lnTo>
                      <a:pt x="483" y="174"/>
                    </a:lnTo>
                    <a:lnTo>
                      <a:pt x="483" y="174"/>
                    </a:lnTo>
                    <a:lnTo>
                      <a:pt x="483" y="174"/>
                    </a:lnTo>
                    <a:lnTo>
                      <a:pt x="482" y="171"/>
                    </a:lnTo>
                    <a:lnTo>
                      <a:pt x="480" y="171"/>
                    </a:lnTo>
                    <a:lnTo>
                      <a:pt x="477" y="168"/>
                    </a:lnTo>
                    <a:lnTo>
                      <a:pt x="477" y="167"/>
                    </a:lnTo>
                    <a:lnTo>
                      <a:pt x="477" y="164"/>
                    </a:lnTo>
                    <a:lnTo>
                      <a:pt x="477" y="161"/>
                    </a:lnTo>
                    <a:lnTo>
                      <a:pt x="477" y="160"/>
                    </a:lnTo>
                    <a:lnTo>
                      <a:pt x="477" y="158"/>
                    </a:lnTo>
                    <a:lnTo>
                      <a:pt x="477" y="157"/>
                    </a:lnTo>
                    <a:lnTo>
                      <a:pt x="477" y="157"/>
                    </a:lnTo>
                    <a:lnTo>
                      <a:pt x="477" y="155"/>
                    </a:lnTo>
                    <a:lnTo>
                      <a:pt x="476" y="154"/>
                    </a:lnTo>
                    <a:lnTo>
                      <a:pt x="473" y="150"/>
                    </a:lnTo>
                    <a:lnTo>
                      <a:pt x="470" y="147"/>
                    </a:lnTo>
                    <a:lnTo>
                      <a:pt x="469" y="145"/>
                    </a:lnTo>
                    <a:lnTo>
                      <a:pt x="467" y="144"/>
                    </a:lnTo>
                    <a:lnTo>
                      <a:pt x="466" y="142"/>
                    </a:lnTo>
                    <a:lnTo>
                      <a:pt x="463" y="141"/>
                    </a:lnTo>
                    <a:lnTo>
                      <a:pt x="463" y="139"/>
                    </a:lnTo>
                    <a:lnTo>
                      <a:pt x="461" y="138"/>
                    </a:lnTo>
                    <a:lnTo>
                      <a:pt x="461" y="137"/>
                    </a:lnTo>
                    <a:lnTo>
                      <a:pt x="460" y="137"/>
                    </a:lnTo>
                    <a:lnTo>
                      <a:pt x="461" y="137"/>
                    </a:lnTo>
                    <a:lnTo>
                      <a:pt x="464" y="137"/>
                    </a:lnTo>
                    <a:lnTo>
                      <a:pt x="464" y="137"/>
                    </a:lnTo>
                    <a:lnTo>
                      <a:pt x="466" y="137"/>
                    </a:lnTo>
                    <a:lnTo>
                      <a:pt x="474" y="131"/>
                    </a:lnTo>
                    <a:lnTo>
                      <a:pt x="479" y="129"/>
                    </a:lnTo>
                    <a:lnTo>
                      <a:pt x="480" y="127"/>
                    </a:lnTo>
                    <a:lnTo>
                      <a:pt x="483" y="124"/>
                    </a:lnTo>
                    <a:lnTo>
                      <a:pt x="486" y="121"/>
                    </a:lnTo>
                    <a:lnTo>
                      <a:pt x="489" y="119"/>
                    </a:lnTo>
                    <a:lnTo>
                      <a:pt x="492" y="121"/>
                    </a:lnTo>
                    <a:lnTo>
                      <a:pt x="495" y="121"/>
                    </a:lnTo>
                    <a:lnTo>
                      <a:pt x="496" y="121"/>
                    </a:lnTo>
                    <a:lnTo>
                      <a:pt x="497" y="118"/>
                    </a:lnTo>
                    <a:lnTo>
                      <a:pt x="497" y="116"/>
                    </a:lnTo>
                    <a:lnTo>
                      <a:pt x="496" y="115"/>
                    </a:lnTo>
                    <a:lnTo>
                      <a:pt x="495" y="114"/>
                    </a:lnTo>
                    <a:lnTo>
                      <a:pt x="492" y="114"/>
                    </a:lnTo>
                    <a:lnTo>
                      <a:pt x="490" y="114"/>
                    </a:lnTo>
                    <a:lnTo>
                      <a:pt x="489" y="115"/>
                    </a:lnTo>
                    <a:lnTo>
                      <a:pt x="486" y="115"/>
                    </a:lnTo>
                    <a:lnTo>
                      <a:pt x="487" y="115"/>
                    </a:lnTo>
                    <a:lnTo>
                      <a:pt x="487" y="116"/>
                    </a:lnTo>
                    <a:lnTo>
                      <a:pt x="487" y="116"/>
                    </a:lnTo>
                    <a:lnTo>
                      <a:pt x="479" y="116"/>
                    </a:lnTo>
                    <a:lnTo>
                      <a:pt x="477" y="118"/>
                    </a:lnTo>
                    <a:lnTo>
                      <a:pt x="476" y="118"/>
                    </a:lnTo>
                    <a:lnTo>
                      <a:pt x="473" y="119"/>
                    </a:lnTo>
                    <a:lnTo>
                      <a:pt x="472" y="119"/>
                    </a:lnTo>
                    <a:lnTo>
                      <a:pt x="470" y="119"/>
                    </a:lnTo>
                    <a:lnTo>
                      <a:pt x="469" y="119"/>
                    </a:lnTo>
                    <a:lnTo>
                      <a:pt x="467" y="119"/>
                    </a:lnTo>
                    <a:lnTo>
                      <a:pt x="466" y="118"/>
                    </a:lnTo>
                    <a:lnTo>
                      <a:pt x="463" y="119"/>
                    </a:lnTo>
                    <a:lnTo>
                      <a:pt x="461" y="119"/>
                    </a:lnTo>
                    <a:lnTo>
                      <a:pt x="460" y="122"/>
                    </a:lnTo>
                    <a:lnTo>
                      <a:pt x="457" y="127"/>
                    </a:lnTo>
                    <a:lnTo>
                      <a:pt x="456" y="128"/>
                    </a:lnTo>
                    <a:lnTo>
                      <a:pt x="454" y="128"/>
                    </a:lnTo>
                    <a:lnTo>
                      <a:pt x="451" y="128"/>
                    </a:lnTo>
                    <a:lnTo>
                      <a:pt x="450" y="128"/>
                    </a:lnTo>
                    <a:lnTo>
                      <a:pt x="449" y="127"/>
                    </a:lnTo>
                    <a:lnTo>
                      <a:pt x="447" y="127"/>
                    </a:lnTo>
                    <a:lnTo>
                      <a:pt x="447" y="125"/>
                    </a:lnTo>
                    <a:lnTo>
                      <a:pt x="446" y="122"/>
                    </a:lnTo>
                    <a:lnTo>
                      <a:pt x="446" y="122"/>
                    </a:lnTo>
                    <a:lnTo>
                      <a:pt x="444" y="121"/>
                    </a:lnTo>
                    <a:lnTo>
                      <a:pt x="443" y="121"/>
                    </a:lnTo>
                    <a:lnTo>
                      <a:pt x="441" y="119"/>
                    </a:lnTo>
                    <a:lnTo>
                      <a:pt x="440" y="118"/>
                    </a:lnTo>
                    <a:lnTo>
                      <a:pt x="440" y="116"/>
                    </a:lnTo>
                    <a:lnTo>
                      <a:pt x="438" y="115"/>
                    </a:lnTo>
                    <a:lnTo>
                      <a:pt x="437" y="114"/>
                    </a:lnTo>
                    <a:lnTo>
                      <a:pt x="437" y="109"/>
                    </a:lnTo>
                    <a:lnTo>
                      <a:pt x="437" y="105"/>
                    </a:lnTo>
                    <a:lnTo>
                      <a:pt x="438" y="102"/>
                    </a:lnTo>
                    <a:lnTo>
                      <a:pt x="440" y="98"/>
                    </a:lnTo>
                    <a:lnTo>
                      <a:pt x="444" y="95"/>
                    </a:lnTo>
                    <a:lnTo>
                      <a:pt x="447" y="95"/>
                    </a:lnTo>
                    <a:lnTo>
                      <a:pt x="456" y="95"/>
                    </a:lnTo>
                    <a:lnTo>
                      <a:pt x="483" y="95"/>
                    </a:lnTo>
                    <a:lnTo>
                      <a:pt x="489" y="95"/>
                    </a:lnTo>
                    <a:lnTo>
                      <a:pt x="493" y="96"/>
                    </a:lnTo>
                    <a:lnTo>
                      <a:pt x="496" y="98"/>
                    </a:lnTo>
                    <a:lnTo>
                      <a:pt x="497" y="98"/>
                    </a:lnTo>
                    <a:lnTo>
                      <a:pt x="500" y="98"/>
                    </a:lnTo>
                    <a:lnTo>
                      <a:pt x="505" y="98"/>
                    </a:lnTo>
                    <a:lnTo>
                      <a:pt x="510" y="96"/>
                    </a:lnTo>
                    <a:lnTo>
                      <a:pt x="513" y="95"/>
                    </a:lnTo>
                    <a:lnTo>
                      <a:pt x="516" y="92"/>
                    </a:lnTo>
                    <a:lnTo>
                      <a:pt x="525" y="83"/>
                    </a:lnTo>
                    <a:lnTo>
                      <a:pt x="528" y="81"/>
                    </a:lnTo>
                    <a:lnTo>
                      <a:pt x="528" y="76"/>
                    </a:lnTo>
                    <a:lnTo>
                      <a:pt x="526" y="73"/>
                    </a:lnTo>
                    <a:lnTo>
                      <a:pt x="523" y="75"/>
                    </a:lnTo>
                    <a:lnTo>
                      <a:pt x="522" y="76"/>
                    </a:lnTo>
                    <a:lnTo>
                      <a:pt x="517" y="81"/>
                    </a:lnTo>
                    <a:lnTo>
                      <a:pt x="512" y="86"/>
                    </a:lnTo>
                    <a:lnTo>
                      <a:pt x="507" y="88"/>
                    </a:lnTo>
                    <a:lnTo>
                      <a:pt x="505" y="89"/>
                    </a:lnTo>
                    <a:lnTo>
                      <a:pt x="502" y="89"/>
                    </a:lnTo>
                    <a:lnTo>
                      <a:pt x="493" y="88"/>
                    </a:lnTo>
                    <a:lnTo>
                      <a:pt x="492" y="86"/>
                    </a:lnTo>
                    <a:lnTo>
                      <a:pt x="490" y="88"/>
                    </a:lnTo>
                    <a:lnTo>
                      <a:pt x="489" y="88"/>
                    </a:lnTo>
                    <a:lnTo>
                      <a:pt x="487" y="88"/>
                    </a:lnTo>
                    <a:lnTo>
                      <a:pt x="487" y="89"/>
                    </a:lnTo>
                    <a:lnTo>
                      <a:pt x="486" y="88"/>
                    </a:lnTo>
                    <a:lnTo>
                      <a:pt x="484" y="88"/>
                    </a:lnTo>
                    <a:lnTo>
                      <a:pt x="483" y="86"/>
                    </a:lnTo>
                    <a:lnTo>
                      <a:pt x="482" y="86"/>
                    </a:lnTo>
                    <a:lnTo>
                      <a:pt x="479" y="86"/>
                    </a:lnTo>
                    <a:lnTo>
                      <a:pt x="470" y="85"/>
                    </a:lnTo>
                    <a:lnTo>
                      <a:pt x="466" y="85"/>
                    </a:lnTo>
                    <a:lnTo>
                      <a:pt x="464" y="85"/>
                    </a:lnTo>
                    <a:lnTo>
                      <a:pt x="463" y="83"/>
                    </a:lnTo>
                    <a:lnTo>
                      <a:pt x="461" y="82"/>
                    </a:lnTo>
                    <a:lnTo>
                      <a:pt x="460" y="82"/>
                    </a:lnTo>
                    <a:lnTo>
                      <a:pt x="457" y="81"/>
                    </a:lnTo>
                    <a:lnTo>
                      <a:pt x="454" y="81"/>
                    </a:lnTo>
                    <a:lnTo>
                      <a:pt x="451" y="83"/>
                    </a:lnTo>
                    <a:lnTo>
                      <a:pt x="449" y="88"/>
                    </a:lnTo>
                    <a:lnTo>
                      <a:pt x="447" y="88"/>
                    </a:lnTo>
                    <a:lnTo>
                      <a:pt x="446" y="89"/>
                    </a:lnTo>
                    <a:lnTo>
                      <a:pt x="444" y="89"/>
                    </a:lnTo>
                    <a:lnTo>
                      <a:pt x="443" y="88"/>
                    </a:lnTo>
                    <a:lnTo>
                      <a:pt x="443" y="86"/>
                    </a:lnTo>
                    <a:lnTo>
                      <a:pt x="441" y="86"/>
                    </a:lnTo>
                    <a:lnTo>
                      <a:pt x="441" y="86"/>
                    </a:lnTo>
                    <a:lnTo>
                      <a:pt x="436" y="96"/>
                    </a:lnTo>
                    <a:lnTo>
                      <a:pt x="434" y="98"/>
                    </a:lnTo>
                    <a:lnTo>
                      <a:pt x="434" y="99"/>
                    </a:lnTo>
                    <a:lnTo>
                      <a:pt x="434" y="102"/>
                    </a:lnTo>
                    <a:lnTo>
                      <a:pt x="434" y="104"/>
                    </a:lnTo>
                    <a:lnTo>
                      <a:pt x="434" y="105"/>
                    </a:lnTo>
                    <a:lnTo>
                      <a:pt x="433" y="105"/>
                    </a:lnTo>
                    <a:lnTo>
                      <a:pt x="433" y="105"/>
                    </a:lnTo>
                    <a:lnTo>
                      <a:pt x="431" y="105"/>
                    </a:lnTo>
                    <a:lnTo>
                      <a:pt x="431" y="106"/>
                    </a:lnTo>
                    <a:lnTo>
                      <a:pt x="431" y="106"/>
                    </a:lnTo>
                    <a:lnTo>
                      <a:pt x="434" y="116"/>
                    </a:lnTo>
                    <a:lnTo>
                      <a:pt x="434" y="119"/>
                    </a:lnTo>
                    <a:lnTo>
                      <a:pt x="433" y="118"/>
                    </a:lnTo>
                    <a:lnTo>
                      <a:pt x="433" y="116"/>
                    </a:lnTo>
                    <a:close/>
                    <a:moveTo>
                      <a:pt x="418" y="257"/>
                    </a:moveTo>
                    <a:lnTo>
                      <a:pt x="420" y="257"/>
                    </a:lnTo>
                    <a:lnTo>
                      <a:pt x="421" y="256"/>
                    </a:lnTo>
                    <a:lnTo>
                      <a:pt x="420" y="253"/>
                    </a:lnTo>
                    <a:lnTo>
                      <a:pt x="418" y="250"/>
                    </a:lnTo>
                    <a:lnTo>
                      <a:pt x="416" y="250"/>
                    </a:lnTo>
                    <a:lnTo>
                      <a:pt x="414" y="252"/>
                    </a:lnTo>
                    <a:lnTo>
                      <a:pt x="413" y="250"/>
                    </a:lnTo>
                    <a:lnTo>
                      <a:pt x="411" y="250"/>
                    </a:lnTo>
                    <a:lnTo>
                      <a:pt x="410" y="250"/>
                    </a:lnTo>
                    <a:lnTo>
                      <a:pt x="407" y="252"/>
                    </a:lnTo>
                    <a:lnTo>
                      <a:pt x="405" y="250"/>
                    </a:lnTo>
                    <a:lnTo>
                      <a:pt x="404" y="247"/>
                    </a:lnTo>
                    <a:lnTo>
                      <a:pt x="401" y="247"/>
                    </a:lnTo>
                    <a:lnTo>
                      <a:pt x="400" y="246"/>
                    </a:lnTo>
                    <a:lnTo>
                      <a:pt x="398" y="247"/>
                    </a:lnTo>
                    <a:lnTo>
                      <a:pt x="397" y="249"/>
                    </a:lnTo>
                    <a:lnTo>
                      <a:pt x="398" y="252"/>
                    </a:lnTo>
                    <a:lnTo>
                      <a:pt x="400" y="252"/>
                    </a:lnTo>
                    <a:lnTo>
                      <a:pt x="403" y="253"/>
                    </a:lnTo>
                    <a:lnTo>
                      <a:pt x="404" y="254"/>
                    </a:lnTo>
                    <a:lnTo>
                      <a:pt x="405" y="256"/>
                    </a:lnTo>
                    <a:lnTo>
                      <a:pt x="405" y="256"/>
                    </a:lnTo>
                    <a:lnTo>
                      <a:pt x="404" y="257"/>
                    </a:lnTo>
                    <a:lnTo>
                      <a:pt x="403" y="257"/>
                    </a:lnTo>
                    <a:lnTo>
                      <a:pt x="401" y="257"/>
                    </a:lnTo>
                    <a:lnTo>
                      <a:pt x="400" y="257"/>
                    </a:lnTo>
                    <a:lnTo>
                      <a:pt x="398" y="257"/>
                    </a:lnTo>
                    <a:lnTo>
                      <a:pt x="398" y="257"/>
                    </a:lnTo>
                    <a:lnTo>
                      <a:pt x="394" y="253"/>
                    </a:lnTo>
                    <a:lnTo>
                      <a:pt x="393" y="253"/>
                    </a:lnTo>
                    <a:lnTo>
                      <a:pt x="388" y="252"/>
                    </a:lnTo>
                    <a:lnTo>
                      <a:pt x="387" y="252"/>
                    </a:lnTo>
                    <a:lnTo>
                      <a:pt x="384" y="253"/>
                    </a:lnTo>
                    <a:lnTo>
                      <a:pt x="382" y="254"/>
                    </a:lnTo>
                    <a:lnTo>
                      <a:pt x="381" y="256"/>
                    </a:lnTo>
                    <a:lnTo>
                      <a:pt x="380" y="257"/>
                    </a:lnTo>
                    <a:lnTo>
                      <a:pt x="380" y="260"/>
                    </a:lnTo>
                    <a:lnTo>
                      <a:pt x="380" y="262"/>
                    </a:lnTo>
                    <a:lnTo>
                      <a:pt x="385" y="265"/>
                    </a:lnTo>
                    <a:lnTo>
                      <a:pt x="394" y="263"/>
                    </a:lnTo>
                    <a:lnTo>
                      <a:pt x="403" y="260"/>
                    </a:lnTo>
                    <a:lnTo>
                      <a:pt x="408" y="257"/>
                    </a:lnTo>
                    <a:lnTo>
                      <a:pt x="408" y="259"/>
                    </a:lnTo>
                    <a:lnTo>
                      <a:pt x="411" y="260"/>
                    </a:lnTo>
                    <a:lnTo>
                      <a:pt x="414" y="259"/>
                    </a:lnTo>
                    <a:lnTo>
                      <a:pt x="416" y="260"/>
                    </a:lnTo>
                    <a:lnTo>
                      <a:pt x="416" y="259"/>
                    </a:lnTo>
                    <a:lnTo>
                      <a:pt x="416" y="259"/>
                    </a:lnTo>
                    <a:lnTo>
                      <a:pt x="414" y="257"/>
                    </a:lnTo>
                    <a:lnTo>
                      <a:pt x="417" y="257"/>
                    </a:lnTo>
                    <a:lnTo>
                      <a:pt x="418" y="257"/>
                    </a:lnTo>
                    <a:close/>
                    <a:moveTo>
                      <a:pt x="395" y="249"/>
                    </a:moveTo>
                    <a:lnTo>
                      <a:pt x="394" y="247"/>
                    </a:lnTo>
                    <a:lnTo>
                      <a:pt x="393" y="250"/>
                    </a:lnTo>
                    <a:lnTo>
                      <a:pt x="394" y="252"/>
                    </a:lnTo>
                    <a:lnTo>
                      <a:pt x="395" y="249"/>
                    </a:lnTo>
                    <a:close/>
                    <a:moveTo>
                      <a:pt x="495" y="250"/>
                    </a:moveTo>
                    <a:lnTo>
                      <a:pt x="493" y="249"/>
                    </a:lnTo>
                    <a:lnTo>
                      <a:pt x="492" y="250"/>
                    </a:lnTo>
                    <a:lnTo>
                      <a:pt x="490" y="252"/>
                    </a:lnTo>
                    <a:lnTo>
                      <a:pt x="495" y="252"/>
                    </a:lnTo>
                    <a:lnTo>
                      <a:pt x="495" y="250"/>
                    </a:lnTo>
                    <a:close/>
                    <a:moveTo>
                      <a:pt x="449" y="230"/>
                    </a:moveTo>
                    <a:lnTo>
                      <a:pt x="450" y="229"/>
                    </a:lnTo>
                    <a:lnTo>
                      <a:pt x="450" y="229"/>
                    </a:lnTo>
                    <a:lnTo>
                      <a:pt x="450" y="229"/>
                    </a:lnTo>
                    <a:lnTo>
                      <a:pt x="449" y="227"/>
                    </a:lnTo>
                    <a:lnTo>
                      <a:pt x="447" y="227"/>
                    </a:lnTo>
                    <a:lnTo>
                      <a:pt x="449" y="229"/>
                    </a:lnTo>
                    <a:lnTo>
                      <a:pt x="449" y="230"/>
                    </a:lnTo>
                    <a:close/>
                    <a:moveTo>
                      <a:pt x="421" y="276"/>
                    </a:moveTo>
                    <a:lnTo>
                      <a:pt x="423" y="276"/>
                    </a:lnTo>
                    <a:lnTo>
                      <a:pt x="428" y="277"/>
                    </a:lnTo>
                    <a:lnTo>
                      <a:pt x="430" y="277"/>
                    </a:lnTo>
                    <a:lnTo>
                      <a:pt x="433" y="279"/>
                    </a:lnTo>
                    <a:lnTo>
                      <a:pt x="434" y="280"/>
                    </a:lnTo>
                    <a:lnTo>
                      <a:pt x="438" y="283"/>
                    </a:lnTo>
                    <a:lnTo>
                      <a:pt x="441" y="285"/>
                    </a:lnTo>
                    <a:lnTo>
                      <a:pt x="444" y="286"/>
                    </a:lnTo>
                    <a:lnTo>
                      <a:pt x="446" y="285"/>
                    </a:lnTo>
                    <a:lnTo>
                      <a:pt x="449" y="285"/>
                    </a:lnTo>
                    <a:lnTo>
                      <a:pt x="450" y="283"/>
                    </a:lnTo>
                    <a:lnTo>
                      <a:pt x="451" y="280"/>
                    </a:lnTo>
                    <a:lnTo>
                      <a:pt x="450" y="279"/>
                    </a:lnTo>
                    <a:lnTo>
                      <a:pt x="447" y="277"/>
                    </a:lnTo>
                    <a:lnTo>
                      <a:pt x="443" y="275"/>
                    </a:lnTo>
                    <a:lnTo>
                      <a:pt x="438" y="270"/>
                    </a:lnTo>
                    <a:lnTo>
                      <a:pt x="437" y="269"/>
                    </a:lnTo>
                    <a:lnTo>
                      <a:pt x="437" y="269"/>
                    </a:lnTo>
                    <a:lnTo>
                      <a:pt x="436" y="269"/>
                    </a:lnTo>
                    <a:lnTo>
                      <a:pt x="436" y="269"/>
                    </a:lnTo>
                    <a:lnTo>
                      <a:pt x="436" y="269"/>
                    </a:lnTo>
                    <a:lnTo>
                      <a:pt x="434" y="269"/>
                    </a:lnTo>
                    <a:lnTo>
                      <a:pt x="434" y="269"/>
                    </a:lnTo>
                    <a:lnTo>
                      <a:pt x="426" y="269"/>
                    </a:lnTo>
                    <a:lnTo>
                      <a:pt x="423" y="269"/>
                    </a:lnTo>
                    <a:lnTo>
                      <a:pt x="420" y="270"/>
                    </a:lnTo>
                    <a:lnTo>
                      <a:pt x="418" y="272"/>
                    </a:lnTo>
                    <a:lnTo>
                      <a:pt x="420" y="275"/>
                    </a:lnTo>
                    <a:lnTo>
                      <a:pt x="421" y="276"/>
                    </a:lnTo>
                    <a:close/>
                    <a:moveTo>
                      <a:pt x="427" y="257"/>
                    </a:moveTo>
                    <a:lnTo>
                      <a:pt x="427" y="256"/>
                    </a:lnTo>
                    <a:lnTo>
                      <a:pt x="428" y="254"/>
                    </a:lnTo>
                    <a:lnTo>
                      <a:pt x="428" y="253"/>
                    </a:lnTo>
                    <a:lnTo>
                      <a:pt x="427" y="253"/>
                    </a:lnTo>
                    <a:lnTo>
                      <a:pt x="427" y="253"/>
                    </a:lnTo>
                    <a:lnTo>
                      <a:pt x="426" y="254"/>
                    </a:lnTo>
                    <a:lnTo>
                      <a:pt x="426" y="256"/>
                    </a:lnTo>
                    <a:lnTo>
                      <a:pt x="426" y="256"/>
                    </a:lnTo>
                    <a:lnTo>
                      <a:pt x="426" y="257"/>
                    </a:lnTo>
                    <a:lnTo>
                      <a:pt x="426" y="257"/>
                    </a:lnTo>
                    <a:lnTo>
                      <a:pt x="427" y="257"/>
                    </a:lnTo>
                    <a:close/>
                    <a:moveTo>
                      <a:pt x="421" y="249"/>
                    </a:moveTo>
                    <a:lnTo>
                      <a:pt x="421" y="247"/>
                    </a:lnTo>
                    <a:lnTo>
                      <a:pt x="420" y="249"/>
                    </a:lnTo>
                    <a:lnTo>
                      <a:pt x="421" y="249"/>
                    </a:lnTo>
                    <a:lnTo>
                      <a:pt x="421" y="249"/>
                    </a:lnTo>
                    <a:close/>
                    <a:moveTo>
                      <a:pt x="490" y="253"/>
                    </a:moveTo>
                    <a:lnTo>
                      <a:pt x="489" y="253"/>
                    </a:lnTo>
                    <a:lnTo>
                      <a:pt x="487" y="254"/>
                    </a:lnTo>
                    <a:lnTo>
                      <a:pt x="487" y="254"/>
                    </a:lnTo>
                    <a:lnTo>
                      <a:pt x="487" y="256"/>
                    </a:lnTo>
                    <a:lnTo>
                      <a:pt x="489" y="256"/>
                    </a:lnTo>
                    <a:lnTo>
                      <a:pt x="490" y="253"/>
                    </a:lnTo>
                    <a:lnTo>
                      <a:pt x="492" y="253"/>
                    </a:lnTo>
                    <a:lnTo>
                      <a:pt x="492" y="253"/>
                    </a:lnTo>
                    <a:lnTo>
                      <a:pt x="490" y="253"/>
                    </a:lnTo>
                    <a:lnTo>
                      <a:pt x="490" y="253"/>
                    </a:lnTo>
                    <a:close/>
                    <a:moveTo>
                      <a:pt x="492" y="295"/>
                    </a:moveTo>
                    <a:lnTo>
                      <a:pt x="496" y="293"/>
                    </a:lnTo>
                    <a:lnTo>
                      <a:pt x="496" y="289"/>
                    </a:lnTo>
                    <a:lnTo>
                      <a:pt x="495" y="290"/>
                    </a:lnTo>
                    <a:lnTo>
                      <a:pt x="487" y="293"/>
                    </a:lnTo>
                    <a:lnTo>
                      <a:pt x="486" y="295"/>
                    </a:lnTo>
                    <a:lnTo>
                      <a:pt x="487" y="296"/>
                    </a:lnTo>
                    <a:lnTo>
                      <a:pt x="492" y="295"/>
                    </a:lnTo>
                    <a:close/>
                    <a:moveTo>
                      <a:pt x="243" y="83"/>
                    </a:moveTo>
                    <a:lnTo>
                      <a:pt x="246" y="82"/>
                    </a:lnTo>
                    <a:lnTo>
                      <a:pt x="245" y="82"/>
                    </a:lnTo>
                    <a:lnTo>
                      <a:pt x="243" y="82"/>
                    </a:lnTo>
                    <a:lnTo>
                      <a:pt x="245" y="78"/>
                    </a:lnTo>
                    <a:lnTo>
                      <a:pt x="247" y="73"/>
                    </a:lnTo>
                    <a:lnTo>
                      <a:pt x="250" y="70"/>
                    </a:lnTo>
                    <a:lnTo>
                      <a:pt x="255" y="68"/>
                    </a:lnTo>
                    <a:lnTo>
                      <a:pt x="253" y="70"/>
                    </a:lnTo>
                    <a:lnTo>
                      <a:pt x="253" y="72"/>
                    </a:lnTo>
                    <a:lnTo>
                      <a:pt x="255" y="75"/>
                    </a:lnTo>
                    <a:lnTo>
                      <a:pt x="256" y="76"/>
                    </a:lnTo>
                    <a:lnTo>
                      <a:pt x="258" y="79"/>
                    </a:lnTo>
                    <a:lnTo>
                      <a:pt x="266" y="86"/>
                    </a:lnTo>
                    <a:lnTo>
                      <a:pt x="269" y="88"/>
                    </a:lnTo>
                    <a:lnTo>
                      <a:pt x="270" y="88"/>
                    </a:lnTo>
                    <a:lnTo>
                      <a:pt x="278" y="86"/>
                    </a:lnTo>
                    <a:lnTo>
                      <a:pt x="281" y="86"/>
                    </a:lnTo>
                    <a:lnTo>
                      <a:pt x="289" y="86"/>
                    </a:lnTo>
                    <a:lnTo>
                      <a:pt x="291" y="86"/>
                    </a:lnTo>
                    <a:lnTo>
                      <a:pt x="293" y="85"/>
                    </a:lnTo>
                    <a:lnTo>
                      <a:pt x="295" y="83"/>
                    </a:lnTo>
                    <a:lnTo>
                      <a:pt x="296" y="83"/>
                    </a:lnTo>
                    <a:lnTo>
                      <a:pt x="298" y="82"/>
                    </a:lnTo>
                    <a:lnTo>
                      <a:pt x="301" y="78"/>
                    </a:lnTo>
                    <a:lnTo>
                      <a:pt x="302" y="78"/>
                    </a:lnTo>
                    <a:lnTo>
                      <a:pt x="303" y="76"/>
                    </a:lnTo>
                    <a:lnTo>
                      <a:pt x="309" y="76"/>
                    </a:lnTo>
                    <a:lnTo>
                      <a:pt x="314" y="78"/>
                    </a:lnTo>
                    <a:lnTo>
                      <a:pt x="316" y="79"/>
                    </a:lnTo>
                    <a:lnTo>
                      <a:pt x="324" y="81"/>
                    </a:lnTo>
                    <a:lnTo>
                      <a:pt x="325" y="82"/>
                    </a:lnTo>
                    <a:lnTo>
                      <a:pt x="326" y="81"/>
                    </a:lnTo>
                    <a:lnTo>
                      <a:pt x="328" y="81"/>
                    </a:lnTo>
                    <a:lnTo>
                      <a:pt x="329" y="79"/>
                    </a:lnTo>
                    <a:lnTo>
                      <a:pt x="331" y="78"/>
                    </a:lnTo>
                    <a:lnTo>
                      <a:pt x="334" y="78"/>
                    </a:lnTo>
                    <a:lnTo>
                      <a:pt x="339" y="78"/>
                    </a:lnTo>
                    <a:lnTo>
                      <a:pt x="341" y="76"/>
                    </a:lnTo>
                    <a:lnTo>
                      <a:pt x="342" y="76"/>
                    </a:lnTo>
                    <a:lnTo>
                      <a:pt x="342" y="75"/>
                    </a:lnTo>
                    <a:lnTo>
                      <a:pt x="342" y="73"/>
                    </a:lnTo>
                    <a:lnTo>
                      <a:pt x="344" y="72"/>
                    </a:lnTo>
                    <a:lnTo>
                      <a:pt x="344" y="72"/>
                    </a:lnTo>
                    <a:lnTo>
                      <a:pt x="345" y="70"/>
                    </a:lnTo>
                    <a:lnTo>
                      <a:pt x="345" y="70"/>
                    </a:lnTo>
                    <a:lnTo>
                      <a:pt x="345" y="68"/>
                    </a:lnTo>
                    <a:lnTo>
                      <a:pt x="345" y="66"/>
                    </a:lnTo>
                    <a:lnTo>
                      <a:pt x="345" y="65"/>
                    </a:lnTo>
                    <a:lnTo>
                      <a:pt x="345" y="63"/>
                    </a:lnTo>
                    <a:lnTo>
                      <a:pt x="347" y="62"/>
                    </a:lnTo>
                    <a:lnTo>
                      <a:pt x="349" y="62"/>
                    </a:lnTo>
                    <a:lnTo>
                      <a:pt x="351" y="60"/>
                    </a:lnTo>
                    <a:lnTo>
                      <a:pt x="352" y="58"/>
                    </a:lnTo>
                    <a:lnTo>
                      <a:pt x="351" y="58"/>
                    </a:lnTo>
                    <a:lnTo>
                      <a:pt x="351" y="56"/>
                    </a:lnTo>
                    <a:lnTo>
                      <a:pt x="349" y="55"/>
                    </a:lnTo>
                    <a:lnTo>
                      <a:pt x="351" y="53"/>
                    </a:lnTo>
                    <a:lnTo>
                      <a:pt x="352" y="52"/>
                    </a:lnTo>
                    <a:lnTo>
                      <a:pt x="355" y="50"/>
                    </a:lnTo>
                    <a:lnTo>
                      <a:pt x="358" y="49"/>
                    </a:lnTo>
                    <a:lnTo>
                      <a:pt x="358" y="46"/>
                    </a:lnTo>
                    <a:lnTo>
                      <a:pt x="358" y="36"/>
                    </a:lnTo>
                    <a:lnTo>
                      <a:pt x="360" y="33"/>
                    </a:lnTo>
                    <a:lnTo>
                      <a:pt x="361" y="30"/>
                    </a:lnTo>
                    <a:lnTo>
                      <a:pt x="362" y="27"/>
                    </a:lnTo>
                    <a:lnTo>
                      <a:pt x="365" y="27"/>
                    </a:lnTo>
                    <a:lnTo>
                      <a:pt x="368" y="27"/>
                    </a:lnTo>
                    <a:lnTo>
                      <a:pt x="385" y="27"/>
                    </a:lnTo>
                    <a:lnTo>
                      <a:pt x="387" y="27"/>
                    </a:lnTo>
                    <a:lnTo>
                      <a:pt x="388" y="27"/>
                    </a:lnTo>
                    <a:lnTo>
                      <a:pt x="390" y="29"/>
                    </a:lnTo>
                    <a:lnTo>
                      <a:pt x="391" y="29"/>
                    </a:lnTo>
                    <a:lnTo>
                      <a:pt x="393" y="30"/>
                    </a:lnTo>
                    <a:lnTo>
                      <a:pt x="394" y="30"/>
                    </a:lnTo>
                    <a:lnTo>
                      <a:pt x="393" y="32"/>
                    </a:lnTo>
                    <a:lnTo>
                      <a:pt x="393" y="33"/>
                    </a:lnTo>
                    <a:lnTo>
                      <a:pt x="395" y="35"/>
                    </a:lnTo>
                    <a:lnTo>
                      <a:pt x="397" y="36"/>
                    </a:lnTo>
                    <a:lnTo>
                      <a:pt x="397" y="39"/>
                    </a:lnTo>
                    <a:lnTo>
                      <a:pt x="395" y="39"/>
                    </a:lnTo>
                    <a:lnTo>
                      <a:pt x="394" y="39"/>
                    </a:lnTo>
                    <a:lnTo>
                      <a:pt x="393" y="37"/>
                    </a:lnTo>
                    <a:lnTo>
                      <a:pt x="391" y="39"/>
                    </a:lnTo>
                    <a:lnTo>
                      <a:pt x="390" y="40"/>
                    </a:lnTo>
                    <a:lnTo>
                      <a:pt x="385" y="40"/>
                    </a:lnTo>
                    <a:lnTo>
                      <a:pt x="387" y="40"/>
                    </a:lnTo>
                    <a:lnTo>
                      <a:pt x="387" y="40"/>
                    </a:lnTo>
                    <a:lnTo>
                      <a:pt x="388" y="42"/>
                    </a:lnTo>
                    <a:lnTo>
                      <a:pt x="390" y="43"/>
                    </a:lnTo>
                    <a:lnTo>
                      <a:pt x="390" y="45"/>
                    </a:lnTo>
                    <a:lnTo>
                      <a:pt x="390" y="45"/>
                    </a:lnTo>
                    <a:lnTo>
                      <a:pt x="390" y="46"/>
                    </a:lnTo>
                    <a:lnTo>
                      <a:pt x="390" y="46"/>
                    </a:lnTo>
                    <a:lnTo>
                      <a:pt x="391" y="48"/>
                    </a:lnTo>
                    <a:lnTo>
                      <a:pt x="393" y="49"/>
                    </a:lnTo>
                    <a:lnTo>
                      <a:pt x="394" y="50"/>
                    </a:lnTo>
                    <a:lnTo>
                      <a:pt x="395" y="52"/>
                    </a:lnTo>
                    <a:lnTo>
                      <a:pt x="394" y="52"/>
                    </a:lnTo>
                    <a:lnTo>
                      <a:pt x="394" y="52"/>
                    </a:lnTo>
                    <a:lnTo>
                      <a:pt x="395" y="53"/>
                    </a:lnTo>
                    <a:lnTo>
                      <a:pt x="395" y="53"/>
                    </a:lnTo>
                    <a:lnTo>
                      <a:pt x="395" y="53"/>
                    </a:lnTo>
                    <a:lnTo>
                      <a:pt x="395" y="53"/>
                    </a:lnTo>
                    <a:lnTo>
                      <a:pt x="395" y="53"/>
                    </a:lnTo>
                    <a:lnTo>
                      <a:pt x="397" y="55"/>
                    </a:lnTo>
                    <a:lnTo>
                      <a:pt x="398" y="58"/>
                    </a:lnTo>
                    <a:lnTo>
                      <a:pt x="401" y="59"/>
                    </a:lnTo>
                    <a:lnTo>
                      <a:pt x="401" y="62"/>
                    </a:lnTo>
                    <a:lnTo>
                      <a:pt x="403" y="63"/>
                    </a:lnTo>
                    <a:lnTo>
                      <a:pt x="401" y="65"/>
                    </a:lnTo>
                    <a:lnTo>
                      <a:pt x="400" y="66"/>
                    </a:lnTo>
                    <a:lnTo>
                      <a:pt x="398" y="68"/>
                    </a:lnTo>
                    <a:lnTo>
                      <a:pt x="400" y="69"/>
                    </a:lnTo>
                    <a:lnTo>
                      <a:pt x="403" y="73"/>
                    </a:lnTo>
                    <a:lnTo>
                      <a:pt x="405" y="75"/>
                    </a:lnTo>
                    <a:lnTo>
                      <a:pt x="414" y="82"/>
                    </a:lnTo>
                    <a:lnTo>
                      <a:pt x="416" y="83"/>
                    </a:lnTo>
                    <a:lnTo>
                      <a:pt x="417" y="85"/>
                    </a:lnTo>
                    <a:lnTo>
                      <a:pt x="418" y="86"/>
                    </a:lnTo>
                    <a:lnTo>
                      <a:pt x="418" y="86"/>
                    </a:lnTo>
                    <a:lnTo>
                      <a:pt x="417" y="88"/>
                    </a:lnTo>
                    <a:lnTo>
                      <a:pt x="417" y="88"/>
                    </a:lnTo>
                    <a:lnTo>
                      <a:pt x="414" y="89"/>
                    </a:lnTo>
                    <a:lnTo>
                      <a:pt x="413" y="89"/>
                    </a:lnTo>
                    <a:lnTo>
                      <a:pt x="411" y="89"/>
                    </a:lnTo>
                    <a:lnTo>
                      <a:pt x="408" y="89"/>
                    </a:lnTo>
                    <a:lnTo>
                      <a:pt x="405" y="88"/>
                    </a:lnTo>
                    <a:lnTo>
                      <a:pt x="403" y="86"/>
                    </a:lnTo>
                    <a:lnTo>
                      <a:pt x="400" y="85"/>
                    </a:lnTo>
                    <a:lnTo>
                      <a:pt x="401" y="86"/>
                    </a:lnTo>
                    <a:lnTo>
                      <a:pt x="400" y="89"/>
                    </a:lnTo>
                    <a:lnTo>
                      <a:pt x="397" y="91"/>
                    </a:lnTo>
                    <a:lnTo>
                      <a:pt x="395" y="93"/>
                    </a:lnTo>
                    <a:lnTo>
                      <a:pt x="394" y="98"/>
                    </a:lnTo>
                    <a:lnTo>
                      <a:pt x="393" y="102"/>
                    </a:lnTo>
                    <a:lnTo>
                      <a:pt x="393" y="106"/>
                    </a:lnTo>
                    <a:lnTo>
                      <a:pt x="393" y="111"/>
                    </a:lnTo>
                    <a:lnTo>
                      <a:pt x="393" y="115"/>
                    </a:lnTo>
                    <a:lnTo>
                      <a:pt x="393" y="116"/>
                    </a:lnTo>
                    <a:lnTo>
                      <a:pt x="388" y="121"/>
                    </a:lnTo>
                    <a:lnTo>
                      <a:pt x="382" y="124"/>
                    </a:lnTo>
                    <a:lnTo>
                      <a:pt x="381" y="125"/>
                    </a:lnTo>
                    <a:lnTo>
                      <a:pt x="380" y="122"/>
                    </a:lnTo>
                    <a:lnTo>
                      <a:pt x="380" y="122"/>
                    </a:lnTo>
                    <a:lnTo>
                      <a:pt x="380" y="125"/>
                    </a:lnTo>
                    <a:lnTo>
                      <a:pt x="380" y="125"/>
                    </a:lnTo>
                    <a:lnTo>
                      <a:pt x="380" y="127"/>
                    </a:lnTo>
                    <a:lnTo>
                      <a:pt x="378" y="128"/>
                    </a:lnTo>
                    <a:lnTo>
                      <a:pt x="378" y="128"/>
                    </a:lnTo>
                    <a:lnTo>
                      <a:pt x="372" y="134"/>
                    </a:lnTo>
                    <a:lnTo>
                      <a:pt x="371" y="135"/>
                    </a:lnTo>
                    <a:lnTo>
                      <a:pt x="374" y="135"/>
                    </a:lnTo>
                    <a:lnTo>
                      <a:pt x="374" y="137"/>
                    </a:lnTo>
                    <a:lnTo>
                      <a:pt x="374" y="139"/>
                    </a:lnTo>
                    <a:lnTo>
                      <a:pt x="372" y="141"/>
                    </a:lnTo>
                    <a:lnTo>
                      <a:pt x="374" y="142"/>
                    </a:lnTo>
                    <a:lnTo>
                      <a:pt x="375" y="144"/>
                    </a:lnTo>
                    <a:lnTo>
                      <a:pt x="377" y="145"/>
                    </a:lnTo>
                    <a:lnTo>
                      <a:pt x="375" y="147"/>
                    </a:lnTo>
                    <a:lnTo>
                      <a:pt x="375" y="148"/>
                    </a:lnTo>
                    <a:lnTo>
                      <a:pt x="374" y="148"/>
                    </a:lnTo>
                    <a:lnTo>
                      <a:pt x="372" y="148"/>
                    </a:lnTo>
                    <a:lnTo>
                      <a:pt x="371" y="150"/>
                    </a:lnTo>
                    <a:lnTo>
                      <a:pt x="372" y="150"/>
                    </a:lnTo>
                    <a:lnTo>
                      <a:pt x="372" y="151"/>
                    </a:lnTo>
                    <a:lnTo>
                      <a:pt x="372" y="154"/>
                    </a:lnTo>
                    <a:lnTo>
                      <a:pt x="371" y="155"/>
                    </a:lnTo>
                    <a:lnTo>
                      <a:pt x="370" y="155"/>
                    </a:lnTo>
                    <a:lnTo>
                      <a:pt x="370" y="157"/>
                    </a:lnTo>
                    <a:lnTo>
                      <a:pt x="370" y="157"/>
                    </a:lnTo>
                    <a:lnTo>
                      <a:pt x="370" y="158"/>
                    </a:lnTo>
                    <a:lnTo>
                      <a:pt x="371" y="158"/>
                    </a:lnTo>
                    <a:lnTo>
                      <a:pt x="370" y="160"/>
                    </a:lnTo>
                    <a:lnTo>
                      <a:pt x="368" y="162"/>
                    </a:lnTo>
                    <a:lnTo>
                      <a:pt x="367" y="164"/>
                    </a:lnTo>
                    <a:lnTo>
                      <a:pt x="365" y="167"/>
                    </a:lnTo>
                    <a:lnTo>
                      <a:pt x="364" y="168"/>
                    </a:lnTo>
                    <a:lnTo>
                      <a:pt x="360" y="170"/>
                    </a:lnTo>
                    <a:lnTo>
                      <a:pt x="354" y="173"/>
                    </a:lnTo>
                    <a:lnTo>
                      <a:pt x="348" y="175"/>
                    </a:lnTo>
                    <a:lnTo>
                      <a:pt x="345" y="177"/>
                    </a:lnTo>
                    <a:lnTo>
                      <a:pt x="342" y="177"/>
                    </a:lnTo>
                    <a:lnTo>
                      <a:pt x="342" y="174"/>
                    </a:lnTo>
                    <a:lnTo>
                      <a:pt x="341" y="162"/>
                    </a:lnTo>
                    <a:lnTo>
                      <a:pt x="339" y="164"/>
                    </a:lnTo>
                    <a:lnTo>
                      <a:pt x="338" y="164"/>
                    </a:lnTo>
                    <a:lnTo>
                      <a:pt x="337" y="162"/>
                    </a:lnTo>
                    <a:lnTo>
                      <a:pt x="337" y="161"/>
                    </a:lnTo>
                    <a:lnTo>
                      <a:pt x="337" y="162"/>
                    </a:lnTo>
                    <a:lnTo>
                      <a:pt x="335" y="162"/>
                    </a:lnTo>
                    <a:lnTo>
                      <a:pt x="334" y="161"/>
                    </a:lnTo>
                    <a:lnTo>
                      <a:pt x="332" y="161"/>
                    </a:lnTo>
                    <a:lnTo>
                      <a:pt x="331" y="162"/>
                    </a:lnTo>
                    <a:lnTo>
                      <a:pt x="328" y="164"/>
                    </a:lnTo>
                    <a:lnTo>
                      <a:pt x="326" y="164"/>
                    </a:lnTo>
                    <a:lnTo>
                      <a:pt x="325" y="162"/>
                    </a:lnTo>
                    <a:lnTo>
                      <a:pt x="325" y="162"/>
                    </a:lnTo>
                    <a:lnTo>
                      <a:pt x="325" y="161"/>
                    </a:lnTo>
                    <a:lnTo>
                      <a:pt x="325" y="161"/>
                    </a:lnTo>
                    <a:lnTo>
                      <a:pt x="324" y="160"/>
                    </a:lnTo>
                    <a:lnTo>
                      <a:pt x="324" y="160"/>
                    </a:lnTo>
                    <a:lnTo>
                      <a:pt x="322" y="160"/>
                    </a:lnTo>
                    <a:lnTo>
                      <a:pt x="322" y="161"/>
                    </a:lnTo>
                    <a:lnTo>
                      <a:pt x="321" y="161"/>
                    </a:lnTo>
                    <a:lnTo>
                      <a:pt x="319" y="160"/>
                    </a:lnTo>
                    <a:lnTo>
                      <a:pt x="318" y="158"/>
                    </a:lnTo>
                    <a:lnTo>
                      <a:pt x="314" y="155"/>
                    </a:lnTo>
                    <a:lnTo>
                      <a:pt x="314" y="158"/>
                    </a:lnTo>
                    <a:lnTo>
                      <a:pt x="312" y="160"/>
                    </a:lnTo>
                    <a:lnTo>
                      <a:pt x="312" y="161"/>
                    </a:lnTo>
                    <a:lnTo>
                      <a:pt x="309" y="162"/>
                    </a:lnTo>
                    <a:lnTo>
                      <a:pt x="306" y="162"/>
                    </a:lnTo>
                    <a:lnTo>
                      <a:pt x="305" y="162"/>
                    </a:lnTo>
                    <a:lnTo>
                      <a:pt x="303" y="162"/>
                    </a:lnTo>
                    <a:lnTo>
                      <a:pt x="301" y="162"/>
                    </a:lnTo>
                    <a:lnTo>
                      <a:pt x="298" y="164"/>
                    </a:lnTo>
                    <a:lnTo>
                      <a:pt x="295" y="165"/>
                    </a:lnTo>
                    <a:lnTo>
                      <a:pt x="293" y="165"/>
                    </a:lnTo>
                    <a:lnTo>
                      <a:pt x="293" y="162"/>
                    </a:lnTo>
                    <a:lnTo>
                      <a:pt x="293" y="158"/>
                    </a:lnTo>
                    <a:lnTo>
                      <a:pt x="292" y="157"/>
                    </a:lnTo>
                    <a:lnTo>
                      <a:pt x="291" y="155"/>
                    </a:lnTo>
                    <a:lnTo>
                      <a:pt x="291" y="155"/>
                    </a:lnTo>
                    <a:lnTo>
                      <a:pt x="286" y="155"/>
                    </a:lnTo>
                    <a:lnTo>
                      <a:pt x="279" y="157"/>
                    </a:lnTo>
                    <a:lnTo>
                      <a:pt x="276" y="157"/>
                    </a:lnTo>
                    <a:lnTo>
                      <a:pt x="276" y="155"/>
                    </a:lnTo>
                    <a:lnTo>
                      <a:pt x="276" y="155"/>
                    </a:lnTo>
                    <a:lnTo>
                      <a:pt x="273" y="157"/>
                    </a:lnTo>
                    <a:lnTo>
                      <a:pt x="273" y="157"/>
                    </a:lnTo>
                    <a:lnTo>
                      <a:pt x="272" y="157"/>
                    </a:lnTo>
                    <a:lnTo>
                      <a:pt x="272" y="155"/>
                    </a:lnTo>
                    <a:lnTo>
                      <a:pt x="270" y="155"/>
                    </a:lnTo>
                    <a:lnTo>
                      <a:pt x="269" y="155"/>
                    </a:lnTo>
                    <a:lnTo>
                      <a:pt x="266" y="155"/>
                    </a:lnTo>
                    <a:lnTo>
                      <a:pt x="265" y="155"/>
                    </a:lnTo>
                    <a:lnTo>
                      <a:pt x="265" y="154"/>
                    </a:lnTo>
                    <a:lnTo>
                      <a:pt x="263" y="139"/>
                    </a:lnTo>
                    <a:lnTo>
                      <a:pt x="262" y="138"/>
                    </a:lnTo>
                    <a:lnTo>
                      <a:pt x="262" y="137"/>
                    </a:lnTo>
                    <a:lnTo>
                      <a:pt x="260" y="137"/>
                    </a:lnTo>
                    <a:lnTo>
                      <a:pt x="260" y="135"/>
                    </a:lnTo>
                    <a:lnTo>
                      <a:pt x="260" y="134"/>
                    </a:lnTo>
                    <a:lnTo>
                      <a:pt x="260" y="134"/>
                    </a:lnTo>
                    <a:lnTo>
                      <a:pt x="260" y="131"/>
                    </a:lnTo>
                    <a:lnTo>
                      <a:pt x="262" y="129"/>
                    </a:lnTo>
                    <a:lnTo>
                      <a:pt x="260" y="128"/>
                    </a:lnTo>
                    <a:lnTo>
                      <a:pt x="260" y="125"/>
                    </a:lnTo>
                    <a:lnTo>
                      <a:pt x="259" y="124"/>
                    </a:lnTo>
                    <a:lnTo>
                      <a:pt x="258" y="122"/>
                    </a:lnTo>
                    <a:lnTo>
                      <a:pt x="255" y="121"/>
                    </a:lnTo>
                    <a:lnTo>
                      <a:pt x="250" y="119"/>
                    </a:lnTo>
                    <a:lnTo>
                      <a:pt x="247" y="118"/>
                    </a:lnTo>
                    <a:lnTo>
                      <a:pt x="250" y="115"/>
                    </a:lnTo>
                    <a:lnTo>
                      <a:pt x="247" y="112"/>
                    </a:lnTo>
                    <a:lnTo>
                      <a:pt x="245" y="109"/>
                    </a:lnTo>
                    <a:lnTo>
                      <a:pt x="246" y="106"/>
                    </a:lnTo>
                    <a:lnTo>
                      <a:pt x="247" y="104"/>
                    </a:lnTo>
                    <a:lnTo>
                      <a:pt x="245" y="99"/>
                    </a:lnTo>
                    <a:lnTo>
                      <a:pt x="243" y="96"/>
                    </a:lnTo>
                    <a:lnTo>
                      <a:pt x="242" y="93"/>
                    </a:lnTo>
                    <a:lnTo>
                      <a:pt x="242" y="91"/>
                    </a:lnTo>
                    <a:lnTo>
                      <a:pt x="242" y="86"/>
                    </a:lnTo>
                    <a:lnTo>
                      <a:pt x="243" y="83"/>
                    </a:lnTo>
                    <a:close/>
                    <a:moveTo>
                      <a:pt x="183" y="131"/>
                    </a:moveTo>
                    <a:lnTo>
                      <a:pt x="181" y="131"/>
                    </a:lnTo>
                    <a:lnTo>
                      <a:pt x="180" y="134"/>
                    </a:lnTo>
                    <a:lnTo>
                      <a:pt x="179" y="134"/>
                    </a:lnTo>
                    <a:lnTo>
                      <a:pt x="179" y="135"/>
                    </a:lnTo>
                    <a:lnTo>
                      <a:pt x="179" y="137"/>
                    </a:lnTo>
                    <a:lnTo>
                      <a:pt x="177" y="137"/>
                    </a:lnTo>
                    <a:lnTo>
                      <a:pt x="177" y="138"/>
                    </a:lnTo>
                    <a:lnTo>
                      <a:pt x="176" y="138"/>
                    </a:lnTo>
                    <a:lnTo>
                      <a:pt x="176" y="139"/>
                    </a:lnTo>
                    <a:lnTo>
                      <a:pt x="177" y="139"/>
                    </a:lnTo>
                    <a:lnTo>
                      <a:pt x="181" y="141"/>
                    </a:lnTo>
                    <a:lnTo>
                      <a:pt x="184" y="141"/>
                    </a:lnTo>
                    <a:lnTo>
                      <a:pt x="186" y="142"/>
                    </a:lnTo>
                    <a:lnTo>
                      <a:pt x="187" y="144"/>
                    </a:lnTo>
                    <a:lnTo>
                      <a:pt x="189" y="147"/>
                    </a:lnTo>
                    <a:lnTo>
                      <a:pt x="189" y="148"/>
                    </a:lnTo>
                    <a:lnTo>
                      <a:pt x="190" y="150"/>
                    </a:lnTo>
                    <a:lnTo>
                      <a:pt x="189" y="151"/>
                    </a:lnTo>
                    <a:lnTo>
                      <a:pt x="190" y="152"/>
                    </a:lnTo>
                    <a:lnTo>
                      <a:pt x="190" y="154"/>
                    </a:lnTo>
                    <a:lnTo>
                      <a:pt x="191" y="154"/>
                    </a:lnTo>
                    <a:lnTo>
                      <a:pt x="196" y="155"/>
                    </a:lnTo>
                    <a:lnTo>
                      <a:pt x="199" y="157"/>
                    </a:lnTo>
                    <a:lnTo>
                      <a:pt x="200" y="157"/>
                    </a:lnTo>
                    <a:lnTo>
                      <a:pt x="202" y="158"/>
                    </a:lnTo>
                    <a:lnTo>
                      <a:pt x="202" y="155"/>
                    </a:lnTo>
                    <a:lnTo>
                      <a:pt x="202" y="152"/>
                    </a:lnTo>
                    <a:lnTo>
                      <a:pt x="203" y="151"/>
                    </a:lnTo>
                    <a:lnTo>
                      <a:pt x="204" y="150"/>
                    </a:lnTo>
                    <a:lnTo>
                      <a:pt x="200" y="148"/>
                    </a:lnTo>
                    <a:lnTo>
                      <a:pt x="199" y="147"/>
                    </a:lnTo>
                    <a:lnTo>
                      <a:pt x="196" y="145"/>
                    </a:lnTo>
                    <a:lnTo>
                      <a:pt x="194" y="144"/>
                    </a:lnTo>
                    <a:lnTo>
                      <a:pt x="194" y="141"/>
                    </a:lnTo>
                    <a:lnTo>
                      <a:pt x="194" y="138"/>
                    </a:lnTo>
                    <a:lnTo>
                      <a:pt x="193" y="137"/>
                    </a:lnTo>
                    <a:lnTo>
                      <a:pt x="191" y="134"/>
                    </a:lnTo>
                    <a:lnTo>
                      <a:pt x="190" y="131"/>
                    </a:lnTo>
                    <a:lnTo>
                      <a:pt x="190" y="131"/>
                    </a:lnTo>
                    <a:lnTo>
                      <a:pt x="187" y="129"/>
                    </a:lnTo>
                    <a:lnTo>
                      <a:pt x="186" y="131"/>
                    </a:lnTo>
                    <a:lnTo>
                      <a:pt x="186" y="134"/>
                    </a:lnTo>
                    <a:lnTo>
                      <a:pt x="184" y="132"/>
                    </a:lnTo>
                    <a:lnTo>
                      <a:pt x="183" y="131"/>
                    </a:lnTo>
                    <a:close/>
                    <a:moveTo>
                      <a:pt x="125" y="197"/>
                    </a:moveTo>
                    <a:lnTo>
                      <a:pt x="123" y="197"/>
                    </a:lnTo>
                    <a:lnTo>
                      <a:pt x="123" y="197"/>
                    </a:lnTo>
                    <a:lnTo>
                      <a:pt x="123" y="198"/>
                    </a:lnTo>
                    <a:lnTo>
                      <a:pt x="125" y="200"/>
                    </a:lnTo>
                    <a:lnTo>
                      <a:pt x="127" y="200"/>
                    </a:lnTo>
                    <a:lnTo>
                      <a:pt x="127" y="198"/>
                    </a:lnTo>
                    <a:lnTo>
                      <a:pt x="127" y="198"/>
                    </a:lnTo>
                    <a:lnTo>
                      <a:pt x="125" y="197"/>
                    </a:lnTo>
                    <a:close/>
                    <a:moveTo>
                      <a:pt x="176" y="204"/>
                    </a:moveTo>
                    <a:lnTo>
                      <a:pt x="179" y="201"/>
                    </a:lnTo>
                    <a:lnTo>
                      <a:pt x="179" y="201"/>
                    </a:lnTo>
                    <a:lnTo>
                      <a:pt x="180" y="201"/>
                    </a:lnTo>
                    <a:lnTo>
                      <a:pt x="181" y="203"/>
                    </a:lnTo>
                    <a:lnTo>
                      <a:pt x="181" y="204"/>
                    </a:lnTo>
                    <a:lnTo>
                      <a:pt x="183" y="204"/>
                    </a:lnTo>
                    <a:lnTo>
                      <a:pt x="184" y="206"/>
                    </a:lnTo>
                    <a:lnTo>
                      <a:pt x="186" y="206"/>
                    </a:lnTo>
                    <a:lnTo>
                      <a:pt x="186" y="206"/>
                    </a:lnTo>
                    <a:lnTo>
                      <a:pt x="187" y="204"/>
                    </a:lnTo>
                    <a:lnTo>
                      <a:pt x="189" y="201"/>
                    </a:lnTo>
                    <a:lnTo>
                      <a:pt x="189" y="197"/>
                    </a:lnTo>
                    <a:lnTo>
                      <a:pt x="187" y="178"/>
                    </a:lnTo>
                    <a:lnTo>
                      <a:pt x="187" y="177"/>
                    </a:lnTo>
                    <a:lnTo>
                      <a:pt x="189" y="173"/>
                    </a:lnTo>
                    <a:lnTo>
                      <a:pt x="189" y="171"/>
                    </a:lnTo>
                    <a:lnTo>
                      <a:pt x="189" y="170"/>
                    </a:lnTo>
                    <a:lnTo>
                      <a:pt x="189" y="168"/>
                    </a:lnTo>
                    <a:lnTo>
                      <a:pt x="189" y="168"/>
                    </a:lnTo>
                    <a:lnTo>
                      <a:pt x="187" y="167"/>
                    </a:lnTo>
                    <a:lnTo>
                      <a:pt x="189" y="165"/>
                    </a:lnTo>
                    <a:lnTo>
                      <a:pt x="189" y="164"/>
                    </a:lnTo>
                    <a:lnTo>
                      <a:pt x="189" y="164"/>
                    </a:lnTo>
                    <a:lnTo>
                      <a:pt x="190" y="162"/>
                    </a:lnTo>
                    <a:lnTo>
                      <a:pt x="191" y="160"/>
                    </a:lnTo>
                    <a:lnTo>
                      <a:pt x="191" y="158"/>
                    </a:lnTo>
                    <a:lnTo>
                      <a:pt x="190" y="157"/>
                    </a:lnTo>
                    <a:lnTo>
                      <a:pt x="186" y="151"/>
                    </a:lnTo>
                    <a:lnTo>
                      <a:pt x="181" y="147"/>
                    </a:lnTo>
                    <a:lnTo>
                      <a:pt x="177" y="145"/>
                    </a:lnTo>
                    <a:lnTo>
                      <a:pt x="171" y="145"/>
                    </a:lnTo>
                    <a:lnTo>
                      <a:pt x="170" y="147"/>
                    </a:lnTo>
                    <a:lnTo>
                      <a:pt x="169" y="148"/>
                    </a:lnTo>
                    <a:lnTo>
                      <a:pt x="167" y="150"/>
                    </a:lnTo>
                    <a:lnTo>
                      <a:pt x="167" y="150"/>
                    </a:lnTo>
                    <a:lnTo>
                      <a:pt x="166" y="147"/>
                    </a:lnTo>
                    <a:lnTo>
                      <a:pt x="169" y="145"/>
                    </a:lnTo>
                    <a:lnTo>
                      <a:pt x="170" y="144"/>
                    </a:lnTo>
                    <a:lnTo>
                      <a:pt x="170" y="141"/>
                    </a:lnTo>
                    <a:lnTo>
                      <a:pt x="170" y="139"/>
                    </a:lnTo>
                    <a:lnTo>
                      <a:pt x="169" y="139"/>
                    </a:lnTo>
                    <a:lnTo>
                      <a:pt x="169" y="139"/>
                    </a:lnTo>
                    <a:lnTo>
                      <a:pt x="167" y="138"/>
                    </a:lnTo>
                    <a:lnTo>
                      <a:pt x="166" y="138"/>
                    </a:lnTo>
                    <a:lnTo>
                      <a:pt x="166" y="137"/>
                    </a:lnTo>
                    <a:lnTo>
                      <a:pt x="164" y="135"/>
                    </a:lnTo>
                    <a:lnTo>
                      <a:pt x="164" y="135"/>
                    </a:lnTo>
                    <a:lnTo>
                      <a:pt x="164" y="132"/>
                    </a:lnTo>
                    <a:lnTo>
                      <a:pt x="164" y="128"/>
                    </a:lnTo>
                    <a:lnTo>
                      <a:pt x="163" y="125"/>
                    </a:lnTo>
                    <a:lnTo>
                      <a:pt x="161" y="122"/>
                    </a:lnTo>
                    <a:lnTo>
                      <a:pt x="160" y="122"/>
                    </a:lnTo>
                    <a:lnTo>
                      <a:pt x="156" y="121"/>
                    </a:lnTo>
                    <a:lnTo>
                      <a:pt x="154" y="121"/>
                    </a:lnTo>
                    <a:lnTo>
                      <a:pt x="151" y="119"/>
                    </a:lnTo>
                    <a:lnTo>
                      <a:pt x="148" y="118"/>
                    </a:lnTo>
                    <a:lnTo>
                      <a:pt x="147" y="116"/>
                    </a:lnTo>
                    <a:lnTo>
                      <a:pt x="146" y="114"/>
                    </a:lnTo>
                    <a:lnTo>
                      <a:pt x="146" y="114"/>
                    </a:lnTo>
                    <a:lnTo>
                      <a:pt x="146" y="112"/>
                    </a:lnTo>
                    <a:lnTo>
                      <a:pt x="146" y="112"/>
                    </a:lnTo>
                    <a:lnTo>
                      <a:pt x="146" y="112"/>
                    </a:lnTo>
                    <a:lnTo>
                      <a:pt x="146" y="112"/>
                    </a:lnTo>
                    <a:lnTo>
                      <a:pt x="146" y="111"/>
                    </a:lnTo>
                    <a:lnTo>
                      <a:pt x="146" y="111"/>
                    </a:lnTo>
                    <a:lnTo>
                      <a:pt x="146" y="109"/>
                    </a:lnTo>
                    <a:lnTo>
                      <a:pt x="146" y="108"/>
                    </a:lnTo>
                    <a:lnTo>
                      <a:pt x="146" y="106"/>
                    </a:lnTo>
                    <a:lnTo>
                      <a:pt x="147" y="105"/>
                    </a:lnTo>
                    <a:lnTo>
                      <a:pt x="150" y="104"/>
                    </a:lnTo>
                    <a:lnTo>
                      <a:pt x="151" y="104"/>
                    </a:lnTo>
                    <a:lnTo>
                      <a:pt x="150" y="101"/>
                    </a:lnTo>
                    <a:lnTo>
                      <a:pt x="147" y="95"/>
                    </a:lnTo>
                    <a:lnTo>
                      <a:pt x="143" y="95"/>
                    </a:lnTo>
                    <a:lnTo>
                      <a:pt x="135" y="99"/>
                    </a:lnTo>
                    <a:lnTo>
                      <a:pt x="130" y="99"/>
                    </a:lnTo>
                    <a:lnTo>
                      <a:pt x="137" y="96"/>
                    </a:lnTo>
                    <a:lnTo>
                      <a:pt x="138" y="95"/>
                    </a:lnTo>
                    <a:lnTo>
                      <a:pt x="138" y="92"/>
                    </a:lnTo>
                    <a:lnTo>
                      <a:pt x="135" y="92"/>
                    </a:lnTo>
                    <a:lnTo>
                      <a:pt x="131" y="91"/>
                    </a:lnTo>
                    <a:lnTo>
                      <a:pt x="127" y="88"/>
                    </a:lnTo>
                    <a:lnTo>
                      <a:pt x="125" y="85"/>
                    </a:lnTo>
                    <a:lnTo>
                      <a:pt x="123" y="82"/>
                    </a:lnTo>
                    <a:lnTo>
                      <a:pt x="121" y="78"/>
                    </a:lnTo>
                    <a:lnTo>
                      <a:pt x="118" y="76"/>
                    </a:lnTo>
                    <a:lnTo>
                      <a:pt x="117" y="76"/>
                    </a:lnTo>
                    <a:lnTo>
                      <a:pt x="112" y="75"/>
                    </a:lnTo>
                    <a:lnTo>
                      <a:pt x="111" y="73"/>
                    </a:lnTo>
                    <a:lnTo>
                      <a:pt x="110" y="72"/>
                    </a:lnTo>
                    <a:lnTo>
                      <a:pt x="108" y="70"/>
                    </a:lnTo>
                    <a:lnTo>
                      <a:pt x="108" y="68"/>
                    </a:lnTo>
                    <a:lnTo>
                      <a:pt x="107" y="66"/>
                    </a:lnTo>
                    <a:lnTo>
                      <a:pt x="104" y="65"/>
                    </a:lnTo>
                    <a:lnTo>
                      <a:pt x="102" y="63"/>
                    </a:lnTo>
                    <a:lnTo>
                      <a:pt x="101" y="63"/>
                    </a:lnTo>
                    <a:lnTo>
                      <a:pt x="100" y="65"/>
                    </a:lnTo>
                    <a:lnTo>
                      <a:pt x="100" y="66"/>
                    </a:lnTo>
                    <a:lnTo>
                      <a:pt x="101" y="69"/>
                    </a:lnTo>
                    <a:lnTo>
                      <a:pt x="95" y="66"/>
                    </a:lnTo>
                    <a:lnTo>
                      <a:pt x="91" y="60"/>
                    </a:lnTo>
                    <a:lnTo>
                      <a:pt x="84" y="50"/>
                    </a:lnTo>
                    <a:lnTo>
                      <a:pt x="81" y="48"/>
                    </a:lnTo>
                    <a:lnTo>
                      <a:pt x="78" y="46"/>
                    </a:lnTo>
                    <a:lnTo>
                      <a:pt x="71" y="42"/>
                    </a:lnTo>
                    <a:lnTo>
                      <a:pt x="69" y="40"/>
                    </a:lnTo>
                    <a:lnTo>
                      <a:pt x="67" y="39"/>
                    </a:lnTo>
                    <a:lnTo>
                      <a:pt x="65" y="39"/>
                    </a:lnTo>
                    <a:lnTo>
                      <a:pt x="64" y="37"/>
                    </a:lnTo>
                    <a:lnTo>
                      <a:pt x="62" y="36"/>
                    </a:lnTo>
                    <a:lnTo>
                      <a:pt x="61" y="35"/>
                    </a:lnTo>
                    <a:lnTo>
                      <a:pt x="59" y="33"/>
                    </a:lnTo>
                    <a:lnTo>
                      <a:pt x="56" y="33"/>
                    </a:lnTo>
                    <a:lnTo>
                      <a:pt x="55" y="32"/>
                    </a:lnTo>
                    <a:lnTo>
                      <a:pt x="55" y="30"/>
                    </a:lnTo>
                    <a:lnTo>
                      <a:pt x="55" y="29"/>
                    </a:lnTo>
                    <a:lnTo>
                      <a:pt x="55" y="27"/>
                    </a:lnTo>
                    <a:lnTo>
                      <a:pt x="54" y="26"/>
                    </a:lnTo>
                    <a:lnTo>
                      <a:pt x="54" y="25"/>
                    </a:lnTo>
                    <a:lnTo>
                      <a:pt x="51" y="23"/>
                    </a:lnTo>
                    <a:lnTo>
                      <a:pt x="49" y="22"/>
                    </a:lnTo>
                    <a:lnTo>
                      <a:pt x="48" y="17"/>
                    </a:lnTo>
                    <a:lnTo>
                      <a:pt x="46" y="16"/>
                    </a:lnTo>
                    <a:lnTo>
                      <a:pt x="44" y="14"/>
                    </a:lnTo>
                    <a:lnTo>
                      <a:pt x="42" y="13"/>
                    </a:lnTo>
                    <a:lnTo>
                      <a:pt x="41" y="12"/>
                    </a:lnTo>
                    <a:lnTo>
                      <a:pt x="22" y="12"/>
                    </a:lnTo>
                    <a:lnTo>
                      <a:pt x="18" y="10"/>
                    </a:lnTo>
                    <a:lnTo>
                      <a:pt x="11" y="6"/>
                    </a:lnTo>
                    <a:lnTo>
                      <a:pt x="8" y="4"/>
                    </a:lnTo>
                    <a:lnTo>
                      <a:pt x="3" y="4"/>
                    </a:lnTo>
                    <a:lnTo>
                      <a:pt x="2" y="6"/>
                    </a:lnTo>
                    <a:lnTo>
                      <a:pt x="2" y="7"/>
                    </a:lnTo>
                    <a:lnTo>
                      <a:pt x="0" y="10"/>
                    </a:lnTo>
                    <a:lnTo>
                      <a:pt x="5" y="17"/>
                    </a:lnTo>
                    <a:lnTo>
                      <a:pt x="9" y="22"/>
                    </a:lnTo>
                    <a:lnTo>
                      <a:pt x="19" y="33"/>
                    </a:lnTo>
                    <a:lnTo>
                      <a:pt x="22" y="36"/>
                    </a:lnTo>
                    <a:lnTo>
                      <a:pt x="23" y="37"/>
                    </a:lnTo>
                    <a:lnTo>
                      <a:pt x="25" y="37"/>
                    </a:lnTo>
                    <a:lnTo>
                      <a:pt x="28" y="37"/>
                    </a:lnTo>
                    <a:lnTo>
                      <a:pt x="29" y="39"/>
                    </a:lnTo>
                    <a:lnTo>
                      <a:pt x="32" y="40"/>
                    </a:lnTo>
                    <a:lnTo>
                      <a:pt x="38" y="49"/>
                    </a:lnTo>
                    <a:lnTo>
                      <a:pt x="39" y="50"/>
                    </a:lnTo>
                    <a:lnTo>
                      <a:pt x="41" y="52"/>
                    </a:lnTo>
                    <a:lnTo>
                      <a:pt x="42" y="53"/>
                    </a:lnTo>
                    <a:lnTo>
                      <a:pt x="44" y="55"/>
                    </a:lnTo>
                    <a:lnTo>
                      <a:pt x="44" y="56"/>
                    </a:lnTo>
                    <a:lnTo>
                      <a:pt x="44" y="58"/>
                    </a:lnTo>
                    <a:lnTo>
                      <a:pt x="44" y="59"/>
                    </a:lnTo>
                    <a:lnTo>
                      <a:pt x="45" y="62"/>
                    </a:lnTo>
                    <a:lnTo>
                      <a:pt x="48" y="63"/>
                    </a:lnTo>
                    <a:lnTo>
                      <a:pt x="54" y="66"/>
                    </a:lnTo>
                    <a:lnTo>
                      <a:pt x="59" y="70"/>
                    </a:lnTo>
                    <a:lnTo>
                      <a:pt x="64" y="76"/>
                    </a:lnTo>
                    <a:lnTo>
                      <a:pt x="65" y="82"/>
                    </a:lnTo>
                    <a:lnTo>
                      <a:pt x="69" y="93"/>
                    </a:lnTo>
                    <a:lnTo>
                      <a:pt x="69" y="96"/>
                    </a:lnTo>
                    <a:lnTo>
                      <a:pt x="72" y="99"/>
                    </a:lnTo>
                    <a:lnTo>
                      <a:pt x="78" y="102"/>
                    </a:lnTo>
                    <a:lnTo>
                      <a:pt x="79" y="105"/>
                    </a:lnTo>
                    <a:lnTo>
                      <a:pt x="84" y="111"/>
                    </a:lnTo>
                    <a:lnTo>
                      <a:pt x="90" y="118"/>
                    </a:lnTo>
                    <a:lnTo>
                      <a:pt x="98" y="137"/>
                    </a:lnTo>
                    <a:lnTo>
                      <a:pt x="101" y="142"/>
                    </a:lnTo>
                    <a:lnTo>
                      <a:pt x="102" y="145"/>
                    </a:lnTo>
                    <a:lnTo>
                      <a:pt x="104" y="148"/>
                    </a:lnTo>
                    <a:lnTo>
                      <a:pt x="108" y="154"/>
                    </a:lnTo>
                    <a:lnTo>
                      <a:pt x="112" y="160"/>
                    </a:lnTo>
                    <a:lnTo>
                      <a:pt x="115" y="161"/>
                    </a:lnTo>
                    <a:lnTo>
                      <a:pt x="121" y="167"/>
                    </a:lnTo>
                    <a:lnTo>
                      <a:pt x="124" y="168"/>
                    </a:lnTo>
                    <a:lnTo>
                      <a:pt x="127" y="174"/>
                    </a:lnTo>
                    <a:lnTo>
                      <a:pt x="130" y="177"/>
                    </a:lnTo>
                    <a:lnTo>
                      <a:pt x="135" y="181"/>
                    </a:lnTo>
                    <a:lnTo>
                      <a:pt x="147" y="188"/>
                    </a:lnTo>
                    <a:lnTo>
                      <a:pt x="153" y="194"/>
                    </a:lnTo>
                    <a:lnTo>
                      <a:pt x="163" y="206"/>
                    </a:lnTo>
                    <a:lnTo>
                      <a:pt x="166" y="207"/>
                    </a:lnTo>
                    <a:lnTo>
                      <a:pt x="167" y="207"/>
                    </a:lnTo>
                    <a:lnTo>
                      <a:pt x="166" y="204"/>
                    </a:lnTo>
                    <a:lnTo>
                      <a:pt x="167" y="201"/>
                    </a:lnTo>
                    <a:lnTo>
                      <a:pt x="171" y="204"/>
                    </a:lnTo>
                    <a:lnTo>
                      <a:pt x="173" y="204"/>
                    </a:lnTo>
                    <a:lnTo>
                      <a:pt x="176" y="204"/>
                    </a:lnTo>
                    <a:lnTo>
                      <a:pt x="176" y="204"/>
                    </a:lnTo>
                    <a:close/>
                    <a:moveTo>
                      <a:pt x="204" y="157"/>
                    </a:moveTo>
                    <a:lnTo>
                      <a:pt x="204" y="157"/>
                    </a:lnTo>
                    <a:lnTo>
                      <a:pt x="206" y="157"/>
                    </a:lnTo>
                    <a:lnTo>
                      <a:pt x="206" y="155"/>
                    </a:lnTo>
                    <a:lnTo>
                      <a:pt x="206" y="155"/>
                    </a:lnTo>
                    <a:lnTo>
                      <a:pt x="204" y="155"/>
                    </a:lnTo>
                    <a:lnTo>
                      <a:pt x="204" y="155"/>
                    </a:lnTo>
                    <a:lnTo>
                      <a:pt x="203" y="155"/>
                    </a:lnTo>
                    <a:lnTo>
                      <a:pt x="204" y="157"/>
                    </a:lnTo>
                    <a:close/>
                    <a:moveTo>
                      <a:pt x="223" y="148"/>
                    </a:moveTo>
                    <a:lnTo>
                      <a:pt x="220" y="150"/>
                    </a:lnTo>
                    <a:lnTo>
                      <a:pt x="219" y="151"/>
                    </a:lnTo>
                    <a:lnTo>
                      <a:pt x="217" y="155"/>
                    </a:lnTo>
                    <a:lnTo>
                      <a:pt x="219" y="157"/>
                    </a:lnTo>
                    <a:lnTo>
                      <a:pt x="219" y="158"/>
                    </a:lnTo>
                    <a:lnTo>
                      <a:pt x="219" y="158"/>
                    </a:lnTo>
                    <a:lnTo>
                      <a:pt x="219" y="160"/>
                    </a:lnTo>
                    <a:lnTo>
                      <a:pt x="220" y="160"/>
                    </a:lnTo>
                    <a:lnTo>
                      <a:pt x="222" y="160"/>
                    </a:lnTo>
                    <a:lnTo>
                      <a:pt x="223" y="158"/>
                    </a:lnTo>
                    <a:lnTo>
                      <a:pt x="225" y="160"/>
                    </a:lnTo>
                    <a:lnTo>
                      <a:pt x="225" y="160"/>
                    </a:lnTo>
                    <a:lnTo>
                      <a:pt x="227" y="160"/>
                    </a:lnTo>
                    <a:lnTo>
                      <a:pt x="229" y="158"/>
                    </a:lnTo>
                    <a:lnTo>
                      <a:pt x="229" y="157"/>
                    </a:lnTo>
                    <a:lnTo>
                      <a:pt x="230" y="155"/>
                    </a:lnTo>
                    <a:lnTo>
                      <a:pt x="230" y="152"/>
                    </a:lnTo>
                    <a:lnTo>
                      <a:pt x="229" y="151"/>
                    </a:lnTo>
                    <a:lnTo>
                      <a:pt x="226" y="150"/>
                    </a:lnTo>
                    <a:lnTo>
                      <a:pt x="223" y="148"/>
                    </a:lnTo>
                    <a:close/>
                    <a:moveTo>
                      <a:pt x="216" y="155"/>
                    </a:moveTo>
                    <a:lnTo>
                      <a:pt x="217" y="154"/>
                    </a:lnTo>
                    <a:lnTo>
                      <a:pt x="216" y="154"/>
                    </a:lnTo>
                    <a:lnTo>
                      <a:pt x="216" y="154"/>
                    </a:lnTo>
                    <a:lnTo>
                      <a:pt x="214" y="154"/>
                    </a:lnTo>
                    <a:lnTo>
                      <a:pt x="216" y="155"/>
                    </a:lnTo>
                    <a:lnTo>
                      <a:pt x="216" y="155"/>
                    </a:lnTo>
                    <a:close/>
                    <a:moveTo>
                      <a:pt x="177" y="219"/>
                    </a:moveTo>
                    <a:lnTo>
                      <a:pt x="174" y="220"/>
                    </a:lnTo>
                    <a:lnTo>
                      <a:pt x="177" y="221"/>
                    </a:lnTo>
                    <a:lnTo>
                      <a:pt x="177" y="220"/>
                    </a:lnTo>
                    <a:lnTo>
                      <a:pt x="177" y="219"/>
                    </a:lnTo>
                    <a:close/>
                    <a:moveTo>
                      <a:pt x="318" y="250"/>
                    </a:moveTo>
                    <a:lnTo>
                      <a:pt x="322" y="252"/>
                    </a:lnTo>
                    <a:lnTo>
                      <a:pt x="329" y="254"/>
                    </a:lnTo>
                    <a:lnTo>
                      <a:pt x="338" y="257"/>
                    </a:lnTo>
                    <a:lnTo>
                      <a:pt x="339" y="259"/>
                    </a:lnTo>
                    <a:lnTo>
                      <a:pt x="341" y="259"/>
                    </a:lnTo>
                    <a:lnTo>
                      <a:pt x="341" y="257"/>
                    </a:lnTo>
                    <a:lnTo>
                      <a:pt x="341" y="256"/>
                    </a:lnTo>
                    <a:lnTo>
                      <a:pt x="338" y="253"/>
                    </a:lnTo>
                    <a:lnTo>
                      <a:pt x="338" y="252"/>
                    </a:lnTo>
                    <a:lnTo>
                      <a:pt x="338" y="249"/>
                    </a:lnTo>
                    <a:lnTo>
                      <a:pt x="339" y="244"/>
                    </a:lnTo>
                    <a:lnTo>
                      <a:pt x="339" y="243"/>
                    </a:lnTo>
                    <a:lnTo>
                      <a:pt x="337" y="240"/>
                    </a:lnTo>
                    <a:lnTo>
                      <a:pt x="334" y="239"/>
                    </a:lnTo>
                    <a:lnTo>
                      <a:pt x="329" y="239"/>
                    </a:lnTo>
                    <a:lnTo>
                      <a:pt x="324" y="240"/>
                    </a:lnTo>
                    <a:lnTo>
                      <a:pt x="321" y="240"/>
                    </a:lnTo>
                    <a:lnTo>
                      <a:pt x="318" y="240"/>
                    </a:lnTo>
                    <a:lnTo>
                      <a:pt x="315" y="239"/>
                    </a:lnTo>
                    <a:lnTo>
                      <a:pt x="314" y="239"/>
                    </a:lnTo>
                    <a:lnTo>
                      <a:pt x="312" y="239"/>
                    </a:lnTo>
                    <a:lnTo>
                      <a:pt x="312" y="237"/>
                    </a:lnTo>
                    <a:lnTo>
                      <a:pt x="311" y="237"/>
                    </a:lnTo>
                    <a:lnTo>
                      <a:pt x="311" y="236"/>
                    </a:lnTo>
                    <a:lnTo>
                      <a:pt x="311" y="234"/>
                    </a:lnTo>
                    <a:lnTo>
                      <a:pt x="309" y="234"/>
                    </a:lnTo>
                    <a:lnTo>
                      <a:pt x="306" y="229"/>
                    </a:lnTo>
                    <a:lnTo>
                      <a:pt x="306" y="229"/>
                    </a:lnTo>
                    <a:lnTo>
                      <a:pt x="306" y="227"/>
                    </a:lnTo>
                    <a:lnTo>
                      <a:pt x="305" y="226"/>
                    </a:lnTo>
                    <a:lnTo>
                      <a:pt x="305" y="226"/>
                    </a:lnTo>
                    <a:lnTo>
                      <a:pt x="301" y="226"/>
                    </a:lnTo>
                    <a:lnTo>
                      <a:pt x="298" y="224"/>
                    </a:lnTo>
                    <a:lnTo>
                      <a:pt x="291" y="221"/>
                    </a:lnTo>
                    <a:lnTo>
                      <a:pt x="288" y="221"/>
                    </a:lnTo>
                    <a:lnTo>
                      <a:pt x="286" y="221"/>
                    </a:lnTo>
                    <a:lnTo>
                      <a:pt x="285" y="221"/>
                    </a:lnTo>
                    <a:lnTo>
                      <a:pt x="283" y="221"/>
                    </a:lnTo>
                    <a:lnTo>
                      <a:pt x="282" y="221"/>
                    </a:lnTo>
                    <a:lnTo>
                      <a:pt x="281" y="220"/>
                    </a:lnTo>
                    <a:lnTo>
                      <a:pt x="279" y="219"/>
                    </a:lnTo>
                    <a:lnTo>
                      <a:pt x="278" y="217"/>
                    </a:lnTo>
                    <a:lnTo>
                      <a:pt x="276" y="217"/>
                    </a:lnTo>
                    <a:lnTo>
                      <a:pt x="273" y="219"/>
                    </a:lnTo>
                    <a:lnTo>
                      <a:pt x="272" y="221"/>
                    </a:lnTo>
                    <a:lnTo>
                      <a:pt x="270" y="224"/>
                    </a:lnTo>
                    <a:lnTo>
                      <a:pt x="269" y="226"/>
                    </a:lnTo>
                    <a:lnTo>
                      <a:pt x="268" y="226"/>
                    </a:lnTo>
                    <a:lnTo>
                      <a:pt x="253" y="224"/>
                    </a:lnTo>
                    <a:lnTo>
                      <a:pt x="240" y="224"/>
                    </a:lnTo>
                    <a:lnTo>
                      <a:pt x="239" y="223"/>
                    </a:lnTo>
                    <a:lnTo>
                      <a:pt x="237" y="221"/>
                    </a:lnTo>
                    <a:lnTo>
                      <a:pt x="233" y="217"/>
                    </a:lnTo>
                    <a:lnTo>
                      <a:pt x="232" y="216"/>
                    </a:lnTo>
                    <a:lnTo>
                      <a:pt x="229" y="214"/>
                    </a:lnTo>
                    <a:lnTo>
                      <a:pt x="223" y="214"/>
                    </a:lnTo>
                    <a:lnTo>
                      <a:pt x="220" y="213"/>
                    </a:lnTo>
                    <a:lnTo>
                      <a:pt x="219" y="213"/>
                    </a:lnTo>
                    <a:lnTo>
                      <a:pt x="216" y="211"/>
                    </a:lnTo>
                    <a:lnTo>
                      <a:pt x="216" y="211"/>
                    </a:lnTo>
                    <a:lnTo>
                      <a:pt x="214" y="210"/>
                    </a:lnTo>
                    <a:lnTo>
                      <a:pt x="214" y="208"/>
                    </a:lnTo>
                    <a:lnTo>
                      <a:pt x="213" y="208"/>
                    </a:lnTo>
                    <a:lnTo>
                      <a:pt x="210" y="208"/>
                    </a:lnTo>
                    <a:lnTo>
                      <a:pt x="209" y="207"/>
                    </a:lnTo>
                    <a:lnTo>
                      <a:pt x="206" y="210"/>
                    </a:lnTo>
                    <a:lnTo>
                      <a:pt x="202" y="211"/>
                    </a:lnTo>
                    <a:lnTo>
                      <a:pt x="193" y="208"/>
                    </a:lnTo>
                    <a:lnTo>
                      <a:pt x="191" y="208"/>
                    </a:lnTo>
                    <a:lnTo>
                      <a:pt x="190" y="210"/>
                    </a:lnTo>
                    <a:lnTo>
                      <a:pt x="189" y="210"/>
                    </a:lnTo>
                    <a:lnTo>
                      <a:pt x="187" y="213"/>
                    </a:lnTo>
                    <a:lnTo>
                      <a:pt x="187" y="217"/>
                    </a:lnTo>
                    <a:lnTo>
                      <a:pt x="186" y="217"/>
                    </a:lnTo>
                    <a:lnTo>
                      <a:pt x="184" y="217"/>
                    </a:lnTo>
                    <a:lnTo>
                      <a:pt x="183" y="220"/>
                    </a:lnTo>
                    <a:lnTo>
                      <a:pt x="181" y="223"/>
                    </a:lnTo>
                    <a:lnTo>
                      <a:pt x="180" y="223"/>
                    </a:lnTo>
                    <a:lnTo>
                      <a:pt x="180" y="221"/>
                    </a:lnTo>
                    <a:lnTo>
                      <a:pt x="179" y="221"/>
                    </a:lnTo>
                    <a:lnTo>
                      <a:pt x="179" y="221"/>
                    </a:lnTo>
                    <a:lnTo>
                      <a:pt x="177" y="223"/>
                    </a:lnTo>
                    <a:lnTo>
                      <a:pt x="177" y="223"/>
                    </a:lnTo>
                    <a:lnTo>
                      <a:pt x="179" y="224"/>
                    </a:lnTo>
                    <a:lnTo>
                      <a:pt x="181" y="224"/>
                    </a:lnTo>
                    <a:lnTo>
                      <a:pt x="186" y="224"/>
                    </a:lnTo>
                    <a:lnTo>
                      <a:pt x="190" y="224"/>
                    </a:lnTo>
                    <a:lnTo>
                      <a:pt x="193" y="226"/>
                    </a:lnTo>
                    <a:lnTo>
                      <a:pt x="200" y="229"/>
                    </a:lnTo>
                    <a:lnTo>
                      <a:pt x="199" y="231"/>
                    </a:lnTo>
                    <a:lnTo>
                      <a:pt x="200" y="234"/>
                    </a:lnTo>
                    <a:lnTo>
                      <a:pt x="203" y="234"/>
                    </a:lnTo>
                    <a:lnTo>
                      <a:pt x="207" y="234"/>
                    </a:lnTo>
                    <a:lnTo>
                      <a:pt x="212" y="236"/>
                    </a:lnTo>
                    <a:lnTo>
                      <a:pt x="226" y="240"/>
                    </a:lnTo>
                    <a:lnTo>
                      <a:pt x="229" y="242"/>
                    </a:lnTo>
                    <a:lnTo>
                      <a:pt x="232" y="242"/>
                    </a:lnTo>
                    <a:lnTo>
                      <a:pt x="233" y="242"/>
                    </a:lnTo>
                    <a:lnTo>
                      <a:pt x="236" y="240"/>
                    </a:lnTo>
                    <a:lnTo>
                      <a:pt x="239" y="239"/>
                    </a:lnTo>
                    <a:lnTo>
                      <a:pt x="240" y="239"/>
                    </a:lnTo>
                    <a:lnTo>
                      <a:pt x="245" y="239"/>
                    </a:lnTo>
                    <a:lnTo>
                      <a:pt x="255" y="240"/>
                    </a:lnTo>
                    <a:lnTo>
                      <a:pt x="258" y="242"/>
                    </a:lnTo>
                    <a:lnTo>
                      <a:pt x="272" y="247"/>
                    </a:lnTo>
                    <a:lnTo>
                      <a:pt x="276" y="249"/>
                    </a:lnTo>
                    <a:lnTo>
                      <a:pt x="305" y="252"/>
                    </a:lnTo>
                    <a:lnTo>
                      <a:pt x="309" y="252"/>
                    </a:lnTo>
                    <a:lnTo>
                      <a:pt x="312" y="250"/>
                    </a:lnTo>
                    <a:lnTo>
                      <a:pt x="318" y="250"/>
                    </a:lnTo>
                    <a:close/>
                    <a:moveTo>
                      <a:pt x="69" y="128"/>
                    </a:moveTo>
                    <a:lnTo>
                      <a:pt x="67" y="121"/>
                    </a:lnTo>
                    <a:lnTo>
                      <a:pt x="65" y="119"/>
                    </a:lnTo>
                    <a:lnTo>
                      <a:pt x="64" y="119"/>
                    </a:lnTo>
                    <a:lnTo>
                      <a:pt x="61" y="121"/>
                    </a:lnTo>
                    <a:lnTo>
                      <a:pt x="61" y="124"/>
                    </a:lnTo>
                    <a:lnTo>
                      <a:pt x="61" y="127"/>
                    </a:lnTo>
                    <a:lnTo>
                      <a:pt x="62" y="129"/>
                    </a:lnTo>
                    <a:lnTo>
                      <a:pt x="64" y="131"/>
                    </a:lnTo>
                    <a:lnTo>
                      <a:pt x="67" y="134"/>
                    </a:lnTo>
                    <a:lnTo>
                      <a:pt x="68" y="135"/>
                    </a:lnTo>
                    <a:lnTo>
                      <a:pt x="71" y="135"/>
                    </a:lnTo>
                    <a:lnTo>
                      <a:pt x="72" y="132"/>
                    </a:lnTo>
                    <a:lnTo>
                      <a:pt x="71" y="131"/>
                    </a:lnTo>
                    <a:lnTo>
                      <a:pt x="69" y="128"/>
                    </a:lnTo>
                    <a:close/>
                    <a:moveTo>
                      <a:pt x="79" y="141"/>
                    </a:moveTo>
                    <a:lnTo>
                      <a:pt x="78" y="139"/>
                    </a:lnTo>
                    <a:lnTo>
                      <a:pt x="77" y="142"/>
                    </a:lnTo>
                    <a:lnTo>
                      <a:pt x="78" y="142"/>
                    </a:lnTo>
                    <a:lnTo>
                      <a:pt x="79" y="144"/>
                    </a:lnTo>
                    <a:lnTo>
                      <a:pt x="82" y="145"/>
                    </a:lnTo>
                    <a:lnTo>
                      <a:pt x="81" y="142"/>
                    </a:lnTo>
                    <a:lnTo>
                      <a:pt x="79" y="141"/>
                    </a:lnTo>
                    <a:close/>
                    <a:moveTo>
                      <a:pt x="88" y="151"/>
                    </a:moveTo>
                    <a:lnTo>
                      <a:pt x="88" y="150"/>
                    </a:lnTo>
                    <a:lnTo>
                      <a:pt x="87" y="148"/>
                    </a:lnTo>
                    <a:lnTo>
                      <a:pt x="85" y="148"/>
                    </a:lnTo>
                    <a:lnTo>
                      <a:pt x="84" y="150"/>
                    </a:lnTo>
                    <a:lnTo>
                      <a:pt x="85" y="151"/>
                    </a:lnTo>
                    <a:lnTo>
                      <a:pt x="87" y="152"/>
                    </a:lnTo>
                    <a:lnTo>
                      <a:pt x="88" y="154"/>
                    </a:lnTo>
                    <a:lnTo>
                      <a:pt x="88" y="151"/>
                    </a:lnTo>
                    <a:close/>
                    <a:moveTo>
                      <a:pt x="94" y="157"/>
                    </a:moveTo>
                    <a:lnTo>
                      <a:pt x="92" y="155"/>
                    </a:lnTo>
                    <a:lnTo>
                      <a:pt x="91" y="154"/>
                    </a:lnTo>
                    <a:lnTo>
                      <a:pt x="88" y="152"/>
                    </a:lnTo>
                    <a:lnTo>
                      <a:pt x="88" y="155"/>
                    </a:lnTo>
                    <a:lnTo>
                      <a:pt x="90" y="157"/>
                    </a:lnTo>
                    <a:lnTo>
                      <a:pt x="90" y="158"/>
                    </a:lnTo>
                    <a:lnTo>
                      <a:pt x="92" y="161"/>
                    </a:lnTo>
                    <a:lnTo>
                      <a:pt x="92" y="162"/>
                    </a:lnTo>
                    <a:lnTo>
                      <a:pt x="92" y="161"/>
                    </a:lnTo>
                    <a:lnTo>
                      <a:pt x="92" y="160"/>
                    </a:lnTo>
                    <a:lnTo>
                      <a:pt x="92" y="158"/>
                    </a:lnTo>
                    <a:lnTo>
                      <a:pt x="94" y="157"/>
                    </a:lnTo>
                    <a:close/>
                    <a:moveTo>
                      <a:pt x="368" y="162"/>
                    </a:moveTo>
                    <a:lnTo>
                      <a:pt x="367" y="167"/>
                    </a:lnTo>
                    <a:lnTo>
                      <a:pt x="367" y="171"/>
                    </a:lnTo>
                    <a:lnTo>
                      <a:pt x="368" y="175"/>
                    </a:lnTo>
                    <a:lnTo>
                      <a:pt x="371" y="173"/>
                    </a:lnTo>
                    <a:lnTo>
                      <a:pt x="371" y="171"/>
                    </a:lnTo>
                    <a:lnTo>
                      <a:pt x="372" y="170"/>
                    </a:lnTo>
                    <a:lnTo>
                      <a:pt x="371" y="165"/>
                    </a:lnTo>
                    <a:lnTo>
                      <a:pt x="371" y="162"/>
                    </a:lnTo>
                    <a:lnTo>
                      <a:pt x="371" y="161"/>
                    </a:lnTo>
                    <a:lnTo>
                      <a:pt x="368" y="162"/>
                    </a:lnTo>
                    <a:close/>
                    <a:moveTo>
                      <a:pt x="361" y="252"/>
                    </a:moveTo>
                    <a:lnTo>
                      <a:pt x="358" y="249"/>
                    </a:lnTo>
                    <a:lnTo>
                      <a:pt x="357" y="247"/>
                    </a:lnTo>
                    <a:lnTo>
                      <a:pt x="355" y="247"/>
                    </a:lnTo>
                    <a:lnTo>
                      <a:pt x="354" y="246"/>
                    </a:lnTo>
                    <a:lnTo>
                      <a:pt x="352" y="246"/>
                    </a:lnTo>
                    <a:lnTo>
                      <a:pt x="351" y="246"/>
                    </a:lnTo>
                    <a:lnTo>
                      <a:pt x="351" y="247"/>
                    </a:lnTo>
                    <a:lnTo>
                      <a:pt x="349" y="247"/>
                    </a:lnTo>
                    <a:lnTo>
                      <a:pt x="348" y="247"/>
                    </a:lnTo>
                    <a:lnTo>
                      <a:pt x="347" y="247"/>
                    </a:lnTo>
                    <a:lnTo>
                      <a:pt x="344" y="247"/>
                    </a:lnTo>
                    <a:lnTo>
                      <a:pt x="341" y="247"/>
                    </a:lnTo>
                    <a:lnTo>
                      <a:pt x="339" y="247"/>
                    </a:lnTo>
                    <a:lnTo>
                      <a:pt x="341" y="250"/>
                    </a:lnTo>
                    <a:lnTo>
                      <a:pt x="342" y="252"/>
                    </a:lnTo>
                    <a:lnTo>
                      <a:pt x="347" y="253"/>
                    </a:lnTo>
                    <a:lnTo>
                      <a:pt x="348" y="254"/>
                    </a:lnTo>
                    <a:lnTo>
                      <a:pt x="351" y="256"/>
                    </a:lnTo>
                    <a:lnTo>
                      <a:pt x="351" y="257"/>
                    </a:lnTo>
                    <a:lnTo>
                      <a:pt x="351" y="260"/>
                    </a:lnTo>
                    <a:lnTo>
                      <a:pt x="352" y="260"/>
                    </a:lnTo>
                    <a:lnTo>
                      <a:pt x="354" y="259"/>
                    </a:lnTo>
                    <a:lnTo>
                      <a:pt x="354" y="257"/>
                    </a:lnTo>
                    <a:lnTo>
                      <a:pt x="355" y="256"/>
                    </a:lnTo>
                    <a:lnTo>
                      <a:pt x="360" y="253"/>
                    </a:lnTo>
                    <a:lnTo>
                      <a:pt x="361" y="252"/>
                    </a:lnTo>
                    <a:close/>
                    <a:moveTo>
                      <a:pt x="374" y="165"/>
                    </a:moveTo>
                    <a:lnTo>
                      <a:pt x="374" y="164"/>
                    </a:lnTo>
                    <a:lnTo>
                      <a:pt x="372" y="164"/>
                    </a:lnTo>
                    <a:lnTo>
                      <a:pt x="372" y="165"/>
                    </a:lnTo>
                    <a:lnTo>
                      <a:pt x="372" y="167"/>
                    </a:lnTo>
                    <a:lnTo>
                      <a:pt x="372" y="168"/>
                    </a:lnTo>
                    <a:lnTo>
                      <a:pt x="374" y="165"/>
                    </a:lnTo>
                    <a:close/>
                    <a:moveTo>
                      <a:pt x="240" y="131"/>
                    </a:moveTo>
                    <a:lnTo>
                      <a:pt x="240" y="132"/>
                    </a:lnTo>
                    <a:lnTo>
                      <a:pt x="242" y="132"/>
                    </a:lnTo>
                    <a:lnTo>
                      <a:pt x="242" y="131"/>
                    </a:lnTo>
                    <a:lnTo>
                      <a:pt x="242" y="131"/>
                    </a:lnTo>
                    <a:lnTo>
                      <a:pt x="240" y="131"/>
                    </a:lnTo>
                    <a:close/>
                    <a:moveTo>
                      <a:pt x="253" y="121"/>
                    </a:moveTo>
                    <a:lnTo>
                      <a:pt x="252" y="121"/>
                    </a:lnTo>
                    <a:lnTo>
                      <a:pt x="252" y="122"/>
                    </a:lnTo>
                    <a:lnTo>
                      <a:pt x="250" y="122"/>
                    </a:lnTo>
                    <a:lnTo>
                      <a:pt x="250" y="124"/>
                    </a:lnTo>
                    <a:lnTo>
                      <a:pt x="250" y="125"/>
                    </a:lnTo>
                    <a:lnTo>
                      <a:pt x="252" y="127"/>
                    </a:lnTo>
                    <a:lnTo>
                      <a:pt x="255" y="125"/>
                    </a:lnTo>
                    <a:lnTo>
                      <a:pt x="256" y="124"/>
                    </a:lnTo>
                    <a:lnTo>
                      <a:pt x="256" y="122"/>
                    </a:lnTo>
                    <a:lnTo>
                      <a:pt x="256" y="121"/>
                    </a:lnTo>
                    <a:lnTo>
                      <a:pt x="255" y="121"/>
                    </a:lnTo>
                    <a:lnTo>
                      <a:pt x="253" y="121"/>
                    </a:lnTo>
                    <a:close/>
                    <a:moveTo>
                      <a:pt x="337" y="229"/>
                    </a:moveTo>
                    <a:lnTo>
                      <a:pt x="337" y="230"/>
                    </a:lnTo>
                    <a:lnTo>
                      <a:pt x="338" y="230"/>
                    </a:lnTo>
                    <a:lnTo>
                      <a:pt x="338" y="230"/>
                    </a:lnTo>
                    <a:lnTo>
                      <a:pt x="338" y="229"/>
                    </a:lnTo>
                    <a:lnTo>
                      <a:pt x="338" y="229"/>
                    </a:lnTo>
                    <a:lnTo>
                      <a:pt x="337" y="229"/>
                    </a:lnTo>
                    <a:lnTo>
                      <a:pt x="337" y="229"/>
                    </a:lnTo>
                    <a:close/>
                    <a:moveTo>
                      <a:pt x="308" y="207"/>
                    </a:moveTo>
                    <a:lnTo>
                      <a:pt x="308" y="206"/>
                    </a:lnTo>
                    <a:lnTo>
                      <a:pt x="308" y="204"/>
                    </a:lnTo>
                    <a:lnTo>
                      <a:pt x="306" y="206"/>
                    </a:lnTo>
                    <a:lnTo>
                      <a:pt x="308" y="207"/>
                    </a:lnTo>
                    <a:close/>
                    <a:moveTo>
                      <a:pt x="326" y="224"/>
                    </a:moveTo>
                    <a:lnTo>
                      <a:pt x="319" y="224"/>
                    </a:lnTo>
                    <a:lnTo>
                      <a:pt x="316" y="224"/>
                    </a:lnTo>
                    <a:lnTo>
                      <a:pt x="314" y="226"/>
                    </a:lnTo>
                    <a:lnTo>
                      <a:pt x="311" y="226"/>
                    </a:lnTo>
                    <a:lnTo>
                      <a:pt x="309" y="229"/>
                    </a:lnTo>
                    <a:lnTo>
                      <a:pt x="314" y="231"/>
                    </a:lnTo>
                    <a:lnTo>
                      <a:pt x="321" y="231"/>
                    </a:lnTo>
                    <a:lnTo>
                      <a:pt x="332" y="227"/>
                    </a:lnTo>
                    <a:lnTo>
                      <a:pt x="331" y="224"/>
                    </a:lnTo>
                    <a:lnTo>
                      <a:pt x="326" y="224"/>
                    </a:lnTo>
                    <a:close/>
                    <a:moveTo>
                      <a:pt x="358" y="226"/>
                    </a:moveTo>
                    <a:lnTo>
                      <a:pt x="357" y="224"/>
                    </a:lnTo>
                    <a:lnTo>
                      <a:pt x="355" y="224"/>
                    </a:lnTo>
                    <a:lnTo>
                      <a:pt x="354" y="224"/>
                    </a:lnTo>
                    <a:lnTo>
                      <a:pt x="352" y="226"/>
                    </a:lnTo>
                    <a:lnTo>
                      <a:pt x="352" y="226"/>
                    </a:lnTo>
                    <a:lnTo>
                      <a:pt x="355" y="227"/>
                    </a:lnTo>
                    <a:lnTo>
                      <a:pt x="358" y="22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64" name="Freeform 283">
                <a:extLst>
                  <a:ext uri="{FF2B5EF4-FFF2-40B4-BE49-F238E27FC236}">
                    <a16:creationId xmlns:a16="http://schemas.microsoft.com/office/drawing/2014/main" id="{E48EF483-1879-71F6-093C-53DF7B0CB35F}"/>
                  </a:ext>
                </a:extLst>
              </p:cNvPr>
              <p:cNvSpPr>
                <a:spLocks noEditPoints="1"/>
              </p:cNvSpPr>
              <p:nvPr/>
            </p:nvSpPr>
            <p:spPr bwMode="auto">
              <a:xfrm>
                <a:off x="8926793" y="4118212"/>
                <a:ext cx="286300" cy="225570"/>
              </a:xfrm>
              <a:custGeom>
                <a:avLst/>
                <a:gdLst>
                  <a:gd name="T0" fmla="*/ 155 w 198"/>
                  <a:gd name="T1" fmla="*/ 141 h 156"/>
                  <a:gd name="T2" fmla="*/ 197 w 198"/>
                  <a:gd name="T3" fmla="*/ 41 h 156"/>
                  <a:gd name="T4" fmla="*/ 172 w 198"/>
                  <a:gd name="T5" fmla="*/ 35 h 156"/>
                  <a:gd name="T6" fmla="*/ 129 w 198"/>
                  <a:gd name="T7" fmla="*/ 28 h 156"/>
                  <a:gd name="T8" fmla="*/ 116 w 198"/>
                  <a:gd name="T9" fmla="*/ 36 h 156"/>
                  <a:gd name="T10" fmla="*/ 100 w 198"/>
                  <a:gd name="T11" fmla="*/ 53 h 156"/>
                  <a:gd name="T12" fmla="*/ 86 w 198"/>
                  <a:gd name="T13" fmla="*/ 45 h 156"/>
                  <a:gd name="T14" fmla="*/ 78 w 198"/>
                  <a:gd name="T15" fmla="*/ 32 h 156"/>
                  <a:gd name="T16" fmla="*/ 76 w 198"/>
                  <a:gd name="T17" fmla="*/ 10 h 156"/>
                  <a:gd name="T18" fmla="*/ 63 w 198"/>
                  <a:gd name="T19" fmla="*/ 6 h 156"/>
                  <a:gd name="T20" fmla="*/ 27 w 198"/>
                  <a:gd name="T21" fmla="*/ 10 h 156"/>
                  <a:gd name="T22" fmla="*/ 34 w 198"/>
                  <a:gd name="T23" fmla="*/ 20 h 156"/>
                  <a:gd name="T24" fmla="*/ 43 w 198"/>
                  <a:gd name="T25" fmla="*/ 32 h 156"/>
                  <a:gd name="T26" fmla="*/ 73 w 198"/>
                  <a:gd name="T27" fmla="*/ 32 h 156"/>
                  <a:gd name="T28" fmla="*/ 69 w 198"/>
                  <a:gd name="T29" fmla="*/ 41 h 156"/>
                  <a:gd name="T30" fmla="*/ 57 w 198"/>
                  <a:gd name="T31" fmla="*/ 39 h 156"/>
                  <a:gd name="T32" fmla="*/ 44 w 198"/>
                  <a:gd name="T33" fmla="*/ 42 h 156"/>
                  <a:gd name="T34" fmla="*/ 53 w 198"/>
                  <a:gd name="T35" fmla="*/ 53 h 156"/>
                  <a:gd name="T36" fmla="*/ 59 w 198"/>
                  <a:gd name="T37" fmla="*/ 66 h 156"/>
                  <a:gd name="T38" fmla="*/ 69 w 198"/>
                  <a:gd name="T39" fmla="*/ 49 h 156"/>
                  <a:gd name="T40" fmla="*/ 73 w 198"/>
                  <a:gd name="T41" fmla="*/ 61 h 156"/>
                  <a:gd name="T42" fmla="*/ 80 w 198"/>
                  <a:gd name="T43" fmla="*/ 64 h 156"/>
                  <a:gd name="T44" fmla="*/ 89 w 198"/>
                  <a:gd name="T45" fmla="*/ 68 h 156"/>
                  <a:gd name="T46" fmla="*/ 128 w 198"/>
                  <a:gd name="T47" fmla="*/ 82 h 156"/>
                  <a:gd name="T48" fmla="*/ 146 w 198"/>
                  <a:gd name="T49" fmla="*/ 92 h 156"/>
                  <a:gd name="T50" fmla="*/ 149 w 198"/>
                  <a:gd name="T51" fmla="*/ 97 h 156"/>
                  <a:gd name="T52" fmla="*/ 156 w 198"/>
                  <a:gd name="T53" fmla="*/ 117 h 156"/>
                  <a:gd name="T54" fmla="*/ 161 w 198"/>
                  <a:gd name="T55" fmla="*/ 125 h 156"/>
                  <a:gd name="T56" fmla="*/ 161 w 198"/>
                  <a:gd name="T57" fmla="*/ 140 h 156"/>
                  <a:gd name="T58" fmla="*/ 179 w 198"/>
                  <a:gd name="T59" fmla="*/ 137 h 156"/>
                  <a:gd name="T60" fmla="*/ 187 w 198"/>
                  <a:gd name="T61" fmla="*/ 145 h 156"/>
                  <a:gd name="T62" fmla="*/ 92 w 198"/>
                  <a:gd name="T63" fmla="*/ 13 h 156"/>
                  <a:gd name="T64" fmla="*/ 17 w 198"/>
                  <a:gd name="T65" fmla="*/ 15 h 156"/>
                  <a:gd name="T66" fmla="*/ 19 w 198"/>
                  <a:gd name="T67" fmla="*/ 18 h 156"/>
                  <a:gd name="T68" fmla="*/ 20 w 198"/>
                  <a:gd name="T69" fmla="*/ 9 h 156"/>
                  <a:gd name="T70" fmla="*/ 113 w 198"/>
                  <a:gd name="T71" fmla="*/ 16 h 156"/>
                  <a:gd name="T72" fmla="*/ 102 w 198"/>
                  <a:gd name="T73" fmla="*/ 9 h 156"/>
                  <a:gd name="T74" fmla="*/ 82 w 198"/>
                  <a:gd name="T75" fmla="*/ 30 h 156"/>
                  <a:gd name="T76" fmla="*/ 100 w 198"/>
                  <a:gd name="T77" fmla="*/ 23 h 156"/>
                  <a:gd name="T78" fmla="*/ 102 w 198"/>
                  <a:gd name="T79" fmla="*/ 25 h 156"/>
                  <a:gd name="T80" fmla="*/ 79 w 198"/>
                  <a:gd name="T81" fmla="*/ 104 h 156"/>
                  <a:gd name="T82" fmla="*/ 76 w 198"/>
                  <a:gd name="T83" fmla="*/ 114 h 156"/>
                  <a:gd name="T84" fmla="*/ 88 w 198"/>
                  <a:gd name="T85" fmla="*/ 105 h 156"/>
                  <a:gd name="T86" fmla="*/ 80 w 198"/>
                  <a:gd name="T87" fmla="*/ 98 h 156"/>
                  <a:gd name="T88" fmla="*/ 88 w 198"/>
                  <a:gd name="T89" fmla="*/ 95 h 156"/>
                  <a:gd name="T90" fmla="*/ 59 w 198"/>
                  <a:gd name="T91" fmla="*/ 94 h 156"/>
                  <a:gd name="T92" fmla="*/ 65 w 198"/>
                  <a:gd name="T93" fmla="*/ 69 h 156"/>
                  <a:gd name="T94" fmla="*/ 89 w 198"/>
                  <a:gd name="T95" fmla="*/ 107 h 156"/>
                  <a:gd name="T96" fmla="*/ 52 w 198"/>
                  <a:gd name="T97" fmla="*/ 98 h 156"/>
                  <a:gd name="T98" fmla="*/ 88 w 198"/>
                  <a:gd name="T99" fmla="*/ 111 h 156"/>
                  <a:gd name="T100" fmla="*/ 86 w 198"/>
                  <a:gd name="T101" fmla="*/ 114 h 156"/>
                  <a:gd name="T102" fmla="*/ 86 w 198"/>
                  <a:gd name="T103" fmla="*/ 108 h 156"/>
                  <a:gd name="T104" fmla="*/ 4 w 198"/>
                  <a:gd name="T105" fmla="*/ 26 h 156"/>
                  <a:gd name="T106" fmla="*/ 6 w 198"/>
                  <a:gd name="T107" fmla="*/ 30 h 156"/>
                  <a:gd name="T108" fmla="*/ 139 w 198"/>
                  <a:gd name="T109" fmla="*/ 143 h 156"/>
                  <a:gd name="T110" fmla="*/ 158 w 198"/>
                  <a:gd name="T111" fmla="*/ 13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56">
                    <a:moveTo>
                      <a:pt x="158" y="143"/>
                    </a:moveTo>
                    <a:lnTo>
                      <a:pt x="159" y="143"/>
                    </a:lnTo>
                    <a:lnTo>
                      <a:pt x="161" y="141"/>
                    </a:lnTo>
                    <a:lnTo>
                      <a:pt x="161" y="140"/>
                    </a:lnTo>
                    <a:lnTo>
                      <a:pt x="158" y="140"/>
                    </a:lnTo>
                    <a:lnTo>
                      <a:pt x="156" y="140"/>
                    </a:lnTo>
                    <a:lnTo>
                      <a:pt x="155" y="141"/>
                    </a:lnTo>
                    <a:lnTo>
                      <a:pt x="156" y="143"/>
                    </a:lnTo>
                    <a:lnTo>
                      <a:pt x="158" y="143"/>
                    </a:lnTo>
                    <a:close/>
                    <a:moveTo>
                      <a:pt x="195" y="114"/>
                    </a:moveTo>
                    <a:lnTo>
                      <a:pt x="195" y="111"/>
                    </a:lnTo>
                    <a:lnTo>
                      <a:pt x="197" y="107"/>
                    </a:lnTo>
                    <a:lnTo>
                      <a:pt x="197" y="43"/>
                    </a:lnTo>
                    <a:lnTo>
                      <a:pt x="197" y="41"/>
                    </a:lnTo>
                    <a:lnTo>
                      <a:pt x="195" y="41"/>
                    </a:lnTo>
                    <a:lnTo>
                      <a:pt x="194" y="41"/>
                    </a:lnTo>
                    <a:lnTo>
                      <a:pt x="194" y="39"/>
                    </a:lnTo>
                    <a:lnTo>
                      <a:pt x="192" y="39"/>
                    </a:lnTo>
                    <a:lnTo>
                      <a:pt x="191" y="38"/>
                    </a:lnTo>
                    <a:lnTo>
                      <a:pt x="177" y="36"/>
                    </a:lnTo>
                    <a:lnTo>
                      <a:pt x="172" y="35"/>
                    </a:lnTo>
                    <a:lnTo>
                      <a:pt x="144" y="22"/>
                    </a:lnTo>
                    <a:lnTo>
                      <a:pt x="142" y="22"/>
                    </a:lnTo>
                    <a:lnTo>
                      <a:pt x="139" y="22"/>
                    </a:lnTo>
                    <a:lnTo>
                      <a:pt x="132" y="25"/>
                    </a:lnTo>
                    <a:lnTo>
                      <a:pt x="131" y="26"/>
                    </a:lnTo>
                    <a:lnTo>
                      <a:pt x="129" y="26"/>
                    </a:lnTo>
                    <a:lnTo>
                      <a:pt x="129" y="28"/>
                    </a:lnTo>
                    <a:lnTo>
                      <a:pt x="131" y="29"/>
                    </a:lnTo>
                    <a:lnTo>
                      <a:pt x="131" y="29"/>
                    </a:lnTo>
                    <a:lnTo>
                      <a:pt x="129" y="30"/>
                    </a:lnTo>
                    <a:lnTo>
                      <a:pt x="126" y="33"/>
                    </a:lnTo>
                    <a:lnTo>
                      <a:pt x="119" y="33"/>
                    </a:lnTo>
                    <a:lnTo>
                      <a:pt x="116" y="35"/>
                    </a:lnTo>
                    <a:lnTo>
                      <a:pt x="116" y="36"/>
                    </a:lnTo>
                    <a:lnTo>
                      <a:pt x="115" y="39"/>
                    </a:lnTo>
                    <a:lnTo>
                      <a:pt x="113" y="41"/>
                    </a:lnTo>
                    <a:lnTo>
                      <a:pt x="113" y="41"/>
                    </a:lnTo>
                    <a:lnTo>
                      <a:pt x="111" y="43"/>
                    </a:lnTo>
                    <a:lnTo>
                      <a:pt x="109" y="43"/>
                    </a:lnTo>
                    <a:lnTo>
                      <a:pt x="105" y="51"/>
                    </a:lnTo>
                    <a:lnTo>
                      <a:pt x="100" y="53"/>
                    </a:lnTo>
                    <a:lnTo>
                      <a:pt x="96" y="53"/>
                    </a:lnTo>
                    <a:lnTo>
                      <a:pt x="93" y="53"/>
                    </a:lnTo>
                    <a:lnTo>
                      <a:pt x="92" y="52"/>
                    </a:lnTo>
                    <a:lnTo>
                      <a:pt x="90" y="49"/>
                    </a:lnTo>
                    <a:lnTo>
                      <a:pt x="89" y="46"/>
                    </a:lnTo>
                    <a:lnTo>
                      <a:pt x="88" y="46"/>
                    </a:lnTo>
                    <a:lnTo>
                      <a:pt x="86" y="45"/>
                    </a:lnTo>
                    <a:lnTo>
                      <a:pt x="86" y="42"/>
                    </a:lnTo>
                    <a:lnTo>
                      <a:pt x="86" y="39"/>
                    </a:lnTo>
                    <a:lnTo>
                      <a:pt x="85" y="39"/>
                    </a:lnTo>
                    <a:lnTo>
                      <a:pt x="83" y="41"/>
                    </a:lnTo>
                    <a:lnTo>
                      <a:pt x="83" y="45"/>
                    </a:lnTo>
                    <a:lnTo>
                      <a:pt x="79" y="36"/>
                    </a:lnTo>
                    <a:lnTo>
                      <a:pt x="78" y="32"/>
                    </a:lnTo>
                    <a:lnTo>
                      <a:pt x="78" y="26"/>
                    </a:lnTo>
                    <a:lnTo>
                      <a:pt x="78" y="25"/>
                    </a:lnTo>
                    <a:lnTo>
                      <a:pt x="79" y="20"/>
                    </a:lnTo>
                    <a:lnTo>
                      <a:pt x="79" y="19"/>
                    </a:lnTo>
                    <a:lnTo>
                      <a:pt x="79" y="18"/>
                    </a:lnTo>
                    <a:lnTo>
                      <a:pt x="76" y="12"/>
                    </a:lnTo>
                    <a:lnTo>
                      <a:pt x="76" y="10"/>
                    </a:lnTo>
                    <a:lnTo>
                      <a:pt x="76" y="10"/>
                    </a:lnTo>
                    <a:lnTo>
                      <a:pt x="76" y="9"/>
                    </a:lnTo>
                    <a:lnTo>
                      <a:pt x="76" y="9"/>
                    </a:lnTo>
                    <a:lnTo>
                      <a:pt x="75" y="7"/>
                    </a:lnTo>
                    <a:lnTo>
                      <a:pt x="75" y="7"/>
                    </a:lnTo>
                    <a:lnTo>
                      <a:pt x="66" y="7"/>
                    </a:lnTo>
                    <a:lnTo>
                      <a:pt x="63" y="6"/>
                    </a:lnTo>
                    <a:lnTo>
                      <a:pt x="55" y="2"/>
                    </a:lnTo>
                    <a:lnTo>
                      <a:pt x="50" y="0"/>
                    </a:lnTo>
                    <a:lnTo>
                      <a:pt x="46" y="2"/>
                    </a:lnTo>
                    <a:lnTo>
                      <a:pt x="42" y="2"/>
                    </a:lnTo>
                    <a:lnTo>
                      <a:pt x="36" y="6"/>
                    </a:lnTo>
                    <a:lnTo>
                      <a:pt x="29" y="9"/>
                    </a:lnTo>
                    <a:lnTo>
                      <a:pt x="27" y="10"/>
                    </a:lnTo>
                    <a:lnTo>
                      <a:pt x="26" y="13"/>
                    </a:lnTo>
                    <a:lnTo>
                      <a:pt x="23" y="19"/>
                    </a:lnTo>
                    <a:lnTo>
                      <a:pt x="23" y="19"/>
                    </a:lnTo>
                    <a:lnTo>
                      <a:pt x="27" y="19"/>
                    </a:lnTo>
                    <a:lnTo>
                      <a:pt x="30" y="19"/>
                    </a:lnTo>
                    <a:lnTo>
                      <a:pt x="32" y="20"/>
                    </a:lnTo>
                    <a:lnTo>
                      <a:pt x="34" y="20"/>
                    </a:lnTo>
                    <a:lnTo>
                      <a:pt x="37" y="22"/>
                    </a:lnTo>
                    <a:lnTo>
                      <a:pt x="37" y="23"/>
                    </a:lnTo>
                    <a:lnTo>
                      <a:pt x="39" y="25"/>
                    </a:lnTo>
                    <a:lnTo>
                      <a:pt x="39" y="25"/>
                    </a:lnTo>
                    <a:lnTo>
                      <a:pt x="39" y="28"/>
                    </a:lnTo>
                    <a:lnTo>
                      <a:pt x="40" y="29"/>
                    </a:lnTo>
                    <a:lnTo>
                      <a:pt x="43" y="32"/>
                    </a:lnTo>
                    <a:lnTo>
                      <a:pt x="46" y="33"/>
                    </a:lnTo>
                    <a:lnTo>
                      <a:pt x="50" y="35"/>
                    </a:lnTo>
                    <a:lnTo>
                      <a:pt x="59" y="35"/>
                    </a:lnTo>
                    <a:lnTo>
                      <a:pt x="65" y="33"/>
                    </a:lnTo>
                    <a:lnTo>
                      <a:pt x="69" y="33"/>
                    </a:lnTo>
                    <a:lnTo>
                      <a:pt x="73" y="32"/>
                    </a:lnTo>
                    <a:lnTo>
                      <a:pt x="73" y="32"/>
                    </a:lnTo>
                    <a:lnTo>
                      <a:pt x="73" y="33"/>
                    </a:lnTo>
                    <a:lnTo>
                      <a:pt x="72" y="35"/>
                    </a:lnTo>
                    <a:lnTo>
                      <a:pt x="72" y="35"/>
                    </a:lnTo>
                    <a:lnTo>
                      <a:pt x="73" y="36"/>
                    </a:lnTo>
                    <a:lnTo>
                      <a:pt x="72" y="38"/>
                    </a:lnTo>
                    <a:lnTo>
                      <a:pt x="70" y="39"/>
                    </a:lnTo>
                    <a:lnTo>
                      <a:pt x="69" y="41"/>
                    </a:lnTo>
                    <a:lnTo>
                      <a:pt x="67" y="39"/>
                    </a:lnTo>
                    <a:lnTo>
                      <a:pt x="66" y="39"/>
                    </a:lnTo>
                    <a:lnTo>
                      <a:pt x="65" y="39"/>
                    </a:lnTo>
                    <a:lnTo>
                      <a:pt x="63" y="38"/>
                    </a:lnTo>
                    <a:lnTo>
                      <a:pt x="60" y="38"/>
                    </a:lnTo>
                    <a:lnTo>
                      <a:pt x="59" y="38"/>
                    </a:lnTo>
                    <a:lnTo>
                      <a:pt x="57" y="39"/>
                    </a:lnTo>
                    <a:lnTo>
                      <a:pt x="56" y="41"/>
                    </a:lnTo>
                    <a:lnTo>
                      <a:pt x="53" y="42"/>
                    </a:lnTo>
                    <a:lnTo>
                      <a:pt x="52" y="43"/>
                    </a:lnTo>
                    <a:lnTo>
                      <a:pt x="50" y="43"/>
                    </a:lnTo>
                    <a:lnTo>
                      <a:pt x="49" y="42"/>
                    </a:lnTo>
                    <a:lnTo>
                      <a:pt x="46" y="42"/>
                    </a:lnTo>
                    <a:lnTo>
                      <a:pt x="44" y="42"/>
                    </a:lnTo>
                    <a:lnTo>
                      <a:pt x="39" y="43"/>
                    </a:lnTo>
                    <a:lnTo>
                      <a:pt x="40" y="46"/>
                    </a:lnTo>
                    <a:lnTo>
                      <a:pt x="43" y="48"/>
                    </a:lnTo>
                    <a:lnTo>
                      <a:pt x="47" y="48"/>
                    </a:lnTo>
                    <a:lnTo>
                      <a:pt x="50" y="49"/>
                    </a:lnTo>
                    <a:lnTo>
                      <a:pt x="52" y="52"/>
                    </a:lnTo>
                    <a:lnTo>
                      <a:pt x="53" y="53"/>
                    </a:lnTo>
                    <a:lnTo>
                      <a:pt x="55" y="55"/>
                    </a:lnTo>
                    <a:lnTo>
                      <a:pt x="55" y="56"/>
                    </a:lnTo>
                    <a:lnTo>
                      <a:pt x="53" y="59"/>
                    </a:lnTo>
                    <a:lnTo>
                      <a:pt x="53" y="62"/>
                    </a:lnTo>
                    <a:lnTo>
                      <a:pt x="55" y="64"/>
                    </a:lnTo>
                    <a:lnTo>
                      <a:pt x="56" y="66"/>
                    </a:lnTo>
                    <a:lnTo>
                      <a:pt x="59" y="66"/>
                    </a:lnTo>
                    <a:lnTo>
                      <a:pt x="62" y="66"/>
                    </a:lnTo>
                    <a:lnTo>
                      <a:pt x="63" y="64"/>
                    </a:lnTo>
                    <a:lnTo>
                      <a:pt x="65" y="61"/>
                    </a:lnTo>
                    <a:lnTo>
                      <a:pt x="66" y="58"/>
                    </a:lnTo>
                    <a:lnTo>
                      <a:pt x="66" y="55"/>
                    </a:lnTo>
                    <a:lnTo>
                      <a:pt x="69" y="53"/>
                    </a:lnTo>
                    <a:lnTo>
                      <a:pt x="69" y="49"/>
                    </a:lnTo>
                    <a:lnTo>
                      <a:pt x="72" y="48"/>
                    </a:lnTo>
                    <a:lnTo>
                      <a:pt x="70" y="51"/>
                    </a:lnTo>
                    <a:lnTo>
                      <a:pt x="69" y="53"/>
                    </a:lnTo>
                    <a:lnTo>
                      <a:pt x="69" y="55"/>
                    </a:lnTo>
                    <a:lnTo>
                      <a:pt x="70" y="58"/>
                    </a:lnTo>
                    <a:lnTo>
                      <a:pt x="72" y="59"/>
                    </a:lnTo>
                    <a:lnTo>
                      <a:pt x="73" y="61"/>
                    </a:lnTo>
                    <a:lnTo>
                      <a:pt x="76" y="62"/>
                    </a:lnTo>
                    <a:lnTo>
                      <a:pt x="76" y="62"/>
                    </a:lnTo>
                    <a:lnTo>
                      <a:pt x="78" y="62"/>
                    </a:lnTo>
                    <a:lnTo>
                      <a:pt x="78" y="62"/>
                    </a:lnTo>
                    <a:lnTo>
                      <a:pt x="79" y="64"/>
                    </a:lnTo>
                    <a:lnTo>
                      <a:pt x="79" y="64"/>
                    </a:lnTo>
                    <a:lnTo>
                      <a:pt x="80" y="64"/>
                    </a:lnTo>
                    <a:lnTo>
                      <a:pt x="82" y="64"/>
                    </a:lnTo>
                    <a:lnTo>
                      <a:pt x="82" y="64"/>
                    </a:lnTo>
                    <a:lnTo>
                      <a:pt x="83" y="64"/>
                    </a:lnTo>
                    <a:lnTo>
                      <a:pt x="88" y="64"/>
                    </a:lnTo>
                    <a:lnTo>
                      <a:pt x="90" y="64"/>
                    </a:lnTo>
                    <a:lnTo>
                      <a:pt x="88" y="65"/>
                    </a:lnTo>
                    <a:lnTo>
                      <a:pt x="89" y="68"/>
                    </a:lnTo>
                    <a:lnTo>
                      <a:pt x="92" y="71"/>
                    </a:lnTo>
                    <a:lnTo>
                      <a:pt x="95" y="72"/>
                    </a:lnTo>
                    <a:lnTo>
                      <a:pt x="99" y="74"/>
                    </a:lnTo>
                    <a:lnTo>
                      <a:pt x="106" y="74"/>
                    </a:lnTo>
                    <a:lnTo>
                      <a:pt x="109" y="75"/>
                    </a:lnTo>
                    <a:lnTo>
                      <a:pt x="119" y="79"/>
                    </a:lnTo>
                    <a:lnTo>
                      <a:pt x="128" y="82"/>
                    </a:lnTo>
                    <a:lnTo>
                      <a:pt x="131" y="82"/>
                    </a:lnTo>
                    <a:lnTo>
                      <a:pt x="132" y="82"/>
                    </a:lnTo>
                    <a:lnTo>
                      <a:pt x="135" y="84"/>
                    </a:lnTo>
                    <a:lnTo>
                      <a:pt x="138" y="87"/>
                    </a:lnTo>
                    <a:lnTo>
                      <a:pt x="141" y="88"/>
                    </a:lnTo>
                    <a:lnTo>
                      <a:pt x="144" y="89"/>
                    </a:lnTo>
                    <a:lnTo>
                      <a:pt x="146" y="92"/>
                    </a:lnTo>
                    <a:lnTo>
                      <a:pt x="146" y="94"/>
                    </a:lnTo>
                    <a:lnTo>
                      <a:pt x="148" y="95"/>
                    </a:lnTo>
                    <a:lnTo>
                      <a:pt x="151" y="95"/>
                    </a:lnTo>
                    <a:lnTo>
                      <a:pt x="151" y="95"/>
                    </a:lnTo>
                    <a:lnTo>
                      <a:pt x="149" y="95"/>
                    </a:lnTo>
                    <a:lnTo>
                      <a:pt x="149" y="97"/>
                    </a:lnTo>
                    <a:lnTo>
                      <a:pt x="149" y="97"/>
                    </a:lnTo>
                    <a:lnTo>
                      <a:pt x="151" y="98"/>
                    </a:lnTo>
                    <a:lnTo>
                      <a:pt x="152" y="98"/>
                    </a:lnTo>
                    <a:lnTo>
                      <a:pt x="151" y="101"/>
                    </a:lnTo>
                    <a:lnTo>
                      <a:pt x="154" y="107"/>
                    </a:lnTo>
                    <a:lnTo>
                      <a:pt x="158" y="112"/>
                    </a:lnTo>
                    <a:lnTo>
                      <a:pt x="161" y="115"/>
                    </a:lnTo>
                    <a:lnTo>
                      <a:pt x="156" y="117"/>
                    </a:lnTo>
                    <a:lnTo>
                      <a:pt x="158" y="120"/>
                    </a:lnTo>
                    <a:lnTo>
                      <a:pt x="162" y="121"/>
                    </a:lnTo>
                    <a:lnTo>
                      <a:pt x="165" y="121"/>
                    </a:lnTo>
                    <a:lnTo>
                      <a:pt x="164" y="122"/>
                    </a:lnTo>
                    <a:lnTo>
                      <a:pt x="159" y="122"/>
                    </a:lnTo>
                    <a:lnTo>
                      <a:pt x="158" y="122"/>
                    </a:lnTo>
                    <a:lnTo>
                      <a:pt x="161" y="125"/>
                    </a:lnTo>
                    <a:lnTo>
                      <a:pt x="162" y="127"/>
                    </a:lnTo>
                    <a:lnTo>
                      <a:pt x="164" y="127"/>
                    </a:lnTo>
                    <a:lnTo>
                      <a:pt x="164" y="128"/>
                    </a:lnTo>
                    <a:lnTo>
                      <a:pt x="164" y="130"/>
                    </a:lnTo>
                    <a:lnTo>
                      <a:pt x="161" y="137"/>
                    </a:lnTo>
                    <a:lnTo>
                      <a:pt x="161" y="138"/>
                    </a:lnTo>
                    <a:lnTo>
                      <a:pt x="161" y="140"/>
                    </a:lnTo>
                    <a:lnTo>
                      <a:pt x="162" y="140"/>
                    </a:lnTo>
                    <a:lnTo>
                      <a:pt x="164" y="138"/>
                    </a:lnTo>
                    <a:lnTo>
                      <a:pt x="167" y="137"/>
                    </a:lnTo>
                    <a:lnTo>
                      <a:pt x="167" y="135"/>
                    </a:lnTo>
                    <a:lnTo>
                      <a:pt x="169" y="138"/>
                    </a:lnTo>
                    <a:lnTo>
                      <a:pt x="174" y="138"/>
                    </a:lnTo>
                    <a:lnTo>
                      <a:pt x="179" y="137"/>
                    </a:lnTo>
                    <a:lnTo>
                      <a:pt x="182" y="134"/>
                    </a:lnTo>
                    <a:lnTo>
                      <a:pt x="181" y="137"/>
                    </a:lnTo>
                    <a:lnTo>
                      <a:pt x="181" y="138"/>
                    </a:lnTo>
                    <a:lnTo>
                      <a:pt x="181" y="140"/>
                    </a:lnTo>
                    <a:lnTo>
                      <a:pt x="181" y="141"/>
                    </a:lnTo>
                    <a:lnTo>
                      <a:pt x="184" y="143"/>
                    </a:lnTo>
                    <a:lnTo>
                      <a:pt x="187" y="145"/>
                    </a:lnTo>
                    <a:lnTo>
                      <a:pt x="195" y="154"/>
                    </a:lnTo>
                    <a:lnTo>
                      <a:pt x="198" y="156"/>
                    </a:lnTo>
                    <a:lnTo>
                      <a:pt x="197" y="117"/>
                    </a:lnTo>
                    <a:lnTo>
                      <a:pt x="195" y="114"/>
                    </a:lnTo>
                    <a:close/>
                    <a:moveTo>
                      <a:pt x="90" y="12"/>
                    </a:moveTo>
                    <a:lnTo>
                      <a:pt x="92" y="12"/>
                    </a:lnTo>
                    <a:lnTo>
                      <a:pt x="92" y="13"/>
                    </a:lnTo>
                    <a:lnTo>
                      <a:pt x="92" y="15"/>
                    </a:lnTo>
                    <a:lnTo>
                      <a:pt x="90" y="15"/>
                    </a:lnTo>
                    <a:lnTo>
                      <a:pt x="90" y="15"/>
                    </a:lnTo>
                    <a:lnTo>
                      <a:pt x="89" y="13"/>
                    </a:lnTo>
                    <a:lnTo>
                      <a:pt x="90" y="12"/>
                    </a:lnTo>
                    <a:lnTo>
                      <a:pt x="90" y="12"/>
                    </a:lnTo>
                    <a:close/>
                    <a:moveTo>
                      <a:pt x="17" y="15"/>
                    </a:moveTo>
                    <a:lnTo>
                      <a:pt x="16" y="12"/>
                    </a:lnTo>
                    <a:lnTo>
                      <a:pt x="19" y="10"/>
                    </a:lnTo>
                    <a:lnTo>
                      <a:pt x="22" y="10"/>
                    </a:lnTo>
                    <a:lnTo>
                      <a:pt x="23" y="13"/>
                    </a:lnTo>
                    <a:lnTo>
                      <a:pt x="23" y="16"/>
                    </a:lnTo>
                    <a:lnTo>
                      <a:pt x="20" y="18"/>
                    </a:lnTo>
                    <a:lnTo>
                      <a:pt x="19" y="18"/>
                    </a:lnTo>
                    <a:lnTo>
                      <a:pt x="17" y="15"/>
                    </a:lnTo>
                    <a:close/>
                    <a:moveTo>
                      <a:pt x="19" y="10"/>
                    </a:moveTo>
                    <a:lnTo>
                      <a:pt x="11" y="10"/>
                    </a:lnTo>
                    <a:lnTo>
                      <a:pt x="13" y="9"/>
                    </a:lnTo>
                    <a:lnTo>
                      <a:pt x="17" y="9"/>
                    </a:lnTo>
                    <a:lnTo>
                      <a:pt x="19" y="7"/>
                    </a:lnTo>
                    <a:lnTo>
                      <a:pt x="20" y="9"/>
                    </a:lnTo>
                    <a:lnTo>
                      <a:pt x="20" y="9"/>
                    </a:lnTo>
                    <a:lnTo>
                      <a:pt x="20" y="9"/>
                    </a:lnTo>
                    <a:lnTo>
                      <a:pt x="19" y="10"/>
                    </a:lnTo>
                    <a:close/>
                    <a:moveTo>
                      <a:pt x="113" y="13"/>
                    </a:moveTo>
                    <a:lnTo>
                      <a:pt x="116" y="13"/>
                    </a:lnTo>
                    <a:lnTo>
                      <a:pt x="115" y="15"/>
                    </a:lnTo>
                    <a:lnTo>
                      <a:pt x="113" y="16"/>
                    </a:lnTo>
                    <a:lnTo>
                      <a:pt x="112" y="16"/>
                    </a:lnTo>
                    <a:lnTo>
                      <a:pt x="109" y="15"/>
                    </a:lnTo>
                    <a:lnTo>
                      <a:pt x="108" y="15"/>
                    </a:lnTo>
                    <a:lnTo>
                      <a:pt x="106" y="13"/>
                    </a:lnTo>
                    <a:lnTo>
                      <a:pt x="105" y="9"/>
                    </a:lnTo>
                    <a:lnTo>
                      <a:pt x="103" y="10"/>
                    </a:lnTo>
                    <a:lnTo>
                      <a:pt x="102" y="9"/>
                    </a:lnTo>
                    <a:lnTo>
                      <a:pt x="100" y="7"/>
                    </a:lnTo>
                    <a:lnTo>
                      <a:pt x="99" y="6"/>
                    </a:lnTo>
                    <a:lnTo>
                      <a:pt x="106" y="7"/>
                    </a:lnTo>
                    <a:lnTo>
                      <a:pt x="108" y="7"/>
                    </a:lnTo>
                    <a:lnTo>
                      <a:pt x="111" y="9"/>
                    </a:lnTo>
                    <a:lnTo>
                      <a:pt x="113" y="13"/>
                    </a:lnTo>
                    <a:close/>
                    <a:moveTo>
                      <a:pt x="82" y="30"/>
                    </a:moveTo>
                    <a:lnTo>
                      <a:pt x="82" y="30"/>
                    </a:lnTo>
                    <a:lnTo>
                      <a:pt x="82" y="30"/>
                    </a:lnTo>
                    <a:lnTo>
                      <a:pt x="82" y="32"/>
                    </a:lnTo>
                    <a:lnTo>
                      <a:pt x="82" y="32"/>
                    </a:lnTo>
                    <a:lnTo>
                      <a:pt x="80" y="32"/>
                    </a:lnTo>
                    <a:lnTo>
                      <a:pt x="82" y="30"/>
                    </a:lnTo>
                    <a:close/>
                    <a:moveTo>
                      <a:pt x="100" y="23"/>
                    </a:moveTo>
                    <a:lnTo>
                      <a:pt x="123" y="25"/>
                    </a:lnTo>
                    <a:lnTo>
                      <a:pt x="126" y="26"/>
                    </a:lnTo>
                    <a:lnTo>
                      <a:pt x="119" y="28"/>
                    </a:lnTo>
                    <a:lnTo>
                      <a:pt x="116" y="28"/>
                    </a:lnTo>
                    <a:lnTo>
                      <a:pt x="112" y="28"/>
                    </a:lnTo>
                    <a:lnTo>
                      <a:pt x="106" y="26"/>
                    </a:lnTo>
                    <a:lnTo>
                      <a:pt x="102" y="25"/>
                    </a:lnTo>
                    <a:lnTo>
                      <a:pt x="100" y="23"/>
                    </a:lnTo>
                    <a:close/>
                    <a:moveTo>
                      <a:pt x="78" y="108"/>
                    </a:moveTo>
                    <a:lnTo>
                      <a:pt x="78" y="108"/>
                    </a:lnTo>
                    <a:lnTo>
                      <a:pt x="78" y="108"/>
                    </a:lnTo>
                    <a:lnTo>
                      <a:pt x="76" y="105"/>
                    </a:lnTo>
                    <a:lnTo>
                      <a:pt x="78" y="104"/>
                    </a:lnTo>
                    <a:lnTo>
                      <a:pt x="79" y="104"/>
                    </a:lnTo>
                    <a:lnTo>
                      <a:pt x="79" y="105"/>
                    </a:lnTo>
                    <a:lnTo>
                      <a:pt x="83" y="108"/>
                    </a:lnTo>
                    <a:lnTo>
                      <a:pt x="85" y="110"/>
                    </a:lnTo>
                    <a:lnTo>
                      <a:pt x="83" y="112"/>
                    </a:lnTo>
                    <a:lnTo>
                      <a:pt x="80" y="115"/>
                    </a:lnTo>
                    <a:lnTo>
                      <a:pt x="78" y="117"/>
                    </a:lnTo>
                    <a:lnTo>
                      <a:pt x="76" y="114"/>
                    </a:lnTo>
                    <a:lnTo>
                      <a:pt x="76" y="108"/>
                    </a:lnTo>
                    <a:lnTo>
                      <a:pt x="78" y="108"/>
                    </a:lnTo>
                    <a:lnTo>
                      <a:pt x="78" y="108"/>
                    </a:lnTo>
                    <a:lnTo>
                      <a:pt x="78" y="108"/>
                    </a:lnTo>
                    <a:close/>
                    <a:moveTo>
                      <a:pt x="88" y="104"/>
                    </a:moveTo>
                    <a:lnTo>
                      <a:pt x="88" y="105"/>
                    </a:lnTo>
                    <a:lnTo>
                      <a:pt x="88" y="105"/>
                    </a:lnTo>
                    <a:lnTo>
                      <a:pt x="86" y="107"/>
                    </a:lnTo>
                    <a:lnTo>
                      <a:pt x="83" y="105"/>
                    </a:lnTo>
                    <a:lnTo>
                      <a:pt x="79" y="104"/>
                    </a:lnTo>
                    <a:lnTo>
                      <a:pt x="78" y="101"/>
                    </a:lnTo>
                    <a:lnTo>
                      <a:pt x="80" y="101"/>
                    </a:lnTo>
                    <a:lnTo>
                      <a:pt x="80" y="99"/>
                    </a:lnTo>
                    <a:lnTo>
                      <a:pt x="80" y="98"/>
                    </a:lnTo>
                    <a:lnTo>
                      <a:pt x="79" y="97"/>
                    </a:lnTo>
                    <a:lnTo>
                      <a:pt x="79" y="95"/>
                    </a:lnTo>
                    <a:lnTo>
                      <a:pt x="82" y="94"/>
                    </a:lnTo>
                    <a:lnTo>
                      <a:pt x="83" y="92"/>
                    </a:lnTo>
                    <a:lnTo>
                      <a:pt x="86" y="91"/>
                    </a:lnTo>
                    <a:lnTo>
                      <a:pt x="88" y="94"/>
                    </a:lnTo>
                    <a:lnTo>
                      <a:pt x="88" y="95"/>
                    </a:lnTo>
                    <a:lnTo>
                      <a:pt x="88" y="98"/>
                    </a:lnTo>
                    <a:lnTo>
                      <a:pt x="88" y="99"/>
                    </a:lnTo>
                    <a:lnTo>
                      <a:pt x="88" y="104"/>
                    </a:lnTo>
                    <a:close/>
                    <a:moveTo>
                      <a:pt x="55" y="99"/>
                    </a:moveTo>
                    <a:lnTo>
                      <a:pt x="59" y="88"/>
                    </a:lnTo>
                    <a:lnTo>
                      <a:pt x="60" y="91"/>
                    </a:lnTo>
                    <a:lnTo>
                      <a:pt x="59" y="94"/>
                    </a:lnTo>
                    <a:lnTo>
                      <a:pt x="56" y="98"/>
                    </a:lnTo>
                    <a:lnTo>
                      <a:pt x="55" y="99"/>
                    </a:lnTo>
                    <a:close/>
                    <a:moveTo>
                      <a:pt x="63" y="66"/>
                    </a:moveTo>
                    <a:lnTo>
                      <a:pt x="67" y="69"/>
                    </a:lnTo>
                    <a:lnTo>
                      <a:pt x="67" y="71"/>
                    </a:lnTo>
                    <a:lnTo>
                      <a:pt x="66" y="69"/>
                    </a:lnTo>
                    <a:lnTo>
                      <a:pt x="65" y="69"/>
                    </a:lnTo>
                    <a:lnTo>
                      <a:pt x="63" y="68"/>
                    </a:lnTo>
                    <a:lnTo>
                      <a:pt x="63" y="66"/>
                    </a:lnTo>
                    <a:close/>
                    <a:moveTo>
                      <a:pt x="89" y="107"/>
                    </a:moveTo>
                    <a:lnTo>
                      <a:pt x="89" y="107"/>
                    </a:lnTo>
                    <a:lnTo>
                      <a:pt x="90" y="107"/>
                    </a:lnTo>
                    <a:lnTo>
                      <a:pt x="90" y="107"/>
                    </a:lnTo>
                    <a:lnTo>
                      <a:pt x="89" y="107"/>
                    </a:lnTo>
                    <a:lnTo>
                      <a:pt x="89" y="108"/>
                    </a:lnTo>
                    <a:lnTo>
                      <a:pt x="89" y="107"/>
                    </a:lnTo>
                    <a:close/>
                    <a:moveTo>
                      <a:pt x="52" y="94"/>
                    </a:moveTo>
                    <a:lnTo>
                      <a:pt x="53" y="95"/>
                    </a:lnTo>
                    <a:lnTo>
                      <a:pt x="53" y="98"/>
                    </a:lnTo>
                    <a:lnTo>
                      <a:pt x="53" y="99"/>
                    </a:lnTo>
                    <a:lnTo>
                      <a:pt x="52" y="98"/>
                    </a:lnTo>
                    <a:lnTo>
                      <a:pt x="52" y="97"/>
                    </a:lnTo>
                    <a:lnTo>
                      <a:pt x="52" y="95"/>
                    </a:lnTo>
                    <a:lnTo>
                      <a:pt x="50" y="94"/>
                    </a:lnTo>
                    <a:lnTo>
                      <a:pt x="52" y="94"/>
                    </a:lnTo>
                    <a:close/>
                    <a:moveTo>
                      <a:pt x="86" y="112"/>
                    </a:moveTo>
                    <a:lnTo>
                      <a:pt x="86" y="112"/>
                    </a:lnTo>
                    <a:lnTo>
                      <a:pt x="88" y="111"/>
                    </a:lnTo>
                    <a:lnTo>
                      <a:pt x="88" y="111"/>
                    </a:lnTo>
                    <a:lnTo>
                      <a:pt x="88" y="112"/>
                    </a:lnTo>
                    <a:lnTo>
                      <a:pt x="88" y="112"/>
                    </a:lnTo>
                    <a:lnTo>
                      <a:pt x="86" y="114"/>
                    </a:lnTo>
                    <a:lnTo>
                      <a:pt x="86" y="114"/>
                    </a:lnTo>
                    <a:lnTo>
                      <a:pt x="86" y="114"/>
                    </a:lnTo>
                    <a:lnTo>
                      <a:pt x="86" y="114"/>
                    </a:lnTo>
                    <a:lnTo>
                      <a:pt x="86" y="114"/>
                    </a:lnTo>
                    <a:lnTo>
                      <a:pt x="86" y="112"/>
                    </a:lnTo>
                    <a:close/>
                    <a:moveTo>
                      <a:pt x="86" y="110"/>
                    </a:moveTo>
                    <a:lnTo>
                      <a:pt x="86" y="110"/>
                    </a:lnTo>
                    <a:lnTo>
                      <a:pt x="86" y="110"/>
                    </a:lnTo>
                    <a:lnTo>
                      <a:pt x="86" y="108"/>
                    </a:lnTo>
                    <a:lnTo>
                      <a:pt x="86" y="108"/>
                    </a:lnTo>
                    <a:lnTo>
                      <a:pt x="88" y="110"/>
                    </a:lnTo>
                    <a:lnTo>
                      <a:pt x="88" y="110"/>
                    </a:lnTo>
                    <a:lnTo>
                      <a:pt x="88" y="110"/>
                    </a:lnTo>
                    <a:lnTo>
                      <a:pt x="86" y="110"/>
                    </a:lnTo>
                    <a:close/>
                    <a:moveTo>
                      <a:pt x="3" y="29"/>
                    </a:moveTo>
                    <a:lnTo>
                      <a:pt x="0" y="28"/>
                    </a:lnTo>
                    <a:lnTo>
                      <a:pt x="4" y="26"/>
                    </a:lnTo>
                    <a:lnTo>
                      <a:pt x="6" y="25"/>
                    </a:lnTo>
                    <a:lnTo>
                      <a:pt x="9" y="25"/>
                    </a:lnTo>
                    <a:lnTo>
                      <a:pt x="10" y="25"/>
                    </a:lnTo>
                    <a:lnTo>
                      <a:pt x="11" y="26"/>
                    </a:lnTo>
                    <a:lnTo>
                      <a:pt x="11" y="29"/>
                    </a:lnTo>
                    <a:lnTo>
                      <a:pt x="9" y="30"/>
                    </a:lnTo>
                    <a:lnTo>
                      <a:pt x="6" y="30"/>
                    </a:lnTo>
                    <a:lnTo>
                      <a:pt x="3" y="29"/>
                    </a:lnTo>
                    <a:close/>
                    <a:moveTo>
                      <a:pt x="158" y="138"/>
                    </a:moveTo>
                    <a:lnTo>
                      <a:pt x="155" y="140"/>
                    </a:lnTo>
                    <a:lnTo>
                      <a:pt x="151" y="143"/>
                    </a:lnTo>
                    <a:lnTo>
                      <a:pt x="146" y="143"/>
                    </a:lnTo>
                    <a:lnTo>
                      <a:pt x="142" y="144"/>
                    </a:lnTo>
                    <a:lnTo>
                      <a:pt x="139" y="143"/>
                    </a:lnTo>
                    <a:lnTo>
                      <a:pt x="142" y="135"/>
                    </a:lnTo>
                    <a:lnTo>
                      <a:pt x="148" y="128"/>
                    </a:lnTo>
                    <a:lnTo>
                      <a:pt x="154" y="124"/>
                    </a:lnTo>
                    <a:lnTo>
                      <a:pt x="161" y="127"/>
                    </a:lnTo>
                    <a:lnTo>
                      <a:pt x="162" y="131"/>
                    </a:lnTo>
                    <a:lnTo>
                      <a:pt x="161" y="134"/>
                    </a:lnTo>
                    <a:lnTo>
                      <a:pt x="158" y="13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grpSp>
      </p:grpSp>
      <p:sp>
        <p:nvSpPr>
          <p:cNvPr id="465" name="Marcador de número de diapositiva 5">
            <a:extLst>
              <a:ext uri="{FF2B5EF4-FFF2-40B4-BE49-F238E27FC236}">
                <a16:creationId xmlns:a16="http://schemas.microsoft.com/office/drawing/2014/main" id="{6A9F00E7-C075-3A7F-A5A6-F4A13F20F9EF}"/>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466" name="Footnotes">
            <a:extLst>
              <a:ext uri="{FF2B5EF4-FFF2-40B4-BE49-F238E27FC236}">
                <a16:creationId xmlns:a16="http://schemas.microsoft.com/office/drawing/2014/main" id="{44CA527E-A667-5E1C-B90E-D91A1DAEF080}"/>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8C670081-DC9E-7EEC-5379-726B6F0880E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8" name="Título 1">
            <a:extLst>
              <a:ext uri="{FF2B5EF4-FFF2-40B4-BE49-F238E27FC236}">
                <a16:creationId xmlns:a16="http://schemas.microsoft.com/office/drawing/2014/main" id="{4DDAE086-D6FF-C68D-5C5E-62B2F037803D}"/>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9" name="Marcador de texto 14">
            <a:extLst>
              <a:ext uri="{FF2B5EF4-FFF2-40B4-BE49-F238E27FC236}">
                <a16:creationId xmlns:a16="http://schemas.microsoft.com/office/drawing/2014/main" id="{B240ADAC-175A-1A92-DF13-BFBFF48D3C15}"/>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303F7CFC-62A7-6EB2-FC6D-26460C6C0874}"/>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21143355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World Map">
    <p:spTree>
      <p:nvGrpSpPr>
        <p:cNvPr id="1" name=""/>
        <p:cNvGrpSpPr/>
        <p:nvPr/>
      </p:nvGrpSpPr>
      <p:grpSpPr>
        <a:xfrm>
          <a:off x="0" y="0"/>
          <a:ext cx="0" cy="0"/>
          <a:chOff x="0" y="0"/>
          <a:chExt cx="0" cy="0"/>
        </a:xfrm>
      </p:grpSpPr>
      <p:sp>
        <p:nvSpPr>
          <p:cNvPr id="273" name="Rectángulo 272">
            <a:extLst>
              <a:ext uri="{FF2B5EF4-FFF2-40B4-BE49-F238E27FC236}">
                <a16:creationId xmlns:a16="http://schemas.microsoft.com/office/drawing/2014/main" id="{4665A6E7-9034-7194-C54B-3244381E3D4B}"/>
              </a:ext>
            </a:extLst>
          </p:cNvPr>
          <p:cNvSpPr/>
          <p:nvPr userDrawn="1"/>
        </p:nvSpPr>
        <p:spPr>
          <a:xfrm>
            <a:off x="693738" y="1373982"/>
            <a:ext cx="10984992" cy="451643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latin typeface="Santander Headline" panose="020B0504020201020104" pitchFamily="34" charset="0"/>
            </a:endParaRPr>
          </a:p>
        </p:txBody>
      </p:sp>
      <p:sp>
        <p:nvSpPr>
          <p:cNvPr id="11" name="Marcador de texto 14">
            <a:extLst>
              <a:ext uri="{FF2B5EF4-FFF2-40B4-BE49-F238E27FC236}">
                <a16:creationId xmlns:a16="http://schemas.microsoft.com/office/drawing/2014/main" id="{24513410-3188-CC9E-1CBF-3373F0539E02}"/>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sp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Título 1">
            <a:extLst>
              <a:ext uri="{FF2B5EF4-FFF2-40B4-BE49-F238E27FC236}">
                <a16:creationId xmlns:a16="http://schemas.microsoft.com/office/drawing/2014/main" id="{A81ADC37-4F29-1560-20F4-D50CA824B189}"/>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sp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grpSp>
        <p:nvGrpSpPr>
          <p:cNvPr id="4" name="Grupo 24">
            <a:extLst>
              <a:ext uri="{FF2B5EF4-FFF2-40B4-BE49-F238E27FC236}">
                <a16:creationId xmlns:a16="http://schemas.microsoft.com/office/drawing/2014/main" id="{00956E12-B5E5-5ED8-7DA8-B085ED347F3E}"/>
              </a:ext>
            </a:extLst>
          </p:cNvPr>
          <p:cNvGrpSpPr>
            <a:grpSpLocks noChangeAspect="1"/>
          </p:cNvGrpSpPr>
          <p:nvPr userDrawn="1"/>
        </p:nvGrpSpPr>
        <p:grpSpPr>
          <a:xfrm>
            <a:off x="1810215" y="1485620"/>
            <a:ext cx="8571571" cy="4427581"/>
            <a:chOff x="3495243" y="1444483"/>
            <a:chExt cx="8032448" cy="4149100"/>
          </a:xfrm>
          <a:solidFill>
            <a:schemeClr val="accent3"/>
          </a:solidFill>
        </p:grpSpPr>
        <p:grpSp>
          <p:nvGrpSpPr>
            <p:cNvPr id="5" name="Grupo 2">
              <a:extLst>
                <a:ext uri="{FF2B5EF4-FFF2-40B4-BE49-F238E27FC236}">
                  <a16:creationId xmlns:a16="http://schemas.microsoft.com/office/drawing/2014/main" id="{3D73F522-D441-E2AA-2052-E84E325F6B4F}"/>
                </a:ext>
              </a:extLst>
            </p:cNvPr>
            <p:cNvGrpSpPr/>
            <p:nvPr/>
          </p:nvGrpSpPr>
          <p:grpSpPr>
            <a:xfrm>
              <a:off x="3495243" y="1444483"/>
              <a:ext cx="3526560" cy="4149100"/>
              <a:chOff x="1331162" y="1114954"/>
              <a:chExt cx="4010242" cy="4718166"/>
            </a:xfrm>
            <a:grpFill/>
          </p:grpSpPr>
          <p:grpSp>
            <p:nvGrpSpPr>
              <p:cNvPr id="402" name="Group 236">
                <a:extLst>
                  <a:ext uri="{FF2B5EF4-FFF2-40B4-BE49-F238E27FC236}">
                    <a16:creationId xmlns:a16="http://schemas.microsoft.com/office/drawing/2014/main" id="{7B04133D-CE17-AEF0-A181-A5E7023B10F4}"/>
                  </a:ext>
                </a:extLst>
              </p:cNvPr>
              <p:cNvGrpSpPr>
                <a:grpSpLocks noChangeAspect="1"/>
              </p:cNvGrpSpPr>
              <p:nvPr/>
            </p:nvGrpSpPr>
            <p:grpSpPr bwMode="auto">
              <a:xfrm>
                <a:off x="3297669" y="3785641"/>
                <a:ext cx="1662855" cy="2047479"/>
                <a:chOff x="1936" y="2493"/>
                <a:chExt cx="1150" cy="1416"/>
              </a:xfrm>
              <a:grpFill/>
            </p:grpSpPr>
            <p:sp>
              <p:nvSpPr>
                <p:cNvPr id="444" name="Freeform 237">
                  <a:extLst>
                    <a:ext uri="{FF2B5EF4-FFF2-40B4-BE49-F238E27FC236}">
                      <a16:creationId xmlns:a16="http://schemas.microsoft.com/office/drawing/2014/main" id="{2B086A72-EA1D-939A-533B-A2DB93A3DB7B}"/>
                    </a:ext>
                  </a:extLst>
                </p:cNvPr>
                <p:cNvSpPr>
                  <a:spLocks/>
                </p:cNvSpPr>
                <p:nvPr/>
              </p:nvSpPr>
              <p:spPr bwMode="auto">
                <a:xfrm>
                  <a:off x="2323" y="2890"/>
                  <a:ext cx="213" cy="241"/>
                </a:xfrm>
                <a:custGeom>
                  <a:avLst/>
                  <a:gdLst>
                    <a:gd name="T0" fmla="*/ 15 w 213"/>
                    <a:gd name="T1" fmla="*/ 53 h 241"/>
                    <a:gd name="T2" fmla="*/ 10 w 213"/>
                    <a:gd name="T3" fmla="*/ 73 h 241"/>
                    <a:gd name="T4" fmla="*/ 12 w 213"/>
                    <a:gd name="T5" fmla="*/ 82 h 241"/>
                    <a:gd name="T6" fmla="*/ 6 w 213"/>
                    <a:gd name="T7" fmla="*/ 96 h 241"/>
                    <a:gd name="T8" fmla="*/ 5 w 213"/>
                    <a:gd name="T9" fmla="*/ 105 h 241"/>
                    <a:gd name="T10" fmla="*/ 6 w 213"/>
                    <a:gd name="T11" fmla="*/ 115 h 241"/>
                    <a:gd name="T12" fmla="*/ 13 w 213"/>
                    <a:gd name="T13" fmla="*/ 118 h 241"/>
                    <a:gd name="T14" fmla="*/ 10 w 213"/>
                    <a:gd name="T15" fmla="*/ 122 h 241"/>
                    <a:gd name="T16" fmla="*/ 8 w 213"/>
                    <a:gd name="T17" fmla="*/ 127 h 241"/>
                    <a:gd name="T18" fmla="*/ 0 w 213"/>
                    <a:gd name="T19" fmla="*/ 135 h 241"/>
                    <a:gd name="T20" fmla="*/ 2 w 213"/>
                    <a:gd name="T21" fmla="*/ 141 h 241"/>
                    <a:gd name="T22" fmla="*/ 6 w 213"/>
                    <a:gd name="T23" fmla="*/ 150 h 241"/>
                    <a:gd name="T24" fmla="*/ 13 w 213"/>
                    <a:gd name="T25" fmla="*/ 168 h 241"/>
                    <a:gd name="T26" fmla="*/ 20 w 213"/>
                    <a:gd name="T27" fmla="*/ 177 h 241"/>
                    <a:gd name="T28" fmla="*/ 18 w 213"/>
                    <a:gd name="T29" fmla="*/ 183 h 241"/>
                    <a:gd name="T30" fmla="*/ 18 w 213"/>
                    <a:gd name="T31" fmla="*/ 188 h 241"/>
                    <a:gd name="T32" fmla="*/ 16 w 213"/>
                    <a:gd name="T33" fmla="*/ 190 h 241"/>
                    <a:gd name="T34" fmla="*/ 15 w 213"/>
                    <a:gd name="T35" fmla="*/ 194 h 241"/>
                    <a:gd name="T36" fmla="*/ 19 w 213"/>
                    <a:gd name="T37" fmla="*/ 201 h 241"/>
                    <a:gd name="T38" fmla="*/ 23 w 213"/>
                    <a:gd name="T39" fmla="*/ 208 h 241"/>
                    <a:gd name="T40" fmla="*/ 29 w 213"/>
                    <a:gd name="T41" fmla="*/ 229 h 241"/>
                    <a:gd name="T42" fmla="*/ 36 w 213"/>
                    <a:gd name="T43" fmla="*/ 241 h 241"/>
                    <a:gd name="T44" fmla="*/ 53 w 213"/>
                    <a:gd name="T45" fmla="*/ 229 h 241"/>
                    <a:gd name="T46" fmla="*/ 59 w 213"/>
                    <a:gd name="T47" fmla="*/ 223 h 241"/>
                    <a:gd name="T48" fmla="*/ 68 w 213"/>
                    <a:gd name="T49" fmla="*/ 226 h 241"/>
                    <a:gd name="T50" fmla="*/ 89 w 213"/>
                    <a:gd name="T51" fmla="*/ 231 h 241"/>
                    <a:gd name="T52" fmla="*/ 99 w 213"/>
                    <a:gd name="T53" fmla="*/ 227 h 241"/>
                    <a:gd name="T54" fmla="*/ 118 w 213"/>
                    <a:gd name="T55" fmla="*/ 224 h 241"/>
                    <a:gd name="T56" fmla="*/ 127 w 213"/>
                    <a:gd name="T57" fmla="*/ 216 h 241"/>
                    <a:gd name="T58" fmla="*/ 140 w 213"/>
                    <a:gd name="T59" fmla="*/ 180 h 241"/>
                    <a:gd name="T60" fmla="*/ 187 w 213"/>
                    <a:gd name="T61" fmla="*/ 175 h 241"/>
                    <a:gd name="T62" fmla="*/ 201 w 213"/>
                    <a:gd name="T63" fmla="*/ 190 h 241"/>
                    <a:gd name="T64" fmla="*/ 204 w 213"/>
                    <a:gd name="T65" fmla="*/ 184 h 241"/>
                    <a:gd name="T66" fmla="*/ 207 w 213"/>
                    <a:gd name="T67" fmla="*/ 171 h 241"/>
                    <a:gd name="T68" fmla="*/ 210 w 213"/>
                    <a:gd name="T69" fmla="*/ 160 h 241"/>
                    <a:gd name="T70" fmla="*/ 210 w 213"/>
                    <a:gd name="T71" fmla="*/ 147 h 241"/>
                    <a:gd name="T72" fmla="*/ 207 w 213"/>
                    <a:gd name="T73" fmla="*/ 141 h 241"/>
                    <a:gd name="T74" fmla="*/ 200 w 213"/>
                    <a:gd name="T75" fmla="*/ 138 h 241"/>
                    <a:gd name="T76" fmla="*/ 197 w 213"/>
                    <a:gd name="T77" fmla="*/ 125 h 241"/>
                    <a:gd name="T78" fmla="*/ 171 w 213"/>
                    <a:gd name="T79" fmla="*/ 118 h 241"/>
                    <a:gd name="T80" fmla="*/ 166 w 213"/>
                    <a:gd name="T81" fmla="*/ 108 h 241"/>
                    <a:gd name="T82" fmla="*/ 164 w 213"/>
                    <a:gd name="T83" fmla="*/ 96 h 241"/>
                    <a:gd name="T84" fmla="*/ 161 w 213"/>
                    <a:gd name="T85" fmla="*/ 75 h 241"/>
                    <a:gd name="T86" fmla="*/ 150 w 213"/>
                    <a:gd name="T87" fmla="*/ 68 h 241"/>
                    <a:gd name="T88" fmla="*/ 135 w 213"/>
                    <a:gd name="T89" fmla="*/ 65 h 241"/>
                    <a:gd name="T90" fmla="*/ 124 w 213"/>
                    <a:gd name="T91" fmla="*/ 59 h 241"/>
                    <a:gd name="T92" fmla="*/ 115 w 213"/>
                    <a:gd name="T93" fmla="*/ 53 h 241"/>
                    <a:gd name="T94" fmla="*/ 112 w 213"/>
                    <a:gd name="T95" fmla="*/ 53 h 241"/>
                    <a:gd name="T96" fmla="*/ 95 w 213"/>
                    <a:gd name="T97" fmla="*/ 49 h 241"/>
                    <a:gd name="T98" fmla="*/ 82 w 213"/>
                    <a:gd name="T99" fmla="*/ 39 h 241"/>
                    <a:gd name="T100" fmla="*/ 75 w 213"/>
                    <a:gd name="T101" fmla="*/ 24 h 241"/>
                    <a:gd name="T102" fmla="*/ 74 w 213"/>
                    <a:gd name="T103" fmla="*/ 14 h 241"/>
                    <a:gd name="T104" fmla="*/ 76 w 213"/>
                    <a:gd name="T105" fmla="*/ 7 h 241"/>
                    <a:gd name="T106" fmla="*/ 72 w 213"/>
                    <a:gd name="T107" fmla="*/ 0 h 241"/>
                    <a:gd name="T108" fmla="*/ 69 w 213"/>
                    <a:gd name="T109" fmla="*/ 0 h 241"/>
                    <a:gd name="T110" fmla="*/ 39 w 213"/>
                    <a:gd name="T111" fmla="*/ 12 h 241"/>
                    <a:gd name="T112" fmla="*/ 31 w 213"/>
                    <a:gd name="T113" fmla="*/ 17 h 241"/>
                    <a:gd name="T114" fmla="*/ 20 w 213"/>
                    <a:gd name="T115" fmla="*/ 23 h 241"/>
                    <a:gd name="T116" fmla="*/ 10 w 213"/>
                    <a:gd name="T117" fmla="*/ 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3" h="241">
                      <a:moveTo>
                        <a:pt x="16" y="47"/>
                      </a:moveTo>
                      <a:lnTo>
                        <a:pt x="16" y="49"/>
                      </a:lnTo>
                      <a:lnTo>
                        <a:pt x="16" y="50"/>
                      </a:lnTo>
                      <a:lnTo>
                        <a:pt x="15" y="52"/>
                      </a:lnTo>
                      <a:lnTo>
                        <a:pt x="15" y="53"/>
                      </a:lnTo>
                      <a:lnTo>
                        <a:pt x="12" y="56"/>
                      </a:lnTo>
                      <a:lnTo>
                        <a:pt x="12" y="58"/>
                      </a:lnTo>
                      <a:lnTo>
                        <a:pt x="12" y="59"/>
                      </a:lnTo>
                      <a:lnTo>
                        <a:pt x="10" y="72"/>
                      </a:lnTo>
                      <a:lnTo>
                        <a:pt x="10" y="73"/>
                      </a:lnTo>
                      <a:lnTo>
                        <a:pt x="12" y="75"/>
                      </a:lnTo>
                      <a:lnTo>
                        <a:pt x="13" y="78"/>
                      </a:lnTo>
                      <a:lnTo>
                        <a:pt x="13" y="79"/>
                      </a:lnTo>
                      <a:lnTo>
                        <a:pt x="12" y="81"/>
                      </a:lnTo>
                      <a:lnTo>
                        <a:pt x="12" y="82"/>
                      </a:lnTo>
                      <a:lnTo>
                        <a:pt x="6" y="89"/>
                      </a:lnTo>
                      <a:lnTo>
                        <a:pt x="6" y="91"/>
                      </a:lnTo>
                      <a:lnTo>
                        <a:pt x="5" y="92"/>
                      </a:lnTo>
                      <a:lnTo>
                        <a:pt x="5" y="93"/>
                      </a:lnTo>
                      <a:lnTo>
                        <a:pt x="6" y="96"/>
                      </a:lnTo>
                      <a:lnTo>
                        <a:pt x="6" y="98"/>
                      </a:lnTo>
                      <a:lnTo>
                        <a:pt x="8" y="99"/>
                      </a:lnTo>
                      <a:lnTo>
                        <a:pt x="8" y="99"/>
                      </a:lnTo>
                      <a:lnTo>
                        <a:pt x="6" y="104"/>
                      </a:lnTo>
                      <a:lnTo>
                        <a:pt x="5" y="105"/>
                      </a:lnTo>
                      <a:lnTo>
                        <a:pt x="5" y="106"/>
                      </a:lnTo>
                      <a:lnTo>
                        <a:pt x="5" y="108"/>
                      </a:lnTo>
                      <a:lnTo>
                        <a:pt x="5" y="109"/>
                      </a:lnTo>
                      <a:lnTo>
                        <a:pt x="6" y="112"/>
                      </a:lnTo>
                      <a:lnTo>
                        <a:pt x="6" y="115"/>
                      </a:lnTo>
                      <a:lnTo>
                        <a:pt x="8" y="116"/>
                      </a:lnTo>
                      <a:lnTo>
                        <a:pt x="9" y="116"/>
                      </a:lnTo>
                      <a:lnTo>
                        <a:pt x="10" y="116"/>
                      </a:lnTo>
                      <a:lnTo>
                        <a:pt x="13" y="118"/>
                      </a:lnTo>
                      <a:lnTo>
                        <a:pt x="13" y="118"/>
                      </a:lnTo>
                      <a:lnTo>
                        <a:pt x="13" y="119"/>
                      </a:lnTo>
                      <a:lnTo>
                        <a:pt x="13" y="121"/>
                      </a:lnTo>
                      <a:lnTo>
                        <a:pt x="12" y="121"/>
                      </a:lnTo>
                      <a:lnTo>
                        <a:pt x="10" y="122"/>
                      </a:lnTo>
                      <a:lnTo>
                        <a:pt x="10" y="122"/>
                      </a:lnTo>
                      <a:lnTo>
                        <a:pt x="10" y="124"/>
                      </a:lnTo>
                      <a:lnTo>
                        <a:pt x="10" y="125"/>
                      </a:lnTo>
                      <a:lnTo>
                        <a:pt x="10" y="125"/>
                      </a:lnTo>
                      <a:lnTo>
                        <a:pt x="9" y="127"/>
                      </a:lnTo>
                      <a:lnTo>
                        <a:pt x="8" y="127"/>
                      </a:lnTo>
                      <a:lnTo>
                        <a:pt x="5" y="131"/>
                      </a:lnTo>
                      <a:lnTo>
                        <a:pt x="3" y="132"/>
                      </a:lnTo>
                      <a:lnTo>
                        <a:pt x="2" y="134"/>
                      </a:lnTo>
                      <a:lnTo>
                        <a:pt x="2" y="134"/>
                      </a:lnTo>
                      <a:lnTo>
                        <a:pt x="0" y="135"/>
                      </a:lnTo>
                      <a:lnTo>
                        <a:pt x="0" y="137"/>
                      </a:lnTo>
                      <a:lnTo>
                        <a:pt x="0" y="138"/>
                      </a:lnTo>
                      <a:lnTo>
                        <a:pt x="2" y="138"/>
                      </a:lnTo>
                      <a:lnTo>
                        <a:pt x="2" y="139"/>
                      </a:lnTo>
                      <a:lnTo>
                        <a:pt x="2" y="141"/>
                      </a:lnTo>
                      <a:lnTo>
                        <a:pt x="3" y="142"/>
                      </a:lnTo>
                      <a:lnTo>
                        <a:pt x="3" y="144"/>
                      </a:lnTo>
                      <a:lnTo>
                        <a:pt x="5" y="147"/>
                      </a:lnTo>
                      <a:lnTo>
                        <a:pt x="6" y="148"/>
                      </a:lnTo>
                      <a:lnTo>
                        <a:pt x="6" y="150"/>
                      </a:lnTo>
                      <a:lnTo>
                        <a:pt x="9" y="151"/>
                      </a:lnTo>
                      <a:lnTo>
                        <a:pt x="9" y="151"/>
                      </a:lnTo>
                      <a:lnTo>
                        <a:pt x="9" y="155"/>
                      </a:lnTo>
                      <a:lnTo>
                        <a:pt x="12" y="164"/>
                      </a:lnTo>
                      <a:lnTo>
                        <a:pt x="13" y="168"/>
                      </a:lnTo>
                      <a:lnTo>
                        <a:pt x="15" y="170"/>
                      </a:lnTo>
                      <a:lnTo>
                        <a:pt x="18" y="172"/>
                      </a:lnTo>
                      <a:lnTo>
                        <a:pt x="19" y="174"/>
                      </a:lnTo>
                      <a:lnTo>
                        <a:pt x="20" y="175"/>
                      </a:lnTo>
                      <a:lnTo>
                        <a:pt x="20" y="177"/>
                      </a:lnTo>
                      <a:lnTo>
                        <a:pt x="19" y="178"/>
                      </a:lnTo>
                      <a:lnTo>
                        <a:pt x="18" y="180"/>
                      </a:lnTo>
                      <a:lnTo>
                        <a:pt x="18" y="180"/>
                      </a:lnTo>
                      <a:lnTo>
                        <a:pt x="18" y="181"/>
                      </a:lnTo>
                      <a:lnTo>
                        <a:pt x="18" y="183"/>
                      </a:lnTo>
                      <a:lnTo>
                        <a:pt x="18" y="183"/>
                      </a:lnTo>
                      <a:lnTo>
                        <a:pt x="18" y="184"/>
                      </a:lnTo>
                      <a:lnTo>
                        <a:pt x="19" y="185"/>
                      </a:lnTo>
                      <a:lnTo>
                        <a:pt x="18" y="187"/>
                      </a:lnTo>
                      <a:lnTo>
                        <a:pt x="18" y="188"/>
                      </a:lnTo>
                      <a:lnTo>
                        <a:pt x="18" y="188"/>
                      </a:lnTo>
                      <a:lnTo>
                        <a:pt x="16" y="188"/>
                      </a:lnTo>
                      <a:lnTo>
                        <a:pt x="16" y="188"/>
                      </a:lnTo>
                      <a:lnTo>
                        <a:pt x="16" y="188"/>
                      </a:lnTo>
                      <a:lnTo>
                        <a:pt x="16" y="190"/>
                      </a:lnTo>
                      <a:lnTo>
                        <a:pt x="16" y="190"/>
                      </a:lnTo>
                      <a:lnTo>
                        <a:pt x="16" y="191"/>
                      </a:lnTo>
                      <a:lnTo>
                        <a:pt x="16" y="191"/>
                      </a:lnTo>
                      <a:lnTo>
                        <a:pt x="16" y="194"/>
                      </a:lnTo>
                      <a:lnTo>
                        <a:pt x="15" y="194"/>
                      </a:lnTo>
                      <a:lnTo>
                        <a:pt x="16" y="195"/>
                      </a:lnTo>
                      <a:lnTo>
                        <a:pt x="19" y="197"/>
                      </a:lnTo>
                      <a:lnTo>
                        <a:pt x="20" y="198"/>
                      </a:lnTo>
                      <a:lnTo>
                        <a:pt x="20" y="200"/>
                      </a:lnTo>
                      <a:lnTo>
                        <a:pt x="19" y="201"/>
                      </a:lnTo>
                      <a:lnTo>
                        <a:pt x="19" y="203"/>
                      </a:lnTo>
                      <a:lnTo>
                        <a:pt x="19" y="203"/>
                      </a:lnTo>
                      <a:lnTo>
                        <a:pt x="19" y="204"/>
                      </a:lnTo>
                      <a:lnTo>
                        <a:pt x="22" y="207"/>
                      </a:lnTo>
                      <a:lnTo>
                        <a:pt x="23" y="208"/>
                      </a:lnTo>
                      <a:lnTo>
                        <a:pt x="25" y="211"/>
                      </a:lnTo>
                      <a:lnTo>
                        <a:pt x="26" y="220"/>
                      </a:lnTo>
                      <a:lnTo>
                        <a:pt x="28" y="223"/>
                      </a:lnTo>
                      <a:lnTo>
                        <a:pt x="29" y="227"/>
                      </a:lnTo>
                      <a:lnTo>
                        <a:pt x="29" y="229"/>
                      </a:lnTo>
                      <a:lnTo>
                        <a:pt x="29" y="230"/>
                      </a:lnTo>
                      <a:lnTo>
                        <a:pt x="31" y="237"/>
                      </a:lnTo>
                      <a:lnTo>
                        <a:pt x="31" y="239"/>
                      </a:lnTo>
                      <a:lnTo>
                        <a:pt x="33" y="241"/>
                      </a:lnTo>
                      <a:lnTo>
                        <a:pt x="36" y="241"/>
                      </a:lnTo>
                      <a:lnTo>
                        <a:pt x="39" y="241"/>
                      </a:lnTo>
                      <a:lnTo>
                        <a:pt x="43" y="240"/>
                      </a:lnTo>
                      <a:lnTo>
                        <a:pt x="48" y="233"/>
                      </a:lnTo>
                      <a:lnTo>
                        <a:pt x="51" y="230"/>
                      </a:lnTo>
                      <a:lnTo>
                        <a:pt x="53" y="229"/>
                      </a:lnTo>
                      <a:lnTo>
                        <a:pt x="55" y="229"/>
                      </a:lnTo>
                      <a:lnTo>
                        <a:pt x="56" y="227"/>
                      </a:lnTo>
                      <a:lnTo>
                        <a:pt x="58" y="227"/>
                      </a:lnTo>
                      <a:lnTo>
                        <a:pt x="58" y="226"/>
                      </a:lnTo>
                      <a:lnTo>
                        <a:pt x="59" y="223"/>
                      </a:lnTo>
                      <a:lnTo>
                        <a:pt x="59" y="221"/>
                      </a:lnTo>
                      <a:lnTo>
                        <a:pt x="61" y="221"/>
                      </a:lnTo>
                      <a:lnTo>
                        <a:pt x="62" y="221"/>
                      </a:lnTo>
                      <a:lnTo>
                        <a:pt x="66" y="224"/>
                      </a:lnTo>
                      <a:lnTo>
                        <a:pt x="68" y="226"/>
                      </a:lnTo>
                      <a:lnTo>
                        <a:pt x="71" y="226"/>
                      </a:lnTo>
                      <a:lnTo>
                        <a:pt x="79" y="227"/>
                      </a:lnTo>
                      <a:lnTo>
                        <a:pt x="82" y="227"/>
                      </a:lnTo>
                      <a:lnTo>
                        <a:pt x="87" y="229"/>
                      </a:lnTo>
                      <a:lnTo>
                        <a:pt x="89" y="231"/>
                      </a:lnTo>
                      <a:lnTo>
                        <a:pt x="91" y="236"/>
                      </a:lnTo>
                      <a:lnTo>
                        <a:pt x="94" y="240"/>
                      </a:lnTo>
                      <a:lnTo>
                        <a:pt x="97" y="233"/>
                      </a:lnTo>
                      <a:lnTo>
                        <a:pt x="98" y="229"/>
                      </a:lnTo>
                      <a:lnTo>
                        <a:pt x="99" y="227"/>
                      </a:lnTo>
                      <a:lnTo>
                        <a:pt x="101" y="226"/>
                      </a:lnTo>
                      <a:lnTo>
                        <a:pt x="104" y="226"/>
                      </a:lnTo>
                      <a:lnTo>
                        <a:pt x="107" y="224"/>
                      </a:lnTo>
                      <a:lnTo>
                        <a:pt x="115" y="224"/>
                      </a:lnTo>
                      <a:lnTo>
                        <a:pt x="118" y="224"/>
                      </a:lnTo>
                      <a:lnTo>
                        <a:pt x="120" y="226"/>
                      </a:lnTo>
                      <a:lnTo>
                        <a:pt x="121" y="227"/>
                      </a:lnTo>
                      <a:lnTo>
                        <a:pt x="122" y="229"/>
                      </a:lnTo>
                      <a:lnTo>
                        <a:pt x="125" y="223"/>
                      </a:lnTo>
                      <a:lnTo>
                        <a:pt x="127" y="216"/>
                      </a:lnTo>
                      <a:lnTo>
                        <a:pt x="130" y="201"/>
                      </a:lnTo>
                      <a:lnTo>
                        <a:pt x="131" y="197"/>
                      </a:lnTo>
                      <a:lnTo>
                        <a:pt x="135" y="187"/>
                      </a:lnTo>
                      <a:lnTo>
                        <a:pt x="138" y="181"/>
                      </a:lnTo>
                      <a:lnTo>
                        <a:pt x="140" y="180"/>
                      </a:lnTo>
                      <a:lnTo>
                        <a:pt x="141" y="180"/>
                      </a:lnTo>
                      <a:lnTo>
                        <a:pt x="171" y="174"/>
                      </a:lnTo>
                      <a:lnTo>
                        <a:pt x="178" y="174"/>
                      </a:lnTo>
                      <a:lnTo>
                        <a:pt x="183" y="174"/>
                      </a:lnTo>
                      <a:lnTo>
                        <a:pt x="187" y="175"/>
                      </a:lnTo>
                      <a:lnTo>
                        <a:pt x="190" y="177"/>
                      </a:lnTo>
                      <a:lnTo>
                        <a:pt x="199" y="181"/>
                      </a:lnTo>
                      <a:lnTo>
                        <a:pt x="200" y="184"/>
                      </a:lnTo>
                      <a:lnTo>
                        <a:pt x="201" y="185"/>
                      </a:lnTo>
                      <a:lnTo>
                        <a:pt x="201" y="190"/>
                      </a:lnTo>
                      <a:lnTo>
                        <a:pt x="206" y="187"/>
                      </a:lnTo>
                      <a:lnTo>
                        <a:pt x="207" y="187"/>
                      </a:lnTo>
                      <a:lnTo>
                        <a:pt x="207" y="185"/>
                      </a:lnTo>
                      <a:lnTo>
                        <a:pt x="206" y="185"/>
                      </a:lnTo>
                      <a:lnTo>
                        <a:pt x="204" y="184"/>
                      </a:lnTo>
                      <a:lnTo>
                        <a:pt x="204" y="184"/>
                      </a:lnTo>
                      <a:lnTo>
                        <a:pt x="203" y="183"/>
                      </a:lnTo>
                      <a:lnTo>
                        <a:pt x="203" y="180"/>
                      </a:lnTo>
                      <a:lnTo>
                        <a:pt x="204" y="178"/>
                      </a:lnTo>
                      <a:lnTo>
                        <a:pt x="207" y="171"/>
                      </a:lnTo>
                      <a:lnTo>
                        <a:pt x="209" y="170"/>
                      </a:lnTo>
                      <a:lnTo>
                        <a:pt x="210" y="168"/>
                      </a:lnTo>
                      <a:lnTo>
                        <a:pt x="210" y="168"/>
                      </a:lnTo>
                      <a:lnTo>
                        <a:pt x="209" y="167"/>
                      </a:lnTo>
                      <a:lnTo>
                        <a:pt x="210" y="160"/>
                      </a:lnTo>
                      <a:lnTo>
                        <a:pt x="211" y="157"/>
                      </a:lnTo>
                      <a:lnTo>
                        <a:pt x="213" y="154"/>
                      </a:lnTo>
                      <a:lnTo>
                        <a:pt x="211" y="152"/>
                      </a:lnTo>
                      <a:lnTo>
                        <a:pt x="210" y="150"/>
                      </a:lnTo>
                      <a:lnTo>
                        <a:pt x="210" y="147"/>
                      </a:lnTo>
                      <a:lnTo>
                        <a:pt x="209" y="144"/>
                      </a:lnTo>
                      <a:lnTo>
                        <a:pt x="209" y="142"/>
                      </a:lnTo>
                      <a:lnTo>
                        <a:pt x="209" y="142"/>
                      </a:lnTo>
                      <a:lnTo>
                        <a:pt x="209" y="141"/>
                      </a:lnTo>
                      <a:lnTo>
                        <a:pt x="207" y="141"/>
                      </a:lnTo>
                      <a:lnTo>
                        <a:pt x="207" y="141"/>
                      </a:lnTo>
                      <a:lnTo>
                        <a:pt x="206" y="141"/>
                      </a:lnTo>
                      <a:lnTo>
                        <a:pt x="206" y="141"/>
                      </a:lnTo>
                      <a:lnTo>
                        <a:pt x="201" y="138"/>
                      </a:lnTo>
                      <a:lnTo>
                        <a:pt x="200" y="138"/>
                      </a:lnTo>
                      <a:lnTo>
                        <a:pt x="199" y="135"/>
                      </a:lnTo>
                      <a:lnTo>
                        <a:pt x="197" y="134"/>
                      </a:lnTo>
                      <a:lnTo>
                        <a:pt x="196" y="131"/>
                      </a:lnTo>
                      <a:lnTo>
                        <a:pt x="196" y="127"/>
                      </a:lnTo>
                      <a:lnTo>
                        <a:pt x="197" y="125"/>
                      </a:lnTo>
                      <a:lnTo>
                        <a:pt x="199" y="121"/>
                      </a:lnTo>
                      <a:lnTo>
                        <a:pt x="199" y="118"/>
                      </a:lnTo>
                      <a:lnTo>
                        <a:pt x="193" y="119"/>
                      </a:lnTo>
                      <a:lnTo>
                        <a:pt x="186" y="119"/>
                      </a:lnTo>
                      <a:lnTo>
                        <a:pt x="171" y="118"/>
                      </a:lnTo>
                      <a:lnTo>
                        <a:pt x="168" y="118"/>
                      </a:lnTo>
                      <a:lnTo>
                        <a:pt x="167" y="118"/>
                      </a:lnTo>
                      <a:lnTo>
                        <a:pt x="166" y="116"/>
                      </a:lnTo>
                      <a:lnTo>
                        <a:pt x="166" y="114"/>
                      </a:lnTo>
                      <a:lnTo>
                        <a:pt x="166" y="108"/>
                      </a:lnTo>
                      <a:lnTo>
                        <a:pt x="166" y="105"/>
                      </a:lnTo>
                      <a:lnTo>
                        <a:pt x="164" y="102"/>
                      </a:lnTo>
                      <a:lnTo>
                        <a:pt x="161" y="99"/>
                      </a:lnTo>
                      <a:lnTo>
                        <a:pt x="160" y="96"/>
                      </a:lnTo>
                      <a:lnTo>
                        <a:pt x="164" y="96"/>
                      </a:lnTo>
                      <a:lnTo>
                        <a:pt x="164" y="89"/>
                      </a:lnTo>
                      <a:lnTo>
                        <a:pt x="163" y="81"/>
                      </a:lnTo>
                      <a:lnTo>
                        <a:pt x="161" y="79"/>
                      </a:lnTo>
                      <a:lnTo>
                        <a:pt x="161" y="76"/>
                      </a:lnTo>
                      <a:lnTo>
                        <a:pt x="161" y="75"/>
                      </a:lnTo>
                      <a:lnTo>
                        <a:pt x="161" y="73"/>
                      </a:lnTo>
                      <a:lnTo>
                        <a:pt x="158" y="70"/>
                      </a:lnTo>
                      <a:lnTo>
                        <a:pt x="155" y="69"/>
                      </a:lnTo>
                      <a:lnTo>
                        <a:pt x="153" y="68"/>
                      </a:lnTo>
                      <a:lnTo>
                        <a:pt x="150" y="68"/>
                      </a:lnTo>
                      <a:lnTo>
                        <a:pt x="145" y="68"/>
                      </a:lnTo>
                      <a:lnTo>
                        <a:pt x="143" y="68"/>
                      </a:lnTo>
                      <a:lnTo>
                        <a:pt x="140" y="68"/>
                      </a:lnTo>
                      <a:lnTo>
                        <a:pt x="137" y="66"/>
                      </a:lnTo>
                      <a:lnTo>
                        <a:pt x="135" y="65"/>
                      </a:lnTo>
                      <a:lnTo>
                        <a:pt x="132" y="62"/>
                      </a:lnTo>
                      <a:lnTo>
                        <a:pt x="132" y="62"/>
                      </a:lnTo>
                      <a:lnTo>
                        <a:pt x="131" y="60"/>
                      </a:lnTo>
                      <a:lnTo>
                        <a:pt x="127" y="60"/>
                      </a:lnTo>
                      <a:lnTo>
                        <a:pt x="124" y="59"/>
                      </a:lnTo>
                      <a:lnTo>
                        <a:pt x="121" y="58"/>
                      </a:lnTo>
                      <a:lnTo>
                        <a:pt x="117" y="53"/>
                      </a:lnTo>
                      <a:lnTo>
                        <a:pt x="115" y="53"/>
                      </a:lnTo>
                      <a:lnTo>
                        <a:pt x="115" y="53"/>
                      </a:lnTo>
                      <a:lnTo>
                        <a:pt x="115" y="53"/>
                      </a:lnTo>
                      <a:lnTo>
                        <a:pt x="115" y="52"/>
                      </a:lnTo>
                      <a:lnTo>
                        <a:pt x="114" y="52"/>
                      </a:lnTo>
                      <a:lnTo>
                        <a:pt x="114" y="52"/>
                      </a:lnTo>
                      <a:lnTo>
                        <a:pt x="114" y="53"/>
                      </a:lnTo>
                      <a:lnTo>
                        <a:pt x="112" y="53"/>
                      </a:lnTo>
                      <a:lnTo>
                        <a:pt x="110" y="52"/>
                      </a:lnTo>
                      <a:lnTo>
                        <a:pt x="107" y="50"/>
                      </a:lnTo>
                      <a:lnTo>
                        <a:pt x="104" y="49"/>
                      </a:lnTo>
                      <a:lnTo>
                        <a:pt x="98" y="49"/>
                      </a:lnTo>
                      <a:lnTo>
                        <a:pt x="95" y="49"/>
                      </a:lnTo>
                      <a:lnTo>
                        <a:pt x="92" y="47"/>
                      </a:lnTo>
                      <a:lnTo>
                        <a:pt x="88" y="43"/>
                      </a:lnTo>
                      <a:lnTo>
                        <a:pt x="85" y="42"/>
                      </a:lnTo>
                      <a:lnTo>
                        <a:pt x="84" y="40"/>
                      </a:lnTo>
                      <a:lnTo>
                        <a:pt x="82" y="39"/>
                      </a:lnTo>
                      <a:lnTo>
                        <a:pt x="81" y="37"/>
                      </a:lnTo>
                      <a:lnTo>
                        <a:pt x="79" y="36"/>
                      </a:lnTo>
                      <a:lnTo>
                        <a:pt x="76" y="29"/>
                      </a:lnTo>
                      <a:lnTo>
                        <a:pt x="75" y="27"/>
                      </a:lnTo>
                      <a:lnTo>
                        <a:pt x="75" y="24"/>
                      </a:lnTo>
                      <a:lnTo>
                        <a:pt x="75" y="23"/>
                      </a:lnTo>
                      <a:lnTo>
                        <a:pt x="75" y="20"/>
                      </a:lnTo>
                      <a:lnTo>
                        <a:pt x="75" y="19"/>
                      </a:lnTo>
                      <a:lnTo>
                        <a:pt x="74" y="16"/>
                      </a:lnTo>
                      <a:lnTo>
                        <a:pt x="74" y="14"/>
                      </a:lnTo>
                      <a:lnTo>
                        <a:pt x="74" y="13"/>
                      </a:lnTo>
                      <a:lnTo>
                        <a:pt x="75" y="12"/>
                      </a:lnTo>
                      <a:lnTo>
                        <a:pt x="75" y="10"/>
                      </a:lnTo>
                      <a:lnTo>
                        <a:pt x="76" y="9"/>
                      </a:lnTo>
                      <a:lnTo>
                        <a:pt x="76" y="7"/>
                      </a:lnTo>
                      <a:lnTo>
                        <a:pt x="76" y="3"/>
                      </a:lnTo>
                      <a:lnTo>
                        <a:pt x="75" y="1"/>
                      </a:lnTo>
                      <a:lnTo>
                        <a:pt x="74" y="0"/>
                      </a:lnTo>
                      <a:lnTo>
                        <a:pt x="74" y="0"/>
                      </a:lnTo>
                      <a:lnTo>
                        <a:pt x="72" y="0"/>
                      </a:lnTo>
                      <a:lnTo>
                        <a:pt x="72" y="0"/>
                      </a:lnTo>
                      <a:lnTo>
                        <a:pt x="72" y="1"/>
                      </a:lnTo>
                      <a:lnTo>
                        <a:pt x="71" y="1"/>
                      </a:lnTo>
                      <a:lnTo>
                        <a:pt x="69" y="0"/>
                      </a:lnTo>
                      <a:lnTo>
                        <a:pt x="69" y="0"/>
                      </a:lnTo>
                      <a:lnTo>
                        <a:pt x="61" y="1"/>
                      </a:lnTo>
                      <a:lnTo>
                        <a:pt x="58" y="1"/>
                      </a:lnTo>
                      <a:lnTo>
                        <a:pt x="55" y="3"/>
                      </a:lnTo>
                      <a:lnTo>
                        <a:pt x="52" y="4"/>
                      </a:lnTo>
                      <a:lnTo>
                        <a:pt x="39" y="12"/>
                      </a:lnTo>
                      <a:lnTo>
                        <a:pt x="36" y="13"/>
                      </a:lnTo>
                      <a:lnTo>
                        <a:pt x="35" y="16"/>
                      </a:lnTo>
                      <a:lnTo>
                        <a:pt x="33" y="16"/>
                      </a:lnTo>
                      <a:lnTo>
                        <a:pt x="32" y="16"/>
                      </a:lnTo>
                      <a:lnTo>
                        <a:pt x="31" y="17"/>
                      </a:lnTo>
                      <a:lnTo>
                        <a:pt x="29" y="17"/>
                      </a:lnTo>
                      <a:lnTo>
                        <a:pt x="28" y="17"/>
                      </a:lnTo>
                      <a:lnTo>
                        <a:pt x="26" y="19"/>
                      </a:lnTo>
                      <a:lnTo>
                        <a:pt x="23" y="22"/>
                      </a:lnTo>
                      <a:lnTo>
                        <a:pt x="20" y="23"/>
                      </a:lnTo>
                      <a:lnTo>
                        <a:pt x="19" y="24"/>
                      </a:lnTo>
                      <a:lnTo>
                        <a:pt x="15" y="24"/>
                      </a:lnTo>
                      <a:lnTo>
                        <a:pt x="15" y="24"/>
                      </a:lnTo>
                      <a:lnTo>
                        <a:pt x="12" y="23"/>
                      </a:lnTo>
                      <a:lnTo>
                        <a:pt x="10" y="22"/>
                      </a:lnTo>
                      <a:lnTo>
                        <a:pt x="6" y="22"/>
                      </a:lnTo>
                      <a:lnTo>
                        <a:pt x="0" y="22"/>
                      </a:lnTo>
                      <a:lnTo>
                        <a:pt x="15" y="46"/>
                      </a:lnTo>
                      <a:lnTo>
                        <a:pt x="16" y="4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45" name="Freeform 238">
                  <a:extLst>
                    <a:ext uri="{FF2B5EF4-FFF2-40B4-BE49-F238E27FC236}">
                      <a16:creationId xmlns:a16="http://schemas.microsoft.com/office/drawing/2014/main" id="{A4955CBC-2EED-7014-9849-BC9A836545A6}"/>
                    </a:ext>
                  </a:extLst>
                </p:cNvPr>
                <p:cNvSpPr>
                  <a:spLocks/>
                </p:cNvSpPr>
                <p:nvPr/>
              </p:nvSpPr>
              <p:spPr bwMode="auto">
                <a:xfrm>
                  <a:off x="2445" y="3064"/>
                  <a:ext cx="148" cy="158"/>
                </a:xfrm>
                <a:custGeom>
                  <a:avLst/>
                  <a:gdLst>
                    <a:gd name="T0" fmla="*/ 77 w 148"/>
                    <a:gd name="T1" fmla="*/ 7 h 158"/>
                    <a:gd name="T2" fmla="*/ 65 w 148"/>
                    <a:gd name="T3" fmla="*/ 1 h 158"/>
                    <a:gd name="T4" fmla="*/ 56 w 148"/>
                    <a:gd name="T5" fmla="*/ 0 h 158"/>
                    <a:gd name="T6" fmla="*/ 19 w 148"/>
                    <a:gd name="T7" fmla="*/ 6 h 158"/>
                    <a:gd name="T8" fmla="*/ 16 w 148"/>
                    <a:gd name="T9" fmla="*/ 7 h 158"/>
                    <a:gd name="T10" fmla="*/ 9 w 148"/>
                    <a:gd name="T11" fmla="*/ 23 h 158"/>
                    <a:gd name="T12" fmla="*/ 5 w 148"/>
                    <a:gd name="T13" fmla="*/ 42 h 158"/>
                    <a:gd name="T14" fmla="*/ 0 w 148"/>
                    <a:gd name="T15" fmla="*/ 55 h 158"/>
                    <a:gd name="T16" fmla="*/ 8 w 148"/>
                    <a:gd name="T17" fmla="*/ 62 h 158"/>
                    <a:gd name="T18" fmla="*/ 12 w 148"/>
                    <a:gd name="T19" fmla="*/ 67 h 158"/>
                    <a:gd name="T20" fmla="*/ 16 w 148"/>
                    <a:gd name="T21" fmla="*/ 73 h 158"/>
                    <a:gd name="T22" fmla="*/ 32 w 148"/>
                    <a:gd name="T23" fmla="*/ 86 h 158"/>
                    <a:gd name="T24" fmla="*/ 44 w 148"/>
                    <a:gd name="T25" fmla="*/ 89 h 158"/>
                    <a:gd name="T26" fmla="*/ 64 w 148"/>
                    <a:gd name="T27" fmla="*/ 101 h 158"/>
                    <a:gd name="T28" fmla="*/ 75 w 148"/>
                    <a:gd name="T29" fmla="*/ 106 h 158"/>
                    <a:gd name="T30" fmla="*/ 84 w 148"/>
                    <a:gd name="T31" fmla="*/ 109 h 158"/>
                    <a:gd name="T32" fmla="*/ 89 w 148"/>
                    <a:gd name="T33" fmla="*/ 115 h 158"/>
                    <a:gd name="T34" fmla="*/ 89 w 148"/>
                    <a:gd name="T35" fmla="*/ 119 h 158"/>
                    <a:gd name="T36" fmla="*/ 81 w 148"/>
                    <a:gd name="T37" fmla="*/ 131 h 158"/>
                    <a:gd name="T38" fmla="*/ 79 w 148"/>
                    <a:gd name="T39" fmla="*/ 135 h 158"/>
                    <a:gd name="T40" fmla="*/ 78 w 148"/>
                    <a:gd name="T41" fmla="*/ 142 h 158"/>
                    <a:gd name="T42" fmla="*/ 75 w 148"/>
                    <a:gd name="T43" fmla="*/ 147 h 158"/>
                    <a:gd name="T44" fmla="*/ 72 w 148"/>
                    <a:gd name="T45" fmla="*/ 151 h 158"/>
                    <a:gd name="T46" fmla="*/ 74 w 148"/>
                    <a:gd name="T47" fmla="*/ 154 h 158"/>
                    <a:gd name="T48" fmla="*/ 79 w 148"/>
                    <a:gd name="T49" fmla="*/ 154 h 158"/>
                    <a:gd name="T50" fmla="*/ 84 w 148"/>
                    <a:gd name="T51" fmla="*/ 154 h 158"/>
                    <a:gd name="T52" fmla="*/ 108 w 148"/>
                    <a:gd name="T53" fmla="*/ 158 h 158"/>
                    <a:gd name="T54" fmla="*/ 111 w 148"/>
                    <a:gd name="T55" fmla="*/ 157 h 158"/>
                    <a:gd name="T56" fmla="*/ 112 w 148"/>
                    <a:gd name="T57" fmla="*/ 155 h 158"/>
                    <a:gd name="T58" fmla="*/ 117 w 148"/>
                    <a:gd name="T59" fmla="*/ 154 h 158"/>
                    <a:gd name="T60" fmla="*/ 120 w 148"/>
                    <a:gd name="T61" fmla="*/ 155 h 158"/>
                    <a:gd name="T62" fmla="*/ 123 w 148"/>
                    <a:gd name="T63" fmla="*/ 155 h 158"/>
                    <a:gd name="T64" fmla="*/ 124 w 148"/>
                    <a:gd name="T65" fmla="*/ 154 h 158"/>
                    <a:gd name="T66" fmla="*/ 127 w 148"/>
                    <a:gd name="T67" fmla="*/ 149 h 158"/>
                    <a:gd name="T68" fmla="*/ 133 w 148"/>
                    <a:gd name="T69" fmla="*/ 145 h 158"/>
                    <a:gd name="T70" fmla="*/ 141 w 148"/>
                    <a:gd name="T71" fmla="*/ 134 h 158"/>
                    <a:gd name="T72" fmla="*/ 143 w 148"/>
                    <a:gd name="T73" fmla="*/ 119 h 158"/>
                    <a:gd name="T74" fmla="*/ 143 w 148"/>
                    <a:gd name="T75" fmla="*/ 115 h 158"/>
                    <a:gd name="T76" fmla="*/ 145 w 148"/>
                    <a:gd name="T77" fmla="*/ 112 h 158"/>
                    <a:gd name="T78" fmla="*/ 147 w 148"/>
                    <a:gd name="T79" fmla="*/ 92 h 158"/>
                    <a:gd name="T80" fmla="*/ 147 w 148"/>
                    <a:gd name="T81" fmla="*/ 89 h 158"/>
                    <a:gd name="T82" fmla="*/ 144 w 148"/>
                    <a:gd name="T83" fmla="*/ 86 h 158"/>
                    <a:gd name="T84" fmla="*/ 140 w 148"/>
                    <a:gd name="T85" fmla="*/ 86 h 158"/>
                    <a:gd name="T86" fmla="*/ 135 w 148"/>
                    <a:gd name="T87" fmla="*/ 89 h 158"/>
                    <a:gd name="T88" fmla="*/ 128 w 148"/>
                    <a:gd name="T89" fmla="*/ 88 h 158"/>
                    <a:gd name="T90" fmla="*/ 125 w 148"/>
                    <a:gd name="T91" fmla="*/ 80 h 158"/>
                    <a:gd name="T92" fmla="*/ 123 w 148"/>
                    <a:gd name="T93" fmla="*/ 60 h 158"/>
                    <a:gd name="T94" fmla="*/ 115 w 148"/>
                    <a:gd name="T95" fmla="*/ 55 h 158"/>
                    <a:gd name="T96" fmla="*/ 111 w 148"/>
                    <a:gd name="T97" fmla="*/ 55 h 158"/>
                    <a:gd name="T98" fmla="*/ 111 w 148"/>
                    <a:gd name="T99" fmla="*/ 53 h 158"/>
                    <a:gd name="T100" fmla="*/ 110 w 148"/>
                    <a:gd name="T101" fmla="*/ 52 h 158"/>
                    <a:gd name="T102" fmla="*/ 108 w 148"/>
                    <a:gd name="T103" fmla="*/ 53 h 158"/>
                    <a:gd name="T104" fmla="*/ 107 w 148"/>
                    <a:gd name="T105" fmla="*/ 55 h 158"/>
                    <a:gd name="T106" fmla="*/ 100 w 148"/>
                    <a:gd name="T107" fmla="*/ 56 h 158"/>
                    <a:gd name="T108" fmla="*/ 91 w 148"/>
                    <a:gd name="T109" fmla="*/ 55 h 158"/>
                    <a:gd name="T110" fmla="*/ 88 w 148"/>
                    <a:gd name="T111" fmla="*/ 53 h 158"/>
                    <a:gd name="T112" fmla="*/ 85 w 148"/>
                    <a:gd name="T113" fmla="*/ 53 h 158"/>
                    <a:gd name="T114" fmla="*/ 84 w 148"/>
                    <a:gd name="T115" fmla="*/ 52 h 158"/>
                    <a:gd name="T116" fmla="*/ 85 w 148"/>
                    <a:gd name="T117" fmla="*/ 36 h 158"/>
                    <a:gd name="T118" fmla="*/ 85 w 148"/>
                    <a:gd name="T119" fmla="*/ 30 h 158"/>
                    <a:gd name="T120" fmla="*/ 81 w 148"/>
                    <a:gd name="T121" fmla="*/ 19 h 158"/>
                    <a:gd name="T122" fmla="*/ 79 w 148"/>
                    <a:gd name="T123" fmla="*/ 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 h="158">
                      <a:moveTo>
                        <a:pt x="78" y="10"/>
                      </a:moveTo>
                      <a:lnTo>
                        <a:pt x="77" y="7"/>
                      </a:lnTo>
                      <a:lnTo>
                        <a:pt x="68" y="3"/>
                      </a:lnTo>
                      <a:lnTo>
                        <a:pt x="65" y="1"/>
                      </a:lnTo>
                      <a:lnTo>
                        <a:pt x="61" y="0"/>
                      </a:lnTo>
                      <a:lnTo>
                        <a:pt x="56" y="0"/>
                      </a:lnTo>
                      <a:lnTo>
                        <a:pt x="49" y="0"/>
                      </a:lnTo>
                      <a:lnTo>
                        <a:pt x="19" y="6"/>
                      </a:lnTo>
                      <a:lnTo>
                        <a:pt x="18" y="6"/>
                      </a:lnTo>
                      <a:lnTo>
                        <a:pt x="16" y="7"/>
                      </a:lnTo>
                      <a:lnTo>
                        <a:pt x="13" y="13"/>
                      </a:lnTo>
                      <a:lnTo>
                        <a:pt x="9" y="23"/>
                      </a:lnTo>
                      <a:lnTo>
                        <a:pt x="8" y="27"/>
                      </a:lnTo>
                      <a:lnTo>
                        <a:pt x="5" y="42"/>
                      </a:lnTo>
                      <a:lnTo>
                        <a:pt x="3" y="49"/>
                      </a:lnTo>
                      <a:lnTo>
                        <a:pt x="0" y="55"/>
                      </a:lnTo>
                      <a:lnTo>
                        <a:pt x="3" y="57"/>
                      </a:lnTo>
                      <a:lnTo>
                        <a:pt x="8" y="62"/>
                      </a:lnTo>
                      <a:lnTo>
                        <a:pt x="9" y="65"/>
                      </a:lnTo>
                      <a:lnTo>
                        <a:pt x="12" y="67"/>
                      </a:lnTo>
                      <a:lnTo>
                        <a:pt x="13" y="70"/>
                      </a:lnTo>
                      <a:lnTo>
                        <a:pt x="16" y="73"/>
                      </a:lnTo>
                      <a:lnTo>
                        <a:pt x="29" y="85"/>
                      </a:lnTo>
                      <a:lnTo>
                        <a:pt x="32" y="86"/>
                      </a:lnTo>
                      <a:lnTo>
                        <a:pt x="36" y="88"/>
                      </a:lnTo>
                      <a:lnTo>
                        <a:pt x="44" y="89"/>
                      </a:lnTo>
                      <a:lnTo>
                        <a:pt x="51" y="92"/>
                      </a:lnTo>
                      <a:lnTo>
                        <a:pt x="64" y="101"/>
                      </a:lnTo>
                      <a:lnTo>
                        <a:pt x="69" y="103"/>
                      </a:lnTo>
                      <a:lnTo>
                        <a:pt x="75" y="106"/>
                      </a:lnTo>
                      <a:lnTo>
                        <a:pt x="81" y="108"/>
                      </a:lnTo>
                      <a:lnTo>
                        <a:pt x="84" y="109"/>
                      </a:lnTo>
                      <a:lnTo>
                        <a:pt x="87" y="112"/>
                      </a:lnTo>
                      <a:lnTo>
                        <a:pt x="89" y="115"/>
                      </a:lnTo>
                      <a:lnTo>
                        <a:pt x="91" y="118"/>
                      </a:lnTo>
                      <a:lnTo>
                        <a:pt x="89" y="119"/>
                      </a:lnTo>
                      <a:lnTo>
                        <a:pt x="84" y="128"/>
                      </a:lnTo>
                      <a:lnTo>
                        <a:pt x="81" y="131"/>
                      </a:lnTo>
                      <a:lnTo>
                        <a:pt x="81" y="132"/>
                      </a:lnTo>
                      <a:lnTo>
                        <a:pt x="79" y="135"/>
                      </a:lnTo>
                      <a:lnTo>
                        <a:pt x="78" y="141"/>
                      </a:lnTo>
                      <a:lnTo>
                        <a:pt x="78" y="142"/>
                      </a:lnTo>
                      <a:lnTo>
                        <a:pt x="77" y="144"/>
                      </a:lnTo>
                      <a:lnTo>
                        <a:pt x="75" y="147"/>
                      </a:lnTo>
                      <a:lnTo>
                        <a:pt x="74" y="148"/>
                      </a:lnTo>
                      <a:lnTo>
                        <a:pt x="72" y="151"/>
                      </a:lnTo>
                      <a:lnTo>
                        <a:pt x="72" y="152"/>
                      </a:lnTo>
                      <a:lnTo>
                        <a:pt x="74" y="154"/>
                      </a:lnTo>
                      <a:lnTo>
                        <a:pt x="75" y="154"/>
                      </a:lnTo>
                      <a:lnTo>
                        <a:pt x="79" y="154"/>
                      </a:lnTo>
                      <a:lnTo>
                        <a:pt x="81" y="154"/>
                      </a:lnTo>
                      <a:lnTo>
                        <a:pt x="84" y="154"/>
                      </a:lnTo>
                      <a:lnTo>
                        <a:pt x="94" y="155"/>
                      </a:lnTo>
                      <a:lnTo>
                        <a:pt x="108" y="158"/>
                      </a:lnTo>
                      <a:lnTo>
                        <a:pt x="110" y="158"/>
                      </a:lnTo>
                      <a:lnTo>
                        <a:pt x="111" y="157"/>
                      </a:lnTo>
                      <a:lnTo>
                        <a:pt x="112" y="157"/>
                      </a:lnTo>
                      <a:lnTo>
                        <a:pt x="112" y="155"/>
                      </a:lnTo>
                      <a:lnTo>
                        <a:pt x="114" y="154"/>
                      </a:lnTo>
                      <a:lnTo>
                        <a:pt x="117" y="154"/>
                      </a:lnTo>
                      <a:lnTo>
                        <a:pt x="118" y="154"/>
                      </a:lnTo>
                      <a:lnTo>
                        <a:pt x="120" y="155"/>
                      </a:lnTo>
                      <a:lnTo>
                        <a:pt x="121" y="155"/>
                      </a:lnTo>
                      <a:lnTo>
                        <a:pt x="123" y="155"/>
                      </a:lnTo>
                      <a:lnTo>
                        <a:pt x="124" y="154"/>
                      </a:lnTo>
                      <a:lnTo>
                        <a:pt x="124" y="154"/>
                      </a:lnTo>
                      <a:lnTo>
                        <a:pt x="125" y="151"/>
                      </a:lnTo>
                      <a:lnTo>
                        <a:pt x="127" y="149"/>
                      </a:lnTo>
                      <a:lnTo>
                        <a:pt x="128" y="148"/>
                      </a:lnTo>
                      <a:lnTo>
                        <a:pt x="133" y="145"/>
                      </a:lnTo>
                      <a:lnTo>
                        <a:pt x="138" y="139"/>
                      </a:lnTo>
                      <a:lnTo>
                        <a:pt x="141" y="134"/>
                      </a:lnTo>
                      <a:lnTo>
                        <a:pt x="141" y="126"/>
                      </a:lnTo>
                      <a:lnTo>
                        <a:pt x="143" y="119"/>
                      </a:lnTo>
                      <a:lnTo>
                        <a:pt x="143" y="118"/>
                      </a:lnTo>
                      <a:lnTo>
                        <a:pt x="143" y="115"/>
                      </a:lnTo>
                      <a:lnTo>
                        <a:pt x="144" y="113"/>
                      </a:lnTo>
                      <a:lnTo>
                        <a:pt x="145" y="112"/>
                      </a:lnTo>
                      <a:lnTo>
                        <a:pt x="145" y="111"/>
                      </a:lnTo>
                      <a:lnTo>
                        <a:pt x="147" y="92"/>
                      </a:lnTo>
                      <a:lnTo>
                        <a:pt x="148" y="90"/>
                      </a:lnTo>
                      <a:lnTo>
                        <a:pt x="147" y="89"/>
                      </a:lnTo>
                      <a:lnTo>
                        <a:pt x="145" y="88"/>
                      </a:lnTo>
                      <a:lnTo>
                        <a:pt x="144" y="86"/>
                      </a:lnTo>
                      <a:lnTo>
                        <a:pt x="141" y="85"/>
                      </a:lnTo>
                      <a:lnTo>
                        <a:pt x="140" y="86"/>
                      </a:lnTo>
                      <a:lnTo>
                        <a:pt x="137" y="88"/>
                      </a:lnTo>
                      <a:lnTo>
                        <a:pt x="135" y="89"/>
                      </a:lnTo>
                      <a:lnTo>
                        <a:pt x="131" y="89"/>
                      </a:lnTo>
                      <a:lnTo>
                        <a:pt x="128" y="88"/>
                      </a:lnTo>
                      <a:lnTo>
                        <a:pt x="127" y="83"/>
                      </a:lnTo>
                      <a:lnTo>
                        <a:pt x="125" y="80"/>
                      </a:lnTo>
                      <a:lnTo>
                        <a:pt x="124" y="66"/>
                      </a:lnTo>
                      <a:lnTo>
                        <a:pt x="123" y="60"/>
                      </a:lnTo>
                      <a:lnTo>
                        <a:pt x="118" y="56"/>
                      </a:lnTo>
                      <a:lnTo>
                        <a:pt x="115" y="55"/>
                      </a:lnTo>
                      <a:lnTo>
                        <a:pt x="114" y="55"/>
                      </a:lnTo>
                      <a:lnTo>
                        <a:pt x="111" y="55"/>
                      </a:lnTo>
                      <a:lnTo>
                        <a:pt x="111" y="53"/>
                      </a:lnTo>
                      <a:lnTo>
                        <a:pt x="111" y="53"/>
                      </a:lnTo>
                      <a:lnTo>
                        <a:pt x="111" y="53"/>
                      </a:lnTo>
                      <a:lnTo>
                        <a:pt x="110" y="52"/>
                      </a:lnTo>
                      <a:lnTo>
                        <a:pt x="108" y="53"/>
                      </a:lnTo>
                      <a:lnTo>
                        <a:pt x="108" y="53"/>
                      </a:lnTo>
                      <a:lnTo>
                        <a:pt x="108" y="55"/>
                      </a:lnTo>
                      <a:lnTo>
                        <a:pt x="107" y="55"/>
                      </a:lnTo>
                      <a:lnTo>
                        <a:pt x="104" y="56"/>
                      </a:lnTo>
                      <a:lnTo>
                        <a:pt x="100" y="56"/>
                      </a:lnTo>
                      <a:lnTo>
                        <a:pt x="92" y="55"/>
                      </a:lnTo>
                      <a:lnTo>
                        <a:pt x="91" y="55"/>
                      </a:lnTo>
                      <a:lnTo>
                        <a:pt x="89" y="53"/>
                      </a:lnTo>
                      <a:lnTo>
                        <a:pt x="88" y="53"/>
                      </a:lnTo>
                      <a:lnTo>
                        <a:pt x="88" y="53"/>
                      </a:lnTo>
                      <a:lnTo>
                        <a:pt x="85" y="53"/>
                      </a:lnTo>
                      <a:lnTo>
                        <a:pt x="84" y="53"/>
                      </a:lnTo>
                      <a:lnTo>
                        <a:pt x="84" y="52"/>
                      </a:lnTo>
                      <a:lnTo>
                        <a:pt x="84" y="44"/>
                      </a:lnTo>
                      <a:lnTo>
                        <a:pt x="85" y="36"/>
                      </a:lnTo>
                      <a:lnTo>
                        <a:pt x="85" y="33"/>
                      </a:lnTo>
                      <a:lnTo>
                        <a:pt x="85" y="30"/>
                      </a:lnTo>
                      <a:lnTo>
                        <a:pt x="84" y="27"/>
                      </a:lnTo>
                      <a:lnTo>
                        <a:pt x="81" y="19"/>
                      </a:lnTo>
                      <a:lnTo>
                        <a:pt x="79" y="16"/>
                      </a:lnTo>
                      <a:lnTo>
                        <a:pt x="79" y="11"/>
                      </a:lnTo>
                      <a:lnTo>
                        <a:pt x="78" y="1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46" name="Freeform 239">
                  <a:extLst>
                    <a:ext uri="{FF2B5EF4-FFF2-40B4-BE49-F238E27FC236}">
                      <a16:creationId xmlns:a16="http://schemas.microsoft.com/office/drawing/2014/main" id="{B5340C4F-860D-344C-28E0-63E8F86BC3F8}"/>
                    </a:ext>
                  </a:extLst>
                </p:cNvPr>
                <p:cNvSpPr>
                  <a:spLocks/>
                </p:cNvSpPr>
                <p:nvPr/>
              </p:nvSpPr>
              <p:spPr bwMode="auto">
                <a:xfrm>
                  <a:off x="2588" y="2616"/>
                  <a:ext cx="51" cy="64"/>
                </a:xfrm>
                <a:custGeom>
                  <a:avLst/>
                  <a:gdLst>
                    <a:gd name="T0" fmla="*/ 1 w 51"/>
                    <a:gd name="T1" fmla="*/ 21 h 64"/>
                    <a:gd name="T2" fmla="*/ 4 w 51"/>
                    <a:gd name="T3" fmla="*/ 28 h 64"/>
                    <a:gd name="T4" fmla="*/ 10 w 51"/>
                    <a:gd name="T5" fmla="*/ 38 h 64"/>
                    <a:gd name="T6" fmla="*/ 10 w 51"/>
                    <a:gd name="T7" fmla="*/ 41 h 64"/>
                    <a:gd name="T8" fmla="*/ 8 w 51"/>
                    <a:gd name="T9" fmla="*/ 44 h 64"/>
                    <a:gd name="T10" fmla="*/ 7 w 51"/>
                    <a:gd name="T11" fmla="*/ 47 h 64"/>
                    <a:gd name="T12" fmla="*/ 5 w 51"/>
                    <a:gd name="T13" fmla="*/ 51 h 64"/>
                    <a:gd name="T14" fmla="*/ 4 w 51"/>
                    <a:gd name="T15" fmla="*/ 56 h 64"/>
                    <a:gd name="T16" fmla="*/ 2 w 51"/>
                    <a:gd name="T17" fmla="*/ 58 h 64"/>
                    <a:gd name="T18" fmla="*/ 0 w 51"/>
                    <a:gd name="T19" fmla="*/ 61 h 64"/>
                    <a:gd name="T20" fmla="*/ 1 w 51"/>
                    <a:gd name="T21" fmla="*/ 61 h 64"/>
                    <a:gd name="T22" fmla="*/ 2 w 51"/>
                    <a:gd name="T23" fmla="*/ 63 h 64"/>
                    <a:gd name="T24" fmla="*/ 5 w 51"/>
                    <a:gd name="T25" fmla="*/ 64 h 64"/>
                    <a:gd name="T26" fmla="*/ 7 w 51"/>
                    <a:gd name="T27" fmla="*/ 64 h 64"/>
                    <a:gd name="T28" fmla="*/ 10 w 51"/>
                    <a:gd name="T29" fmla="*/ 63 h 64"/>
                    <a:gd name="T30" fmla="*/ 13 w 51"/>
                    <a:gd name="T31" fmla="*/ 61 h 64"/>
                    <a:gd name="T32" fmla="*/ 14 w 51"/>
                    <a:gd name="T33" fmla="*/ 60 h 64"/>
                    <a:gd name="T34" fmla="*/ 15 w 51"/>
                    <a:gd name="T35" fmla="*/ 61 h 64"/>
                    <a:gd name="T36" fmla="*/ 17 w 51"/>
                    <a:gd name="T37" fmla="*/ 61 h 64"/>
                    <a:gd name="T38" fmla="*/ 18 w 51"/>
                    <a:gd name="T39" fmla="*/ 61 h 64"/>
                    <a:gd name="T40" fmla="*/ 20 w 51"/>
                    <a:gd name="T41" fmla="*/ 61 h 64"/>
                    <a:gd name="T42" fmla="*/ 21 w 51"/>
                    <a:gd name="T43" fmla="*/ 61 h 64"/>
                    <a:gd name="T44" fmla="*/ 23 w 51"/>
                    <a:gd name="T45" fmla="*/ 61 h 64"/>
                    <a:gd name="T46" fmla="*/ 24 w 51"/>
                    <a:gd name="T47" fmla="*/ 63 h 64"/>
                    <a:gd name="T48" fmla="*/ 25 w 51"/>
                    <a:gd name="T49" fmla="*/ 63 h 64"/>
                    <a:gd name="T50" fmla="*/ 27 w 51"/>
                    <a:gd name="T51" fmla="*/ 63 h 64"/>
                    <a:gd name="T52" fmla="*/ 27 w 51"/>
                    <a:gd name="T53" fmla="*/ 63 h 64"/>
                    <a:gd name="T54" fmla="*/ 28 w 51"/>
                    <a:gd name="T55" fmla="*/ 63 h 64"/>
                    <a:gd name="T56" fmla="*/ 30 w 51"/>
                    <a:gd name="T57" fmla="*/ 63 h 64"/>
                    <a:gd name="T58" fmla="*/ 33 w 51"/>
                    <a:gd name="T59" fmla="*/ 60 h 64"/>
                    <a:gd name="T60" fmla="*/ 36 w 51"/>
                    <a:gd name="T61" fmla="*/ 56 h 64"/>
                    <a:gd name="T62" fmla="*/ 40 w 51"/>
                    <a:gd name="T63" fmla="*/ 46 h 64"/>
                    <a:gd name="T64" fmla="*/ 44 w 51"/>
                    <a:gd name="T65" fmla="*/ 37 h 64"/>
                    <a:gd name="T66" fmla="*/ 48 w 51"/>
                    <a:gd name="T67" fmla="*/ 33 h 64"/>
                    <a:gd name="T68" fmla="*/ 51 w 51"/>
                    <a:gd name="T69" fmla="*/ 30 h 64"/>
                    <a:gd name="T70" fmla="*/ 51 w 51"/>
                    <a:gd name="T71" fmla="*/ 28 h 64"/>
                    <a:gd name="T72" fmla="*/ 51 w 51"/>
                    <a:gd name="T73" fmla="*/ 25 h 64"/>
                    <a:gd name="T74" fmla="*/ 50 w 51"/>
                    <a:gd name="T75" fmla="*/ 23 h 64"/>
                    <a:gd name="T76" fmla="*/ 48 w 51"/>
                    <a:gd name="T77" fmla="*/ 21 h 64"/>
                    <a:gd name="T78" fmla="*/ 47 w 51"/>
                    <a:gd name="T79" fmla="*/ 20 h 64"/>
                    <a:gd name="T80" fmla="*/ 47 w 51"/>
                    <a:gd name="T81" fmla="*/ 21 h 64"/>
                    <a:gd name="T82" fmla="*/ 46 w 51"/>
                    <a:gd name="T83" fmla="*/ 23 h 64"/>
                    <a:gd name="T84" fmla="*/ 46 w 51"/>
                    <a:gd name="T85" fmla="*/ 25 h 64"/>
                    <a:gd name="T86" fmla="*/ 46 w 51"/>
                    <a:gd name="T87" fmla="*/ 21 h 64"/>
                    <a:gd name="T88" fmla="*/ 44 w 51"/>
                    <a:gd name="T89" fmla="*/ 18 h 64"/>
                    <a:gd name="T90" fmla="*/ 41 w 51"/>
                    <a:gd name="T91" fmla="*/ 17 h 64"/>
                    <a:gd name="T92" fmla="*/ 40 w 51"/>
                    <a:gd name="T93" fmla="*/ 18 h 64"/>
                    <a:gd name="T94" fmla="*/ 38 w 51"/>
                    <a:gd name="T95" fmla="*/ 14 h 64"/>
                    <a:gd name="T96" fmla="*/ 34 w 51"/>
                    <a:gd name="T97" fmla="*/ 10 h 64"/>
                    <a:gd name="T98" fmla="*/ 28 w 51"/>
                    <a:gd name="T99" fmla="*/ 7 h 64"/>
                    <a:gd name="T100" fmla="*/ 24 w 51"/>
                    <a:gd name="T101" fmla="*/ 4 h 64"/>
                    <a:gd name="T102" fmla="*/ 20 w 51"/>
                    <a:gd name="T103" fmla="*/ 4 h 64"/>
                    <a:gd name="T104" fmla="*/ 20 w 51"/>
                    <a:gd name="T105" fmla="*/ 4 h 64"/>
                    <a:gd name="T106" fmla="*/ 18 w 51"/>
                    <a:gd name="T107" fmla="*/ 2 h 64"/>
                    <a:gd name="T108" fmla="*/ 14 w 51"/>
                    <a:gd name="T109" fmla="*/ 1 h 64"/>
                    <a:gd name="T110" fmla="*/ 13 w 51"/>
                    <a:gd name="T111" fmla="*/ 0 h 64"/>
                    <a:gd name="T112" fmla="*/ 11 w 51"/>
                    <a:gd name="T113" fmla="*/ 1 h 64"/>
                    <a:gd name="T114" fmla="*/ 10 w 51"/>
                    <a:gd name="T115" fmla="*/ 2 h 64"/>
                    <a:gd name="T116" fmla="*/ 8 w 51"/>
                    <a:gd name="T117" fmla="*/ 5 h 64"/>
                    <a:gd name="T118" fmla="*/ 7 w 51"/>
                    <a:gd name="T119" fmla="*/ 7 h 64"/>
                    <a:gd name="T120" fmla="*/ 2 w 51"/>
                    <a:gd name="T121" fmla="*/ 14 h 64"/>
                    <a:gd name="T122" fmla="*/ 1 w 51"/>
                    <a:gd name="T123"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 h="64">
                      <a:moveTo>
                        <a:pt x="1" y="21"/>
                      </a:moveTo>
                      <a:lnTo>
                        <a:pt x="4" y="28"/>
                      </a:lnTo>
                      <a:lnTo>
                        <a:pt x="10" y="38"/>
                      </a:lnTo>
                      <a:lnTo>
                        <a:pt x="10" y="41"/>
                      </a:lnTo>
                      <a:lnTo>
                        <a:pt x="8" y="44"/>
                      </a:lnTo>
                      <a:lnTo>
                        <a:pt x="7" y="47"/>
                      </a:lnTo>
                      <a:lnTo>
                        <a:pt x="5" y="51"/>
                      </a:lnTo>
                      <a:lnTo>
                        <a:pt x="4" y="56"/>
                      </a:lnTo>
                      <a:lnTo>
                        <a:pt x="2" y="58"/>
                      </a:lnTo>
                      <a:lnTo>
                        <a:pt x="0" y="61"/>
                      </a:lnTo>
                      <a:lnTo>
                        <a:pt x="1" y="61"/>
                      </a:lnTo>
                      <a:lnTo>
                        <a:pt x="2" y="63"/>
                      </a:lnTo>
                      <a:lnTo>
                        <a:pt x="5" y="64"/>
                      </a:lnTo>
                      <a:lnTo>
                        <a:pt x="7" y="64"/>
                      </a:lnTo>
                      <a:lnTo>
                        <a:pt x="10" y="63"/>
                      </a:lnTo>
                      <a:lnTo>
                        <a:pt x="13" y="61"/>
                      </a:lnTo>
                      <a:lnTo>
                        <a:pt x="14" y="60"/>
                      </a:lnTo>
                      <a:lnTo>
                        <a:pt x="15" y="61"/>
                      </a:lnTo>
                      <a:lnTo>
                        <a:pt x="17" y="61"/>
                      </a:lnTo>
                      <a:lnTo>
                        <a:pt x="18" y="61"/>
                      </a:lnTo>
                      <a:lnTo>
                        <a:pt x="20" y="61"/>
                      </a:lnTo>
                      <a:lnTo>
                        <a:pt x="21" y="61"/>
                      </a:lnTo>
                      <a:lnTo>
                        <a:pt x="23" y="61"/>
                      </a:lnTo>
                      <a:lnTo>
                        <a:pt x="24" y="63"/>
                      </a:lnTo>
                      <a:lnTo>
                        <a:pt x="25" y="63"/>
                      </a:lnTo>
                      <a:lnTo>
                        <a:pt x="27" y="63"/>
                      </a:lnTo>
                      <a:lnTo>
                        <a:pt x="27" y="63"/>
                      </a:lnTo>
                      <a:lnTo>
                        <a:pt x="28" y="63"/>
                      </a:lnTo>
                      <a:lnTo>
                        <a:pt x="30" y="63"/>
                      </a:lnTo>
                      <a:lnTo>
                        <a:pt x="33" y="60"/>
                      </a:lnTo>
                      <a:lnTo>
                        <a:pt x="36" y="56"/>
                      </a:lnTo>
                      <a:lnTo>
                        <a:pt x="40" y="46"/>
                      </a:lnTo>
                      <a:lnTo>
                        <a:pt x="44" y="37"/>
                      </a:lnTo>
                      <a:lnTo>
                        <a:pt x="48" y="33"/>
                      </a:lnTo>
                      <a:lnTo>
                        <a:pt x="51" y="30"/>
                      </a:lnTo>
                      <a:lnTo>
                        <a:pt x="51" y="28"/>
                      </a:lnTo>
                      <a:lnTo>
                        <a:pt x="51" y="25"/>
                      </a:lnTo>
                      <a:lnTo>
                        <a:pt x="50" y="23"/>
                      </a:lnTo>
                      <a:lnTo>
                        <a:pt x="48" y="21"/>
                      </a:lnTo>
                      <a:lnTo>
                        <a:pt x="47" y="20"/>
                      </a:lnTo>
                      <a:lnTo>
                        <a:pt x="47" y="21"/>
                      </a:lnTo>
                      <a:lnTo>
                        <a:pt x="46" y="23"/>
                      </a:lnTo>
                      <a:lnTo>
                        <a:pt x="46" y="25"/>
                      </a:lnTo>
                      <a:lnTo>
                        <a:pt x="46" y="21"/>
                      </a:lnTo>
                      <a:lnTo>
                        <a:pt x="44" y="18"/>
                      </a:lnTo>
                      <a:lnTo>
                        <a:pt x="41" y="17"/>
                      </a:lnTo>
                      <a:lnTo>
                        <a:pt x="40" y="18"/>
                      </a:lnTo>
                      <a:lnTo>
                        <a:pt x="38" y="14"/>
                      </a:lnTo>
                      <a:lnTo>
                        <a:pt x="34" y="10"/>
                      </a:lnTo>
                      <a:lnTo>
                        <a:pt x="28" y="7"/>
                      </a:lnTo>
                      <a:lnTo>
                        <a:pt x="24" y="4"/>
                      </a:lnTo>
                      <a:lnTo>
                        <a:pt x="20" y="4"/>
                      </a:lnTo>
                      <a:lnTo>
                        <a:pt x="20" y="4"/>
                      </a:lnTo>
                      <a:lnTo>
                        <a:pt x="18" y="2"/>
                      </a:lnTo>
                      <a:lnTo>
                        <a:pt x="14" y="1"/>
                      </a:lnTo>
                      <a:lnTo>
                        <a:pt x="13" y="0"/>
                      </a:lnTo>
                      <a:lnTo>
                        <a:pt x="11" y="1"/>
                      </a:lnTo>
                      <a:lnTo>
                        <a:pt x="10" y="2"/>
                      </a:lnTo>
                      <a:lnTo>
                        <a:pt x="8" y="5"/>
                      </a:lnTo>
                      <a:lnTo>
                        <a:pt x="7" y="7"/>
                      </a:lnTo>
                      <a:lnTo>
                        <a:pt x="2" y="14"/>
                      </a:lnTo>
                      <a:lnTo>
                        <a:pt x="1" y="2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47" name="Freeform 240">
                  <a:extLst>
                    <a:ext uri="{FF2B5EF4-FFF2-40B4-BE49-F238E27FC236}">
                      <a16:creationId xmlns:a16="http://schemas.microsoft.com/office/drawing/2014/main" id="{C7332C40-04FE-DCCD-7329-DAB1EC3CA4A6}"/>
                    </a:ext>
                  </a:extLst>
                </p:cNvPr>
                <p:cNvSpPr>
                  <a:spLocks/>
                </p:cNvSpPr>
                <p:nvPr/>
              </p:nvSpPr>
              <p:spPr bwMode="auto">
                <a:xfrm>
                  <a:off x="2468" y="2567"/>
                  <a:ext cx="87" cy="129"/>
                </a:xfrm>
                <a:custGeom>
                  <a:avLst/>
                  <a:gdLst>
                    <a:gd name="T0" fmla="*/ 23 w 87"/>
                    <a:gd name="T1" fmla="*/ 8 h 129"/>
                    <a:gd name="T2" fmla="*/ 16 w 87"/>
                    <a:gd name="T3" fmla="*/ 14 h 129"/>
                    <a:gd name="T4" fmla="*/ 12 w 87"/>
                    <a:gd name="T5" fmla="*/ 18 h 129"/>
                    <a:gd name="T6" fmla="*/ 13 w 87"/>
                    <a:gd name="T7" fmla="*/ 23 h 129"/>
                    <a:gd name="T8" fmla="*/ 16 w 87"/>
                    <a:gd name="T9" fmla="*/ 24 h 129"/>
                    <a:gd name="T10" fmla="*/ 18 w 87"/>
                    <a:gd name="T11" fmla="*/ 28 h 129"/>
                    <a:gd name="T12" fmla="*/ 6 w 87"/>
                    <a:gd name="T13" fmla="*/ 33 h 129"/>
                    <a:gd name="T14" fmla="*/ 5 w 87"/>
                    <a:gd name="T15" fmla="*/ 40 h 129"/>
                    <a:gd name="T16" fmla="*/ 3 w 87"/>
                    <a:gd name="T17" fmla="*/ 43 h 129"/>
                    <a:gd name="T18" fmla="*/ 0 w 87"/>
                    <a:gd name="T19" fmla="*/ 46 h 129"/>
                    <a:gd name="T20" fmla="*/ 12 w 87"/>
                    <a:gd name="T21" fmla="*/ 59 h 129"/>
                    <a:gd name="T22" fmla="*/ 16 w 87"/>
                    <a:gd name="T23" fmla="*/ 59 h 129"/>
                    <a:gd name="T24" fmla="*/ 21 w 87"/>
                    <a:gd name="T25" fmla="*/ 59 h 129"/>
                    <a:gd name="T26" fmla="*/ 23 w 87"/>
                    <a:gd name="T27" fmla="*/ 61 h 129"/>
                    <a:gd name="T28" fmla="*/ 22 w 87"/>
                    <a:gd name="T29" fmla="*/ 69 h 129"/>
                    <a:gd name="T30" fmla="*/ 25 w 87"/>
                    <a:gd name="T31" fmla="*/ 72 h 129"/>
                    <a:gd name="T32" fmla="*/ 29 w 87"/>
                    <a:gd name="T33" fmla="*/ 73 h 129"/>
                    <a:gd name="T34" fmla="*/ 31 w 87"/>
                    <a:gd name="T35" fmla="*/ 77 h 129"/>
                    <a:gd name="T36" fmla="*/ 32 w 87"/>
                    <a:gd name="T37" fmla="*/ 82 h 129"/>
                    <a:gd name="T38" fmla="*/ 29 w 87"/>
                    <a:gd name="T39" fmla="*/ 86 h 129"/>
                    <a:gd name="T40" fmla="*/ 28 w 87"/>
                    <a:gd name="T41" fmla="*/ 87 h 129"/>
                    <a:gd name="T42" fmla="*/ 28 w 87"/>
                    <a:gd name="T43" fmla="*/ 90 h 129"/>
                    <a:gd name="T44" fmla="*/ 25 w 87"/>
                    <a:gd name="T45" fmla="*/ 103 h 129"/>
                    <a:gd name="T46" fmla="*/ 28 w 87"/>
                    <a:gd name="T47" fmla="*/ 110 h 129"/>
                    <a:gd name="T48" fmla="*/ 29 w 87"/>
                    <a:gd name="T49" fmla="*/ 113 h 129"/>
                    <a:gd name="T50" fmla="*/ 29 w 87"/>
                    <a:gd name="T51" fmla="*/ 117 h 129"/>
                    <a:gd name="T52" fmla="*/ 36 w 87"/>
                    <a:gd name="T53" fmla="*/ 125 h 129"/>
                    <a:gd name="T54" fmla="*/ 45 w 87"/>
                    <a:gd name="T55" fmla="*/ 129 h 129"/>
                    <a:gd name="T56" fmla="*/ 51 w 87"/>
                    <a:gd name="T57" fmla="*/ 126 h 129"/>
                    <a:gd name="T58" fmla="*/ 54 w 87"/>
                    <a:gd name="T59" fmla="*/ 123 h 129"/>
                    <a:gd name="T60" fmla="*/ 58 w 87"/>
                    <a:gd name="T61" fmla="*/ 123 h 129"/>
                    <a:gd name="T62" fmla="*/ 59 w 87"/>
                    <a:gd name="T63" fmla="*/ 122 h 129"/>
                    <a:gd name="T64" fmla="*/ 64 w 87"/>
                    <a:gd name="T65" fmla="*/ 120 h 129"/>
                    <a:gd name="T66" fmla="*/ 69 w 87"/>
                    <a:gd name="T67" fmla="*/ 117 h 129"/>
                    <a:gd name="T68" fmla="*/ 75 w 87"/>
                    <a:gd name="T69" fmla="*/ 116 h 129"/>
                    <a:gd name="T70" fmla="*/ 81 w 87"/>
                    <a:gd name="T71" fmla="*/ 117 h 129"/>
                    <a:gd name="T72" fmla="*/ 87 w 87"/>
                    <a:gd name="T73" fmla="*/ 116 h 129"/>
                    <a:gd name="T74" fmla="*/ 82 w 87"/>
                    <a:gd name="T75" fmla="*/ 115 h 129"/>
                    <a:gd name="T76" fmla="*/ 74 w 87"/>
                    <a:gd name="T77" fmla="*/ 99 h 129"/>
                    <a:gd name="T78" fmla="*/ 71 w 87"/>
                    <a:gd name="T79" fmla="*/ 92 h 129"/>
                    <a:gd name="T80" fmla="*/ 68 w 87"/>
                    <a:gd name="T81" fmla="*/ 92 h 129"/>
                    <a:gd name="T82" fmla="*/ 59 w 87"/>
                    <a:gd name="T83" fmla="*/ 79 h 129"/>
                    <a:gd name="T84" fmla="*/ 61 w 87"/>
                    <a:gd name="T85" fmla="*/ 70 h 129"/>
                    <a:gd name="T86" fmla="*/ 66 w 87"/>
                    <a:gd name="T87" fmla="*/ 63 h 129"/>
                    <a:gd name="T88" fmla="*/ 72 w 87"/>
                    <a:gd name="T89" fmla="*/ 60 h 129"/>
                    <a:gd name="T90" fmla="*/ 72 w 87"/>
                    <a:gd name="T91" fmla="*/ 59 h 129"/>
                    <a:gd name="T92" fmla="*/ 72 w 87"/>
                    <a:gd name="T93" fmla="*/ 56 h 129"/>
                    <a:gd name="T94" fmla="*/ 74 w 87"/>
                    <a:gd name="T95" fmla="*/ 47 h 129"/>
                    <a:gd name="T96" fmla="*/ 72 w 87"/>
                    <a:gd name="T97" fmla="*/ 40 h 129"/>
                    <a:gd name="T98" fmla="*/ 68 w 87"/>
                    <a:gd name="T99" fmla="*/ 38 h 129"/>
                    <a:gd name="T100" fmla="*/ 59 w 87"/>
                    <a:gd name="T101" fmla="*/ 31 h 129"/>
                    <a:gd name="T102" fmla="*/ 52 w 87"/>
                    <a:gd name="T103" fmla="*/ 31 h 129"/>
                    <a:gd name="T104" fmla="*/ 48 w 87"/>
                    <a:gd name="T105" fmla="*/ 38 h 129"/>
                    <a:gd name="T106" fmla="*/ 51 w 87"/>
                    <a:gd name="T107" fmla="*/ 21 h 129"/>
                    <a:gd name="T108" fmla="*/ 43 w 87"/>
                    <a:gd name="T109" fmla="*/ 13 h 129"/>
                    <a:gd name="T110" fmla="*/ 29 w 87"/>
                    <a:gd name="T111" fmla="*/ 3 h 129"/>
                    <a:gd name="T112" fmla="*/ 25 w 87"/>
                    <a:gd name="T113" fmla="*/ 1 h 129"/>
                    <a:gd name="T114" fmla="*/ 26 w 87"/>
                    <a:gd name="T115" fmla="*/ 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 h="129">
                      <a:moveTo>
                        <a:pt x="26" y="4"/>
                      </a:moveTo>
                      <a:lnTo>
                        <a:pt x="26" y="7"/>
                      </a:lnTo>
                      <a:lnTo>
                        <a:pt x="23" y="8"/>
                      </a:lnTo>
                      <a:lnTo>
                        <a:pt x="21" y="11"/>
                      </a:lnTo>
                      <a:lnTo>
                        <a:pt x="18" y="13"/>
                      </a:lnTo>
                      <a:lnTo>
                        <a:pt x="16" y="14"/>
                      </a:lnTo>
                      <a:lnTo>
                        <a:pt x="13" y="15"/>
                      </a:lnTo>
                      <a:lnTo>
                        <a:pt x="13" y="17"/>
                      </a:lnTo>
                      <a:lnTo>
                        <a:pt x="12" y="18"/>
                      </a:lnTo>
                      <a:lnTo>
                        <a:pt x="13" y="18"/>
                      </a:lnTo>
                      <a:lnTo>
                        <a:pt x="13" y="20"/>
                      </a:lnTo>
                      <a:lnTo>
                        <a:pt x="13" y="23"/>
                      </a:lnTo>
                      <a:lnTo>
                        <a:pt x="13" y="23"/>
                      </a:lnTo>
                      <a:lnTo>
                        <a:pt x="13" y="24"/>
                      </a:lnTo>
                      <a:lnTo>
                        <a:pt x="16" y="24"/>
                      </a:lnTo>
                      <a:lnTo>
                        <a:pt x="18" y="24"/>
                      </a:lnTo>
                      <a:lnTo>
                        <a:pt x="19" y="26"/>
                      </a:lnTo>
                      <a:lnTo>
                        <a:pt x="18" y="28"/>
                      </a:lnTo>
                      <a:lnTo>
                        <a:pt x="16" y="30"/>
                      </a:lnTo>
                      <a:lnTo>
                        <a:pt x="13" y="30"/>
                      </a:lnTo>
                      <a:lnTo>
                        <a:pt x="6" y="33"/>
                      </a:lnTo>
                      <a:lnTo>
                        <a:pt x="5" y="33"/>
                      </a:lnTo>
                      <a:lnTo>
                        <a:pt x="3" y="34"/>
                      </a:lnTo>
                      <a:lnTo>
                        <a:pt x="5" y="40"/>
                      </a:lnTo>
                      <a:lnTo>
                        <a:pt x="5" y="40"/>
                      </a:lnTo>
                      <a:lnTo>
                        <a:pt x="3" y="41"/>
                      </a:lnTo>
                      <a:lnTo>
                        <a:pt x="3" y="43"/>
                      </a:lnTo>
                      <a:lnTo>
                        <a:pt x="2" y="44"/>
                      </a:lnTo>
                      <a:lnTo>
                        <a:pt x="0" y="44"/>
                      </a:lnTo>
                      <a:lnTo>
                        <a:pt x="0" y="46"/>
                      </a:lnTo>
                      <a:lnTo>
                        <a:pt x="0" y="47"/>
                      </a:lnTo>
                      <a:lnTo>
                        <a:pt x="2" y="50"/>
                      </a:lnTo>
                      <a:lnTo>
                        <a:pt x="12" y="59"/>
                      </a:lnTo>
                      <a:lnTo>
                        <a:pt x="13" y="59"/>
                      </a:lnTo>
                      <a:lnTo>
                        <a:pt x="15" y="59"/>
                      </a:lnTo>
                      <a:lnTo>
                        <a:pt x="16" y="59"/>
                      </a:lnTo>
                      <a:lnTo>
                        <a:pt x="18" y="59"/>
                      </a:lnTo>
                      <a:lnTo>
                        <a:pt x="19" y="59"/>
                      </a:lnTo>
                      <a:lnTo>
                        <a:pt x="21" y="59"/>
                      </a:lnTo>
                      <a:lnTo>
                        <a:pt x="22" y="59"/>
                      </a:lnTo>
                      <a:lnTo>
                        <a:pt x="23" y="60"/>
                      </a:lnTo>
                      <a:lnTo>
                        <a:pt x="23" y="61"/>
                      </a:lnTo>
                      <a:lnTo>
                        <a:pt x="25" y="63"/>
                      </a:lnTo>
                      <a:lnTo>
                        <a:pt x="23" y="64"/>
                      </a:lnTo>
                      <a:lnTo>
                        <a:pt x="22" y="69"/>
                      </a:lnTo>
                      <a:lnTo>
                        <a:pt x="22" y="70"/>
                      </a:lnTo>
                      <a:lnTo>
                        <a:pt x="23" y="72"/>
                      </a:lnTo>
                      <a:lnTo>
                        <a:pt x="25" y="72"/>
                      </a:lnTo>
                      <a:lnTo>
                        <a:pt x="26" y="72"/>
                      </a:lnTo>
                      <a:lnTo>
                        <a:pt x="28" y="73"/>
                      </a:lnTo>
                      <a:lnTo>
                        <a:pt x="29" y="73"/>
                      </a:lnTo>
                      <a:lnTo>
                        <a:pt x="29" y="74"/>
                      </a:lnTo>
                      <a:lnTo>
                        <a:pt x="29" y="76"/>
                      </a:lnTo>
                      <a:lnTo>
                        <a:pt x="31" y="77"/>
                      </a:lnTo>
                      <a:lnTo>
                        <a:pt x="31" y="79"/>
                      </a:lnTo>
                      <a:lnTo>
                        <a:pt x="32" y="80"/>
                      </a:lnTo>
                      <a:lnTo>
                        <a:pt x="32" y="82"/>
                      </a:lnTo>
                      <a:lnTo>
                        <a:pt x="32" y="83"/>
                      </a:lnTo>
                      <a:lnTo>
                        <a:pt x="31" y="84"/>
                      </a:lnTo>
                      <a:lnTo>
                        <a:pt x="29" y="86"/>
                      </a:lnTo>
                      <a:lnTo>
                        <a:pt x="29" y="86"/>
                      </a:lnTo>
                      <a:lnTo>
                        <a:pt x="28" y="87"/>
                      </a:lnTo>
                      <a:lnTo>
                        <a:pt x="28" y="87"/>
                      </a:lnTo>
                      <a:lnTo>
                        <a:pt x="28" y="87"/>
                      </a:lnTo>
                      <a:lnTo>
                        <a:pt x="28" y="89"/>
                      </a:lnTo>
                      <a:lnTo>
                        <a:pt x="28" y="90"/>
                      </a:lnTo>
                      <a:lnTo>
                        <a:pt x="25" y="97"/>
                      </a:lnTo>
                      <a:lnTo>
                        <a:pt x="25" y="100"/>
                      </a:lnTo>
                      <a:lnTo>
                        <a:pt x="25" y="103"/>
                      </a:lnTo>
                      <a:lnTo>
                        <a:pt x="25" y="106"/>
                      </a:lnTo>
                      <a:lnTo>
                        <a:pt x="26" y="109"/>
                      </a:lnTo>
                      <a:lnTo>
                        <a:pt x="28" y="110"/>
                      </a:lnTo>
                      <a:lnTo>
                        <a:pt x="28" y="110"/>
                      </a:lnTo>
                      <a:lnTo>
                        <a:pt x="28" y="112"/>
                      </a:lnTo>
                      <a:lnTo>
                        <a:pt x="29" y="113"/>
                      </a:lnTo>
                      <a:lnTo>
                        <a:pt x="29" y="113"/>
                      </a:lnTo>
                      <a:lnTo>
                        <a:pt x="29" y="116"/>
                      </a:lnTo>
                      <a:lnTo>
                        <a:pt x="29" y="117"/>
                      </a:lnTo>
                      <a:lnTo>
                        <a:pt x="31" y="120"/>
                      </a:lnTo>
                      <a:lnTo>
                        <a:pt x="33" y="122"/>
                      </a:lnTo>
                      <a:lnTo>
                        <a:pt x="36" y="125"/>
                      </a:lnTo>
                      <a:lnTo>
                        <a:pt x="39" y="126"/>
                      </a:lnTo>
                      <a:lnTo>
                        <a:pt x="42" y="128"/>
                      </a:lnTo>
                      <a:lnTo>
                        <a:pt x="45" y="129"/>
                      </a:lnTo>
                      <a:lnTo>
                        <a:pt x="48" y="129"/>
                      </a:lnTo>
                      <a:lnTo>
                        <a:pt x="51" y="128"/>
                      </a:lnTo>
                      <a:lnTo>
                        <a:pt x="51" y="126"/>
                      </a:lnTo>
                      <a:lnTo>
                        <a:pt x="52" y="125"/>
                      </a:lnTo>
                      <a:lnTo>
                        <a:pt x="52" y="123"/>
                      </a:lnTo>
                      <a:lnTo>
                        <a:pt x="54" y="123"/>
                      </a:lnTo>
                      <a:lnTo>
                        <a:pt x="55" y="123"/>
                      </a:lnTo>
                      <a:lnTo>
                        <a:pt x="56" y="123"/>
                      </a:lnTo>
                      <a:lnTo>
                        <a:pt x="58" y="123"/>
                      </a:lnTo>
                      <a:lnTo>
                        <a:pt x="59" y="123"/>
                      </a:lnTo>
                      <a:lnTo>
                        <a:pt x="59" y="123"/>
                      </a:lnTo>
                      <a:lnTo>
                        <a:pt x="59" y="122"/>
                      </a:lnTo>
                      <a:lnTo>
                        <a:pt x="59" y="122"/>
                      </a:lnTo>
                      <a:lnTo>
                        <a:pt x="61" y="122"/>
                      </a:lnTo>
                      <a:lnTo>
                        <a:pt x="64" y="120"/>
                      </a:lnTo>
                      <a:lnTo>
                        <a:pt x="66" y="120"/>
                      </a:lnTo>
                      <a:lnTo>
                        <a:pt x="68" y="119"/>
                      </a:lnTo>
                      <a:lnTo>
                        <a:pt x="69" y="117"/>
                      </a:lnTo>
                      <a:lnTo>
                        <a:pt x="71" y="116"/>
                      </a:lnTo>
                      <a:lnTo>
                        <a:pt x="74" y="116"/>
                      </a:lnTo>
                      <a:lnTo>
                        <a:pt x="75" y="116"/>
                      </a:lnTo>
                      <a:lnTo>
                        <a:pt x="77" y="116"/>
                      </a:lnTo>
                      <a:lnTo>
                        <a:pt x="78" y="117"/>
                      </a:lnTo>
                      <a:lnTo>
                        <a:pt x="81" y="117"/>
                      </a:lnTo>
                      <a:lnTo>
                        <a:pt x="82" y="117"/>
                      </a:lnTo>
                      <a:lnTo>
                        <a:pt x="84" y="117"/>
                      </a:lnTo>
                      <a:lnTo>
                        <a:pt x="87" y="116"/>
                      </a:lnTo>
                      <a:lnTo>
                        <a:pt x="85" y="116"/>
                      </a:lnTo>
                      <a:lnTo>
                        <a:pt x="84" y="115"/>
                      </a:lnTo>
                      <a:lnTo>
                        <a:pt x="82" y="115"/>
                      </a:lnTo>
                      <a:lnTo>
                        <a:pt x="81" y="113"/>
                      </a:lnTo>
                      <a:lnTo>
                        <a:pt x="74" y="100"/>
                      </a:lnTo>
                      <a:lnTo>
                        <a:pt x="74" y="99"/>
                      </a:lnTo>
                      <a:lnTo>
                        <a:pt x="72" y="92"/>
                      </a:lnTo>
                      <a:lnTo>
                        <a:pt x="72" y="92"/>
                      </a:lnTo>
                      <a:lnTo>
                        <a:pt x="71" y="92"/>
                      </a:lnTo>
                      <a:lnTo>
                        <a:pt x="69" y="92"/>
                      </a:lnTo>
                      <a:lnTo>
                        <a:pt x="69" y="92"/>
                      </a:lnTo>
                      <a:lnTo>
                        <a:pt x="68" y="92"/>
                      </a:lnTo>
                      <a:lnTo>
                        <a:pt x="66" y="90"/>
                      </a:lnTo>
                      <a:lnTo>
                        <a:pt x="61" y="82"/>
                      </a:lnTo>
                      <a:lnTo>
                        <a:pt x="59" y="79"/>
                      </a:lnTo>
                      <a:lnTo>
                        <a:pt x="59" y="77"/>
                      </a:lnTo>
                      <a:lnTo>
                        <a:pt x="61" y="74"/>
                      </a:lnTo>
                      <a:lnTo>
                        <a:pt x="61" y="70"/>
                      </a:lnTo>
                      <a:lnTo>
                        <a:pt x="62" y="67"/>
                      </a:lnTo>
                      <a:lnTo>
                        <a:pt x="64" y="64"/>
                      </a:lnTo>
                      <a:lnTo>
                        <a:pt x="66" y="63"/>
                      </a:lnTo>
                      <a:lnTo>
                        <a:pt x="69" y="61"/>
                      </a:lnTo>
                      <a:lnTo>
                        <a:pt x="71" y="61"/>
                      </a:lnTo>
                      <a:lnTo>
                        <a:pt x="72" y="60"/>
                      </a:lnTo>
                      <a:lnTo>
                        <a:pt x="74" y="59"/>
                      </a:lnTo>
                      <a:lnTo>
                        <a:pt x="74" y="59"/>
                      </a:lnTo>
                      <a:lnTo>
                        <a:pt x="72" y="59"/>
                      </a:lnTo>
                      <a:lnTo>
                        <a:pt x="72" y="57"/>
                      </a:lnTo>
                      <a:lnTo>
                        <a:pt x="72" y="56"/>
                      </a:lnTo>
                      <a:lnTo>
                        <a:pt x="72" y="56"/>
                      </a:lnTo>
                      <a:lnTo>
                        <a:pt x="72" y="54"/>
                      </a:lnTo>
                      <a:lnTo>
                        <a:pt x="74" y="53"/>
                      </a:lnTo>
                      <a:lnTo>
                        <a:pt x="74" y="47"/>
                      </a:lnTo>
                      <a:lnTo>
                        <a:pt x="74" y="44"/>
                      </a:lnTo>
                      <a:lnTo>
                        <a:pt x="74" y="41"/>
                      </a:lnTo>
                      <a:lnTo>
                        <a:pt x="72" y="40"/>
                      </a:lnTo>
                      <a:lnTo>
                        <a:pt x="71" y="40"/>
                      </a:lnTo>
                      <a:lnTo>
                        <a:pt x="69" y="40"/>
                      </a:lnTo>
                      <a:lnTo>
                        <a:pt x="68" y="38"/>
                      </a:lnTo>
                      <a:lnTo>
                        <a:pt x="66" y="38"/>
                      </a:lnTo>
                      <a:lnTo>
                        <a:pt x="62" y="33"/>
                      </a:lnTo>
                      <a:lnTo>
                        <a:pt x="59" y="31"/>
                      </a:lnTo>
                      <a:lnTo>
                        <a:pt x="56" y="30"/>
                      </a:lnTo>
                      <a:lnTo>
                        <a:pt x="55" y="30"/>
                      </a:lnTo>
                      <a:lnTo>
                        <a:pt x="52" y="31"/>
                      </a:lnTo>
                      <a:lnTo>
                        <a:pt x="51" y="33"/>
                      </a:lnTo>
                      <a:lnTo>
                        <a:pt x="49" y="36"/>
                      </a:lnTo>
                      <a:lnTo>
                        <a:pt x="48" y="38"/>
                      </a:lnTo>
                      <a:lnTo>
                        <a:pt x="49" y="36"/>
                      </a:lnTo>
                      <a:lnTo>
                        <a:pt x="51" y="24"/>
                      </a:lnTo>
                      <a:lnTo>
                        <a:pt x="51" y="21"/>
                      </a:lnTo>
                      <a:lnTo>
                        <a:pt x="49" y="20"/>
                      </a:lnTo>
                      <a:lnTo>
                        <a:pt x="48" y="17"/>
                      </a:lnTo>
                      <a:lnTo>
                        <a:pt x="43" y="13"/>
                      </a:lnTo>
                      <a:lnTo>
                        <a:pt x="39" y="8"/>
                      </a:lnTo>
                      <a:lnTo>
                        <a:pt x="35" y="5"/>
                      </a:lnTo>
                      <a:lnTo>
                        <a:pt x="29" y="3"/>
                      </a:lnTo>
                      <a:lnTo>
                        <a:pt x="28" y="3"/>
                      </a:lnTo>
                      <a:lnTo>
                        <a:pt x="26" y="3"/>
                      </a:lnTo>
                      <a:lnTo>
                        <a:pt x="25" y="1"/>
                      </a:lnTo>
                      <a:lnTo>
                        <a:pt x="25" y="0"/>
                      </a:lnTo>
                      <a:lnTo>
                        <a:pt x="26" y="3"/>
                      </a:lnTo>
                      <a:lnTo>
                        <a:pt x="26" y="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48" name="Freeform 241">
                  <a:extLst>
                    <a:ext uri="{FF2B5EF4-FFF2-40B4-BE49-F238E27FC236}">
                      <a16:creationId xmlns:a16="http://schemas.microsoft.com/office/drawing/2014/main" id="{8945C762-A444-5ECD-B999-9F0FD6AC4394}"/>
                    </a:ext>
                  </a:extLst>
                </p:cNvPr>
                <p:cNvSpPr>
                  <a:spLocks/>
                </p:cNvSpPr>
                <p:nvPr/>
              </p:nvSpPr>
              <p:spPr bwMode="auto">
                <a:xfrm>
                  <a:off x="2527" y="2613"/>
                  <a:ext cx="71" cy="71"/>
                </a:xfrm>
                <a:custGeom>
                  <a:avLst/>
                  <a:gdLst>
                    <a:gd name="T0" fmla="*/ 13 w 71"/>
                    <a:gd name="T1" fmla="*/ 10 h 71"/>
                    <a:gd name="T2" fmla="*/ 13 w 71"/>
                    <a:gd name="T3" fmla="*/ 13 h 71"/>
                    <a:gd name="T4" fmla="*/ 15 w 71"/>
                    <a:gd name="T5" fmla="*/ 13 h 71"/>
                    <a:gd name="T6" fmla="*/ 12 w 71"/>
                    <a:gd name="T7" fmla="*/ 15 h 71"/>
                    <a:gd name="T8" fmla="*/ 7 w 71"/>
                    <a:gd name="T9" fmla="*/ 17 h 71"/>
                    <a:gd name="T10" fmla="*/ 3 w 71"/>
                    <a:gd name="T11" fmla="*/ 21 h 71"/>
                    <a:gd name="T12" fmla="*/ 2 w 71"/>
                    <a:gd name="T13" fmla="*/ 28 h 71"/>
                    <a:gd name="T14" fmla="*/ 0 w 71"/>
                    <a:gd name="T15" fmla="*/ 33 h 71"/>
                    <a:gd name="T16" fmla="*/ 7 w 71"/>
                    <a:gd name="T17" fmla="*/ 44 h 71"/>
                    <a:gd name="T18" fmla="*/ 10 w 71"/>
                    <a:gd name="T19" fmla="*/ 46 h 71"/>
                    <a:gd name="T20" fmla="*/ 12 w 71"/>
                    <a:gd name="T21" fmla="*/ 46 h 71"/>
                    <a:gd name="T22" fmla="*/ 13 w 71"/>
                    <a:gd name="T23" fmla="*/ 46 h 71"/>
                    <a:gd name="T24" fmla="*/ 15 w 71"/>
                    <a:gd name="T25" fmla="*/ 54 h 71"/>
                    <a:gd name="T26" fmla="*/ 23 w 71"/>
                    <a:gd name="T27" fmla="*/ 69 h 71"/>
                    <a:gd name="T28" fmla="*/ 26 w 71"/>
                    <a:gd name="T29" fmla="*/ 70 h 71"/>
                    <a:gd name="T30" fmla="*/ 33 w 71"/>
                    <a:gd name="T31" fmla="*/ 71 h 71"/>
                    <a:gd name="T32" fmla="*/ 38 w 71"/>
                    <a:gd name="T33" fmla="*/ 69 h 71"/>
                    <a:gd name="T34" fmla="*/ 35 w 71"/>
                    <a:gd name="T35" fmla="*/ 66 h 71"/>
                    <a:gd name="T36" fmla="*/ 35 w 71"/>
                    <a:gd name="T37" fmla="*/ 63 h 71"/>
                    <a:gd name="T38" fmla="*/ 36 w 71"/>
                    <a:gd name="T39" fmla="*/ 61 h 71"/>
                    <a:gd name="T40" fmla="*/ 42 w 71"/>
                    <a:gd name="T41" fmla="*/ 61 h 71"/>
                    <a:gd name="T42" fmla="*/ 45 w 71"/>
                    <a:gd name="T43" fmla="*/ 61 h 71"/>
                    <a:gd name="T44" fmla="*/ 53 w 71"/>
                    <a:gd name="T45" fmla="*/ 59 h 71"/>
                    <a:gd name="T46" fmla="*/ 56 w 71"/>
                    <a:gd name="T47" fmla="*/ 61 h 71"/>
                    <a:gd name="T48" fmla="*/ 63 w 71"/>
                    <a:gd name="T49" fmla="*/ 61 h 71"/>
                    <a:gd name="T50" fmla="*/ 66 w 71"/>
                    <a:gd name="T51" fmla="*/ 54 h 71"/>
                    <a:gd name="T52" fmla="*/ 69 w 71"/>
                    <a:gd name="T53" fmla="*/ 47 h 71"/>
                    <a:gd name="T54" fmla="*/ 71 w 71"/>
                    <a:gd name="T55" fmla="*/ 41 h 71"/>
                    <a:gd name="T56" fmla="*/ 62 w 71"/>
                    <a:gd name="T57" fmla="*/ 24 h 71"/>
                    <a:gd name="T58" fmla="*/ 68 w 71"/>
                    <a:gd name="T59" fmla="*/ 10 h 71"/>
                    <a:gd name="T60" fmla="*/ 71 w 71"/>
                    <a:gd name="T61" fmla="*/ 5 h 71"/>
                    <a:gd name="T62" fmla="*/ 68 w 71"/>
                    <a:gd name="T63" fmla="*/ 1 h 71"/>
                    <a:gd name="T64" fmla="*/ 62 w 71"/>
                    <a:gd name="T65" fmla="*/ 0 h 71"/>
                    <a:gd name="T66" fmla="*/ 39 w 71"/>
                    <a:gd name="T67" fmla="*/ 0 h 71"/>
                    <a:gd name="T68" fmla="*/ 38 w 71"/>
                    <a:gd name="T69" fmla="*/ 4 h 71"/>
                    <a:gd name="T70" fmla="*/ 32 w 71"/>
                    <a:gd name="T71" fmla="*/ 1 h 71"/>
                    <a:gd name="T72" fmla="*/ 19 w 71"/>
                    <a:gd name="T73" fmla="*/ 0 h 71"/>
                    <a:gd name="T74" fmla="*/ 16 w 71"/>
                    <a:gd name="T75" fmla="*/ 1 h 71"/>
                    <a:gd name="T76" fmla="*/ 16 w 71"/>
                    <a:gd name="T77" fmla="*/ 5 h 71"/>
                    <a:gd name="T78" fmla="*/ 13 w 71"/>
                    <a:gd name="T79" fmla="*/ 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 h="71">
                      <a:moveTo>
                        <a:pt x="13" y="10"/>
                      </a:moveTo>
                      <a:lnTo>
                        <a:pt x="13" y="10"/>
                      </a:lnTo>
                      <a:lnTo>
                        <a:pt x="13" y="11"/>
                      </a:lnTo>
                      <a:lnTo>
                        <a:pt x="13" y="13"/>
                      </a:lnTo>
                      <a:lnTo>
                        <a:pt x="15" y="13"/>
                      </a:lnTo>
                      <a:lnTo>
                        <a:pt x="15" y="13"/>
                      </a:lnTo>
                      <a:lnTo>
                        <a:pt x="13" y="14"/>
                      </a:lnTo>
                      <a:lnTo>
                        <a:pt x="12" y="15"/>
                      </a:lnTo>
                      <a:lnTo>
                        <a:pt x="10" y="15"/>
                      </a:lnTo>
                      <a:lnTo>
                        <a:pt x="7" y="17"/>
                      </a:lnTo>
                      <a:lnTo>
                        <a:pt x="5" y="18"/>
                      </a:lnTo>
                      <a:lnTo>
                        <a:pt x="3" y="21"/>
                      </a:lnTo>
                      <a:lnTo>
                        <a:pt x="2" y="24"/>
                      </a:lnTo>
                      <a:lnTo>
                        <a:pt x="2" y="28"/>
                      </a:lnTo>
                      <a:lnTo>
                        <a:pt x="0" y="31"/>
                      </a:lnTo>
                      <a:lnTo>
                        <a:pt x="0" y="33"/>
                      </a:lnTo>
                      <a:lnTo>
                        <a:pt x="2" y="36"/>
                      </a:lnTo>
                      <a:lnTo>
                        <a:pt x="7" y="44"/>
                      </a:lnTo>
                      <a:lnTo>
                        <a:pt x="9" y="46"/>
                      </a:lnTo>
                      <a:lnTo>
                        <a:pt x="10" y="46"/>
                      </a:lnTo>
                      <a:lnTo>
                        <a:pt x="10" y="46"/>
                      </a:lnTo>
                      <a:lnTo>
                        <a:pt x="12" y="46"/>
                      </a:lnTo>
                      <a:lnTo>
                        <a:pt x="13" y="46"/>
                      </a:lnTo>
                      <a:lnTo>
                        <a:pt x="13" y="46"/>
                      </a:lnTo>
                      <a:lnTo>
                        <a:pt x="15" y="53"/>
                      </a:lnTo>
                      <a:lnTo>
                        <a:pt x="15" y="54"/>
                      </a:lnTo>
                      <a:lnTo>
                        <a:pt x="22" y="67"/>
                      </a:lnTo>
                      <a:lnTo>
                        <a:pt x="23" y="69"/>
                      </a:lnTo>
                      <a:lnTo>
                        <a:pt x="25" y="69"/>
                      </a:lnTo>
                      <a:lnTo>
                        <a:pt x="26" y="70"/>
                      </a:lnTo>
                      <a:lnTo>
                        <a:pt x="28" y="70"/>
                      </a:lnTo>
                      <a:lnTo>
                        <a:pt x="33" y="71"/>
                      </a:lnTo>
                      <a:lnTo>
                        <a:pt x="36" y="71"/>
                      </a:lnTo>
                      <a:lnTo>
                        <a:pt x="38" y="69"/>
                      </a:lnTo>
                      <a:lnTo>
                        <a:pt x="36" y="67"/>
                      </a:lnTo>
                      <a:lnTo>
                        <a:pt x="35" y="66"/>
                      </a:lnTo>
                      <a:lnTo>
                        <a:pt x="35" y="64"/>
                      </a:lnTo>
                      <a:lnTo>
                        <a:pt x="35" y="63"/>
                      </a:lnTo>
                      <a:lnTo>
                        <a:pt x="36" y="61"/>
                      </a:lnTo>
                      <a:lnTo>
                        <a:pt x="36" y="61"/>
                      </a:lnTo>
                      <a:lnTo>
                        <a:pt x="41" y="61"/>
                      </a:lnTo>
                      <a:lnTo>
                        <a:pt x="42" y="61"/>
                      </a:lnTo>
                      <a:lnTo>
                        <a:pt x="43" y="61"/>
                      </a:lnTo>
                      <a:lnTo>
                        <a:pt x="45" y="61"/>
                      </a:lnTo>
                      <a:lnTo>
                        <a:pt x="52" y="60"/>
                      </a:lnTo>
                      <a:lnTo>
                        <a:pt x="53" y="59"/>
                      </a:lnTo>
                      <a:lnTo>
                        <a:pt x="55" y="60"/>
                      </a:lnTo>
                      <a:lnTo>
                        <a:pt x="56" y="61"/>
                      </a:lnTo>
                      <a:lnTo>
                        <a:pt x="61" y="64"/>
                      </a:lnTo>
                      <a:lnTo>
                        <a:pt x="63" y="61"/>
                      </a:lnTo>
                      <a:lnTo>
                        <a:pt x="65" y="59"/>
                      </a:lnTo>
                      <a:lnTo>
                        <a:pt x="66" y="54"/>
                      </a:lnTo>
                      <a:lnTo>
                        <a:pt x="68" y="50"/>
                      </a:lnTo>
                      <a:lnTo>
                        <a:pt x="69" y="47"/>
                      </a:lnTo>
                      <a:lnTo>
                        <a:pt x="71" y="44"/>
                      </a:lnTo>
                      <a:lnTo>
                        <a:pt x="71" y="41"/>
                      </a:lnTo>
                      <a:lnTo>
                        <a:pt x="65" y="31"/>
                      </a:lnTo>
                      <a:lnTo>
                        <a:pt x="62" y="24"/>
                      </a:lnTo>
                      <a:lnTo>
                        <a:pt x="63" y="17"/>
                      </a:lnTo>
                      <a:lnTo>
                        <a:pt x="68" y="10"/>
                      </a:lnTo>
                      <a:lnTo>
                        <a:pt x="69" y="8"/>
                      </a:lnTo>
                      <a:lnTo>
                        <a:pt x="71" y="5"/>
                      </a:lnTo>
                      <a:lnTo>
                        <a:pt x="69" y="3"/>
                      </a:lnTo>
                      <a:lnTo>
                        <a:pt x="68" y="1"/>
                      </a:lnTo>
                      <a:lnTo>
                        <a:pt x="65" y="0"/>
                      </a:lnTo>
                      <a:lnTo>
                        <a:pt x="62" y="0"/>
                      </a:lnTo>
                      <a:lnTo>
                        <a:pt x="53" y="0"/>
                      </a:lnTo>
                      <a:lnTo>
                        <a:pt x="39" y="0"/>
                      </a:lnTo>
                      <a:lnTo>
                        <a:pt x="38" y="1"/>
                      </a:lnTo>
                      <a:lnTo>
                        <a:pt x="38" y="4"/>
                      </a:lnTo>
                      <a:lnTo>
                        <a:pt x="35" y="1"/>
                      </a:lnTo>
                      <a:lnTo>
                        <a:pt x="32" y="1"/>
                      </a:lnTo>
                      <a:lnTo>
                        <a:pt x="22" y="0"/>
                      </a:lnTo>
                      <a:lnTo>
                        <a:pt x="19" y="0"/>
                      </a:lnTo>
                      <a:lnTo>
                        <a:pt x="18" y="0"/>
                      </a:lnTo>
                      <a:lnTo>
                        <a:pt x="16" y="1"/>
                      </a:lnTo>
                      <a:lnTo>
                        <a:pt x="16" y="3"/>
                      </a:lnTo>
                      <a:lnTo>
                        <a:pt x="16" y="5"/>
                      </a:lnTo>
                      <a:lnTo>
                        <a:pt x="15" y="7"/>
                      </a:lnTo>
                      <a:lnTo>
                        <a:pt x="13" y="8"/>
                      </a:lnTo>
                      <a:lnTo>
                        <a:pt x="13" y="1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49" name="Freeform 242">
                  <a:extLst>
                    <a:ext uri="{FF2B5EF4-FFF2-40B4-BE49-F238E27FC236}">
                      <a16:creationId xmlns:a16="http://schemas.microsoft.com/office/drawing/2014/main" id="{FB082CB9-5F6B-E2D8-73EF-24B39469942B}"/>
                    </a:ext>
                  </a:extLst>
                </p:cNvPr>
                <p:cNvSpPr>
                  <a:spLocks/>
                </p:cNvSpPr>
                <p:nvPr/>
              </p:nvSpPr>
              <p:spPr bwMode="auto">
                <a:xfrm>
                  <a:off x="2520" y="3272"/>
                  <a:ext cx="93" cy="94"/>
                </a:xfrm>
                <a:custGeom>
                  <a:avLst/>
                  <a:gdLst>
                    <a:gd name="T0" fmla="*/ 86 w 93"/>
                    <a:gd name="T1" fmla="*/ 61 h 94"/>
                    <a:gd name="T2" fmla="*/ 88 w 93"/>
                    <a:gd name="T3" fmla="*/ 56 h 94"/>
                    <a:gd name="T4" fmla="*/ 93 w 93"/>
                    <a:gd name="T5" fmla="*/ 49 h 94"/>
                    <a:gd name="T6" fmla="*/ 91 w 93"/>
                    <a:gd name="T7" fmla="*/ 46 h 94"/>
                    <a:gd name="T8" fmla="*/ 88 w 93"/>
                    <a:gd name="T9" fmla="*/ 45 h 94"/>
                    <a:gd name="T10" fmla="*/ 85 w 93"/>
                    <a:gd name="T11" fmla="*/ 42 h 94"/>
                    <a:gd name="T12" fmla="*/ 82 w 93"/>
                    <a:gd name="T13" fmla="*/ 36 h 94"/>
                    <a:gd name="T14" fmla="*/ 75 w 93"/>
                    <a:gd name="T15" fmla="*/ 33 h 94"/>
                    <a:gd name="T16" fmla="*/ 69 w 93"/>
                    <a:gd name="T17" fmla="*/ 28 h 94"/>
                    <a:gd name="T18" fmla="*/ 66 w 93"/>
                    <a:gd name="T19" fmla="*/ 26 h 94"/>
                    <a:gd name="T20" fmla="*/ 58 w 93"/>
                    <a:gd name="T21" fmla="*/ 22 h 94"/>
                    <a:gd name="T22" fmla="*/ 52 w 93"/>
                    <a:gd name="T23" fmla="*/ 16 h 94"/>
                    <a:gd name="T24" fmla="*/ 49 w 93"/>
                    <a:gd name="T25" fmla="*/ 15 h 94"/>
                    <a:gd name="T26" fmla="*/ 43 w 93"/>
                    <a:gd name="T27" fmla="*/ 18 h 94"/>
                    <a:gd name="T28" fmla="*/ 42 w 93"/>
                    <a:gd name="T29" fmla="*/ 13 h 94"/>
                    <a:gd name="T30" fmla="*/ 36 w 93"/>
                    <a:gd name="T31" fmla="*/ 6 h 94"/>
                    <a:gd name="T32" fmla="*/ 29 w 93"/>
                    <a:gd name="T33" fmla="*/ 0 h 94"/>
                    <a:gd name="T34" fmla="*/ 22 w 93"/>
                    <a:gd name="T35" fmla="*/ 3 h 94"/>
                    <a:gd name="T36" fmla="*/ 14 w 93"/>
                    <a:gd name="T37" fmla="*/ 2 h 94"/>
                    <a:gd name="T38" fmla="*/ 12 w 93"/>
                    <a:gd name="T39" fmla="*/ 6 h 94"/>
                    <a:gd name="T40" fmla="*/ 10 w 93"/>
                    <a:gd name="T41" fmla="*/ 9 h 94"/>
                    <a:gd name="T42" fmla="*/ 10 w 93"/>
                    <a:gd name="T43" fmla="*/ 12 h 94"/>
                    <a:gd name="T44" fmla="*/ 10 w 93"/>
                    <a:gd name="T45" fmla="*/ 16 h 94"/>
                    <a:gd name="T46" fmla="*/ 7 w 93"/>
                    <a:gd name="T47" fmla="*/ 25 h 94"/>
                    <a:gd name="T48" fmla="*/ 7 w 93"/>
                    <a:gd name="T49" fmla="*/ 28 h 94"/>
                    <a:gd name="T50" fmla="*/ 7 w 93"/>
                    <a:gd name="T51" fmla="*/ 31 h 94"/>
                    <a:gd name="T52" fmla="*/ 6 w 93"/>
                    <a:gd name="T53" fmla="*/ 32 h 94"/>
                    <a:gd name="T54" fmla="*/ 4 w 93"/>
                    <a:gd name="T55" fmla="*/ 36 h 94"/>
                    <a:gd name="T56" fmla="*/ 4 w 93"/>
                    <a:gd name="T57" fmla="*/ 42 h 94"/>
                    <a:gd name="T58" fmla="*/ 6 w 93"/>
                    <a:gd name="T59" fmla="*/ 48 h 94"/>
                    <a:gd name="T60" fmla="*/ 6 w 93"/>
                    <a:gd name="T61" fmla="*/ 55 h 94"/>
                    <a:gd name="T62" fmla="*/ 3 w 93"/>
                    <a:gd name="T63" fmla="*/ 58 h 94"/>
                    <a:gd name="T64" fmla="*/ 2 w 93"/>
                    <a:gd name="T65" fmla="*/ 59 h 94"/>
                    <a:gd name="T66" fmla="*/ 0 w 93"/>
                    <a:gd name="T67" fmla="*/ 62 h 94"/>
                    <a:gd name="T68" fmla="*/ 0 w 93"/>
                    <a:gd name="T69" fmla="*/ 66 h 94"/>
                    <a:gd name="T70" fmla="*/ 0 w 93"/>
                    <a:gd name="T71" fmla="*/ 72 h 94"/>
                    <a:gd name="T72" fmla="*/ 10 w 93"/>
                    <a:gd name="T73" fmla="*/ 82 h 94"/>
                    <a:gd name="T74" fmla="*/ 14 w 93"/>
                    <a:gd name="T75" fmla="*/ 84 h 94"/>
                    <a:gd name="T76" fmla="*/ 22 w 93"/>
                    <a:gd name="T77" fmla="*/ 84 h 94"/>
                    <a:gd name="T78" fmla="*/ 27 w 93"/>
                    <a:gd name="T79" fmla="*/ 88 h 94"/>
                    <a:gd name="T80" fmla="*/ 39 w 93"/>
                    <a:gd name="T81" fmla="*/ 92 h 94"/>
                    <a:gd name="T82" fmla="*/ 46 w 93"/>
                    <a:gd name="T83" fmla="*/ 91 h 94"/>
                    <a:gd name="T84" fmla="*/ 52 w 93"/>
                    <a:gd name="T85" fmla="*/ 92 h 94"/>
                    <a:gd name="T86" fmla="*/ 59 w 93"/>
                    <a:gd name="T87" fmla="*/ 94 h 94"/>
                    <a:gd name="T88" fmla="*/ 66 w 93"/>
                    <a:gd name="T89" fmla="*/ 92 h 94"/>
                    <a:gd name="T90" fmla="*/ 79 w 93"/>
                    <a:gd name="T91" fmla="*/ 85 h 94"/>
                    <a:gd name="T92" fmla="*/ 83 w 93"/>
                    <a:gd name="T93" fmla="*/ 79 h 94"/>
                    <a:gd name="T94" fmla="*/ 89 w 93"/>
                    <a:gd name="T95" fmla="*/ 69 h 94"/>
                    <a:gd name="T96" fmla="*/ 86 w 93"/>
                    <a:gd name="T97" fmla="*/ 6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3" h="94">
                      <a:moveTo>
                        <a:pt x="86" y="65"/>
                      </a:moveTo>
                      <a:lnTo>
                        <a:pt x="86" y="61"/>
                      </a:lnTo>
                      <a:lnTo>
                        <a:pt x="86" y="58"/>
                      </a:lnTo>
                      <a:lnTo>
                        <a:pt x="88" y="56"/>
                      </a:lnTo>
                      <a:lnTo>
                        <a:pt x="92" y="51"/>
                      </a:lnTo>
                      <a:lnTo>
                        <a:pt x="93" y="49"/>
                      </a:lnTo>
                      <a:lnTo>
                        <a:pt x="92" y="48"/>
                      </a:lnTo>
                      <a:lnTo>
                        <a:pt x="91" y="46"/>
                      </a:lnTo>
                      <a:lnTo>
                        <a:pt x="89" y="46"/>
                      </a:lnTo>
                      <a:lnTo>
                        <a:pt x="88" y="45"/>
                      </a:lnTo>
                      <a:lnTo>
                        <a:pt x="86" y="43"/>
                      </a:lnTo>
                      <a:lnTo>
                        <a:pt x="85" y="42"/>
                      </a:lnTo>
                      <a:lnTo>
                        <a:pt x="83" y="39"/>
                      </a:lnTo>
                      <a:lnTo>
                        <a:pt x="82" y="36"/>
                      </a:lnTo>
                      <a:lnTo>
                        <a:pt x="79" y="35"/>
                      </a:lnTo>
                      <a:lnTo>
                        <a:pt x="75" y="33"/>
                      </a:lnTo>
                      <a:lnTo>
                        <a:pt x="72" y="32"/>
                      </a:lnTo>
                      <a:lnTo>
                        <a:pt x="69" y="28"/>
                      </a:lnTo>
                      <a:lnTo>
                        <a:pt x="68" y="26"/>
                      </a:lnTo>
                      <a:lnTo>
                        <a:pt x="66" y="26"/>
                      </a:lnTo>
                      <a:lnTo>
                        <a:pt x="60" y="23"/>
                      </a:lnTo>
                      <a:lnTo>
                        <a:pt x="58" y="22"/>
                      </a:lnTo>
                      <a:lnTo>
                        <a:pt x="56" y="20"/>
                      </a:lnTo>
                      <a:lnTo>
                        <a:pt x="52" y="16"/>
                      </a:lnTo>
                      <a:lnTo>
                        <a:pt x="50" y="15"/>
                      </a:lnTo>
                      <a:lnTo>
                        <a:pt x="49" y="15"/>
                      </a:lnTo>
                      <a:lnTo>
                        <a:pt x="45" y="18"/>
                      </a:lnTo>
                      <a:lnTo>
                        <a:pt x="43" y="18"/>
                      </a:lnTo>
                      <a:lnTo>
                        <a:pt x="43" y="16"/>
                      </a:lnTo>
                      <a:lnTo>
                        <a:pt x="42" y="13"/>
                      </a:lnTo>
                      <a:lnTo>
                        <a:pt x="40" y="9"/>
                      </a:lnTo>
                      <a:lnTo>
                        <a:pt x="36" y="6"/>
                      </a:lnTo>
                      <a:lnTo>
                        <a:pt x="32" y="2"/>
                      </a:lnTo>
                      <a:lnTo>
                        <a:pt x="29" y="0"/>
                      </a:lnTo>
                      <a:lnTo>
                        <a:pt x="25" y="0"/>
                      </a:lnTo>
                      <a:lnTo>
                        <a:pt x="22" y="3"/>
                      </a:lnTo>
                      <a:lnTo>
                        <a:pt x="17" y="3"/>
                      </a:lnTo>
                      <a:lnTo>
                        <a:pt x="14" y="2"/>
                      </a:lnTo>
                      <a:lnTo>
                        <a:pt x="13" y="3"/>
                      </a:lnTo>
                      <a:lnTo>
                        <a:pt x="12" y="6"/>
                      </a:lnTo>
                      <a:lnTo>
                        <a:pt x="10" y="8"/>
                      </a:lnTo>
                      <a:lnTo>
                        <a:pt x="10" y="9"/>
                      </a:lnTo>
                      <a:lnTo>
                        <a:pt x="10" y="10"/>
                      </a:lnTo>
                      <a:lnTo>
                        <a:pt x="10" y="12"/>
                      </a:lnTo>
                      <a:lnTo>
                        <a:pt x="12" y="13"/>
                      </a:lnTo>
                      <a:lnTo>
                        <a:pt x="10" y="16"/>
                      </a:lnTo>
                      <a:lnTo>
                        <a:pt x="9" y="22"/>
                      </a:lnTo>
                      <a:lnTo>
                        <a:pt x="7" y="25"/>
                      </a:lnTo>
                      <a:lnTo>
                        <a:pt x="7" y="26"/>
                      </a:lnTo>
                      <a:lnTo>
                        <a:pt x="7" y="28"/>
                      </a:lnTo>
                      <a:lnTo>
                        <a:pt x="7" y="29"/>
                      </a:lnTo>
                      <a:lnTo>
                        <a:pt x="7" y="31"/>
                      </a:lnTo>
                      <a:lnTo>
                        <a:pt x="6" y="31"/>
                      </a:lnTo>
                      <a:lnTo>
                        <a:pt x="6" y="32"/>
                      </a:lnTo>
                      <a:lnTo>
                        <a:pt x="4" y="33"/>
                      </a:lnTo>
                      <a:lnTo>
                        <a:pt x="4" y="36"/>
                      </a:lnTo>
                      <a:lnTo>
                        <a:pt x="4" y="39"/>
                      </a:lnTo>
                      <a:lnTo>
                        <a:pt x="4" y="42"/>
                      </a:lnTo>
                      <a:lnTo>
                        <a:pt x="4" y="45"/>
                      </a:lnTo>
                      <a:lnTo>
                        <a:pt x="6" y="48"/>
                      </a:lnTo>
                      <a:lnTo>
                        <a:pt x="6" y="51"/>
                      </a:lnTo>
                      <a:lnTo>
                        <a:pt x="6" y="55"/>
                      </a:lnTo>
                      <a:lnTo>
                        <a:pt x="4" y="58"/>
                      </a:lnTo>
                      <a:lnTo>
                        <a:pt x="3" y="58"/>
                      </a:lnTo>
                      <a:lnTo>
                        <a:pt x="3" y="58"/>
                      </a:lnTo>
                      <a:lnTo>
                        <a:pt x="2" y="59"/>
                      </a:lnTo>
                      <a:lnTo>
                        <a:pt x="2" y="61"/>
                      </a:lnTo>
                      <a:lnTo>
                        <a:pt x="0" y="62"/>
                      </a:lnTo>
                      <a:lnTo>
                        <a:pt x="0" y="65"/>
                      </a:lnTo>
                      <a:lnTo>
                        <a:pt x="0" y="66"/>
                      </a:lnTo>
                      <a:lnTo>
                        <a:pt x="0" y="69"/>
                      </a:lnTo>
                      <a:lnTo>
                        <a:pt x="0" y="72"/>
                      </a:lnTo>
                      <a:lnTo>
                        <a:pt x="3" y="75"/>
                      </a:lnTo>
                      <a:lnTo>
                        <a:pt x="10" y="82"/>
                      </a:lnTo>
                      <a:lnTo>
                        <a:pt x="12" y="84"/>
                      </a:lnTo>
                      <a:lnTo>
                        <a:pt x="14" y="84"/>
                      </a:lnTo>
                      <a:lnTo>
                        <a:pt x="17" y="84"/>
                      </a:lnTo>
                      <a:lnTo>
                        <a:pt x="22" y="84"/>
                      </a:lnTo>
                      <a:lnTo>
                        <a:pt x="25" y="87"/>
                      </a:lnTo>
                      <a:lnTo>
                        <a:pt x="27" y="88"/>
                      </a:lnTo>
                      <a:lnTo>
                        <a:pt x="36" y="92"/>
                      </a:lnTo>
                      <a:lnTo>
                        <a:pt x="39" y="92"/>
                      </a:lnTo>
                      <a:lnTo>
                        <a:pt x="42" y="92"/>
                      </a:lnTo>
                      <a:lnTo>
                        <a:pt x="46" y="91"/>
                      </a:lnTo>
                      <a:lnTo>
                        <a:pt x="49" y="91"/>
                      </a:lnTo>
                      <a:lnTo>
                        <a:pt x="52" y="92"/>
                      </a:lnTo>
                      <a:lnTo>
                        <a:pt x="56" y="92"/>
                      </a:lnTo>
                      <a:lnTo>
                        <a:pt x="59" y="94"/>
                      </a:lnTo>
                      <a:lnTo>
                        <a:pt x="63" y="92"/>
                      </a:lnTo>
                      <a:lnTo>
                        <a:pt x="66" y="92"/>
                      </a:lnTo>
                      <a:lnTo>
                        <a:pt x="76" y="87"/>
                      </a:lnTo>
                      <a:lnTo>
                        <a:pt x="79" y="85"/>
                      </a:lnTo>
                      <a:lnTo>
                        <a:pt x="82" y="82"/>
                      </a:lnTo>
                      <a:lnTo>
                        <a:pt x="83" y="79"/>
                      </a:lnTo>
                      <a:lnTo>
                        <a:pt x="86" y="72"/>
                      </a:lnTo>
                      <a:lnTo>
                        <a:pt x="89" y="69"/>
                      </a:lnTo>
                      <a:lnTo>
                        <a:pt x="86" y="68"/>
                      </a:lnTo>
                      <a:lnTo>
                        <a:pt x="86" y="6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50" name="Freeform 243">
                  <a:extLst>
                    <a:ext uri="{FF2B5EF4-FFF2-40B4-BE49-F238E27FC236}">
                      <a16:creationId xmlns:a16="http://schemas.microsoft.com/office/drawing/2014/main" id="{B17040EB-BFEF-FD34-F6DD-60FB1A47510C}"/>
                    </a:ext>
                  </a:extLst>
                </p:cNvPr>
                <p:cNvSpPr>
                  <a:spLocks/>
                </p:cNvSpPr>
                <p:nvPr/>
              </p:nvSpPr>
              <p:spPr bwMode="auto">
                <a:xfrm>
                  <a:off x="2118" y="2719"/>
                  <a:ext cx="221" cy="328"/>
                </a:xfrm>
                <a:custGeom>
                  <a:avLst/>
                  <a:gdLst>
                    <a:gd name="T0" fmla="*/ 202 w 221"/>
                    <a:gd name="T1" fmla="*/ 315 h 328"/>
                    <a:gd name="T2" fmla="*/ 205 w 221"/>
                    <a:gd name="T3" fmla="*/ 308 h 328"/>
                    <a:gd name="T4" fmla="*/ 213 w 221"/>
                    <a:gd name="T5" fmla="*/ 298 h 328"/>
                    <a:gd name="T6" fmla="*/ 215 w 221"/>
                    <a:gd name="T7" fmla="*/ 293 h 328"/>
                    <a:gd name="T8" fmla="*/ 215 w 221"/>
                    <a:gd name="T9" fmla="*/ 287 h 328"/>
                    <a:gd name="T10" fmla="*/ 210 w 221"/>
                    <a:gd name="T11" fmla="*/ 279 h 328"/>
                    <a:gd name="T12" fmla="*/ 211 w 221"/>
                    <a:gd name="T13" fmla="*/ 269 h 328"/>
                    <a:gd name="T14" fmla="*/ 217 w 221"/>
                    <a:gd name="T15" fmla="*/ 253 h 328"/>
                    <a:gd name="T16" fmla="*/ 215 w 221"/>
                    <a:gd name="T17" fmla="*/ 243 h 328"/>
                    <a:gd name="T18" fmla="*/ 221 w 221"/>
                    <a:gd name="T19" fmla="*/ 221 h 328"/>
                    <a:gd name="T20" fmla="*/ 201 w 221"/>
                    <a:gd name="T21" fmla="*/ 193 h 328"/>
                    <a:gd name="T22" fmla="*/ 191 w 221"/>
                    <a:gd name="T23" fmla="*/ 193 h 328"/>
                    <a:gd name="T24" fmla="*/ 187 w 221"/>
                    <a:gd name="T25" fmla="*/ 167 h 328"/>
                    <a:gd name="T26" fmla="*/ 161 w 221"/>
                    <a:gd name="T27" fmla="*/ 175 h 328"/>
                    <a:gd name="T28" fmla="*/ 149 w 221"/>
                    <a:gd name="T29" fmla="*/ 165 h 328"/>
                    <a:gd name="T30" fmla="*/ 144 w 221"/>
                    <a:gd name="T31" fmla="*/ 155 h 328"/>
                    <a:gd name="T32" fmla="*/ 135 w 221"/>
                    <a:gd name="T33" fmla="*/ 144 h 328"/>
                    <a:gd name="T34" fmla="*/ 134 w 221"/>
                    <a:gd name="T35" fmla="*/ 137 h 328"/>
                    <a:gd name="T36" fmla="*/ 129 w 221"/>
                    <a:gd name="T37" fmla="*/ 131 h 328"/>
                    <a:gd name="T38" fmla="*/ 132 w 221"/>
                    <a:gd name="T39" fmla="*/ 128 h 328"/>
                    <a:gd name="T40" fmla="*/ 132 w 221"/>
                    <a:gd name="T41" fmla="*/ 121 h 328"/>
                    <a:gd name="T42" fmla="*/ 144 w 221"/>
                    <a:gd name="T43" fmla="*/ 112 h 328"/>
                    <a:gd name="T44" fmla="*/ 145 w 221"/>
                    <a:gd name="T45" fmla="*/ 101 h 328"/>
                    <a:gd name="T46" fmla="*/ 151 w 221"/>
                    <a:gd name="T47" fmla="*/ 88 h 328"/>
                    <a:gd name="T48" fmla="*/ 180 w 221"/>
                    <a:gd name="T49" fmla="*/ 76 h 328"/>
                    <a:gd name="T50" fmla="*/ 190 w 221"/>
                    <a:gd name="T51" fmla="*/ 72 h 328"/>
                    <a:gd name="T52" fmla="*/ 198 w 221"/>
                    <a:gd name="T53" fmla="*/ 75 h 328"/>
                    <a:gd name="T54" fmla="*/ 191 w 221"/>
                    <a:gd name="T55" fmla="*/ 66 h 328"/>
                    <a:gd name="T56" fmla="*/ 197 w 221"/>
                    <a:gd name="T57" fmla="*/ 46 h 328"/>
                    <a:gd name="T58" fmla="*/ 180 w 221"/>
                    <a:gd name="T59" fmla="*/ 37 h 328"/>
                    <a:gd name="T60" fmla="*/ 169 w 221"/>
                    <a:gd name="T61" fmla="*/ 37 h 328"/>
                    <a:gd name="T62" fmla="*/ 158 w 221"/>
                    <a:gd name="T63" fmla="*/ 40 h 328"/>
                    <a:gd name="T64" fmla="*/ 144 w 221"/>
                    <a:gd name="T65" fmla="*/ 34 h 328"/>
                    <a:gd name="T66" fmla="*/ 136 w 221"/>
                    <a:gd name="T67" fmla="*/ 24 h 328"/>
                    <a:gd name="T68" fmla="*/ 122 w 221"/>
                    <a:gd name="T69" fmla="*/ 13 h 328"/>
                    <a:gd name="T70" fmla="*/ 108 w 221"/>
                    <a:gd name="T71" fmla="*/ 0 h 328"/>
                    <a:gd name="T72" fmla="*/ 105 w 221"/>
                    <a:gd name="T73" fmla="*/ 7 h 328"/>
                    <a:gd name="T74" fmla="*/ 102 w 221"/>
                    <a:gd name="T75" fmla="*/ 22 h 328"/>
                    <a:gd name="T76" fmla="*/ 78 w 221"/>
                    <a:gd name="T77" fmla="*/ 45 h 328"/>
                    <a:gd name="T78" fmla="*/ 55 w 221"/>
                    <a:gd name="T79" fmla="*/ 59 h 328"/>
                    <a:gd name="T80" fmla="*/ 52 w 221"/>
                    <a:gd name="T81" fmla="*/ 59 h 328"/>
                    <a:gd name="T82" fmla="*/ 45 w 221"/>
                    <a:gd name="T83" fmla="*/ 79 h 328"/>
                    <a:gd name="T84" fmla="*/ 39 w 221"/>
                    <a:gd name="T85" fmla="*/ 86 h 328"/>
                    <a:gd name="T86" fmla="*/ 29 w 221"/>
                    <a:gd name="T87" fmla="*/ 78 h 328"/>
                    <a:gd name="T88" fmla="*/ 14 w 221"/>
                    <a:gd name="T89" fmla="*/ 76 h 328"/>
                    <a:gd name="T90" fmla="*/ 16 w 221"/>
                    <a:gd name="T91" fmla="*/ 69 h 328"/>
                    <a:gd name="T92" fmla="*/ 19 w 221"/>
                    <a:gd name="T93" fmla="*/ 60 h 328"/>
                    <a:gd name="T94" fmla="*/ 0 w 221"/>
                    <a:gd name="T95" fmla="*/ 78 h 328"/>
                    <a:gd name="T96" fmla="*/ 3 w 221"/>
                    <a:gd name="T97" fmla="*/ 91 h 328"/>
                    <a:gd name="T98" fmla="*/ 7 w 221"/>
                    <a:gd name="T99" fmla="*/ 101 h 328"/>
                    <a:gd name="T100" fmla="*/ 3 w 221"/>
                    <a:gd name="T101" fmla="*/ 106 h 328"/>
                    <a:gd name="T102" fmla="*/ 32 w 221"/>
                    <a:gd name="T103" fmla="*/ 134 h 328"/>
                    <a:gd name="T104" fmla="*/ 65 w 221"/>
                    <a:gd name="T105" fmla="*/ 194 h 328"/>
                    <a:gd name="T106" fmla="*/ 72 w 221"/>
                    <a:gd name="T107" fmla="*/ 204 h 328"/>
                    <a:gd name="T108" fmla="*/ 90 w 221"/>
                    <a:gd name="T109" fmla="*/ 241 h 328"/>
                    <a:gd name="T110" fmla="*/ 89 w 221"/>
                    <a:gd name="T111" fmla="*/ 252 h 328"/>
                    <a:gd name="T112" fmla="*/ 172 w 221"/>
                    <a:gd name="T113" fmla="*/ 309 h 328"/>
                    <a:gd name="T114" fmla="*/ 188 w 221"/>
                    <a:gd name="T115" fmla="*/ 32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1" h="328">
                      <a:moveTo>
                        <a:pt x="201" y="325"/>
                      </a:moveTo>
                      <a:lnTo>
                        <a:pt x="202" y="321"/>
                      </a:lnTo>
                      <a:lnTo>
                        <a:pt x="202" y="319"/>
                      </a:lnTo>
                      <a:lnTo>
                        <a:pt x="201" y="316"/>
                      </a:lnTo>
                      <a:lnTo>
                        <a:pt x="201" y="315"/>
                      </a:lnTo>
                      <a:lnTo>
                        <a:pt x="202" y="315"/>
                      </a:lnTo>
                      <a:lnTo>
                        <a:pt x="205" y="312"/>
                      </a:lnTo>
                      <a:lnTo>
                        <a:pt x="207" y="312"/>
                      </a:lnTo>
                      <a:lnTo>
                        <a:pt x="207" y="310"/>
                      </a:lnTo>
                      <a:lnTo>
                        <a:pt x="207" y="309"/>
                      </a:lnTo>
                      <a:lnTo>
                        <a:pt x="205" y="309"/>
                      </a:lnTo>
                      <a:lnTo>
                        <a:pt x="205" y="308"/>
                      </a:lnTo>
                      <a:lnTo>
                        <a:pt x="205" y="306"/>
                      </a:lnTo>
                      <a:lnTo>
                        <a:pt x="207" y="305"/>
                      </a:lnTo>
                      <a:lnTo>
                        <a:pt x="207" y="305"/>
                      </a:lnTo>
                      <a:lnTo>
                        <a:pt x="208" y="303"/>
                      </a:lnTo>
                      <a:lnTo>
                        <a:pt x="210" y="302"/>
                      </a:lnTo>
                      <a:lnTo>
                        <a:pt x="213" y="298"/>
                      </a:lnTo>
                      <a:lnTo>
                        <a:pt x="214" y="298"/>
                      </a:lnTo>
                      <a:lnTo>
                        <a:pt x="215" y="296"/>
                      </a:lnTo>
                      <a:lnTo>
                        <a:pt x="215" y="296"/>
                      </a:lnTo>
                      <a:lnTo>
                        <a:pt x="215" y="295"/>
                      </a:lnTo>
                      <a:lnTo>
                        <a:pt x="215" y="293"/>
                      </a:lnTo>
                      <a:lnTo>
                        <a:pt x="215" y="293"/>
                      </a:lnTo>
                      <a:lnTo>
                        <a:pt x="217" y="292"/>
                      </a:lnTo>
                      <a:lnTo>
                        <a:pt x="218" y="292"/>
                      </a:lnTo>
                      <a:lnTo>
                        <a:pt x="218" y="290"/>
                      </a:lnTo>
                      <a:lnTo>
                        <a:pt x="218" y="289"/>
                      </a:lnTo>
                      <a:lnTo>
                        <a:pt x="218" y="289"/>
                      </a:lnTo>
                      <a:lnTo>
                        <a:pt x="215" y="287"/>
                      </a:lnTo>
                      <a:lnTo>
                        <a:pt x="214" y="287"/>
                      </a:lnTo>
                      <a:lnTo>
                        <a:pt x="213" y="287"/>
                      </a:lnTo>
                      <a:lnTo>
                        <a:pt x="211" y="286"/>
                      </a:lnTo>
                      <a:lnTo>
                        <a:pt x="211" y="283"/>
                      </a:lnTo>
                      <a:lnTo>
                        <a:pt x="210" y="280"/>
                      </a:lnTo>
                      <a:lnTo>
                        <a:pt x="210" y="279"/>
                      </a:lnTo>
                      <a:lnTo>
                        <a:pt x="210" y="277"/>
                      </a:lnTo>
                      <a:lnTo>
                        <a:pt x="210" y="276"/>
                      </a:lnTo>
                      <a:lnTo>
                        <a:pt x="211" y="275"/>
                      </a:lnTo>
                      <a:lnTo>
                        <a:pt x="213" y="270"/>
                      </a:lnTo>
                      <a:lnTo>
                        <a:pt x="213" y="270"/>
                      </a:lnTo>
                      <a:lnTo>
                        <a:pt x="211" y="269"/>
                      </a:lnTo>
                      <a:lnTo>
                        <a:pt x="211" y="267"/>
                      </a:lnTo>
                      <a:lnTo>
                        <a:pt x="210" y="264"/>
                      </a:lnTo>
                      <a:lnTo>
                        <a:pt x="210" y="263"/>
                      </a:lnTo>
                      <a:lnTo>
                        <a:pt x="211" y="262"/>
                      </a:lnTo>
                      <a:lnTo>
                        <a:pt x="211" y="260"/>
                      </a:lnTo>
                      <a:lnTo>
                        <a:pt x="217" y="253"/>
                      </a:lnTo>
                      <a:lnTo>
                        <a:pt x="217" y="252"/>
                      </a:lnTo>
                      <a:lnTo>
                        <a:pt x="218" y="250"/>
                      </a:lnTo>
                      <a:lnTo>
                        <a:pt x="218" y="249"/>
                      </a:lnTo>
                      <a:lnTo>
                        <a:pt x="217" y="246"/>
                      </a:lnTo>
                      <a:lnTo>
                        <a:pt x="215" y="244"/>
                      </a:lnTo>
                      <a:lnTo>
                        <a:pt x="215" y="243"/>
                      </a:lnTo>
                      <a:lnTo>
                        <a:pt x="217" y="230"/>
                      </a:lnTo>
                      <a:lnTo>
                        <a:pt x="217" y="229"/>
                      </a:lnTo>
                      <a:lnTo>
                        <a:pt x="217" y="227"/>
                      </a:lnTo>
                      <a:lnTo>
                        <a:pt x="220" y="224"/>
                      </a:lnTo>
                      <a:lnTo>
                        <a:pt x="220" y="223"/>
                      </a:lnTo>
                      <a:lnTo>
                        <a:pt x="221" y="221"/>
                      </a:lnTo>
                      <a:lnTo>
                        <a:pt x="221" y="220"/>
                      </a:lnTo>
                      <a:lnTo>
                        <a:pt x="221" y="218"/>
                      </a:lnTo>
                      <a:lnTo>
                        <a:pt x="220" y="217"/>
                      </a:lnTo>
                      <a:lnTo>
                        <a:pt x="205" y="193"/>
                      </a:lnTo>
                      <a:lnTo>
                        <a:pt x="204" y="193"/>
                      </a:lnTo>
                      <a:lnTo>
                        <a:pt x="201" y="193"/>
                      </a:lnTo>
                      <a:lnTo>
                        <a:pt x="200" y="193"/>
                      </a:lnTo>
                      <a:lnTo>
                        <a:pt x="198" y="193"/>
                      </a:lnTo>
                      <a:lnTo>
                        <a:pt x="195" y="194"/>
                      </a:lnTo>
                      <a:lnTo>
                        <a:pt x="194" y="194"/>
                      </a:lnTo>
                      <a:lnTo>
                        <a:pt x="192" y="194"/>
                      </a:lnTo>
                      <a:lnTo>
                        <a:pt x="191" y="193"/>
                      </a:lnTo>
                      <a:lnTo>
                        <a:pt x="188" y="193"/>
                      </a:lnTo>
                      <a:lnTo>
                        <a:pt x="187" y="194"/>
                      </a:lnTo>
                      <a:lnTo>
                        <a:pt x="188" y="171"/>
                      </a:lnTo>
                      <a:lnTo>
                        <a:pt x="188" y="168"/>
                      </a:lnTo>
                      <a:lnTo>
                        <a:pt x="190" y="165"/>
                      </a:lnTo>
                      <a:lnTo>
                        <a:pt x="187" y="167"/>
                      </a:lnTo>
                      <a:lnTo>
                        <a:pt x="180" y="172"/>
                      </a:lnTo>
                      <a:lnTo>
                        <a:pt x="175" y="174"/>
                      </a:lnTo>
                      <a:lnTo>
                        <a:pt x="172" y="175"/>
                      </a:lnTo>
                      <a:lnTo>
                        <a:pt x="168" y="175"/>
                      </a:lnTo>
                      <a:lnTo>
                        <a:pt x="161" y="175"/>
                      </a:lnTo>
                      <a:lnTo>
                        <a:pt x="161" y="175"/>
                      </a:lnTo>
                      <a:lnTo>
                        <a:pt x="161" y="174"/>
                      </a:lnTo>
                      <a:lnTo>
                        <a:pt x="161" y="172"/>
                      </a:lnTo>
                      <a:lnTo>
                        <a:pt x="158" y="168"/>
                      </a:lnTo>
                      <a:lnTo>
                        <a:pt x="158" y="167"/>
                      </a:lnTo>
                      <a:lnTo>
                        <a:pt x="154" y="165"/>
                      </a:lnTo>
                      <a:lnTo>
                        <a:pt x="149" y="165"/>
                      </a:lnTo>
                      <a:lnTo>
                        <a:pt x="142" y="165"/>
                      </a:lnTo>
                      <a:lnTo>
                        <a:pt x="144" y="162"/>
                      </a:lnTo>
                      <a:lnTo>
                        <a:pt x="145" y="161"/>
                      </a:lnTo>
                      <a:lnTo>
                        <a:pt x="146" y="158"/>
                      </a:lnTo>
                      <a:lnTo>
                        <a:pt x="145" y="157"/>
                      </a:lnTo>
                      <a:lnTo>
                        <a:pt x="144" y="155"/>
                      </a:lnTo>
                      <a:lnTo>
                        <a:pt x="142" y="152"/>
                      </a:lnTo>
                      <a:lnTo>
                        <a:pt x="141" y="152"/>
                      </a:lnTo>
                      <a:lnTo>
                        <a:pt x="141" y="151"/>
                      </a:lnTo>
                      <a:lnTo>
                        <a:pt x="139" y="149"/>
                      </a:lnTo>
                      <a:lnTo>
                        <a:pt x="139" y="148"/>
                      </a:lnTo>
                      <a:lnTo>
                        <a:pt x="135" y="144"/>
                      </a:lnTo>
                      <a:lnTo>
                        <a:pt x="134" y="141"/>
                      </a:lnTo>
                      <a:lnTo>
                        <a:pt x="132" y="139"/>
                      </a:lnTo>
                      <a:lnTo>
                        <a:pt x="132" y="138"/>
                      </a:lnTo>
                      <a:lnTo>
                        <a:pt x="134" y="138"/>
                      </a:lnTo>
                      <a:lnTo>
                        <a:pt x="134" y="137"/>
                      </a:lnTo>
                      <a:lnTo>
                        <a:pt x="134" y="137"/>
                      </a:lnTo>
                      <a:lnTo>
                        <a:pt x="132" y="137"/>
                      </a:lnTo>
                      <a:lnTo>
                        <a:pt x="132" y="135"/>
                      </a:lnTo>
                      <a:lnTo>
                        <a:pt x="132" y="135"/>
                      </a:lnTo>
                      <a:lnTo>
                        <a:pt x="129" y="134"/>
                      </a:lnTo>
                      <a:lnTo>
                        <a:pt x="129" y="132"/>
                      </a:lnTo>
                      <a:lnTo>
                        <a:pt x="129" y="131"/>
                      </a:lnTo>
                      <a:lnTo>
                        <a:pt x="129" y="129"/>
                      </a:lnTo>
                      <a:lnTo>
                        <a:pt x="129" y="129"/>
                      </a:lnTo>
                      <a:lnTo>
                        <a:pt x="129" y="129"/>
                      </a:lnTo>
                      <a:lnTo>
                        <a:pt x="132" y="128"/>
                      </a:lnTo>
                      <a:lnTo>
                        <a:pt x="132" y="128"/>
                      </a:lnTo>
                      <a:lnTo>
                        <a:pt x="132" y="128"/>
                      </a:lnTo>
                      <a:lnTo>
                        <a:pt x="132" y="125"/>
                      </a:lnTo>
                      <a:lnTo>
                        <a:pt x="132" y="125"/>
                      </a:lnTo>
                      <a:lnTo>
                        <a:pt x="132" y="124"/>
                      </a:lnTo>
                      <a:lnTo>
                        <a:pt x="132" y="122"/>
                      </a:lnTo>
                      <a:lnTo>
                        <a:pt x="132" y="122"/>
                      </a:lnTo>
                      <a:lnTo>
                        <a:pt x="132" y="121"/>
                      </a:lnTo>
                      <a:lnTo>
                        <a:pt x="134" y="121"/>
                      </a:lnTo>
                      <a:lnTo>
                        <a:pt x="134" y="119"/>
                      </a:lnTo>
                      <a:lnTo>
                        <a:pt x="136" y="118"/>
                      </a:lnTo>
                      <a:lnTo>
                        <a:pt x="141" y="115"/>
                      </a:lnTo>
                      <a:lnTo>
                        <a:pt x="142" y="114"/>
                      </a:lnTo>
                      <a:lnTo>
                        <a:pt x="144" y="112"/>
                      </a:lnTo>
                      <a:lnTo>
                        <a:pt x="144" y="111"/>
                      </a:lnTo>
                      <a:lnTo>
                        <a:pt x="142" y="109"/>
                      </a:lnTo>
                      <a:lnTo>
                        <a:pt x="142" y="106"/>
                      </a:lnTo>
                      <a:lnTo>
                        <a:pt x="142" y="105"/>
                      </a:lnTo>
                      <a:lnTo>
                        <a:pt x="144" y="102"/>
                      </a:lnTo>
                      <a:lnTo>
                        <a:pt x="145" y="101"/>
                      </a:lnTo>
                      <a:lnTo>
                        <a:pt x="146" y="98"/>
                      </a:lnTo>
                      <a:lnTo>
                        <a:pt x="146" y="96"/>
                      </a:lnTo>
                      <a:lnTo>
                        <a:pt x="146" y="92"/>
                      </a:lnTo>
                      <a:lnTo>
                        <a:pt x="148" y="91"/>
                      </a:lnTo>
                      <a:lnTo>
                        <a:pt x="149" y="89"/>
                      </a:lnTo>
                      <a:lnTo>
                        <a:pt x="151" y="88"/>
                      </a:lnTo>
                      <a:lnTo>
                        <a:pt x="152" y="88"/>
                      </a:lnTo>
                      <a:lnTo>
                        <a:pt x="154" y="86"/>
                      </a:lnTo>
                      <a:lnTo>
                        <a:pt x="162" y="80"/>
                      </a:lnTo>
                      <a:lnTo>
                        <a:pt x="167" y="79"/>
                      </a:lnTo>
                      <a:lnTo>
                        <a:pt x="171" y="78"/>
                      </a:lnTo>
                      <a:lnTo>
                        <a:pt x="180" y="76"/>
                      </a:lnTo>
                      <a:lnTo>
                        <a:pt x="181" y="75"/>
                      </a:lnTo>
                      <a:lnTo>
                        <a:pt x="182" y="75"/>
                      </a:lnTo>
                      <a:lnTo>
                        <a:pt x="184" y="73"/>
                      </a:lnTo>
                      <a:lnTo>
                        <a:pt x="185" y="72"/>
                      </a:lnTo>
                      <a:lnTo>
                        <a:pt x="188" y="72"/>
                      </a:lnTo>
                      <a:lnTo>
                        <a:pt x="190" y="72"/>
                      </a:lnTo>
                      <a:lnTo>
                        <a:pt x="191" y="72"/>
                      </a:lnTo>
                      <a:lnTo>
                        <a:pt x="192" y="73"/>
                      </a:lnTo>
                      <a:lnTo>
                        <a:pt x="195" y="75"/>
                      </a:lnTo>
                      <a:lnTo>
                        <a:pt x="197" y="75"/>
                      </a:lnTo>
                      <a:lnTo>
                        <a:pt x="198" y="75"/>
                      </a:lnTo>
                      <a:lnTo>
                        <a:pt x="198" y="75"/>
                      </a:lnTo>
                      <a:lnTo>
                        <a:pt x="200" y="73"/>
                      </a:lnTo>
                      <a:lnTo>
                        <a:pt x="197" y="69"/>
                      </a:lnTo>
                      <a:lnTo>
                        <a:pt x="194" y="68"/>
                      </a:lnTo>
                      <a:lnTo>
                        <a:pt x="192" y="66"/>
                      </a:lnTo>
                      <a:lnTo>
                        <a:pt x="192" y="66"/>
                      </a:lnTo>
                      <a:lnTo>
                        <a:pt x="191" y="66"/>
                      </a:lnTo>
                      <a:lnTo>
                        <a:pt x="190" y="66"/>
                      </a:lnTo>
                      <a:lnTo>
                        <a:pt x="190" y="66"/>
                      </a:lnTo>
                      <a:lnTo>
                        <a:pt x="185" y="65"/>
                      </a:lnTo>
                      <a:lnTo>
                        <a:pt x="195" y="52"/>
                      </a:lnTo>
                      <a:lnTo>
                        <a:pt x="197" y="47"/>
                      </a:lnTo>
                      <a:lnTo>
                        <a:pt x="197" y="46"/>
                      </a:lnTo>
                      <a:lnTo>
                        <a:pt x="194" y="43"/>
                      </a:lnTo>
                      <a:lnTo>
                        <a:pt x="188" y="42"/>
                      </a:lnTo>
                      <a:lnTo>
                        <a:pt x="185" y="39"/>
                      </a:lnTo>
                      <a:lnTo>
                        <a:pt x="182" y="37"/>
                      </a:lnTo>
                      <a:lnTo>
                        <a:pt x="181" y="37"/>
                      </a:lnTo>
                      <a:lnTo>
                        <a:pt x="180" y="37"/>
                      </a:lnTo>
                      <a:lnTo>
                        <a:pt x="178" y="39"/>
                      </a:lnTo>
                      <a:lnTo>
                        <a:pt x="175" y="39"/>
                      </a:lnTo>
                      <a:lnTo>
                        <a:pt x="174" y="39"/>
                      </a:lnTo>
                      <a:lnTo>
                        <a:pt x="172" y="39"/>
                      </a:lnTo>
                      <a:lnTo>
                        <a:pt x="171" y="37"/>
                      </a:lnTo>
                      <a:lnTo>
                        <a:pt x="169" y="37"/>
                      </a:lnTo>
                      <a:lnTo>
                        <a:pt x="168" y="36"/>
                      </a:lnTo>
                      <a:lnTo>
                        <a:pt x="167" y="37"/>
                      </a:lnTo>
                      <a:lnTo>
                        <a:pt x="164" y="39"/>
                      </a:lnTo>
                      <a:lnTo>
                        <a:pt x="162" y="40"/>
                      </a:lnTo>
                      <a:lnTo>
                        <a:pt x="159" y="40"/>
                      </a:lnTo>
                      <a:lnTo>
                        <a:pt x="158" y="40"/>
                      </a:lnTo>
                      <a:lnTo>
                        <a:pt x="154" y="40"/>
                      </a:lnTo>
                      <a:lnTo>
                        <a:pt x="149" y="42"/>
                      </a:lnTo>
                      <a:lnTo>
                        <a:pt x="148" y="42"/>
                      </a:lnTo>
                      <a:lnTo>
                        <a:pt x="145" y="40"/>
                      </a:lnTo>
                      <a:lnTo>
                        <a:pt x="144" y="37"/>
                      </a:lnTo>
                      <a:lnTo>
                        <a:pt x="144" y="34"/>
                      </a:lnTo>
                      <a:lnTo>
                        <a:pt x="142" y="32"/>
                      </a:lnTo>
                      <a:lnTo>
                        <a:pt x="141" y="30"/>
                      </a:lnTo>
                      <a:lnTo>
                        <a:pt x="139" y="30"/>
                      </a:lnTo>
                      <a:lnTo>
                        <a:pt x="138" y="29"/>
                      </a:lnTo>
                      <a:lnTo>
                        <a:pt x="136" y="27"/>
                      </a:lnTo>
                      <a:lnTo>
                        <a:pt x="136" y="24"/>
                      </a:lnTo>
                      <a:lnTo>
                        <a:pt x="135" y="23"/>
                      </a:lnTo>
                      <a:lnTo>
                        <a:pt x="134" y="20"/>
                      </a:lnTo>
                      <a:lnTo>
                        <a:pt x="126" y="17"/>
                      </a:lnTo>
                      <a:lnTo>
                        <a:pt x="124" y="16"/>
                      </a:lnTo>
                      <a:lnTo>
                        <a:pt x="124" y="14"/>
                      </a:lnTo>
                      <a:lnTo>
                        <a:pt x="122" y="13"/>
                      </a:lnTo>
                      <a:lnTo>
                        <a:pt x="122" y="11"/>
                      </a:lnTo>
                      <a:lnTo>
                        <a:pt x="121" y="9"/>
                      </a:lnTo>
                      <a:lnTo>
                        <a:pt x="121" y="7"/>
                      </a:lnTo>
                      <a:lnTo>
                        <a:pt x="119" y="6"/>
                      </a:lnTo>
                      <a:lnTo>
                        <a:pt x="111" y="1"/>
                      </a:lnTo>
                      <a:lnTo>
                        <a:pt x="108" y="0"/>
                      </a:lnTo>
                      <a:lnTo>
                        <a:pt x="106" y="0"/>
                      </a:lnTo>
                      <a:lnTo>
                        <a:pt x="105" y="1"/>
                      </a:lnTo>
                      <a:lnTo>
                        <a:pt x="103" y="1"/>
                      </a:lnTo>
                      <a:lnTo>
                        <a:pt x="101" y="1"/>
                      </a:lnTo>
                      <a:lnTo>
                        <a:pt x="99" y="1"/>
                      </a:lnTo>
                      <a:lnTo>
                        <a:pt x="105" y="7"/>
                      </a:lnTo>
                      <a:lnTo>
                        <a:pt x="106" y="9"/>
                      </a:lnTo>
                      <a:lnTo>
                        <a:pt x="106" y="11"/>
                      </a:lnTo>
                      <a:lnTo>
                        <a:pt x="106" y="14"/>
                      </a:lnTo>
                      <a:lnTo>
                        <a:pt x="106" y="16"/>
                      </a:lnTo>
                      <a:lnTo>
                        <a:pt x="103" y="14"/>
                      </a:lnTo>
                      <a:lnTo>
                        <a:pt x="102" y="22"/>
                      </a:lnTo>
                      <a:lnTo>
                        <a:pt x="101" y="24"/>
                      </a:lnTo>
                      <a:lnTo>
                        <a:pt x="99" y="26"/>
                      </a:lnTo>
                      <a:lnTo>
                        <a:pt x="92" y="36"/>
                      </a:lnTo>
                      <a:lnTo>
                        <a:pt x="88" y="40"/>
                      </a:lnTo>
                      <a:lnTo>
                        <a:pt x="82" y="43"/>
                      </a:lnTo>
                      <a:lnTo>
                        <a:pt x="78" y="45"/>
                      </a:lnTo>
                      <a:lnTo>
                        <a:pt x="63" y="49"/>
                      </a:lnTo>
                      <a:lnTo>
                        <a:pt x="60" y="52"/>
                      </a:lnTo>
                      <a:lnTo>
                        <a:pt x="59" y="53"/>
                      </a:lnTo>
                      <a:lnTo>
                        <a:pt x="55" y="57"/>
                      </a:lnTo>
                      <a:lnTo>
                        <a:pt x="55" y="59"/>
                      </a:lnTo>
                      <a:lnTo>
                        <a:pt x="55" y="59"/>
                      </a:lnTo>
                      <a:lnTo>
                        <a:pt x="55" y="59"/>
                      </a:lnTo>
                      <a:lnTo>
                        <a:pt x="55" y="60"/>
                      </a:lnTo>
                      <a:lnTo>
                        <a:pt x="55" y="60"/>
                      </a:lnTo>
                      <a:lnTo>
                        <a:pt x="53" y="59"/>
                      </a:lnTo>
                      <a:lnTo>
                        <a:pt x="53" y="59"/>
                      </a:lnTo>
                      <a:lnTo>
                        <a:pt x="52" y="59"/>
                      </a:lnTo>
                      <a:lnTo>
                        <a:pt x="52" y="60"/>
                      </a:lnTo>
                      <a:lnTo>
                        <a:pt x="50" y="62"/>
                      </a:lnTo>
                      <a:lnTo>
                        <a:pt x="50" y="63"/>
                      </a:lnTo>
                      <a:lnTo>
                        <a:pt x="50" y="65"/>
                      </a:lnTo>
                      <a:lnTo>
                        <a:pt x="46" y="78"/>
                      </a:lnTo>
                      <a:lnTo>
                        <a:pt x="45" y="79"/>
                      </a:lnTo>
                      <a:lnTo>
                        <a:pt x="45" y="79"/>
                      </a:lnTo>
                      <a:lnTo>
                        <a:pt x="43" y="80"/>
                      </a:lnTo>
                      <a:lnTo>
                        <a:pt x="43" y="82"/>
                      </a:lnTo>
                      <a:lnTo>
                        <a:pt x="42" y="83"/>
                      </a:lnTo>
                      <a:lnTo>
                        <a:pt x="42" y="85"/>
                      </a:lnTo>
                      <a:lnTo>
                        <a:pt x="39" y="86"/>
                      </a:lnTo>
                      <a:lnTo>
                        <a:pt x="36" y="86"/>
                      </a:lnTo>
                      <a:lnTo>
                        <a:pt x="33" y="83"/>
                      </a:lnTo>
                      <a:lnTo>
                        <a:pt x="32" y="80"/>
                      </a:lnTo>
                      <a:lnTo>
                        <a:pt x="30" y="79"/>
                      </a:lnTo>
                      <a:lnTo>
                        <a:pt x="30" y="78"/>
                      </a:lnTo>
                      <a:lnTo>
                        <a:pt x="29" y="78"/>
                      </a:lnTo>
                      <a:lnTo>
                        <a:pt x="27" y="78"/>
                      </a:lnTo>
                      <a:lnTo>
                        <a:pt x="23" y="75"/>
                      </a:lnTo>
                      <a:lnTo>
                        <a:pt x="22" y="75"/>
                      </a:lnTo>
                      <a:lnTo>
                        <a:pt x="19" y="75"/>
                      </a:lnTo>
                      <a:lnTo>
                        <a:pt x="16" y="76"/>
                      </a:lnTo>
                      <a:lnTo>
                        <a:pt x="14" y="76"/>
                      </a:lnTo>
                      <a:lnTo>
                        <a:pt x="17" y="73"/>
                      </a:lnTo>
                      <a:lnTo>
                        <a:pt x="14" y="72"/>
                      </a:lnTo>
                      <a:lnTo>
                        <a:pt x="14" y="72"/>
                      </a:lnTo>
                      <a:lnTo>
                        <a:pt x="14" y="70"/>
                      </a:lnTo>
                      <a:lnTo>
                        <a:pt x="16" y="69"/>
                      </a:lnTo>
                      <a:lnTo>
                        <a:pt x="16" y="69"/>
                      </a:lnTo>
                      <a:lnTo>
                        <a:pt x="17" y="69"/>
                      </a:lnTo>
                      <a:lnTo>
                        <a:pt x="19" y="68"/>
                      </a:lnTo>
                      <a:lnTo>
                        <a:pt x="20" y="68"/>
                      </a:lnTo>
                      <a:lnTo>
                        <a:pt x="20" y="65"/>
                      </a:lnTo>
                      <a:lnTo>
                        <a:pt x="19" y="63"/>
                      </a:lnTo>
                      <a:lnTo>
                        <a:pt x="19" y="60"/>
                      </a:lnTo>
                      <a:lnTo>
                        <a:pt x="17" y="59"/>
                      </a:lnTo>
                      <a:lnTo>
                        <a:pt x="13" y="62"/>
                      </a:lnTo>
                      <a:lnTo>
                        <a:pt x="7" y="66"/>
                      </a:lnTo>
                      <a:lnTo>
                        <a:pt x="3" y="70"/>
                      </a:lnTo>
                      <a:lnTo>
                        <a:pt x="0" y="75"/>
                      </a:lnTo>
                      <a:lnTo>
                        <a:pt x="0" y="78"/>
                      </a:lnTo>
                      <a:lnTo>
                        <a:pt x="0" y="80"/>
                      </a:lnTo>
                      <a:lnTo>
                        <a:pt x="3" y="85"/>
                      </a:lnTo>
                      <a:lnTo>
                        <a:pt x="3" y="86"/>
                      </a:lnTo>
                      <a:lnTo>
                        <a:pt x="1" y="89"/>
                      </a:lnTo>
                      <a:lnTo>
                        <a:pt x="3" y="89"/>
                      </a:lnTo>
                      <a:lnTo>
                        <a:pt x="3" y="91"/>
                      </a:lnTo>
                      <a:lnTo>
                        <a:pt x="6" y="93"/>
                      </a:lnTo>
                      <a:lnTo>
                        <a:pt x="6" y="95"/>
                      </a:lnTo>
                      <a:lnTo>
                        <a:pt x="7" y="96"/>
                      </a:lnTo>
                      <a:lnTo>
                        <a:pt x="7" y="98"/>
                      </a:lnTo>
                      <a:lnTo>
                        <a:pt x="7" y="99"/>
                      </a:lnTo>
                      <a:lnTo>
                        <a:pt x="7" y="101"/>
                      </a:lnTo>
                      <a:lnTo>
                        <a:pt x="6" y="102"/>
                      </a:lnTo>
                      <a:lnTo>
                        <a:pt x="6" y="102"/>
                      </a:lnTo>
                      <a:lnTo>
                        <a:pt x="4" y="101"/>
                      </a:lnTo>
                      <a:lnTo>
                        <a:pt x="3" y="101"/>
                      </a:lnTo>
                      <a:lnTo>
                        <a:pt x="3" y="103"/>
                      </a:lnTo>
                      <a:lnTo>
                        <a:pt x="3" y="106"/>
                      </a:lnTo>
                      <a:lnTo>
                        <a:pt x="6" y="108"/>
                      </a:lnTo>
                      <a:lnTo>
                        <a:pt x="19" y="115"/>
                      </a:lnTo>
                      <a:lnTo>
                        <a:pt x="23" y="119"/>
                      </a:lnTo>
                      <a:lnTo>
                        <a:pt x="27" y="124"/>
                      </a:lnTo>
                      <a:lnTo>
                        <a:pt x="29" y="125"/>
                      </a:lnTo>
                      <a:lnTo>
                        <a:pt x="32" y="134"/>
                      </a:lnTo>
                      <a:lnTo>
                        <a:pt x="33" y="135"/>
                      </a:lnTo>
                      <a:lnTo>
                        <a:pt x="39" y="142"/>
                      </a:lnTo>
                      <a:lnTo>
                        <a:pt x="42" y="147"/>
                      </a:lnTo>
                      <a:lnTo>
                        <a:pt x="56" y="180"/>
                      </a:lnTo>
                      <a:lnTo>
                        <a:pt x="63" y="193"/>
                      </a:lnTo>
                      <a:lnTo>
                        <a:pt x="65" y="194"/>
                      </a:lnTo>
                      <a:lnTo>
                        <a:pt x="65" y="197"/>
                      </a:lnTo>
                      <a:lnTo>
                        <a:pt x="65" y="198"/>
                      </a:lnTo>
                      <a:lnTo>
                        <a:pt x="66" y="200"/>
                      </a:lnTo>
                      <a:lnTo>
                        <a:pt x="67" y="201"/>
                      </a:lnTo>
                      <a:lnTo>
                        <a:pt x="70" y="203"/>
                      </a:lnTo>
                      <a:lnTo>
                        <a:pt x="72" y="204"/>
                      </a:lnTo>
                      <a:lnTo>
                        <a:pt x="72" y="207"/>
                      </a:lnTo>
                      <a:lnTo>
                        <a:pt x="73" y="213"/>
                      </a:lnTo>
                      <a:lnTo>
                        <a:pt x="75" y="214"/>
                      </a:lnTo>
                      <a:lnTo>
                        <a:pt x="79" y="220"/>
                      </a:lnTo>
                      <a:lnTo>
                        <a:pt x="89" y="236"/>
                      </a:lnTo>
                      <a:lnTo>
                        <a:pt x="90" y="241"/>
                      </a:lnTo>
                      <a:lnTo>
                        <a:pt x="86" y="244"/>
                      </a:lnTo>
                      <a:lnTo>
                        <a:pt x="88" y="246"/>
                      </a:lnTo>
                      <a:lnTo>
                        <a:pt x="88" y="247"/>
                      </a:lnTo>
                      <a:lnTo>
                        <a:pt x="88" y="249"/>
                      </a:lnTo>
                      <a:lnTo>
                        <a:pt x="89" y="250"/>
                      </a:lnTo>
                      <a:lnTo>
                        <a:pt x="89" y="252"/>
                      </a:lnTo>
                      <a:lnTo>
                        <a:pt x="95" y="259"/>
                      </a:lnTo>
                      <a:lnTo>
                        <a:pt x="102" y="266"/>
                      </a:lnTo>
                      <a:lnTo>
                        <a:pt x="109" y="273"/>
                      </a:lnTo>
                      <a:lnTo>
                        <a:pt x="112" y="275"/>
                      </a:lnTo>
                      <a:lnTo>
                        <a:pt x="171" y="308"/>
                      </a:lnTo>
                      <a:lnTo>
                        <a:pt x="172" y="309"/>
                      </a:lnTo>
                      <a:lnTo>
                        <a:pt x="174" y="310"/>
                      </a:lnTo>
                      <a:lnTo>
                        <a:pt x="174" y="312"/>
                      </a:lnTo>
                      <a:lnTo>
                        <a:pt x="175" y="313"/>
                      </a:lnTo>
                      <a:lnTo>
                        <a:pt x="175" y="315"/>
                      </a:lnTo>
                      <a:lnTo>
                        <a:pt x="177" y="316"/>
                      </a:lnTo>
                      <a:lnTo>
                        <a:pt x="188" y="325"/>
                      </a:lnTo>
                      <a:lnTo>
                        <a:pt x="191" y="328"/>
                      </a:lnTo>
                      <a:lnTo>
                        <a:pt x="198" y="326"/>
                      </a:lnTo>
                      <a:lnTo>
                        <a:pt x="201" y="32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51" name="Freeform 244">
                  <a:extLst>
                    <a:ext uri="{FF2B5EF4-FFF2-40B4-BE49-F238E27FC236}">
                      <a16:creationId xmlns:a16="http://schemas.microsoft.com/office/drawing/2014/main" id="{6A706683-A4CB-D13A-B6AE-FCC1D3B40886}"/>
                    </a:ext>
                  </a:extLst>
                </p:cNvPr>
                <p:cNvSpPr>
                  <a:spLocks/>
                </p:cNvSpPr>
                <p:nvPr/>
              </p:nvSpPr>
              <p:spPr bwMode="auto">
                <a:xfrm>
                  <a:off x="2158" y="3338"/>
                  <a:ext cx="5" cy="2"/>
                </a:xfrm>
                <a:custGeom>
                  <a:avLst/>
                  <a:gdLst>
                    <a:gd name="T0" fmla="*/ 2 w 5"/>
                    <a:gd name="T1" fmla="*/ 0 h 2"/>
                    <a:gd name="T2" fmla="*/ 2 w 5"/>
                    <a:gd name="T3" fmla="*/ 0 h 2"/>
                    <a:gd name="T4" fmla="*/ 0 w 5"/>
                    <a:gd name="T5" fmla="*/ 2 h 2"/>
                    <a:gd name="T6" fmla="*/ 2 w 5"/>
                    <a:gd name="T7" fmla="*/ 2 h 2"/>
                    <a:gd name="T8" fmla="*/ 3 w 5"/>
                    <a:gd name="T9" fmla="*/ 2 h 2"/>
                    <a:gd name="T10" fmla="*/ 3 w 5"/>
                    <a:gd name="T11" fmla="*/ 2 h 2"/>
                    <a:gd name="T12" fmla="*/ 5 w 5"/>
                    <a:gd name="T13" fmla="*/ 2 h 2"/>
                    <a:gd name="T14" fmla="*/ 3 w 5"/>
                    <a:gd name="T15" fmla="*/ 0 h 2"/>
                    <a:gd name="T16" fmla="*/ 2 w 5"/>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
                      <a:moveTo>
                        <a:pt x="2" y="0"/>
                      </a:moveTo>
                      <a:lnTo>
                        <a:pt x="2" y="0"/>
                      </a:lnTo>
                      <a:lnTo>
                        <a:pt x="0" y="2"/>
                      </a:lnTo>
                      <a:lnTo>
                        <a:pt x="2" y="2"/>
                      </a:lnTo>
                      <a:lnTo>
                        <a:pt x="3" y="2"/>
                      </a:lnTo>
                      <a:lnTo>
                        <a:pt x="3" y="2"/>
                      </a:lnTo>
                      <a:lnTo>
                        <a:pt x="5" y="2"/>
                      </a:lnTo>
                      <a:lnTo>
                        <a:pt x="3" y="0"/>
                      </a:lnTo>
                      <a:lnTo>
                        <a:pt x="2"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52" name="Freeform 245">
                  <a:extLst>
                    <a:ext uri="{FF2B5EF4-FFF2-40B4-BE49-F238E27FC236}">
                      <a16:creationId xmlns:a16="http://schemas.microsoft.com/office/drawing/2014/main" id="{13DD2C3F-BED0-AB40-CD51-B630CFB487E9}"/>
                    </a:ext>
                  </a:extLst>
                </p:cNvPr>
                <p:cNvSpPr>
                  <a:spLocks noEditPoints="1"/>
                </p:cNvSpPr>
                <p:nvPr/>
              </p:nvSpPr>
              <p:spPr bwMode="auto">
                <a:xfrm>
                  <a:off x="1936" y="2716"/>
                  <a:ext cx="41" cy="25"/>
                </a:xfrm>
                <a:custGeom>
                  <a:avLst/>
                  <a:gdLst>
                    <a:gd name="T0" fmla="*/ 13 w 41"/>
                    <a:gd name="T1" fmla="*/ 12 h 25"/>
                    <a:gd name="T2" fmla="*/ 10 w 41"/>
                    <a:gd name="T3" fmla="*/ 19 h 25"/>
                    <a:gd name="T4" fmla="*/ 5 w 41"/>
                    <a:gd name="T5" fmla="*/ 14 h 25"/>
                    <a:gd name="T6" fmla="*/ 8 w 41"/>
                    <a:gd name="T7" fmla="*/ 13 h 25"/>
                    <a:gd name="T8" fmla="*/ 10 w 41"/>
                    <a:gd name="T9" fmla="*/ 12 h 25"/>
                    <a:gd name="T10" fmla="*/ 5 w 41"/>
                    <a:gd name="T11" fmla="*/ 7 h 25"/>
                    <a:gd name="T12" fmla="*/ 2 w 41"/>
                    <a:gd name="T13" fmla="*/ 3 h 25"/>
                    <a:gd name="T14" fmla="*/ 2 w 41"/>
                    <a:gd name="T15" fmla="*/ 0 h 25"/>
                    <a:gd name="T16" fmla="*/ 7 w 41"/>
                    <a:gd name="T17" fmla="*/ 0 h 25"/>
                    <a:gd name="T18" fmla="*/ 8 w 41"/>
                    <a:gd name="T19" fmla="*/ 3 h 25"/>
                    <a:gd name="T20" fmla="*/ 8 w 41"/>
                    <a:gd name="T21" fmla="*/ 6 h 25"/>
                    <a:gd name="T22" fmla="*/ 11 w 41"/>
                    <a:gd name="T23" fmla="*/ 7 h 25"/>
                    <a:gd name="T24" fmla="*/ 11 w 41"/>
                    <a:gd name="T25" fmla="*/ 9 h 25"/>
                    <a:gd name="T26" fmla="*/ 13 w 41"/>
                    <a:gd name="T27" fmla="*/ 12 h 25"/>
                    <a:gd name="T28" fmla="*/ 20 w 41"/>
                    <a:gd name="T29" fmla="*/ 12 h 25"/>
                    <a:gd name="T30" fmla="*/ 21 w 41"/>
                    <a:gd name="T31" fmla="*/ 14 h 25"/>
                    <a:gd name="T32" fmla="*/ 25 w 41"/>
                    <a:gd name="T33" fmla="*/ 14 h 25"/>
                    <a:gd name="T34" fmla="*/ 25 w 41"/>
                    <a:gd name="T35" fmla="*/ 10 h 25"/>
                    <a:gd name="T36" fmla="*/ 40 w 41"/>
                    <a:gd name="T37" fmla="*/ 14 h 25"/>
                    <a:gd name="T38" fmla="*/ 37 w 41"/>
                    <a:gd name="T39" fmla="*/ 17 h 25"/>
                    <a:gd name="T40" fmla="*/ 41 w 41"/>
                    <a:gd name="T41" fmla="*/ 16 h 25"/>
                    <a:gd name="T42" fmla="*/ 41 w 41"/>
                    <a:gd name="T43" fmla="*/ 13 h 25"/>
                    <a:gd name="T44" fmla="*/ 20 w 41"/>
                    <a:gd name="T45" fmla="*/ 23 h 25"/>
                    <a:gd name="T46" fmla="*/ 23 w 41"/>
                    <a:gd name="T47" fmla="*/ 25 h 25"/>
                    <a:gd name="T48" fmla="*/ 20 w 41"/>
                    <a:gd name="T49" fmla="*/ 23 h 25"/>
                    <a:gd name="T50" fmla="*/ 18 w 41"/>
                    <a:gd name="T51" fmla="*/ 6 h 25"/>
                    <a:gd name="T52" fmla="*/ 15 w 41"/>
                    <a:gd name="T53" fmla="*/ 4 h 25"/>
                    <a:gd name="T54" fmla="*/ 14 w 41"/>
                    <a:gd name="T55" fmla="*/ 7 h 25"/>
                    <a:gd name="T56" fmla="*/ 18 w 41"/>
                    <a:gd name="T57" fmla="*/ 7 h 25"/>
                    <a:gd name="T58" fmla="*/ 0 w 41"/>
                    <a:gd name="T59" fmla="*/ 9 h 25"/>
                    <a:gd name="T60" fmla="*/ 2 w 41"/>
                    <a:gd name="T61" fmla="*/ 10 h 25"/>
                    <a:gd name="T62" fmla="*/ 5 w 41"/>
                    <a:gd name="T63" fmla="*/ 9 h 25"/>
                    <a:gd name="T64" fmla="*/ 2 w 41"/>
                    <a:gd name="T65" fmla="*/ 6 h 25"/>
                    <a:gd name="T66" fmla="*/ 0 w 41"/>
                    <a:gd name="T67" fmla="*/ 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25">
                      <a:moveTo>
                        <a:pt x="13" y="12"/>
                      </a:moveTo>
                      <a:lnTo>
                        <a:pt x="13" y="12"/>
                      </a:lnTo>
                      <a:lnTo>
                        <a:pt x="14" y="16"/>
                      </a:lnTo>
                      <a:lnTo>
                        <a:pt x="10" y="19"/>
                      </a:lnTo>
                      <a:lnTo>
                        <a:pt x="4" y="19"/>
                      </a:lnTo>
                      <a:lnTo>
                        <a:pt x="5" y="14"/>
                      </a:lnTo>
                      <a:lnTo>
                        <a:pt x="7" y="13"/>
                      </a:lnTo>
                      <a:lnTo>
                        <a:pt x="8" y="13"/>
                      </a:lnTo>
                      <a:lnTo>
                        <a:pt x="8" y="13"/>
                      </a:lnTo>
                      <a:lnTo>
                        <a:pt x="10" y="12"/>
                      </a:lnTo>
                      <a:lnTo>
                        <a:pt x="8" y="10"/>
                      </a:lnTo>
                      <a:lnTo>
                        <a:pt x="5" y="7"/>
                      </a:lnTo>
                      <a:lnTo>
                        <a:pt x="4" y="3"/>
                      </a:lnTo>
                      <a:lnTo>
                        <a:pt x="2" y="3"/>
                      </a:lnTo>
                      <a:lnTo>
                        <a:pt x="1" y="2"/>
                      </a:lnTo>
                      <a:lnTo>
                        <a:pt x="2" y="0"/>
                      </a:lnTo>
                      <a:lnTo>
                        <a:pt x="4" y="0"/>
                      </a:lnTo>
                      <a:lnTo>
                        <a:pt x="7" y="0"/>
                      </a:lnTo>
                      <a:lnTo>
                        <a:pt x="8" y="3"/>
                      </a:lnTo>
                      <a:lnTo>
                        <a:pt x="8" y="3"/>
                      </a:lnTo>
                      <a:lnTo>
                        <a:pt x="8" y="4"/>
                      </a:lnTo>
                      <a:lnTo>
                        <a:pt x="8" y="6"/>
                      </a:lnTo>
                      <a:lnTo>
                        <a:pt x="8" y="6"/>
                      </a:lnTo>
                      <a:lnTo>
                        <a:pt x="11" y="7"/>
                      </a:lnTo>
                      <a:lnTo>
                        <a:pt x="11" y="9"/>
                      </a:lnTo>
                      <a:lnTo>
                        <a:pt x="11" y="9"/>
                      </a:lnTo>
                      <a:lnTo>
                        <a:pt x="13" y="10"/>
                      </a:lnTo>
                      <a:lnTo>
                        <a:pt x="13" y="12"/>
                      </a:lnTo>
                      <a:close/>
                      <a:moveTo>
                        <a:pt x="23" y="10"/>
                      </a:moveTo>
                      <a:lnTo>
                        <a:pt x="20" y="12"/>
                      </a:lnTo>
                      <a:lnTo>
                        <a:pt x="20" y="13"/>
                      </a:lnTo>
                      <a:lnTo>
                        <a:pt x="21" y="14"/>
                      </a:lnTo>
                      <a:lnTo>
                        <a:pt x="23" y="14"/>
                      </a:lnTo>
                      <a:lnTo>
                        <a:pt x="25" y="14"/>
                      </a:lnTo>
                      <a:lnTo>
                        <a:pt x="25" y="12"/>
                      </a:lnTo>
                      <a:lnTo>
                        <a:pt x="25" y="10"/>
                      </a:lnTo>
                      <a:lnTo>
                        <a:pt x="23" y="10"/>
                      </a:lnTo>
                      <a:close/>
                      <a:moveTo>
                        <a:pt x="40" y="14"/>
                      </a:moveTo>
                      <a:lnTo>
                        <a:pt x="36" y="17"/>
                      </a:lnTo>
                      <a:lnTo>
                        <a:pt x="37" y="17"/>
                      </a:lnTo>
                      <a:lnTo>
                        <a:pt x="40" y="17"/>
                      </a:lnTo>
                      <a:lnTo>
                        <a:pt x="41" y="16"/>
                      </a:lnTo>
                      <a:lnTo>
                        <a:pt x="41" y="14"/>
                      </a:lnTo>
                      <a:lnTo>
                        <a:pt x="41" y="13"/>
                      </a:lnTo>
                      <a:lnTo>
                        <a:pt x="40" y="14"/>
                      </a:lnTo>
                      <a:close/>
                      <a:moveTo>
                        <a:pt x="20" y="23"/>
                      </a:moveTo>
                      <a:lnTo>
                        <a:pt x="21" y="25"/>
                      </a:lnTo>
                      <a:lnTo>
                        <a:pt x="23" y="25"/>
                      </a:lnTo>
                      <a:lnTo>
                        <a:pt x="21" y="23"/>
                      </a:lnTo>
                      <a:lnTo>
                        <a:pt x="20" y="23"/>
                      </a:lnTo>
                      <a:close/>
                      <a:moveTo>
                        <a:pt x="18" y="7"/>
                      </a:moveTo>
                      <a:lnTo>
                        <a:pt x="18" y="6"/>
                      </a:lnTo>
                      <a:lnTo>
                        <a:pt x="17" y="4"/>
                      </a:lnTo>
                      <a:lnTo>
                        <a:pt x="15" y="4"/>
                      </a:lnTo>
                      <a:lnTo>
                        <a:pt x="14" y="6"/>
                      </a:lnTo>
                      <a:lnTo>
                        <a:pt x="14" y="7"/>
                      </a:lnTo>
                      <a:lnTo>
                        <a:pt x="17" y="7"/>
                      </a:lnTo>
                      <a:lnTo>
                        <a:pt x="18" y="7"/>
                      </a:lnTo>
                      <a:lnTo>
                        <a:pt x="18" y="7"/>
                      </a:lnTo>
                      <a:close/>
                      <a:moveTo>
                        <a:pt x="0" y="9"/>
                      </a:moveTo>
                      <a:lnTo>
                        <a:pt x="1" y="10"/>
                      </a:lnTo>
                      <a:lnTo>
                        <a:pt x="2" y="10"/>
                      </a:lnTo>
                      <a:lnTo>
                        <a:pt x="4" y="10"/>
                      </a:lnTo>
                      <a:lnTo>
                        <a:pt x="5" y="9"/>
                      </a:lnTo>
                      <a:lnTo>
                        <a:pt x="4" y="7"/>
                      </a:lnTo>
                      <a:lnTo>
                        <a:pt x="2" y="6"/>
                      </a:lnTo>
                      <a:lnTo>
                        <a:pt x="0" y="7"/>
                      </a:lnTo>
                      <a:lnTo>
                        <a:pt x="0" y="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53" name="Freeform 246">
                  <a:extLst>
                    <a:ext uri="{FF2B5EF4-FFF2-40B4-BE49-F238E27FC236}">
                      <a16:creationId xmlns:a16="http://schemas.microsoft.com/office/drawing/2014/main" id="{EEFED016-48B4-B434-6EC8-D224608E423C}"/>
                    </a:ext>
                  </a:extLst>
                </p:cNvPr>
                <p:cNvSpPr>
                  <a:spLocks noEditPoints="1"/>
                </p:cNvSpPr>
                <p:nvPr/>
              </p:nvSpPr>
              <p:spPr bwMode="auto">
                <a:xfrm>
                  <a:off x="2216" y="3031"/>
                  <a:ext cx="163" cy="815"/>
                </a:xfrm>
                <a:custGeom>
                  <a:avLst/>
                  <a:gdLst>
                    <a:gd name="T0" fmla="*/ 97 w 163"/>
                    <a:gd name="T1" fmla="*/ 747 h 815"/>
                    <a:gd name="T2" fmla="*/ 117 w 163"/>
                    <a:gd name="T3" fmla="*/ 780 h 815"/>
                    <a:gd name="T4" fmla="*/ 90 w 163"/>
                    <a:gd name="T5" fmla="*/ 772 h 815"/>
                    <a:gd name="T6" fmla="*/ 87 w 163"/>
                    <a:gd name="T7" fmla="*/ 779 h 815"/>
                    <a:gd name="T8" fmla="*/ 93 w 163"/>
                    <a:gd name="T9" fmla="*/ 789 h 815"/>
                    <a:gd name="T10" fmla="*/ 51 w 163"/>
                    <a:gd name="T11" fmla="*/ 537 h 815"/>
                    <a:gd name="T12" fmla="*/ 24 w 163"/>
                    <a:gd name="T13" fmla="*/ 746 h 815"/>
                    <a:gd name="T14" fmla="*/ 59 w 163"/>
                    <a:gd name="T15" fmla="*/ 762 h 815"/>
                    <a:gd name="T16" fmla="*/ 33 w 163"/>
                    <a:gd name="T17" fmla="*/ 760 h 815"/>
                    <a:gd name="T18" fmla="*/ 94 w 163"/>
                    <a:gd name="T19" fmla="*/ 798 h 815"/>
                    <a:gd name="T20" fmla="*/ 112 w 163"/>
                    <a:gd name="T21" fmla="*/ 799 h 815"/>
                    <a:gd name="T22" fmla="*/ 126 w 163"/>
                    <a:gd name="T23" fmla="*/ 796 h 815"/>
                    <a:gd name="T24" fmla="*/ 69 w 163"/>
                    <a:gd name="T25" fmla="*/ 756 h 815"/>
                    <a:gd name="T26" fmla="*/ 48 w 163"/>
                    <a:gd name="T27" fmla="*/ 752 h 815"/>
                    <a:gd name="T28" fmla="*/ 54 w 163"/>
                    <a:gd name="T29" fmla="*/ 736 h 815"/>
                    <a:gd name="T30" fmla="*/ 37 w 163"/>
                    <a:gd name="T31" fmla="*/ 739 h 815"/>
                    <a:gd name="T32" fmla="*/ 50 w 163"/>
                    <a:gd name="T33" fmla="*/ 721 h 815"/>
                    <a:gd name="T34" fmla="*/ 51 w 163"/>
                    <a:gd name="T35" fmla="*/ 711 h 815"/>
                    <a:gd name="T36" fmla="*/ 18 w 163"/>
                    <a:gd name="T37" fmla="*/ 687 h 815"/>
                    <a:gd name="T38" fmla="*/ 37 w 163"/>
                    <a:gd name="T39" fmla="*/ 683 h 815"/>
                    <a:gd name="T40" fmla="*/ 26 w 163"/>
                    <a:gd name="T41" fmla="*/ 665 h 815"/>
                    <a:gd name="T42" fmla="*/ 28 w 163"/>
                    <a:gd name="T43" fmla="*/ 632 h 815"/>
                    <a:gd name="T44" fmla="*/ 21 w 163"/>
                    <a:gd name="T45" fmla="*/ 615 h 815"/>
                    <a:gd name="T46" fmla="*/ 21 w 163"/>
                    <a:gd name="T47" fmla="*/ 593 h 815"/>
                    <a:gd name="T48" fmla="*/ 27 w 163"/>
                    <a:gd name="T49" fmla="*/ 568 h 815"/>
                    <a:gd name="T50" fmla="*/ 37 w 163"/>
                    <a:gd name="T51" fmla="*/ 569 h 815"/>
                    <a:gd name="T52" fmla="*/ 44 w 163"/>
                    <a:gd name="T53" fmla="*/ 526 h 815"/>
                    <a:gd name="T54" fmla="*/ 54 w 163"/>
                    <a:gd name="T55" fmla="*/ 487 h 815"/>
                    <a:gd name="T56" fmla="*/ 36 w 163"/>
                    <a:gd name="T57" fmla="*/ 476 h 815"/>
                    <a:gd name="T58" fmla="*/ 37 w 163"/>
                    <a:gd name="T59" fmla="*/ 385 h 815"/>
                    <a:gd name="T60" fmla="*/ 66 w 163"/>
                    <a:gd name="T61" fmla="*/ 319 h 815"/>
                    <a:gd name="T62" fmla="*/ 77 w 163"/>
                    <a:gd name="T63" fmla="*/ 214 h 815"/>
                    <a:gd name="T64" fmla="*/ 90 w 163"/>
                    <a:gd name="T65" fmla="*/ 111 h 815"/>
                    <a:gd name="T66" fmla="*/ 113 w 163"/>
                    <a:gd name="T67" fmla="*/ 9 h 815"/>
                    <a:gd name="T68" fmla="*/ 123 w 163"/>
                    <a:gd name="T69" fmla="*/ 50 h 815"/>
                    <a:gd name="T70" fmla="*/ 153 w 163"/>
                    <a:gd name="T71" fmla="*/ 103 h 815"/>
                    <a:gd name="T72" fmla="*/ 126 w 163"/>
                    <a:gd name="T73" fmla="*/ 171 h 815"/>
                    <a:gd name="T74" fmla="*/ 102 w 163"/>
                    <a:gd name="T75" fmla="*/ 238 h 815"/>
                    <a:gd name="T76" fmla="*/ 96 w 163"/>
                    <a:gd name="T77" fmla="*/ 276 h 815"/>
                    <a:gd name="T78" fmla="*/ 102 w 163"/>
                    <a:gd name="T79" fmla="*/ 322 h 815"/>
                    <a:gd name="T80" fmla="*/ 80 w 163"/>
                    <a:gd name="T81" fmla="*/ 371 h 815"/>
                    <a:gd name="T82" fmla="*/ 69 w 163"/>
                    <a:gd name="T83" fmla="*/ 441 h 815"/>
                    <a:gd name="T84" fmla="*/ 63 w 163"/>
                    <a:gd name="T85" fmla="*/ 494 h 815"/>
                    <a:gd name="T86" fmla="*/ 69 w 163"/>
                    <a:gd name="T87" fmla="*/ 530 h 815"/>
                    <a:gd name="T88" fmla="*/ 74 w 163"/>
                    <a:gd name="T89" fmla="*/ 560 h 815"/>
                    <a:gd name="T90" fmla="*/ 67 w 163"/>
                    <a:gd name="T91" fmla="*/ 601 h 815"/>
                    <a:gd name="T92" fmla="*/ 38 w 163"/>
                    <a:gd name="T93" fmla="*/ 660 h 815"/>
                    <a:gd name="T94" fmla="*/ 59 w 163"/>
                    <a:gd name="T95" fmla="*/ 708 h 815"/>
                    <a:gd name="T96" fmla="*/ 21 w 163"/>
                    <a:gd name="T97" fmla="*/ 537 h 815"/>
                    <a:gd name="T98" fmla="*/ 33 w 163"/>
                    <a:gd name="T99" fmla="*/ 530 h 815"/>
                    <a:gd name="T100" fmla="*/ 40 w 163"/>
                    <a:gd name="T101" fmla="*/ 501 h 815"/>
                    <a:gd name="T102" fmla="*/ 18 w 163"/>
                    <a:gd name="T103" fmla="*/ 565 h 815"/>
                    <a:gd name="T104" fmla="*/ 15 w 163"/>
                    <a:gd name="T105" fmla="*/ 519 h 815"/>
                    <a:gd name="T106" fmla="*/ 13 w 163"/>
                    <a:gd name="T107" fmla="*/ 671 h 815"/>
                    <a:gd name="T108" fmla="*/ 21 w 163"/>
                    <a:gd name="T109" fmla="*/ 706 h 815"/>
                    <a:gd name="T110" fmla="*/ 10 w 163"/>
                    <a:gd name="T111" fmla="*/ 648 h 815"/>
                    <a:gd name="T112" fmla="*/ 5 w 163"/>
                    <a:gd name="T113" fmla="*/ 664 h 815"/>
                    <a:gd name="T114" fmla="*/ 23 w 163"/>
                    <a:gd name="T115" fmla="*/ 717 h 815"/>
                    <a:gd name="T116" fmla="*/ 11 w 163"/>
                    <a:gd name="T117" fmla="*/ 639 h 815"/>
                    <a:gd name="T118" fmla="*/ 8 w 163"/>
                    <a:gd name="T119" fmla="*/ 621 h 815"/>
                    <a:gd name="T120" fmla="*/ 163 w 163"/>
                    <a:gd name="T121" fmla="*/ 799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3" h="815">
                      <a:moveTo>
                        <a:pt x="142" y="812"/>
                      </a:moveTo>
                      <a:lnTo>
                        <a:pt x="145" y="813"/>
                      </a:lnTo>
                      <a:lnTo>
                        <a:pt x="145" y="813"/>
                      </a:lnTo>
                      <a:lnTo>
                        <a:pt x="143" y="813"/>
                      </a:lnTo>
                      <a:lnTo>
                        <a:pt x="143" y="815"/>
                      </a:lnTo>
                      <a:lnTo>
                        <a:pt x="140" y="813"/>
                      </a:lnTo>
                      <a:lnTo>
                        <a:pt x="139" y="812"/>
                      </a:lnTo>
                      <a:lnTo>
                        <a:pt x="142" y="812"/>
                      </a:lnTo>
                      <a:close/>
                      <a:moveTo>
                        <a:pt x="123" y="737"/>
                      </a:moveTo>
                      <a:lnTo>
                        <a:pt x="120" y="737"/>
                      </a:lnTo>
                      <a:lnTo>
                        <a:pt x="119" y="739"/>
                      </a:lnTo>
                      <a:lnTo>
                        <a:pt x="117" y="739"/>
                      </a:lnTo>
                      <a:lnTo>
                        <a:pt x="115" y="739"/>
                      </a:lnTo>
                      <a:lnTo>
                        <a:pt x="113" y="736"/>
                      </a:lnTo>
                      <a:lnTo>
                        <a:pt x="112" y="736"/>
                      </a:lnTo>
                      <a:lnTo>
                        <a:pt x="109" y="736"/>
                      </a:lnTo>
                      <a:lnTo>
                        <a:pt x="107" y="737"/>
                      </a:lnTo>
                      <a:lnTo>
                        <a:pt x="104" y="742"/>
                      </a:lnTo>
                      <a:lnTo>
                        <a:pt x="102" y="743"/>
                      </a:lnTo>
                      <a:lnTo>
                        <a:pt x="100" y="742"/>
                      </a:lnTo>
                      <a:lnTo>
                        <a:pt x="99" y="742"/>
                      </a:lnTo>
                      <a:lnTo>
                        <a:pt x="96" y="740"/>
                      </a:lnTo>
                      <a:lnTo>
                        <a:pt x="94" y="742"/>
                      </a:lnTo>
                      <a:lnTo>
                        <a:pt x="96" y="743"/>
                      </a:lnTo>
                      <a:lnTo>
                        <a:pt x="97" y="744"/>
                      </a:lnTo>
                      <a:lnTo>
                        <a:pt x="97" y="744"/>
                      </a:lnTo>
                      <a:lnTo>
                        <a:pt x="97" y="747"/>
                      </a:lnTo>
                      <a:lnTo>
                        <a:pt x="96" y="747"/>
                      </a:lnTo>
                      <a:lnTo>
                        <a:pt x="94" y="747"/>
                      </a:lnTo>
                      <a:lnTo>
                        <a:pt x="93" y="749"/>
                      </a:lnTo>
                      <a:lnTo>
                        <a:pt x="93" y="750"/>
                      </a:lnTo>
                      <a:lnTo>
                        <a:pt x="93" y="752"/>
                      </a:lnTo>
                      <a:lnTo>
                        <a:pt x="93" y="753"/>
                      </a:lnTo>
                      <a:lnTo>
                        <a:pt x="93" y="754"/>
                      </a:lnTo>
                      <a:lnTo>
                        <a:pt x="94" y="756"/>
                      </a:lnTo>
                      <a:lnTo>
                        <a:pt x="97" y="757"/>
                      </a:lnTo>
                      <a:lnTo>
                        <a:pt x="100" y="756"/>
                      </a:lnTo>
                      <a:lnTo>
                        <a:pt x="103" y="756"/>
                      </a:lnTo>
                      <a:lnTo>
                        <a:pt x="106" y="754"/>
                      </a:lnTo>
                      <a:lnTo>
                        <a:pt x="109" y="756"/>
                      </a:lnTo>
                      <a:lnTo>
                        <a:pt x="112" y="756"/>
                      </a:lnTo>
                      <a:lnTo>
                        <a:pt x="112" y="759"/>
                      </a:lnTo>
                      <a:lnTo>
                        <a:pt x="110" y="760"/>
                      </a:lnTo>
                      <a:lnTo>
                        <a:pt x="103" y="763"/>
                      </a:lnTo>
                      <a:lnTo>
                        <a:pt x="100" y="763"/>
                      </a:lnTo>
                      <a:lnTo>
                        <a:pt x="99" y="766"/>
                      </a:lnTo>
                      <a:lnTo>
                        <a:pt x="99" y="769"/>
                      </a:lnTo>
                      <a:lnTo>
                        <a:pt x="99" y="772"/>
                      </a:lnTo>
                      <a:lnTo>
                        <a:pt x="102" y="773"/>
                      </a:lnTo>
                      <a:lnTo>
                        <a:pt x="104" y="776"/>
                      </a:lnTo>
                      <a:lnTo>
                        <a:pt x="112" y="777"/>
                      </a:lnTo>
                      <a:lnTo>
                        <a:pt x="116" y="779"/>
                      </a:lnTo>
                      <a:lnTo>
                        <a:pt x="117" y="780"/>
                      </a:lnTo>
                      <a:lnTo>
                        <a:pt x="117" y="780"/>
                      </a:lnTo>
                      <a:lnTo>
                        <a:pt x="117" y="780"/>
                      </a:lnTo>
                      <a:lnTo>
                        <a:pt x="116" y="782"/>
                      </a:lnTo>
                      <a:lnTo>
                        <a:pt x="116" y="782"/>
                      </a:lnTo>
                      <a:lnTo>
                        <a:pt x="115" y="783"/>
                      </a:lnTo>
                      <a:lnTo>
                        <a:pt x="113" y="783"/>
                      </a:lnTo>
                      <a:lnTo>
                        <a:pt x="113" y="785"/>
                      </a:lnTo>
                      <a:lnTo>
                        <a:pt x="113" y="783"/>
                      </a:lnTo>
                      <a:lnTo>
                        <a:pt x="112" y="782"/>
                      </a:lnTo>
                      <a:lnTo>
                        <a:pt x="110" y="780"/>
                      </a:lnTo>
                      <a:lnTo>
                        <a:pt x="110" y="780"/>
                      </a:lnTo>
                      <a:lnTo>
                        <a:pt x="106" y="779"/>
                      </a:lnTo>
                      <a:lnTo>
                        <a:pt x="106" y="779"/>
                      </a:lnTo>
                      <a:lnTo>
                        <a:pt x="104" y="779"/>
                      </a:lnTo>
                      <a:lnTo>
                        <a:pt x="104" y="779"/>
                      </a:lnTo>
                      <a:lnTo>
                        <a:pt x="103" y="779"/>
                      </a:lnTo>
                      <a:lnTo>
                        <a:pt x="103" y="779"/>
                      </a:lnTo>
                      <a:lnTo>
                        <a:pt x="100" y="780"/>
                      </a:lnTo>
                      <a:lnTo>
                        <a:pt x="99" y="780"/>
                      </a:lnTo>
                      <a:lnTo>
                        <a:pt x="99" y="780"/>
                      </a:lnTo>
                      <a:lnTo>
                        <a:pt x="97" y="779"/>
                      </a:lnTo>
                      <a:lnTo>
                        <a:pt x="97" y="779"/>
                      </a:lnTo>
                      <a:lnTo>
                        <a:pt x="97" y="777"/>
                      </a:lnTo>
                      <a:lnTo>
                        <a:pt x="96" y="777"/>
                      </a:lnTo>
                      <a:lnTo>
                        <a:pt x="93" y="775"/>
                      </a:lnTo>
                      <a:lnTo>
                        <a:pt x="90" y="773"/>
                      </a:lnTo>
                      <a:lnTo>
                        <a:pt x="90" y="772"/>
                      </a:lnTo>
                      <a:lnTo>
                        <a:pt x="90" y="772"/>
                      </a:lnTo>
                      <a:lnTo>
                        <a:pt x="92" y="772"/>
                      </a:lnTo>
                      <a:lnTo>
                        <a:pt x="93" y="770"/>
                      </a:lnTo>
                      <a:lnTo>
                        <a:pt x="94" y="770"/>
                      </a:lnTo>
                      <a:lnTo>
                        <a:pt x="93" y="769"/>
                      </a:lnTo>
                      <a:lnTo>
                        <a:pt x="92" y="766"/>
                      </a:lnTo>
                      <a:lnTo>
                        <a:pt x="92" y="762"/>
                      </a:lnTo>
                      <a:lnTo>
                        <a:pt x="90" y="763"/>
                      </a:lnTo>
                      <a:lnTo>
                        <a:pt x="89" y="765"/>
                      </a:lnTo>
                      <a:lnTo>
                        <a:pt x="89" y="766"/>
                      </a:lnTo>
                      <a:lnTo>
                        <a:pt x="89" y="767"/>
                      </a:lnTo>
                      <a:lnTo>
                        <a:pt x="87" y="767"/>
                      </a:lnTo>
                      <a:lnTo>
                        <a:pt x="86" y="767"/>
                      </a:lnTo>
                      <a:lnTo>
                        <a:pt x="86" y="769"/>
                      </a:lnTo>
                      <a:lnTo>
                        <a:pt x="86" y="772"/>
                      </a:lnTo>
                      <a:lnTo>
                        <a:pt x="86" y="773"/>
                      </a:lnTo>
                      <a:lnTo>
                        <a:pt x="86" y="775"/>
                      </a:lnTo>
                      <a:lnTo>
                        <a:pt x="87" y="776"/>
                      </a:lnTo>
                      <a:lnTo>
                        <a:pt x="89" y="777"/>
                      </a:lnTo>
                      <a:lnTo>
                        <a:pt x="92" y="779"/>
                      </a:lnTo>
                      <a:lnTo>
                        <a:pt x="94" y="780"/>
                      </a:lnTo>
                      <a:lnTo>
                        <a:pt x="94" y="783"/>
                      </a:lnTo>
                      <a:lnTo>
                        <a:pt x="93" y="783"/>
                      </a:lnTo>
                      <a:lnTo>
                        <a:pt x="90" y="783"/>
                      </a:lnTo>
                      <a:lnTo>
                        <a:pt x="89" y="782"/>
                      </a:lnTo>
                      <a:lnTo>
                        <a:pt x="87" y="782"/>
                      </a:lnTo>
                      <a:lnTo>
                        <a:pt x="89" y="780"/>
                      </a:lnTo>
                      <a:lnTo>
                        <a:pt x="87" y="779"/>
                      </a:lnTo>
                      <a:lnTo>
                        <a:pt x="86" y="779"/>
                      </a:lnTo>
                      <a:lnTo>
                        <a:pt x="84" y="779"/>
                      </a:lnTo>
                      <a:lnTo>
                        <a:pt x="84" y="780"/>
                      </a:lnTo>
                      <a:lnTo>
                        <a:pt x="84" y="780"/>
                      </a:lnTo>
                      <a:lnTo>
                        <a:pt x="83" y="780"/>
                      </a:lnTo>
                      <a:lnTo>
                        <a:pt x="82" y="782"/>
                      </a:lnTo>
                      <a:lnTo>
                        <a:pt x="80" y="780"/>
                      </a:lnTo>
                      <a:lnTo>
                        <a:pt x="79" y="780"/>
                      </a:lnTo>
                      <a:lnTo>
                        <a:pt x="77" y="780"/>
                      </a:lnTo>
                      <a:lnTo>
                        <a:pt x="76" y="780"/>
                      </a:lnTo>
                      <a:lnTo>
                        <a:pt x="74" y="782"/>
                      </a:lnTo>
                      <a:lnTo>
                        <a:pt x="73" y="783"/>
                      </a:lnTo>
                      <a:lnTo>
                        <a:pt x="71" y="782"/>
                      </a:lnTo>
                      <a:lnTo>
                        <a:pt x="70" y="782"/>
                      </a:lnTo>
                      <a:lnTo>
                        <a:pt x="70" y="782"/>
                      </a:lnTo>
                      <a:lnTo>
                        <a:pt x="69" y="782"/>
                      </a:lnTo>
                      <a:lnTo>
                        <a:pt x="67" y="782"/>
                      </a:lnTo>
                      <a:lnTo>
                        <a:pt x="67" y="783"/>
                      </a:lnTo>
                      <a:lnTo>
                        <a:pt x="67" y="783"/>
                      </a:lnTo>
                      <a:lnTo>
                        <a:pt x="67" y="785"/>
                      </a:lnTo>
                      <a:lnTo>
                        <a:pt x="69" y="786"/>
                      </a:lnTo>
                      <a:lnTo>
                        <a:pt x="70" y="786"/>
                      </a:lnTo>
                      <a:lnTo>
                        <a:pt x="73" y="786"/>
                      </a:lnTo>
                      <a:lnTo>
                        <a:pt x="74" y="786"/>
                      </a:lnTo>
                      <a:lnTo>
                        <a:pt x="90" y="789"/>
                      </a:lnTo>
                      <a:lnTo>
                        <a:pt x="92" y="789"/>
                      </a:lnTo>
                      <a:lnTo>
                        <a:pt x="93" y="789"/>
                      </a:lnTo>
                      <a:lnTo>
                        <a:pt x="94" y="789"/>
                      </a:lnTo>
                      <a:lnTo>
                        <a:pt x="96" y="789"/>
                      </a:lnTo>
                      <a:lnTo>
                        <a:pt x="99" y="789"/>
                      </a:lnTo>
                      <a:lnTo>
                        <a:pt x="100" y="790"/>
                      </a:lnTo>
                      <a:lnTo>
                        <a:pt x="102" y="789"/>
                      </a:lnTo>
                      <a:lnTo>
                        <a:pt x="104" y="788"/>
                      </a:lnTo>
                      <a:lnTo>
                        <a:pt x="104" y="788"/>
                      </a:lnTo>
                      <a:lnTo>
                        <a:pt x="106" y="789"/>
                      </a:lnTo>
                      <a:lnTo>
                        <a:pt x="109" y="790"/>
                      </a:lnTo>
                      <a:lnTo>
                        <a:pt x="110" y="790"/>
                      </a:lnTo>
                      <a:lnTo>
                        <a:pt x="113" y="792"/>
                      </a:lnTo>
                      <a:lnTo>
                        <a:pt x="117" y="792"/>
                      </a:lnTo>
                      <a:lnTo>
                        <a:pt x="120" y="790"/>
                      </a:lnTo>
                      <a:lnTo>
                        <a:pt x="125" y="790"/>
                      </a:lnTo>
                      <a:lnTo>
                        <a:pt x="125" y="739"/>
                      </a:lnTo>
                      <a:lnTo>
                        <a:pt x="123" y="737"/>
                      </a:lnTo>
                      <a:close/>
                      <a:moveTo>
                        <a:pt x="43" y="546"/>
                      </a:moveTo>
                      <a:lnTo>
                        <a:pt x="40" y="542"/>
                      </a:lnTo>
                      <a:lnTo>
                        <a:pt x="43" y="539"/>
                      </a:lnTo>
                      <a:lnTo>
                        <a:pt x="43" y="537"/>
                      </a:lnTo>
                      <a:lnTo>
                        <a:pt x="43" y="537"/>
                      </a:lnTo>
                      <a:lnTo>
                        <a:pt x="43" y="535"/>
                      </a:lnTo>
                      <a:lnTo>
                        <a:pt x="43" y="535"/>
                      </a:lnTo>
                      <a:lnTo>
                        <a:pt x="46" y="535"/>
                      </a:lnTo>
                      <a:lnTo>
                        <a:pt x="47" y="535"/>
                      </a:lnTo>
                      <a:lnTo>
                        <a:pt x="50" y="536"/>
                      </a:lnTo>
                      <a:lnTo>
                        <a:pt x="51" y="537"/>
                      </a:lnTo>
                      <a:lnTo>
                        <a:pt x="51" y="542"/>
                      </a:lnTo>
                      <a:lnTo>
                        <a:pt x="47" y="545"/>
                      </a:lnTo>
                      <a:lnTo>
                        <a:pt x="43" y="546"/>
                      </a:lnTo>
                      <a:close/>
                      <a:moveTo>
                        <a:pt x="63" y="773"/>
                      </a:moveTo>
                      <a:lnTo>
                        <a:pt x="61" y="772"/>
                      </a:lnTo>
                      <a:lnTo>
                        <a:pt x="66" y="769"/>
                      </a:lnTo>
                      <a:lnTo>
                        <a:pt x="71" y="769"/>
                      </a:lnTo>
                      <a:lnTo>
                        <a:pt x="77" y="772"/>
                      </a:lnTo>
                      <a:lnTo>
                        <a:pt x="83" y="773"/>
                      </a:lnTo>
                      <a:lnTo>
                        <a:pt x="83" y="775"/>
                      </a:lnTo>
                      <a:lnTo>
                        <a:pt x="83" y="776"/>
                      </a:lnTo>
                      <a:lnTo>
                        <a:pt x="83" y="777"/>
                      </a:lnTo>
                      <a:lnTo>
                        <a:pt x="82" y="777"/>
                      </a:lnTo>
                      <a:lnTo>
                        <a:pt x="80" y="779"/>
                      </a:lnTo>
                      <a:lnTo>
                        <a:pt x="80" y="779"/>
                      </a:lnTo>
                      <a:lnTo>
                        <a:pt x="77" y="777"/>
                      </a:lnTo>
                      <a:lnTo>
                        <a:pt x="74" y="777"/>
                      </a:lnTo>
                      <a:lnTo>
                        <a:pt x="71" y="777"/>
                      </a:lnTo>
                      <a:lnTo>
                        <a:pt x="70" y="777"/>
                      </a:lnTo>
                      <a:lnTo>
                        <a:pt x="66" y="777"/>
                      </a:lnTo>
                      <a:lnTo>
                        <a:pt x="66" y="776"/>
                      </a:lnTo>
                      <a:lnTo>
                        <a:pt x="64" y="775"/>
                      </a:lnTo>
                      <a:lnTo>
                        <a:pt x="63" y="773"/>
                      </a:lnTo>
                      <a:close/>
                      <a:moveTo>
                        <a:pt x="21" y="743"/>
                      </a:moveTo>
                      <a:lnTo>
                        <a:pt x="23" y="744"/>
                      </a:lnTo>
                      <a:lnTo>
                        <a:pt x="24" y="746"/>
                      </a:lnTo>
                      <a:lnTo>
                        <a:pt x="24" y="746"/>
                      </a:lnTo>
                      <a:lnTo>
                        <a:pt x="27" y="746"/>
                      </a:lnTo>
                      <a:lnTo>
                        <a:pt x="33" y="747"/>
                      </a:lnTo>
                      <a:lnTo>
                        <a:pt x="37" y="750"/>
                      </a:lnTo>
                      <a:lnTo>
                        <a:pt x="41" y="753"/>
                      </a:lnTo>
                      <a:lnTo>
                        <a:pt x="46" y="756"/>
                      </a:lnTo>
                      <a:lnTo>
                        <a:pt x="43" y="756"/>
                      </a:lnTo>
                      <a:lnTo>
                        <a:pt x="40" y="754"/>
                      </a:lnTo>
                      <a:lnTo>
                        <a:pt x="37" y="753"/>
                      </a:lnTo>
                      <a:lnTo>
                        <a:pt x="36" y="752"/>
                      </a:lnTo>
                      <a:lnTo>
                        <a:pt x="33" y="750"/>
                      </a:lnTo>
                      <a:lnTo>
                        <a:pt x="26" y="749"/>
                      </a:lnTo>
                      <a:lnTo>
                        <a:pt x="23" y="747"/>
                      </a:lnTo>
                      <a:lnTo>
                        <a:pt x="21" y="746"/>
                      </a:lnTo>
                      <a:lnTo>
                        <a:pt x="18" y="743"/>
                      </a:lnTo>
                      <a:lnTo>
                        <a:pt x="18" y="742"/>
                      </a:lnTo>
                      <a:lnTo>
                        <a:pt x="20" y="742"/>
                      </a:lnTo>
                      <a:lnTo>
                        <a:pt x="21" y="743"/>
                      </a:lnTo>
                      <a:close/>
                      <a:moveTo>
                        <a:pt x="38" y="757"/>
                      </a:moveTo>
                      <a:lnTo>
                        <a:pt x="46" y="759"/>
                      </a:lnTo>
                      <a:lnTo>
                        <a:pt x="46" y="756"/>
                      </a:lnTo>
                      <a:lnTo>
                        <a:pt x="47" y="757"/>
                      </a:lnTo>
                      <a:lnTo>
                        <a:pt x="50" y="760"/>
                      </a:lnTo>
                      <a:lnTo>
                        <a:pt x="50" y="762"/>
                      </a:lnTo>
                      <a:lnTo>
                        <a:pt x="51" y="762"/>
                      </a:lnTo>
                      <a:lnTo>
                        <a:pt x="56" y="760"/>
                      </a:lnTo>
                      <a:lnTo>
                        <a:pt x="57" y="762"/>
                      </a:lnTo>
                      <a:lnTo>
                        <a:pt x="59" y="762"/>
                      </a:lnTo>
                      <a:lnTo>
                        <a:pt x="61" y="766"/>
                      </a:lnTo>
                      <a:lnTo>
                        <a:pt x="56" y="772"/>
                      </a:lnTo>
                      <a:lnTo>
                        <a:pt x="51" y="775"/>
                      </a:lnTo>
                      <a:lnTo>
                        <a:pt x="48" y="773"/>
                      </a:lnTo>
                      <a:lnTo>
                        <a:pt x="50" y="772"/>
                      </a:lnTo>
                      <a:lnTo>
                        <a:pt x="51" y="770"/>
                      </a:lnTo>
                      <a:lnTo>
                        <a:pt x="51" y="769"/>
                      </a:lnTo>
                      <a:lnTo>
                        <a:pt x="51" y="767"/>
                      </a:lnTo>
                      <a:lnTo>
                        <a:pt x="51" y="767"/>
                      </a:lnTo>
                      <a:lnTo>
                        <a:pt x="48" y="767"/>
                      </a:lnTo>
                      <a:lnTo>
                        <a:pt x="47" y="767"/>
                      </a:lnTo>
                      <a:lnTo>
                        <a:pt x="47" y="769"/>
                      </a:lnTo>
                      <a:lnTo>
                        <a:pt x="47" y="769"/>
                      </a:lnTo>
                      <a:lnTo>
                        <a:pt x="46" y="770"/>
                      </a:lnTo>
                      <a:lnTo>
                        <a:pt x="46" y="772"/>
                      </a:lnTo>
                      <a:lnTo>
                        <a:pt x="43" y="770"/>
                      </a:lnTo>
                      <a:lnTo>
                        <a:pt x="43" y="769"/>
                      </a:lnTo>
                      <a:lnTo>
                        <a:pt x="43" y="767"/>
                      </a:lnTo>
                      <a:lnTo>
                        <a:pt x="43" y="766"/>
                      </a:lnTo>
                      <a:lnTo>
                        <a:pt x="41" y="765"/>
                      </a:lnTo>
                      <a:lnTo>
                        <a:pt x="41" y="765"/>
                      </a:lnTo>
                      <a:lnTo>
                        <a:pt x="40" y="765"/>
                      </a:lnTo>
                      <a:lnTo>
                        <a:pt x="38" y="765"/>
                      </a:lnTo>
                      <a:lnTo>
                        <a:pt x="37" y="763"/>
                      </a:lnTo>
                      <a:lnTo>
                        <a:pt x="37" y="762"/>
                      </a:lnTo>
                      <a:lnTo>
                        <a:pt x="36" y="760"/>
                      </a:lnTo>
                      <a:lnTo>
                        <a:pt x="33" y="760"/>
                      </a:lnTo>
                      <a:lnTo>
                        <a:pt x="36" y="757"/>
                      </a:lnTo>
                      <a:lnTo>
                        <a:pt x="38" y="757"/>
                      </a:lnTo>
                      <a:close/>
                      <a:moveTo>
                        <a:pt x="92" y="798"/>
                      </a:moveTo>
                      <a:lnTo>
                        <a:pt x="92" y="798"/>
                      </a:lnTo>
                      <a:lnTo>
                        <a:pt x="92" y="798"/>
                      </a:lnTo>
                      <a:lnTo>
                        <a:pt x="90" y="796"/>
                      </a:lnTo>
                      <a:lnTo>
                        <a:pt x="90" y="796"/>
                      </a:lnTo>
                      <a:lnTo>
                        <a:pt x="90" y="796"/>
                      </a:lnTo>
                      <a:lnTo>
                        <a:pt x="89" y="796"/>
                      </a:lnTo>
                      <a:lnTo>
                        <a:pt x="89" y="796"/>
                      </a:lnTo>
                      <a:lnTo>
                        <a:pt x="86" y="796"/>
                      </a:lnTo>
                      <a:lnTo>
                        <a:pt x="83" y="795"/>
                      </a:lnTo>
                      <a:lnTo>
                        <a:pt x="80" y="792"/>
                      </a:lnTo>
                      <a:lnTo>
                        <a:pt x="79" y="792"/>
                      </a:lnTo>
                      <a:lnTo>
                        <a:pt x="77" y="792"/>
                      </a:lnTo>
                      <a:lnTo>
                        <a:pt x="77" y="792"/>
                      </a:lnTo>
                      <a:lnTo>
                        <a:pt x="76" y="792"/>
                      </a:lnTo>
                      <a:lnTo>
                        <a:pt x="76" y="792"/>
                      </a:lnTo>
                      <a:lnTo>
                        <a:pt x="77" y="790"/>
                      </a:lnTo>
                      <a:lnTo>
                        <a:pt x="82" y="790"/>
                      </a:lnTo>
                      <a:lnTo>
                        <a:pt x="84" y="792"/>
                      </a:lnTo>
                      <a:lnTo>
                        <a:pt x="87" y="793"/>
                      </a:lnTo>
                      <a:lnTo>
                        <a:pt x="93" y="792"/>
                      </a:lnTo>
                      <a:lnTo>
                        <a:pt x="94" y="793"/>
                      </a:lnTo>
                      <a:lnTo>
                        <a:pt x="96" y="795"/>
                      </a:lnTo>
                      <a:lnTo>
                        <a:pt x="94" y="796"/>
                      </a:lnTo>
                      <a:lnTo>
                        <a:pt x="94" y="798"/>
                      </a:lnTo>
                      <a:lnTo>
                        <a:pt x="93" y="798"/>
                      </a:lnTo>
                      <a:lnTo>
                        <a:pt x="92" y="798"/>
                      </a:lnTo>
                      <a:close/>
                      <a:moveTo>
                        <a:pt x="126" y="796"/>
                      </a:moveTo>
                      <a:lnTo>
                        <a:pt x="125" y="798"/>
                      </a:lnTo>
                      <a:lnTo>
                        <a:pt x="126" y="799"/>
                      </a:lnTo>
                      <a:lnTo>
                        <a:pt x="129" y="799"/>
                      </a:lnTo>
                      <a:lnTo>
                        <a:pt x="129" y="799"/>
                      </a:lnTo>
                      <a:lnTo>
                        <a:pt x="130" y="799"/>
                      </a:lnTo>
                      <a:lnTo>
                        <a:pt x="130" y="800"/>
                      </a:lnTo>
                      <a:lnTo>
                        <a:pt x="130" y="800"/>
                      </a:lnTo>
                      <a:lnTo>
                        <a:pt x="130" y="800"/>
                      </a:lnTo>
                      <a:lnTo>
                        <a:pt x="132" y="802"/>
                      </a:lnTo>
                      <a:lnTo>
                        <a:pt x="133" y="803"/>
                      </a:lnTo>
                      <a:lnTo>
                        <a:pt x="133" y="805"/>
                      </a:lnTo>
                      <a:lnTo>
                        <a:pt x="135" y="806"/>
                      </a:lnTo>
                      <a:lnTo>
                        <a:pt x="135" y="808"/>
                      </a:lnTo>
                      <a:lnTo>
                        <a:pt x="135" y="809"/>
                      </a:lnTo>
                      <a:lnTo>
                        <a:pt x="130" y="806"/>
                      </a:lnTo>
                      <a:lnTo>
                        <a:pt x="127" y="805"/>
                      </a:lnTo>
                      <a:lnTo>
                        <a:pt x="123" y="805"/>
                      </a:lnTo>
                      <a:lnTo>
                        <a:pt x="120" y="803"/>
                      </a:lnTo>
                      <a:lnTo>
                        <a:pt x="120" y="799"/>
                      </a:lnTo>
                      <a:lnTo>
                        <a:pt x="119" y="799"/>
                      </a:lnTo>
                      <a:lnTo>
                        <a:pt x="117" y="799"/>
                      </a:lnTo>
                      <a:lnTo>
                        <a:pt x="116" y="798"/>
                      </a:lnTo>
                      <a:lnTo>
                        <a:pt x="115" y="798"/>
                      </a:lnTo>
                      <a:lnTo>
                        <a:pt x="112" y="799"/>
                      </a:lnTo>
                      <a:lnTo>
                        <a:pt x="112" y="800"/>
                      </a:lnTo>
                      <a:lnTo>
                        <a:pt x="113" y="803"/>
                      </a:lnTo>
                      <a:lnTo>
                        <a:pt x="115" y="805"/>
                      </a:lnTo>
                      <a:lnTo>
                        <a:pt x="113" y="805"/>
                      </a:lnTo>
                      <a:lnTo>
                        <a:pt x="110" y="803"/>
                      </a:lnTo>
                      <a:lnTo>
                        <a:pt x="107" y="800"/>
                      </a:lnTo>
                      <a:lnTo>
                        <a:pt x="106" y="800"/>
                      </a:lnTo>
                      <a:lnTo>
                        <a:pt x="106" y="800"/>
                      </a:lnTo>
                      <a:lnTo>
                        <a:pt x="106" y="799"/>
                      </a:lnTo>
                      <a:lnTo>
                        <a:pt x="106" y="799"/>
                      </a:lnTo>
                      <a:lnTo>
                        <a:pt x="106" y="799"/>
                      </a:lnTo>
                      <a:lnTo>
                        <a:pt x="104" y="799"/>
                      </a:lnTo>
                      <a:lnTo>
                        <a:pt x="103" y="799"/>
                      </a:lnTo>
                      <a:lnTo>
                        <a:pt x="103" y="799"/>
                      </a:lnTo>
                      <a:lnTo>
                        <a:pt x="102" y="798"/>
                      </a:lnTo>
                      <a:lnTo>
                        <a:pt x="100" y="798"/>
                      </a:lnTo>
                      <a:lnTo>
                        <a:pt x="102" y="796"/>
                      </a:lnTo>
                      <a:lnTo>
                        <a:pt x="102" y="795"/>
                      </a:lnTo>
                      <a:lnTo>
                        <a:pt x="103" y="792"/>
                      </a:lnTo>
                      <a:lnTo>
                        <a:pt x="110" y="793"/>
                      </a:lnTo>
                      <a:lnTo>
                        <a:pt x="117" y="795"/>
                      </a:lnTo>
                      <a:lnTo>
                        <a:pt x="119" y="793"/>
                      </a:lnTo>
                      <a:lnTo>
                        <a:pt x="123" y="793"/>
                      </a:lnTo>
                      <a:lnTo>
                        <a:pt x="126" y="793"/>
                      </a:lnTo>
                      <a:lnTo>
                        <a:pt x="129" y="795"/>
                      </a:lnTo>
                      <a:lnTo>
                        <a:pt x="127" y="795"/>
                      </a:lnTo>
                      <a:lnTo>
                        <a:pt x="126" y="796"/>
                      </a:lnTo>
                      <a:close/>
                      <a:moveTo>
                        <a:pt x="126" y="729"/>
                      </a:moveTo>
                      <a:lnTo>
                        <a:pt x="127" y="731"/>
                      </a:lnTo>
                      <a:lnTo>
                        <a:pt x="117" y="729"/>
                      </a:lnTo>
                      <a:lnTo>
                        <a:pt x="115" y="727"/>
                      </a:lnTo>
                      <a:lnTo>
                        <a:pt x="112" y="729"/>
                      </a:lnTo>
                      <a:lnTo>
                        <a:pt x="109" y="730"/>
                      </a:lnTo>
                      <a:lnTo>
                        <a:pt x="107" y="733"/>
                      </a:lnTo>
                      <a:lnTo>
                        <a:pt x="104" y="734"/>
                      </a:lnTo>
                      <a:lnTo>
                        <a:pt x="89" y="740"/>
                      </a:lnTo>
                      <a:lnTo>
                        <a:pt x="87" y="742"/>
                      </a:lnTo>
                      <a:lnTo>
                        <a:pt x="87" y="743"/>
                      </a:lnTo>
                      <a:lnTo>
                        <a:pt x="83" y="754"/>
                      </a:lnTo>
                      <a:lnTo>
                        <a:pt x="83" y="757"/>
                      </a:lnTo>
                      <a:lnTo>
                        <a:pt x="83" y="762"/>
                      </a:lnTo>
                      <a:lnTo>
                        <a:pt x="83" y="765"/>
                      </a:lnTo>
                      <a:lnTo>
                        <a:pt x="82" y="766"/>
                      </a:lnTo>
                      <a:lnTo>
                        <a:pt x="79" y="767"/>
                      </a:lnTo>
                      <a:lnTo>
                        <a:pt x="74" y="767"/>
                      </a:lnTo>
                      <a:lnTo>
                        <a:pt x="67" y="766"/>
                      </a:lnTo>
                      <a:lnTo>
                        <a:pt x="61" y="762"/>
                      </a:lnTo>
                      <a:lnTo>
                        <a:pt x="59" y="759"/>
                      </a:lnTo>
                      <a:lnTo>
                        <a:pt x="59" y="756"/>
                      </a:lnTo>
                      <a:lnTo>
                        <a:pt x="60" y="753"/>
                      </a:lnTo>
                      <a:lnTo>
                        <a:pt x="63" y="753"/>
                      </a:lnTo>
                      <a:lnTo>
                        <a:pt x="66" y="753"/>
                      </a:lnTo>
                      <a:lnTo>
                        <a:pt x="67" y="754"/>
                      </a:lnTo>
                      <a:lnTo>
                        <a:pt x="69" y="756"/>
                      </a:lnTo>
                      <a:lnTo>
                        <a:pt x="69" y="757"/>
                      </a:lnTo>
                      <a:lnTo>
                        <a:pt x="67" y="760"/>
                      </a:lnTo>
                      <a:lnTo>
                        <a:pt x="69" y="759"/>
                      </a:lnTo>
                      <a:lnTo>
                        <a:pt x="70" y="756"/>
                      </a:lnTo>
                      <a:lnTo>
                        <a:pt x="70" y="754"/>
                      </a:lnTo>
                      <a:lnTo>
                        <a:pt x="70" y="753"/>
                      </a:lnTo>
                      <a:lnTo>
                        <a:pt x="71" y="752"/>
                      </a:lnTo>
                      <a:lnTo>
                        <a:pt x="74" y="750"/>
                      </a:lnTo>
                      <a:lnTo>
                        <a:pt x="76" y="750"/>
                      </a:lnTo>
                      <a:lnTo>
                        <a:pt x="79" y="747"/>
                      </a:lnTo>
                      <a:lnTo>
                        <a:pt x="80" y="746"/>
                      </a:lnTo>
                      <a:lnTo>
                        <a:pt x="80" y="744"/>
                      </a:lnTo>
                      <a:lnTo>
                        <a:pt x="79" y="742"/>
                      </a:lnTo>
                      <a:lnTo>
                        <a:pt x="76" y="742"/>
                      </a:lnTo>
                      <a:lnTo>
                        <a:pt x="71" y="743"/>
                      </a:lnTo>
                      <a:lnTo>
                        <a:pt x="66" y="747"/>
                      </a:lnTo>
                      <a:lnTo>
                        <a:pt x="61" y="750"/>
                      </a:lnTo>
                      <a:lnTo>
                        <a:pt x="59" y="752"/>
                      </a:lnTo>
                      <a:lnTo>
                        <a:pt x="57" y="754"/>
                      </a:lnTo>
                      <a:lnTo>
                        <a:pt x="56" y="759"/>
                      </a:lnTo>
                      <a:lnTo>
                        <a:pt x="54" y="757"/>
                      </a:lnTo>
                      <a:lnTo>
                        <a:pt x="51" y="757"/>
                      </a:lnTo>
                      <a:lnTo>
                        <a:pt x="50" y="756"/>
                      </a:lnTo>
                      <a:lnTo>
                        <a:pt x="48" y="754"/>
                      </a:lnTo>
                      <a:lnTo>
                        <a:pt x="47" y="753"/>
                      </a:lnTo>
                      <a:lnTo>
                        <a:pt x="47" y="753"/>
                      </a:lnTo>
                      <a:lnTo>
                        <a:pt x="48" y="752"/>
                      </a:lnTo>
                      <a:lnTo>
                        <a:pt x="48" y="750"/>
                      </a:lnTo>
                      <a:lnTo>
                        <a:pt x="50" y="744"/>
                      </a:lnTo>
                      <a:lnTo>
                        <a:pt x="51" y="743"/>
                      </a:lnTo>
                      <a:lnTo>
                        <a:pt x="53" y="742"/>
                      </a:lnTo>
                      <a:lnTo>
                        <a:pt x="54" y="742"/>
                      </a:lnTo>
                      <a:lnTo>
                        <a:pt x="54" y="742"/>
                      </a:lnTo>
                      <a:lnTo>
                        <a:pt x="56" y="743"/>
                      </a:lnTo>
                      <a:lnTo>
                        <a:pt x="57" y="743"/>
                      </a:lnTo>
                      <a:lnTo>
                        <a:pt x="59" y="742"/>
                      </a:lnTo>
                      <a:lnTo>
                        <a:pt x="61" y="739"/>
                      </a:lnTo>
                      <a:lnTo>
                        <a:pt x="63" y="739"/>
                      </a:lnTo>
                      <a:lnTo>
                        <a:pt x="66" y="739"/>
                      </a:lnTo>
                      <a:lnTo>
                        <a:pt x="69" y="739"/>
                      </a:lnTo>
                      <a:lnTo>
                        <a:pt x="71" y="739"/>
                      </a:lnTo>
                      <a:lnTo>
                        <a:pt x="74" y="737"/>
                      </a:lnTo>
                      <a:lnTo>
                        <a:pt x="70" y="736"/>
                      </a:lnTo>
                      <a:lnTo>
                        <a:pt x="67" y="736"/>
                      </a:lnTo>
                      <a:lnTo>
                        <a:pt x="63" y="736"/>
                      </a:lnTo>
                      <a:lnTo>
                        <a:pt x="60" y="736"/>
                      </a:lnTo>
                      <a:lnTo>
                        <a:pt x="59" y="736"/>
                      </a:lnTo>
                      <a:lnTo>
                        <a:pt x="59" y="737"/>
                      </a:lnTo>
                      <a:lnTo>
                        <a:pt x="57" y="737"/>
                      </a:lnTo>
                      <a:lnTo>
                        <a:pt x="57" y="737"/>
                      </a:lnTo>
                      <a:lnTo>
                        <a:pt x="57" y="737"/>
                      </a:lnTo>
                      <a:lnTo>
                        <a:pt x="57" y="736"/>
                      </a:lnTo>
                      <a:lnTo>
                        <a:pt x="57" y="736"/>
                      </a:lnTo>
                      <a:lnTo>
                        <a:pt x="54" y="736"/>
                      </a:lnTo>
                      <a:lnTo>
                        <a:pt x="54" y="736"/>
                      </a:lnTo>
                      <a:lnTo>
                        <a:pt x="53" y="736"/>
                      </a:lnTo>
                      <a:lnTo>
                        <a:pt x="51" y="737"/>
                      </a:lnTo>
                      <a:lnTo>
                        <a:pt x="51" y="740"/>
                      </a:lnTo>
                      <a:lnTo>
                        <a:pt x="51" y="740"/>
                      </a:lnTo>
                      <a:lnTo>
                        <a:pt x="51" y="740"/>
                      </a:lnTo>
                      <a:lnTo>
                        <a:pt x="50" y="742"/>
                      </a:lnTo>
                      <a:lnTo>
                        <a:pt x="48" y="743"/>
                      </a:lnTo>
                      <a:lnTo>
                        <a:pt x="48" y="744"/>
                      </a:lnTo>
                      <a:lnTo>
                        <a:pt x="47" y="747"/>
                      </a:lnTo>
                      <a:lnTo>
                        <a:pt x="47" y="747"/>
                      </a:lnTo>
                      <a:lnTo>
                        <a:pt x="44" y="749"/>
                      </a:lnTo>
                      <a:lnTo>
                        <a:pt x="41" y="747"/>
                      </a:lnTo>
                      <a:lnTo>
                        <a:pt x="38" y="744"/>
                      </a:lnTo>
                      <a:lnTo>
                        <a:pt x="37" y="743"/>
                      </a:lnTo>
                      <a:lnTo>
                        <a:pt x="40" y="742"/>
                      </a:lnTo>
                      <a:lnTo>
                        <a:pt x="43" y="740"/>
                      </a:lnTo>
                      <a:lnTo>
                        <a:pt x="44" y="740"/>
                      </a:lnTo>
                      <a:lnTo>
                        <a:pt x="46" y="739"/>
                      </a:lnTo>
                      <a:lnTo>
                        <a:pt x="46" y="737"/>
                      </a:lnTo>
                      <a:lnTo>
                        <a:pt x="46" y="736"/>
                      </a:lnTo>
                      <a:lnTo>
                        <a:pt x="44" y="734"/>
                      </a:lnTo>
                      <a:lnTo>
                        <a:pt x="44" y="737"/>
                      </a:lnTo>
                      <a:lnTo>
                        <a:pt x="44" y="737"/>
                      </a:lnTo>
                      <a:lnTo>
                        <a:pt x="40" y="737"/>
                      </a:lnTo>
                      <a:lnTo>
                        <a:pt x="37" y="739"/>
                      </a:lnTo>
                      <a:lnTo>
                        <a:pt x="37" y="739"/>
                      </a:lnTo>
                      <a:lnTo>
                        <a:pt x="33" y="739"/>
                      </a:lnTo>
                      <a:lnTo>
                        <a:pt x="31" y="739"/>
                      </a:lnTo>
                      <a:lnTo>
                        <a:pt x="31" y="737"/>
                      </a:lnTo>
                      <a:lnTo>
                        <a:pt x="30" y="736"/>
                      </a:lnTo>
                      <a:lnTo>
                        <a:pt x="30" y="736"/>
                      </a:lnTo>
                      <a:lnTo>
                        <a:pt x="30" y="734"/>
                      </a:lnTo>
                      <a:lnTo>
                        <a:pt x="30" y="733"/>
                      </a:lnTo>
                      <a:lnTo>
                        <a:pt x="30" y="733"/>
                      </a:lnTo>
                      <a:lnTo>
                        <a:pt x="28" y="733"/>
                      </a:lnTo>
                      <a:lnTo>
                        <a:pt x="28" y="731"/>
                      </a:lnTo>
                      <a:lnTo>
                        <a:pt x="28" y="731"/>
                      </a:lnTo>
                      <a:lnTo>
                        <a:pt x="27" y="730"/>
                      </a:lnTo>
                      <a:lnTo>
                        <a:pt x="26" y="729"/>
                      </a:lnTo>
                      <a:lnTo>
                        <a:pt x="26" y="727"/>
                      </a:lnTo>
                      <a:lnTo>
                        <a:pt x="26" y="726"/>
                      </a:lnTo>
                      <a:lnTo>
                        <a:pt x="26" y="726"/>
                      </a:lnTo>
                      <a:lnTo>
                        <a:pt x="26" y="726"/>
                      </a:lnTo>
                      <a:lnTo>
                        <a:pt x="27" y="726"/>
                      </a:lnTo>
                      <a:lnTo>
                        <a:pt x="33" y="727"/>
                      </a:lnTo>
                      <a:lnTo>
                        <a:pt x="36" y="727"/>
                      </a:lnTo>
                      <a:lnTo>
                        <a:pt x="36" y="724"/>
                      </a:lnTo>
                      <a:lnTo>
                        <a:pt x="37" y="726"/>
                      </a:lnTo>
                      <a:lnTo>
                        <a:pt x="40" y="726"/>
                      </a:lnTo>
                      <a:lnTo>
                        <a:pt x="41" y="726"/>
                      </a:lnTo>
                      <a:lnTo>
                        <a:pt x="43" y="726"/>
                      </a:lnTo>
                      <a:lnTo>
                        <a:pt x="46" y="726"/>
                      </a:lnTo>
                      <a:lnTo>
                        <a:pt x="50" y="721"/>
                      </a:lnTo>
                      <a:lnTo>
                        <a:pt x="51" y="721"/>
                      </a:lnTo>
                      <a:lnTo>
                        <a:pt x="53" y="721"/>
                      </a:lnTo>
                      <a:lnTo>
                        <a:pt x="54" y="723"/>
                      </a:lnTo>
                      <a:lnTo>
                        <a:pt x="54" y="724"/>
                      </a:lnTo>
                      <a:lnTo>
                        <a:pt x="56" y="726"/>
                      </a:lnTo>
                      <a:lnTo>
                        <a:pt x="54" y="727"/>
                      </a:lnTo>
                      <a:lnTo>
                        <a:pt x="54" y="731"/>
                      </a:lnTo>
                      <a:lnTo>
                        <a:pt x="54" y="731"/>
                      </a:lnTo>
                      <a:lnTo>
                        <a:pt x="54" y="731"/>
                      </a:lnTo>
                      <a:lnTo>
                        <a:pt x="56" y="730"/>
                      </a:lnTo>
                      <a:lnTo>
                        <a:pt x="56" y="729"/>
                      </a:lnTo>
                      <a:lnTo>
                        <a:pt x="56" y="727"/>
                      </a:lnTo>
                      <a:lnTo>
                        <a:pt x="56" y="726"/>
                      </a:lnTo>
                      <a:lnTo>
                        <a:pt x="54" y="724"/>
                      </a:lnTo>
                      <a:lnTo>
                        <a:pt x="54" y="723"/>
                      </a:lnTo>
                      <a:lnTo>
                        <a:pt x="54" y="721"/>
                      </a:lnTo>
                      <a:lnTo>
                        <a:pt x="56" y="721"/>
                      </a:lnTo>
                      <a:lnTo>
                        <a:pt x="56" y="720"/>
                      </a:lnTo>
                      <a:lnTo>
                        <a:pt x="56" y="720"/>
                      </a:lnTo>
                      <a:lnTo>
                        <a:pt x="56" y="717"/>
                      </a:lnTo>
                      <a:lnTo>
                        <a:pt x="56" y="716"/>
                      </a:lnTo>
                      <a:lnTo>
                        <a:pt x="54" y="713"/>
                      </a:lnTo>
                      <a:lnTo>
                        <a:pt x="50" y="710"/>
                      </a:lnTo>
                      <a:lnTo>
                        <a:pt x="48" y="708"/>
                      </a:lnTo>
                      <a:lnTo>
                        <a:pt x="46" y="708"/>
                      </a:lnTo>
                      <a:lnTo>
                        <a:pt x="44" y="708"/>
                      </a:lnTo>
                      <a:lnTo>
                        <a:pt x="51" y="711"/>
                      </a:lnTo>
                      <a:lnTo>
                        <a:pt x="54" y="714"/>
                      </a:lnTo>
                      <a:lnTo>
                        <a:pt x="56" y="717"/>
                      </a:lnTo>
                      <a:lnTo>
                        <a:pt x="41" y="724"/>
                      </a:lnTo>
                      <a:lnTo>
                        <a:pt x="38" y="723"/>
                      </a:lnTo>
                      <a:lnTo>
                        <a:pt x="36" y="719"/>
                      </a:lnTo>
                      <a:lnTo>
                        <a:pt x="33" y="717"/>
                      </a:lnTo>
                      <a:lnTo>
                        <a:pt x="30" y="716"/>
                      </a:lnTo>
                      <a:lnTo>
                        <a:pt x="28" y="716"/>
                      </a:lnTo>
                      <a:lnTo>
                        <a:pt x="27" y="714"/>
                      </a:lnTo>
                      <a:lnTo>
                        <a:pt x="27" y="713"/>
                      </a:lnTo>
                      <a:lnTo>
                        <a:pt x="28" y="713"/>
                      </a:lnTo>
                      <a:lnTo>
                        <a:pt x="30" y="711"/>
                      </a:lnTo>
                      <a:lnTo>
                        <a:pt x="31" y="713"/>
                      </a:lnTo>
                      <a:lnTo>
                        <a:pt x="33" y="707"/>
                      </a:lnTo>
                      <a:lnTo>
                        <a:pt x="31" y="704"/>
                      </a:lnTo>
                      <a:lnTo>
                        <a:pt x="30" y="703"/>
                      </a:lnTo>
                      <a:lnTo>
                        <a:pt x="28" y="701"/>
                      </a:lnTo>
                      <a:lnTo>
                        <a:pt x="27" y="701"/>
                      </a:lnTo>
                      <a:lnTo>
                        <a:pt x="24" y="701"/>
                      </a:lnTo>
                      <a:lnTo>
                        <a:pt x="23" y="701"/>
                      </a:lnTo>
                      <a:lnTo>
                        <a:pt x="18" y="698"/>
                      </a:lnTo>
                      <a:lnTo>
                        <a:pt x="15" y="696"/>
                      </a:lnTo>
                      <a:lnTo>
                        <a:pt x="13" y="693"/>
                      </a:lnTo>
                      <a:lnTo>
                        <a:pt x="11" y="688"/>
                      </a:lnTo>
                      <a:lnTo>
                        <a:pt x="15" y="688"/>
                      </a:lnTo>
                      <a:lnTo>
                        <a:pt x="17" y="688"/>
                      </a:lnTo>
                      <a:lnTo>
                        <a:pt x="18" y="687"/>
                      </a:lnTo>
                      <a:lnTo>
                        <a:pt x="18" y="687"/>
                      </a:lnTo>
                      <a:lnTo>
                        <a:pt x="18" y="685"/>
                      </a:lnTo>
                      <a:lnTo>
                        <a:pt x="18" y="684"/>
                      </a:lnTo>
                      <a:lnTo>
                        <a:pt x="18" y="684"/>
                      </a:lnTo>
                      <a:lnTo>
                        <a:pt x="17" y="683"/>
                      </a:lnTo>
                      <a:lnTo>
                        <a:pt x="17" y="681"/>
                      </a:lnTo>
                      <a:lnTo>
                        <a:pt x="18" y="680"/>
                      </a:lnTo>
                      <a:lnTo>
                        <a:pt x="18" y="680"/>
                      </a:lnTo>
                      <a:lnTo>
                        <a:pt x="20" y="680"/>
                      </a:lnTo>
                      <a:lnTo>
                        <a:pt x="21" y="680"/>
                      </a:lnTo>
                      <a:lnTo>
                        <a:pt x="21" y="681"/>
                      </a:lnTo>
                      <a:lnTo>
                        <a:pt x="26" y="684"/>
                      </a:lnTo>
                      <a:lnTo>
                        <a:pt x="27" y="688"/>
                      </a:lnTo>
                      <a:lnTo>
                        <a:pt x="30" y="693"/>
                      </a:lnTo>
                      <a:lnTo>
                        <a:pt x="34" y="696"/>
                      </a:lnTo>
                      <a:lnTo>
                        <a:pt x="34" y="693"/>
                      </a:lnTo>
                      <a:lnTo>
                        <a:pt x="34" y="691"/>
                      </a:lnTo>
                      <a:lnTo>
                        <a:pt x="36" y="690"/>
                      </a:lnTo>
                      <a:lnTo>
                        <a:pt x="36" y="687"/>
                      </a:lnTo>
                      <a:lnTo>
                        <a:pt x="36" y="687"/>
                      </a:lnTo>
                      <a:lnTo>
                        <a:pt x="37" y="687"/>
                      </a:lnTo>
                      <a:lnTo>
                        <a:pt x="37" y="687"/>
                      </a:lnTo>
                      <a:lnTo>
                        <a:pt x="37" y="687"/>
                      </a:lnTo>
                      <a:lnTo>
                        <a:pt x="37" y="685"/>
                      </a:lnTo>
                      <a:lnTo>
                        <a:pt x="37" y="685"/>
                      </a:lnTo>
                      <a:lnTo>
                        <a:pt x="36" y="684"/>
                      </a:lnTo>
                      <a:lnTo>
                        <a:pt x="37" y="683"/>
                      </a:lnTo>
                      <a:lnTo>
                        <a:pt x="34" y="684"/>
                      </a:lnTo>
                      <a:lnTo>
                        <a:pt x="33" y="690"/>
                      </a:lnTo>
                      <a:lnTo>
                        <a:pt x="31" y="691"/>
                      </a:lnTo>
                      <a:lnTo>
                        <a:pt x="30" y="690"/>
                      </a:lnTo>
                      <a:lnTo>
                        <a:pt x="28" y="687"/>
                      </a:lnTo>
                      <a:lnTo>
                        <a:pt x="27" y="685"/>
                      </a:lnTo>
                      <a:lnTo>
                        <a:pt x="27" y="683"/>
                      </a:lnTo>
                      <a:lnTo>
                        <a:pt x="31" y="684"/>
                      </a:lnTo>
                      <a:lnTo>
                        <a:pt x="30" y="683"/>
                      </a:lnTo>
                      <a:lnTo>
                        <a:pt x="26" y="681"/>
                      </a:lnTo>
                      <a:lnTo>
                        <a:pt x="24" y="680"/>
                      </a:lnTo>
                      <a:lnTo>
                        <a:pt x="23" y="678"/>
                      </a:lnTo>
                      <a:lnTo>
                        <a:pt x="20" y="675"/>
                      </a:lnTo>
                      <a:lnTo>
                        <a:pt x="23" y="671"/>
                      </a:lnTo>
                      <a:lnTo>
                        <a:pt x="23" y="671"/>
                      </a:lnTo>
                      <a:lnTo>
                        <a:pt x="24" y="670"/>
                      </a:lnTo>
                      <a:lnTo>
                        <a:pt x="26" y="670"/>
                      </a:lnTo>
                      <a:lnTo>
                        <a:pt x="27" y="670"/>
                      </a:lnTo>
                      <a:lnTo>
                        <a:pt x="28" y="670"/>
                      </a:lnTo>
                      <a:lnTo>
                        <a:pt x="30" y="670"/>
                      </a:lnTo>
                      <a:lnTo>
                        <a:pt x="30" y="670"/>
                      </a:lnTo>
                      <a:lnTo>
                        <a:pt x="31" y="670"/>
                      </a:lnTo>
                      <a:lnTo>
                        <a:pt x="30" y="668"/>
                      </a:lnTo>
                      <a:lnTo>
                        <a:pt x="30" y="668"/>
                      </a:lnTo>
                      <a:lnTo>
                        <a:pt x="28" y="668"/>
                      </a:lnTo>
                      <a:lnTo>
                        <a:pt x="28" y="668"/>
                      </a:lnTo>
                      <a:lnTo>
                        <a:pt x="26" y="665"/>
                      </a:lnTo>
                      <a:lnTo>
                        <a:pt x="26" y="664"/>
                      </a:lnTo>
                      <a:lnTo>
                        <a:pt x="24" y="661"/>
                      </a:lnTo>
                      <a:lnTo>
                        <a:pt x="26" y="660"/>
                      </a:lnTo>
                      <a:lnTo>
                        <a:pt x="27" y="658"/>
                      </a:lnTo>
                      <a:lnTo>
                        <a:pt x="30" y="658"/>
                      </a:lnTo>
                      <a:lnTo>
                        <a:pt x="31" y="660"/>
                      </a:lnTo>
                      <a:lnTo>
                        <a:pt x="33" y="660"/>
                      </a:lnTo>
                      <a:lnTo>
                        <a:pt x="33" y="658"/>
                      </a:lnTo>
                      <a:lnTo>
                        <a:pt x="31" y="658"/>
                      </a:lnTo>
                      <a:lnTo>
                        <a:pt x="31" y="657"/>
                      </a:lnTo>
                      <a:lnTo>
                        <a:pt x="30" y="657"/>
                      </a:lnTo>
                      <a:lnTo>
                        <a:pt x="30" y="655"/>
                      </a:lnTo>
                      <a:lnTo>
                        <a:pt x="30" y="654"/>
                      </a:lnTo>
                      <a:lnTo>
                        <a:pt x="30" y="648"/>
                      </a:lnTo>
                      <a:lnTo>
                        <a:pt x="30" y="647"/>
                      </a:lnTo>
                      <a:lnTo>
                        <a:pt x="31" y="645"/>
                      </a:lnTo>
                      <a:lnTo>
                        <a:pt x="30" y="647"/>
                      </a:lnTo>
                      <a:lnTo>
                        <a:pt x="28" y="650"/>
                      </a:lnTo>
                      <a:lnTo>
                        <a:pt x="27" y="657"/>
                      </a:lnTo>
                      <a:lnTo>
                        <a:pt x="24" y="654"/>
                      </a:lnTo>
                      <a:lnTo>
                        <a:pt x="23" y="650"/>
                      </a:lnTo>
                      <a:lnTo>
                        <a:pt x="24" y="637"/>
                      </a:lnTo>
                      <a:lnTo>
                        <a:pt x="24" y="635"/>
                      </a:lnTo>
                      <a:lnTo>
                        <a:pt x="26" y="632"/>
                      </a:lnTo>
                      <a:lnTo>
                        <a:pt x="27" y="632"/>
                      </a:lnTo>
                      <a:lnTo>
                        <a:pt x="28" y="632"/>
                      </a:lnTo>
                      <a:lnTo>
                        <a:pt x="28" y="632"/>
                      </a:lnTo>
                      <a:lnTo>
                        <a:pt x="30" y="631"/>
                      </a:lnTo>
                      <a:lnTo>
                        <a:pt x="27" y="631"/>
                      </a:lnTo>
                      <a:lnTo>
                        <a:pt x="24" y="631"/>
                      </a:lnTo>
                      <a:lnTo>
                        <a:pt x="21" y="629"/>
                      </a:lnTo>
                      <a:lnTo>
                        <a:pt x="21" y="628"/>
                      </a:lnTo>
                      <a:lnTo>
                        <a:pt x="20" y="625"/>
                      </a:lnTo>
                      <a:lnTo>
                        <a:pt x="20" y="619"/>
                      </a:lnTo>
                      <a:lnTo>
                        <a:pt x="30" y="621"/>
                      </a:lnTo>
                      <a:lnTo>
                        <a:pt x="31" y="621"/>
                      </a:lnTo>
                      <a:lnTo>
                        <a:pt x="34" y="622"/>
                      </a:lnTo>
                      <a:lnTo>
                        <a:pt x="37" y="624"/>
                      </a:lnTo>
                      <a:lnTo>
                        <a:pt x="38" y="624"/>
                      </a:lnTo>
                      <a:lnTo>
                        <a:pt x="41" y="624"/>
                      </a:lnTo>
                      <a:lnTo>
                        <a:pt x="38" y="621"/>
                      </a:lnTo>
                      <a:lnTo>
                        <a:pt x="37" y="618"/>
                      </a:lnTo>
                      <a:lnTo>
                        <a:pt x="36" y="611"/>
                      </a:lnTo>
                      <a:lnTo>
                        <a:pt x="34" y="614"/>
                      </a:lnTo>
                      <a:lnTo>
                        <a:pt x="33" y="616"/>
                      </a:lnTo>
                      <a:lnTo>
                        <a:pt x="31" y="618"/>
                      </a:lnTo>
                      <a:lnTo>
                        <a:pt x="28" y="619"/>
                      </a:lnTo>
                      <a:lnTo>
                        <a:pt x="27" y="619"/>
                      </a:lnTo>
                      <a:lnTo>
                        <a:pt x="26" y="618"/>
                      </a:lnTo>
                      <a:lnTo>
                        <a:pt x="24" y="616"/>
                      </a:lnTo>
                      <a:lnTo>
                        <a:pt x="24" y="615"/>
                      </a:lnTo>
                      <a:lnTo>
                        <a:pt x="23" y="615"/>
                      </a:lnTo>
                      <a:lnTo>
                        <a:pt x="23" y="615"/>
                      </a:lnTo>
                      <a:lnTo>
                        <a:pt x="21" y="615"/>
                      </a:lnTo>
                      <a:lnTo>
                        <a:pt x="21" y="614"/>
                      </a:lnTo>
                      <a:lnTo>
                        <a:pt x="20" y="612"/>
                      </a:lnTo>
                      <a:lnTo>
                        <a:pt x="20" y="611"/>
                      </a:lnTo>
                      <a:lnTo>
                        <a:pt x="21" y="611"/>
                      </a:lnTo>
                      <a:lnTo>
                        <a:pt x="23" y="611"/>
                      </a:lnTo>
                      <a:lnTo>
                        <a:pt x="24" y="611"/>
                      </a:lnTo>
                      <a:lnTo>
                        <a:pt x="26" y="612"/>
                      </a:lnTo>
                      <a:lnTo>
                        <a:pt x="27" y="612"/>
                      </a:lnTo>
                      <a:lnTo>
                        <a:pt x="28" y="611"/>
                      </a:lnTo>
                      <a:lnTo>
                        <a:pt x="27" y="609"/>
                      </a:lnTo>
                      <a:lnTo>
                        <a:pt x="27" y="609"/>
                      </a:lnTo>
                      <a:lnTo>
                        <a:pt x="26" y="609"/>
                      </a:lnTo>
                      <a:lnTo>
                        <a:pt x="26" y="609"/>
                      </a:lnTo>
                      <a:lnTo>
                        <a:pt x="23" y="606"/>
                      </a:lnTo>
                      <a:lnTo>
                        <a:pt x="23" y="604"/>
                      </a:lnTo>
                      <a:lnTo>
                        <a:pt x="26" y="602"/>
                      </a:lnTo>
                      <a:lnTo>
                        <a:pt x="27" y="601"/>
                      </a:lnTo>
                      <a:lnTo>
                        <a:pt x="27" y="599"/>
                      </a:lnTo>
                      <a:lnTo>
                        <a:pt x="27" y="595"/>
                      </a:lnTo>
                      <a:lnTo>
                        <a:pt x="27" y="595"/>
                      </a:lnTo>
                      <a:lnTo>
                        <a:pt x="27" y="593"/>
                      </a:lnTo>
                      <a:lnTo>
                        <a:pt x="26" y="592"/>
                      </a:lnTo>
                      <a:lnTo>
                        <a:pt x="24" y="591"/>
                      </a:lnTo>
                      <a:lnTo>
                        <a:pt x="23" y="591"/>
                      </a:lnTo>
                      <a:lnTo>
                        <a:pt x="21" y="591"/>
                      </a:lnTo>
                      <a:lnTo>
                        <a:pt x="21" y="592"/>
                      </a:lnTo>
                      <a:lnTo>
                        <a:pt x="21" y="593"/>
                      </a:lnTo>
                      <a:lnTo>
                        <a:pt x="18" y="592"/>
                      </a:lnTo>
                      <a:lnTo>
                        <a:pt x="15" y="592"/>
                      </a:lnTo>
                      <a:lnTo>
                        <a:pt x="13" y="589"/>
                      </a:lnTo>
                      <a:lnTo>
                        <a:pt x="13" y="588"/>
                      </a:lnTo>
                      <a:lnTo>
                        <a:pt x="13" y="585"/>
                      </a:lnTo>
                      <a:lnTo>
                        <a:pt x="7" y="586"/>
                      </a:lnTo>
                      <a:lnTo>
                        <a:pt x="4" y="588"/>
                      </a:lnTo>
                      <a:lnTo>
                        <a:pt x="3" y="589"/>
                      </a:lnTo>
                      <a:lnTo>
                        <a:pt x="4" y="591"/>
                      </a:lnTo>
                      <a:lnTo>
                        <a:pt x="5" y="592"/>
                      </a:lnTo>
                      <a:lnTo>
                        <a:pt x="5" y="593"/>
                      </a:lnTo>
                      <a:lnTo>
                        <a:pt x="5" y="593"/>
                      </a:lnTo>
                      <a:lnTo>
                        <a:pt x="4" y="595"/>
                      </a:lnTo>
                      <a:lnTo>
                        <a:pt x="3" y="593"/>
                      </a:lnTo>
                      <a:lnTo>
                        <a:pt x="1" y="591"/>
                      </a:lnTo>
                      <a:lnTo>
                        <a:pt x="0" y="589"/>
                      </a:lnTo>
                      <a:lnTo>
                        <a:pt x="3" y="586"/>
                      </a:lnTo>
                      <a:lnTo>
                        <a:pt x="5" y="582"/>
                      </a:lnTo>
                      <a:lnTo>
                        <a:pt x="11" y="579"/>
                      </a:lnTo>
                      <a:lnTo>
                        <a:pt x="14" y="576"/>
                      </a:lnTo>
                      <a:lnTo>
                        <a:pt x="11" y="572"/>
                      </a:lnTo>
                      <a:lnTo>
                        <a:pt x="13" y="570"/>
                      </a:lnTo>
                      <a:lnTo>
                        <a:pt x="17" y="569"/>
                      </a:lnTo>
                      <a:lnTo>
                        <a:pt x="21" y="569"/>
                      </a:lnTo>
                      <a:lnTo>
                        <a:pt x="24" y="569"/>
                      </a:lnTo>
                      <a:lnTo>
                        <a:pt x="26" y="568"/>
                      </a:lnTo>
                      <a:lnTo>
                        <a:pt x="27" y="568"/>
                      </a:lnTo>
                      <a:lnTo>
                        <a:pt x="28" y="566"/>
                      </a:lnTo>
                      <a:lnTo>
                        <a:pt x="28" y="565"/>
                      </a:lnTo>
                      <a:lnTo>
                        <a:pt x="28" y="563"/>
                      </a:lnTo>
                      <a:lnTo>
                        <a:pt x="28" y="563"/>
                      </a:lnTo>
                      <a:lnTo>
                        <a:pt x="28" y="562"/>
                      </a:lnTo>
                      <a:lnTo>
                        <a:pt x="28" y="560"/>
                      </a:lnTo>
                      <a:lnTo>
                        <a:pt x="30" y="559"/>
                      </a:lnTo>
                      <a:lnTo>
                        <a:pt x="31" y="559"/>
                      </a:lnTo>
                      <a:lnTo>
                        <a:pt x="33" y="559"/>
                      </a:lnTo>
                      <a:lnTo>
                        <a:pt x="33" y="560"/>
                      </a:lnTo>
                      <a:lnTo>
                        <a:pt x="33" y="563"/>
                      </a:lnTo>
                      <a:lnTo>
                        <a:pt x="30" y="573"/>
                      </a:lnTo>
                      <a:lnTo>
                        <a:pt x="27" y="576"/>
                      </a:lnTo>
                      <a:lnTo>
                        <a:pt x="24" y="578"/>
                      </a:lnTo>
                      <a:lnTo>
                        <a:pt x="28" y="579"/>
                      </a:lnTo>
                      <a:lnTo>
                        <a:pt x="31" y="575"/>
                      </a:lnTo>
                      <a:lnTo>
                        <a:pt x="33" y="570"/>
                      </a:lnTo>
                      <a:lnTo>
                        <a:pt x="36" y="569"/>
                      </a:lnTo>
                      <a:lnTo>
                        <a:pt x="37" y="572"/>
                      </a:lnTo>
                      <a:lnTo>
                        <a:pt x="34" y="578"/>
                      </a:lnTo>
                      <a:lnTo>
                        <a:pt x="33" y="582"/>
                      </a:lnTo>
                      <a:lnTo>
                        <a:pt x="31" y="586"/>
                      </a:lnTo>
                      <a:lnTo>
                        <a:pt x="34" y="585"/>
                      </a:lnTo>
                      <a:lnTo>
                        <a:pt x="36" y="582"/>
                      </a:lnTo>
                      <a:lnTo>
                        <a:pt x="37" y="572"/>
                      </a:lnTo>
                      <a:lnTo>
                        <a:pt x="37" y="570"/>
                      </a:lnTo>
                      <a:lnTo>
                        <a:pt x="37" y="569"/>
                      </a:lnTo>
                      <a:lnTo>
                        <a:pt x="37" y="568"/>
                      </a:lnTo>
                      <a:lnTo>
                        <a:pt x="36" y="568"/>
                      </a:lnTo>
                      <a:lnTo>
                        <a:pt x="36" y="566"/>
                      </a:lnTo>
                      <a:lnTo>
                        <a:pt x="34" y="563"/>
                      </a:lnTo>
                      <a:lnTo>
                        <a:pt x="36" y="562"/>
                      </a:lnTo>
                      <a:lnTo>
                        <a:pt x="37" y="560"/>
                      </a:lnTo>
                      <a:lnTo>
                        <a:pt x="40" y="559"/>
                      </a:lnTo>
                      <a:lnTo>
                        <a:pt x="43" y="559"/>
                      </a:lnTo>
                      <a:lnTo>
                        <a:pt x="44" y="559"/>
                      </a:lnTo>
                      <a:lnTo>
                        <a:pt x="46" y="559"/>
                      </a:lnTo>
                      <a:lnTo>
                        <a:pt x="48" y="560"/>
                      </a:lnTo>
                      <a:lnTo>
                        <a:pt x="47" y="558"/>
                      </a:lnTo>
                      <a:lnTo>
                        <a:pt x="46" y="556"/>
                      </a:lnTo>
                      <a:lnTo>
                        <a:pt x="43" y="555"/>
                      </a:lnTo>
                      <a:lnTo>
                        <a:pt x="40" y="555"/>
                      </a:lnTo>
                      <a:lnTo>
                        <a:pt x="41" y="550"/>
                      </a:lnTo>
                      <a:lnTo>
                        <a:pt x="41" y="549"/>
                      </a:lnTo>
                      <a:lnTo>
                        <a:pt x="43" y="549"/>
                      </a:lnTo>
                      <a:lnTo>
                        <a:pt x="46" y="547"/>
                      </a:lnTo>
                      <a:lnTo>
                        <a:pt x="47" y="547"/>
                      </a:lnTo>
                      <a:lnTo>
                        <a:pt x="48" y="546"/>
                      </a:lnTo>
                      <a:lnTo>
                        <a:pt x="51" y="545"/>
                      </a:lnTo>
                      <a:lnTo>
                        <a:pt x="53" y="542"/>
                      </a:lnTo>
                      <a:lnTo>
                        <a:pt x="53" y="540"/>
                      </a:lnTo>
                      <a:lnTo>
                        <a:pt x="53" y="536"/>
                      </a:lnTo>
                      <a:lnTo>
                        <a:pt x="44" y="530"/>
                      </a:lnTo>
                      <a:lnTo>
                        <a:pt x="44" y="526"/>
                      </a:lnTo>
                      <a:lnTo>
                        <a:pt x="46" y="524"/>
                      </a:lnTo>
                      <a:lnTo>
                        <a:pt x="47" y="523"/>
                      </a:lnTo>
                      <a:lnTo>
                        <a:pt x="47" y="520"/>
                      </a:lnTo>
                      <a:lnTo>
                        <a:pt x="47" y="517"/>
                      </a:lnTo>
                      <a:lnTo>
                        <a:pt x="47" y="513"/>
                      </a:lnTo>
                      <a:lnTo>
                        <a:pt x="47" y="510"/>
                      </a:lnTo>
                      <a:lnTo>
                        <a:pt x="48" y="507"/>
                      </a:lnTo>
                      <a:lnTo>
                        <a:pt x="50" y="507"/>
                      </a:lnTo>
                      <a:lnTo>
                        <a:pt x="50" y="506"/>
                      </a:lnTo>
                      <a:lnTo>
                        <a:pt x="50" y="506"/>
                      </a:lnTo>
                      <a:lnTo>
                        <a:pt x="50" y="504"/>
                      </a:lnTo>
                      <a:lnTo>
                        <a:pt x="51" y="504"/>
                      </a:lnTo>
                      <a:lnTo>
                        <a:pt x="51" y="504"/>
                      </a:lnTo>
                      <a:lnTo>
                        <a:pt x="53" y="504"/>
                      </a:lnTo>
                      <a:lnTo>
                        <a:pt x="53" y="503"/>
                      </a:lnTo>
                      <a:lnTo>
                        <a:pt x="51" y="503"/>
                      </a:lnTo>
                      <a:lnTo>
                        <a:pt x="51" y="501"/>
                      </a:lnTo>
                      <a:lnTo>
                        <a:pt x="51" y="500"/>
                      </a:lnTo>
                      <a:lnTo>
                        <a:pt x="51" y="499"/>
                      </a:lnTo>
                      <a:lnTo>
                        <a:pt x="51" y="496"/>
                      </a:lnTo>
                      <a:lnTo>
                        <a:pt x="51" y="493"/>
                      </a:lnTo>
                      <a:lnTo>
                        <a:pt x="54" y="493"/>
                      </a:lnTo>
                      <a:lnTo>
                        <a:pt x="53" y="491"/>
                      </a:lnTo>
                      <a:lnTo>
                        <a:pt x="53" y="490"/>
                      </a:lnTo>
                      <a:lnTo>
                        <a:pt x="51" y="489"/>
                      </a:lnTo>
                      <a:lnTo>
                        <a:pt x="53" y="487"/>
                      </a:lnTo>
                      <a:lnTo>
                        <a:pt x="54" y="487"/>
                      </a:lnTo>
                      <a:lnTo>
                        <a:pt x="56" y="487"/>
                      </a:lnTo>
                      <a:lnTo>
                        <a:pt x="57" y="490"/>
                      </a:lnTo>
                      <a:lnTo>
                        <a:pt x="59" y="491"/>
                      </a:lnTo>
                      <a:lnTo>
                        <a:pt x="59" y="489"/>
                      </a:lnTo>
                      <a:lnTo>
                        <a:pt x="57" y="481"/>
                      </a:lnTo>
                      <a:lnTo>
                        <a:pt x="54" y="481"/>
                      </a:lnTo>
                      <a:lnTo>
                        <a:pt x="53" y="481"/>
                      </a:lnTo>
                      <a:lnTo>
                        <a:pt x="51" y="480"/>
                      </a:lnTo>
                      <a:lnTo>
                        <a:pt x="53" y="477"/>
                      </a:lnTo>
                      <a:lnTo>
                        <a:pt x="54" y="476"/>
                      </a:lnTo>
                      <a:lnTo>
                        <a:pt x="57" y="476"/>
                      </a:lnTo>
                      <a:lnTo>
                        <a:pt x="59" y="474"/>
                      </a:lnTo>
                      <a:lnTo>
                        <a:pt x="60" y="471"/>
                      </a:lnTo>
                      <a:lnTo>
                        <a:pt x="59" y="473"/>
                      </a:lnTo>
                      <a:lnTo>
                        <a:pt x="57" y="474"/>
                      </a:lnTo>
                      <a:lnTo>
                        <a:pt x="56" y="474"/>
                      </a:lnTo>
                      <a:lnTo>
                        <a:pt x="54" y="474"/>
                      </a:lnTo>
                      <a:lnTo>
                        <a:pt x="51" y="473"/>
                      </a:lnTo>
                      <a:lnTo>
                        <a:pt x="51" y="471"/>
                      </a:lnTo>
                      <a:lnTo>
                        <a:pt x="50" y="471"/>
                      </a:lnTo>
                      <a:lnTo>
                        <a:pt x="47" y="473"/>
                      </a:lnTo>
                      <a:lnTo>
                        <a:pt x="46" y="474"/>
                      </a:lnTo>
                      <a:lnTo>
                        <a:pt x="44" y="476"/>
                      </a:lnTo>
                      <a:lnTo>
                        <a:pt x="41" y="477"/>
                      </a:lnTo>
                      <a:lnTo>
                        <a:pt x="38" y="477"/>
                      </a:lnTo>
                      <a:lnTo>
                        <a:pt x="36" y="477"/>
                      </a:lnTo>
                      <a:lnTo>
                        <a:pt x="36" y="476"/>
                      </a:lnTo>
                      <a:lnTo>
                        <a:pt x="36" y="474"/>
                      </a:lnTo>
                      <a:lnTo>
                        <a:pt x="37" y="473"/>
                      </a:lnTo>
                      <a:lnTo>
                        <a:pt x="34" y="471"/>
                      </a:lnTo>
                      <a:lnTo>
                        <a:pt x="33" y="468"/>
                      </a:lnTo>
                      <a:lnTo>
                        <a:pt x="31" y="466"/>
                      </a:lnTo>
                      <a:lnTo>
                        <a:pt x="31" y="463"/>
                      </a:lnTo>
                      <a:lnTo>
                        <a:pt x="31" y="460"/>
                      </a:lnTo>
                      <a:lnTo>
                        <a:pt x="31" y="457"/>
                      </a:lnTo>
                      <a:lnTo>
                        <a:pt x="33" y="451"/>
                      </a:lnTo>
                      <a:lnTo>
                        <a:pt x="36" y="443"/>
                      </a:lnTo>
                      <a:lnTo>
                        <a:pt x="36" y="440"/>
                      </a:lnTo>
                      <a:lnTo>
                        <a:pt x="37" y="437"/>
                      </a:lnTo>
                      <a:lnTo>
                        <a:pt x="41" y="432"/>
                      </a:lnTo>
                      <a:lnTo>
                        <a:pt x="43" y="430"/>
                      </a:lnTo>
                      <a:lnTo>
                        <a:pt x="43" y="427"/>
                      </a:lnTo>
                      <a:lnTo>
                        <a:pt x="44" y="424"/>
                      </a:lnTo>
                      <a:lnTo>
                        <a:pt x="43" y="421"/>
                      </a:lnTo>
                      <a:lnTo>
                        <a:pt x="43" y="418"/>
                      </a:lnTo>
                      <a:lnTo>
                        <a:pt x="40" y="411"/>
                      </a:lnTo>
                      <a:lnTo>
                        <a:pt x="38" y="408"/>
                      </a:lnTo>
                      <a:lnTo>
                        <a:pt x="38" y="405"/>
                      </a:lnTo>
                      <a:lnTo>
                        <a:pt x="38" y="399"/>
                      </a:lnTo>
                      <a:lnTo>
                        <a:pt x="38" y="397"/>
                      </a:lnTo>
                      <a:lnTo>
                        <a:pt x="38" y="394"/>
                      </a:lnTo>
                      <a:lnTo>
                        <a:pt x="37" y="392"/>
                      </a:lnTo>
                      <a:lnTo>
                        <a:pt x="37" y="391"/>
                      </a:lnTo>
                      <a:lnTo>
                        <a:pt x="37" y="385"/>
                      </a:lnTo>
                      <a:lnTo>
                        <a:pt x="37" y="384"/>
                      </a:lnTo>
                      <a:lnTo>
                        <a:pt x="37" y="382"/>
                      </a:lnTo>
                      <a:lnTo>
                        <a:pt x="38" y="381"/>
                      </a:lnTo>
                      <a:lnTo>
                        <a:pt x="40" y="381"/>
                      </a:lnTo>
                      <a:lnTo>
                        <a:pt x="43" y="379"/>
                      </a:lnTo>
                      <a:lnTo>
                        <a:pt x="44" y="378"/>
                      </a:lnTo>
                      <a:lnTo>
                        <a:pt x="46" y="376"/>
                      </a:lnTo>
                      <a:lnTo>
                        <a:pt x="46" y="374"/>
                      </a:lnTo>
                      <a:lnTo>
                        <a:pt x="46" y="372"/>
                      </a:lnTo>
                      <a:lnTo>
                        <a:pt x="46" y="371"/>
                      </a:lnTo>
                      <a:lnTo>
                        <a:pt x="47" y="371"/>
                      </a:lnTo>
                      <a:lnTo>
                        <a:pt x="47" y="369"/>
                      </a:lnTo>
                      <a:lnTo>
                        <a:pt x="48" y="368"/>
                      </a:lnTo>
                      <a:lnTo>
                        <a:pt x="50" y="365"/>
                      </a:lnTo>
                      <a:lnTo>
                        <a:pt x="51" y="359"/>
                      </a:lnTo>
                      <a:lnTo>
                        <a:pt x="51" y="356"/>
                      </a:lnTo>
                      <a:lnTo>
                        <a:pt x="53" y="355"/>
                      </a:lnTo>
                      <a:lnTo>
                        <a:pt x="54" y="352"/>
                      </a:lnTo>
                      <a:lnTo>
                        <a:pt x="54" y="352"/>
                      </a:lnTo>
                      <a:lnTo>
                        <a:pt x="56" y="351"/>
                      </a:lnTo>
                      <a:lnTo>
                        <a:pt x="56" y="348"/>
                      </a:lnTo>
                      <a:lnTo>
                        <a:pt x="56" y="346"/>
                      </a:lnTo>
                      <a:lnTo>
                        <a:pt x="57" y="343"/>
                      </a:lnTo>
                      <a:lnTo>
                        <a:pt x="60" y="339"/>
                      </a:lnTo>
                      <a:lnTo>
                        <a:pt x="61" y="338"/>
                      </a:lnTo>
                      <a:lnTo>
                        <a:pt x="64" y="332"/>
                      </a:lnTo>
                      <a:lnTo>
                        <a:pt x="66" y="319"/>
                      </a:lnTo>
                      <a:lnTo>
                        <a:pt x="69" y="313"/>
                      </a:lnTo>
                      <a:lnTo>
                        <a:pt x="70" y="310"/>
                      </a:lnTo>
                      <a:lnTo>
                        <a:pt x="71" y="309"/>
                      </a:lnTo>
                      <a:lnTo>
                        <a:pt x="71" y="306"/>
                      </a:lnTo>
                      <a:lnTo>
                        <a:pt x="70" y="299"/>
                      </a:lnTo>
                      <a:lnTo>
                        <a:pt x="71" y="297"/>
                      </a:lnTo>
                      <a:lnTo>
                        <a:pt x="73" y="293"/>
                      </a:lnTo>
                      <a:lnTo>
                        <a:pt x="74" y="290"/>
                      </a:lnTo>
                      <a:lnTo>
                        <a:pt x="74" y="287"/>
                      </a:lnTo>
                      <a:lnTo>
                        <a:pt x="74" y="277"/>
                      </a:lnTo>
                      <a:lnTo>
                        <a:pt x="73" y="272"/>
                      </a:lnTo>
                      <a:lnTo>
                        <a:pt x="70" y="256"/>
                      </a:lnTo>
                      <a:lnTo>
                        <a:pt x="70" y="250"/>
                      </a:lnTo>
                      <a:lnTo>
                        <a:pt x="73" y="244"/>
                      </a:lnTo>
                      <a:lnTo>
                        <a:pt x="74" y="243"/>
                      </a:lnTo>
                      <a:lnTo>
                        <a:pt x="74" y="241"/>
                      </a:lnTo>
                      <a:lnTo>
                        <a:pt x="76" y="241"/>
                      </a:lnTo>
                      <a:lnTo>
                        <a:pt x="77" y="238"/>
                      </a:lnTo>
                      <a:lnTo>
                        <a:pt x="77" y="237"/>
                      </a:lnTo>
                      <a:lnTo>
                        <a:pt x="77" y="236"/>
                      </a:lnTo>
                      <a:lnTo>
                        <a:pt x="77" y="233"/>
                      </a:lnTo>
                      <a:lnTo>
                        <a:pt x="77" y="230"/>
                      </a:lnTo>
                      <a:lnTo>
                        <a:pt x="74" y="224"/>
                      </a:lnTo>
                      <a:lnTo>
                        <a:pt x="74" y="221"/>
                      </a:lnTo>
                      <a:lnTo>
                        <a:pt x="74" y="218"/>
                      </a:lnTo>
                      <a:lnTo>
                        <a:pt x="76" y="215"/>
                      </a:lnTo>
                      <a:lnTo>
                        <a:pt x="77" y="214"/>
                      </a:lnTo>
                      <a:lnTo>
                        <a:pt x="79" y="211"/>
                      </a:lnTo>
                      <a:lnTo>
                        <a:pt x="79" y="208"/>
                      </a:lnTo>
                      <a:lnTo>
                        <a:pt x="82" y="198"/>
                      </a:lnTo>
                      <a:lnTo>
                        <a:pt x="84" y="191"/>
                      </a:lnTo>
                      <a:lnTo>
                        <a:pt x="84" y="188"/>
                      </a:lnTo>
                      <a:lnTo>
                        <a:pt x="86" y="182"/>
                      </a:lnTo>
                      <a:lnTo>
                        <a:pt x="89" y="171"/>
                      </a:lnTo>
                      <a:lnTo>
                        <a:pt x="89" y="165"/>
                      </a:lnTo>
                      <a:lnTo>
                        <a:pt x="89" y="162"/>
                      </a:lnTo>
                      <a:lnTo>
                        <a:pt x="89" y="159"/>
                      </a:lnTo>
                      <a:lnTo>
                        <a:pt x="89" y="157"/>
                      </a:lnTo>
                      <a:lnTo>
                        <a:pt x="89" y="152"/>
                      </a:lnTo>
                      <a:lnTo>
                        <a:pt x="92" y="149"/>
                      </a:lnTo>
                      <a:lnTo>
                        <a:pt x="93" y="146"/>
                      </a:lnTo>
                      <a:lnTo>
                        <a:pt x="93" y="144"/>
                      </a:lnTo>
                      <a:lnTo>
                        <a:pt x="92" y="141"/>
                      </a:lnTo>
                      <a:lnTo>
                        <a:pt x="92" y="135"/>
                      </a:lnTo>
                      <a:lnTo>
                        <a:pt x="90" y="131"/>
                      </a:lnTo>
                      <a:lnTo>
                        <a:pt x="92" y="122"/>
                      </a:lnTo>
                      <a:lnTo>
                        <a:pt x="92" y="119"/>
                      </a:lnTo>
                      <a:lnTo>
                        <a:pt x="93" y="118"/>
                      </a:lnTo>
                      <a:lnTo>
                        <a:pt x="93" y="116"/>
                      </a:lnTo>
                      <a:lnTo>
                        <a:pt x="93" y="115"/>
                      </a:lnTo>
                      <a:lnTo>
                        <a:pt x="93" y="113"/>
                      </a:lnTo>
                      <a:lnTo>
                        <a:pt x="93" y="112"/>
                      </a:lnTo>
                      <a:lnTo>
                        <a:pt x="92" y="111"/>
                      </a:lnTo>
                      <a:lnTo>
                        <a:pt x="90" y="111"/>
                      </a:lnTo>
                      <a:lnTo>
                        <a:pt x="90" y="108"/>
                      </a:lnTo>
                      <a:lnTo>
                        <a:pt x="92" y="105"/>
                      </a:lnTo>
                      <a:lnTo>
                        <a:pt x="94" y="100"/>
                      </a:lnTo>
                      <a:lnTo>
                        <a:pt x="96" y="98"/>
                      </a:lnTo>
                      <a:lnTo>
                        <a:pt x="96" y="95"/>
                      </a:lnTo>
                      <a:lnTo>
                        <a:pt x="99" y="70"/>
                      </a:lnTo>
                      <a:lnTo>
                        <a:pt x="97" y="57"/>
                      </a:lnTo>
                      <a:lnTo>
                        <a:pt x="97" y="44"/>
                      </a:lnTo>
                      <a:lnTo>
                        <a:pt x="97" y="39"/>
                      </a:lnTo>
                      <a:lnTo>
                        <a:pt x="94" y="27"/>
                      </a:lnTo>
                      <a:lnTo>
                        <a:pt x="94" y="20"/>
                      </a:lnTo>
                      <a:lnTo>
                        <a:pt x="94" y="17"/>
                      </a:lnTo>
                      <a:lnTo>
                        <a:pt x="93" y="16"/>
                      </a:lnTo>
                      <a:lnTo>
                        <a:pt x="100" y="14"/>
                      </a:lnTo>
                      <a:lnTo>
                        <a:pt x="103" y="13"/>
                      </a:lnTo>
                      <a:lnTo>
                        <a:pt x="104" y="9"/>
                      </a:lnTo>
                      <a:lnTo>
                        <a:pt x="104" y="7"/>
                      </a:lnTo>
                      <a:lnTo>
                        <a:pt x="103" y="4"/>
                      </a:lnTo>
                      <a:lnTo>
                        <a:pt x="103" y="3"/>
                      </a:lnTo>
                      <a:lnTo>
                        <a:pt x="104" y="3"/>
                      </a:lnTo>
                      <a:lnTo>
                        <a:pt x="107" y="0"/>
                      </a:lnTo>
                      <a:lnTo>
                        <a:pt x="109" y="0"/>
                      </a:lnTo>
                      <a:lnTo>
                        <a:pt x="110" y="1"/>
                      </a:lnTo>
                      <a:lnTo>
                        <a:pt x="110" y="3"/>
                      </a:lnTo>
                      <a:lnTo>
                        <a:pt x="112" y="6"/>
                      </a:lnTo>
                      <a:lnTo>
                        <a:pt x="113" y="7"/>
                      </a:lnTo>
                      <a:lnTo>
                        <a:pt x="113" y="9"/>
                      </a:lnTo>
                      <a:lnTo>
                        <a:pt x="116" y="10"/>
                      </a:lnTo>
                      <a:lnTo>
                        <a:pt x="116" y="10"/>
                      </a:lnTo>
                      <a:lnTo>
                        <a:pt x="116" y="14"/>
                      </a:lnTo>
                      <a:lnTo>
                        <a:pt x="119" y="23"/>
                      </a:lnTo>
                      <a:lnTo>
                        <a:pt x="120" y="27"/>
                      </a:lnTo>
                      <a:lnTo>
                        <a:pt x="122" y="29"/>
                      </a:lnTo>
                      <a:lnTo>
                        <a:pt x="125" y="31"/>
                      </a:lnTo>
                      <a:lnTo>
                        <a:pt x="126" y="33"/>
                      </a:lnTo>
                      <a:lnTo>
                        <a:pt x="127" y="34"/>
                      </a:lnTo>
                      <a:lnTo>
                        <a:pt x="127" y="36"/>
                      </a:lnTo>
                      <a:lnTo>
                        <a:pt x="126" y="37"/>
                      </a:lnTo>
                      <a:lnTo>
                        <a:pt x="125" y="39"/>
                      </a:lnTo>
                      <a:lnTo>
                        <a:pt x="125" y="39"/>
                      </a:lnTo>
                      <a:lnTo>
                        <a:pt x="125" y="40"/>
                      </a:lnTo>
                      <a:lnTo>
                        <a:pt x="125" y="42"/>
                      </a:lnTo>
                      <a:lnTo>
                        <a:pt x="125" y="42"/>
                      </a:lnTo>
                      <a:lnTo>
                        <a:pt x="125" y="43"/>
                      </a:lnTo>
                      <a:lnTo>
                        <a:pt x="126" y="44"/>
                      </a:lnTo>
                      <a:lnTo>
                        <a:pt x="125" y="46"/>
                      </a:lnTo>
                      <a:lnTo>
                        <a:pt x="125" y="47"/>
                      </a:lnTo>
                      <a:lnTo>
                        <a:pt x="125" y="47"/>
                      </a:lnTo>
                      <a:lnTo>
                        <a:pt x="123" y="47"/>
                      </a:lnTo>
                      <a:lnTo>
                        <a:pt x="123" y="47"/>
                      </a:lnTo>
                      <a:lnTo>
                        <a:pt x="123" y="47"/>
                      </a:lnTo>
                      <a:lnTo>
                        <a:pt x="123" y="49"/>
                      </a:lnTo>
                      <a:lnTo>
                        <a:pt x="123" y="49"/>
                      </a:lnTo>
                      <a:lnTo>
                        <a:pt x="123" y="50"/>
                      </a:lnTo>
                      <a:lnTo>
                        <a:pt x="123" y="50"/>
                      </a:lnTo>
                      <a:lnTo>
                        <a:pt x="123" y="53"/>
                      </a:lnTo>
                      <a:lnTo>
                        <a:pt x="122" y="53"/>
                      </a:lnTo>
                      <a:lnTo>
                        <a:pt x="123" y="54"/>
                      </a:lnTo>
                      <a:lnTo>
                        <a:pt x="126" y="56"/>
                      </a:lnTo>
                      <a:lnTo>
                        <a:pt x="127" y="57"/>
                      </a:lnTo>
                      <a:lnTo>
                        <a:pt x="127" y="59"/>
                      </a:lnTo>
                      <a:lnTo>
                        <a:pt x="126" y="60"/>
                      </a:lnTo>
                      <a:lnTo>
                        <a:pt x="126" y="62"/>
                      </a:lnTo>
                      <a:lnTo>
                        <a:pt x="126" y="62"/>
                      </a:lnTo>
                      <a:lnTo>
                        <a:pt x="126" y="63"/>
                      </a:lnTo>
                      <a:lnTo>
                        <a:pt x="129" y="66"/>
                      </a:lnTo>
                      <a:lnTo>
                        <a:pt x="130" y="67"/>
                      </a:lnTo>
                      <a:lnTo>
                        <a:pt x="132" y="70"/>
                      </a:lnTo>
                      <a:lnTo>
                        <a:pt x="133" y="79"/>
                      </a:lnTo>
                      <a:lnTo>
                        <a:pt x="135" y="82"/>
                      </a:lnTo>
                      <a:lnTo>
                        <a:pt x="136" y="86"/>
                      </a:lnTo>
                      <a:lnTo>
                        <a:pt x="136" y="88"/>
                      </a:lnTo>
                      <a:lnTo>
                        <a:pt x="136" y="89"/>
                      </a:lnTo>
                      <a:lnTo>
                        <a:pt x="138" y="96"/>
                      </a:lnTo>
                      <a:lnTo>
                        <a:pt x="138" y="98"/>
                      </a:lnTo>
                      <a:lnTo>
                        <a:pt x="140" y="100"/>
                      </a:lnTo>
                      <a:lnTo>
                        <a:pt x="143" y="100"/>
                      </a:lnTo>
                      <a:lnTo>
                        <a:pt x="146" y="100"/>
                      </a:lnTo>
                      <a:lnTo>
                        <a:pt x="150" y="99"/>
                      </a:lnTo>
                      <a:lnTo>
                        <a:pt x="152" y="102"/>
                      </a:lnTo>
                      <a:lnTo>
                        <a:pt x="153" y="103"/>
                      </a:lnTo>
                      <a:lnTo>
                        <a:pt x="152" y="105"/>
                      </a:lnTo>
                      <a:lnTo>
                        <a:pt x="149" y="118"/>
                      </a:lnTo>
                      <a:lnTo>
                        <a:pt x="148" y="121"/>
                      </a:lnTo>
                      <a:lnTo>
                        <a:pt x="145" y="123"/>
                      </a:lnTo>
                      <a:lnTo>
                        <a:pt x="140" y="125"/>
                      </a:lnTo>
                      <a:lnTo>
                        <a:pt x="136" y="128"/>
                      </a:lnTo>
                      <a:lnTo>
                        <a:pt x="132" y="129"/>
                      </a:lnTo>
                      <a:lnTo>
                        <a:pt x="130" y="131"/>
                      </a:lnTo>
                      <a:lnTo>
                        <a:pt x="127" y="134"/>
                      </a:lnTo>
                      <a:lnTo>
                        <a:pt x="127" y="134"/>
                      </a:lnTo>
                      <a:lnTo>
                        <a:pt x="126" y="136"/>
                      </a:lnTo>
                      <a:lnTo>
                        <a:pt x="126" y="138"/>
                      </a:lnTo>
                      <a:lnTo>
                        <a:pt x="127" y="139"/>
                      </a:lnTo>
                      <a:lnTo>
                        <a:pt x="127" y="142"/>
                      </a:lnTo>
                      <a:lnTo>
                        <a:pt x="129" y="144"/>
                      </a:lnTo>
                      <a:lnTo>
                        <a:pt x="127" y="144"/>
                      </a:lnTo>
                      <a:lnTo>
                        <a:pt x="127" y="144"/>
                      </a:lnTo>
                      <a:lnTo>
                        <a:pt x="126" y="146"/>
                      </a:lnTo>
                      <a:lnTo>
                        <a:pt x="126" y="148"/>
                      </a:lnTo>
                      <a:lnTo>
                        <a:pt x="126" y="151"/>
                      </a:lnTo>
                      <a:lnTo>
                        <a:pt x="127" y="158"/>
                      </a:lnTo>
                      <a:lnTo>
                        <a:pt x="127" y="161"/>
                      </a:lnTo>
                      <a:lnTo>
                        <a:pt x="127" y="162"/>
                      </a:lnTo>
                      <a:lnTo>
                        <a:pt x="127" y="165"/>
                      </a:lnTo>
                      <a:lnTo>
                        <a:pt x="126" y="168"/>
                      </a:lnTo>
                      <a:lnTo>
                        <a:pt x="126" y="169"/>
                      </a:lnTo>
                      <a:lnTo>
                        <a:pt x="126" y="171"/>
                      </a:lnTo>
                      <a:lnTo>
                        <a:pt x="126" y="172"/>
                      </a:lnTo>
                      <a:lnTo>
                        <a:pt x="127" y="174"/>
                      </a:lnTo>
                      <a:lnTo>
                        <a:pt x="129" y="177"/>
                      </a:lnTo>
                      <a:lnTo>
                        <a:pt x="130" y="178"/>
                      </a:lnTo>
                      <a:lnTo>
                        <a:pt x="130" y="181"/>
                      </a:lnTo>
                      <a:lnTo>
                        <a:pt x="129" y="182"/>
                      </a:lnTo>
                      <a:lnTo>
                        <a:pt x="126" y="182"/>
                      </a:lnTo>
                      <a:lnTo>
                        <a:pt x="125" y="182"/>
                      </a:lnTo>
                      <a:lnTo>
                        <a:pt x="123" y="182"/>
                      </a:lnTo>
                      <a:lnTo>
                        <a:pt x="120" y="185"/>
                      </a:lnTo>
                      <a:lnTo>
                        <a:pt x="119" y="190"/>
                      </a:lnTo>
                      <a:lnTo>
                        <a:pt x="117" y="194"/>
                      </a:lnTo>
                      <a:lnTo>
                        <a:pt x="115" y="198"/>
                      </a:lnTo>
                      <a:lnTo>
                        <a:pt x="113" y="203"/>
                      </a:lnTo>
                      <a:lnTo>
                        <a:pt x="110" y="205"/>
                      </a:lnTo>
                      <a:lnTo>
                        <a:pt x="107" y="208"/>
                      </a:lnTo>
                      <a:lnTo>
                        <a:pt x="106" y="213"/>
                      </a:lnTo>
                      <a:lnTo>
                        <a:pt x="104" y="220"/>
                      </a:lnTo>
                      <a:lnTo>
                        <a:pt x="103" y="223"/>
                      </a:lnTo>
                      <a:lnTo>
                        <a:pt x="102" y="223"/>
                      </a:lnTo>
                      <a:lnTo>
                        <a:pt x="102" y="224"/>
                      </a:lnTo>
                      <a:lnTo>
                        <a:pt x="100" y="226"/>
                      </a:lnTo>
                      <a:lnTo>
                        <a:pt x="100" y="227"/>
                      </a:lnTo>
                      <a:lnTo>
                        <a:pt x="100" y="228"/>
                      </a:lnTo>
                      <a:lnTo>
                        <a:pt x="102" y="234"/>
                      </a:lnTo>
                      <a:lnTo>
                        <a:pt x="102" y="236"/>
                      </a:lnTo>
                      <a:lnTo>
                        <a:pt x="102" y="238"/>
                      </a:lnTo>
                      <a:lnTo>
                        <a:pt x="102" y="238"/>
                      </a:lnTo>
                      <a:lnTo>
                        <a:pt x="102" y="240"/>
                      </a:lnTo>
                      <a:lnTo>
                        <a:pt x="103" y="241"/>
                      </a:lnTo>
                      <a:lnTo>
                        <a:pt x="103" y="241"/>
                      </a:lnTo>
                      <a:lnTo>
                        <a:pt x="103" y="243"/>
                      </a:lnTo>
                      <a:lnTo>
                        <a:pt x="102" y="246"/>
                      </a:lnTo>
                      <a:lnTo>
                        <a:pt x="100" y="246"/>
                      </a:lnTo>
                      <a:lnTo>
                        <a:pt x="97" y="246"/>
                      </a:lnTo>
                      <a:lnTo>
                        <a:pt x="97" y="249"/>
                      </a:lnTo>
                      <a:lnTo>
                        <a:pt x="96" y="253"/>
                      </a:lnTo>
                      <a:lnTo>
                        <a:pt x="94" y="254"/>
                      </a:lnTo>
                      <a:lnTo>
                        <a:pt x="94" y="257"/>
                      </a:lnTo>
                      <a:lnTo>
                        <a:pt x="94" y="259"/>
                      </a:lnTo>
                      <a:lnTo>
                        <a:pt x="94" y="260"/>
                      </a:lnTo>
                      <a:lnTo>
                        <a:pt x="93" y="260"/>
                      </a:lnTo>
                      <a:lnTo>
                        <a:pt x="93" y="260"/>
                      </a:lnTo>
                      <a:lnTo>
                        <a:pt x="92" y="260"/>
                      </a:lnTo>
                      <a:lnTo>
                        <a:pt x="92" y="260"/>
                      </a:lnTo>
                      <a:lnTo>
                        <a:pt x="92" y="261"/>
                      </a:lnTo>
                      <a:lnTo>
                        <a:pt x="90" y="263"/>
                      </a:lnTo>
                      <a:lnTo>
                        <a:pt x="90" y="266"/>
                      </a:lnTo>
                      <a:lnTo>
                        <a:pt x="92" y="269"/>
                      </a:lnTo>
                      <a:lnTo>
                        <a:pt x="92" y="272"/>
                      </a:lnTo>
                      <a:lnTo>
                        <a:pt x="94" y="274"/>
                      </a:lnTo>
                      <a:lnTo>
                        <a:pt x="94" y="276"/>
                      </a:lnTo>
                      <a:lnTo>
                        <a:pt x="94" y="276"/>
                      </a:lnTo>
                      <a:lnTo>
                        <a:pt x="96" y="276"/>
                      </a:lnTo>
                      <a:lnTo>
                        <a:pt x="96" y="277"/>
                      </a:lnTo>
                      <a:lnTo>
                        <a:pt x="96" y="277"/>
                      </a:lnTo>
                      <a:lnTo>
                        <a:pt x="94" y="277"/>
                      </a:lnTo>
                      <a:lnTo>
                        <a:pt x="94" y="279"/>
                      </a:lnTo>
                      <a:lnTo>
                        <a:pt x="94" y="279"/>
                      </a:lnTo>
                      <a:lnTo>
                        <a:pt x="94" y="282"/>
                      </a:lnTo>
                      <a:lnTo>
                        <a:pt x="99" y="292"/>
                      </a:lnTo>
                      <a:lnTo>
                        <a:pt x="99" y="293"/>
                      </a:lnTo>
                      <a:lnTo>
                        <a:pt x="99" y="293"/>
                      </a:lnTo>
                      <a:lnTo>
                        <a:pt x="99" y="296"/>
                      </a:lnTo>
                      <a:lnTo>
                        <a:pt x="99" y="297"/>
                      </a:lnTo>
                      <a:lnTo>
                        <a:pt x="99" y="297"/>
                      </a:lnTo>
                      <a:lnTo>
                        <a:pt x="99" y="299"/>
                      </a:lnTo>
                      <a:lnTo>
                        <a:pt x="99" y="300"/>
                      </a:lnTo>
                      <a:lnTo>
                        <a:pt x="100" y="300"/>
                      </a:lnTo>
                      <a:lnTo>
                        <a:pt x="102" y="302"/>
                      </a:lnTo>
                      <a:lnTo>
                        <a:pt x="102" y="300"/>
                      </a:lnTo>
                      <a:lnTo>
                        <a:pt x="103" y="302"/>
                      </a:lnTo>
                      <a:lnTo>
                        <a:pt x="104" y="303"/>
                      </a:lnTo>
                      <a:lnTo>
                        <a:pt x="103" y="306"/>
                      </a:lnTo>
                      <a:lnTo>
                        <a:pt x="103" y="307"/>
                      </a:lnTo>
                      <a:lnTo>
                        <a:pt x="103" y="310"/>
                      </a:lnTo>
                      <a:lnTo>
                        <a:pt x="103" y="318"/>
                      </a:lnTo>
                      <a:lnTo>
                        <a:pt x="103" y="320"/>
                      </a:lnTo>
                      <a:lnTo>
                        <a:pt x="103" y="320"/>
                      </a:lnTo>
                      <a:lnTo>
                        <a:pt x="102" y="320"/>
                      </a:lnTo>
                      <a:lnTo>
                        <a:pt x="102" y="322"/>
                      </a:lnTo>
                      <a:lnTo>
                        <a:pt x="100" y="322"/>
                      </a:lnTo>
                      <a:lnTo>
                        <a:pt x="97" y="326"/>
                      </a:lnTo>
                      <a:lnTo>
                        <a:pt x="97" y="329"/>
                      </a:lnTo>
                      <a:lnTo>
                        <a:pt x="94" y="333"/>
                      </a:lnTo>
                      <a:lnTo>
                        <a:pt x="94" y="338"/>
                      </a:lnTo>
                      <a:lnTo>
                        <a:pt x="94" y="339"/>
                      </a:lnTo>
                      <a:lnTo>
                        <a:pt x="93" y="339"/>
                      </a:lnTo>
                      <a:lnTo>
                        <a:pt x="92" y="341"/>
                      </a:lnTo>
                      <a:lnTo>
                        <a:pt x="92" y="341"/>
                      </a:lnTo>
                      <a:lnTo>
                        <a:pt x="92" y="342"/>
                      </a:lnTo>
                      <a:lnTo>
                        <a:pt x="93" y="345"/>
                      </a:lnTo>
                      <a:lnTo>
                        <a:pt x="93" y="348"/>
                      </a:lnTo>
                      <a:lnTo>
                        <a:pt x="94" y="352"/>
                      </a:lnTo>
                      <a:lnTo>
                        <a:pt x="94" y="355"/>
                      </a:lnTo>
                      <a:lnTo>
                        <a:pt x="93" y="356"/>
                      </a:lnTo>
                      <a:lnTo>
                        <a:pt x="93" y="358"/>
                      </a:lnTo>
                      <a:lnTo>
                        <a:pt x="92" y="358"/>
                      </a:lnTo>
                      <a:lnTo>
                        <a:pt x="92" y="359"/>
                      </a:lnTo>
                      <a:lnTo>
                        <a:pt x="90" y="359"/>
                      </a:lnTo>
                      <a:lnTo>
                        <a:pt x="90" y="361"/>
                      </a:lnTo>
                      <a:lnTo>
                        <a:pt x="89" y="362"/>
                      </a:lnTo>
                      <a:lnTo>
                        <a:pt x="87" y="364"/>
                      </a:lnTo>
                      <a:lnTo>
                        <a:pt x="86" y="364"/>
                      </a:lnTo>
                      <a:lnTo>
                        <a:pt x="83" y="365"/>
                      </a:lnTo>
                      <a:lnTo>
                        <a:pt x="82" y="366"/>
                      </a:lnTo>
                      <a:lnTo>
                        <a:pt x="82" y="368"/>
                      </a:lnTo>
                      <a:lnTo>
                        <a:pt x="80" y="371"/>
                      </a:lnTo>
                      <a:lnTo>
                        <a:pt x="80" y="389"/>
                      </a:lnTo>
                      <a:lnTo>
                        <a:pt x="83" y="402"/>
                      </a:lnTo>
                      <a:lnTo>
                        <a:pt x="83" y="405"/>
                      </a:lnTo>
                      <a:lnTo>
                        <a:pt x="84" y="405"/>
                      </a:lnTo>
                      <a:lnTo>
                        <a:pt x="84" y="407"/>
                      </a:lnTo>
                      <a:lnTo>
                        <a:pt x="86" y="408"/>
                      </a:lnTo>
                      <a:lnTo>
                        <a:pt x="86" y="408"/>
                      </a:lnTo>
                      <a:lnTo>
                        <a:pt x="86" y="410"/>
                      </a:lnTo>
                      <a:lnTo>
                        <a:pt x="84" y="411"/>
                      </a:lnTo>
                      <a:lnTo>
                        <a:pt x="79" y="414"/>
                      </a:lnTo>
                      <a:lnTo>
                        <a:pt x="77" y="415"/>
                      </a:lnTo>
                      <a:lnTo>
                        <a:pt x="76" y="417"/>
                      </a:lnTo>
                      <a:lnTo>
                        <a:pt x="76" y="420"/>
                      </a:lnTo>
                      <a:lnTo>
                        <a:pt x="76" y="425"/>
                      </a:lnTo>
                      <a:lnTo>
                        <a:pt x="74" y="428"/>
                      </a:lnTo>
                      <a:lnTo>
                        <a:pt x="74" y="430"/>
                      </a:lnTo>
                      <a:lnTo>
                        <a:pt x="74" y="430"/>
                      </a:lnTo>
                      <a:lnTo>
                        <a:pt x="73" y="430"/>
                      </a:lnTo>
                      <a:lnTo>
                        <a:pt x="73" y="430"/>
                      </a:lnTo>
                      <a:lnTo>
                        <a:pt x="71" y="430"/>
                      </a:lnTo>
                      <a:lnTo>
                        <a:pt x="71" y="430"/>
                      </a:lnTo>
                      <a:lnTo>
                        <a:pt x="71" y="431"/>
                      </a:lnTo>
                      <a:lnTo>
                        <a:pt x="71" y="435"/>
                      </a:lnTo>
                      <a:lnTo>
                        <a:pt x="71" y="437"/>
                      </a:lnTo>
                      <a:lnTo>
                        <a:pt x="71" y="440"/>
                      </a:lnTo>
                      <a:lnTo>
                        <a:pt x="70" y="441"/>
                      </a:lnTo>
                      <a:lnTo>
                        <a:pt x="69" y="441"/>
                      </a:lnTo>
                      <a:lnTo>
                        <a:pt x="69" y="444"/>
                      </a:lnTo>
                      <a:lnTo>
                        <a:pt x="69" y="444"/>
                      </a:lnTo>
                      <a:lnTo>
                        <a:pt x="70" y="445"/>
                      </a:lnTo>
                      <a:lnTo>
                        <a:pt x="70" y="445"/>
                      </a:lnTo>
                      <a:lnTo>
                        <a:pt x="70" y="447"/>
                      </a:lnTo>
                      <a:lnTo>
                        <a:pt x="70" y="447"/>
                      </a:lnTo>
                      <a:lnTo>
                        <a:pt x="69" y="450"/>
                      </a:lnTo>
                      <a:lnTo>
                        <a:pt x="67" y="453"/>
                      </a:lnTo>
                      <a:lnTo>
                        <a:pt x="67" y="455"/>
                      </a:lnTo>
                      <a:lnTo>
                        <a:pt x="67" y="460"/>
                      </a:lnTo>
                      <a:lnTo>
                        <a:pt x="67" y="473"/>
                      </a:lnTo>
                      <a:lnTo>
                        <a:pt x="69" y="474"/>
                      </a:lnTo>
                      <a:lnTo>
                        <a:pt x="70" y="480"/>
                      </a:lnTo>
                      <a:lnTo>
                        <a:pt x="70" y="481"/>
                      </a:lnTo>
                      <a:lnTo>
                        <a:pt x="69" y="484"/>
                      </a:lnTo>
                      <a:lnTo>
                        <a:pt x="67" y="484"/>
                      </a:lnTo>
                      <a:lnTo>
                        <a:pt x="66" y="486"/>
                      </a:lnTo>
                      <a:lnTo>
                        <a:pt x="64" y="486"/>
                      </a:lnTo>
                      <a:lnTo>
                        <a:pt x="64" y="487"/>
                      </a:lnTo>
                      <a:lnTo>
                        <a:pt x="64" y="487"/>
                      </a:lnTo>
                      <a:lnTo>
                        <a:pt x="64" y="489"/>
                      </a:lnTo>
                      <a:lnTo>
                        <a:pt x="64" y="490"/>
                      </a:lnTo>
                      <a:lnTo>
                        <a:pt x="64" y="491"/>
                      </a:lnTo>
                      <a:lnTo>
                        <a:pt x="64" y="493"/>
                      </a:lnTo>
                      <a:lnTo>
                        <a:pt x="64" y="493"/>
                      </a:lnTo>
                      <a:lnTo>
                        <a:pt x="63" y="494"/>
                      </a:lnTo>
                      <a:lnTo>
                        <a:pt x="63" y="494"/>
                      </a:lnTo>
                      <a:lnTo>
                        <a:pt x="63" y="500"/>
                      </a:lnTo>
                      <a:lnTo>
                        <a:pt x="63" y="504"/>
                      </a:lnTo>
                      <a:lnTo>
                        <a:pt x="64" y="506"/>
                      </a:lnTo>
                      <a:lnTo>
                        <a:pt x="66" y="507"/>
                      </a:lnTo>
                      <a:lnTo>
                        <a:pt x="69" y="507"/>
                      </a:lnTo>
                      <a:lnTo>
                        <a:pt x="70" y="509"/>
                      </a:lnTo>
                      <a:lnTo>
                        <a:pt x="70" y="510"/>
                      </a:lnTo>
                      <a:lnTo>
                        <a:pt x="69" y="510"/>
                      </a:lnTo>
                      <a:lnTo>
                        <a:pt x="69" y="512"/>
                      </a:lnTo>
                      <a:lnTo>
                        <a:pt x="67" y="512"/>
                      </a:lnTo>
                      <a:lnTo>
                        <a:pt x="67" y="513"/>
                      </a:lnTo>
                      <a:lnTo>
                        <a:pt x="67" y="514"/>
                      </a:lnTo>
                      <a:lnTo>
                        <a:pt x="69" y="514"/>
                      </a:lnTo>
                      <a:lnTo>
                        <a:pt x="70" y="517"/>
                      </a:lnTo>
                      <a:lnTo>
                        <a:pt x="70" y="517"/>
                      </a:lnTo>
                      <a:lnTo>
                        <a:pt x="70" y="519"/>
                      </a:lnTo>
                      <a:lnTo>
                        <a:pt x="70" y="519"/>
                      </a:lnTo>
                      <a:lnTo>
                        <a:pt x="70" y="520"/>
                      </a:lnTo>
                      <a:lnTo>
                        <a:pt x="69" y="520"/>
                      </a:lnTo>
                      <a:lnTo>
                        <a:pt x="69" y="520"/>
                      </a:lnTo>
                      <a:lnTo>
                        <a:pt x="70" y="523"/>
                      </a:lnTo>
                      <a:lnTo>
                        <a:pt x="70" y="523"/>
                      </a:lnTo>
                      <a:lnTo>
                        <a:pt x="70" y="524"/>
                      </a:lnTo>
                      <a:lnTo>
                        <a:pt x="70" y="526"/>
                      </a:lnTo>
                      <a:lnTo>
                        <a:pt x="70" y="527"/>
                      </a:lnTo>
                      <a:lnTo>
                        <a:pt x="69" y="529"/>
                      </a:lnTo>
                      <a:lnTo>
                        <a:pt x="69" y="530"/>
                      </a:lnTo>
                      <a:lnTo>
                        <a:pt x="69" y="535"/>
                      </a:lnTo>
                      <a:lnTo>
                        <a:pt x="70" y="535"/>
                      </a:lnTo>
                      <a:lnTo>
                        <a:pt x="73" y="536"/>
                      </a:lnTo>
                      <a:lnTo>
                        <a:pt x="77" y="536"/>
                      </a:lnTo>
                      <a:lnTo>
                        <a:pt x="80" y="537"/>
                      </a:lnTo>
                      <a:lnTo>
                        <a:pt x="80" y="540"/>
                      </a:lnTo>
                      <a:lnTo>
                        <a:pt x="79" y="543"/>
                      </a:lnTo>
                      <a:lnTo>
                        <a:pt x="77" y="545"/>
                      </a:lnTo>
                      <a:lnTo>
                        <a:pt x="76" y="545"/>
                      </a:lnTo>
                      <a:lnTo>
                        <a:pt x="73" y="545"/>
                      </a:lnTo>
                      <a:lnTo>
                        <a:pt x="71" y="545"/>
                      </a:lnTo>
                      <a:lnTo>
                        <a:pt x="67" y="545"/>
                      </a:lnTo>
                      <a:lnTo>
                        <a:pt x="66" y="545"/>
                      </a:lnTo>
                      <a:lnTo>
                        <a:pt x="64" y="545"/>
                      </a:lnTo>
                      <a:lnTo>
                        <a:pt x="64" y="546"/>
                      </a:lnTo>
                      <a:lnTo>
                        <a:pt x="66" y="547"/>
                      </a:lnTo>
                      <a:lnTo>
                        <a:pt x="69" y="547"/>
                      </a:lnTo>
                      <a:lnTo>
                        <a:pt x="70" y="549"/>
                      </a:lnTo>
                      <a:lnTo>
                        <a:pt x="71" y="549"/>
                      </a:lnTo>
                      <a:lnTo>
                        <a:pt x="73" y="550"/>
                      </a:lnTo>
                      <a:lnTo>
                        <a:pt x="74" y="553"/>
                      </a:lnTo>
                      <a:lnTo>
                        <a:pt x="76" y="555"/>
                      </a:lnTo>
                      <a:lnTo>
                        <a:pt x="77" y="556"/>
                      </a:lnTo>
                      <a:lnTo>
                        <a:pt x="77" y="558"/>
                      </a:lnTo>
                      <a:lnTo>
                        <a:pt x="77" y="558"/>
                      </a:lnTo>
                      <a:lnTo>
                        <a:pt x="74" y="559"/>
                      </a:lnTo>
                      <a:lnTo>
                        <a:pt x="74" y="560"/>
                      </a:lnTo>
                      <a:lnTo>
                        <a:pt x="74" y="560"/>
                      </a:lnTo>
                      <a:lnTo>
                        <a:pt x="74" y="560"/>
                      </a:lnTo>
                      <a:lnTo>
                        <a:pt x="74" y="560"/>
                      </a:lnTo>
                      <a:lnTo>
                        <a:pt x="71" y="562"/>
                      </a:lnTo>
                      <a:lnTo>
                        <a:pt x="71" y="562"/>
                      </a:lnTo>
                      <a:lnTo>
                        <a:pt x="70" y="563"/>
                      </a:lnTo>
                      <a:lnTo>
                        <a:pt x="70" y="563"/>
                      </a:lnTo>
                      <a:lnTo>
                        <a:pt x="70" y="565"/>
                      </a:lnTo>
                      <a:lnTo>
                        <a:pt x="70" y="566"/>
                      </a:lnTo>
                      <a:lnTo>
                        <a:pt x="70" y="569"/>
                      </a:lnTo>
                      <a:lnTo>
                        <a:pt x="71" y="570"/>
                      </a:lnTo>
                      <a:lnTo>
                        <a:pt x="71" y="572"/>
                      </a:lnTo>
                      <a:lnTo>
                        <a:pt x="71" y="573"/>
                      </a:lnTo>
                      <a:lnTo>
                        <a:pt x="70" y="575"/>
                      </a:lnTo>
                      <a:lnTo>
                        <a:pt x="70" y="575"/>
                      </a:lnTo>
                      <a:lnTo>
                        <a:pt x="69" y="576"/>
                      </a:lnTo>
                      <a:lnTo>
                        <a:pt x="69" y="578"/>
                      </a:lnTo>
                      <a:lnTo>
                        <a:pt x="69" y="579"/>
                      </a:lnTo>
                      <a:lnTo>
                        <a:pt x="70" y="582"/>
                      </a:lnTo>
                      <a:lnTo>
                        <a:pt x="70" y="583"/>
                      </a:lnTo>
                      <a:lnTo>
                        <a:pt x="70" y="586"/>
                      </a:lnTo>
                      <a:lnTo>
                        <a:pt x="69" y="589"/>
                      </a:lnTo>
                      <a:lnTo>
                        <a:pt x="67" y="592"/>
                      </a:lnTo>
                      <a:lnTo>
                        <a:pt x="66" y="595"/>
                      </a:lnTo>
                      <a:lnTo>
                        <a:pt x="66" y="596"/>
                      </a:lnTo>
                      <a:lnTo>
                        <a:pt x="67" y="599"/>
                      </a:lnTo>
                      <a:lnTo>
                        <a:pt x="67" y="601"/>
                      </a:lnTo>
                      <a:lnTo>
                        <a:pt x="67" y="601"/>
                      </a:lnTo>
                      <a:lnTo>
                        <a:pt x="61" y="606"/>
                      </a:lnTo>
                      <a:lnTo>
                        <a:pt x="59" y="609"/>
                      </a:lnTo>
                      <a:lnTo>
                        <a:pt x="57" y="614"/>
                      </a:lnTo>
                      <a:lnTo>
                        <a:pt x="57" y="616"/>
                      </a:lnTo>
                      <a:lnTo>
                        <a:pt x="57" y="619"/>
                      </a:lnTo>
                      <a:lnTo>
                        <a:pt x="59" y="622"/>
                      </a:lnTo>
                      <a:lnTo>
                        <a:pt x="60" y="625"/>
                      </a:lnTo>
                      <a:lnTo>
                        <a:pt x="59" y="628"/>
                      </a:lnTo>
                      <a:lnTo>
                        <a:pt x="59" y="629"/>
                      </a:lnTo>
                      <a:lnTo>
                        <a:pt x="57" y="631"/>
                      </a:lnTo>
                      <a:lnTo>
                        <a:pt x="56" y="632"/>
                      </a:lnTo>
                      <a:lnTo>
                        <a:pt x="54" y="634"/>
                      </a:lnTo>
                      <a:lnTo>
                        <a:pt x="54" y="635"/>
                      </a:lnTo>
                      <a:lnTo>
                        <a:pt x="54" y="637"/>
                      </a:lnTo>
                      <a:lnTo>
                        <a:pt x="54" y="638"/>
                      </a:lnTo>
                      <a:lnTo>
                        <a:pt x="54" y="641"/>
                      </a:lnTo>
                      <a:lnTo>
                        <a:pt x="51" y="642"/>
                      </a:lnTo>
                      <a:lnTo>
                        <a:pt x="48" y="645"/>
                      </a:lnTo>
                      <a:lnTo>
                        <a:pt x="46" y="648"/>
                      </a:lnTo>
                      <a:lnTo>
                        <a:pt x="46" y="652"/>
                      </a:lnTo>
                      <a:lnTo>
                        <a:pt x="43" y="652"/>
                      </a:lnTo>
                      <a:lnTo>
                        <a:pt x="41" y="652"/>
                      </a:lnTo>
                      <a:lnTo>
                        <a:pt x="40" y="652"/>
                      </a:lnTo>
                      <a:lnTo>
                        <a:pt x="38" y="655"/>
                      </a:lnTo>
                      <a:lnTo>
                        <a:pt x="38" y="657"/>
                      </a:lnTo>
                      <a:lnTo>
                        <a:pt x="38" y="660"/>
                      </a:lnTo>
                      <a:lnTo>
                        <a:pt x="38" y="661"/>
                      </a:lnTo>
                      <a:lnTo>
                        <a:pt x="40" y="664"/>
                      </a:lnTo>
                      <a:lnTo>
                        <a:pt x="40" y="665"/>
                      </a:lnTo>
                      <a:lnTo>
                        <a:pt x="38" y="670"/>
                      </a:lnTo>
                      <a:lnTo>
                        <a:pt x="38" y="671"/>
                      </a:lnTo>
                      <a:lnTo>
                        <a:pt x="40" y="673"/>
                      </a:lnTo>
                      <a:lnTo>
                        <a:pt x="41" y="678"/>
                      </a:lnTo>
                      <a:lnTo>
                        <a:pt x="44" y="688"/>
                      </a:lnTo>
                      <a:lnTo>
                        <a:pt x="46" y="688"/>
                      </a:lnTo>
                      <a:lnTo>
                        <a:pt x="46" y="690"/>
                      </a:lnTo>
                      <a:lnTo>
                        <a:pt x="48" y="688"/>
                      </a:lnTo>
                      <a:lnTo>
                        <a:pt x="54" y="687"/>
                      </a:lnTo>
                      <a:lnTo>
                        <a:pt x="57" y="687"/>
                      </a:lnTo>
                      <a:lnTo>
                        <a:pt x="60" y="688"/>
                      </a:lnTo>
                      <a:lnTo>
                        <a:pt x="60" y="690"/>
                      </a:lnTo>
                      <a:lnTo>
                        <a:pt x="60" y="693"/>
                      </a:lnTo>
                      <a:lnTo>
                        <a:pt x="60" y="694"/>
                      </a:lnTo>
                      <a:lnTo>
                        <a:pt x="60" y="697"/>
                      </a:lnTo>
                      <a:lnTo>
                        <a:pt x="60" y="697"/>
                      </a:lnTo>
                      <a:lnTo>
                        <a:pt x="59" y="698"/>
                      </a:lnTo>
                      <a:lnTo>
                        <a:pt x="59" y="698"/>
                      </a:lnTo>
                      <a:lnTo>
                        <a:pt x="59" y="700"/>
                      </a:lnTo>
                      <a:lnTo>
                        <a:pt x="60" y="701"/>
                      </a:lnTo>
                      <a:lnTo>
                        <a:pt x="60" y="701"/>
                      </a:lnTo>
                      <a:lnTo>
                        <a:pt x="60" y="703"/>
                      </a:lnTo>
                      <a:lnTo>
                        <a:pt x="60" y="704"/>
                      </a:lnTo>
                      <a:lnTo>
                        <a:pt x="59" y="708"/>
                      </a:lnTo>
                      <a:lnTo>
                        <a:pt x="59" y="710"/>
                      </a:lnTo>
                      <a:lnTo>
                        <a:pt x="59" y="711"/>
                      </a:lnTo>
                      <a:lnTo>
                        <a:pt x="60" y="713"/>
                      </a:lnTo>
                      <a:lnTo>
                        <a:pt x="63" y="716"/>
                      </a:lnTo>
                      <a:lnTo>
                        <a:pt x="64" y="717"/>
                      </a:lnTo>
                      <a:lnTo>
                        <a:pt x="66" y="721"/>
                      </a:lnTo>
                      <a:lnTo>
                        <a:pt x="67" y="721"/>
                      </a:lnTo>
                      <a:lnTo>
                        <a:pt x="69" y="723"/>
                      </a:lnTo>
                      <a:lnTo>
                        <a:pt x="100" y="723"/>
                      </a:lnTo>
                      <a:lnTo>
                        <a:pt x="102" y="723"/>
                      </a:lnTo>
                      <a:lnTo>
                        <a:pt x="109" y="726"/>
                      </a:lnTo>
                      <a:lnTo>
                        <a:pt x="120" y="727"/>
                      </a:lnTo>
                      <a:lnTo>
                        <a:pt x="126" y="729"/>
                      </a:lnTo>
                      <a:close/>
                      <a:moveTo>
                        <a:pt x="13" y="546"/>
                      </a:moveTo>
                      <a:lnTo>
                        <a:pt x="11" y="545"/>
                      </a:lnTo>
                      <a:lnTo>
                        <a:pt x="11" y="546"/>
                      </a:lnTo>
                      <a:lnTo>
                        <a:pt x="11" y="546"/>
                      </a:lnTo>
                      <a:lnTo>
                        <a:pt x="13" y="546"/>
                      </a:lnTo>
                      <a:close/>
                      <a:moveTo>
                        <a:pt x="34" y="540"/>
                      </a:moveTo>
                      <a:lnTo>
                        <a:pt x="34" y="542"/>
                      </a:lnTo>
                      <a:lnTo>
                        <a:pt x="36" y="546"/>
                      </a:lnTo>
                      <a:lnTo>
                        <a:pt x="37" y="545"/>
                      </a:lnTo>
                      <a:lnTo>
                        <a:pt x="37" y="542"/>
                      </a:lnTo>
                      <a:lnTo>
                        <a:pt x="37" y="540"/>
                      </a:lnTo>
                      <a:lnTo>
                        <a:pt x="36" y="539"/>
                      </a:lnTo>
                      <a:lnTo>
                        <a:pt x="34" y="540"/>
                      </a:lnTo>
                      <a:close/>
                      <a:moveTo>
                        <a:pt x="21" y="537"/>
                      </a:moveTo>
                      <a:lnTo>
                        <a:pt x="21" y="539"/>
                      </a:lnTo>
                      <a:lnTo>
                        <a:pt x="21" y="540"/>
                      </a:lnTo>
                      <a:lnTo>
                        <a:pt x="20" y="542"/>
                      </a:lnTo>
                      <a:lnTo>
                        <a:pt x="21" y="543"/>
                      </a:lnTo>
                      <a:lnTo>
                        <a:pt x="26" y="550"/>
                      </a:lnTo>
                      <a:lnTo>
                        <a:pt x="27" y="552"/>
                      </a:lnTo>
                      <a:lnTo>
                        <a:pt x="28" y="553"/>
                      </a:lnTo>
                      <a:lnTo>
                        <a:pt x="28" y="555"/>
                      </a:lnTo>
                      <a:lnTo>
                        <a:pt x="30" y="556"/>
                      </a:lnTo>
                      <a:lnTo>
                        <a:pt x="28" y="556"/>
                      </a:lnTo>
                      <a:lnTo>
                        <a:pt x="30" y="558"/>
                      </a:lnTo>
                      <a:lnTo>
                        <a:pt x="31" y="558"/>
                      </a:lnTo>
                      <a:lnTo>
                        <a:pt x="34" y="556"/>
                      </a:lnTo>
                      <a:lnTo>
                        <a:pt x="34" y="553"/>
                      </a:lnTo>
                      <a:lnTo>
                        <a:pt x="34" y="549"/>
                      </a:lnTo>
                      <a:lnTo>
                        <a:pt x="33" y="546"/>
                      </a:lnTo>
                      <a:lnTo>
                        <a:pt x="33" y="545"/>
                      </a:lnTo>
                      <a:lnTo>
                        <a:pt x="31" y="542"/>
                      </a:lnTo>
                      <a:lnTo>
                        <a:pt x="30" y="540"/>
                      </a:lnTo>
                      <a:lnTo>
                        <a:pt x="31" y="537"/>
                      </a:lnTo>
                      <a:lnTo>
                        <a:pt x="33" y="536"/>
                      </a:lnTo>
                      <a:lnTo>
                        <a:pt x="34" y="536"/>
                      </a:lnTo>
                      <a:lnTo>
                        <a:pt x="36" y="535"/>
                      </a:lnTo>
                      <a:lnTo>
                        <a:pt x="36" y="533"/>
                      </a:lnTo>
                      <a:lnTo>
                        <a:pt x="34" y="532"/>
                      </a:lnTo>
                      <a:lnTo>
                        <a:pt x="33" y="532"/>
                      </a:lnTo>
                      <a:lnTo>
                        <a:pt x="33" y="530"/>
                      </a:lnTo>
                      <a:lnTo>
                        <a:pt x="33" y="530"/>
                      </a:lnTo>
                      <a:lnTo>
                        <a:pt x="30" y="530"/>
                      </a:lnTo>
                      <a:lnTo>
                        <a:pt x="30" y="530"/>
                      </a:lnTo>
                      <a:lnTo>
                        <a:pt x="28" y="533"/>
                      </a:lnTo>
                      <a:lnTo>
                        <a:pt x="28" y="533"/>
                      </a:lnTo>
                      <a:lnTo>
                        <a:pt x="28" y="535"/>
                      </a:lnTo>
                      <a:lnTo>
                        <a:pt x="28" y="535"/>
                      </a:lnTo>
                      <a:lnTo>
                        <a:pt x="27" y="536"/>
                      </a:lnTo>
                      <a:lnTo>
                        <a:pt x="27" y="536"/>
                      </a:lnTo>
                      <a:lnTo>
                        <a:pt x="26" y="536"/>
                      </a:lnTo>
                      <a:lnTo>
                        <a:pt x="24" y="536"/>
                      </a:lnTo>
                      <a:lnTo>
                        <a:pt x="23" y="536"/>
                      </a:lnTo>
                      <a:lnTo>
                        <a:pt x="21" y="537"/>
                      </a:lnTo>
                      <a:close/>
                      <a:moveTo>
                        <a:pt x="24" y="507"/>
                      </a:moveTo>
                      <a:lnTo>
                        <a:pt x="24" y="510"/>
                      </a:lnTo>
                      <a:lnTo>
                        <a:pt x="26" y="512"/>
                      </a:lnTo>
                      <a:lnTo>
                        <a:pt x="28" y="512"/>
                      </a:lnTo>
                      <a:lnTo>
                        <a:pt x="31" y="513"/>
                      </a:lnTo>
                      <a:lnTo>
                        <a:pt x="33" y="512"/>
                      </a:lnTo>
                      <a:lnTo>
                        <a:pt x="34" y="512"/>
                      </a:lnTo>
                      <a:lnTo>
                        <a:pt x="34" y="510"/>
                      </a:lnTo>
                      <a:lnTo>
                        <a:pt x="34" y="510"/>
                      </a:lnTo>
                      <a:lnTo>
                        <a:pt x="34" y="509"/>
                      </a:lnTo>
                      <a:lnTo>
                        <a:pt x="36" y="507"/>
                      </a:lnTo>
                      <a:lnTo>
                        <a:pt x="38" y="506"/>
                      </a:lnTo>
                      <a:lnTo>
                        <a:pt x="38" y="504"/>
                      </a:lnTo>
                      <a:lnTo>
                        <a:pt x="40" y="501"/>
                      </a:lnTo>
                      <a:lnTo>
                        <a:pt x="38" y="500"/>
                      </a:lnTo>
                      <a:lnTo>
                        <a:pt x="37" y="499"/>
                      </a:lnTo>
                      <a:lnTo>
                        <a:pt x="34" y="496"/>
                      </a:lnTo>
                      <a:lnTo>
                        <a:pt x="36" y="494"/>
                      </a:lnTo>
                      <a:lnTo>
                        <a:pt x="36" y="493"/>
                      </a:lnTo>
                      <a:lnTo>
                        <a:pt x="37" y="493"/>
                      </a:lnTo>
                      <a:lnTo>
                        <a:pt x="40" y="491"/>
                      </a:lnTo>
                      <a:lnTo>
                        <a:pt x="38" y="490"/>
                      </a:lnTo>
                      <a:lnTo>
                        <a:pt x="38" y="489"/>
                      </a:lnTo>
                      <a:lnTo>
                        <a:pt x="40" y="487"/>
                      </a:lnTo>
                      <a:lnTo>
                        <a:pt x="40" y="486"/>
                      </a:lnTo>
                      <a:lnTo>
                        <a:pt x="40" y="483"/>
                      </a:lnTo>
                      <a:lnTo>
                        <a:pt x="38" y="481"/>
                      </a:lnTo>
                      <a:lnTo>
                        <a:pt x="37" y="480"/>
                      </a:lnTo>
                      <a:lnTo>
                        <a:pt x="36" y="478"/>
                      </a:lnTo>
                      <a:lnTo>
                        <a:pt x="33" y="478"/>
                      </a:lnTo>
                      <a:lnTo>
                        <a:pt x="30" y="477"/>
                      </a:lnTo>
                      <a:lnTo>
                        <a:pt x="30" y="477"/>
                      </a:lnTo>
                      <a:lnTo>
                        <a:pt x="30" y="478"/>
                      </a:lnTo>
                      <a:lnTo>
                        <a:pt x="30" y="480"/>
                      </a:lnTo>
                      <a:lnTo>
                        <a:pt x="30" y="480"/>
                      </a:lnTo>
                      <a:lnTo>
                        <a:pt x="27" y="489"/>
                      </a:lnTo>
                      <a:lnTo>
                        <a:pt x="27" y="491"/>
                      </a:lnTo>
                      <a:lnTo>
                        <a:pt x="27" y="497"/>
                      </a:lnTo>
                      <a:lnTo>
                        <a:pt x="27" y="500"/>
                      </a:lnTo>
                      <a:lnTo>
                        <a:pt x="24" y="507"/>
                      </a:lnTo>
                      <a:close/>
                      <a:moveTo>
                        <a:pt x="18" y="565"/>
                      </a:moveTo>
                      <a:lnTo>
                        <a:pt x="18" y="565"/>
                      </a:lnTo>
                      <a:lnTo>
                        <a:pt x="18" y="566"/>
                      </a:lnTo>
                      <a:lnTo>
                        <a:pt x="18" y="566"/>
                      </a:lnTo>
                      <a:lnTo>
                        <a:pt x="23" y="566"/>
                      </a:lnTo>
                      <a:lnTo>
                        <a:pt x="26" y="566"/>
                      </a:lnTo>
                      <a:lnTo>
                        <a:pt x="27" y="563"/>
                      </a:lnTo>
                      <a:lnTo>
                        <a:pt x="26" y="563"/>
                      </a:lnTo>
                      <a:lnTo>
                        <a:pt x="26" y="560"/>
                      </a:lnTo>
                      <a:lnTo>
                        <a:pt x="26" y="559"/>
                      </a:lnTo>
                      <a:lnTo>
                        <a:pt x="24" y="558"/>
                      </a:lnTo>
                      <a:lnTo>
                        <a:pt x="26" y="555"/>
                      </a:lnTo>
                      <a:lnTo>
                        <a:pt x="26" y="553"/>
                      </a:lnTo>
                      <a:lnTo>
                        <a:pt x="23" y="555"/>
                      </a:lnTo>
                      <a:lnTo>
                        <a:pt x="21" y="558"/>
                      </a:lnTo>
                      <a:lnTo>
                        <a:pt x="21" y="560"/>
                      </a:lnTo>
                      <a:lnTo>
                        <a:pt x="18" y="563"/>
                      </a:lnTo>
                      <a:lnTo>
                        <a:pt x="18" y="565"/>
                      </a:lnTo>
                      <a:close/>
                      <a:moveTo>
                        <a:pt x="30" y="522"/>
                      </a:moveTo>
                      <a:lnTo>
                        <a:pt x="28" y="523"/>
                      </a:lnTo>
                      <a:lnTo>
                        <a:pt x="28" y="523"/>
                      </a:lnTo>
                      <a:lnTo>
                        <a:pt x="28" y="524"/>
                      </a:lnTo>
                      <a:lnTo>
                        <a:pt x="31" y="524"/>
                      </a:lnTo>
                      <a:lnTo>
                        <a:pt x="34" y="523"/>
                      </a:lnTo>
                      <a:lnTo>
                        <a:pt x="33" y="522"/>
                      </a:lnTo>
                      <a:lnTo>
                        <a:pt x="30" y="522"/>
                      </a:lnTo>
                      <a:close/>
                      <a:moveTo>
                        <a:pt x="15" y="517"/>
                      </a:moveTo>
                      <a:lnTo>
                        <a:pt x="15" y="519"/>
                      </a:lnTo>
                      <a:lnTo>
                        <a:pt x="18" y="517"/>
                      </a:lnTo>
                      <a:lnTo>
                        <a:pt x="17" y="516"/>
                      </a:lnTo>
                      <a:lnTo>
                        <a:pt x="15" y="517"/>
                      </a:lnTo>
                      <a:close/>
                      <a:moveTo>
                        <a:pt x="20" y="720"/>
                      </a:moveTo>
                      <a:lnTo>
                        <a:pt x="18" y="720"/>
                      </a:lnTo>
                      <a:lnTo>
                        <a:pt x="17" y="719"/>
                      </a:lnTo>
                      <a:lnTo>
                        <a:pt x="17" y="717"/>
                      </a:lnTo>
                      <a:lnTo>
                        <a:pt x="15" y="716"/>
                      </a:lnTo>
                      <a:lnTo>
                        <a:pt x="15" y="713"/>
                      </a:lnTo>
                      <a:lnTo>
                        <a:pt x="15" y="713"/>
                      </a:lnTo>
                      <a:lnTo>
                        <a:pt x="14" y="714"/>
                      </a:lnTo>
                      <a:lnTo>
                        <a:pt x="14" y="714"/>
                      </a:lnTo>
                      <a:lnTo>
                        <a:pt x="14" y="716"/>
                      </a:lnTo>
                      <a:lnTo>
                        <a:pt x="11" y="716"/>
                      </a:lnTo>
                      <a:lnTo>
                        <a:pt x="11" y="719"/>
                      </a:lnTo>
                      <a:lnTo>
                        <a:pt x="13" y="723"/>
                      </a:lnTo>
                      <a:lnTo>
                        <a:pt x="14" y="726"/>
                      </a:lnTo>
                      <a:lnTo>
                        <a:pt x="15" y="729"/>
                      </a:lnTo>
                      <a:lnTo>
                        <a:pt x="18" y="729"/>
                      </a:lnTo>
                      <a:lnTo>
                        <a:pt x="21" y="721"/>
                      </a:lnTo>
                      <a:lnTo>
                        <a:pt x="20" y="720"/>
                      </a:lnTo>
                      <a:lnTo>
                        <a:pt x="20" y="720"/>
                      </a:lnTo>
                      <a:close/>
                      <a:moveTo>
                        <a:pt x="13" y="677"/>
                      </a:moveTo>
                      <a:lnTo>
                        <a:pt x="14" y="675"/>
                      </a:lnTo>
                      <a:lnTo>
                        <a:pt x="15" y="674"/>
                      </a:lnTo>
                      <a:lnTo>
                        <a:pt x="14" y="673"/>
                      </a:lnTo>
                      <a:lnTo>
                        <a:pt x="13" y="671"/>
                      </a:lnTo>
                      <a:lnTo>
                        <a:pt x="8" y="671"/>
                      </a:lnTo>
                      <a:lnTo>
                        <a:pt x="7" y="670"/>
                      </a:lnTo>
                      <a:lnTo>
                        <a:pt x="5" y="678"/>
                      </a:lnTo>
                      <a:lnTo>
                        <a:pt x="7" y="678"/>
                      </a:lnTo>
                      <a:lnTo>
                        <a:pt x="8" y="678"/>
                      </a:lnTo>
                      <a:lnTo>
                        <a:pt x="10" y="678"/>
                      </a:lnTo>
                      <a:lnTo>
                        <a:pt x="11" y="678"/>
                      </a:lnTo>
                      <a:lnTo>
                        <a:pt x="13" y="677"/>
                      </a:lnTo>
                      <a:close/>
                      <a:moveTo>
                        <a:pt x="18" y="703"/>
                      </a:moveTo>
                      <a:lnTo>
                        <a:pt x="15" y="703"/>
                      </a:lnTo>
                      <a:lnTo>
                        <a:pt x="13" y="704"/>
                      </a:lnTo>
                      <a:lnTo>
                        <a:pt x="10" y="704"/>
                      </a:lnTo>
                      <a:lnTo>
                        <a:pt x="8" y="708"/>
                      </a:lnTo>
                      <a:lnTo>
                        <a:pt x="8" y="710"/>
                      </a:lnTo>
                      <a:lnTo>
                        <a:pt x="8" y="713"/>
                      </a:lnTo>
                      <a:lnTo>
                        <a:pt x="8" y="711"/>
                      </a:lnTo>
                      <a:lnTo>
                        <a:pt x="10" y="710"/>
                      </a:lnTo>
                      <a:lnTo>
                        <a:pt x="11" y="708"/>
                      </a:lnTo>
                      <a:lnTo>
                        <a:pt x="13" y="708"/>
                      </a:lnTo>
                      <a:lnTo>
                        <a:pt x="13" y="707"/>
                      </a:lnTo>
                      <a:lnTo>
                        <a:pt x="14" y="708"/>
                      </a:lnTo>
                      <a:lnTo>
                        <a:pt x="15" y="708"/>
                      </a:lnTo>
                      <a:lnTo>
                        <a:pt x="15" y="707"/>
                      </a:lnTo>
                      <a:lnTo>
                        <a:pt x="18" y="706"/>
                      </a:lnTo>
                      <a:lnTo>
                        <a:pt x="20" y="706"/>
                      </a:lnTo>
                      <a:lnTo>
                        <a:pt x="20" y="706"/>
                      </a:lnTo>
                      <a:lnTo>
                        <a:pt x="21" y="706"/>
                      </a:lnTo>
                      <a:lnTo>
                        <a:pt x="20" y="704"/>
                      </a:lnTo>
                      <a:lnTo>
                        <a:pt x="18" y="703"/>
                      </a:lnTo>
                      <a:close/>
                      <a:moveTo>
                        <a:pt x="8" y="683"/>
                      </a:moveTo>
                      <a:lnTo>
                        <a:pt x="5" y="683"/>
                      </a:lnTo>
                      <a:lnTo>
                        <a:pt x="4" y="687"/>
                      </a:lnTo>
                      <a:lnTo>
                        <a:pt x="5" y="690"/>
                      </a:lnTo>
                      <a:lnTo>
                        <a:pt x="7" y="690"/>
                      </a:lnTo>
                      <a:lnTo>
                        <a:pt x="7" y="690"/>
                      </a:lnTo>
                      <a:lnTo>
                        <a:pt x="7" y="688"/>
                      </a:lnTo>
                      <a:lnTo>
                        <a:pt x="7" y="687"/>
                      </a:lnTo>
                      <a:lnTo>
                        <a:pt x="7" y="687"/>
                      </a:lnTo>
                      <a:lnTo>
                        <a:pt x="8" y="685"/>
                      </a:lnTo>
                      <a:lnTo>
                        <a:pt x="10" y="684"/>
                      </a:lnTo>
                      <a:lnTo>
                        <a:pt x="11" y="684"/>
                      </a:lnTo>
                      <a:lnTo>
                        <a:pt x="10" y="683"/>
                      </a:lnTo>
                      <a:lnTo>
                        <a:pt x="8" y="683"/>
                      </a:lnTo>
                      <a:close/>
                      <a:moveTo>
                        <a:pt x="21" y="641"/>
                      </a:moveTo>
                      <a:lnTo>
                        <a:pt x="18" y="638"/>
                      </a:lnTo>
                      <a:lnTo>
                        <a:pt x="15" y="638"/>
                      </a:lnTo>
                      <a:lnTo>
                        <a:pt x="14" y="639"/>
                      </a:lnTo>
                      <a:lnTo>
                        <a:pt x="14" y="641"/>
                      </a:lnTo>
                      <a:lnTo>
                        <a:pt x="13" y="644"/>
                      </a:lnTo>
                      <a:lnTo>
                        <a:pt x="13" y="645"/>
                      </a:lnTo>
                      <a:lnTo>
                        <a:pt x="11" y="645"/>
                      </a:lnTo>
                      <a:lnTo>
                        <a:pt x="10" y="647"/>
                      </a:lnTo>
                      <a:lnTo>
                        <a:pt x="10" y="648"/>
                      </a:lnTo>
                      <a:lnTo>
                        <a:pt x="10" y="648"/>
                      </a:lnTo>
                      <a:lnTo>
                        <a:pt x="10" y="648"/>
                      </a:lnTo>
                      <a:lnTo>
                        <a:pt x="11" y="650"/>
                      </a:lnTo>
                      <a:lnTo>
                        <a:pt x="11" y="650"/>
                      </a:lnTo>
                      <a:lnTo>
                        <a:pt x="11" y="651"/>
                      </a:lnTo>
                      <a:lnTo>
                        <a:pt x="11" y="651"/>
                      </a:lnTo>
                      <a:lnTo>
                        <a:pt x="11" y="651"/>
                      </a:lnTo>
                      <a:lnTo>
                        <a:pt x="10" y="651"/>
                      </a:lnTo>
                      <a:lnTo>
                        <a:pt x="8" y="651"/>
                      </a:lnTo>
                      <a:lnTo>
                        <a:pt x="8" y="651"/>
                      </a:lnTo>
                      <a:lnTo>
                        <a:pt x="7" y="651"/>
                      </a:lnTo>
                      <a:lnTo>
                        <a:pt x="5" y="652"/>
                      </a:lnTo>
                      <a:lnTo>
                        <a:pt x="5" y="654"/>
                      </a:lnTo>
                      <a:lnTo>
                        <a:pt x="5" y="654"/>
                      </a:lnTo>
                      <a:lnTo>
                        <a:pt x="5" y="655"/>
                      </a:lnTo>
                      <a:lnTo>
                        <a:pt x="7" y="657"/>
                      </a:lnTo>
                      <a:lnTo>
                        <a:pt x="7" y="658"/>
                      </a:lnTo>
                      <a:lnTo>
                        <a:pt x="7" y="660"/>
                      </a:lnTo>
                      <a:lnTo>
                        <a:pt x="5" y="660"/>
                      </a:lnTo>
                      <a:lnTo>
                        <a:pt x="5" y="661"/>
                      </a:lnTo>
                      <a:lnTo>
                        <a:pt x="4" y="661"/>
                      </a:lnTo>
                      <a:lnTo>
                        <a:pt x="4" y="661"/>
                      </a:lnTo>
                      <a:lnTo>
                        <a:pt x="3" y="661"/>
                      </a:lnTo>
                      <a:lnTo>
                        <a:pt x="3" y="662"/>
                      </a:lnTo>
                      <a:lnTo>
                        <a:pt x="3" y="662"/>
                      </a:lnTo>
                      <a:lnTo>
                        <a:pt x="3" y="664"/>
                      </a:lnTo>
                      <a:lnTo>
                        <a:pt x="3" y="664"/>
                      </a:lnTo>
                      <a:lnTo>
                        <a:pt x="5" y="664"/>
                      </a:lnTo>
                      <a:lnTo>
                        <a:pt x="8" y="665"/>
                      </a:lnTo>
                      <a:lnTo>
                        <a:pt x="11" y="667"/>
                      </a:lnTo>
                      <a:lnTo>
                        <a:pt x="13" y="664"/>
                      </a:lnTo>
                      <a:lnTo>
                        <a:pt x="14" y="661"/>
                      </a:lnTo>
                      <a:lnTo>
                        <a:pt x="14" y="658"/>
                      </a:lnTo>
                      <a:lnTo>
                        <a:pt x="14" y="657"/>
                      </a:lnTo>
                      <a:lnTo>
                        <a:pt x="17" y="655"/>
                      </a:lnTo>
                      <a:lnTo>
                        <a:pt x="17" y="657"/>
                      </a:lnTo>
                      <a:lnTo>
                        <a:pt x="15" y="660"/>
                      </a:lnTo>
                      <a:lnTo>
                        <a:pt x="15" y="662"/>
                      </a:lnTo>
                      <a:lnTo>
                        <a:pt x="15" y="665"/>
                      </a:lnTo>
                      <a:lnTo>
                        <a:pt x="15" y="668"/>
                      </a:lnTo>
                      <a:lnTo>
                        <a:pt x="17" y="670"/>
                      </a:lnTo>
                      <a:lnTo>
                        <a:pt x="18" y="670"/>
                      </a:lnTo>
                      <a:lnTo>
                        <a:pt x="21" y="668"/>
                      </a:lnTo>
                      <a:lnTo>
                        <a:pt x="21" y="667"/>
                      </a:lnTo>
                      <a:lnTo>
                        <a:pt x="21" y="664"/>
                      </a:lnTo>
                      <a:lnTo>
                        <a:pt x="21" y="660"/>
                      </a:lnTo>
                      <a:lnTo>
                        <a:pt x="23" y="648"/>
                      </a:lnTo>
                      <a:lnTo>
                        <a:pt x="21" y="641"/>
                      </a:lnTo>
                      <a:close/>
                      <a:moveTo>
                        <a:pt x="24" y="720"/>
                      </a:moveTo>
                      <a:lnTo>
                        <a:pt x="26" y="720"/>
                      </a:lnTo>
                      <a:lnTo>
                        <a:pt x="27" y="720"/>
                      </a:lnTo>
                      <a:lnTo>
                        <a:pt x="27" y="719"/>
                      </a:lnTo>
                      <a:lnTo>
                        <a:pt x="24" y="717"/>
                      </a:lnTo>
                      <a:lnTo>
                        <a:pt x="23" y="716"/>
                      </a:lnTo>
                      <a:lnTo>
                        <a:pt x="23" y="717"/>
                      </a:lnTo>
                      <a:lnTo>
                        <a:pt x="23" y="719"/>
                      </a:lnTo>
                      <a:lnTo>
                        <a:pt x="24" y="720"/>
                      </a:lnTo>
                      <a:close/>
                      <a:moveTo>
                        <a:pt x="1" y="632"/>
                      </a:moveTo>
                      <a:lnTo>
                        <a:pt x="1" y="634"/>
                      </a:lnTo>
                      <a:lnTo>
                        <a:pt x="1" y="637"/>
                      </a:lnTo>
                      <a:lnTo>
                        <a:pt x="3" y="638"/>
                      </a:lnTo>
                      <a:lnTo>
                        <a:pt x="5" y="638"/>
                      </a:lnTo>
                      <a:lnTo>
                        <a:pt x="8" y="637"/>
                      </a:lnTo>
                      <a:lnTo>
                        <a:pt x="10" y="634"/>
                      </a:lnTo>
                      <a:lnTo>
                        <a:pt x="10" y="631"/>
                      </a:lnTo>
                      <a:lnTo>
                        <a:pt x="10" y="628"/>
                      </a:lnTo>
                      <a:lnTo>
                        <a:pt x="8" y="625"/>
                      </a:lnTo>
                      <a:lnTo>
                        <a:pt x="7" y="622"/>
                      </a:lnTo>
                      <a:lnTo>
                        <a:pt x="5" y="621"/>
                      </a:lnTo>
                      <a:lnTo>
                        <a:pt x="4" y="621"/>
                      </a:lnTo>
                      <a:lnTo>
                        <a:pt x="3" y="624"/>
                      </a:lnTo>
                      <a:lnTo>
                        <a:pt x="3" y="624"/>
                      </a:lnTo>
                      <a:lnTo>
                        <a:pt x="4" y="627"/>
                      </a:lnTo>
                      <a:lnTo>
                        <a:pt x="4" y="628"/>
                      </a:lnTo>
                      <a:lnTo>
                        <a:pt x="3" y="629"/>
                      </a:lnTo>
                      <a:lnTo>
                        <a:pt x="1" y="632"/>
                      </a:lnTo>
                      <a:close/>
                      <a:moveTo>
                        <a:pt x="4" y="650"/>
                      </a:moveTo>
                      <a:lnTo>
                        <a:pt x="5" y="648"/>
                      </a:lnTo>
                      <a:lnTo>
                        <a:pt x="8" y="647"/>
                      </a:lnTo>
                      <a:lnTo>
                        <a:pt x="11" y="642"/>
                      </a:lnTo>
                      <a:lnTo>
                        <a:pt x="11" y="641"/>
                      </a:lnTo>
                      <a:lnTo>
                        <a:pt x="11" y="639"/>
                      </a:lnTo>
                      <a:lnTo>
                        <a:pt x="10" y="638"/>
                      </a:lnTo>
                      <a:lnTo>
                        <a:pt x="10" y="638"/>
                      </a:lnTo>
                      <a:lnTo>
                        <a:pt x="8" y="639"/>
                      </a:lnTo>
                      <a:lnTo>
                        <a:pt x="7" y="639"/>
                      </a:lnTo>
                      <a:lnTo>
                        <a:pt x="5" y="639"/>
                      </a:lnTo>
                      <a:lnTo>
                        <a:pt x="4" y="641"/>
                      </a:lnTo>
                      <a:lnTo>
                        <a:pt x="3" y="641"/>
                      </a:lnTo>
                      <a:lnTo>
                        <a:pt x="1" y="642"/>
                      </a:lnTo>
                      <a:lnTo>
                        <a:pt x="3" y="644"/>
                      </a:lnTo>
                      <a:lnTo>
                        <a:pt x="4" y="645"/>
                      </a:lnTo>
                      <a:lnTo>
                        <a:pt x="4" y="647"/>
                      </a:lnTo>
                      <a:lnTo>
                        <a:pt x="1" y="650"/>
                      </a:lnTo>
                      <a:lnTo>
                        <a:pt x="4" y="650"/>
                      </a:lnTo>
                      <a:close/>
                      <a:moveTo>
                        <a:pt x="11" y="612"/>
                      </a:moveTo>
                      <a:lnTo>
                        <a:pt x="10" y="612"/>
                      </a:lnTo>
                      <a:lnTo>
                        <a:pt x="8" y="614"/>
                      </a:lnTo>
                      <a:lnTo>
                        <a:pt x="10" y="615"/>
                      </a:lnTo>
                      <a:lnTo>
                        <a:pt x="11" y="615"/>
                      </a:lnTo>
                      <a:lnTo>
                        <a:pt x="14" y="614"/>
                      </a:lnTo>
                      <a:lnTo>
                        <a:pt x="13" y="612"/>
                      </a:lnTo>
                      <a:lnTo>
                        <a:pt x="11" y="612"/>
                      </a:lnTo>
                      <a:close/>
                      <a:moveTo>
                        <a:pt x="15" y="616"/>
                      </a:moveTo>
                      <a:lnTo>
                        <a:pt x="14" y="616"/>
                      </a:lnTo>
                      <a:lnTo>
                        <a:pt x="14" y="616"/>
                      </a:lnTo>
                      <a:lnTo>
                        <a:pt x="11" y="618"/>
                      </a:lnTo>
                      <a:lnTo>
                        <a:pt x="10" y="619"/>
                      </a:lnTo>
                      <a:lnTo>
                        <a:pt x="8" y="621"/>
                      </a:lnTo>
                      <a:lnTo>
                        <a:pt x="8" y="622"/>
                      </a:lnTo>
                      <a:lnTo>
                        <a:pt x="10" y="624"/>
                      </a:lnTo>
                      <a:lnTo>
                        <a:pt x="13" y="632"/>
                      </a:lnTo>
                      <a:lnTo>
                        <a:pt x="14" y="634"/>
                      </a:lnTo>
                      <a:lnTo>
                        <a:pt x="17" y="635"/>
                      </a:lnTo>
                      <a:lnTo>
                        <a:pt x="20" y="634"/>
                      </a:lnTo>
                      <a:lnTo>
                        <a:pt x="18" y="627"/>
                      </a:lnTo>
                      <a:lnTo>
                        <a:pt x="15" y="618"/>
                      </a:lnTo>
                      <a:lnTo>
                        <a:pt x="15" y="616"/>
                      </a:lnTo>
                      <a:lnTo>
                        <a:pt x="15" y="616"/>
                      </a:lnTo>
                      <a:lnTo>
                        <a:pt x="15" y="616"/>
                      </a:lnTo>
                      <a:close/>
                      <a:moveTo>
                        <a:pt x="146" y="812"/>
                      </a:moveTo>
                      <a:lnTo>
                        <a:pt x="148" y="812"/>
                      </a:lnTo>
                      <a:lnTo>
                        <a:pt x="148" y="810"/>
                      </a:lnTo>
                      <a:lnTo>
                        <a:pt x="148" y="808"/>
                      </a:lnTo>
                      <a:lnTo>
                        <a:pt x="146" y="808"/>
                      </a:lnTo>
                      <a:lnTo>
                        <a:pt x="145" y="809"/>
                      </a:lnTo>
                      <a:lnTo>
                        <a:pt x="143" y="810"/>
                      </a:lnTo>
                      <a:lnTo>
                        <a:pt x="145" y="810"/>
                      </a:lnTo>
                      <a:lnTo>
                        <a:pt x="146" y="812"/>
                      </a:lnTo>
                      <a:close/>
                      <a:moveTo>
                        <a:pt x="160" y="799"/>
                      </a:moveTo>
                      <a:lnTo>
                        <a:pt x="160" y="799"/>
                      </a:lnTo>
                      <a:lnTo>
                        <a:pt x="162" y="800"/>
                      </a:lnTo>
                      <a:lnTo>
                        <a:pt x="162" y="800"/>
                      </a:lnTo>
                      <a:lnTo>
                        <a:pt x="162" y="799"/>
                      </a:lnTo>
                      <a:lnTo>
                        <a:pt x="163" y="799"/>
                      </a:lnTo>
                      <a:lnTo>
                        <a:pt x="163" y="799"/>
                      </a:lnTo>
                      <a:lnTo>
                        <a:pt x="162" y="798"/>
                      </a:lnTo>
                      <a:lnTo>
                        <a:pt x="160" y="799"/>
                      </a:lnTo>
                      <a:close/>
                      <a:moveTo>
                        <a:pt x="148" y="795"/>
                      </a:moveTo>
                      <a:lnTo>
                        <a:pt x="146" y="793"/>
                      </a:lnTo>
                      <a:lnTo>
                        <a:pt x="138" y="792"/>
                      </a:lnTo>
                      <a:lnTo>
                        <a:pt x="135" y="793"/>
                      </a:lnTo>
                      <a:lnTo>
                        <a:pt x="130" y="793"/>
                      </a:lnTo>
                      <a:lnTo>
                        <a:pt x="132" y="795"/>
                      </a:lnTo>
                      <a:lnTo>
                        <a:pt x="133" y="798"/>
                      </a:lnTo>
                      <a:lnTo>
                        <a:pt x="135" y="799"/>
                      </a:lnTo>
                      <a:lnTo>
                        <a:pt x="136" y="800"/>
                      </a:lnTo>
                      <a:lnTo>
                        <a:pt x="139" y="800"/>
                      </a:lnTo>
                      <a:lnTo>
                        <a:pt x="145" y="799"/>
                      </a:lnTo>
                      <a:lnTo>
                        <a:pt x="146" y="799"/>
                      </a:lnTo>
                      <a:lnTo>
                        <a:pt x="146" y="799"/>
                      </a:lnTo>
                      <a:lnTo>
                        <a:pt x="148" y="800"/>
                      </a:lnTo>
                      <a:lnTo>
                        <a:pt x="149" y="800"/>
                      </a:lnTo>
                      <a:lnTo>
                        <a:pt x="150" y="799"/>
                      </a:lnTo>
                      <a:lnTo>
                        <a:pt x="152" y="798"/>
                      </a:lnTo>
                      <a:lnTo>
                        <a:pt x="150" y="795"/>
                      </a:lnTo>
                      <a:lnTo>
                        <a:pt x="148" y="79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54" name="Freeform 247">
                  <a:extLst>
                    <a:ext uri="{FF2B5EF4-FFF2-40B4-BE49-F238E27FC236}">
                      <a16:creationId xmlns:a16="http://schemas.microsoft.com/office/drawing/2014/main" id="{3A98478C-C1F6-50F4-B92D-3B27FE3E3400}"/>
                    </a:ext>
                  </a:extLst>
                </p:cNvPr>
                <p:cNvSpPr>
                  <a:spLocks noEditPoints="1"/>
                </p:cNvSpPr>
                <p:nvPr/>
              </p:nvSpPr>
              <p:spPr bwMode="auto">
                <a:xfrm>
                  <a:off x="2473" y="3734"/>
                  <a:ext cx="59" cy="27"/>
                </a:xfrm>
                <a:custGeom>
                  <a:avLst/>
                  <a:gdLst>
                    <a:gd name="T0" fmla="*/ 24 w 59"/>
                    <a:gd name="T1" fmla="*/ 24 h 27"/>
                    <a:gd name="T2" fmla="*/ 24 w 59"/>
                    <a:gd name="T3" fmla="*/ 26 h 27"/>
                    <a:gd name="T4" fmla="*/ 34 w 59"/>
                    <a:gd name="T5" fmla="*/ 24 h 27"/>
                    <a:gd name="T6" fmla="*/ 34 w 59"/>
                    <a:gd name="T7" fmla="*/ 20 h 27"/>
                    <a:gd name="T8" fmla="*/ 38 w 59"/>
                    <a:gd name="T9" fmla="*/ 20 h 27"/>
                    <a:gd name="T10" fmla="*/ 43 w 59"/>
                    <a:gd name="T11" fmla="*/ 21 h 27"/>
                    <a:gd name="T12" fmla="*/ 43 w 59"/>
                    <a:gd name="T13" fmla="*/ 18 h 27"/>
                    <a:gd name="T14" fmla="*/ 46 w 59"/>
                    <a:gd name="T15" fmla="*/ 17 h 27"/>
                    <a:gd name="T16" fmla="*/ 57 w 59"/>
                    <a:gd name="T17" fmla="*/ 11 h 27"/>
                    <a:gd name="T18" fmla="*/ 56 w 59"/>
                    <a:gd name="T19" fmla="*/ 8 h 27"/>
                    <a:gd name="T20" fmla="*/ 56 w 59"/>
                    <a:gd name="T21" fmla="*/ 8 h 27"/>
                    <a:gd name="T22" fmla="*/ 59 w 59"/>
                    <a:gd name="T23" fmla="*/ 7 h 27"/>
                    <a:gd name="T24" fmla="*/ 51 w 59"/>
                    <a:gd name="T25" fmla="*/ 4 h 27"/>
                    <a:gd name="T26" fmla="*/ 50 w 59"/>
                    <a:gd name="T27" fmla="*/ 8 h 27"/>
                    <a:gd name="T28" fmla="*/ 47 w 59"/>
                    <a:gd name="T29" fmla="*/ 7 h 27"/>
                    <a:gd name="T30" fmla="*/ 46 w 59"/>
                    <a:gd name="T31" fmla="*/ 5 h 27"/>
                    <a:gd name="T32" fmla="*/ 47 w 59"/>
                    <a:gd name="T33" fmla="*/ 4 h 27"/>
                    <a:gd name="T34" fmla="*/ 47 w 59"/>
                    <a:gd name="T35" fmla="*/ 3 h 27"/>
                    <a:gd name="T36" fmla="*/ 40 w 59"/>
                    <a:gd name="T37" fmla="*/ 1 h 27"/>
                    <a:gd name="T38" fmla="*/ 38 w 59"/>
                    <a:gd name="T39" fmla="*/ 3 h 27"/>
                    <a:gd name="T40" fmla="*/ 38 w 59"/>
                    <a:gd name="T41" fmla="*/ 4 h 27"/>
                    <a:gd name="T42" fmla="*/ 36 w 59"/>
                    <a:gd name="T43" fmla="*/ 7 h 27"/>
                    <a:gd name="T44" fmla="*/ 36 w 59"/>
                    <a:gd name="T45" fmla="*/ 10 h 27"/>
                    <a:gd name="T46" fmla="*/ 36 w 59"/>
                    <a:gd name="T47" fmla="*/ 11 h 27"/>
                    <a:gd name="T48" fmla="*/ 36 w 59"/>
                    <a:gd name="T49" fmla="*/ 11 h 27"/>
                    <a:gd name="T50" fmla="*/ 28 w 59"/>
                    <a:gd name="T51" fmla="*/ 16 h 27"/>
                    <a:gd name="T52" fmla="*/ 27 w 59"/>
                    <a:gd name="T53" fmla="*/ 24 h 27"/>
                    <a:gd name="T54" fmla="*/ 31 w 59"/>
                    <a:gd name="T55" fmla="*/ 26 h 27"/>
                    <a:gd name="T56" fmla="*/ 34 w 59"/>
                    <a:gd name="T57" fmla="*/ 24 h 27"/>
                    <a:gd name="T58" fmla="*/ 46 w 59"/>
                    <a:gd name="T59" fmla="*/ 20 h 27"/>
                    <a:gd name="T60" fmla="*/ 47 w 59"/>
                    <a:gd name="T61" fmla="*/ 20 h 27"/>
                    <a:gd name="T62" fmla="*/ 46 w 59"/>
                    <a:gd name="T63" fmla="*/ 20 h 27"/>
                    <a:gd name="T64" fmla="*/ 16 w 59"/>
                    <a:gd name="T65" fmla="*/ 0 h 27"/>
                    <a:gd name="T66" fmla="*/ 17 w 59"/>
                    <a:gd name="T67" fmla="*/ 4 h 27"/>
                    <a:gd name="T68" fmla="*/ 30 w 59"/>
                    <a:gd name="T69" fmla="*/ 8 h 27"/>
                    <a:gd name="T70" fmla="*/ 31 w 59"/>
                    <a:gd name="T71" fmla="*/ 4 h 27"/>
                    <a:gd name="T72" fmla="*/ 30 w 59"/>
                    <a:gd name="T73" fmla="*/ 4 h 27"/>
                    <a:gd name="T74" fmla="*/ 18 w 59"/>
                    <a:gd name="T75" fmla="*/ 4 h 27"/>
                    <a:gd name="T76" fmla="*/ 17 w 59"/>
                    <a:gd name="T77" fmla="*/ 5 h 27"/>
                    <a:gd name="T78" fmla="*/ 14 w 59"/>
                    <a:gd name="T79" fmla="*/ 5 h 27"/>
                    <a:gd name="T80" fmla="*/ 11 w 59"/>
                    <a:gd name="T81" fmla="*/ 4 h 27"/>
                    <a:gd name="T82" fmla="*/ 11 w 59"/>
                    <a:gd name="T83" fmla="*/ 5 h 27"/>
                    <a:gd name="T84" fmla="*/ 14 w 59"/>
                    <a:gd name="T85" fmla="*/ 8 h 27"/>
                    <a:gd name="T86" fmla="*/ 14 w 59"/>
                    <a:gd name="T87" fmla="*/ 11 h 27"/>
                    <a:gd name="T88" fmla="*/ 10 w 59"/>
                    <a:gd name="T89" fmla="*/ 13 h 27"/>
                    <a:gd name="T90" fmla="*/ 14 w 59"/>
                    <a:gd name="T91" fmla="*/ 13 h 27"/>
                    <a:gd name="T92" fmla="*/ 14 w 59"/>
                    <a:gd name="T93" fmla="*/ 14 h 27"/>
                    <a:gd name="T94" fmla="*/ 10 w 59"/>
                    <a:gd name="T95" fmla="*/ 17 h 27"/>
                    <a:gd name="T96" fmla="*/ 7 w 59"/>
                    <a:gd name="T97" fmla="*/ 18 h 27"/>
                    <a:gd name="T98" fmla="*/ 4 w 59"/>
                    <a:gd name="T99" fmla="*/ 20 h 27"/>
                    <a:gd name="T100" fmla="*/ 5 w 59"/>
                    <a:gd name="T101" fmla="*/ 23 h 27"/>
                    <a:gd name="T102" fmla="*/ 11 w 59"/>
                    <a:gd name="T103" fmla="*/ 24 h 27"/>
                    <a:gd name="T104" fmla="*/ 14 w 59"/>
                    <a:gd name="T105" fmla="*/ 21 h 27"/>
                    <a:gd name="T106" fmla="*/ 16 w 59"/>
                    <a:gd name="T107" fmla="*/ 18 h 27"/>
                    <a:gd name="T108" fmla="*/ 17 w 59"/>
                    <a:gd name="T109" fmla="*/ 18 h 27"/>
                    <a:gd name="T110" fmla="*/ 20 w 59"/>
                    <a:gd name="T111" fmla="*/ 18 h 27"/>
                    <a:gd name="T112" fmla="*/ 23 w 59"/>
                    <a:gd name="T113" fmla="*/ 17 h 27"/>
                    <a:gd name="T114" fmla="*/ 30 w 59"/>
                    <a:gd name="T115" fmla="*/ 8 h 27"/>
                    <a:gd name="T116" fmla="*/ 4 w 59"/>
                    <a:gd name="T117" fmla="*/ 14 h 27"/>
                    <a:gd name="T118" fmla="*/ 1 w 59"/>
                    <a:gd name="T119" fmla="*/ 14 h 27"/>
                    <a:gd name="T120" fmla="*/ 0 w 59"/>
                    <a:gd name="T121" fmla="*/ 16 h 27"/>
                    <a:gd name="T122" fmla="*/ 3 w 59"/>
                    <a:gd name="T123"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 h="27">
                      <a:moveTo>
                        <a:pt x="23" y="23"/>
                      </a:moveTo>
                      <a:lnTo>
                        <a:pt x="24" y="24"/>
                      </a:lnTo>
                      <a:lnTo>
                        <a:pt x="24" y="26"/>
                      </a:lnTo>
                      <a:lnTo>
                        <a:pt x="24" y="26"/>
                      </a:lnTo>
                      <a:lnTo>
                        <a:pt x="23" y="23"/>
                      </a:lnTo>
                      <a:close/>
                      <a:moveTo>
                        <a:pt x="34" y="24"/>
                      </a:moveTo>
                      <a:lnTo>
                        <a:pt x="36" y="24"/>
                      </a:lnTo>
                      <a:lnTo>
                        <a:pt x="34" y="20"/>
                      </a:lnTo>
                      <a:lnTo>
                        <a:pt x="36" y="20"/>
                      </a:lnTo>
                      <a:lnTo>
                        <a:pt x="38" y="20"/>
                      </a:lnTo>
                      <a:lnTo>
                        <a:pt x="43" y="21"/>
                      </a:lnTo>
                      <a:lnTo>
                        <a:pt x="43" y="21"/>
                      </a:lnTo>
                      <a:lnTo>
                        <a:pt x="43" y="20"/>
                      </a:lnTo>
                      <a:lnTo>
                        <a:pt x="43" y="18"/>
                      </a:lnTo>
                      <a:lnTo>
                        <a:pt x="43" y="17"/>
                      </a:lnTo>
                      <a:lnTo>
                        <a:pt x="46" y="17"/>
                      </a:lnTo>
                      <a:lnTo>
                        <a:pt x="56" y="13"/>
                      </a:lnTo>
                      <a:lnTo>
                        <a:pt x="57" y="11"/>
                      </a:lnTo>
                      <a:lnTo>
                        <a:pt x="59" y="10"/>
                      </a:lnTo>
                      <a:lnTo>
                        <a:pt x="56" y="8"/>
                      </a:lnTo>
                      <a:lnTo>
                        <a:pt x="56" y="8"/>
                      </a:lnTo>
                      <a:lnTo>
                        <a:pt x="56" y="8"/>
                      </a:lnTo>
                      <a:lnTo>
                        <a:pt x="57" y="7"/>
                      </a:lnTo>
                      <a:lnTo>
                        <a:pt x="59" y="7"/>
                      </a:lnTo>
                      <a:lnTo>
                        <a:pt x="56" y="4"/>
                      </a:lnTo>
                      <a:lnTo>
                        <a:pt x="51" y="4"/>
                      </a:lnTo>
                      <a:lnTo>
                        <a:pt x="50" y="5"/>
                      </a:lnTo>
                      <a:lnTo>
                        <a:pt x="50" y="8"/>
                      </a:lnTo>
                      <a:lnTo>
                        <a:pt x="49" y="8"/>
                      </a:lnTo>
                      <a:lnTo>
                        <a:pt x="47" y="7"/>
                      </a:lnTo>
                      <a:lnTo>
                        <a:pt x="46" y="7"/>
                      </a:lnTo>
                      <a:lnTo>
                        <a:pt x="46" y="5"/>
                      </a:lnTo>
                      <a:lnTo>
                        <a:pt x="46" y="4"/>
                      </a:lnTo>
                      <a:lnTo>
                        <a:pt x="47" y="4"/>
                      </a:lnTo>
                      <a:lnTo>
                        <a:pt x="47" y="4"/>
                      </a:lnTo>
                      <a:lnTo>
                        <a:pt x="47" y="3"/>
                      </a:lnTo>
                      <a:lnTo>
                        <a:pt x="47" y="3"/>
                      </a:lnTo>
                      <a:lnTo>
                        <a:pt x="40" y="1"/>
                      </a:lnTo>
                      <a:lnTo>
                        <a:pt x="38" y="1"/>
                      </a:lnTo>
                      <a:lnTo>
                        <a:pt x="38" y="3"/>
                      </a:lnTo>
                      <a:lnTo>
                        <a:pt x="38" y="3"/>
                      </a:lnTo>
                      <a:lnTo>
                        <a:pt x="38" y="4"/>
                      </a:lnTo>
                      <a:lnTo>
                        <a:pt x="37" y="4"/>
                      </a:lnTo>
                      <a:lnTo>
                        <a:pt x="36" y="7"/>
                      </a:lnTo>
                      <a:lnTo>
                        <a:pt x="36" y="8"/>
                      </a:lnTo>
                      <a:lnTo>
                        <a:pt x="36" y="10"/>
                      </a:lnTo>
                      <a:lnTo>
                        <a:pt x="36" y="10"/>
                      </a:lnTo>
                      <a:lnTo>
                        <a:pt x="36" y="11"/>
                      </a:lnTo>
                      <a:lnTo>
                        <a:pt x="36" y="11"/>
                      </a:lnTo>
                      <a:lnTo>
                        <a:pt x="36" y="11"/>
                      </a:lnTo>
                      <a:lnTo>
                        <a:pt x="33" y="13"/>
                      </a:lnTo>
                      <a:lnTo>
                        <a:pt x="28" y="16"/>
                      </a:lnTo>
                      <a:lnTo>
                        <a:pt x="27" y="20"/>
                      </a:lnTo>
                      <a:lnTo>
                        <a:pt x="27" y="24"/>
                      </a:lnTo>
                      <a:lnTo>
                        <a:pt x="30" y="27"/>
                      </a:lnTo>
                      <a:lnTo>
                        <a:pt x="31" y="26"/>
                      </a:lnTo>
                      <a:lnTo>
                        <a:pt x="31" y="24"/>
                      </a:lnTo>
                      <a:lnTo>
                        <a:pt x="34" y="24"/>
                      </a:lnTo>
                      <a:lnTo>
                        <a:pt x="34" y="24"/>
                      </a:lnTo>
                      <a:close/>
                      <a:moveTo>
                        <a:pt x="46" y="20"/>
                      </a:moveTo>
                      <a:lnTo>
                        <a:pt x="47" y="21"/>
                      </a:lnTo>
                      <a:lnTo>
                        <a:pt x="47" y="20"/>
                      </a:lnTo>
                      <a:lnTo>
                        <a:pt x="46" y="20"/>
                      </a:lnTo>
                      <a:lnTo>
                        <a:pt x="46" y="20"/>
                      </a:lnTo>
                      <a:close/>
                      <a:moveTo>
                        <a:pt x="18" y="1"/>
                      </a:moveTo>
                      <a:lnTo>
                        <a:pt x="16" y="0"/>
                      </a:lnTo>
                      <a:lnTo>
                        <a:pt x="16" y="3"/>
                      </a:lnTo>
                      <a:lnTo>
                        <a:pt x="17" y="4"/>
                      </a:lnTo>
                      <a:lnTo>
                        <a:pt x="18" y="1"/>
                      </a:lnTo>
                      <a:close/>
                      <a:moveTo>
                        <a:pt x="30" y="8"/>
                      </a:moveTo>
                      <a:lnTo>
                        <a:pt x="31" y="7"/>
                      </a:lnTo>
                      <a:lnTo>
                        <a:pt x="31" y="4"/>
                      </a:lnTo>
                      <a:lnTo>
                        <a:pt x="31" y="4"/>
                      </a:lnTo>
                      <a:lnTo>
                        <a:pt x="30" y="4"/>
                      </a:lnTo>
                      <a:lnTo>
                        <a:pt x="26" y="4"/>
                      </a:lnTo>
                      <a:lnTo>
                        <a:pt x="18" y="4"/>
                      </a:lnTo>
                      <a:lnTo>
                        <a:pt x="17" y="5"/>
                      </a:lnTo>
                      <a:lnTo>
                        <a:pt x="17" y="5"/>
                      </a:lnTo>
                      <a:lnTo>
                        <a:pt x="16" y="5"/>
                      </a:lnTo>
                      <a:lnTo>
                        <a:pt x="14" y="5"/>
                      </a:lnTo>
                      <a:lnTo>
                        <a:pt x="13" y="5"/>
                      </a:lnTo>
                      <a:lnTo>
                        <a:pt x="11" y="4"/>
                      </a:lnTo>
                      <a:lnTo>
                        <a:pt x="10" y="3"/>
                      </a:lnTo>
                      <a:lnTo>
                        <a:pt x="11" y="5"/>
                      </a:lnTo>
                      <a:lnTo>
                        <a:pt x="11" y="7"/>
                      </a:lnTo>
                      <a:lnTo>
                        <a:pt x="14" y="8"/>
                      </a:lnTo>
                      <a:lnTo>
                        <a:pt x="16" y="10"/>
                      </a:lnTo>
                      <a:lnTo>
                        <a:pt x="14" y="11"/>
                      </a:lnTo>
                      <a:lnTo>
                        <a:pt x="13" y="11"/>
                      </a:lnTo>
                      <a:lnTo>
                        <a:pt x="10" y="13"/>
                      </a:lnTo>
                      <a:lnTo>
                        <a:pt x="11" y="13"/>
                      </a:lnTo>
                      <a:lnTo>
                        <a:pt x="14" y="13"/>
                      </a:lnTo>
                      <a:lnTo>
                        <a:pt x="16" y="13"/>
                      </a:lnTo>
                      <a:lnTo>
                        <a:pt x="14" y="14"/>
                      </a:lnTo>
                      <a:lnTo>
                        <a:pt x="13" y="16"/>
                      </a:lnTo>
                      <a:lnTo>
                        <a:pt x="10" y="17"/>
                      </a:lnTo>
                      <a:lnTo>
                        <a:pt x="10" y="18"/>
                      </a:lnTo>
                      <a:lnTo>
                        <a:pt x="7" y="18"/>
                      </a:lnTo>
                      <a:lnTo>
                        <a:pt x="5" y="18"/>
                      </a:lnTo>
                      <a:lnTo>
                        <a:pt x="4" y="20"/>
                      </a:lnTo>
                      <a:lnTo>
                        <a:pt x="3" y="21"/>
                      </a:lnTo>
                      <a:lnTo>
                        <a:pt x="5" y="23"/>
                      </a:lnTo>
                      <a:lnTo>
                        <a:pt x="8" y="24"/>
                      </a:lnTo>
                      <a:lnTo>
                        <a:pt x="11" y="24"/>
                      </a:lnTo>
                      <a:lnTo>
                        <a:pt x="14" y="23"/>
                      </a:lnTo>
                      <a:lnTo>
                        <a:pt x="14" y="21"/>
                      </a:lnTo>
                      <a:lnTo>
                        <a:pt x="14" y="20"/>
                      </a:lnTo>
                      <a:lnTo>
                        <a:pt x="16" y="18"/>
                      </a:lnTo>
                      <a:lnTo>
                        <a:pt x="16" y="18"/>
                      </a:lnTo>
                      <a:lnTo>
                        <a:pt x="17" y="18"/>
                      </a:lnTo>
                      <a:lnTo>
                        <a:pt x="17" y="18"/>
                      </a:lnTo>
                      <a:lnTo>
                        <a:pt x="20" y="18"/>
                      </a:lnTo>
                      <a:lnTo>
                        <a:pt x="21" y="17"/>
                      </a:lnTo>
                      <a:lnTo>
                        <a:pt x="23" y="17"/>
                      </a:lnTo>
                      <a:lnTo>
                        <a:pt x="24" y="14"/>
                      </a:lnTo>
                      <a:lnTo>
                        <a:pt x="30" y="8"/>
                      </a:lnTo>
                      <a:close/>
                      <a:moveTo>
                        <a:pt x="3" y="17"/>
                      </a:moveTo>
                      <a:lnTo>
                        <a:pt x="4" y="14"/>
                      </a:lnTo>
                      <a:lnTo>
                        <a:pt x="3" y="14"/>
                      </a:lnTo>
                      <a:lnTo>
                        <a:pt x="1" y="14"/>
                      </a:lnTo>
                      <a:lnTo>
                        <a:pt x="0" y="14"/>
                      </a:lnTo>
                      <a:lnTo>
                        <a:pt x="0" y="16"/>
                      </a:lnTo>
                      <a:lnTo>
                        <a:pt x="1" y="17"/>
                      </a:lnTo>
                      <a:lnTo>
                        <a:pt x="3" y="17"/>
                      </a:lnTo>
                      <a:lnTo>
                        <a:pt x="3" y="1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55" name="Freeform 248">
                  <a:extLst>
                    <a:ext uri="{FF2B5EF4-FFF2-40B4-BE49-F238E27FC236}">
                      <a16:creationId xmlns:a16="http://schemas.microsoft.com/office/drawing/2014/main" id="{C8BDECA1-0E49-A0CA-435C-F041CA0B5B15}"/>
                    </a:ext>
                  </a:extLst>
                </p:cNvPr>
                <p:cNvSpPr>
                  <a:spLocks noEditPoints="1"/>
                </p:cNvSpPr>
                <p:nvPr/>
              </p:nvSpPr>
              <p:spPr bwMode="auto">
                <a:xfrm>
                  <a:off x="2254" y="3111"/>
                  <a:ext cx="349" cy="715"/>
                </a:xfrm>
                <a:custGeom>
                  <a:avLst/>
                  <a:gdLst>
                    <a:gd name="T0" fmla="*/ 266 w 349"/>
                    <a:gd name="T1" fmla="*/ 236 h 715"/>
                    <a:gd name="T2" fmla="*/ 285 w 349"/>
                    <a:gd name="T3" fmla="*/ 273 h 715"/>
                    <a:gd name="T4" fmla="*/ 296 w 349"/>
                    <a:gd name="T5" fmla="*/ 294 h 715"/>
                    <a:gd name="T6" fmla="*/ 204 w 349"/>
                    <a:gd name="T7" fmla="*/ 335 h 715"/>
                    <a:gd name="T8" fmla="*/ 197 w 349"/>
                    <a:gd name="T9" fmla="*/ 361 h 715"/>
                    <a:gd name="T10" fmla="*/ 150 w 349"/>
                    <a:gd name="T11" fmla="*/ 374 h 715"/>
                    <a:gd name="T12" fmla="*/ 157 w 349"/>
                    <a:gd name="T13" fmla="*/ 407 h 715"/>
                    <a:gd name="T14" fmla="*/ 167 w 349"/>
                    <a:gd name="T15" fmla="*/ 409 h 715"/>
                    <a:gd name="T16" fmla="*/ 168 w 349"/>
                    <a:gd name="T17" fmla="*/ 421 h 715"/>
                    <a:gd name="T18" fmla="*/ 163 w 349"/>
                    <a:gd name="T19" fmla="*/ 423 h 715"/>
                    <a:gd name="T20" fmla="*/ 144 w 349"/>
                    <a:gd name="T21" fmla="*/ 456 h 715"/>
                    <a:gd name="T22" fmla="*/ 127 w 349"/>
                    <a:gd name="T23" fmla="*/ 470 h 715"/>
                    <a:gd name="T24" fmla="*/ 120 w 349"/>
                    <a:gd name="T25" fmla="*/ 516 h 715"/>
                    <a:gd name="T26" fmla="*/ 134 w 349"/>
                    <a:gd name="T27" fmla="*/ 541 h 715"/>
                    <a:gd name="T28" fmla="*/ 89 w 349"/>
                    <a:gd name="T29" fmla="*/ 588 h 715"/>
                    <a:gd name="T30" fmla="*/ 82 w 349"/>
                    <a:gd name="T31" fmla="*/ 600 h 715"/>
                    <a:gd name="T32" fmla="*/ 75 w 349"/>
                    <a:gd name="T33" fmla="*/ 631 h 715"/>
                    <a:gd name="T34" fmla="*/ 31 w 349"/>
                    <a:gd name="T35" fmla="*/ 643 h 715"/>
                    <a:gd name="T36" fmla="*/ 21 w 349"/>
                    <a:gd name="T37" fmla="*/ 620 h 715"/>
                    <a:gd name="T38" fmla="*/ 8 w 349"/>
                    <a:gd name="T39" fmla="*/ 608 h 715"/>
                    <a:gd name="T40" fmla="*/ 3 w 349"/>
                    <a:gd name="T41" fmla="*/ 572 h 715"/>
                    <a:gd name="T42" fmla="*/ 21 w 349"/>
                    <a:gd name="T43" fmla="*/ 549 h 715"/>
                    <a:gd name="T44" fmla="*/ 28 w 349"/>
                    <a:gd name="T45" fmla="*/ 515 h 715"/>
                    <a:gd name="T46" fmla="*/ 33 w 349"/>
                    <a:gd name="T47" fmla="*/ 490 h 715"/>
                    <a:gd name="T48" fmla="*/ 39 w 349"/>
                    <a:gd name="T49" fmla="*/ 478 h 715"/>
                    <a:gd name="T50" fmla="*/ 29 w 349"/>
                    <a:gd name="T51" fmla="*/ 465 h 715"/>
                    <a:gd name="T52" fmla="*/ 31 w 349"/>
                    <a:gd name="T53" fmla="*/ 449 h 715"/>
                    <a:gd name="T54" fmla="*/ 31 w 349"/>
                    <a:gd name="T55" fmla="*/ 434 h 715"/>
                    <a:gd name="T56" fmla="*/ 25 w 349"/>
                    <a:gd name="T57" fmla="*/ 414 h 715"/>
                    <a:gd name="T58" fmla="*/ 32 w 349"/>
                    <a:gd name="T59" fmla="*/ 401 h 715"/>
                    <a:gd name="T60" fmla="*/ 31 w 349"/>
                    <a:gd name="T61" fmla="*/ 364 h 715"/>
                    <a:gd name="T62" fmla="*/ 36 w 349"/>
                    <a:gd name="T63" fmla="*/ 348 h 715"/>
                    <a:gd name="T64" fmla="*/ 45 w 349"/>
                    <a:gd name="T65" fmla="*/ 322 h 715"/>
                    <a:gd name="T66" fmla="*/ 55 w 349"/>
                    <a:gd name="T67" fmla="*/ 278 h 715"/>
                    <a:gd name="T68" fmla="*/ 59 w 349"/>
                    <a:gd name="T69" fmla="*/ 249 h 715"/>
                    <a:gd name="T70" fmla="*/ 64 w 349"/>
                    <a:gd name="T71" fmla="*/ 220 h 715"/>
                    <a:gd name="T72" fmla="*/ 56 w 349"/>
                    <a:gd name="T73" fmla="*/ 199 h 715"/>
                    <a:gd name="T74" fmla="*/ 54 w 349"/>
                    <a:gd name="T75" fmla="*/ 180 h 715"/>
                    <a:gd name="T76" fmla="*/ 65 w 349"/>
                    <a:gd name="T77" fmla="*/ 163 h 715"/>
                    <a:gd name="T78" fmla="*/ 65 w 349"/>
                    <a:gd name="T79" fmla="*/ 143 h 715"/>
                    <a:gd name="T80" fmla="*/ 91 w 349"/>
                    <a:gd name="T81" fmla="*/ 102 h 715"/>
                    <a:gd name="T82" fmla="*/ 88 w 349"/>
                    <a:gd name="T83" fmla="*/ 71 h 715"/>
                    <a:gd name="T84" fmla="*/ 94 w 349"/>
                    <a:gd name="T85" fmla="*/ 49 h 715"/>
                    <a:gd name="T86" fmla="*/ 124 w 349"/>
                    <a:gd name="T87" fmla="*/ 8 h 715"/>
                    <a:gd name="T88" fmla="*/ 156 w 349"/>
                    <a:gd name="T89" fmla="*/ 8 h 715"/>
                    <a:gd name="T90" fmla="*/ 190 w 349"/>
                    <a:gd name="T91" fmla="*/ 6 h 715"/>
                    <a:gd name="T92" fmla="*/ 255 w 349"/>
                    <a:gd name="T93" fmla="*/ 54 h 715"/>
                    <a:gd name="T94" fmla="*/ 269 w 349"/>
                    <a:gd name="T95" fmla="*/ 94 h 715"/>
                    <a:gd name="T96" fmla="*/ 299 w 349"/>
                    <a:gd name="T97" fmla="*/ 111 h 715"/>
                    <a:gd name="T98" fmla="*/ 316 w 349"/>
                    <a:gd name="T99" fmla="*/ 104 h 715"/>
                    <a:gd name="T100" fmla="*/ 348 w 349"/>
                    <a:gd name="T101" fmla="*/ 81 h 715"/>
                    <a:gd name="T102" fmla="*/ 315 w 349"/>
                    <a:gd name="T103" fmla="*/ 123 h 715"/>
                    <a:gd name="T104" fmla="*/ 276 w 349"/>
                    <a:gd name="T105" fmla="*/ 170 h 715"/>
                    <a:gd name="T106" fmla="*/ 270 w 349"/>
                    <a:gd name="T107" fmla="*/ 194 h 715"/>
                    <a:gd name="T108" fmla="*/ 110 w 349"/>
                    <a:gd name="T109" fmla="*/ 690 h 715"/>
                    <a:gd name="T110" fmla="*/ 92 w 349"/>
                    <a:gd name="T111" fmla="*/ 667 h 715"/>
                    <a:gd name="T112" fmla="*/ 143 w 349"/>
                    <a:gd name="T113" fmla="*/ 712 h 715"/>
                    <a:gd name="T114" fmla="*/ 157 w 349"/>
                    <a:gd name="T115" fmla="*/ 712 h 715"/>
                    <a:gd name="T116" fmla="*/ 203 w 349"/>
                    <a:gd name="T117" fmla="*/ 341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9" h="715">
                      <a:moveTo>
                        <a:pt x="270" y="203"/>
                      </a:moveTo>
                      <a:lnTo>
                        <a:pt x="270" y="206"/>
                      </a:lnTo>
                      <a:lnTo>
                        <a:pt x="270" y="209"/>
                      </a:lnTo>
                      <a:lnTo>
                        <a:pt x="270" y="212"/>
                      </a:lnTo>
                      <a:lnTo>
                        <a:pt x="270" y="215"/>
                      </a:lnTo>
                      <a:lnTo>
                        <a:pt x="269" y="217"/>
                      </a:lnTo>
                      <a:lnTo>
                        <a:pt x="269" y="217"/>
                      </a:lnTo>
                      <a:lnTo>
                        <a:pt x="268" y="217"/>
                      </a:lnTo>
                      <a:lnTo>
                        <a:pt x="266" y="217"/>
                      </a:lnTo>
                      <a:lnTo>
                        <a:pt x="266" y="219"/>
                      </a:lnTo>
                      <a:lnTo>
                        <a:pt x="265" y="227"/>
                      </a:lnTo>
                      <a:lnTo>
                        <a:pt x="265" y="230"/>
                      </a:lnTo>
                      <a:lnTo>
                        <a:pt x="266" y="236"/>
                      </a:lnTo>
                      <a:lnTo>
                        <a:pt x="266" y="239"/>
                      </a:lnTo>
                      <a:lnTo>
                        <a:pt x="266" y="240"/>
                      </a:lnTo>
                      <a:lnTo>
                        <a:pt x="265" y="242"/>
                      </a:lnTo>
                      <a:lnTo>
                        <a:pt x="265" y="243"/>
                      </a:lnTo>
                      <a:lnTo>
                        <a:pt x="268" y="248"/>
                      </a:lnTo>
                      <a:lnTo>
                        <a:pt x="272" y="252"/>
                      </a:lnTo>
                      <a:lnTo>
                        <a:pt x="283" y="258"/>
                      </a:lnTo>
                      <a:lnTo>
                        <a:pt x="286" y="261"/>
                      </a:lnTo>
                      <a:lnTo>
                        <a:pt x="288" y="262"/>
                      </a:lnTo>
                      <a:lnTo>
                        <a:pt x="288" y="265"/>
                      </a:lnTo>
                      <a:lnTo>
                        <a:pt x="286" y="268"/>
                      </a:lnTo>
                      <a:lnTo>
                        <a:pt x="286" y="271"/>
                      </a:lnTo>
                      <a:lnTo>
                        <a:pt x="285" y="273"/>
                      </a:lnTo>
                      <a:lnTo>
                        <a:pt x="285" y="276"/>
                      </a:lnTo>
                      <a:lnTo>
                        <a:pt x="286" y="279"/>
                      </a:lnTo>
                      <a:lnTo>
                        <a:pt x="288" y="279"/>
                      </a:lnTo>
                      <a:lnTo>
                        <a:pt x="288" y="281"/>
                      </a:lnTo>
                      <a:lnTo>
                        <a:pt x="289" y="282"/>
                      </a:lnTo>
                      <a:lnTo>
                        <a:pt x="291" y="282"/>
                      </a:lnTo>
                      <a:lnTo>
                        <a:pt x="292" y="282"/>
                      </a:lnTo>
                      <a:lnTo>
                        <a:pt x="295" y="284"/>
                      </a:lnTo>
                      <a:lnTo>
                        <a:pt x="296" y="284"/>
                      </a:lnTo>
                      <a:lnTo>
                        <a:pt x="296" y="285"/>
                      </a:lnTo>
                      <a:lnTo>
                        <a:pt x="298" y="288"/>
                      </a:lnTo>
                      <a:lnTo>
                        <a:pt x="298" y="292"/>
                      </a:lnTo>
                      <a:lnTo>
                        <a:pt x="296" y="294"/>
                      </a:lnTo>
                      <a:lnTo>
                        <a:pt x="293" y="299"/>
                      </a:lnTo>
                      <a:lnTo>
                        <a:pt x="286" y="309"/>
                      </a:lnTo>
                      <a:lnTo>
                        <a:pt x="282" y="315"/>
                      </a:lnTo>
                      <a:lnTo>
                        <a:pt x="280" y="318"/>
                      </a:lnTo>
                      <a:lnTo>
                        <a:pt x="279" y="319"/>
                      </a:lnTo>
                      <a:lnTo>
                        <a:pt x="278" y="322"/>
                      </a:lnTo>
                      <a:lnTo>
                        <a:pt x="270" y="325"/>
                      </a:lnTo>
                      <a:lnTo>
                        <a:pt x="255" y="331"/>
                      </a:lnTo>
                      <a:lnTo>
                        <a:pt x="243" y="334"/>
                      </a:lnTo>
                      <a:lnTo>
                        <a:pt x="223" y="337"/>
                      </a:lnTo>
                      <a:lnTo>
                        <a:pt x="214" y="337"/>
                      </a:lnTo>
                      <a:lnTo>
                        <a:pt x="207" y="337"/>
                      </a:lnTo>
                      <a:lnTo>
                        <a:pt x="204" y="335"/>
                      </a:lnTo>
                      <a:lnTo>
                        <a:pt x="201" y="334"/>
                      </a:lnTo>
                      <a:lnTo>
                        <a:pt x="199" y="334"/>
                      </a:lnTo>
                      <a:lnTo>
                        <a:pt x="197" y="335"/>
                      </a:lnTo>
                      <a:lnTo>
                        <a:pt x="197" y="335"/>
                      </a:lnTo>
                      <a:lnTo>
                        <a:pt x="197" y="341"/>
                      </a:lnTo>
                      <a:lnTo>
                        <a:pt x="199" y="342"/>
                      </a:lnTo>
                      <a:lnTo>
                        <a:pt x="201" y="344"/>
                      </a:lnTo>
                      <a:lnTo>
                        <a:pt x="203" y="345"/>
                      </a:lnTo>
                      <a:lnTo>
                        <a:pt x="200" y="345"/>
                      </a:lnTo>
                      <a:lnTo>
                        <a:pt x="203" y="348"/>
                      </a:lnTo>
                      <a:lnTo>
                        <a:pt x="201" y="352"/>
                      </a:lnTo>
                      <a:lnTo>
                        <a:pt x="199" y="357"/>
                      </a:lnTo>
                      <a:lnTo>
                        <a:pt x="197" y="361"/>
                      </a:lnTo>
                      <a:lnTo>
                        <a:pt x="197" y="365"/>
                      </a:lnTo>
                      <a:lnTo>
                        <a:pt x="197" y="370"/>
                      </a:lnTo>
                      <a:lnTo>
                        <a:pt x="199" y="374"/>
                      </a:lnTo>
                      <a:lnTo>
                        <a:pt x="196" y="378"/>
                      </a:lnTo>
                      <a:lnTo>
                        <a:pt x="190" y="381"/>
                      </a:lnTo>
                      <a:lnTo>
                        <a:pt x="186" y="383"/>
                      </a:lnTo>
                      <a:lnTo>
                        <a:pt x="180" y="384"/>
                      </a:lnTo>
                      <a:lnTo>
                        <a:pt x="174" y="383"/>
                      </a:lnTo>
                      <a:lnTo>
                        <a:pt x="168" y="383"/>
                      </a:lnTo>
                      <a:lnTo>
                        <a:pt x="158" y="377"/>
                      </a:lnTo>
                      <a:lnTo>
                        <a:pt x="153" y="375"/>
                      </a:lnTo>
                      <a:lnTo>
                        <a:pt x="154" y="374"/>
                      </a:lnTo>
                      <a:lnTo>
                        <a:pt x="150" y="374"/>
                      </a:lnTo>
                      <a:lnTo>
                        <a:pt x="148" y="377"/>
                      </a:lnTo>
                      <a:lnTo>
                        <a:pt x="148" y="381"/>
                      </a:lnTo>
                      <a:lnTo>
                        <a:pt x="148" y="386"/>
                      </a:lnTo>
                      <a:lnTo>
                        <a:pt x="150" y="391"/>
                      </a:lnTo>
                      <a:lnTo>
                        <a:pt x="150" y="394"/>
                      </a:lnTo>
                      <a:lnTo>
                        <a:pt x="150" y="397"/>
                      </a:lnTo>
                      <a:lnTo>
                        <a:pt x="150" y="398"/>
                      </a:lnTo>
                      <a:lnTo>
                        <a:pt x="150" y="401"/>
                      </a:lnTo>
                      <a:lnTo>
                        <a:pt x="150" y="403"/>
                      </a:lnTo>
                      <a:lnTo>
                        <a:pt x="151" y="404"/>
                      </a:lnTo>
                      <a:lnTo>
                        <a:pt x="153" y="406"/>
                      </a:lnTo>
                      <a:lnTo>
                        <a:pt x="156" y="407"/>
                      </a:lnTo>
                      <a:lnTo>
                        <a:pt x="157" y="407"/>
                      </a:lnTo>
                      <a:lnTo>
                        <a:pt x="157" y="407"/>
                      </a:lnTo>
                      <a:lnTo>
                        <a:pt x="158" y="407"/>
                      </a:lnTo>
                      <a:lnTo>
                        <a:pt x="158" y="407"/>
                      </a:lnTo>
                      <a:lnTo>
                        <a:pt x="158" y="407"/>
                      </a:lnTo>
                      <a:lnTo>
                        <a:pt x="158" y="409"/>
                      </a:lnTo>
                      <a:lnTo>
                        <a:pt x="158" y="410"/>
                      </a:lnTo>
                      <a:lnTo>
                        <a:pt x="158" y="410"/>
                      </a:lnTo>
                      <a:lnTo>
                        <a:pt x="160" y="411"/>
                      </a:lnTo>
                      <a:lnTo>
                        <a:pt x="161" y="411"/>
                      </a:lnTo>
                      <a:lnTo>
                        <a:pt x="163" y="411"/>
                      </a:lnTo>
                      <a:lnTo>
                        <a:pt x="166" y="411"/>
                      </a:lnTo>
                      <a:lnTo>
                        <a:pt x="167" y="410"/>
                      </a:lnTo>
                      <a:lnTo>
                        <a:pt x="167" y="409"/>
                      </a:lnTo>
                      <a:lnTo>
                        <a:pt x="166" y="407"/>
                      </a:lnTo>
                      <a:lnTo>
                        <a:pt x="164" y="407"/>
                      </a:lnTo>
                      <a:lnTo>
                        <a:pt x="167" y="406"/>
                      </a:lnTo>
                      <a:lnTo>
                        <a:pt x="170" y="404"/>
                      </a:lnTo>
                      <a:lnTo>
                        <a:pt x="173" y="406"/>
                      </a:lnTo>
                      <a:lnTo>
                        <a:pt x="176" y="410"/>
                      </a:lnTo>
                      <a:lnTo>
                        <a:pt x="176" y="411"/>
                      </a:lnTo>
                      <a:lnTo>
                        <a:pt x="176" y="414"/>
                      </a:lnTo>
                      <a:lnTo>
                        <a:pt x="176" y="416"/>
                      </a:lnTo>
                      <a:lnTo>
                        <a:pt x="174" y="419"/>
                      </a:lnTo>
                      <a:lnTo>
                        <a:pt x="173" y="420"/>
                      </a:lnTo>
                      <a:lnTo>
                        <a:pt x="170" y="421"/>
                      </a:lnTo>
                      <a:lnTo>
                        <a:pt x="168" y="421"/>
                      </a:lnTo>
                      <a:lnTo>
                        <a:pt x="166" y="421"/>
                      </a:lnTo>
                      <a:lnTo>
                        <a:pt x="164" y="420"/>
                      </a:lnTo>
                      <a:lnTo>
                        <a:pt x="163" y="416"/>
                      </a:lnTo>
                      <a:lnTo>
                        <a:pt x="161" y="414"/>
                      </a:lnTo>
                      <a:lnTo>
                        <a:pt x="158" y="413"/>
                      </a:lnTo>
                      <a:lnTo>
                        <a:pt x="157" y="414"/>
                      </a:lnTo>
                      <a:lnTo>
                        <a:pt x="156" y="414"/>
                      </a:lnTo>
                      <a:lnTo>
                        <a:pt x="153" y="416"/>
                      </a:lnTo>
                      <a:lnTo>
                        <a:pt x="151" y="417"/>
                      </a:lnTo>
                      <a:lnTo>
                        <a:pt x="151" y="419"/>
                      </a:lnTo>
                      <a:lnTo>
                        <a:pt x="153" y="420"/>
                      </a:lnTo>
                      <a:lnTo>
                        <a:pt x="157" y="421"/>
                      </a:lnTo>
                      <a:lnTo>
                        <a:pt x="163" y="423"/>
                      </a:lnTo>
                      <a:lnTo>
                        <a:pt x="160" y="426"/>
                      </a:lnTo>
                      <a:lnTo>
                        <a:pt x="153" y="429"/>
                      </a:lnTo>
                      <a:lnTo>
                        <a:pt x="150" y="432"/>
                      </a:lnTo>
                      <a:lnTo>
                        <a:pt x="147" y="434"/>
                      </a:lnTo>
                      <a:lnTo>
                        <a:pt x="147" y="436"/>
                      </a:lnTo>
                      <a:lnTo>
                        <a:pt x="145" y="439"/>
                      </a:lnTo>
                      <a:lnTo>
                        <a:pt x="145" y="440"/>
                      </a:lnTo>
                      <a:lnTo>
                        <a:pt x="145" y="443"/>
                      </a:lnTo>
                      <a:lnTo>
                        <a:pt x="145" y="444"/>
                      </a:lnTo>
                      <a:lnTo>
                        <a:pt x="145" y="446"/>
                      </a:lnTo>
                      <a:lnTo>
                        <a:pt x="145" y="452"/>
                      </a:lnTo>
                      <a:lnTo>
                        <a:pt x="145" y="453"/>
                      </a:lnTo>
                      <a:lnTo>
                        <a:pt x="144" y="456"/>
                      </a:lnTo>
                      <a:lnTo>
                        <a:pt x="143" y="457"/>
                      </a:lnTo>
                      <a:lnTo>
                        <a:pt x="141" y="459"/>
                      </a:lnTo>
                      <a:lnTo>
                        <a:pt x="140" y="462"/>
                      </a:lnTo>
                      <a:lnTo>
                        <a:pt x="138" y="463"/>
                      </a:lnTo>
                      <a:lnTo>
                        <a:pt x="140" y="465"/>
                      </a:lnTo>
                      <a:lnTo>
                        <a:pt x="140" y="466"/>
                      </a:lnTo>
                      <a:lnTo>
                        <a:pt x="140" y="467"/>
                      </a:lnTo>
                      <a:lnTo>
                        <a:pt x="138" y="469"/>
                      </a:lnTo>
                      <a:lnTo>
                        <a:pt x="137" y="469"/>
                      </a:lnTo>
                      <a:lnTo>
                        <a:pt x="133" y="469"/>
                      </a:lnTo>
                      <a:lnTo>
                        <a:pt x="130" y="469"/>
                      </a:lnTo>
                      <a:lnTo>
                        <a:pt x="128" y="469"/>
                      </a:lnTo>
                      <a:lnTo>
                        <a:pt x="127" y="470"/>
                      </a:lnTo>
                      <a:lnTo>
                        <a:pt x="125" y="472"/>
                      </a:lnTo>
                      <a:lnTo>
                        <a:pt x="122" y="473"/>
                      </a:lnTo>
                      <a:lnTo>
                        <a:pt x="118" y="475"/>
                      </a:lnTo>
                      <a:lnTo>
                        <a:pt x="115" y="478"/>
                      </a:lnTo>
                      <a:lnTo>
                        <a:pt x="112" y="480"/>
                      </a:lnTo>
                      <a:lnTo>
                        <a:pt x="107" y="492"/>
                      </a:lnTo>
                      <a:lnTo>
                        <a:pt x="105" y="495"/>
                      </a:lnTo>
                      <a:lnTo>
                        <a:pt x="105" y="499"/>
                      </a:lnTo>
                      <a:lnTo>
                        <a:pt x="107" y="503"/>
                      </a:lnTo>
                      <a:lnTo>
                        <a:pt x="110" y="506"/>
                      </a:lnTo>
                      <a:lnTo>
                        <a:pt x="112" y="511"/>
                      </a:lnTo>
                      <a:lnTo>
                        <a:pt x="115" y="513"/>
                      </a:lnTo>
                      <a:lnTo>
                        <a:pt x="120" y="516"/>
                      </a:lnTo>
                      <a:lnTo>
                        <a:pt x="124" y="518"/>
                      </a:lnTo>
                      <a:lnTo>
                        <a:pt x="128" y="518"/>
                      </a:lnTo>
                      <a:lnTo>
                        <a:pt x="133" y="518"/>
                      </a:lnTo>
                      <a:lnTo>
                        <a:pt x="137" y="521"/>
                      </a:lnTo>
                      <a:lnTo>
                        <a:pt x="138" y="526"/>
                      </a:lnTo>
                      <a:lnTo>
                        <a:pt x="137" y="531"/>
                      </a:lnTo>
                      <a:lnTo>
                        <a:pt x="133" y="534"/>
                      </a:lnTo>
                      <a:lnTo>
                        <a:pt x="130" y="535"/>
                      </a:lnTo>
                      <a:lnTo>
                        <a:pt x="131" y="536"/>
                      </a:lnTo>
                      <a:lnTo>
                        <a:pt x="134" y="536"/>
                      </a:lnTo>
                      <a:lnTo>
                        <a:pt x="135" y="536"/>
                      </a:lnTo>
                      <a:lnTo>
                        <a:pt x="135" y="539"/>
                      </a:lnTo>
                      <a:lnTo>
                        <a:pt x="134" y="541"/>
                      </a:lnTo>
                      <a:lnTo>
                        <a:pt x="131" y="544"/>
                      </a:lnTo>
                      <a:lnTo>
                        <a:pt x="112" y="558"/>
                      </a:lnTo>
                      <a:lnTo>
                        <a:pt x="108" y="562"/>
                      </a:lnTo>
                      <a:lnTo>
                        <a:pt x="105" y="568"/>
                      </a:lnTo>
                      <a:lnTo>
                        <a:pt x="104" y="574"/>
                      </a:lnTo>
                      <a:lnTo>
                        <a:pt x="102" y="580"/>
                      </a:lnTo>
                      <a:lnTo>
                        <a:pt x="101" y="585"/>
                      </a:lnTo>
                      <a:lnTo>
                        <a:pt x="101" y="588"/>
                      </a:lnTo>
                      <a:lnTo>
                        <a:pt x="98" y="591"/>
                      </a:lnTo>
                      <a:lnTo>
                        <a:pt x="95" y="593"/>
                      </a:lnTo>
                      <a:lnTo>
                        <a:pt x="94" y="593"/>
                      </a:lnTo>
                      <a:lnTo>
                        <a:pt x="91" y="591"/>
                      </a:lnTo>
                      <a:lnTo>
                        <a:pt x="89" y="588"/>
                      </a:lnTo>
                      <a:lnTo>
                        <a:pt x="87" y="584"/>
                      </a:lnTo>
                      <a:lnTo>
                        <a:pt x="87" y="587"/>
                      </a:lnTo>
                      <a:lnTo>
                        <a:pt x="85" y="588"/>
                      </a:lnTo>
                      <a:lnTo>
                        <a:pt x="84" y="588"/>
                      </a:lnTo>
                      <a:lnTo>
                        <a:pt x="81" y="590"/>
                      </a:lnTo>
                      <a:lnTo>
                        <a:pt x="84" y="590"/>
                      </a:lnTo>
                      <a:lnTo>
                        <a:pt x="87" y="590"/>
                      </a:lnTo>
                      <a:lnTo>
                        <a:pt x="88" y="591"/>
                      </a:lnTo>
                      <a:lnTo>
                        <a:pt x="89" y="593"/>
                      </a:lnTo>
                      <a:lnTo>
                        <a:pt x="89" y="595"/>
                      </a:lnTo>
                      <a:lnTo>
                        <a:pt x="87" y="597"/>
                      </a:lnTo>
                      <a:lnTo>
                        <a:pt x="85" y="598"/>
                      </a:lnTo>
                      <a:lnTo>
                        <a:pt x="82" y="600"/>
                      </a:lnTo>
                      <a:lnTo>
                        <a:pt x="81" y="601"/>
                      </a:lnTo>
                      <a:lnTo>
                        <a:pt x="79" y="603"/>
                      </a:lnTo>
                      <a:lnTo>
                        <a:pt x="78" y="605"/>
                      </a:lnTo>
                      <a:lnTo>
                        <a:pt x="78" y="611"/>
                      </a:lnTo>
                      <a:lnTo>
                        <a:pt x="77" y="613"/>
                      </a:lnTo>
                      <a:lnTo>
                        <a:pt x="74" y="618"/>
                      </a:lnTo>
                      <a:lnTo>
                        <a:pt x="77" y="617"/>
                      </a:lnTo>
                      <a:lnTo>
                        <a:pt x="78" y="620"/>
                      </a:lnTo>
                      <a:lnTo>
                        <a:pt x="79" y="623"/>
                      </a:lnTo>
                      <a:lnTo>
                        <a:pt x="79" y="626"/>
                      </a:lnTo>
                      <a:lnTo>
                        <a:pt x="79" y="630"/>
                      </a:lnTo>
                      <a:lnTo>
                        <a:pt x="78" y="630"/>
                      </a:lnTo>
                      <a:lnTo>
                        <a:pt x="75" y="631"/>
                      </a:lnTo>
                      <a:lnTo>
                        <a:pt x="72" y="631"/>
                      </a:lnTo>
                      <a:lnTo>
                        <a:pt x="78" y="633"/>
                      </a:lnTo>
                      <a:lnTo>
                        <a:pt x="81" y="634"/>
                      </a:lnTo>
                      <a:lnTo>
                        <a:pt x="82" y="637"/>
                      </a:lnTo>
                      <a:lnTo>
                        <a:pt x="88" y="644"/>
                      </a:lnTo>
                      <a:lnTo>
                        <a:pt x="89" y="649"/>
                      </a:lnTo>
                      <a:lnTo>
                        <a:pt x="89" y="651"/>
                      </a:lnTo>
                      <a:lnTo>
                        <a:pt x="88" y="649"/>
                      </a:lnTo>
                      <a:lnTo>
                        <a:pt x="82" y="647"/>
                      </a:lnTo>
                      <a:lnTo>
                        <a:pt x="71" y="646"/>
                      </a:lnTo>
                      <a:lnTo>
                        <a:pt x="64" y="643"/>
                      </a:lnTo>
                      <a:lnTo>
                        <a:pt x="62" y="643"/>
                      </a:lnTo>
                      <a:lnTo>
                        <a:pt x="31" y="643"/>
                      </a:lnTo>
                      <a:lnTo>
                        <a:pt x="29" y="641"/>
                      </a:lnTo>
                      <a:lnTo>
                        <a:pt x="28" y="641"/>
                      </a:lnTo>
                      <a:lnTo>
                        <a:pt x="26" y="637"/>
                      </a:lnTo>
                      <a:lnTo>
                        <a:pt x="25" y="636"/>
                      </a:lnTo>
                      <a:lnTo>
                        <a:pt x="22" y="633"/>
                      </a:lnTo>
                      <a:lnTo>
                        <a:pt x="21" y="631"/>
                      </a:lnTo>
                      <a:lnTo>
                        <a:pt x="21" y="630"/>
                      </a:lnTo>
                      <a:lnTo>
                        <a:pt x="21" y="628"/>
                      </a:lnTo>
                      <a:lnTo>
                        <a:pt x="22" y="624"/>
                      </a:lnTo>
                      <a:lnTo>
                        <a:pt x="22" y="623"/>
                      </a:lnTo>
                      <a:lnTo>
                        <a:pt x="22" y="621"/>
                      </a:lnTo>
                      <a:lnTo>
                        <a:pt x="22" y="621"/>
                      </a:lnTo>
                      <a:lnTo>
                        <a:pt x="21" y="620"/>
                      </a:lnTo>
                      <a:lnTo>
                        <a:pt x="21" y="618"/>
                      </a:lnTo>
                      <a:lnTo>
                        <a:pt x="21" y="618"/>
                      </a:lnTo>
                      <a:lnTo>
                        <a:pt x="22" y="617"/>
                      </a:lnTo>
                      <a:lnTo>
                        <a:pt x="22" y="617"/>
                      </a:lnTo>
                      <a:lnTo>
                        <a:pt x="22" y="614"/>
                      </a:lnTo>
                      <a:lnTo>
                        <a:pt x="22" y="613"/>
                      </a:lnTo>
                      <a:lnTo>
                        <a:pt x="22" y="610"/>
                      </a:lnTo>
                      <a:lnTo>
                        <a:pt x="22" y="608"/>
                      </a:lnTo>
                      <a:lnTo>
                        <a:pt x="19" y="607"/>
                      </a:lnTo>
                      <a:lnTo>
                        <a:pt x="16" y="607"/>
                      </a:lnTo>
                      <a:lnTo>
                        <a:pt x="10" y="608"/>
                      </a:lnTo>
                      <a:lnTo>
                        <a:pt x="8" y="610"/>
                      </a:lnTo>
                      <a:lnTo>
                        <a:pt x="8" y="608"/>
                      </a:lnTo>
                      <a:lnTo>
                        <a:pt x="6" y="608"/>
                      </a:lnTo>
                      <a:lnTo>
                        <a:pt x="3" y="598"/>
                      </a:lnTo>
                      <a:lnTo>
                        <a:pt x="2" y="593"/>
                      </a:lnTo>
                      <a:lnTo>
                        <a:pt x="0" y="591"/>
                      </a:lnTo>
                      <a:lnTo>
                        <a:pt x="0" y="590"/>
                      </a:lnTo>
                      <a:lnTo>
                        <a:pt x="2" y="585"/>
                      </a:lnTo>
                      <a:lnTo>
                        <a:pt x="2" y="584"/>
                      </a:lnTo>
                      <a:lnTo>
                        <a:pt x="0" y="581"/>
                      </a:lnTo>
                      <a:lnTo>
                        <a:pt x="0" y="580"/>
                      </a:lnTo>
                      <a:lnTo>
                        <a:pt x="0" y="577"/>
                      </a:lnTo>
                      <a:lnTo>
                        <a:pt x="0" y="575"/>
                      </a:lnTo>
                      <a:lnTo>
                        <a:pt x="2" y="572"/>
                      </a:lnTo>
                      <a:lnTo>
                        <a:pt x="3" y="572"/>
                      </a:lnTo>
                      <a:lnTo>
                        <a:pt x="5" y="572"/>
                      </a:lnTo>
                      <a:lnTo>
                        <a:pt x="8" y="572"/>
                      </a:lnTo>
                      <a:lnTo>
                        <a:pt x="8" y="568"/>
                      </a:lnTo>
                      <a:lnTo>
                        <a:pt x="10" y="565"/>
                      </a:lnTo>
                      <a:lnTo>
                        <a:pt x="13" y="562"/>
                      </a:lnTo>
                      <a:lnTo>
                        <a:pt x="16" y="561"/>
                      </a:lnTo>
                      <a:lnTo>
                        <a:pt x="16" y="558"/>
                      </a:lnTo>
                      <a:lnTo>
                        <a:pt x="16" y="557"/>
                      </a:lnTo>
                      <a:lnTo>
                        <a:pt x="16" y="555"/>
                      </a:lnTo>
                      <a:lnTo>
                        <a:pt x="16" y="554"/>
                      </a:lnTo>
                      <a:lnTo>
                        <a:pt x="18" y="552"/>
                      </a:lnTo>
                      <a:lnTo>
                        <a:pt x="19" y="551"/>
                      </a:lnTo>
                      <a:lnTo>
                        <a:pt x="21" y="549"/>
                      </a:lnTo>
                      <a:lnTo>
                        <a:pt x="21" y="548"/>
                      </a:lnTo>
                      <a:lnTo>
                        <a:pt x="22" y="545"/>
                      </a:lnTo>
                      <a:lnTo>
                        <a:pt x="21" y="542"/>
                      </a:lnTo>
                      <a:lnTo>
                        <a:pt x="19" y="539"/>
                      </a:lnTo>
                      <a:lnTo>
                        <a:pt x="19" y="536"/>
                      </a:lnTo>
                      <a:lnTo>
                        <a:pt x="19" y="534"/>
                      </a:lnTo>
                      <a:lnTo>
                        <a:pt x="21" y="529"/>
                      </a:lnTo>
                      <a:lnTo>
                        <a:pt x="23" y="526"/>
                      </a:lnTo>
                      <a:lnTo>
                        <a:pt x="29" y="521"/>
                      </a:lnTo>
                      <a:lnTo>
                        <a:pt x="29" y="521"/>
                      </a:lnTo>
                      <a:lnTo>
                        <a:pt x="29" y="519"/>
                      </a:lnTo>
                      <a:lnTo>
                        <a:pt x="28" y="516"/>
                      </a:lnTo>
                      <a:lnTo>
                        <a:pt x="28" y="515"/>
                      </a:lnTo>
                      <a:lnTo>
                        <a:pt x="29" y="512"/>
                      </a:lnTo>
                      <a:lnTo>
                        <a:pt x="31" y="509"/>
                      </a:lnTo>
                      <a:lnTo>
                        <a:pt x="32" y="506"/>
                      </a:lnTo>
                      <a:lnTo>
                        <a:pt x="32" y="503"/>
                      </a:lnTo>
                      <a:lnTo>
                        <a:pt x="32" y="502"/>
                      </a:lnTo>
                      <a:lnTo>
                        <a:pt x="31" y="499"/>
                      </a:lnTo>
                      <a:lnTo>
                        <a:pt x="31" y="498"/>
                      </a:lnTo>
                      <a:lnTo>
                        <a:pt x="31" y="496"/>
                      </a:lnTo>
                      <a:lnTo>
                        <a:pt x="32" y="495"/>
                      </a:lnTo>
                      <a:lnTo>
                        <a:pt x="32" y="495"/>
                      </a:lnTo>
                      <a:lnTo>
                        <a:pt x="33" y="493"/>
                      </a:lnTo>
                      <a:lnTo>
                        <a:pt x="33" y="492"/>
                      </a:lnTo>
                      <a:lnTo>
                        <a:pt x="33" y="490"/>
                      </a:lnTo>
                      <a:lnTo>
                        <a:pt x="32" y="489"/>
                      </a:lnTo>
                      <a:lnTo>
                        <a:pt x="32" y="486"/>
                      </a:lnTo>
                      <a:lnTo>
                        <a:pt x="32" y="485"/>
                      </a:lnTo>
                      <a:lnTo>
                        <a:pt x="32" y="483"/>
                      </a:lnTo>
                      <a:lnTo>
                        <a:pt x="32" y="483"/>
                      </a:lnTo>
                      <a:lnTo>
                        <a:pt x="33" y="482"/>
                      </a:lnTo>
                      <a:lnTo>
                        <a:pt x="33" y="482"/>
                      </a:lnTo>
                      <a:lnTo>
                        <a:pt x="36" y="480"/>
                      </a:lnTo>
                      <a:lnTo>
                        <a:pt x="36" y="480"/>
                      </a:lnTo>
                      <a:lnTo>
                        <a:pt x="36" y="480"/>
                      </a:lnTo>
                      <a:lnTo>
                        <a:pt x="36" y="480"/>
                      </a:lnTo>
                      <a:lnTo>
                        <a:pt x="36" y="479"/>
                      </a:lnTo>
                      <a:lnTo>
                        <a:pt x="39" y="478"/>
                      </a:lnTo>
                      <a:lnTo>
                        <a:pt x="39" y="478"/>
                      </a:lnTo>
                      <a:lnTo>
                        <a:pt x="39" y="476"/>
                      </a:lnTo>
                      <a:lnTo>
                        <a:pt x="38" y="475"/>
                      </a:lnTo>
                      <a:lnTo>
                        <a:pt x="36" y="473"/>
                      </a:lnTo>
                      <a:lnTo>
                        <a:pt x="35" y="470"/>
                      </a:lnTo>
                      <a:lnTo>
                        <a:pt x="33" y="469"/>
                      </a:lnTo>
                      <a:lnTo>
                        <a:pt x="32" y="469"/>
                      </a:lnTo>
                      <a:lnTo>
                        <a:pt x="31" y="467"/>
                      </a:lnTo>
                      <a:lnTo>
                        <a:pt x="28" y="467"/>
                      </a:lnTo>
                      <a:lnTo>
                        <a:pt x="26" y="466"/>
                      </a:lnTo>
                      <a:lnTo>
                        <a:pt x="26" y="465"/>
                      </a:lnTo>
                      <a:lnTo>
                        <a:pt x="28" y="465"/>
                      </a:lnTo>
                      <a:lnTo>
                        <a:pt x="29" y="465"/>
                      </a:lnTo>
                      <a:lnTo>
                        <a:pt x="33" y="465"/>
                      </a:lnTo>
                      <a:lnTo>
                        <a:pt x="35" y="465"/>
                      </a:lnTo>
                      <a:lnTo>
                        <a:pt x="38" y="465"/>
                      </a:lnTo>
                      <a:lnTo>
                        <a:pt x="39" y="465"/>
                      </a:lnTo>
                      <a:lnTo>
                        <a:pt x="41" y="463"/>
                      </a:lnTo>
                      <a:lnTo>
                        <a:pt x="42" y="460"/>
                      </a:lnTo>
                      <a:lnTo>
                        <a:pt x="42" y="457"/>
                      </a:lnTo>
                      <a:lnTo>
                        <a:pt x="39" y="456"/>
                      </a:lnTo>
                      <a:lnTo>
                        <a:pt x="35" y="456"/>
                      </a:lnTo>
                      <a:lnTo>
                        <a:pt x="32" y="455"/>
                      </a:lnTo>
                      <a:lnTo>
                        <a:pt x="31" y="455"/>
                      </a:lnTo>
                      <a:lnTo>
                        <a:pt x="31" y="450"/>
                      </a:lnTo>
                      <a:lnTo>
                        <a:pt x="31" y="449"/>
                      </a:lnTo>
                      <a:lnTo>
                        <a:pt x="32" y="447"/>
                      </a:lnTo>
                      <a:lnTo>
                        <a:pt x="32" y="446"/>
                      </a:lnTo>
                      <a:lnTo>
                        <a:pt x="32" y="444"/>
                      </a:lnTo>
                      <a:lnTo>
                        <a:pt x="32" y="443"/>
                      </a:lnTo>
                      <a:lnTo>
                        <a:pt x="32" y="443"/>
                      </a:lnTo>
                      <a:lnTo>
                        <a:pt x="31" y="440"/>
                      </a:lnTo>
                      <a:lnTo>
                        <a:pt x="31" y="440"/>
                      </a:lnTo>
                      <a:lnTo>
                        <a:pt x="32" y="440"/>
                      </a:lnTo>
                      <a:lnTo>
                        <a:pt x="32" y="439"/>
                      </a:lnTo>
                      <a:lnTo>
                        <a:pt x="32" y="439"/>
                      </a:lnTo>
                      <a:lnTo>
                        <a:pt x="32" y="437"/>
                      </a:lnTo>
                      <a:lnTo>
                        <a:pt x="32" y="437"/>
                      </a:lnTo>
                      <a:lnTo>
                        <a:pt x="31" y="434"/>
                      </a:lnTo>
                      <a:lnTo>
                        <a:pt x="29" y="434"/>
                      </a:lnTo>
                      <a:lnTo>
                        <a:pt x="29" y="433"/>
                      </a:lnTo>
                      <a:lnTo>
                        <a:pt x="29" y="432"/>
                      </a:lnTo>
                      <a:lnTo>
                        <a:pt x="31" y="432"/>
                      </a:lnTo>
                      <a:lnTo>
                        <a:pt x="31" y="430"/>
                      </a:lnTo>
                      <a:lnTo>
                        <a:pt x="32" y="430"/>
                      </a:lnTo>
                      <a:lnTo>
                        <a:pt x="32" y="429"/>
                      </a:lnTo>
                      <a:lnTo>
                        <a:pt x="31" y="427"/>
                      </a:lnTo>
                      <a:lnTo>
                        <a:pt x="28" y="427"/>
                      </a:lnTo>
                      <a:lnTo>
                        <a:pt x="26" y="426"/>
                      </a:lnTo>
                      <a:lnTo>
                        <a:pt x="25" y="424"/>
                      </a:lnTo>
                      <a:lnTo>
                        <a:pt x="25" y="420"/>
                      </a:lnTo>
                      <a:lnTo>
                        <a:pt x="25" y="414"/>
                      </a:lnTo>
                      <a:lnTo>
                        <a:pt x="25" y="414"/>
                      </a:lnTo>
                      <a:lnTo>
                        <a:pt x="26" y="413"/>
                      </a:lnTo>
                      <a:lnTo>
                        <a:pt x="26" y="413"/>
                      </a:lnTo>
                      <a:lnTo>
                        <a:pt x="26" y="411"/>
                      </a:lnTo>
                      <a:lnTo>
                        <a:pt x="26" y="410"/>
                      </a:lnTo>
                      <a:lnTo>
                        <a:pt x="26" y="409"/>
                      </a:lnTo>
                      <a:lnTo>
                        <a:pt x="26" y="407"/>
                      </a:lnTo>
                      <a:lnTo>
                        <a:pt x="26" y="407"/>
                      </a:lnTo>
                      <a:lnTo>
                        <a:pt x="26" y="406"/>
                      </a:lnTo>
                      <a:lnTo>
                        <a:pt x="28" y="406"/>
                      </a:lnTo>
                      <a:lnTo>
                        <a:pt x="29" y="404"/>
                      </a:lnTo>
                      <a:lnTo>
                        <a:pt x="31" y="404"/>
                      </a:lnTo>
                      <a:lnTo>
                        <a:pt x="32" y="401"/>
                      </a:lnTo>
                      <a:lnTo>
                        <a:pt x="32" y="400"/>
                      </a:lnTo>
                      <a:lnTo>
                        <a:pt x="31" y="394"/>
                      </a:lnTo>
                      <a:lnTo>
                        <a:pt x="29" y="393"/>
                      </a:lnTo>
                      <a:lnTo>
                        <a:pt x="29" y="380"/>
                      </a:lnTo>
                      <a:lnTo>
                        <a:pt x="29" y="375"/>
                      </a:lnTo>
                      <a:lnTo>
                        <a:pt x="29" y="373"/>
                      </a:lnTo>
                      <a:lnTo>
                        <a:pt x="31" y="370"/>
                      </a:lnTo>
                      <a:lnTo>
                        <a:pt x="32" y="367"/>
                      </a:lnTo>
                      <a:lnTo>
                        <a:pt x="32" y="367"/>
                      </a:lnTo>
                      <a:lnTo>
                        <a:pt x="32" y="365"/>
                      </a:lnTo>
                      <a:lnTo>
                        <a:pt x="32" y="365"/>
                      </a:lnTo>
                      <a:lnTo>
                        <a:pt x="31" y="364"/>
                      </a:lnTo>
                      <a:lnTo>
                        <a:pt x="31" y="364"/>
                      </a:lnTo>
                      <a:lnTo>
                        <a:pt x="31" y="361"/>
                      </a:lnTo>
                      <a:lnTo>
                        <a:pt x="32" y="361"/>
                      </a:lnTo>
                      <a:lnTo>
                        <a:pt x="33" y="360"/>
                      </a:lnTo>
                      <a:lnTo>
                        <a:pt x="33" y="357"/>
                      </a:lnTo>
                      <a:lnTo>
                        <a:pt x="33" y="355"/>
                      </a:lnTo>
                      <a:lnTo>
                        <a:pt x="33" y="351"/>
                      </a:lnTo>
                      <a:lnTo>
                        <a:pt x="33" y="350"/>
                      </a:lnTo>
                      <a:lnTo>
                        <a:pt x="33" y="350"/>
                      </a:lnTo>
                      <a:lnTo>
                        <a:pt x="35" y="350"/>
                      </a:lnTo>
                      <a:lnTo>
                        <a:pt x="35" y="350"/>
                      </a:lnTo>
                      <a:lnTo>
                        <a:pt x="36" y="350"/>
                      </a:lnTo>
                      <a:lnTo>
                        <a:pt x="36" y="350"/>
                      </a:lnTo>
                      <a:lnTo>
                        <a:pt x="36" y="348"/>
                      </a:lnTo>
                      <a:lnTo>
                        <a:pt x="38" y="345"/>
                      </a:lnTo>
                      <a:lnTo>
                        <a:pt x="38" y="340"/>
                      </a:lnTo>
                      <a:lnTo>
                        <a:pt x="38" y="337"/>
                      </a:lnTo>
                      <a:lnTo>
                        <a:pt x="39" y="335"/>
                      </a:lnTo>
                      <a:lnTo>
                        <a:pt x="41" y="334"/>
                      </a:lnTo>
                      <a:lnTo>
                        <a:pt x="46" y="331"/>
                      </a:lnTo>
                      <a:lnTo>
                        <a:pt x="48" y="330"/>
                      </a:lnTo>
                      <a:lnTo>
                        <a:pt x="48" y="328"/>
                      </a:lnTo>
                      <a:lnTo>
                        <a:pt x="48" y="328"/>
                      </a:lnTo>
                      <a:lnTo>
                        <a:pt x="46" y="327"/>
                      </a:lnTo>
                      <a:lnTo>
                        <a:pt x="46" y="325"/>
                      </a:lnTo>
                      <a:lnTo>
                        <a:pt x="45" y="325"/>
                      </a:lnTo>
                      <a:lnTo>
                        <a:pt x="45" y="322"/>
                      </a:lnTo>
                      <a:lnTo>
                        <a:pt x="42" y="309"/>
                      </a:lnTo>
                      <a:lnTo>
                        <a:pt x="42" y="291"/>
                      </a:lnTo>
                      <a:lnTo>
                        <a:pt x="44" y="288"/>
                      </a:lnTo>
                      <a:lnTo>
                        <a:pt x="44" y="286"/>
                      </a:lnTo>
                      <a:lnTo>
                        <a:pt x="45" y="285"/>
                      </a:lnTo>
                      <a:lnTo>
                        <a:pt x="48" y="284"/>
                      </a:lnTo>
                      <a:lnTo>
                        <a:pt x="49" y="284"/>
                      </a:lnTo>
                      <a:lnTo>
                        <a:pt x="51" y="282"/>
                      </a:lnTo>
                      <a:lnTo>
                        <a:pt x="52" y="281"/>
                      </a:lnTo>
                      <a:lnTo>
                        <a:pt x="52" y="279"/>
                      </a:lnTo>
                      <a:lnTo>
                        <a:pt x="54" y="279"/>
                      </a:lnTo>
                      <a:lnTo>
                        <a:pt x="54" y="278"/>
                      </a:lnTo>
                      <a:lnTo>
                        <a:pt x="55" y="278"/>
                      </a:lnTo>
                      <a:lnTo>
                        <a:pt x="55" y="276"/>
                      </a:lnTo>
                      <a:lnTo>
                        <a:pt x="56" y="275"/>
                      </a:lnTo>
                      <a:lnTo>
                        <a:pt x="56" y="272"/>
                      </a:lnTo>
                      <a:lnTo>
                        <a:pt x="55" y="268"/>
                      </a:lnTo>
                      <a:lnTo>
                        <a:pt x="55" y="265"/>
                      </a:lnTo>
                      <a:lnTo>
                        <a:pt x="54" y="262"/>
                      </a:lnTo>
                      <a:lnTo>
                        <a:pt x="54" y="261"/>
                      </a:lnTo>
                      <a:lnTo>
                        <a:pt x="54" y="261"/>
                      </a:lnTo>
                      <a:lnTo>
                        <a:pt x="55" y="259"/>
                      </a:lnTo>
                      <a:lnTo>
                        <a:pt x="56" y="259"/>
                      </a:lnTo>
                      <a:lnTo>
                        <a:pt x="56" y="258"/>
                      </a:lnTo>
                      <a:lnTo>
                        <a:pt x="56" y="253"/>
                      </a:lnTo>
                      <a:lnTo>
                        <a:pt x="59" y="249"/>
                      </a:lnTo>
                      <a:lnTo>
                        <a:pt x="59" y="246"/>
                      </a:lnTo>
                      <a:lnTo>
                        <a:pt x="62" y="242"/>
                      </a:lnTo>
                      <a:lnTo>
                        <a:pt x="64" y="242"/>
                      </a:lnTo>
                      <a:lnTo>
                        <a:pt x="64" y="240"/>
                      </a:lnTo>
                      <a:lnTo>
                        <a:pt x="65" y="240"/>
                      </a:lnTo>
                      <a:lnTo>
                        <a:pt x="65" y="240"/>
                      </a:lnTo>
                      <a:lnTo>
                        <a:pt x="65" y="238"/>
                      </a:lnTo>
                      <a:lnTo>
                        <a:pt x="65" y="230"/>
                      </a:lnTo>
                      <a:lnTo>
                        <a:pt x="65" y="227"/>
                      </a:lnTo>
                      <a:lnTo>
                        <a:pt x="65" y="226"/>
                      </a:lnTo>
                      <a:lnTo>
                        <a:pt x="66" y="223"/>
                      </a:lnTo>
                      <a:lnTo>
                        <a:pt x="65" y="222"/>
                      </a:lnTo>
                      <a:lnTo>
                        <a:pt x="64" y="220"/>
                      </a:lnTo>
                      <a:lnTo>
                        <a:pt x="64" y="222"/>
                      </a:lnTo>
                      <a:lnTo>
                        <a:pt x="62" y="220"/>
                      </a:lnTo>
                      <a:lnTo>
                        <a:pt x="61" y="220"/>
                      </a:lnTo>
                      <a:lnTo>
                        <a:pt x="61" y="219"/>
                      </a:lnTo>
                      <a:lnTo>
                        <a:pt x="61" y="217"/>
                      </a:lnTo>
                      <a:lnTo>
                        <a:pt x="61" y="217"/>
                      </a:lnTo>
                      <a:lnTo>
                        <a:pt x="61" y="216"/>
                      </a:lnTo>
                      <a:lnTo>
                        <a:pt x="61" y="213"/>
                      </a:lnTo>
                      <a:lnTo>
                        <a:pt x="61" y="213"/>
                      </a:lnTo>
                      <a:lnTo>
                        <a:pt x="61" y="212"/>
                      </a:lnTo>
                      <a:lnTo>
                        <a:pt x="56" y="202"/>
                      </a:lnTo>
                      <a:lnTo>
                        <a:pt x="56" y="199"/>
                      </a:lnTo>
                      <a:lnTo>
                        <a:pt x="56" y="199"/>
                      </a:lnTo>
                      <a:lnTo>
                        <a:pt x="56" y="197"/>
                      </a:lnTo>
                      <a:lnTo>
                        <a:pt x="58" y="197"/>
                      </a:lnTo>
                      <a:lnTo>
                        <a:pt x="58" y="197"/>
                      </a:lnTo>
                      <a:lnTo>
                        <a:pt x="58" y="196"/>
                      </a:lnTo>
                      <a:lnTo>
                        <a:pt x="56" y="196"/>
                      </a:lnTo>
                      <a:lnTo>
                        <a:pt x="56" y="196"/>
                      </a:lnTo>
                      <a:lnTo>
                        <a:pt x="56" y="194"/>
                      </a:lnTo>
                      <a:lnTo>
                        <a:pt x="54" y="192"/>
                      </a:lnTo>
                      <a:lnTo>
                        <a:pt x="54" y="189"/>
                      </a:lnTo>
                      <a:lnTo>
                        <a:pt x="52" y="186"/>
                      </a:lnTo>
                      <a:lnTo>
                        <a:pt x="52" y="183"/>
                      </a:lnTo>
                      <a:lnTo>
                        <a:pt x="54" y="181"/>
                      </a:lnTo>
                      <a:lnTo>
                        <a:pt x="54" y="180"/>
                      </a:lnTo>
                      <a:lnTo>
                        <a:pt x="54" y="180"/>
                      </a:lnTo>
                      <a:lnTo>
                        <a:pt x="55" y="180"/>
                      </a:lnTo>
                      <a:lnTo>
                        <a:pt x="55" y="180"/>
                      </a:lnTo>
                      <a:lnTo>
                        <a:pt x="56" y="180"/>
                      </a:lnTo>
                      <a:lnTo>
                        <a:pt x="56" y="179"/>
                      </a:lnTo>
                      <a:lnTo>
                        <a:pt x="56" y="177"/>
                      </a:lnTo>
                      <a:lnTo>
                        <a:pt x="56" y="174"/>
                      </a:lnTo>
                      <a:lnTo>
                        <a:pt x="58" y="173"/>
                      </a:lnTo>
                      <a:lnTo>
                        <a:pt x="59" y="169"/>
                      </a:lnTo>
                      <a:lnTo>
                        <a:pt x="59" y="166"/>
                      </a:lnTo>
                      <a:lnTo>
                        <a:pt x="62" y="166"/>
                      </a:lnTo>
                      <a:lnTo>
                        <a:pt x="64" y="166"/>
                      </a:lnTo>
                      <a:lnTo>
                        <a:pt x="65" y="163"/>
                      </a:lnTo>
                      <a:lnTo>
                        <a:pt x="65" y="161"/>
                      </a:lnTo>
                      <a:lnTo>
                        <a:pt x="65" y="161"/>
                      </a:lnTo>
                      <a:lnTo>
                        <a:pt x="64" y="160"/>
                      </a:lnTo>
                      <a:lnTo>
                        <a:pt x="64" y="158"/>
                      </a:lnTo>
                      <a:lnTo>
                        <a:pt x="64" y="158"/>
                      </a:lnTo>
                      <a:lnTo>
                        <a:pt x="64" y="156"/>
                      </a:lnTo>
                      <a:lnTo>
                        <a:pt x="64" y="154"/>
                      </a:lnTo>
                      <a:lnTo>
                        <a:pt x="62" y="148"/>
                      </a:lnTo>
                      <a:lnTo>
                        <a:pt x="62" y="147"/>
                      </a:lnTo>
                      <a:lnTo>
                        <a:pt x="62" y="146"/>
                      </a:lnTo>
                      <a:lnTo>
                        <a:pt x="64" y="144"/>
                      </a:lnTo>
                      <a:lnTo>
                        <a:pt x="64" y="143"/>
                      </a:lnTo>
                      <a:lnTo>
                        <a:pt x="65" y="143"/>
                      </a:lnTo>
                      <a:lnTo>
                        <a:pt x="66" y="140"/>
                      </a:lnTo>
                      <a:lnTo>
                        <a:pt x="68" y="133"/>
                      </a:lnTo>
                      <a:lnTo>
                        <a:pt x="69" y="128"/>
                      </a:lnTo>
                      <a:lnTo>
                        <a:pt x="72" y="125"/>
                      </a:lnTo>
                      <a:lnTo>
                        <a:pt x="75" y="123"/>
                      </a:lnTo>
                      <a:lnTo>
                        <a:pt x="77" y="118"/>
                      </a:lnTo>
                      <a:lnTo>
                        <a:pt x="79" y="114"/>
                      </a:lnTo>
                      <a:lnTo>
                        <a:pt x="81" y="110"/>
                      </a:lnTo>
                      <a:lnTo>
                        <a:pt x="82" y="105"/>
                      </a:lnTo>
                      <a:lnTo>
                        <a:pt x="85" y="102"/>
                      </a:lnTo>
                      <a:lnTo>
                        <a:pt x="87" y="102"/>
                      </a:lnTo>
                      <a:lnTo>
                        <a:pt x="88" y="102"/>
                      </a:lnTo>
                      <a:lnTo>
                        <a:pt x="91" y="102"/>
                      </a:lnTo>
                      <a:lnTo>
                        <a:pt x="92" y="101"/>
                      </a:lnTo>
                      <a:lnTo>
                        <a:pt x="92" y="98"/>
                      </a:lnTo>
                      <a:lnTo>
                        <a:pt x="91" y="97"/>
                      </a:lnTo>
                      <a:lnTo>
                        <a:pt x="89" y="94"/>
                      </a:lnTo>
                      <a:lnTo>
                        <a:pt x="88" y="92"/>
                      </a:lnTo>
                      <a:lnTo>
                        <a:pt x="88" y="91"/>
                      </a:lnTo>
                      <a:lnTo>
                        <a:pt x="88" y="89"/>
                      </a:lnTo>
                      <a:lnTo>
                        <a:pt x="88" y="88"/>
                      </a:lnTo>
                      <a:lnTo>
                        <a:pt x="89" y="85"/>
                      </a:lnTo>
                      <a:lnTo>
                        <a:pt x="89" y="82"/>
                      </a:lnTo>
                      <a:lnTo>
                        <a:pt x="89" y="81"/>
                      </a:lnTo>
                      <a:lnTo>
                        <a:pt x="89" y="78"/>
                      </a:lnTo>
                      <a:lnTo>
                        <a:pt x="88" y="71"/>
                      </a:lnTo>
                      <a:lnTo>
                        <a:pt x="88" y="68"/>
                      </a:lnTo>
                      <a:lnTo>
                        <a:pt x="88" y="66"/>
                      </a:lnTo>
                      <a:lnTo>
                        <a:pt x="89" y="64"/>
                      </a:lnTo>
                      <a:lnTo>
                        <a:pt x="89" y="64"/>
                      </a:lnTo>
                      <a:lnTo>
                        <a:pt x="91" y="64"/>
                      </a:lnTo>
                      <a:lnTo>
                        <a:pt x="89" y="62"/>
                      </a:lnTo>
                      <a:lnTo>
                        <a:pt x="89" y="59"/>
                      </a:lnTo>
                      <a:lnTo>
                        <a:pt x="88" y="58"/>
                      </a:lnTo>
                      <a:lnTo>
                        <a:pt x="88" y="56"/>
                      </a:lnTo>
                      <a:lnTo>
                        <a:pt x="89" y="54"/>
                      </a:lnTo>
                      <a:lnTo>
                        <a:pt x="89" y="54"/>
                      </a:lnTo>
                      <a:lnTo>
                        <a:pt x="92" y="51"/>
                      </a:lnTo>
                      <a:lnTo>
                        <a:pt x="94" y="49"/>
                      </a:lnTo>
                      <a:lnTo>
                        <a:pt x="98" y="48"/>
                      </a:lnTo>
                      <a:lnTo>
                        <a:pt x="102" y="45"/>
                      </a:lnTo>
                      <a:lnTo>
                        <a:pt x="107" y="43"/>
                      </a:lnTo>
                      <a:lnTo>
                        <a:pt x="110" y="41"/>
                      </a:lnTo>
                      <a:lnTo>
                        <a:pt x="111" y="38"/>
                      </a:lnTo>
                      <a:lnTo>
                        <a:pt x="114" y="25"/>
                      </a:lnTo>
                      <a:lnTo>
                        <a:pt x="115" y="23"/>
                      </a:lnTo>
                      <a:lnTo>
                        <a:pt x="114" y="22"/>
                      </a:lnTo>
                      <a:lnTo>
                        <a:pt x="112" y="19"/>
                      </a:lnTo>
                      <a:lnTo>
                        <a:pt x="117" y="12"/>
                      </a:lnTo>
                      <a:lnTo>
                        <a:pt x="120" y="9"/>
                      </a:lnTo>
                      <a:lnTo>
                        <a:pt x="122" y="8"/>
                      </a:lnTo>
                      <a:lnTo>
                        <a:pt x="124" y="8"/>
                      </a:lnTo>
                      <a:lnTo>
                        <a:pt x="125" y="6"/>
                      </a:lnTo>
                      <a:lnTo>
                        <a:pt x="127" y="6"/>
                      </a:lnTo>
                      <a:lnTo>
                        <a:pt x="127" y="5"/>
                      </a:lnTo>
                      <a:lnTo>
                        <a:pt x="128" y="2"/>
                      </a:lnTo>
                      <a:lnTo>
                        <a:pt x="128" y="0"/>
                      </a:lnTo>
                      <a:lnTo>
                        <a:pt x="130" y="0"/>
                      </a:lnTo>
                      <a:lnTo>
                        <a:pt x="131" y="0"/>
                      </a:lnTo>
                      <a:lnTo>
                        <a:pt x="135" y="3"/>
                      </a:lnTo>
                      <a:lnTo>
                        <a:pt x="137" y="5"/>
                      </a:lnTo>
                      <a:lnTo>
                        <a:pt x="140" y="5"/>
                      </a:lnTo>
                      <a:lnTo>
                        <a:pt x="148" y="6"/>
                      </a:lnTo>
                      <a:lnTo>
                        <a:pt x="151" y="6"/>
                      </a:lnTo>
                      <a:lnTo>
                        <a:pt x="156" y="8"/>
                      </a:lnTo>
                      <a:lnTo>
                        <a:pt x="158" y="10"/>
                      </a:lnTo>
                      <a:lnTo>
                        <a:pt x="160" y="15"/>
                      </a:lnTo>
                      <a:lnTo>
                        <a:pt x="163" y="19"/>
                      </a:lnTo>
                      <a:lnTo>
                        <a:pt x="166" y="12"/>
                      </a:lnTo>
                      <a:lnTo>
                        <a:pt x="167" y="8"/>
                      </a:lnTo>
                      <a:lnTo>
                        <a:pt x="168" y="6"/>
                      </a:lnTo>
                      <a:lnTo>
                        <a:pt x="170" y="5"/>
                      </a:lnTo>
                      <a:lnTo>
                        <a:pt x="173" y="5"/>
                      </a:lnTo>
                      <a:lnTo>
                        <a:pt x="176" y="3"/>
                      </a:lnTo>
                      <a:lnTo>
                        <a:pt x="184" y="3"/>
                      </a:lnTo>
                      <a:lnTo>
                        <a:pt x="187" y="3"/>
                      </a:lnTo>
                      <a:lnTo>
                        <a:pt x="189" y="5"/>
                      </a:lnTo>
                      <a:lnTo>
                        <a:pt x="190" y="6"/>
                      </a:lnTo>
                      <a:lnTo>
                        <a:pt x="191" y="8"/>
                      </a:lnTo>
                      <a:lnTo>
                        <a:pt x="194" y="10"/>
                      </a:lnTo>
                      <a:lnTo>
                        <a:pt x="199" y="15"/>
                      </a:lnTo>
                      <a:lnTo>
                        <a:pt x="200" y="18"/>
                      </a:lnTo>
                      <a:lnTo>
                        <a:pt x="203" y="20"/>
                      </a:lnTo>
                      <a:lnTo>
                        <a:pt x="204" y="23"/>
                      </a:lnTo>
                      <a:lnTo>
                        <a:pt x="207" y="26"/>
                      </a:lnTo>
                      <a:lnTo>
                        <a:pt x="220" y="38"/>
                      </a:lnTo>
                      <a:lnTo>
                        <a:pt x="223" y="39"/>
                      </a:lnTo>
                      <a:lnTo>
                        <a:pt x="227" y="41"/>
                      </a:lnTo>
                      <a:lnTo>
                        <a:pt x="235" y="42"/>
                      </a:lnTo>
                      <a:lnTo>
                        <a:pt x="242" y="45"/>
                      </a:lnTo>
                      <a:lnTo>
                        <a:pt x="255" y="54"/>
                      </a:lnTo>
                      <a:lnTo>
                        <a:pt x="260" y="56"/>
                      </a:lnTo>
                      <a:lnTo>
                        <a:pt x="266" y="59"/>
                      </a:lnTo>
                      <a:lnTo>
                        <a:pt x="272" y="61"/>
                      </a:lnTo>
                      <a:lnTo>
                        <a:pt x="275" y="62"/>
                      </a:lnTo>
                      <a:lnTo>
                        <a:pt x="278" y="65"/>
                      </a:lnTo>
                      <a:lnTo>
                        <a:pt x="280" y="68"/>
                      </a:lnTo>
                      <a:lnTo>
                        <a:pt x="282" y="71"/>
                      </a:lnTo>
                      <a:lnTo>
                        <a:pt x="280" y="72"/>
                      </a:lnTo>
                      <a:lnTo>
                        <a:pt x="275" y="81"/>
                      </a:lnTo>
                      <a:lnTo>
                        <a:pt x="272" y="84"/>
                      </a:lnTo>
                      <a:lnTo>
                        <a:pt x="272" y="85"/>
                      </a:lnTo>
                      <a:lnTo>
                        <a:pt x="270" y="88"/>
                      </a:lnTo>
                      <a:lnTo>
                        <a:pt x="269" y="94"/>
                      </a:lnTo>
                      <a:lnTo>
                        <a:pt x="269" y="95"/>
                      </a:lnTo>
                      <a:lnTo>
                        <a:pt x="268" y="97"/>
                      </a:lnTo>
                      <a:lnTo>
                        <a:pt x="266" y="100"/>
                      </a:lnTo>
                      <a:lnTo>
                        <a:pt x="265" y="101"/>
                      </a:lnTo>
                      <a:lnTo>
                        <a:pt x="263" y="104"/>
                      </a:lnTo>
                      <a:lnTo>
                        <a:pt x="263" y="105"/>
                      </a:lnTo>
                      <a:lnTo>
                        <a:pt x="265" y="107"/>
                      </a:lnTo>
                      <a:lnTo>
                        <a:pt x="266" y="107"/>
                      </a:lnTo>
                      <a:lnTo>
                        <a:pt x="270" y="107"/>
                      </a:lnTo>
                      <a:lnTo>
                        <a:pt x="272" y="107"/>
                      </a:lnTo>
                      <a:lnTo>
                        <a:pt x="275" y="107"/>
                      </a:lnTo>
                      <a:lnTo>
                        <a:pt x="285" y="108"/>
                      </a:lnTo>
                      <a:lnTo>
                        <a:pt x="299" y="111"/>
                      </a:lnTo>
                      <a:lnTo>
                        <a:pt x="301" y="111"/>
                      </a:lnTo>
                      <a:lnTo>
                        <a:pt x="302" y="110"/>
                      </a:lnTo>
                      <a:lnTo>
                        <a:pt x="303" y="110"/>
                      </a:lnTo>
                      <a:lnTo>
                        <a:pt x="303" y="108"/>
                      </a:lnTo>
                      <a:lnTo>
                        <a:pt x="305" y="107"/>
                      </a:lnTo>
                      <a:lnTo>
                        <a:pt x="308" y="107"/>
                      </a:lnTo>
                      <a:lnTo>
                        <a:pt x="309" y="107"/>
                      </a:lnTo>
                      <a:lnTo>
                        <a:pt x="311" y="108"/>
                      </a:lnTo>
                      <a:lnTo>
                        <a:pt x="312" y="108"/>
                      </a:lnTo>
                      <a:lnTo>
                        <a:pt x="314" y="108"/>
                      </a:lnTo>
                      <a:lnTo>
                        <a:pt x="315" y="107"/>
                      </a:lnTo>
                      <a:lnTo>
                        <a:pt x="315" y="107"/>
                      </a:lnTo>
                      <a:lnTo>
                        <a:pt x="316" y="104"/>
                      </a:lnTo>
                      <a:lnTo>
                        <a:pt x="318" y="102"/>
                      </a:lnTo>
                      <a:lnTo>
                        <a:pt x="319" y="101"/>
                      </a:lnTo>
                      <a:lnTo>
                        <a:pt x="324" y="98"/>
                      </a:lnTo>
                      <a:lnTo>
                        <a:pt x="329" y="92"/>
                      </a:lnTo>
                      <a:lnTo>
                        <a:pt x="332" y="87"/>
                      </a:lnTo>
                      <a:lnTo>
                        <a:pt x="332" y="79"/>
                      </a:lnTo>
                      <a:lnTo>
                        <a:pt x="334" y="72"/>
                      </a:lnTo>
                      <a:lnTo>
                        <a:pt x="336" y="72"/>
                      </a:lnTo>
                      <a:lnTo>
                        <a:pt x="341" y="72"/>
                      </a:lnTo>
                      <a:lnTo>
                        <a:pt x="344" y="72"/>
                      </a:lnTo>
                      <a:lnTo>
                        <a:pt x="345" y="74"/>
                      </a:lnTo>
                      <a:lnTo>
                        <a:pt x="347" y="77"/>
                      </a:lnTo>
                      <a:lnTo>
                        <a:pt x="348" y="81"/>
                      </a:lnTo>
                      <a:lnTo>
                        <a:pt x="349" y="85"/>
                      </a:lnTo>
                      <a:lnTo>
                        <a:pt x="349" y="87"/>
                      </a:lnTo>
                      <a:lnTo>
                        <a:pt x="348" y="97"/>
                      </a:lnTo>
                      <a:lnTo>
                        <a:pt x="348" y="101"/>
                      </a:lnTo>
                      <a:lnTo>
                        <a:pt x="345" y="104"/>
                      </a:lnTo>
                      <a:lnTo>
                        <a:pt x="342" y="105"/>
                      </a:lnTo>
                      <a:lnTo>
                        <a:pt x="339" y="107"/>
                      </a:lnTo>
                      <a:lnTo>
                        <a:pt x="336" y="108"/>
                      </a:lnTo>
                      <a:lnTo>
                        <a:pt x="334" y="110"/>
                      </a:lnTo>
                      <a:lnTo>
                        <a:pt x="331" y="111"/>
                      </a:lnTo>
                      <a:lnTo>
                        <a:pt x="329" y="112"/>
                      </a:lnTo>
                      <a:lnTo>
                        <a:pt x="325" y="117"/>
                      </a:lnTo>
                      <a:lnTo>
                        <a:pt x="315" y="123"/>
                      </a:lnTo>
                      <a:lnTo>
                        <a:pt x="315" y="124"/>
                      </a:lnTo>
                      <a:lnTo>
                        <a:pt x="314" y="125"/>
                      </a:lnTo>
                      <a:lnTo>
                        <a:pt x="315" y="127"/>
                      </a:lnTo>
                      <a:lnTo>
                        <a:pt x="314" y="128"/>
                      </a:lnTo>
                      <a:lnTo>
                        <a:pt x="311" y="128"/>
                      </a:lnTo>
                      <a:lnTo>
                        <a:pt x="311" y="128"/>
                      </a:lnTo>
                      <a:lnTo>
                        <a:pt x="309" y="130"/>
                      </a:lnTo>
                      <a:lnTo>
                        <a:pt x="298" y="144"/>
                      </a:lnTo>
                      <a:lnTo>
                        <a:pt x="280" y="163"/>
                      </a:lnTo>
                      <a:lnTo>
                        <a:pt x="279" y="164"/>
                      </a:lnTo>
                      <a:lnTo>
                        <a:pt x="278" y="167"/>
                      </a:lnTo>
                      <a:lnTo>
                        <a:pt x="276" y="169"/>
                      </a:lnTo>
                      <a:lnTo>
                        <a:pt x="276" y="170"/>
                      </a:lnTo>
                      <a:lnTo>
                        <a:pt x="276" y="171"/>
                      </a:lnTo>
                      <a:lnTo>
                        <a:pt x="276" y="173"/>
                      </a:lnTo>
                      <a:lnTo>
                        <a:pt x="278" y="174"/>
                      </a:lnTo>
                      <a:lnTo>
                        <a:pt x="276" y="177"/>
                      </a:lnTo>
                      <a:lnTo>
                        <a:pt x="275" y="183"/>
                      </a:lnTo>
                      <a:lnTo>
                        <a:pt x="273" y="186"/>
                      </a:lnTo>
                      <a:lnTo>
                        <a:pt x="273" y="187"/>
                      </a:lnTo>
                      <a:lnTo>
                        <a:pt x="273" y="189"/>
                      </a:lnTo>
                      <a:lnTo>
                        <a:pt x="273" y="190"/>
                      </a:lnTo>
                      <a:lnTo>
                        <a:pt x="273" y="192"/>
                      </a:lnTo>
                      <a:lnTo>
                        <a:pt x="272" y="192"/>
                      </a:lnTo>
                      <a:lnTo>
                        <a:pt x="272" y="193"/>
                      </a:lnTo>
                      <a:lnTo>
                        <a:pt x="270" y="194"/>
                      </a:lnTo>
                      <a:lnTo>
                        <a:pt x="270" y="197"/>
                      </a:lnTo>
                      <a:lnTo>
                        <a:pt x="270" y="200"/>
                      </a:lnTo>
                      <a:lnTo>
                        <a:pt x="270" y="203"/>
                      </a:lnTo>
                      <a:close/>
                      <a:moveTo>
                        <a:pt x="145" y="706"/>
                      </a:moveTo>
                      <a:lnTo>
                        <a:pt x="144" y="706"/>
                      </a:lnTo>
                      <a:lnTo>
                        <a:pt x="141" y="706"/>
                      </a:lnTo>
                      <a:lnTo>
                        <a:pt x="138" y="706"/>
                      </a:lnTo>
                      <a:lnTo>
                        <a:pt x="134" y="705"/>
                      </a:lnTo>
                      <a:lnTo>
                        <a:pt x="131" y="705"/>
                      </a:lnTo>
                      <a:lnTo>
                        <a:pt x="128" y="703"/>
                      </a:lnTo>
                      <a:lnTo>
                        <a:pt x="121" y="699"/>
                      </a:lnTo>
                      <a:lnTo>
                        <a:pt x="115" y="696"/>
                      </a:lnTo>
                      <a:lnTo>
                        <a:pt x="110" y="690"/>
                      </a:lnTo>
                      <a:lnTo>
                        <a:pt x="100" y="682"/>
                      </a:lnTo>
                      <a:lnTo>
                        <a:pt x="98" y="680"/>
                      </a:lnTo>
                      <a:lnTo>
                        <a:pt x="97" y="679"/>
                      </a:lnTo>
                      <a:lnTo>
                        <a:pt x="95" y="677"/>
                      </a:lnTo>
                      <a:lnTo>
                        <a:pt x="95" y="676"/>
                      </a:lnTo>
                      <a:lnTo>
                        <a:pt x="94" y="674"/>
                      </a:lnTo>
                      <a:lnTo>
                        <a:pt x="92" y="674"/>
                      </a:lnTo>
                      <a:lnTo>
                        <a:pt x="91" y="673"/>
                      </a:lnTo>
                      <a:lnTo>
                        <a:pt x="89" y="673"/>
                      </a:lnTo>
                      <a:lnTo>
                        <a:pt x="88" y="672"/>
                      </a:lnTo>
                      <a:lnTo>
                        <a:pt x="89" y="670"/>
                      </a:lnTo>
                      <a:lnTo>
                        <a:pt x="91" y="669"/>
                      </a:lnTo>
                      <a:lnTo>
                        <a:pt x="92" y="667"/>
                      </a:lnTo>
                      <a:lnTo>
                        <a:pt x="94" y="669"/>
                      </a:lnTo>
                      <a:lnTo>
                        <a:pt x="92" y="666"/>
                      </a:lnTo>
                      <a:lnTo>
                        <a:pt x="91" y="663"/>
                      </a:lnTo>
                      <a:lnTo>
                        <a:pt x="89" y="662"/>
                      </a:lnTo>
                      <a:lnTo>
                        <a:pt x="87" y="659"/>
                      </a:lnTo>
                      <a:lnTo>
                        <a:pt x="87" y="710"/>
                      </a:lnTo>
                      <a:lnTo>
                        <a:pt x="92" y="710"/>
                      </a:lnTo>
                      <a:lnTo>
                        <a:pt x="100" y="710"/>
                      </a:lnTo>
                      <a:lnTo>
                        <a:pt x="114" y="712"/>
                      </a:lnTo>
                      <a:lnTo>
                        <a:pt x="121" y="713"/>
                      </a:lnTo>
                      <a:lnTo>
                        <a:pt x="124" y="715"/>
                      </a:lnTo>
                      <a:lnTo>
                        <a:pt x="140" y="713"/>
                      </a:lnTo>
                      <a:lnTo>
                        <a:pt x="143" y="712"/>
                      </a:lnTo>
                      <a:lnTo>
                        <a:pt x="144" y="712"/>
                      </a:lnTo>
                      <a:lnTo>
                        <a:pt x="145" y="710"/>
                      </a:lnTo>
                      <a:lnTo>
                        <a:pt x="147" y="709"/>
                      </a:lnTo>
                      <a:lnTo>
                        <a:pt x="147" y="708"/>
                      </a:lnTo>
                      <a:lnTo>
                        <a:pt x="147" y="706"/>
                      </a:lnTo>
                      <a:lnTo>
                        <a:pt x="145" y="706"/>
                      </a:lnTo>
                      <a:close/>
                      <a:moveTo>
                        <a:pt x="167" y="709"/>
                      </a:moveTo>
                      <a:lnTo>
                        <a:pt x="170" y="709"/>
                      </a:lnTo>
                      <a:lnTo>
                        <a:pt x="171" y="708"/>
                      </a:lnTo>
                      <a:lnTo>
                        <a:pt x="163" y="708"/>
                      </a:lnTo>
                      <a:lnTo>
                        <a:pt x="158" y="709"/>
                      </a:lnTo>
                      <a:lnTo>
                        <a:pt x="154" y="710"/>
                      </a:lnTo>
                      <a:lnTo>
                        <a:pt x="157" y="712"/>
                      </a:lnTo>
                      <a:lnTo>
                        <a:pt x="158" y="712"/>
                      </a:lnTo>
                      <a:lnTo>
                        <a:pt x="160" y="710"/>
                      </a:lnTo>
                      <a:lnTo>
                        <a:pt x="163" y="709"/>
                      </a:lnTo>
                      <a:lnTo>
                        <a:pt x="164" y="709"/>
                      </a:lnTo>
                      <a:lnTo>
                        <a:pt x="167" y="709"/>
                      </a:lnTo>
                      <a:close/>
                      <a:moveTo>
                        <a:pt x="203" y="341"/>
                      </a:moveTo>
                      <a:lnTo>
                        <a:pt x="204" y="342"/>
                      </a:lnTo>
                      <a:lnTo>
                        <a:pt x="206" y="342"/>
                      </a:lnTo>
                      <a:lnTo>
                        <a:pt x="206" y="341"/>
                      </a:lnTo>
                      <a:lnTo>
                        <a:pt x="204" y="340"/>
                      </a:lnTo>
                      <a:lnTo>
                        <a:pt x="203" y="340"/>
                      </a:lnTo>
                      <a:lnTo>
                        <a:pt x="201" y="340"/>
                      </a:lnTo>
                      <a:lnTo>
                        <a:pt x="203" y="341"/>
                      </a:lnTo>
                      <a:lnTo>
                        <a:pt x="203" y="34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56" name="Freeform 249">
                  <a:extLst>
                    <a:ext uri="{FF2B5EF4-FFF2-40B4-BE49-F238E27FC236}">
                      <a16:creationId xmlns:a16="http://schemas.microsoft.com/office/drawing/2014/main" id="{6C263249-9F40-8986-55E3-7FA61FCDC3AD}"/>
                    </a:ext>
                  </a:extLst>
                </p:cNvPr>
                <p:cNvSpPr>
                  <a:spLocks noEditPoints="1"/>
                </p:cNvSpPr>
                <p:nvPr/>
              </p:nvSpPr>
              <p:spPr bwMode="auto">
                <a:xfrm>
                  <a:off x="2247" y="2626"/>
                  <a:ext cx="688" cy="715"/>
                </a:xfrm>
                <a:custGeom>
                  <a:avLst/>
                  <a:gdLst>
                    <a:gd name="T0" fmla="*/ 447 w 688"/>
                    <a:gd name="T1" fmla="*/ 572 h 715"/>
                    <a:gd name="T2" fmla="*/ 447 w 688"/>
                    <a:gd name="T3" fmla="*/ 597 h 715"/>
                    <a:gd name="T4" fmla="*/ 669 w 688"/>
                    <a:gd name="T5" fmla="*/ 265 h 715"/>
                    <a:gd name="T6" fmla="*/ 641 w 688"/>
                    <a:gd name="T7" fmla="*/ 301 h 715"/>
                    <a:gd name="T8" fmla="*/ 616 w 688"/>
                    <a:gd name="T9" fmla="*/ 343 h 715"/>
                    <a:gd name="T10" fmla="*/ 585 w 688"/>
                    <a:gd name="T11" fmla="*/ 467 h 715"/>
                    <a:gd name="T12" fmla="*/ 547 w 688"/>
                    <a:gd name="T13" fmla="*/ 507 h 715"/>
                    <a:gd name="T14" fmla="*/ 517 w 688"/>
                    <a:gd name="T15" fmla="*/ 513 h 715"/>
                    <a:gd name="T16" fmla="*/ 458 w 688"/>
                    <a:gd name="T17" fmla="*/ 547 h 715"/>
                    <a:gd name="T18" fmla="*/ 448 w 688"/>
                    <a:gd name="T19" fmla="*/ 559 h 715"/>
                    <a:gd name="T20" fmla="*/ 431 w 688"/>
                    <a:gd name="T21" fmla="*/ 625 h 715"/>
                    <a:gd name="T22" fmla="*/ 399 w 688"/>
                    <a:gd name="T23" fmla="*/ 669 h 715"/>
                    <a:gd name="T24" fmla="*/ 412 w 688"/>
                    <a:gd name="T25" fmla="*/ 651 h 715"/>
                    <a:gd name="T26" fmla="*/ 397 w 688"/>
                    <a:gd name="T27" fmla="*/ 658 h 715"/>
                    <a:gd name="T28" fmla="*/ 359 w 688"/>
                    <a:gd name="T29" fmla="*/ 711 h 715"/>
                    <a:gd name="T30" fmla="*/ 331 w 688"/>
                    <a:gd name="T31" fmla="*/ 668 h 715"/>
                    <a:gd name="T32" fmla="*/ 321 w 688"/>
                    <a:gd name="T33" fmla="*/ 613 h 715"/>
                    <a:gd name="T34" fmla="*/ 348 w 688"/>
                    <a:gd name="T35" fmla="*/ 557 h 715"/>
                    <a:gd name="T36" fmla="*/ 322 w 688"/>
                    <a:gd name="T37" fmla="*/ 504 h 715"/>
                    <a:gd name="T38" fmla="*/ 283 w 688"/>
                    <a:gd name="T39" fmla="*/ 491 h 715"/>
                    <a:gd name="T40" fmla="*/ 286 w 688"/>
                    <a:gd name="T41" fmla="*/ 432 h 715"/>
                    <a:gd name="T42" fmla="*/ 272 w 688"/>
                    <a:gd name="T43" fmla="*/ 395 h 715"/>
                    <a:gd name="T44" fmla="*/ 237 w 688"/>
                    <a:gd name="T45" fmla="*/ 340 h 715"/>
                    <a:gd name="T46" fmla="*/ 191 w 688"/>
                    <a:gd name="T47" fmla="*/ 317 h 715"/>
                    <a:gd name="T48" fmla="*/ 151 w 688"/>
                    <a:gd name="T49" fmla="*/ 287 h 715"/>
                    <a:gd name="T50" fmla="*/ 134 w 688"/>
                    <a:gd name="T51" fmla="*/ 265 h 715"/>
                    <a:gd name="T52" fmla="*/ 75 w 688"/>
                    <a:gd name="T53" fmla="*/ 286 h 715"/>
                    <a:gd name="T54" fmla="*/ 32 w 688"/>
                    <a:gd name="T55" fmla="*/ 265 h 715"/>
                    <a:gd name="T56" fmla="*/ 5 w 688"/>
                    <a:gd name="T57" fmla="*/ 230 h 715"/>
                    <a:gd name="T58" fmla="*/ 5 w 688"/>
                    <a:gd name="T59" fmla="*/ 212 h 715"/>
                    <a:gd name="T60" fmla="*/ 42 w 688"/>
                    <a:gd name="T61" fmla="*/ 171 h 715"/>
                    <a:gd name="T62" fmla="*/ 76 w 688"/>
                    <a:gd name="T63" fmla="*/ 104 h 715"/>
                    <a:gd name="T64" fmla="*/ 85 w 688"/>
                    <a:gd name="T65" fmla="*/ 80 h 715"/>
                    <a:gd name="T66" fmla="*/ 104 w 688"/>
                    <a:gd name="T67" fmla="*/ 60 h 715"/>
                    <a:gd name="T68" fmla="*/ 147 w 688"/>
                    <a:gd name="T69" fmla="*/ 76 h 715"/>
                    <a:gd name="T70" fmla="*/ 181 w 688"/>
                    <a:gd name="T71" fmla="*/ 48 h 715"/>
                    <a:gd name="T72" fmla="*/ 173 w 688"/>
                    <a:gd name="T73" fmla="*/ 20 h 715"/>
                    <a:gd name="T74" fmla="*/ 214 w 688"/>
                    <a:gd name="T75" fmla="*/ 18 h 715"/>
                    <a:gd name="T76" fmla="*/ 244 w 688"/>
                    <a:gd name="T77" fmla="*/ 1 h 715"/>
                    <a:gd name="T78" fmla="*/ 249 w 688"/>
                    <a:gd name="T79" fmla="*/ 28 h 715"/>
                    <a:gd name="T80" fmla="*/ 263 w 688"/>
                    <a:gd name="T81" fmla="*/ 69 h 715"/>
                    <a:gd name="T82" fmla="*/ 295 w 688"/>
                    <a:gd name="T83" fmla="*/ 57 h 715"/>
                    <a:gd name="T84" fmla="*/ 332 w 688"/>
                    <a:gd name="T85" fmla="*/ 47 h 715"/>
                    <a:gd name="T86" fmla="*/ 368 w 688"/>
                    <a:gd name="T87" fmla="*/ 53 h 715"/>
                    <a:gd name="T88" fmla="*/ 410 w 688"/>
                    <a:gd name="T89" fmla="*/ 53 h 715"/>
                    <a:gd name="T90" fmla="*/ 399 w 688"/>
                    <a:gd name="T91" fmla="*/ 93 h 715"/>
                    <a:gd name="T92" fmla="*/ 385 w 688"/>
                    <a:gd name="T93" fmla="*/ 120 h 715"/>
                    <a:gd name="T94" fmla="*/ 431 w 688"/>
                    <a:gd name="T95" fmla="*/ 123 h 715"/>
                    <a:gd name="T96" fmla="*/ 448 w 688"/>
                    <a:gd name="T97" fmla="*/ 116 h 715"/>
                    <a:gd name="T98" fmla="*/ 471 w 688"/>
                    <a:gd name="T99" fmla="*/ 104 h 715"/>
                    <a:gd name="T100" fmla="*/ 513 w 688"/>
                    <a:gd name="T101" fmla="*/ 123 h 715"/>
                    <a:gd name="T102" fmla="*/ 514 w 688"/>
                    <a:gd name="T103" fmla="*/ 148 h 715"/>
                    <a:gd name="T104" fmla="*/ 545 w 688"/>
                    <a:gd name="T105" fmla="*/ 135 h 715"/>
                    <a:gd name="T106" fmla="*/ 647 w 688"/>
                    <a:gd name="T107" fmla="*/ 178 h 715"/>
                    <a:gd name="T108" fmla="*/ 448 w 688"/>
                    <a:gd name="T109" fmla="*/ 102 h 715"/>
                    <a:gd name="T110" fmla="*/ 411 w 688"/>
                    <a:gd name="T111" fmla="*/ 112 h 715"/>
                    <a:gd name="T112" fmla="*/ 430 w 688"/>
                    <a:gd name="T113" fmla="*/ 119 h 715"/>
                    <a:gd name="T114" fmla="*/ 407 w 688"/>
                    <a:gd name="T115" fmla="*/ 93 h 715"/>
                    <a:gd name="T116" fmla="*/ 519 w 688"/>
                    <a:gd name="T117" fmla="*/ 140 h 715"/>
                    <a:gd name="T118" fmla="*/ 415 w 688"/>
                    <a:gd name="T119" fmla="*/ 90 h 715"/>
                    <a:gd name="T120" fmla="*/ 392 w 688"/>
                    <a:gd name="T121" fmla="*/ 106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88" h="715">
                      <a:moveTo>
                        <a:pt x="615" y="330"/>
                      </a:moveTo>
                      <a:lnTo>
                        <a:pt x="615" y="330"/>
                      </a:lnTo>
                      <a:lnTo>
                        <a:pt x="616" y="332"/>
                      </a:lnTo>
                      <a:lnTo>
                        <a:pt x="615" y="332"/>
                      </a:lnTo>
                      <a:lnTo>
                        <a:pt x="615" y="330"/>
                      </a:lnTo>
                      <a:close/>
                      <a:moveTo>
                        <a:pt x="621" y="322"/>
                      </a:moveTo>
                      <a:lnTo>
                        <a:pt x="621" y="322"/>
                      </a:lnTo>
                      <a:lnTo>
                        <a:pt x="619" y="323"/>
                      </a:lnTo>
                      <a:lnTo>
                        <a:pt x="618" y="323"/>
                      </a:lnTo>
                      <a:lnTo>
                        <a:pt x="619" y="324"/>
                      </a:lnTo>
                      <a:lnTo>
                        <a:pt x="621" y="323"/>
                      </a:lnTo>
                      <a:lnTo>
                        <a:pt x="621" y="323"/>
                      </a:lnTo>
                      <a:lnTo>
                        <a:pt x="622" y="322"/>
                      </a:lnTo>
                      <a:lnTo>
                        <a:pt x="621" y="320"/>
                      </a:lnTo>
                      <a:lnTo>
                        <a:pt x="621" y="322"/>
                      </a:lnTo>
                      <a:close/>
                      <a:moveTo>
                        <a:pt x="445" y="570"/>
                      </a:moveTo>
                      <a:lnTo>
                        <a:pt x="445" y="572"/>
                      </a:lnTo>
                      <a:lnTo>
                        <a:pt x="445" y="573"/>
                      </a:lnTo>
                      <a:lnTo>
                        <a:pt x="445" y="574"/>
                      </a:lnTo>
                      <a:lnTo>
                        <a:pt x="447" y="573"/>
                      </a:lnTo>
                      <a:lnTo>
                        <a:pt x="447" y="572"/>
                      </a:lnTo>
                      <a:lnTo>
                        <a:pt x="447" y="572"/>
                      </a:lnTo>
                      <a:lnTo>
                        <a:pt x="448" y="570"/>
                      </a:lnTo>
                      <a:lnTo>
                        <a:pt x="447" y="569"/>
                      </a:lnTo>
                      <a:lnTo>
                        <a:pt x="445" y="570"/>
                      </a:lnTo>
                      <a:close/>
                      <a:moveTo>
                        <a:pt x="522" y="511"/>
                      </a:moveTo>
                      <a:lnTo>
                        <a:pt x="520" y="511"/>
                      </a:lnTo>
                      <a:lnTo>
                        <a:pt x="522" y="510"/>
                      </a:lnTo>
                      <a:lnTo>
                        <a:pt x="523" y="510"/>
                      </a:lnTo>
                      <a:lnTo>
                        <a:pt x="524" y="510"/>
                      </a:lnTo>
                      <a:lnTo>
                        <a:pt x="524" y="511"/>
                      </a:lnTo>
                      <a:lnTo>
                        <a:pt x="523" y="511"/>
                      </a:lnTo>
                      <a:lnTo>
                        <a:pt x="522" y="511"/>
                      </a:lnTo>
                      <a:close/>
                      <a:moveTo>
                        <a:pt x="447" y="597"/>
                      </a:moveTo>
                      <a:lnTo>
                        <a:pt x="448" y="595"/>
                      </a:lnTo>
                      <a:lnTo>
                        <a:pt x="450" y="593"/>
                      </a:lnTo>
                      <a:lnTo>
                        <a:pt x="450" y="595"/>
                      </a:lnTo>
                      <a:lnTo>
                        <a:pt x="448" y="597"/>
                      </a:lnTo>
                      <a:lnTo>
                        <a:pt x="448" y="600"/>
                      </a:lnTo>
                      <a:lnTo>
                        <a:pt x="447" y="602"/>
                      </a:lnTo>
                      <a:lnTo>
                        <a:pt x="447" y="599"/>
                      </a:lnTo>
                      <a:lnTo>
                        <a:pt x="447" y="597"/>
                      </a:lnTo>
                      <a:close/>
                      <a:moveTo>
                        <a:pt x="504" y="526"/>
                      </a:moveTo>
                      <a:lnTo>
                        <a:pt x="503" y="526"/>
                      </a:lnTo>
                      <a:lnTo>
                        <a:pt x="501" y="524"/>
                      </a:lnTo>
                      <a:lnTo>
                        <a:pt x="503" y="524"/>
                      </a:lnTo>
                      <a:lnTo>
                        <a:pt x="504" y="521"/>
                      </a:lnTo>
                      <a:lnTo>
                        <a:pt x="504" y="523"/>
                      </a:lnTo>
                      <a:lnTo>
                        <a:pt x="504" y="523"/>
                      </a:lnTo>
                      <a:lnTo>
                        <a:pt x="504" y="523"/>
                      </a:lnTo>
                      <a:lnTo>
                        <a:pt x="506" y="524"/>
                      </a:lnTo>
                      <a:lnTo>
                        <a:pt x="504" y="524"/>
                      </a:lnTo>
                      <a:lnTo>
                        <a:pt x="504" y="526"/>
                      </a:lnTo>
                      <a:lnTo>
                        <a:pt x="504" y="526"/>
                      </a:lnTo>
                      <a:close/>
                      <a:moveTo>
                        <a:pt x="688" y="217"/>
                      </a:moveTo>
                      <a:lnTo>
                        <a:pt x="688" y="222"/>
                      </a:lnTo>
                      <a:lnTo>
                        <a:pt x="687" y="238"/>
                      </a:lnTo>
                      <a:lnTo>
                        <a:pt x="685" y="242"/>
                      </a:lnTo>
                      <a:lnTo>
                        <a:pt x="682" y="248"/>
                      </a:lnTo>
                      <a:lnTo>
                        <a:pt x="678" y="255"/>
                      </a:lnTo>
                      <a:lnTo>
                        <a:pt x="674" y="261"/>
                      </a:lnTo>
                      <a:lnTo>
                        <a:pt x="669" y="263"/>
                      </a:lnTo>
                      <a:lnTo>
                        <a:pt x="669" y="265"/>
                      </a:lnTo>
                      <a:lnTo>
                        <a:pt x="667" y="270"/>
                      </a:lnTo>
                      <a:lnTo>
                        <a:pt x="662" y="274"/>
                      </a:lnTo>
                      <a:lnTo>
                        <a:pt x="661" y="277"/>
                      </a:lnTo>
                      <a:lnTo>
                        <a:pt x="658" y="278"/>
                      </a:lnTo>
                      <a:lnTo>
                        <a:pt x="654" y="281"/>
                      </a:lnTo>
                      <a:lnTo>
                        <a:pt x="651" y="283"/>
                      </a:lnTo>
                      <a:lnTo>
                        <a:pt x="651" y="284"/>
                      </a:lnTo>
                      <a:lnTo>
                        <a:pt x="649" y="286"/>
                      </a:lnTo>
                      <a:lnTo>
                        <a:pt x="648" y="287"/>
                      </a:lnTo>
                      <a:lnTo>
                        <a:pt x="647" y="287"/>
                      </a:lnTo>
                      <a:lnTo>
                        <a:pt x="647" y="290"/>
                      </a:lnTo>
                      <a:lnTo>
                        <a:pt x="647" y="291"/>
                      </a:lnTo>
                      <a:lnTo>
                        <a:pt x="645" y="293"/>
                      </a:lnTo>
                      <a:lnTo>
                        <a:pt x="644" y="294"/>
                      </a:lnTo>
                      <a:lnTo>
                        <a:pt x="644" y="293"/>
                      </a:lnTo>
                      <a:lnTo>
                        <a:pt x="644" y="291"/>
                      </a:lnTo>
                      <a:lnTo>
                        <a:pt x="644" y="290"/>
                      </a:lnTo>
                      <a:lnTo>
                        <a:pt x="642" y="293"/>
                      </a:lnTo>
                      <a:lnTo>
                        <a:pt x="642" y="296"/>
                      </a:lnTo>
                      <a:lnTo>
                        <a:pt x="641" y="299"/>
                      </a:lnTo>
                      <a:lnTo>
                        <a:pt x="641" y="301"/>
                      </a:lnTo>
                      <a:lnTo>
                        <a:pt x="636" y="307"/>
                      </a:lnTo>
                      <a:lnTo>
                        <a:pt x="629" y="319"/>
                      </a:lnTo>
                      <a:lnTo>
                        <a:pt x="628" y="320"/>
                      </a:lnTo>
                      <a:lnTo>
                        <a:pt x="625" y="322"/>
                      </a:lnTo>
                      <a:lnTo>
                        <a:pt x="624" y="322"/>
                      </a:lnTo>
                      <a:lnTo>
                        <a:pt x="622" y="317"/>
                      </a:lnTo>
                      <a:lnTo>
                        <a:pt x="621" y="316"/>
                      </a:lnTo>
                      <a:lnTo>
                        <a:pt x="619" y="317"/>
                      </a:lnTo>
                      <a:lnTo>
                        <a:pt x="619" y="317"/>
                      </a:lnTo>
                      <a:lnTo>
                        <a:pt x="618" y="319"/>
                      </a:lnTo>
                      <a:lnTo>
                        <a:pt x="618" y="319"/>
                      </a:lnTo>
                      <a:lnTo>
                        <a:pt x="619" y="322"/>
                      </a:lnTo>
                      <a:lnTo>
                        <a:pt x="616" y="326"/>
                      </a:lnTo>
                      <a:lnTo>
                        <a:pt x="615" y="330"/>
                      </a:lnTo>
                      <a:lnTo>
                        <a:pt x="613" y="333"/>
                      </a:lnTo>
                      <a:lnTo>
                        <a:pt x="615" y="333"/>
                      </a:lnTo>
                      <a:lnTo>
                        <a:pt x="615" y="336"/>
                      </a:lnTo>
                      <a:lnTo>
                        <a:pt x="615" y="340"/>
                      </a:lnTo>
                      <a:lnTo>
                        <a:pt x="615" y="342"/>
                      </a:lnTo>
                      <a:lnTo>
                        <a:pt x="615" y="340"/>
                      </a:lnTo>
                      <a:lnTo>
                        <a:pt x="616" y="343"/>
                      </a:lnTo>
                      <a:lnTo>
                        <a:pt x="615" y="350"/>
                      </a:lnTo>
                      <a:lnTo>
                        <a:pt x="613" y="353"/>
                      </a:lnTo>
                      <a:lnTo>
                        <a:pt x="616" y="375"/>
                      </a:lnTo>
                      <a:lnTo>
                        <a:pt x="615" y="382"/>
                      </a:lnTo>
                      <a:lnTo>
                        <a:pt x="612" y="395"/>
                      </a:lnTo>
                      <a:lnTo>
                        <a:pt x="612" y="398"/>
                      </a:lnTo>
                      <a:lnTo>
                        <a:pt x="612" y="406"/>
                      </a:lnTo>
                      <a:lnTo>
                        <a:pt x="611" y="409"/>
                      </a:lnTo>
                      <a:lnTo>
                        <a:pt x="609" y="411"/>
                      </a:lnTo>
                      <a:lnTo>
                        <a:pt x="608" y="412"/>
                      </a:lnTo>
                      <a:lnTo>
                        <a:pt x="606" y="414"/>
                      </a:lnTo>
                      <a:lnTo>
                        <a:pt x="603" y="419"/>
                      </a:lnTo>
                      <a:lnTo>
                        <a:pt x="602" y="425"/>
                      </a:lnTo>
                      <a:lnTo>
                        <a:pt x="602" y="438"/>
                      </a:lnTo>
                      <a:lnTo>
                        <a:pt x="602" y="441"/>
                      </a:lnTo>
                      <a:lnTo>
                        <a:pt x="601" y="444"/>
                      </a:lnTo>
                      <a:lnTo>
                        <a:pt x="596" y="448"/>
                      </a:lnTo>
                      <a:lnTo>
                        <a:pt x="595" y="451"/>
                      </a:lnTo>
                      <a:lnTo>
                        <a:pt x="592" y="458"/>
                      </a:lnTo>
                      <a:lnTo>
                        <a:pt x="589" y="462"/>
                      </a:lnTo>
                      <a:lnTo>
                        <a:pt x="585" y="467"/>
                      </a:lnTo>
                      <a:lnTo>
                        <a:pt x="582" y="472"/>
                      </a:lnTo>
                      <a:lnTo>
                        <a:pt x="579" y="478"/>
                      </a:lnTo>
                      <a:lnTo>
                        <a:pt x="579" y="480"/>
                      </a:lnTo>
                      <a:lnTo>
                        <a:pt x="580" y="485"/>
                      </a:lnTo>
                      <a:lnTo>
                        <a:pt x="579" y="488"/>
                      </a:lnTo>
                      <a:lnTo>
                        <a:pt x="578" y="490"/>
                      </a:lnTo>
                      <a:lnTo>
                        <a:pt x="575" y="491"/>
                      </a:lnTo>
                      <a:lnTo>
                        <a:pt x="572" y="493"/>
                      </a:lnTo>
                      <a:lnTo>
                        <a:pt x="569" y="494"/>
                      </a:lnTo>
                      <a:lnTo>
                        <a:pt x="566" y="495"/>
                      </a:lnTo>
                      <a:lnTo>
                        <a:pt x="565" y="497"/>
                      </a:lnTo>
                      <a:lnTo>
                        <a:pt x="563" y="500"/>
                      </a:lnTo>
                      <a:lnTo>
                        <a:pt x="562" y="503"/>
                      </a:lnTo>
                      <a:lnTo>
                        <a:pt x="562" y="503"/>
                      </a:lnTo>
                      <a:lnTo>
                        <a:pt x="562" y="504"/>
                      </a:lnTo>
                      <a:lnTo>
                        <a:pt x="562" y="505"/>
                      </a:lnTo>
                      <a:lnTo>
                        <a:pt x="562" y="507"/>
                      </a:lnTo>
                      <a:lnTo>
                        <a:pt x="560" y="507"/>
                      </a:lnTo>
                      <a:lnTo>
                        <a:pt x="556" y="507"/>
                      </a:lnTo>
                      <a:lnTo>
                        <a:pt x="550" y="507"/>
                      </a:lnTo>
                      <a:lnTo>
                        <a:pt x="547" y="507"/>
                      </a:lnTo>
                      <a:lnTo>
                        <a:pt x="545" y="507"/>
                      </a:lnTo>
                      <a:lnTo>
                        <a:pt x="543" y="505"/>
                      </a:lnTo>
                      <a:lnTo>
                        <a:pt x="543" y="504"/>
                      </a:lnTo>
                      <a:lnTo>
                        <a:pt x="542" y="503"/>
                      </a:lnTo>
                      <a:lnTo>
                        <a:pt x="540" y="503"/>
                      </a:lnTo>
                      <a:lnTo>
                        <a:pt x="540" y="504"/>
                      </a:lnTo>
                      <a:lnTo>
                        <a:pt x="540" y="505"/>
                      </a:lnTo>
                      <a:lnTo>
                        <a:pt x="540" y="507"/>
                      </a:lnTo>
                      <a:lnTo>
                        <a:pt x="539" y="508"/>
                      </a:lnTo>
                      <a:lnTo>
                        <a:pt x="536" y="508"/>
                      </a:lnTo>
                      <a:lnTo>
                        <a:pt x="533" y="510"/>
                      </a:lnTo>
                      <a:lnTo>
                        <a:pt x="530" y="510"/>
                      </a:lnTo>
                      <a:lnTo>
                        <a:pt x="527" y="508"/>
                      </a:lnTo>
                      <a:lnTo>
                        <a:pt x="532" y="508"/>
                      </a:lnTo>
                      <a:lnTo>
                        <a:pt x="533" y="508"/>
                      </a:lnTo>
                      <a:lnTo>
                        <a:pt x="530" y="507"/>
                      </a:lnTo>
                      <a:lnTo>
                        <a:pt x="527" y="507"/>
                      </a:lnTo>
                      <a:lnTo>
                        <a:pt x="519" y="508"/>
                      </a:lnTo>
                      <a:lnTo>
                        <a:pt x="516" y="510"/>
                      </a:lnTo>
                      <a:lnTo>
                        <a:pt x="514" y="511"/>
                      </a:lnTo>
                      <a:lnTo>
                        <a:pt x="517" y="513"/>
                      </a:lnTo>
                      <a:lnTo>
                        <a:pt x="516" y="514"/>
                      </a:lnTo>
                      <a:lnTo>
                        <a:pt x="513" y="514"/>
                      </a:lnTo>
                      <a:lnTo>
                        <a:pt x="512" y="514"/>
                      </a:lnTo>
                      <a:lnTo>
                        <a:pt x="510" y="516"/>
                      </a:lnTo>
                      <a:lnTo>
                        <a:pt x="507" y="517"/>
                      </a:lnTo>
                      <a:lnTo>
                        <a:pt x="501" y="521"/>
                      </a:lnTo>
                      <a:lnTo>
                        <a:pt x="501" y="521"/>
                      </a:lnTo>
                      <a:lnTo>
                        <a:pt x="501" y="521"/>
                      </a:lnTo>
                      <a:lnTo>
                        <a:pt x="501" y="523"/>
                      </a:lnTo>
                      <a:lnTo>
                        <a:pt x="500" y="523"/>
                      </a:lnTo>
                      <a:lnTo>
                        <a:pt x="500" y="523"/>
                      </a:lnTo>
                      <a:lnTo>
                        <a:pt x="497" y="523"/>
                      </a:lnTo>
                      <a:lnTo>
                        <a:pt x="497" y="523"/>
                      </a:lnTo>
                      <a:lnTo>
                        <a:pt x="494" y="523"/>
                      </a:lnTo>
                      <a:lnTo>
                        <a:pt x="493" y="523"/>
                      </a:lnTo>
                      <a:lnTo>
                        <a:pt x="490" y="524"/>
                      </a:lnTo>
                      <a:lnTo>
                        <a:pt x="480" y="530"/>
                      </a:lnTo>
                      <a:lnTo>
                        <a:pt x="464" y="543"/>
                      </a:lnTo>
                      <a:lnTo>
                        <a:pt x="460" y="546"/>
                      </a:lnTo>
                      <a:lnTo>
                        <a:pt x="457" y="547"/>
                      </a:lnTo>
                      <a:lnTo>
                        <a:pt x="458" y="547"/>
                      </a:lnTo>
                      <a:lnTo>
                        <a:pt x="458" y="547"/>
                      </a:lnTo>
                      <a:lnTo>
                        <a:pt x="457" y="550"/>
                      </a:lnTo>
                      <a:lnTo>
                        <a:pt x="455" y="551"/>
                      </a:lnTo>
                      <a:lnTo>
                        <a:pt x="454" y="553"/>
                      </a:lnTo>
                      <a:lnTo>
                        <a:pt x="453" y="554"/>
                      </a:lnTo>
                      <a:lnTo>
                        <a:pt x="453" y="553"/>
                      </a:lnTo>
                      <a:lnTo>
                        <a:pt x="450" y="551"/>
                      </a:lnTo>
                      <a:lnTo>
                        <a:pt x="450" y="551"/>
                      </a:lnTo>
                      <a:lnTo>
                        <a:pt x="450" y="551"/>
                      </a:lnTo>
                      <a:lnTo>
                        <a:pt x="448" y="553"/>
                      </a:lnTo>
                      <a:lnTo>
                        <a:pt x="448" y="553"/>
                      </a:lnTo>
                      <a:lnTo>
                        <a:pt x="448" y="553"/>
                      </a:lnTo>
                      <a:lnTo>
                        <a:pt x="448" y="554"/>
                      </a:lnTo>
                      <a:lnTo>
                        <a:pt x="447" y="554"/>
                      </a:lnTo>
                      <a:lnTo>
                        <a:pt x="445" y="554"/>
                      </a:lnTo>
                      <a:lnTo>
                        <a:pt x="444" y="553"/>
                      </a:lnTo>
                      <a:lnTo>
                        <a:pt x="444" y="556"/>
                      </a:lnTo>
                      <a:lnTo>
                        <a:pt x="445" y="556"/>
                      </a:lnTo>
                      <a:lnTo>
                        <a:pt x="448" y="556"/>
                      </a:lnTo>
                      <a:lnTo>
                        <a:pt x="450" y="557"/>
                      </a:lnTo>
                      <a:lnTo>
                        <a:pt x="448" y="559"/>
                      </a:lnTo>
                      <a:lnTo>
                        <a:pt x="448" y="562"/>
                      </a:lnTo>
                      <a:lnTo>
                        <a:pt x="445" y="563"/>
                      </a:lnTo>
                      <a:lnTo>
                        <a:pt x="444" y="563"/>
                      </a:lnTo>
                      <a:lnTo>
                        <a:pt x="445" y="564"/>
                      </a:lnTo>
                      <a:lnTo>
                        <a:pt x="447" y="566"/>
                      </a:lnTo>
                      <a:lnTo>
                        <a:pt x="445" y="567"/>
                      </a:lnTo>
                      <a:lnTo>
                        <a:pt x="445" y="569"/>
                      </a:lnTo>
                      <a:lnTo>
                        <a:pt x="445" y="570"/>
                      </a:lnTo>
                      <a:lnTo>
                        <a:pt x="444" y="570"/>
                      </a:lnTo>
                      <a:lnTo>
                        <a:pt x="444" y="570"/>
                      </a:lnTo>
                      <a:lnTo>
                        <a:pt x="444" y="570"/>
                      </a:lnTo>
                      <a:lnTo>
                        <a:pt x="444" y="572"/>
                      </a:lnTo>
                      <a:lnTo>
                        <a:pt x="444" y="572"/>
                      </a:lnTo>
                      <a:lnTo>
                        <a:pt x="444" y="576"/>
                      </a:lnTo>
                      <a:lnTo>
                        <a:pt x="447" y="587"/>
                      </a:lnTo>
                      <a:lnTo>
                        <a:pt x="445" y="605"/>
                      </a:lnTo>
                      <a:lnTo>
                        <a:pt x="445" y="609"/>
                      </a:lnTo>
                      <a:lnTo>
                        <a:pt x="444" y="612"/>
                      </a:lnTo>
                      <a:lnTo>
                        <a:pt x="443" y="615"/>
                      </a:lnTo>
                      <a:lnTo>
                        <a:pt x="440" y="618"/>
                      </a:lnTo>
                      <a:lnTo>
                        <a:pt x="431" y="625"/>
                      </a:lnTo>
                      <a:lnTo>
                        <a:pt x="430" y="628"/>
                      </a:lnTo>
                      <a:lnTo>
                        <a:pt x="424" y="633"/>
                      </a:lnTo>
                      <a:lnTo>
                        <a:pt x="412" y="658"/>
                      </a:lnTo>
                      <a:lnTo>
                        <a:pt x="408" y="665"/>
                      </a:lnTo>
                      <a:lnTo>
                        <a:pt x="402" y="672"/>
                      </a:lnTo>
                      <a:lnTo>
                        <a:pt x="392" y="678"/>
                      </a:lnTo>
                      <a:lnTo>
                        <a:pt x="385" y="684"/>
                      </a:lnTo>
                      <a:lnTo>
                        <a:pt x="385" y="682"/>
                      </a:lnTo>
                      <a:lnTo>
                        <a:pt x="385" y="681"/>
                      </a:lnTo>
                      <a:lnTo>
                        <a:pt x="385" y="681"/>
                      </a:lnTo>
                      <a:lnTo>
                        <a:pt x="385" y="679"/>
                      </a:lnTo>
                      <a:lnTo>
                        <a:pt x="387" y="679"/>
                      </a:lnTo>
                      <a:lnTo>
                        <a:pt x="387" y="679"/>
                      </a:lnTo>
                      <a:lnTo>
                        <a:pt x="388" y="679"/>
                      </a:lnTo>
                      <a:lnTo>
                        <a:pt x="389" y="678"/>
                      </a:lnTo>
                      <a:lnTo>
                        <a:pt x="392" y="677"/>
                      </a:lnTo>
                      <a:lnTo>
                        <a:pt x="395" y="674"/>
                      </a:lnTo>
                      <a:lnTo>
                        <a:pt x="397" y="674"/>
                      </a:lnTo>
                      <a:lnTo>
                        <a:pt x="398" y="672"/>
                      </a:lnTo>
                      <a:lnTo>
                        <a:pt x="399" y="671"/>
                      </a:lnTo>
                      <a:lnTo>
                        <a:pt x="399" y="669"/>
                      </a:lnTo>
                      <a:lnTo>
                        <a:pt x="401" y="668"/>
                      </a:lnTo>
                      <a:lnTo>
                        <a:pt x="401" y="666"/>
                      </a:lnTo>
                      <a:lnTo>
                        <a:pt x="401" y="665"/>
                      </a:lnTo>
                      <a:lnTo>
                        <a:pt x="401" y="665"/>
                      </a:lnTo>
                      <a:lnTo>
                        <a:pt x="402" y="665"/>
                      </a:lnTo>
                      <a:lnTo>
                        <a:pt x="402" y="665"/>
                      </a:lnTo>
                      <a:lnTo>
                        <a:pt x="402" y="665"/>
                      </a:lnTo>
                      <a:lnTo>
                        <a:pt x="404" y="665"/>
                      </a:lnTo>
                      <a:lnTo>
                        <a:pt x="404" y="662"/>
                      </a:lnTo>
                      <a:lnTo>
                        <a:pt x="408" y="659"/>
                      </a:lnTo>
                      <a:lnTo>
                        <a:pt x="408" y="658"/>
                      </a:lnTo>
                      <a:lnTo>
                        <a:pt x="408" y="656"/>
                      </a:lnTo>
                      <a:lnTo>
                        <a:pt x="408" y="655"/>
                      </a:lnTo>
                      <a:lnTo>
                        <a:pt x="410" y="654"/>
                      </a:lnTo>
                      <a:lnTo>
                        <a:pt x="410" y="652"/>
                      </a:lnTo>
                      <a:lnTo>
                        <a:pt x="410" y="652"/>
                      </a:lnTo>
                      <a:lnTo>
                        <a:pt x="410" y="652"/>
                      </a:lnTo>
                      <a:lnTo>
                        <a:pt x="410" y="652"/>
                      </a:lnTo>
                      <a:lnTo>
                        <a:pt x="410" y="652"/>
                      </a:lnTo>
                      <a:lnTo>
                        <a:pt x="411" y="652"/>
                      </a:lnTo>
                      <a:lnTo>
                        <a:pt x="412" y="651"/>
                      </a:lnTo>
                      <a:lnTo>
                        <a:pt x="411" y="649"/>
                      </a:lnTo>
                      <a:lnTo>
                        <a:pt x="410" y="649"/>
                      </a:lnTo>
                      <a:lnTo>
                        <a:pt x="408" y="649"/>
                      </a:lnTo>
                      <a:lnTo>
                        <a:pt x="405" y="651"/>
                      </a:lnTo>
                      <a:lnTo>
                        <a:pt x="404" y="651"/>
                      </a:lnTo>
                      <a:lnTo>
                        <a:pt x="404" y="651"/>
                      </a:lnTo>
                      <a:lnTo>
                        <a:pt x="401" y="648"/>
                      </a:lnTo>
                      <a:lnTo>
                        <a:pt x="401" y="648"/>
                      </a:lnTo>
                      <a:lnTo>
                        <a:pt x="399" y="646"/>
                      </a:lnTo>
                      <a:lnTo>
                        <a:pt x="399" y="645"/>
                      </a:lnTo>
                      <a:lnTo>
                        <a:pt x="398" y="645"/>
                      </a:lnTo>
                      <a:lnTo>
                        <a:pt x="398" y="646"/>
                      </a:lnTo>
                      <a:lnTo>
                        <a:pt x="401" y="651"/>
                      </a:lnTo>
                      <a:lnTo>
                        <a:pt x="401" y="652"/>
                      </a:lnTo>
                      <a:lnTo>
                        <a:pt x="399" y="654"/>
                      </a:lnTo>
                      <a:lnTo>
                        <a:pt x="399" y="655"/>
                      </a:lnTo>
                      <a:lnTo>
                        <a:pt x="399" y="656"/>
                      </a:lnTo>
                      <a:lnTo>
                        <a:pt x="398" y="658"/>
                      </a:lnTo>
                      <a:lnTo>
                        <a:pt x="398" y="658"/>
                      </a:lnTo>
                      <a:lnTo>
                        <a:pt x="398" y="656"/>
                      </a:lnTo>
                      <a:lnTo>
                        <a:pt x="397" y="658"/>
                      </a:lnTo>
                      <a:lnTo>
                        <a:pt x="397" y="661"/>
                      </a:lnTo>
                      <a:lnTo>
                        <a:pt x="395" y="664"/>
                      </a:lnTo>
                      <a:lnTo>
                        <a:pt x="395" y="665"/>
                      </a:lnTo>
                      <a:lnTo>
                        <a:pt x="394" y="666"/>
                      </a:lnTo>
                      <a:lnTo>
                        <a:pt x="389" y="668"/>
                      </a:lnTo>
                      <a:lnTo>
                        <a:pt x="388" y="669"/>
                      </a:lnTo>
                      <a:lnTo>
                        <a:pt x="387" y="671"/>
                      </a:lnTo>
                      <a:lnTo>
                        <a:pt x="384" y="677"/>
                      </a:lnTo>
                      <a:lnTo>
                        <a:pt x="384" y="679"/>
                      </a:lnTo>
                      <a:lnTo>
                        <a:pt x="384" y="681"/>
                      </a:lnTo>
                      <a:lnTo>
                        <a:pt x="384" y="682"/>
                      </a:lnTo>
                      <a:lnTo>
                        <a:pt x="384" y="685"/>
                      </a:lnTo>
                      <a:lnTo>
                        <a:pt x="384" y="687"/>
                      </a:lnTo>
                      <a:lnTo>
                        <a:pt x="381" y="689"/>
                      </a:lnTo>
                      <a:lnTo>
                        <a:pt x="379" y="691"/>
                      </a:lnTo>
                      <a:lnTo>
                        <a:pt x="377" y="701"/>
                      </a:lnTo>
                      <a:lnTo>
                        <a:pt x="374" y="705"/>
                      </a:lnTo>
                      <a:lnTo>
                        <a:pt x="369" y="710"/>
                      </a:lnTo>
                      <a:lnTo>
                        <a:pt x="362" y="715"/>
                      </a:lnTo>
                      <a:lnTo>
                        <a:pt x="359" y="714"/>
                      </a:lnTo>
                      <a:lnTo>
                        <a:pt x="359" y="711"/>
                      </a:lnTo>
                      <a:lnTo>
                        <a:pt x="359" y="707"/>
                      </a:lnTo>
                      <a:lnTo>
                        <a:pt x="359" y="704"/>
                      </a:lnTo>
                      <a:lnTo>
                        <a:pt x="361" y="702"/>
                      </a:lnTo>
                      <a:lnTo>
                        <a:pt x="365" y="697"/>
                      </a:lnTo>
                      <a:lnTo>
                        <a:pt x="366" y="695"/>
                      </a:lnTo>
                      <a:lnTo>
                        <a:pt x="365" y="694"/>
                      </a:lnTo>
                      <a:lnTo>
                        <a:pt x="364" y="692"/>
                      </a:lnTo>
                      <a:lnTo>
                        <a:pt x="362" y="692"/>
                      </a:lnTo>
                      <a:lnTo>
                        <a:pt x="361" y="691"/>
                      </a:lnTo>
                      <a:lnTo>
                        <a:pt x="359" y="689"/>
                      </a:lnTo>
                      <a:lnTo>
                        <a:pt x="358" y="688"/>
                      </a:lnTo>
                      <a:lnTo>
                        <a:pt x="356" y="685"/>
                      </a:lnTo>
                      <a:lnTo>
                        <a:pt x="355" y="682"/>
                      </a:lnTo>
                      <a:lnTo>
                        <a:pt x="352" y="681"/>
                      </a:lnTo>
                      <a:lnTo>
                        <a:pt x="348" y="679"/>
                      </a:lnTo>
                      <a:lnTo>
                        <a:pt x="345" y="678"/>
                      </a:lnTo>
                      <a:lnTo>
                        <a:pt x="342" y="674"/>
                      </a:lnTo>
                      <a:lnTo>
                        <a:pt x="341" y="672"/>
                      </a:lnTo>
                      <a:lnTo>
                        <a:pt x="339" y="672"/>
                      </a:lnTo>
                      <a:lnTo>
                        <a:pt x="333" y="669"/>
                      </a:lnTo>
                      <a:lnTo>
                        <a:pt x="331" y="668"/>
                      </a:lnTo>
                      <a:lnTo>
                        <a:pt x="329" y="666"/>
                      </a:lnTo>
                      <a:lnTo>
                        <a:pt x="325" y="662"/>
                      </a:lnTo>
                      <a:lnTo>
                        <a:pt x="323" y="661"/>
                      </a:lnTo>
                      <a:lnTo>
                        <a:pt x="322" y="661"/>
                      </a:lnTo>
                      <a:lnTo>
                        <a:pt x="318" y="664"/>
                      </a:lnTo>
                      <a:lnTo>
                        <a:pt x="316" y="664"/>
                      </a:lnTo>
                      <a:lnTo>
                        <a:pt x="316" y="662"/>
                      </a:lnTo>
                      <a:lnTo>
                        <a:pt x="315" y="659"/>
                      </a:lnTo>
                      <a:lnTo>
                        <a:pt x="313" y="655"/>
                      </a:lnTo>
                      <a:lnTo>
                        <a:pt x="309" y="652"/>
                      </a:lnTo>
                      <a:lnTo>
                        <a:pt x="305" y="648"/>
                      </a:lnTo>
                      <a:lnTo>
                        <a:pt x="302" y="646"/>
                      </a:lnTo>
                      <a:lnTo>
                        <a:pt x="298" y="646"/>
                      </a:lnTo>
                      <a:lnTo>
                        <a:pt x="295" y="649"/>
                      </a:lnTo>
                      <a:lnTo>
                        <a:pt x="290" y="649"/>
                      </a:lnTo>
                      <a:lnTo>
                        <a:pt x="287" y="648"/>
                      </a:lnTo>
                      <a:lnTo>
                        <a:pt x="305" y="629"/>
                      </a:lnTo>
                      <a:lnTo>
                        <a:pt x="316" y="615"/>
                      </a:lnTo>
                      <a:lnTo>
                        <a:pt x="318" y="613"/>
                      </a:lnTo>
                      <a:lnTo>
                        <a:pt x="318" y="613"/>
                      </a:lnTo>
                      <a:lnTo>
                        <a:pt x="321" y="613"/>
                      </a:lnTo>
                      <a:lnTo>
                        <a:pt x="322" y="612"/>
                      </a:lnTo>
                      <a:lnTo>
                        <a:pt x="321" y="610"/>
                      </a:lnTo>
                      <a:lnTo>
                        <a:pt x="322" y="609"/>
                      </a:lnTo>
                      <a:lnTo>
                        <a:pt x="322" y="608"/>
                      </a:lnTo>
                      <a:lnTo>
                        <a:pt x="332" y="602"/>
                      </a:lnTo>
                      <a:lnTo>
                        <a:pt x="336" y="597"/>
                      </a:lnTo>
                      <a:lnTo>
                        <a:pt x="338" y="596"/>
                      </a:lnTo>
                      <a:lnTo>
                        <a:pt x="341" y="595"/>
                      </a:lnTo>
                      <a:lnTo>
                        <a:pt x="343" y="593"/>
                      </a:lnTo>
                      <a:lnTo>
                        <a:pt x="346" y="592"/>
                      </a:lnTo>
                      <a:lnTo>
                        <a:pt x="349" y="590"/>
                      </a:lnTo>
                      <a:lnTo>
                        <a:pt x="352" y="589"/>
                      </a:lnTo>
                      <a:lnTo>
                        <a:pt x="355" y="586"/>
                      </a:lnTo>
                      <a:lnTo>
                        <a:pt x="355" y="582"/>
                      </a:lnTo>
                      <a:lnTo>
                        <a:pt x="356" y="572"/>
                      </a:lnTo>
                      <a:lnTo>
                        <a:pt x="356" y="570"/>
                      </a:lnTo>
                      <a:lnTo>
                        <a:pt x="355" y="566"/>
                      </a:lnTo>
                      <a:lnTo>
                        <a:pt x="354" y="562"/>
                      </a:lnTo>
                      <a:lnTo>
                        <a:pt x="352" y="559"/>
                      </a:lnTo>
                      <a:lnTo>
                        <a:pt x="351" y="557"/>
                      </a:lnTo>
                      <a:lnTo>
                        <a:pt x="348" y="557"/>
                      </a:lnTo>
                      <a:lnTo>
                        <a:pt x="343" y="557"/>
                      </a:lnTo>
                      <a:lnTo>
                        <a:pt x="341" y="557"/>
                      </a:lnTo>
                      <a:lnTo>
                        <a:pt x="341" y="556"/>
                      </a:lnTo>
                      <a:lnTo>
                        <a:pt x="341" y="553"/>
                      </a:lnTo>
                      <a:lnTo>
                        <a:pt x="342" y="551"/>
                      </a:lnTo>
                      <a:lnTo>
                        <a:pt x="343" y="550"/>
                      </a:lnTo>
                      <a:lnTo>
                        <a:pt x="343" y="549"/>
                      </a:lnTo>
                      <a:lnTo>
                        <a:pt x="345" y="530"/>
                      </a:lnTo>
                      <a:lnTo>
                        <a:pt x="346" y="528"/>
                      </a:lnTo>
                      <a:lnTo>
                        <a:pt x="345" y="527"/>
                      </a:lnTo>
                      <a:lnTo>
                        <a:pt x="343" y="526"/>
                      </a:lnTo>
                      <a:lnTo>
                        <a:pt x="342" y="524"/>
                      </a:lnTo>
                      <a:lnTo>
                        <a:pt x="339" y="523"/>
                      </a:lnTo>
                      <a:lnTo>
                        <a:pt x="338" y="524"/>
                      </a:lnTo>
                      <a:lnTo>
                        <a:pt x="335" y="526"/>
                      </a:lnTo>
                      <a:lnTo>
                        <a:pt x="333" y="527"/>
                      </a:lnTo>
                      <a:lnTo>
                        <a:pt x="329" y="527"/>
                      </a:lnTo>
                      <a:lnTo>
                        <a:pt x="326" y="526"/>
                      </a:lnTo>
                      <a:lnTo>
                        <a:pt x="325" y="521"/>
                      </a:lnTo>
                      <a:lnTo>
                        <a:pt x="323" y="518"/>
                      </a:lnTo>
                      <a:lnTo>
                        <a:pt x="322" y="504"/>
                      </a:lnTo>
                      <a:lnTo>
                        <a:pt x="321" y="498"/>
                      </a:lnTo>
                      <a:lnTo>
                        <a:pt x="316" y="494"/>
                      </a:lnTo>
                      <a:lnTo>
                        <a:pt x="313" y="493"/>
                      </a:lnTo>
                      <a:lnTo>
                        <a:pt x="312" y="493"/>
                      </a:lnTo>
                      <a:lnTo>
                        <a:pt x="309" y="493"/>
                      </a:lnTo>
                      <a:lnTo>
                        <a:pt x="309" y="491"/>
                      </a:lnTo>
                      <a:lnTo>
                        <a:pt x="309" y="491"/>
                      </a:lnTo>
                      <a:lnTo>
                        <a:pt x="309" y="491"/>
                      </a:lnTo>
                      <a:lnTo>
                        <a:pt x="308" y="490"/>
                      </a:lnTo>
                      <a:lnTo>
                        <a:pt x="306" y="491"/>
                      </a:lnTo>
                      <a:lnTo>
                        <a:pt x="306" y="491"/>
                      </a:lnTo>
                      <a:lnTo>
                        <a:pt x="306" y="493"/>
                      </a:lnTo>
                      <a:lnTo>
                        <a:pt x="305" y="493"/>
                      </a:lnTo>
                      <a:lnTo>
                        <a:pt x="302" y="494"/>
                      </a:lnTo>
                      <a:lnTo>
                        <a:pt x="298" y="494"/>
                      </a:lnTo>
                      <a:lnTo>
                        <a:pt x="290" y="493"/>
                      </a:lnTo>
                      <a:lnTo>
                        <a:pt x="289" y="493"/>
                      </a:lnTo>
                      <a:lnTo>
                        <a:pt x="287" y="491"/>
                      </a:lnTo>
                      <a:lnTo>
                        <a:pt x="286" y="491"/>
                      </a:lnTo>
                      <a:lnTo>
                        <a:pt x="286" y="491"/>
                      </a:lnTo>
                      <a:lnTo>
                        <a:pt x="283" y="491"/>
                      </a:lnTo>
                      <a:lnTo>
                        <a:pt x="282" y="491"/>
                      </a:lnTo>
                      <a:lnTo>
                        <a:pt x="282" y="490"/>
                      </a:lnTo>
                      <a:lnTo>
                        <a:pt x="282" y="482"/>
                      </a:lnTo>
                      <a:lnTo>
                        <a:pt x="283" y="474"/>
                      </a:lnTo>
                      <a:lnTo>
                        <a:pt x="283" y="471"/>
                      </a:lnTo>
                      <a:lnTo>
                        <a:pt x="283" y="468"/>
                      </a:lnTo>
                      <a:lnTo>
                        <a:pt x="282" y="465"/>
                      </a:lnTo>
                      <a:lnTo>
                        <a:pt x="279" y="457"/>
                      </a:lnTo>
                      <a:lnTo>
                        <a:pt x="277" y="454"/>
                      </a:lnTo>
                      <a:lnTo>
                        <a:pt x="282" y="451"/>
                      </a:lnTo>
                      <a:lnTo>
                        <a:pt x="283" y="451"/>
                      </a:lnTo>
                      <a:lnTo>
                        <a:pt x="283" y="449"/>
                      </a:lnTo>
                      <a:lnTo>
                        <a:pt x="282" y="449"/>
                      </a:lnTo>
                      <a:lnTo>
                        <a:pt x="280" y="448"/>
                      </a:lnTo>
                      <a:lnTo>
                        <a:pt x="280" y="448"/>
                      </a:lnTo>
                      <a:lnTo>
                        <a:pt x="279" y="447"/>
                      </a:lnTo>
                      <a:lnTo>
                        <a:pt x="279" y="444"/>
                      </a:lnTo>
                      <a:lnTo>
                        <a:pt x="280" y="442"/>
                      </a:lnTo>
                      <a:lnTo>
                        <a:pt x="283" y="435"/>
                      </a:lnTo>
                      <a:lnTo>
                        <a:pt x="285" y="434"/>
                      </a:lnTo>
                      <a:lnTo>
                        <a:pt x="286" y="432"/>
                      </a:lnTo>
                      <a:lnTo>
                        <a:pt x="286" y="432"/>
                      </a:lnTo>
                      <a:lnTo>
                        <a:pt x="285" y="431"/>
                      </a:lnTo>
                      <a:lnTo>
                        <a:pt x="286" y="424"/>
                      </a:lnTo>
                      <a:lnTo>
                        <a:pt x="287" y="421"/>
                      </a:lnTo>
                      <a:lnTo>
                        <a:pt x="289" y="418"/>
                      </a:lnTo>
                      <a:lnTo>
                        <a:pt x="287" y="416"/>
                      </a:lnTo>
                      <a:lnTo>
                        <a:pt x="286" y="414"/>
                      </a:lnTo>
                      <a:lnTo>
                        <a:pt x="286" y="411"/>
                      </a:lnTo>
                      <a:lnTo>
                        <a:pt x="285" y="408"/>
                      </a:lnTo>
                      <a:lnTo>
                        <a:pt x="285" y="406"/>
                      </a:lnTo>
                      <a:lnTo>
                        <a:pt x="285" y="406"/>
                      </a:lnTo>
                      <a:lnTo>
                        <a:pt x="285" y="405"/>
                      </a:lnTo>
                      <a:lnTo>
                        <a:pt x="283" y="405"/>
                      </a:lnTo>
                      <a:lnTo>
                        <a:pt x="283" y="405"/>
                      </a:lnTo>
                      <a:lnTo>
                        <a:pt x="282" y="405"/>
                      </a:lnTo>
                      <a:lnTo>
                        <a:pt x="282" y="405"/>
                      </a:lnTo>
                      <a:lnTo>
                        <a:pt x="277" y="402"/>
                      </a:lnTo>
                      <a:lnTo>
                        <a:pt x="276" y="402"/>
                      </a:lnTo>
                      <a:lnTo>
                        <a:pt x="275" y="399"/>
                      </a:lnTo>
                      <a:lnTo>
                        <a:pt x="273" y="398"/>
                      </a:lnTo>
                      <a:lnTo>
                        <a:pt x="272" y="395"/>
                      </a:lnTo>
                      <a:lnTo>
                        <a:pt x="272" y="391"/>
                      </a:lnTo>
                      <a:lnTo>
                        <a:pt x="273" y="389"/>
                      </a:lnTo>
                      <a:lnTo>
                        <a:pt x="275" y="385"/>
                      </a:lnTo>
                      <a:lnTo>
                        <a:pt x="275" y="382"/>
                      </a:lnTo>
                      <a:lnTo>
                        <a:pt x="269" y="383"/>
                      </a:lnTo>
                      <a:lnTo>
                        <a:pt x="262" y="383"/>
                      </a:lnTo>
                      <a:lnTo>
                        <a:pt x="247" y="382"/>
                      </a:lnTo>
                      <a:lnTo>
                        <a:pt x="244" y="382"/>
                      </a:lnTo>
                      <a:lnTo>
                        <a:pt x="243" y="382"/>
                      </a:lnTo>
                      <a:lnTo>
                        <a:pt x="242" y="380"/>
                      </a:lnTo>
                      <a:lnTo>
                        <a:pt x="242" y="378"/>
                      </a:lnTo>
                      <a:lnTo>
                        <a:pt x="242" y="372"/>
                      </a:lnTo>
                      <a:lnTo>
                        <a:pt x="242" y="369"/>
                      </a:lnTo>
                      <a:lnTo>
                        <a:pt x="240" y="366"/>
                      </a:lnTo>
                      <a:lnTo>
                        <a:pt x="237" y="363"/>
                      </a:lnTo>
                      <a:lnTo>
                        <a:pt x="236" y="360"/>
                      </a:lnTo>
                      <a:lnTo>
                        <a:pt x="240" y="360"/>
                      </a:lnTo>
                      <a:lnTo>
                        <a:pt x="240" y="353"/>
                      </a:lnTo>
                      <a:lnTo>
                        <a:pt x="239" y="345"/>
                      </a:lnTo>
                      <a:lnTo>
                        <a:pt x="237" y="343"/>
                      </a:lnTo>
                      <a:lnTo>
                        <a:pt x="237" y="340"/>
                      </a:lnTo>
                      <a:lnTo>
                        <a:pt x="237" y="339"/>
                      </a:lnTo>
                      <a:lnTo>
                        <a:pt x="237" y="337"/>
                      </a:lnTo>
                      <a:lnTo>
                        <a:pt x="234" y="334"/>
                      </a:lnTo>
                      <a:lnTo>
                        <a:pt x="231" y="333"/>
                      </a:lnTo>
                      <a:lnTo>
                        <a:pt x="229" y="332"/>
                      </a:lnTo>
                      <a:lnTo>
                        <a:pt x="226" y="332"/>
                      </a:lnTo>
                      <a:lnTo>
                        <a:pt x="221" y="332"/>
                      </a:lnTo>
                      <a:lnTo>
                        <a:pt x="219" y="332"/>
                      </a:lnTo>
                      <a:lnTo>
                        <a:pt x="216" y="332"/>
                      </a:lnTo>
                      <a:lnTo>
                        <a:pt x="213" y="330"/>
                      </a:lnTo>
                      <a:lnTo>
                        <a:pt x="211" y="329"/>
                      </a:lnTo>
                      <a:lnTo>
                        <a:pt x="208" y="326"/>
                      </a:lnTo>
                      <a:lnTo>
                        <a:pt x="208" y="326"/>
                      </a:lnTo>
                      <a:lnTo>
                        <a:pt x="207" y="324"/>
                      </a:lnTo>
                      <a:lnTo>
                        <a:pt x="203" y="324"/>
                      </a:lnTo>
                      <a:lnTo>
                        <a:pt x="200" y="323"/>
                      </a:lnTo>
                      <a:lnTo>
                        <a:pt x="197" y="322"/>
                      </a:lnTo>
                      <a:lnTo>
                        <a:pt x="193" y="317"/>
                      </a:lnTo>
                      <a:lnTo>
                        <a:pt x="191" y="317"/>
                      </a:lnTo>
                      <a:lnTo>
                        <a:pt x="191" y="317"/>
                      </a:lnTo>
                      <a:lnTo>
                        <a:pt x="191" y="317"/>
                      </a:lnTo>
                      <a:lnTo>
                        <a:pt x="191" y="316"/>
                      </a:lnTo>
                      <a:lnTo>
                        <a:pt x="190" y="316"/>
                      </a:lnTo>
                      <a:lnTo>
                        <a:pt x="190" y="316"/>
                      </a:lnTo>
                      <a:lnTo>
                        <a:pt x="190" y="317"/>
                      </a:lnTo>
                      <a:lnTo>
                        <a:pt x="188" y="317"/>
                      </a:lnTo>
                      <a:lnTo>
                        <a:pt x="186" y="316"/>
                      </a:lnTo>
                      <a:lnTo>
                        <a:pt x="183" y="314"/>
                      </a:lnTo>
                      <a:lnTo>
                        <a:pt x="180" y="313"/>
                      </a:lnTo>
                      <a:lnTo>
                        <a:pt x="174" y="313"/>
                      </a:lnTo>
                      <a:lnTo>
                        <a:pt x="171" y="313"/>
                      </a:lnTo>
                      <a:lnTo>
                        <a:pt x="168" y="311"/>
                      </a:lnTo>
                      <a:lnTo>
                        <a:pt x="164" y="307"/>
                      </a:lnTo>
                      <a:lnTo>
                        <a:pt x="161" y="306"/>
                      </a:lnTo>
                      <a:lnTo>
                        <a:pt x="160" y="304"/>
                      </a:lnTo>
                      <a:lnTo>
                        <a:pt x="158" y="303"/>
                      </a:lnTo>
                      <a:lnTo>
                        <a:pt x="157" y="301"/>
                      </a:lnTo>
                      <a:lnTo>
                        <a:pt x="155" y="300"/>
                      </a:lnTo>
                      <a:lnTo>
                        <a:pt x="152" y="293"/>
                      </a:lnTo>
                      <a:lnTo>
                        <a:pt x="151" y="291"/>
                      </a:lnTo>
                      <a:lnTo>
                        <a:pt x="151" y="288"/>
                      </a:lnTo>
                      <a:lnTo>
                        <a:pt x="151" y="287"/>
                      </a:lnTo>
                      <a:lnTo>
                        <a:pt x="151" y="284"/>
                      </a:lnTo>
                      <a:lnTo>
                        <a:pt x="151" y="283"/>
                      </a:lnTo>
                      <a:lnTo>
                        <a:pt x="150" y="280"/>
                      </a:lnTo>
                      <a:lnTo>
                        <a:pt x="150" y="278"/>
                      </a:lnTo>
                      <a:lnTo>
                        <a:pt x="150" y="277"/>
                      </a:lnTo>
                      <a:lnTo>
                        <a:pt x="151" y="276"/>
                      </a:lnTo>
                      <a:lnTo>
                        <a:pt x="151" y="274"/>
                      </a:lnTo>
                      <a:lnTo>
                        <a:pt x="152" y="273"/>
                      </a:lnTo>
                      <a:lnTo>
                        <a:pt x="152" y="271"/>
                      </a:lnTo>
                      <a:lnTo>
                        <a:pt x="152" y="267"/>
                      </a:lnTo>
                      <a:lnTo>
                        <a:pt x="151" y="265"/>
                      </a:lnTo>
                      <a:lnTo>
                        <a:pt x="150" y="264"/>
                      </a:lnTo>
                      <a:lnTo>
                        <a:pt x="150" y="264"/>
                      </a:lnTo>
                      <a:lnTo>
                        <a:pt x="148" y="264"/>
                      </a:lnTo>
                      <a:lnTo>
                        <a:pt x="148" y="264"/>
                      </a:lnTo>
                      <a:lnTo>
                        <a:pt x="148" y="265"/>
                      </a:lnTo>
                      <a:lnTo>
                        <a:pt x="147" y="265"/>
                      </a:lnTo>
                      <a:lnTo>
                        <a:pt x="145" y="264"/>
                      </a:lnTo>
                      <a:lnTo>
                        <a:pt x="145" y="264"/>
                      </a:lnTo>
                      <a:lnTo>
                        <a:pt x="137" y="265"/>
                      </a:lnTo>
                      <a:lnTo>
                        <a:pt x="134" y="265"/>
                      </a:lnTo>
                      <a:lnTo>
                        <a:pt x="131" y="267"/>
                      </a:lnTo>
                      <a:lnTo>
                        <a:pt x="128" y="268"/>
                      </a:lnTo>
                      <a:lnTo>
                        <a:pt x="115" y="276"/>
                      </a:lnTo>
                      <a:lnTo>
                        <a:pt x="112" y="277"/>
                      </a:lnTo>
                      <a:lnTo>
                        <a:pt x="111" y="280"/>
                      </a:lnTo>
                      <a:lnTo>
                        <a:pt x="109" y="280"/>
                      </a:lnTo>
                      <a:lnTo>
                        <a:pt x="108" y="280"/>
                      </a:lnTo>
                      <a:lnTo>
                        <a:pt x="107" y="281"/>
                      </a:lnTo>
                      <a:lnTo>
                        <a:pt x="105" y="281"/>
                      </a:lnTo>
                      <a:lnTo>
                        <a:pt x="104" y="281"/>
                      </a:lnTo>
                      <a:lnTo>
                        <a:pt x="102" y="283"/>
                      </a:lnTo>
                      <a:lnTo>
                        <a:pt x="99" y="286"/>
                      </a:lnTo>
                      <a:lnTo>
                        <a:pt x="96" y="287"/>
                      </a:lnTo>
                      <a:lnTo>
                        <a:pt x="95" y="288"/>
                      </a:lnTo>
                      <a:lnTo>
                        <a:pt x="91" y="288"/>
                      </a:lnTo>
                      <a:lnTo>
                        <a:pt x="91" y="288"/>
                      </a:lnTo>
                      <a:lnTo>
                        <a:pt x="88" y="287"/>
                      </a:lnTo>
                      <a:lnTo>
                        <a:pt x="86" y="286"/>
                      </a:lnTo>
                      <a:lnTo>
                        <a:pt x="82" y="286"/>
                      </a:lnTo>
                      <a:lnTo>
                        <a:pt x="76" y="286"/>
                      </a:lnTo>
                      <a:lnTo>
                        <a:pt x="75" y="286"/>
                      </a:lnTo>
                      <a:lnTo>
                        <a:pt x="72" y="286"/>
                      </a:lnTo>
                      <a:lnTo>
                        <a:pt x="71" y="286"/>
                      </a:lnTo>
                      <a:lnTo>
                        <a:pt x="69" y="286"/>
                      </a:lnTo>
                      <a:lnTo>
                        <a:pt x="66" y="287"/>
                      </a:lnTo>
                      <a:lnTo>
                        <a:pt x="65" y="287"/>
                      </a:lnTo>
                      <a:lnTo>
                        <a:pt x="63" y="287"/>
                      </a:lnTo>
                      <a:lnTo>
                        <a:pt x="62" y="286"/>
                      </a:lnTo>
                      <a:lnTo>
                        <a:pt x="59" y="286"/>
                      </a:lnTo>
                      <a:lnTo>
                        <a:pt x="58" y="287"/>
                      </a:lnTo>
                      <a:lnTo>
                        <a:pt x="59" y="264"/>
                      </a:lnTo>
                      <a:lnTo>
                        <a:pt x="59" y="261"/>
                      </a:lnTo>
                      <a:lnTo>
                        <a:pt x="61" y="258"/>
                      </a:lnTo>
                      <a:lnTo>
                        <a:pt x="58" y="260"/>
                      </a:lnTo>
                      <a:lnTo>
                        <a:pt x="51" y="265"/>
                      </a:lnTo>
                      <a:lnTo>
                        <a:pt x="46" y="267"/>
                      </a:lnTo>
                      <a:lnTo>
                        <a:pt x="43" y="268"/>
                      </a:lnTo>
                      <a:lnTo>
                        <a:pt x="39" y="268"/>
                      </a:lnTo>
                      <a:lnTo>
                        <a:pt x="32" y="268"/>
                      </a:lnTo>
                      <a:lnTo>
                        <a:pt x="32" y="268"/>
                      </a:lnTo>
                      <a:lnTo>
                        <a:pt x="32" y="267"/>
                      </a:lnTo>
                      <a:lnTo>
                        <a:pt x="32" y="265"/>
                      </a:lnTo>
                      <a:lnTo>
                        <a:pt x="29" y="261"/>
                      </a:lnTo>
                      <a:lnTo>
                        <a:pt x="29" y="260"/>
                      </a:lnTo>
                      <a:lnTo>
                        <a:pt x="25" y="258"/>
                      </a:lnTo>
                      <a:lnTo>
                        <a:pt x="20" y="258"/>
                      </a:lnTo>
                      <a:lnTo>
                        <a:pt x="13" y="258"/>
                      </a:lnTo>
                      <a:lnTo>
                        <a:pt x="15" y="255"/>
                      </a:lnTo>
                      <a:lnTo>
                        <a:pt x="16" y="254"/>
                      </a:lnTo>
                      <a:lnTo>
                        <a:pt x="17" y="251"/>
                      </a:lnTo>
                      <a:lnTo>
                        <a:pt x="16" y="250"/>
                      </a:lnTo>
                      <a:lnTo>
                        <a:pt x="15" y="248"/>
                      </a:lnTo>
                      <a:lnTo>
                        <a:pt x="13" y="245"/>
                      </a:lnTo>
                      <a:lnTo>
                        <a:pt x="12" y="245"/>
                      </a:lnTo>
                      <a:lnTo>
                        <a:pt x="12" y="244"/>
                      </a:lnTo>
                      <a:lnTo>
                        <a:pt x="10" y="242"/>
                      </a:lnTo>
                      <a:lnTo>
                        <a:pt x="10" y="241"/>
                      </a:lnTo>
                      <a:lnTo>
                        <a:pt x="6" y="237"/>
                      </a:lnTo>
                      <a:lnTo>
                        <a:pt x="5" y="234"/>
                      </a:lnTo>
                      <a:lnTo>
                        <a:pt x="3" y="232"/>
                      </a:lnTo>
                      <a:lnTo>
                        <a:pt x="3" y="231"/>
                      </a:lnTo>
                      <a:lnTo>
                        <a:pt x="5" y="231"/>
                      </a:lnTo>
                      <a:lnTo>
                        <a:pt x="5" y="230"/>
                      </a:lnTo>
                      <a:lnTo>
                        <a:pt x="5" y="230"/>
                      </a:lnTo>
                      <a:lnTo>
                        <a:pt x="3" y="230"/>
                      </a:lnTo>
                      <a:lnTo>
                        <a:pt x="3" y="228"/>
                      </a:lnTo>
                      <a:lnTo>
                        <a:pt x="3" y="228"/>
                      </a:lnTo>
                      <a:lnTo>
                        <a:pt x="0" y="227"/>
                      </a:lnTo>
                      <a:lnTo>
                        <a:pt x="0" y="225"/>
                      </a:lnTo>
                      <a:lnTo>
                        <a:pt x="0" y="224"/>
                      </a:lnTo>
                      <a:lnTo>
                        <a:pt x="0" y="222"/>
                      </a:lnTo>
                      <a:lnTo>
                        <a:pt x="0" y="222"/>
                      </a:lnTo>
                      <a:lnTo>
                        <a:pt x="0" y="222"/>
                      </a:lnTo>
                      <a:lnTo>
                        <a:pt x="3" y="221"/>
                      </a:lnTo>
                      <a:lnTo>
                        <a:pt x="3" y="221"/>
                      </a:lnTo>
                      <a:lnTo>
                        <a:pt x="3" y="221"/>
                      </a:lnTo>
                      <a:lnTo>
                        <a:pt x="3" y="218"/>
                      </a:lnTo>
                      <a:lnTo>
                        <a:pt x="3" y="218"/>
                      </a:lnTo>
                      <a:lnTo>
                        <a:pt x="3" y="217"/>
                      </a:lnTo>
                      <a:lnTo>
                        <a:pt x="3" y="215"/>
                      </a:lnTo>
                      <a:lnTo>
                        <a:pt x="3" y="215"/>
                      </a:lnTo>
                      <a:lnTo>
                        <a:pt x="3" y="214"/>
                      </a:lnTo>
                      <a:lnTo>
                        <a:pt x="5" y="214"/>
                      </a:lnTo>
                      <a:lnTo>
                        <a:pt x="5" y="212"/>
                      </a:lnTo>
                      <a:lnTo>
                        <a:pt x="7" y="211"/>
                      </a:lnTo>
                      <a:lnTo>
                        <a:pt x="12" y="208"/>
                      </a:lnTo>
                      <a:lnTo>
                        <a:pt x="13" y="207"/>
                      </a:lnTo>
                      <a:lnTo>
                        <a:pt x="15" y="205"/>
                      </a:lnTo>
                      <a:lnTo>
                        <a:pt x="15" y="204"/>
                      </a:lnTo>
                      <a:lnTo>
                        <a:pt x="13" y="202"/>
                      </a:lnTo>
                      <a:lnTo>
                        <a:pt x="13" y="199"/>
                      </a:lnTo>
                      <a:lnTo>
                        <a:pt x="13" y="198"/>
                      </a:lnTo>
                      <a:lnTo>
                        <a:pt x="15" y="195"/>
                      </a:lnTo>
                      <a:lnTo>
                        <a:pt x="16" y="194"/>
                      </a:lnTo>
                      <a:lnTo>
                        <a:pt x="17" y="191"/>
                      </a:lnTo>
                      <a:lnTo>
                        <a:pt x="17" y="189"/>
                      </a:lnTo>
                      <a:lnTo>
                        <a:pt x="17" y="185"/>
                      </a:lnTo>
                      <a:lnTo>
                        <a:pt x="19" y="184"/>
                      </a:lnTo>
                      <a:lnTo>
                        <a:pt x="20" y="182"/>
                      </a:lnTo>
                      <a:lnTo>
                        <a:pt x="22" y="181"/>
                      </a:lnTo>
                      <a:lnTo>
                        <a:pt x="23" y="181"/>
                      </a:lnTo>
                      <a:lnTo>
                        <a:pt x="25" y="179"/>
                      </a:lnTo>
                      <a:lnTo>
                        <a:pt x="33" y="173"/>
                      </a:lnTo>
                      <a:lnTo>
                        <a:pt x="38" y="172"/>
                      </a:lnTo>
                      <a:lnTo>
                        <a:pt x="42" y="171"/>
                      </a:lnTo>
                      <a:lnTo>
                        <a:pt x="51" y="169"/>
                      </a:lnTo>
                      <a:lnTo>
                        <a:pt x="52" y="168"/>
                      </a:lnTo>
                      <a:lnTo>
                        <a:pt x="53" y="168"/>
                      </a:lnTo>
                      <a:lnTo>
                        <a:pt x="55" y="166"/>
                      </a:lnTo>
                      <a:lnTo>
                        <a:pt x="56" y="165"/>
                      </a:lnTo>
                      <a:lnTo>
                        <a:pt x="59" y="165"/>
                      </a:lnTo>
                      <a:lnTo>
                        <a:pt x="61" y="165"/>
                      </a:lnTo>
                      <a:lnTo>
                        <a:pt x="62" y="165"/>
                      </a:lnTo>
                      <a:lnTo>
                        <a:pt x="63" y="166"/>
                      </a:lnTo>
                      <a:lnTo>
                        <a:pt x="66" y="168"/>
                      </a:lnTo>
                      <a:lnTo>
                        <a:pt x="68" y="168"/>
                      </a:lnTo>
                      <a:lnTo>
                        <a:pt x="69" y="168"/>
                      </a:lnTo>
                      <a:lnTo>
                        <a:pt x="69" y="168"/>
                      </a:lnTo>
                      <a:lnTo>
                        <a:pt x="71" y="166"/>
                      </a:lnTo>
                      <a:lnTo>
                        <a:pt x="73" y="156"/>
                      </a:lnTo>
                      <a:lnTo>
                        <a:pt x="79" y="116"/>
                      </a:lnTo>
                      <a:lnTo>
                        <a:pt x="79" y="113"/>
                      </a:lnTo>
                      <a:lnTo>
                        <a:pt x="79" y="110"/>
                      </a:lnTo>
                      <a:lnTo>
                        <a:pt x="79" y="109"/>
                      </a:lnTo>
                      <a:lnTo>
                        <a:pt x="76" y="106"/>
                      </a:lnTo>
                      <a:lnTo>
                        <a:pt x="76" y="104"/>
                      </a:lnTo>
                      <a:lnTo>
                        <a:pt x="76" y="103"/>
                      </a:lnTo>
                      <a:lnTo>
                        <a:pt x="76" y="102"/>
                      </a:lnTo>
                      <a:lnTo>
                        <a:pt x="76" y="102"/>
                      </a:lnTo>
                      <a:lnTo>
                        <a:pt x="76" y="100"/>
                      </a:lnTo>
                      <a:lnTo>
                        <a:pt x="75" y="99"/>
                      </a:lnTo>
                      <a:lnTo>
                        <a:pt x="71" y="97"/>
                      </a:lnTo>
                      <a:lnTo>
                        <a:pt x="69" y="96"/>
                      </a:lnTo>
                      <a:lnTo>
                        <a:pt x="68" y="93"/>
                      </a:lnTo>
                      <a:lnTo>
                        <a:pt x="68" y="92"/>
                      </a:lnTo>
                      <a:lnTo>
                        <a:pt x="69" y="87"/>
                      </a:lnTo>
                      <a:lnTo>
                        <a:pt x="68" y="84"/>
                      </a:lnTo>
                      <a:lnTo>
                        <a:pt x="69" y="83"/>
                      </a:lnTo>
                      <a:lnTo>
                        <a:pt x="69" y="81"/>
                      </a:lnTo>
                      <a:lnTo>
                        <a:pt x="69" y="81"/>
                      </a:lnTo>
                      <a:lnTo>
                        <a:pt x="72" y="80"/>
                      </a:lnTo>
                      <a:lnTo>
                        <a:pt x="76" y="79"/>
                      </a:lnTo>
                      <a:lnTo>
                        <a:pt x="78" y="79"/>
                      </a:lnTo>
                      <a:lnTo>
                        <a:pt x="79" y="80"/>
                      </a:lnTo>
                      <a:lnTo>
                        <a:pt x="81" y="80"/>
                      </a:lnTo>
                      <a:lnTo>
                        <a:pt x="84" y="80"/>
                      </a:lnTo>
                      <a:lnTo>
                        <a:pt x="85" y="80"/>
                      </a:lnTo>
                      <a:lnTo>
                        <a:pt x="85" y="79"/>
                      </a:lnTo>
                      <a:lnTo>
                        <a:pt x="84" y="76"/>
                      </a:lnTo>
                      <a:lnTo>
                        <a:pt x="82" y="74"/>
                      </a:lnTo>
                      <a:lnTo>
                        <a:pt x="81" y="73"/>
                      </a:lnTo>
                      <a:lnTo>
                        <a:pt x="79" y="73"/>
                      </a:lnTo>
                      <a:lnTo>
                        <a:pt x="76" y="73"/>
                      </a:lnTo>
                      <a:lnTo>
                        <a:pt x="72" y="73"/>
                      </a:lnTo>
                      <a:lnTo>
                        <a:pt x="72" y="67"/>
                      </a:lnTo>
                      <a:lnTo>
                        <a:pt x="72" y="64"/>
                      </a:lnTo>
                      <a:lnTo>
                        <a:pt x="73" y="61"/>
                      </a:lnTo>
                      <a:lnTo>
                        <a:pt x="75" y="61"/>
                      </a:lnTo>
                      <a:lnTo>
                        <a:pt x="76" y="60"/>
                      </a:lnTo>
                      <a:lnTo>
                        <a:pt x="79" y="61"/>
                      </a:lnTo>
                      <a:lnTo>
                        <a:pt x="102" y="61"/>
                      </a:lnTo>
                      <a:lnTo>
                        <a:pt x="101" y="60"/>
                      </a:lnTo>
                      <a:lnTo>
                        <a:pt x="101" y="58"/>
                      </a:lnTo>
                      <a:lnTo>
                        <a:pt x="101" y="58"/>
                      </a:lnTo>
                      <a:lnTo>
                        <a:pt x="101" y="57"/>
                      </a:lnTo>
                      <a:lnTo>
                        <a:pt x="102" y="57"/>
                      </a:lnTo>
                      <a:lnTo>
                        <a:pt x="102" y="58"/>
                      </a:lnTo>
                      <a:lnTo>
                        <a:pt x="104" y="60"/>
                      </a:lnTo>
                      <a:lnTo>
                        <a:pt x="105" y="60"/>
                      </a:lnTo>
                      <a:lnTo>
                        <a:pt x="107" y="60"/>
                      </a:lnTo>
                      <a:lnTo>
                        <a:pt x="109" y="58"/>
                      </a:lnTo>
                      <a:lnTo>
                        <a:pt x="111" y="57"/>
                      </a:lnTo>
                      <a:lnTo>
                        <a:pt x="112" y="56"/>
                      </a:lnTo>
                      <a:lnTo>
                        <a:pt x="115" y="56"/>
                      </a:lnTo>
                      <a:lnTo>
                        <a:pt x="118" y="57"/>
                      </a:lnTo>
                      <a:lnTo>
                        <a:pt x="119" y="58"/>
                      </a:lnTo>
                      <a:lnTo>
                        <a:pt x="121" y="61"/>
                      </a:lnTo>
                      <a:lnTo>
                        <a:pt x="121" y="64"/>
                      </a:lnTo>
                      <a:lnTo>
                        <a:pt x="121" y="69"/>
                      </a:lnTo>
                      <a:lnTo>
                        <a:pt x="121" y="70"/>
                      </a:lnTo>
                      <a:lnTo>
                        <a:pt x="125" y="70"/>
                      </a:lnTo>
                      <a:lnTo>
                        <a:pt x="129" y="74"/>
                      </a:lnTo>
                      <a:lnTo>
                        <a:pt x="132" y="77"/>
                      </a:lnTo>
                      <a:lnTo>
                        <a:pt x="134" y="79"/>
                      </a:lnTo>
                      <a:lnTo>
                        <a:pt x="138" y="79"/>
                      </a:lnTo>
                      <a:lnTo>
                        <a:pt x="140" y="77"/>
                      </a:lnTo>
                      <a:lnTo>
                        <a:pt x="142" y="76"/>
                      </a:lnTo>
                      <a:lnTo>
                        <a:pt x="145" y="74"/>
                      </a:lnTo>
                      <a:lnTo>
                        <a:pt x="147" y="76"/>
                      </a:lnTo>
                      <a:lnTo>
                        <a:pt x="148" y="77"/>
                      </a:lnTo>
                      <a:lnTo>
                        <a:pt x="148" y="79"/>
                      </a:lnTo>
                      <a:lnTo>
                        <a:pt x="150" y="80"/>
                      </a:lnTo>
                      <a:lnTo>
                        <a:pt x="155" y="73"/>
                      </a:lnTo>
                      <a:lnTo>
                        <a:pt x="157" y="71"/>
                      </a:lnTo>
                      <a:lnTo>
                        <a:pt x="158" y="70"/>
                      </a:lnTo>
                      <a:lnTo>
                        <a:pt x="167" y="66"/>
                      </a:lnTo>
                      <a:lnTo>
                        <a:pt x="168" y="66"/>
                      </a:lnTo>
                      <a:lnTo>
                        <a:pt x="170" y="66"/>
                      </a:lnTo>
                      <a:lnTo>
                        <a:pt x="171" y="64"/>
                      </a:lnTo>
                      <a:lnTo>
                        <a:pt x="173" y="63"/>
                      </a:lnTo>
                      <a:lnTo>
                        <a:pt x="173" y="63"/>
                      </a:lnTo>
                      <a:lnTo>
                        <a:pt x="174" y="58"/>
                      </a:lnTo>
                      <a:lnTo>
                        <a:pt x="174" y="58"/>
                      </a:lnTo>
                      <a:lnTo>
                        <a:pt x="177" y="57"/>
                      </a:lnTo>
                      <a:lnTo>
                        <a:pt x="181" y="56"/>
                      </a:lnTo>
                      <a:lnTo>
                        <a:pt x="183" y="54"/>
                      </a:lnTo>
                      <a:lnTo>
                        <a:pt x="186" y="53"/>
                      </a:lnTo>
                      <a:lnTo>
                        <a:pt x="186" y="51"/>
                      </a:lnTo>
                      <a:lnTo>
                        <a:pt x="186" y="50"/>
                      </a:lnTo>
                      <a:lnTo>
                        <a:pt x="181" y="48"/>
                      </a:lnTo>
                      <a:lnTo>
                        <a:pt x="178" y="48"/>
                      </a:lnTo>
                      <a:lnTo>
                        <a:pt x="177" y="48"/>
                      </a:lnTo>
                      <a:lnTo>
                        <a:pt x="175" y="48"/>
                      </a:lnTo>
                      <a:lnTo>
                        <a:pt x="174" y="47"/>
                      </a:lnTo>
                      <a:lnTo>
                        <a:pt x="174" y="47"/>
                      </a:lnTo>
                      <a:lnTo>
                        <a:pt x="175" y="46"/>
                      </a:lnTo>
                      <a:lnTo>
                        <a:pt x="175" y="44"/>
                      </a:lnTo>
                      <a:lnTo>
                        <a:pt x="171" y="36"/>
                      </a:lnTo>
                      <a:lnTo>
                        <a:pt x="170" y="28"/>
                      </a:lnTo>
                      <a:lnTo>
                        <a:pt x="168" y="27"/>
                      </a:lnTo>
                      <a:lnTo>
                        <a:pt x="164" y="21"/>
                      </a:lnTo>
                      <a:lnTo>
                        <a:pt x="163" y="18"/>
                      </a:lnTo>
                      <a:lnTo>
                        <a:pt x="161" y="17"/>
                      </a:lnTo>
                      <a:lnTo>
                        <a:pt x="161" y="17"/>
                      </a:lnTo>
                      <a:lnTo>
                        <a:pt x="163" y="15"/>
                      </a:lnTo>
                      <a:lnTo>
                        <a:pt x="163" y="17"/>
                      </a:lnTo>
                      <a:lnTo>
                        <a:pt x="164" y="18"/>
                      </a:lnTo>
                      <a:lnTo>
                        <a:pt x="164" y="18"/>
                      </a:lnTo>
                      <a:lnTo>
                        <a:pt x="167" y="18"/>
                      </a:lnTo>
                      <a:lnTo>
                        <a:pt x="171" y="20"/>
                      </a:lnTo>
                      <a:lnTo>
                        <a:pt x="173" y="20"/>
                      </a:lnTo>
                      <a:lnTo>
                        <a:pt x="174" y="21"/>
                      </a:lnTo>
                      <a:lnTo>
                        <a:pt x="175" y="21"/>
                      </a:lnTo>
                      <a:lnTo>
                        <a:pt x="175" y="23"/>
                      </a:lnTo>
                      <a:lnTo>
                        <a:pt x="177" y="23"/>
                      </a:lnTo>
                      <a:lnTo>
                        <a:pt x="183" y="23"/>
                      </a:lnTo>
                      <a:lnTo>
                        <a:pt x="184" y="23"/>
                      </a:lnTo>
                      <a:lnTo>
                        <a:pt x="186" y="23"/>
                      </a:lnTo>
                      <a:lnTo>
                        <a:pt x="186" y="23"/>
                      </a:lnTo>
                      <a:lnTo>
                        <a:pt x="187" y="23"/>
                      </a:lnTo>
                      <a:lnTo>
                        <a:pt x="188" y="24"/>
                      </a:lnTo>
                      <a:lnTo>
                        <a:pt x="191" y="27"/>
                      </a:lnTo>
                      <a:lnTo>
                        <a:pt x="193" y="27"/>
                      </a:lnTo>
                      <a:lnTo>
                        <a:pt x="196" y="28"/>
                      </a:lnTo>
                      <a:lnTo>
                        <a:pt x="197" y="25"/>
                      </a:lnTo>
                      <a:lnTo>
                        <a:pt x="197" y="23"/>
                      </a:lnTo>
                      <a:lnTo>
                        <a:pt x="198" y="21"/>
                      </a:lnTo>
                      <a:lnTo>
                        <a:pt x="201" y="20"/>
                      </a:lnTo>
                      <a:lnTo>
                        <a:pt x="204" y="18"/>
                      </a:lnTo>
                      <a:lnTo>
                        <a:pt x="207" y="18"/>
                      </a:lnTo>
                      <a:lnTo>
                        <a:pt x="210" y="18"/>
                      </a:lnTo>
                      <a:lnTo>
                        <a:pt x="214" y="18"/>
                      </a:lnTo>
                      <a:lnTo>
                        <a:pt x="216" y="17"/>
                      </a:lnTo>
                      <a:lnTo>
                        <a:pt x="217" y="17"/>
                      </a:lnTo>
                      <a:lnTo>
                        <a:pt x="219" y="15"/>
                      </a:lnTo>
                      <a:lnTo>
                        <a:pt x="221" y="13"/>
                      </a:lnTo>
                      <a:lnTo>
                        <a:pt x="223" y="13"/>
                      </a:lnTo>
                      <a:lnTo>
                        <a:pt x="226" y="11"/>
                      </a:lnTo>
                      <a:lnTo>
                        <a:pt x="229" y="11"/>
                      </a:lnTo>
                      <a:lnTo>
                        <a:pt x="230" y="10"/>
                      </a:lnTo>
                      <a:lnTo>
                        <a:pt x="231" y="8"/>
                      </a:lnTo>
                      <a:lnTo>
                        <a:pt x="233" y="5"/>
                      </a:lnTo>
                      <a:lnTo>
                        <a:pt x="234" y="4"/>
                      </a:lnTo>
                      <a:lnTo>
                        <a:pt x="234" y="1"/>
                      </a:lnTo>
                      <a:lnTo>
                        <a:pt x="233" y="0"/>
                      </a:lnTo>
                      <a:lnTo>
                        <a:pt x="234" y="0"/>
                      </a:lnTo>
                      <a:lnTo>
                        <a:pt x="236" y="0"/>
                      </a:lnTo>
                      <a:lnTo>
                        <a:pt x="237" y="0"/>
                      </a:lnTo>
                      <a:lnTo>
                        <a:pt x="239" y="0"/>
                      </a:lnTo>
                      <a:lnTo>
                        <a:pt x="240" y="0"/>
                      </a:lnTo>
                      <a:lnTo>
                        <a:pt x="242" y="0"/>
                      </a:lnTo>
                      <a:lnTo>
                        <a:pt x="243" y="0"/>
                      </a:lnTo>
                      <a:lnTo>
                        <a:pt x="244" y="1"/>
                      </a:lnTo>
                      <a:lnTo>
                        <a:pt x="244" y="2"/>
                      </a:lnTo>
                      <a:lnTo>
                        <a:pt x="246" y="4"/>
                      </a:lnTo>
                      <a:lnTo>
                        <a:pt x="244" y="5"/>
                      </a:lnTo>
                      <a:lnTo>
                        <a:pt x="243" y="10"/>
                      </a:lnTo>
                      <a:lnTo>
                        <a:pt x="243" y="11"/>
                      </a:lnTo>
                      <a:lnTo>
                        <a:pt x="244" y="13"/>
                      </a:lnTo>
                      <a:lnTo>
                        <a:pt x="246" y="13"/>
                      </a:lnTo>
                      <a:lnTo>
                        <a:pt x="247" y="13"/>
                      </a:lnTo>
                      <a:lnTo>
                        <a:pt x="249" y="14"/>
                      </a:lnTo>
                      <a:lnTo>
                        <a:pt x="250" y="14"/>
                      </a:lnTo>
                      <a:lnTo>
                        <a:pt x="250" y="15"/>
                      </a:lnTo>
                      <a:lnTo>
                        <a:pt x="250" y="17"/>
                      </a:lnTo>
                      <a:lnTo>
                        <a:pt x="252" y="18"/>
                      </a:lnTo>
                      <a:lnTo>
                        <a:pt x="252" y="20"/>
                      </a:lnTo>
                      <a:lnTo>
                        <a:pt x="253" y="21"/>
                      </a:lnTo>
                      <a:lnTo>
                        <a:pt x="253" y="23"/>
                      </a:lnTo>
                      <a:lnTo>
                        <a:pt x="253" y="24"/>
                      </a:lnTo>
                      <a:lnTo>
                        <a:pt x="252" y="25"/>
                      </a:lnTo>
                      <a:lnTo>
                        <a:pt x="250" y="27"/>
                      </a:lnTo>
                      <a:lnTo>
                        <a:pt x="250" y="27"/>
                      </a:lnTo>
                      <a:lnTo>
                        <a:pt x="249" y="28"/>
                      </a:lnTo>
                      <a:lnTo>
                        <a:pt x="249" y="28"/>
                      </a:lnTo>
                      <a:lnTo>
                        <a:pt x="249" y="28"/>
                      </a:lnTo>
                      <a:lnTo>
                        <a:pt x="249" y="30"/>
                      </a:lnTo>
                      <a:lnTo>
                        <a:pt x="249" y="31"/>
                      </a:lnTo>
                      <a:lnTo>
                        <a:pt x="246" y="38"/>
                      </a:lnTo>
                      <a:lnTo>
                        <a:pt x="246" y="41"/>
                      </a:lnTo>
                      <a:lnTo>
                        <a:pt x="246" y="44"/>
                      </a:lnTo>
                      <a:lnTo>
                        <a:pt x="246" y="47"/>
                      </a:lnTo>
                      <a:lnTo>
                        <a:pt x="247" y="50"/>
                      </a:lnTo>
                      <a:lnTo>
                        <a:pt x="249" y="51"/>
                      </a:lnTo>
                      <a:lnTo>
                        <a:pt x="249" y="51"/>
                      </a:lnTo>
                      <a:lnTo>
                        <a:pt x="249" y="53"/>
                      </a:lnTo>
                      <a:lnTo>
                        <a:pt x="250" y="54"/>
                      </a:lnTo>
                      <a:lnTo>
                        <a:pt x="250" y="54"/>
                      </a:lnTo>
                      <a:lnTo>
                        <a:pt x="250" y="57"/>
                      </a:lnTo>
                      <a:lnTo>
                        <a:pt x="250" y="58"/>
                      </a:lnTo>
                      <a:lnTo>
                        <a:pt x="252" y="61"/>
                      </a:lnTo>
                      <a:lnTo>
                        <a:pt x="254" y="63"/>
                      </a:lnTo>
                      <a:lnTo>
                        <a:pt x="257" y="66"/>
                      </a:lnTo>
                      <a:lnTo>
                        <a:pt x="260" y="67"/>
                      </a:lnTo>
                      <a:lnTo>
                        <a:pt x="263" y="69"/>
                      </a:lnTo>
                      <a:lnTo>
                        <a:pt x="266" y="70"/>
                      </a:lnTo>
                      <a:lnTo>
                        <a:pt x="269" y="70"/>
                      </a:lnTo>
                      <a:lnTo>
                        <a:pt x="272" y="69"/>
                      </a:lnTo>
                      <a:lnTo>
                        <a:pt x="272" y="67"/>
                      </a:lnTo>
                      <a:lnTo>
                        <a:pt x="273" y="66"/>
                      </a:lnTo>
                      <a:lnTo>
                        <a:pt x="273" y="64"/>
                      </a:lnTo>
                      <a:lnTo>
                        <a:pt x="275" y="64"/>
                      </a:lnTo>
                      <a:lnTo>
                        <a:pt x="276" y="64"/>
                      </a:lnTo>
                      <a:lnTo>
                        <a:pt x="277" y="64"/>
                      </a:lnTo>
                      <a:lnTo>
                        <a:pt x="279" y="64"/>
                      </a:lnTo>
                      <a:lnTo>
                        <a:pt x="280" y="64"/>
                      </a:lnTo>
                      <a:lnTo>
                        <a:pt x="280" y="64"/>
                      </a:lnTo>
                      <a:lnTo>
                        <a:pt x="280" y="63"/>
                      </a:lnTo>
                      <a:lnTo>
                        <a:pt x="280" y="63"/>
                      </a:lnTo>
                      <a:lnTo>
                        <a:pt x="282" y="63"/>
                      </a:lnTo>
                      <a:lnTo>
                        <a:pt x="285" y="61"/>
                      </a:lnTo>
                      <a:lnTo>
                        <a:pt x="287" y="61"/>
                      </a:lnTo>
                      <a:lnTo>
                        <a:pt x="289" y="60"/>
                      </a:lnTo>
                      <a:lnTo>
                        <a:pt x="290" y="58"/>
                      </a:lnTo>
                      <a:lnTo>
                        <a:pt x="292" y="57"/>
                      </a:lnTo>
                      <a:lnTo>
                        <a:pt x="295" y="57"/>
                      </a:lnTo>
                      <a:lnTo>
                        <a:pt x="296" y="57"/>
                      </a:lnTo>
                      <a:lnTo>
                        <a:pt x="298" y="57"/>
                      </a:lnTo>
                      <a:lnTo>
                        <a:pt x="299" y="58"/>
                      </a:lnTo>
                      <a:lnTo>
                        <a:pt x="302" y="58"/>
                      </a:lnTo>
                      <a:lnTo>
                        <a:pt x="303" y="58"/>
                      </a:lnTo>
                      <a:lnTo>
                        <a:pt x="305" y="58"/>
                      </a:lnTo>
                      <a:lnTo>
                        <a:pt x="308" y="57"/>
                      </a:lnTo>
                      <a:lnTo>
                        <a:pt x="313" y="58"/>
                      </a:lnTo>
                      <a:lnTo>
                        <a:pt x="316" y="58"/>
                      </a:lnTo>
                      <a:lnTo>
                        <a:pt x="318" y="56"/>
                      </a:lnTo>
                      <a:lnTo>
                        <a:pt x="316" y="54"/>
                      </a:lnTo>
                      <a:lnTo>
                        <a:pt x="315" y="53"/>
                      </a:lnTo>
                      <a:lnTo>
                        <a:pt x="315" y="51"/>
                      </a:lnTo>
                      <a:lnTo>
                        <a:pt x="315" y="50"/>
                      </a:lnTo>
                      <a:lnTo>
                        <a:pt x="316" y="48"/>
                      </a:lnTo>
                      <a:lnTo>
                        <a:pt x="316" y="48"/>
                      </a:lnTo>
                      <a:lnTo>
                        <a:pt x="321" y="48"/>
                      </a:lnTo>
                      <a:lnTo>
                        <a:pt x="322" y="48"/>
                      </a:lnTo>
                      <a:lnTo>
                        <a:pt x="323" y="48"/>
                      </a:lnTo>
                      <a:lnTo>
                        <a:pt x="325" y="48"/>
                      </a:lnTo>
                      <a:lnTo>
                        <a:pt x="332" y="47"/>
                      </a:lnTo>
                      <a:lnTo>
                        <a:pt x="333" y="46"/>
                      </a:lnTo>
                      <a:lnTo>
                        <a:pt x="335" y="47"/>
                      </a:lnTo>
                      <a:lnTo>
                        <a:pt x="336" y="48"/>
                      </a:lnTo>
                      <a:lnTo>
                        <a:pt x="341" y="51"/>
                      </a:lnTo>
                      <a:lnTo>
                        <a:pt x="342" y="51"/>
                      </a:lnTo>
                      <a:lnTo>
                        <a:pt x="343" y="53"/>
                      </a:lnTo>
                      <a:lnTo>
                        <a:pt x="346" y="54"/>
                      </a:lnTo>
                      <a:lnTo>
                        <a:pt x="348" y="54"/>
                      </a:lnTo>
                      <a:lnTo>
                        <a:pt x="351" y="53"/>
                      </a:lnTo>
                      <a:lnTo>
                        <a:pt x="354" y="51"/>
                      </a:lnTo>
                      <a:lnTo>
                        <a:pt x="355" y="50"/>
                      </a:lnTo>
                      <a:lnTo>
                        <a:pt x="356" y="51"/>
                      </a:lnTo>
                      <a:lnTo>
                        <a:pt x="358" y="51"/>
                      </a:lnTo>
                      <a:lnTo>
                        <a:pt x="359" y="51"/>
                      </a:lnTo>
                      <a:lnTo>
                        <a:pt x="361" y="51"/>
                      </a:lnTo>
                      <a:lnTo>
                        <a:pt x="362" y="51"/>
                      </a:lnTo>
                      <a:lnTo>
                        <a:pt x="364" y="51"/>
                      </a:lnTo>
                      <a:lnTo>
                        <a:pt x="365" y="53"/>
                      </a:lnTo>
                      <a:lnTo>
                        <a:pt x="366" y="53"/>
                      </a:lnTo>
                      <a:lnTo>
                        <a:pt x="368" y="53"/>
                      </a:lnTo>
                      <a:lnTo>
                        <a:pt x="368" y="53"/>
                      </a:lnTo>
                      <a:lnTo>
                        <a:pt x="369" y="53"/>
                      </a:lnTo>
                      <a:lnTo>
                        <a:pt x="371" y="53"/>
                      </a:lnTo>
                      <a:lnTo>
                        <a:pt x="374" y="50"/>
                      </a:lnTo>
                      <a:lnTo>
                        <a:pt x="377" y="46"/>
                      </a:lnTo>
                      <a:lnTo>
                        <a:pt x="381" y="36"/>
                      </a:lnTo>
                      <a:lnTo>
                        <a:pt x="385" y="27"/>
                      </a:lnTo>
                      <a:lnTo>
                        <a:pt x="389" y="23"/>
                      </a:lnTo>
                      <a:lnTo>
                        <a:pt x="392" y="20"/>
                      </a:lnTo>
                      <a:lnTo>
                        <a:pt x="392" y="18"/>
                      </a:lnTo>
                      <a:lnTo>
                        <a:pt x="394" y="17"/>
                      </a:lnTo>
                      <a:lnTo>
                        <a:pt x="394" y="17"/>
                      </a:lnTo>
                      <a:lnTo>
                        <a:pt x="395" y="15"/>
                      </a:lnTo>
                      <a:lnTo>
                        <a:pt x="397" y="15"/>
                      </a:lnTo>
                      <a:lnTo>
                        <a:pt x="398" y="17"/>
                      </a:lnTo>
                      <a:lnTo>
                        <a:pt x="398" y="18"/>
                      </a:lnTo>
                      <a:lnTo>
                        <a:pt x="399" y="20"/>
                      </a:lnTo>
                      <a:lnTo>
                        <a:pt x="401" y="23"/>
                      </a:lnTo>
                      <a:lnTo>
                        <a:pt x="402" y="25"/>
                      </a:lnTo>
                      <a:lnTo>
                        <a:pt x="404" y="36"/>
                      </a:lnTo>
                      <a:lnTo>
                        <a:pt x="408" y="50"/>
                      </a:lnTo>
                      <a:lnTo>
                        <a:pt x="410" y="53"/>
                      </a:lnTo>
                      <a:lnTo>
                        <a:pt x="408" y="54"/>
                      </a:lnTo>
                      <a:lnTo>
                        <a:pt x="410" y="54"/>
                      </a:lnTo>
                      <a:lnTo>
                        <a:pt x="411" y="56"/>
                      </a:lnTo>
                      <a:lnTo>
                        <a:pt x="411" y="56"/>
                      </a:lnTo>
                      <a:lnTo>
                        <a:pt x="412" y="57"/>
                      </a:lnTo>
                      <a:lnTo>
                        <a:pt x="412" y="58"/>
                      </a:lnTo>
                      <a:lnTo>
                        <a:pt x="414" y="60"/>
                      </a:lnTo>
                      <a:lnTo>
                        <a:pt x="418" y="60"/>
                      </a:lnTo>
                      <a:lnTo>
                        <a:pt x="421" y="61"/>
                      </a:lnTo>
                      <a:lnTo>
                        <a:pt x="422" y="64"/>
                      </a:lnTo>
                      <a:lnTo>
                        <a:pt x="424" y="67"/>
                      </a:lnTo>
                      <a:lnTo>
                        <a:pt x="422" y="70"/>
                      </a:lnTo>
                      <a:lnTo>
                        <a:pt x="421" y="73"/>
                      </a:lnTo>
                      <a:lnTo>
                        <a:pt x="415" y="79"/>
                      </a:lnTo>
                      <a:lnTo>
                        <a:pt x="410" y="86"/>
                      </a:lnTo>
                      <a:lnTo>
                        <a:pt x="407" y="89"/>
                      </a:lnTo>
                      <a:lnTo>
                        <a:pt x="402" y="92"/>
                      </a:lnTo>
                      <a:lnTo>
                        <a:pt x="401" y="92"/>
                      </a:lnTo>
                      <a:lnTo>
                        <a:pt x="399" y="93"/>
                      </a:lnTo>
                      <a:lnTo>
                        <a:pt x="399" y="93"/>
                      </a:lnTo>
                      <a:lnTo>
                        <a:pt x="399" y="93"/>
                      </a:lnTo>
                      <a:lnTo>
                        <a:pt x="398" y="94"/>
                      </a:lnTo>
                      <a:lnTo>
                        <a:pt x="398" y="96"/>
                      </a:lnTo>
                      <a:lnTo>
                        <a:pt x="392" y="103"/>
                      </a:lnTo>
                      <a:lnTo>
                        <a:pt x="391" y="106"/>
                      </a:lnTo>
                      <a:lnTo>
                        <a:pt x="389" y="110"/>
                      </a:lnTo>
                      <a:lnTo>
                        <a:pt x="389" y="112"/>
                      </a:lnTo>
                      <a:lnTo>
                        <a:pt x="389" y="112"/>
                      </a:lnTo>
                      <a:lnTo>
                        <a:pt x="388" y="113"/>
                      </a:lnTo>
                      <a:lnTo>
                        <a:pt x="387" y="113"/>
                      </a:lnTo>
                      <a:lnTo>
                        <a:pt x="387" y="115"/>
                      </a:lnTo>
                      <a:lnTo>
                        <a:pt x="387" y="115"/>
                      </a:lnTo>
                      <a:lnTo>
                        <a:pt x="387" y="116"/>
                      </a:lnTo>
                      <a:lnTo>
                        <a:pt x="385" y="116"/>
                      </a:lnTo>
                      <a:lnTo>
                        <a:pt x="384" y="116"/>
                      </a:lnTo>
                      <a:lnTo>
                        <a:pt x="382" y="116"/>
                      </a:lnTo>
                      <a:lnTo>
                        <a:pt x="382" y="116"/>
                      </a:lnTo>
                      <a:lnTo>
                        <a:pt x="379" y="116"/>
                      </a:lnTo>
                      <a:lnTo>
                        <a:pt x="377" y="119"/>
                      </a:lnTo>
                      <a:lnTo>
                        <a:pt x="375" y="119"/>
                      </a:lnTo>
                      <a:lnTo>
                        <a:pt x="382" y="120"/>
                      </a:lnTo>
                      <a:lnTo>
                        <a:pt x="385" y="120"/>
                      </a:lnTo>
                      <a:lnTo>
                        <a:pt x="388" y="119"/>
                      </a:lnTo>
                      <a:lnTo>
                        <a:pt x="397" y="113"/>
                      </a:lnTo>
                      <a:lnTo>
                        <a:pt x="401" y="110"/>
                      </a:lnTo>
                      <a:lnTo>
                        <a:pt x="404" y="109"/>
                      </a:lnTo>
                      <a:lnTo>
                        <a:pt x="405" y="109"/>
                      </a:lnTo>
                      <a:lnTo>
                        <a:pt x="407" y="109"/>
                      </a:lnTo>
                      <a:lnTo>
                        <a:pt x="405" y="110"/>
                      </a:lnTo>
                      <a:lnTo>
                        <a:pt x="405" y="112"/>
                      </a:lnTo>
                      <a:lnTo>
                        <a:pt x="407" y="116"/>
                      </a:lnTo>
                      <a:lnTo>
                        <a:pt x="408" y="120"/>
                      </a:lnTo>
                      <a:lnTo>
                        <a:pt x="411" y="125"/>
                      </a:lnTo>
                      <a:lnTo>
                        <a:pt x="414" y="127"/>
                      </a:lnTo>
                      <a:lnTo>
                        <a:pt x="415" y="127"/>
                      </a:lnTo>
                      <a:lnTo>
                        <a:pt x="418" y="125"/>
                      </a:lnTo>
                      <a:lnTo>
                        <a:pt x="418" y="125"/>
                      </a:lnTo>
                      <a:lnTo>
                        <a:pt x="420" y="125"/>
                      </a:lnTo>
                      <a:lnTo>
                        <a:pt x="421" y="125"/>
                      </a:lnTo>
                      <a:lnTo>
                        <a:pt x="424" y="125"/>
                      </a:lnTo>
                      <a:lnTo>
                        <a:pt x="427" y="125"/>
                      </a:lnTo>
                      <a:lnTo>
                        <a:pt x="428" y="125"/>
                      </a:lnTo>
                      <a:lnTo>
                        <a:pt x="431" y="123"/>
                      </a:lnTo>
                      <a:lnTo>
                        <a:pt x="434" y="122"/>
                      </a:lnTo>
                      <a:lnTo>
                        <a:pt x="430" y="135"/>
                      </a:lnTo>
                      <a:lnTo>
                        <a:pt x="428" y="139"/>
                      </a:lnTo>
                      <a:lnTo>
                        <a:pt x="431" y="136"/>
                      </a:lnTo>
                      <a:lnTo>
                        <a:pt x="433" y="132"/>
                      </a:lnTo>
                      <a:lnTo>
                        <a:pt x="434" y="129"/>
                      </a:lnTo>
                      <a:lnTo>
                        <a:pt x="435" y="125"/>
                      </a:lnTo>
                      <a:lnTo>
                        <a:pt x="437" y="125"/>
                      </a:lnTo>
                      <a:lnTo>
                        <a:pt x="438" y="125"/>
                      </a:lnTo>
                      <a:lnTo>
                        <a:pt x="440" y="123"/>
                      </a:lnTo>
                      <a:lnTo>
                        <a:pt x="440" y="123"/>
                      </a:lnTo>
                      <a:lnTo>
                        <a:pt x="441" y="120"/>
                      </a:lnTo>
                      <a:lnTo>
                        <a:pt x="443" y="120"/>
                      </a:lnTo>
                      <a:lnTo>
                        <a:pt x="444" y="119"/>
                      </a:lnTo>
                      <a:lnTo>
                        <a:pt x="445" y="117"/>
                      </a:lnTo>
                      <a:lnTo>
                        <a:pt x="447" y="119"/>
                      </a:lnTo>
                      <a:lnTo>
                        <a:pt x="448" y="120"/>
                      </a:lnTo>
                      <a:lnTo>
                        <a:pt x="450" y="119"/>
                      </a:lnTo>
                      <a:lnTo>
                        <a:pt x="450" y="119"/>
                      </a:lnTo>
                      <a:lnTo>
                        <a:pt x="450" y="117"/>
                      </a:lnTo>
                      <a:lnTo>
                        <a:pt x="448" y="116"/>
                      </a:lnTo>
                      <a:lnTo>
                        <a:pt x="450" y="112"/>
                      </a:lnTo>
                      <a:lnTo>
                        <a:pt x="453" y="107"/>
                      </a:lnTo>
                      <a:lnTo>
                        <a:pt x="454" y="104"/>
                      </a:lnTo>
                      <a:lnTo>
                        <a:pt x="455" y="104"/>
                      </a:lnTo>
                      <a:lnTo>
                        <a:pt x="455" y="104"/>
                      </a:lnTo>
                      <a:lnTo>
                        <a:pt x="457" y="104"/>
                      </a:lnTo>
                      <a:lnTo>
                        <a:pt x="457" y="104"/>
                      </a:lnTo>
                      <a:lnTo>
                        <a:pt x="458" y="104"/>
                      </a:lnTo>
                      <a:lnTo>
                        <a:pt x="460" y="103"/>
                      </a:lnTo>
                      <a:lnTo>
                        <a:pt x="460" y="103"/>
                      </a:lnTo>
                      <a:lnTo>
                        <a:pt x="461" y="103"/>
                      </a:lnTo>
                      <a:lnTo>
                        <a:pt x="464" y="104"/>
                      </a:lnTo>
                      <a:lnTo>
                        <a:pt x="466" y="104"/>
                      </a:lnTo>
                      <a:lnTo>
                        <a:pt x="467" y="104"/>
                      </a:lnTo>
                      <a:lnTo>
                        <a:pt x="466" y="104"/>
                      </a:lnTo>
                      <a:lnTo>
                        <a:pt x="467" y="103"/>
                      </a:lnTo>
                      <a:lnTo>
                        <a:pt x="467" y="103"/>
                      </a:lnTo>
                      <a:lnTo>
                        <a:pt x="468" y="103"/>
                      </a:lnTo>
                      <a:lnTo>
                        <a:pt x="470" y="103"/>
                      </a:lnTo>
                      <a:lnTo>
                        <a:pt x="471" y="104"/>
                      </a:lnTo>
                      <a:lnTo>
                        <a:pt x="471" y="104"/>
                      </a:lnTo>
                      <a:lnTo>
                        <a:pt x="473" y="104"/>
                      </a:lnTo>
                      <a:lnTo>
                        <a:pt x="474" y="104"/>
                      </a:lnTo>
                      <a:lnTo>
                        <a:pt x="476" y="104"/>
                      </a:lnTo>
                      <a:lnTo>
                        <a:pt x="478" y="106"/>
                      </a:lnTo>
                      <a:lnTo>
                        <a:pt x="481" y="109"/>
                      </a:lnTo>
                      <a:lnTo>
                        <a:pt x="484" y="110"/>
                      </a:lnTo>
                      <a:lnTo>
                        <a:pt x="487" y="110"/>
                      </a:lnTo>
                      <a:lnTo>
                        <a:pt x="489" y="110"/>
                      </a:lnTo>
                      <a:lnTo>
                        <a:pt x="491" y="112"/>
                      </a:lnTo>
                      <a:lnTo>
                        <a:pt x="499" y="115"/>
                      </a:lnTo>
                      <a:lnTo>
                        <a:pt x="501" y="116"/>
                      </a:lnTo>
                      <a:lnTo>
                        <a:pt x="503" y="119"/>
                      </a:lnTo>
                      <a:lnTo>
                        <a:pt x="503" y="122"/>
                      </a:lnTo>
                      <a:lnTo>
                        <a:pt x="504" y="120"/>
                      </a:lnTo>
                      <a:lnTo>
                        <a:pt x="506" y="119"/>
                      </a:lnTo>
                      <a:lnTo>
                        <a:pt x="507" y="117"/>
                      </a:lnTo>
                      <a:lnTo>
                        <a:pt x="509" y="117"/>
                      </a:lnTo>
                      <a:lnTo>
                        <a:pt x="510" y="119"/>
                      </a:lnTo>
                      <a:lnTo>
                        <a:pt x="513" y="122"/>
                      </a:lnTo>
                      <a:lnTo>
                        <a:pt x="514" y="122"/>
                      </a:lnTo>
                      <a:lnTo>
                        <a:pt x="513" y="123"/>
                      </a:lnTo>
                      <a:lnTo>
                        <a:pt x="513" y="123"/>
                      </a:lnTo>
                      <a:lnTo>
                        <a:pt x="514" y="123"/>
                      </a:lnTo>
                      <a:lnTo>
                        <a:pt x="516" y="122"/>
                      </a:lnTo>
                      <a:lnTo>
                        <a:pt x="517" y="125"/>
                      </a:lnTo>
                      <a:lnTo>
                        <a:pt x="517" y="127"/>
                      </a:lnTo>
                      <a:lnTo>
                        <a:pt x="516" y="130"/>
                      </a:lnTo>
                      <a:lnTo>
                        <a:pt x="513" y="132"/>
                      </a:lnTo>
                      <a:lnTo>
                        <a:pt x="514" y="132"/>
                      </a:lnTo>
                      <a:lnTo>
                        <a:pt x="514" y="133"/>
                      </a:lnTo>
                      <a:lnTo>
                        <a:pt x="516" y="133"/>
                      </a:lnTo>
                      <a:lnTo>
                        <a:pt x="516" y="132"/>
                      </a:lnTo>
                      <a:lnTo>
                        <a:pt x="517" y="130"/>
                      </a:lnTo>
                      <a:lnTo>
                        <a:pt x="519" y="130"/>
                      </a:lnTo>
                      <a:lnTo>
                        <a:pt x="520" y="132"/>
                      </a:lnTo>
                      <a:lnTo>
                        <a:pt x="520" y="132"/>
                      </a:lnTo>
                      <a:lnTo>
                        <a:pt x="519" y="133"/>
                      </a:lnTo>
                      <a:lnTo>
                        <a:pt x="517" y="136"/>
                      </a:lnTo>
                      <a:lnTo>
                        <a:pt x="516" y="138"/>
                      </a:lnTo>
                      <a:lnTo>
                        <a:pt x="514" y="142"/>
                      </a:lnTo>
                      <a:lnTo>
                        <a:pt x="514" y="145"/>
                      </a:lnTo>
                      <a:lnTo>
                        <a:pt x="514" y="148"/>
                      </a:lnTo>
                      <a:lnTo>
                        <a:pt x="516" y="148"/>
                      </a:lnTo>
                      <a:lnTo>
                        <a:pt x="517" y="146"/>
                      </a:lnTo>
                      <a:lnTo>
                        <a:pt x="519" y="145"/>
                      </a:lnTo>
                      <a:lnTo>
                        <a:pt x="519" y="143"/>
                      </a:lnTo>
                      <a:lnTo>
                        <a:pt x="520" y="140"/>
                      </a:lnTo>
                      <a:lnTo>
                        <a:pt x="520" y="139"/>
                      </a:lnTo>
                      <a:lnTo>
                        <a:pt x="522" y="138"/>
                      </a:lnTo>
                      <a:lnTo>
                        <a:pt x="522" y="136"/>
                      </a:lnTo>
                      <a:lnTo>
                        <a:pt x="524" y="135"/>
                      </a:lnTo>
                      <a:lnTo>
                        <a:pt x="524" y="138"/>
                      </a:lnTo>
                      <a:lnTo>
                        <a:pt x="524" y="139"/>
                      </a:lnTo>
                      <a:lnTo>
                        <a:pt x="523" y="140"/>
                      </a:lnTo>
                      <a:lnTo>
                        <a:pt x="527" y="139"/>
                      </a:lnTo>
                      <a:lnTo>
                        <a:pt x="529" y="138"/>
                      </a:lnTo>
                      <a:lnTo>
                        <a:pt x="536" y="136"/>
                      </a:lnTo>
                      <a:lnTo>
                        <a:pt x="537" y="135"/>
                      </a:lnTo>
                      <a:lnTo>
                        <a:pt x="537" y="135"/>
                      </a:lnTo>
                      <a:lnTo>
                        <a:pt x="539" y="133"/>
                      </a:lnTo>
                      <a:lnTo>
                        <a:pt x="540" y="133"/>
                      </a:lnTo>
                      <a:lnTo>
                        <a:pt x="542" y="133"/>
                      </a:lnTo>
                      <a:lnTo>
                        <a:pt x="545" y="135"/>
                      </a:lnTo>
                      <a:lnTo>
                        <a:pt x="552" y="138"/>
                      </a:lnTo>
                      <a:lnTo>
                        <a:pt x="555" y="139"/>
                      </a:lnTo>
                      <a:lnTo>
                        <a:pt x="559" y="140"/>
                      </a:lnTo>
                      <a:lnTo>
                        <a:pt x="566" y="140"/>
                      </a:lnTo>
                      <a:lnTo>
                        <a:pt x="572" y="142"/>
                      </a:lnTo>
                      <a:lnTo>
                        <a:pt x="576" y="143"/>
                      </a:lnTo>
                      <a:lnTo>
                        <a:pt x="589" y="142"/>
                      </a:lnTo>
                      <a:lnTo>
                        <a:pt x="595" y="142"/>
                      </a:lnTo>
                      <a:lnTo>
                        <a:pt x="602" y="145"/>
                      </a:lnTo>
                      <a:lnTo>
                        <a:pt x="611" y="149"/>
                      </a:lnTo>
                      <a:lnTo>
                        <a:pt x="624" y="158"/>
                      </a:lnTo>
                      <a:lnTo>
                        <a:pt x="626" y="159"/>
                      </a:lnTo>
                      <a:lnTo>
                        <a:pt x="631" y="165"/>
                      </a:lnTo>
                      <a:lnTo>
                        <a:pt x="636" y="171"/>
                      </a:lnTo>
                      <a:lnTo>
                        <a:pt x="638" y="172"/>
                      </a:lnTo>
                      <a:lnTo>
                        <a:pt x="639" y="173"/>
                      </a:lnTo>
                      <a:lnTo>
                        <a:pt x="644" y="173"/>
                      </a:lnTo>
                      <a:lnTo>
                        <a:pt x="645" y="175"/>
                      </a:lnTo>
                      <a:lnTo>
                        <a:pt x="645" y="175"/>
                      </a:lnTo>
                      <a:lnTo>
                        <a:pt x="647" y="178"/>
                      </a:lnTo>
                      <a:lnTo>
                        <a:pt x="647" y="178"/>
                      </a:lnTo>
                      <a:lnTo>
                        <a:pt x="648" y="178"/>
                      </a:lnTo>
                      <a:lnTo>
                        <a:pt x="649" y="178"/>
                      </a:lnTo>
                      <a:lnTo>
                        <a:pt x="649" y="178"/>
                      </a:lnTo>
                      <a:lnTo>
                        <a:pt x="654" y="181"/>
                      </a:lnTo>
                      <a:lnTo>
                        <a:pt x="658" y="181"/>
                      </a:lnTo>
                      <a:lnTo>
                        <a:pt x="668" y="181"/>
                      </a:lnTo>
                      <a:lnTo>
                        <a:pt x="675" y="182"/>
                      </a:lnTo>
                      <a:lnTo>
                        <a:pt x="680" y="186"/>
                      </a:lnTo>
                      <a:lnTo>
                        <a:pt x="681" y="192"/>
                      </a:lnTo>
                      <a:lnTo>
                        <a:pt x="687" y="211"/>
                      </a:lnTo>
                      <a:lnTo>
                        <a:pt x="688" y="217"/>
                      </a:lnTo>
                      <a:close/>
                      <a:moveTo>
                        <a:pt x="415" y="58"/>
                      </a:moveTo>
                      <a:lnTo>
                        <a:pt x="417" y="57"/>
                      </a:lnTo>
                      <a:lnTo>
                        <a:pt x="415" y="54"/>
                      </a:lnTo>
                      <a:lnTo>
                        <a:pt x="414" y="54"/>
                      </a:lnTo>
                      <a:lnTo>
                        <a:pt x="414" y="54"/>
                      </a:lnTo>
                      <a:lnTo>
                        <a:pt x="412" y="56"/>
                      </a:lnTo>
                      <a:lnTo>
                        <a:pt x="412" y="57"/>
                      </a:lnTo>
                      <a:lnTo>
                        <a:pt x="414" y="58"/>
                      </a:lnTo>
                      <a:lnTo>
                        <a:pt x="415" y="58"/>
                      </a:lnTo>
                      <a:close/>
                      <a:moveTo>
                        <a:pt x="448" y="102"/>
                      </a:moveTo>
                      <a:lnTo>
                        <a:pt x="450" y="100"/>
                      </a:lnTo>
                      <a:lnTo>
                        <a:pt x="450" y="97"/>
                      </a:lnTo>
                      <a:lnTo>
                        <a:pt x="445" y="94"/>
                      </a:lnTo>
                      <a:lnTo>
                        <a:pt x="440" y="94"/>
                      </a:lnTo>
                      <a:lnTo>
                        <a:pt x="428" y="96"/>
                      </a:lnTo>
                      <a:lnTo>
                        <a:pt x="420" y="94"/>
                      </a:lnTo>
                      <a:lnTo>
                        <a:pt x="415" y="94"/>
                      </a:lnTo>
                      <a:lnTo>
                        <a:pt x="411" y="96"/>
                      </a:lnTo>
                      <a:lnTo>
                        <a:pt x="410" y="97"/>
                      </a:lnTo>
                      <a:lnTo>
                        <a:pt x="408" y="99"/>
                      </a:lnTo>
                      <a:lnTo>
                        <a:pt x="408" y="102"/>
                      </a:lnTo>
                      <a:lnTo>
                        <a:pt x="408" y="104"/>
                      </a:lnTo>
                      <a:lnTo>
                        <a:pt x="407" y="106"/>
                      </a:lnTo>
                      <a:lnTo>
                        <a:pt x="408" y="107"/>
                      </a:lnTo>
                      <a:lnTo>
                        <a:pt x="408" y="109"/>
                      </a:lnTo>
                      <a:lnTo>
                        <a:pt x="408" y="110"/>
                      </a:lnTo>
                      <a:lnTo>
                        <a:pt x="410" y="110"/>
                      </a:lnTo>
                      <a:lnTo>
                        <a:pt x="410" y="110"/>
                      </a:lnTo>
                      <a:lnTo>
                        <a:pt x="411" y="110"/>
                      </a:lnTo>
                      <a:lnTo>
                        <a:pt x="411" y="112"/>
                      </a:lnTo>
                      <a:lnTo>
                        <a:pt x="411" y="112"/>
                      </a:lnTo>
                      <a:lnTo>
                        <a:pt x="411" y="112"/>
                      </a:lnTo>
                      <a:lnTo>
                        <a:pt x="410" y="112"/>
                      </a:lnTo>
                      <a:lnTo>
                        <a:pt x="410" y="112"/>
                      </a:lnTo>
                      <a:lnTo>
                        <a:pt x="410" y="112"/>
                      </a:lnTo>
                      <a:lnTo>
                        <a:pt x="408" y="112"/>
                      </a:lnTo>
                      <a:lnTo>
                        <a:pt x="408" y="113"/>
                      </a:lnTo>
                      <a:lnTo>
                        <a:pt x="408" y="113"/>
                      </a:lnTo>
                      <a:lnTo>
                        <a:pt x="408" y="113"/>
                      </a:lnTo>
                      <a:lnTo>
                        <a:pt x="408" y="115"/>
                      </a:lnTo>
                      <a:lnTo>
                        <a:pt x="408" y="116"/>
                      </a:lnTo>
                      <a:lnTo>
                        <a:pt x="410" y="119"/>
                      </a:lnTo>
                      <a:lnTo>
                        <a:pt x="410" y="120"/>
                      </a:lnTo>
                      <a:lnTo>
                        <a:pt x="411" y="120"/>
                      </a:lnTo>
                      <a:lnTo>
                        <a:pt x="412" y="123"/>
                      </a:lnTo>
                      <a:lnTo>
                        <a:pt x="415" y="123"/>
                      </a:lnTo>
                      <a:lnTo>
                        <a:pt x="418" y="122"/>
                      </a:lnTo>
                      <a:lnTo>
                        <a:pt x="421" y="122"/>
                      </a:lnTo>
                      <a:lnTo>
                        <a:pt x="424" y="122"/>
                      </a:lnTo>
                      <a:lnTo>
                        <a:pt x="427" y="122"/>
                      </a:lnTo>
                      <a:lnTo>
                        <a:pt x="430" y="122"/>
                      </a:lnTo>
                      <a:lnTo>
                        <a:pt x="430" y="119"/>
                      </a:lnTo>
                      <a:lnTo>
                        <a:pt x="433" y="119"/>
                      </a:lnTo>
                      <a:lnTo>
                        <a:pt x="434" y="119"/>
                      </a:lnTo>
                      <a:lnTo>
                        <a:pt x="435" y="119"/>
                      </a:lnTo>
                      <a:lnTo>
                        <a:pt x="435" y="116"/>
                      </a:lnTo>
                      <a:lnTo>
                        <a:pt x="437" y="117"/>
                      </a:lnTo>
                      <a:lnTo>
                        <a:pt x="438" y="117"/>
                      </a:lnTo>
                      <a:lnTo>
                        <a:pt x="440" y="117"/>
                      </a:lnTo>
                      <a:lnTo>
                        <a:pt x="440" y="117"/>
                      </a:lnTo>
                      <a:lnTo>
                        <a:pt x="441" y="116"/>
                      </a:lnTo>
                      <a:lnTo>
                        <a:pt x="441" y="116"/>
                      </a:lnTo>
                      <a:lnTo>
                        <a:pt x="441" y="115"/>
                      </a:lnTo>
                      <a:lnTo>
                        <a:pt x="441" y="113"/>
                      </a:lnTo>
                      <a:lnTo>
                        <a:pt x="444" y="112"/>
                      </a:lnTo>
                      <a:lnTo>
                        <a:pt x="445" y="109"/>
                      </a:lnTo>
                      <a:lnTo>
                        <a:pt x="447" y="106"/>
                      </a:lnTo>
                      <a:lnTo>
                        <a:pt x="447" y="103"/>
                      </a:lnTo>
                      <a:lnTo>
                        <a:pt x="448" y="103"/>
                      </a:lnTo>
                      <a:lnTo>
                        <a:pt x="448" y="102"/>
                      </a:lnTo>
                      <a:close/>
                      <a:moveTo>
                        <a:pt x="410" y="93"/>
                      </a:moveTo>
                      <a:lnTo>
                        <a:pt x="408" y="93"/>
                      </a:lnTo>
                      <a:lnTo>
                        <a:pt x="407" y="93"/>
                      </a:lnTo>
                      <a:lnTo>
                        <a:pt x="404" y="93"/>
                      </a:lnTo>
                      <a:lnTo>
                        <a:pt x="404" y="94"/>
                      </a:lnTo>
                      <a:lnTo>
                        <a:pt x="404" y="97"/>
                      </a:lnTo>
                      <a:lnTo>
                        <a:pt x="407" y="96"/>
                      </a:lnTo>
                      <a:lnTo>
                        <a:pt x="408" y="94"/>
                      </a:lnTo>
                      <a:lnTo>
                        <a:pt x="410" y="93"/>
                      </a:lnTo>
                      <a:close/>
                      <a:moveTo>
                        <a:pt x="510" y="116"/>
                      </a:moveTo>
                      <a:lnTo>
                        <a:pt x="512" y="115"/>
                      </a:lnTo>
                      <a:lnTo>
                        <a:pt x="510" y="115"/>
                      </a:lnTo>
                      <a:lnTo>
                        <a:pt x="510" y="115"/>
                      </a:lnTo>
                      <a:lnTo>
                        <a:pt x="509" y="115"/>
                      </a:lnTo>
                      <a:lnTo>
                        <a:pt x="509" y="116"/>
                      </a:lnTo>
                      <a:lnTo>
                        <a:pt x="510" y="116"/>
                      </a:lnTo>
                      <a:lnTo>
                        <a:pt x="510" y="116"/>
                      </a:lnTo>
                      <a:lnTo>
                        <a:pt x="510" y="116"/>
                      </a:lnTo>
                      <a:close/>
                      <a:moveTo>
                        <a:pt x="517" y="142"/>
                      </a:moveTo>
                      <a:lnTo>
                        <a:pt x="517" y="143"/>
                      </a:lnTo>
                      <a:lnTo>
                        <a:pt x="516" y="145"/>
                      </a:lnTo>
                      <a:lnTo>
                        <a:pt x="517" y="143"/>
                      </a:lnTo>
                      <a:lnTo>
                        <a:pt x="519" y="143"/>
                      </a:lnTo>
                      <a:lnTo>
                        <a:pt x="519" y="140"/>
                      </a:lnTo>
                      <a:lnTo>
                        <a:pt x="519" y="139"/>
                      </a:lnTo>
                      <a:lnTo>
                        <a:pt x="517" y="140"/>
                      </a:lnTo>
                      <a:lnTo>
                        <a:pt x="517" y="142"/>
                      </a:lnTo>
                      <a:close/>
                      <a:moveTo>
                        <a:pt x="412" y="86"/>
                      </a:moveTo>
                      <a:lnTo>
                        <a:pt x="411" y="89"/>
                      </a:lnTo>
                      <a:lnTo>
                        <a:pt x="411" y="90"/>
                      </a:lnTo>
                      <a:lnTo>
                        <a:pt x="414" y="92"/>
                      </a:lnTo>
                      <a:lnTo>
                        <a:pt x="414" y="90"/>
                      </a:lnTo>
                      <a:lnTo>
                        <a:pt x="414" y="89"/>
                      </a:lnTo>
                      <a:lnTo>
                        <a:pt x="414" y="89"/>
                      </a:lnTo>
                      <a:lnTo>
                        <a:pt x="415" y="87"/>
                      </a:lnTo>
                      <a:lnTo>
                        <a:pt x="415" y="81"/>
                      </a:lnTo>
                      <a:lnTo>
                        <a:pt x="415" y="81"/>
                      </a:lnTo>
                      <a:lnTo>
                        <a:pt x="414" y="81"/>
                      </a:lnTo>
                      <a:lnTo>
                        <a:pt x="414" y="83"/>
                      </a:lnTo>
                      <a:lnTo>
                        <a:pt x="414" y="83"/>
                      </a:lnTo>
                      <a:lnTo>
                        <a:pt x="414" y="84"/>
                      </a:lnTo>
                      <a:lnTo>
                        <a:pt x="412" y="86"/>
                      </a:lnTo>
                      <a:close/>
                      <a:moveTo>
                        <a:pt x="420" y="87"/>
                      </a:moveTo>
                      <a:lnTo>
                        <a:pt x="417" y="89"/>
                      </a:lnTo>
                      <a:lnTo>
                        <a:pt x="415" y="90"/>
                      </a:lnTo>
                      <a:lnTo>
                        <a:pt x="417" y="92"/>
                      </a:lnTo>
                      <a:lnTo>
                        <a:pt x="420" y="92"/>
                      </a:lnTo>
                      <a:lnTo>
                        <a:pt x="421" y="92"/>
                      </a:lnTo>
                      <a:lnTo>
                        <a:pt x="422" y="92"/>
                      </a:lnTo>
                      <a:lnTo>
                        <a:pt x="424" y="92"/>
                      </a:lnTo>
                      <a:lnTo>
                        <a:pt x="425" y="90"/>
                      </a:lnTo>
                      <a:lnTo>
                        <a:pt x="427" y="87"/>
                      </a:lnTo>
                      <a:lnTo>
                        <a:pt x="424" y="87"/>
                      </a:lnTo>
                      <a:lnTo>
                        <a:pt x="420" y="87"/>
                      </a:lnTo>
                      <a:close/>
                      <a:moveTo>
                        <a:pt x="428" y="90"/>
                      </a:moveTo>
                      <a:lnTo>
                        <a:pt x="425" y="92"/>
                      </a:lnTo>
                      <a:lnTo>
                        <a:pt x="424" y="93"/>
                      </a:lnTo>
                      <a:lnTo>
                        <a:pt x="427" y="94"/>
                      </a:lnTo>
                      <a:lnTo>
                        <a:pt x="430" y="94"/>
                      </a:lnTo>
                      <a:lnTo>
                        <a:pt x="431" y="93"/>
                      </a:lnTo>
                      <a:lnTo>
                        <a:pt x="433" y="92"/>
                      </a:lnTo>
                      <a:lnTo>
                        <a:pt x="431" y="90"/>
                      </a:lnTo>
                      <a:lnTo>
                        <a:pt x="428" y="90"/>
                      </a:lnTo>
                      <a:close/>
                      <a:moveTo>
                        <a:pt x="397" y="102"/>
                      </a:moveTo>
                      <a:lnTo>
                        <a:pt x="394" y="104"/>
                      </a:lnTo>
                      <a:lnTo>
                        <a:pt x="392" y="106"/>
                      </a:lnTo>
                      <a:lnTo>
                        <a:pt x="391" y="107"/>
                      </a:lnTo>
                      <a:lnTo>
                        <a:pt x="391" y="110"/>
                      </a:lnTo>
                      <a:lnTo>
                        <a:pt x="391" y="112"/>
                      </a:lnTo>
                      <a:lnTo>
                        <a:pt x="389" y="113"/>
                      </a:lnTo>
                      <a:lnTo>
                        <a:pt x="387" y="117"/>
                      </a:lnTo>
                      <a:lnTo>
                        <a:pt x="392" y="116"/>
                      </a:lnTo>
                      <a:lnTo>
                        <a:pt x="397" y="112"/>
                      </a:lnTo>
                      <a:lnTo>
                        <a:pt x="399" y="107"/>
                      </a:lnTo>
                      <a:lnTo>
                        <a:pt x="401" y="103"/>
                      </a:lnTo>
                      <a:lnTo>
                        <a:pt x="399" y="102"/>
                      </a:lnTo>
                      <a:lnTo>
                        <a:pt x="397" y="102"/>
                      </a:lnTo>
                      <a:close/>
                      <a:moveTo>
                        <a:pt x="420" y="83"/>
                      </a:moveTo>
                      <a:lnTo>
                        <a:pt x="421" y="81"/>
                      </a:lnTo>
                      <a:lnTo>
                        <a:pt x="420" y="80"/>
                      </a:lnTo>
                      <a:lnTo>
                        <a:pt x="418" y="81"/>
                      </a:lnTo>
                      <a:lnTo>
                        <a:pt x="417" y="81"/>
                      </a:lnTo>
                      <a:lnTo>
                        <a:pt x="417" y="83"/>
                      </a:lnTo>
                      <a:lnTo>
                        <a:pt x="417" y="84"/>
                      </a:lnTo>
                      <a:lnTo>
                        <a:pt x="418" y="84"/>
                      </a:lnTo>
                      <a:lnTo>
                        <a:pt x="420" y="8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57" name="Freeform 250">
                  <a:extLst>
                    <a:ext uri="{FF2B5EF4-FFF2-40B4-BE49-F238E27FC236}">
                      <a16:creationId xmlns:a16="http://schemas.microsoft.com/office/drawing/2014/main" id="{694F8272-AAEB-6CD1-FE97-CED66CD1B55A}"/>
                    </a:ext>
                  </a:extLst>
                </p:cNvPr>
                <p:cNvSpPr>
                  <a:spLocks noEditPoints="1"/>
                </p:cNvSpPr>
                <p:nvPr/>
              </p:nvSpPr>
              <p:spPr bwMode="auto">
                <a:xfrm>
                  <a:off x="2879" y="3801"/>
                  <a:ext cx="207" cy="108"/>
                </a:xfrm>
                <a:custGeom>
                  <a:avLst/>
                  <a:gdLst>
                    <a:gd name="T0" fmla="*/ 37 w 207"/>
                    <a:gd name="T1" fmla="*/ 18 h 108"/>
                    <a:gd name="T2" fmla="*/ 39 w 207"/>
                    <a:gd name="T3" fmla="*/ 19 h 108"/>
                    <a:gd name="T4" fmla="*/ 36 w 207"/>
                    <a:gd name="T5" fmla="*/ 20 h 108"/>
                    <a:gd name="T6" fmla="*/ 35 w 207"/>
                    <a:gd name="T7" fmla="*/ 20 h 108"/>
                    <a:gd name="T8" fmla="*/ 32 w 207"/>
                    <a:gd name="T9" fmla="*/ 19 h 108"/>
                    <a:gd name="T10" fmla="*/ 30 w 207"/>
                    <a:gd name="T11" fmla="*/ 18 h 108"/>
                    <a:gd name="T12" fmla="*/ 27 w 207"/>
                    <a:gd name="T13" fmla="*/ 15 h 108"/>
                    <a:gd name="T14" fmla="*/ 27 w 207"/>
                    <a:gd name="T15" fmla="*/ 13 h 108"/>
                    <a:gd name="T16" fmla="*/ 26 w 207"/>
                    <a:gd name="T17" fmla="*/ 13 h 108"/>
                    <a:gd name="T18" fmla="*/ 23 w 207"/>
                    <a:gd name="T19" fmla="*/ 12 h 108"/>
                    <a:gd name="T20" fmla="*/ 23 w 207"/>
                    <a:gd name="T21" fmla="*/ 12 h 108"/>
                    <a:gd name="T22" fmla="*/ 22 w 207"/>
                    <a:gd name="T23" fmla="*/ 12 h 108"/>
                    <a:gd name="T24" fmla="*/ 20 w 207"/>
                    <a:gd name="T25" fmla="*/ 9 h 108"/>
                    <a:gd name="T26" fmla="*/ 19 w 207"/>
                    <a:gd name="T27" fmla="*/ 9 h 108"/>
                    <a:gd name="T28" fmla="*/ 15 w 207"/>
                    <a:gd name="T29" fmla="*/ 7 h 108"/>
                    <a:gd name="T30" fmla="*/ 9 w 207"/>
                    <a:gd name="T31" fmla="*/ 5 h 108"/>
                    <a:gd name="T32" fmla="*/ 6 w 207"/>
                    <a:gd name="T33" fmla="*/ 3 h 108"/>
                    <a:gd name="T34" fmla="*/ 7 w 207"/>
                    <a:gd name="T35" fmla="*/ 2 h 108"/>
                    <a:gd name="T36" fmla="*/ 2 w 207"/>
                    <a:gd name="T37" fmla="*/ 2 h 108"/>
                    <a:gd name="T38" fmla="*/ 0 w 207"/>
                    <a:gd name="T39" fmla="*/ 2 h 108"/>
                    <a:gd name="T40" fmla="*/ 4 w 207"/>
                    <a:gd name="T41" fmla="*/ 0 h 108"/>
                    <a:gd name="T42" fmla="*/ 7 w 207"/>
                    <a:gd name="T43" fmla="*/ 0 h 108"/>
                    <a:gd name="T44" fmla="*/ 12 w 207"/>
                    <a:gd name="T45" fmla="*/ 2 h 108"/>
                    <a:gd name="T46" fmla="*/ 15 w 207"/>
                    <a:gd name="T47" fmla="*/ 3 h 108"/>
                    <a:gd name="T48" fmla="*/ 22 w 207"/>
                    <a:gd name="T49" fmla="*/ 3 h 108"/>
                    <a:gd name="T50" fmla="*/ 25 w 207"/>
                    <a:gd name="T51" fmla="*/ 5 h 108"/>
                    <a:gd name="T52" fmla="*/ 25 w 207"/>
                    <a:gd name="T53" fmla="*/ 7 h 108"/>
                    <a:gd name="T54" fmla="*/ 25 w 207"/>
                    <a:gd name="T55" fmla="*/ 7 h 108"/>
                    <a:gd name="T56" fmla="*/ 26 w 207"/>
                    <a:gd name="T57" fmla="*/ 7 h 108"/>
                    <a:gd name="T58" fmla="*/ 29 w 207"/>
                    <a:gd name="T59" fmla="*/ 7 h 108"/>
                    <a:gd name="T60" fmla="*/ 29 w 207"/>
                    <a:gd name="T61" fmla="*/ 7 h 108"/>
                    <a:gd name="T62" fmla="*/ 29 w 207"/>
                    <a:gd name="T63" fmla="*/ 7 h 108"/>
                    <a:gd name="T64" fmla="*/ 30 w 207"/>
                    <a:gd name="T65" fmla="*/ 7 h 108"/>
                    <a:gd name="T66" fmla="*/ 30 w 207"/>
                    <a:gd name="T67" fmla="*/ 7 h 108"/>
                    <a:gd name="T68" fmla="*/ 30 w 207"/>
                    <a:gd name="T69" fmla="*/ 9 h 108"/>
                    <a:gd name="T70" fmla="*/ 33 w 207"/>
                    <a:gd name="T71" fmla="*/ 10 h 108"/>
                    <a:gd name="T72" fmla="*/ 33 w 207"/>
                    <a:gd name="T73" fmla="*/ 13 h 108"/>
                    <a:gd name="T74" fmla="*/ 35 w 207"/>
                    <a:gd name="T75" fmla="*/ 15 h 108"/>
                    <a:gd name="T76" fmla="*/ 37 w 207"/>
                    <a:gd name="T77" fmla="*/ 13 h 108"/>
                    <a:gd name="T78" fmla="*/ 37 w 207"/>
                    <a:gd name="T79" fmla="*/ 16 h 108"/>
                    <a:gd name="T80" fmla="*/ 37 w 207"/>
                    <a:gd name="T81" fmla="*/ 16 h 108"/>
                    <a:gd name="T82" fmla="*/ 37 w 207"/>
                    <a:gd name="T83" fmla="*/ 18 h 108"/>
                    <a:gd name="T84" fmla="*/ 206 w 207"/>
                    <a:gd name="T85" fmla="*/ 105 h 108"/>
                    <a:gd name="T86" fmla="*/ 204 w 207"/>
                    <a:gd name="T87" fmla="*/ 105 h 108"/>
                    <a:gd name="T88" fmla="*/ 204 w 207"/>
                    <a:gd name="T89" fmla="*/ 105 h 108"/>
                    <a:gd name="T90" fmla="*/ 204 w 207"/>
                    <a:gd name="T91" fmla="*/ 107 h 108"/>
                    <a:gd name="T92" fmla="*/ 206 w 207"/>
                    <a:gd name="T93" fmla="*/ 107 h 108"/>
                    <a:gd name="T94" fmla="*/ 206 w 207"/>
                    <a:gd name="T95" fmla="*/ 107 h 108"/>
                    <a:gd name="T96" fmla="*/ 207 w 207"/>
                    <a:gd name="T97" fmla="*/ 108 h 108"/>
                    <a:gd name="T98" fmla="*/ 207 w 207"/>
                    <a:gd name="T99" fmla="*/ 107 h 108"/>
                    <a:gd name="T100" fmla="*/ 206 w 207"/>
                    <a:gd name="T101" fmla="*/ 10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7" h="108">
                      <a:moveTo>
                        <a:pt x="37" y="18"/>
                      </a:moveTo>
                      <a:lnTo>
                        <a:pt x="39" y="19"/>
                      </a:lnTo>
                      <a:lnTo>
                        <a:pt x="36" y="20"/>
                      </a:lnTo>
                      <a:lnTo>
                        <a:pt x="35" y="20"/>
                      </a:lnTo>
                      <a:lnTo>
                        <a:pt x="32" y="19"/>
                      </a:lnTo>
                      <a:lnTo>
                        <a:pt x="30" y="18"/>
                      </a:lnTo>
                      <a:lnTo>
                        <a:pt x="27" y="15"/>
                      </a:lnTo>
                      <a:lnTo>
                        <a:pt x="27" y="13"/>
                      </a:lnTo>
                      <a:lnTo>
                        <a:pt x="26" y="13"/>
                      </a:lnTo>
                      <a:lnTo>
                        <a:pt x="23" y="12"/>
                      </a:lnTo>
                      <a:lnTo>
                        <a:pt x="23" y="12"/>
                      </a:lnTo>
                      <a:lnTo>
                        <a:pt x="22" y="12"/>
                      </a:lnTo>
                      <a:lnTo>
                        <a:pt x="20" y="9"/>
                      </a:lnTo>
                      <a:lnTo>
                        <a:pt x="19" y="9"/>
                      </a:lnTo>
                      <a:lnTo>
                        <a:pt x="15" y="7"/>
                      </a:lnTo>
                      <a:lnTo>
                        <a:pt x="9" y="5"/>
                      </a:lnTo>
                      <a:lnTo>
                        <a:pt x="6" y="3"/>
                      </a:lnTo>
                      <a:lnTo>
                        <a:pt x="7" y="2"/>
                      </a:lnTo>
                      <a:lnTo>
                        <a:pt x="2" y="2"/>
                      </a:lnTo>
                      <a:lnTo>
                        <a:pt x="0" y="2"/>
                      </a:lnTo>
                      <a:lnTo>
                        <a:pt x="4" y="0"/>
                      </a:lnTo>
                      <a:lnTo>
                        <a:pt x="7" y="0"/>
                      </a:lnTo>
                      <a:lnTo>
                        <a:pt x="12" y="2"/>
                      </a:lnTo>
                      <a:lnTo>
                        <a:pt x="15" y="3"/>
                      </a:lnTo>
                      <a:lnTo>
                        <a:pt x="22" y="3"/>
                      </a:lnTo>
                      <a:lnTo>
                        <a:pt x="25" y="5"/>
                      </a:lnTo>
                      <a:lnTo>
                        <a:pt x="25" y="7"/>
                      </a:lnTo>
                      <a:lnTo>
                        <a:pt x="25" y="7"/>
                      </a:lnTo>
                      <a:lnTo>
                        <a:pt x="26" y="7"/>
                      </a:lnTo>
                      <a:lnTo>
                        <a:pt x="29" y="7"/>
                      </a:lnTo>
                      <a:lnTo>
                        <a:pt x="29" y="7"/>
                      </a:lnTo>
                      <a:lnTo>
                        <a:pt x="29" y="7"/>
                      </a:lnTo>
                      <a:lnTo>
                        <a:pt x="30" y="7"/>
                      </a:lnTo>
                      <a:lnTo>
                        <a:pt x="30" y="7"/>
                      </a:lnTo>
                      <a:lnTo>
                        <a:pt x="30" y="9"/>
                      </a:lnTo>
                      <a:lnTo>
                        <a:pt x="33" y="10"/>
                      </a:lnTo>
                      <a:lnTo>
                        <a:pt x="33" y="13"/>
                      </a:lnTo>
                      <a:lnTo>
                        <a:pt x="35" y="15"/>
                      </a:lnTo>
                      <a:lnTo>
                        <a:pt x="37" y="13"/>
                      </a:lnTo>
                      <a:lnTo>
                        <a:pt x="37" y="16"/>
                      </a:lnTo>
                      <a:lnTo>
                        <a:pt x="37" y="16"/>
                      </a:lnTo>
                      <a:lnTo>
                        <a:pt x="37" y="18"/>
                      </a:lnTo>
                      <a:close/>
                      <a:moveTo>
                        <a:pt x="206" y="105"/>
                      </a:moveTo>
                      <a:lnTo>
                        <a:pt x="204" y="105"/>
                      </a:lnTo>
                      <a:lnTo>
                        <a:pt x="204" y="105"/>
                      </a:lnTo>
                      <a:lnTo>
                        <a:pt x="204" y="107"/>
                      </a:lnTo>
                      <a:lnTo>
                        <a:pt x="206" y="107"/>
                      </a:lnTo>
                      <a:lnTo>
                        <a:pt x="206" y="107"/>
                      </a:lnTo>
                      <a:lnTo>
                        <a:pt x="207" y="108"/>
                      </a:lnTo>
                      <a:lnTo>
                        <a:pt x="207" y="107"/>
                      </a:lnTo>
                      <a:lnTo>
                        <a:pt x="206" y="10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58" name="Freeform 251">
                  <a:extLst>
                    <a:ext uri="{FF2B5EF4-FFF2-40B4-BE49-F238E27FC236}">
                      <a16:creationId xmlns:a16="http://schemas.microsoft.com/office/drawing/2014/main" id="{CB0FC575-13A8-4B27-9218-2B6179B626C9}"/>
                    </a:ext>
                  </a:extLst>
                </p:cNvPr>
                <p:cNvSpPr>
                  <a:spLocks noEditPoints="1"/>
                </p:cNvSpPr>
                <p:nvPr/>
              </p:nvSpPr>
              <p:spPr bwMode="auto">
                <a:xfrm>
                  <a:off x="2257" y="2502"/>
                  <a:ext cx="237" cy="204"/>
                </a:xfrm>
                <a:custGeom>
                  <a:avLst/>
                  <a:gdLst>
                    <a:gd name="T0" fmla="*/ 221 w 237"/>
                    <a:gd name="T1" fmla="*/ 53 h 204"/>
                    <a:gd name="T2" fmla="*/ 219 w 237"/>
                    <a:gd name="T3" fmla="*/ 59 h 204"/>
                    <a:gd name="T4" fmla="*/ 23 w 237"/>
                    <a:gd name="T5" fmla="*/ 11 h 204"/>
                    <a:gd name="T6" fmla="*/ 6 w 237"/>
                    <a:gd name="T7" fmla="*/ 42 h 204"/>
                    <a:gd name="T8" fmla="*/ 9 w 237"/>
                    <a:gd name="T9" fmla="*/ 55 h 204"/>
                    <a:gd name="T10" fmla="*/ 18 w 237"/>
                    <a:gd name="T11" fmla="*/ 69 h 204"/>
                    <a:gd name="T12" fmla="*/ 20 w 237"/>
                    <a:gd name="T13" fmla="*/ 85 h 204"/>
                    <a:gd name="T14" fmla="*/ 32 w 237"/>
                    <a:gd name="T15" fmla="*/ 92 h 204"/>
                    <a:gd name="T16" fmla="*/ 48 w 237"/>
                    <a:gd name="T17" fmla="*/ 91 h 204"/>
                    <a:gd name="T18" fmla="*/ 59 w 237"/>
                    <a:gd name="T19" fmla="*/ 95 h 204"/>
                    <a:gd name="T20" fmla="*/ 79 w 237"/>
                    <a:gd name="T21" fmla="*/ 106 h 204"/>
                    <a:gd name="T22" fmla="*/ 104 w 237"/>
                    <a:gd name="T23" fmla="*/ 108 h 204"/>
                    <a:gd name="T24" fmla="*/ 101 w 237"/>
                    <a:gd name="T25" fmla="*/ 147 h 204"/>
                    <a:gd name="T26" fmla="*/ 98 w 237"/>
                    <a:gd name="T27" fmla="*/ 167 h 204"/>
                    <a:gd name="T28" fmla="*/ 108 w 237"/>
                    <a:gd name="T29" fmla="*/ 174 h 204"/>
                    <a:gd name="T30" fmla="*/ 119 w 237"/>
                    <a:gd name="T31" fmla="*/ 198 h 204"/>
                    <a:gd name="T32" fmla="*/ 137 w 237"/>
                    <a:gd name="T33" fmla="*/ 200 h 204"/>
                    <a:gd name="T34" fmla="*/ 157 w 237"/>
                    <a:gd name="T35" fmla="*/ 190 h 204"/>
                    <a:gd name="T36" fmla="*/ 164 w 237"/>
                    <a:gd name="T37" fmla="*/ 182 h 204"/>
                    <a:gd name="T38" fmla="*/ 171 w 237"/>
                    <a:gd name="T39" fmla="*/ 172 h 204"/>
                    <a:gd name="T40" fmla="*/ 165 w 237"/>
                    <a:gd name="T41" fmla="*/ 168 h 204"/>
                    <a:gd name="T42" fmla="*/ 151 w 237"/>
                    <a:gd name="T43" fmla="*/ 141 h 204"/>
                    <a:gd name="T44" fmla="*/ 163 w 237"/>
                    <a:gd name="T45" fmla="*/ 144 h 204"/>
                    <a:gd name="T46" fmla="*/ 176 w 237"/>
                    <a:gd name="T47" fmla="*/ 147 h 204"/>
                    <a:gd name="T48" fmla="*/ 187 w 237"/>
                    <a:gd name="T49" fmla="*/ 149 h 204"/>
                    <a:gd name="T50" fmla="*/ 204 w 237"/>
                    <a:gd name="T51" fmla="*/ 142 h 204"/>
                    <a:gd name="T52" fmla="*/ 219 w 237"/>
                    <a:gd name="T53" fmla="*/ 135 h 204"/>
                    <a:gd name="T54" fmla="*/ 213 w 237"/>
                    <a:gd name="T55" fmla="*/ 115 h 204"/>
                    <a:gd name="T56" fmla="*/ 216 w 237"/>
                    <a:gd name="T57" fmla="*/ 105 h 204"/>
                    <a:gd name="T58" fmla="*/ 229 w 237"/>
                    <a:gd name="T59" fmla="*/ 93 h 204"/>
                    <a:gd name="T60" fmla="*/ 224 w 237"/>
                    <a:gd name="T61" fmla="*/ 85 h 204"/>
                    <a:gd name="T62" fmla="*/ 232 w 237"/>
                    <a:gd name="T63" fmla="*/ 76 h 204"/>
                    <a:gd name="T64" fmla="*/ 232 w 237"/>
                    <a:gd name="T65" fmla="*/ 63 h 204"/>
                    <a:gd name="T66" fmla="*/ 213 w 237"/>
                    <a:gd name="T67" fmla="*/ 66 h 204"/>
                    <a:gd name="T68" fmla="*/ 213 w 237"/>
                    <a:gd name="T69" fmla="*/ 63 h 204"/>
                    <a:gd name="T70" fmla="*/ 221 w 237"/>
                    <a:gd name="T71" fmla="*/ 52 h 204"/>
                    <a:gd name="T72" fmla="*/ 213 w 237"/>
                    <a:gd name="T73" fmla="*/ 46 h 204"/>
                    <a:gd name="T74" fmla="*/ 206 w 237"/>
                    <a:gd name="T75" fmla="*/ 42 h 204"/>
                    <a:gd name="T76" fmla="*/ 197 w 237"/>
                    <a:gd name="T77" fmla="*/ 39 h 204"/>
                    <a:gd name="T78" fmla="*/ 194 w 237"/>
                    <a:gd name="T79" fmla="*/ 42 h 204"/>
                    <a:gd name="T80" fmla="*/ 187 w 237"/>
                    <a:gd name="T81" fmla="*/ 37 h 204"/>
                    <a:gd name="T82" fmla="*/ 198 w 237"/>
                    <a:gd name="T83" fmla="*/ 27 h 204"/>
                    <a:gd name="T84" fmla="*/ 161 w 237"/>
                    <a:gd name="T85" fmla="*/ 29 h 204"/>
                    <a:gd name="T86" fmla="*/ 161 w 237"/>
                    <a:gd name="T87" fmla="*/ 32 h 204"/>
                    <a:gd name="T88" fmla="*/ 134 w 237"/>
                    <a:gd name="T89" fmla="*/ 34 h 204"/>
                    <a:gd name="T90" fmla="*/ 122 w 237"/>
                    <a:gd name="T91" fmla="*/ 27 h 204"/>
                    <a:gd name="T92" fmla="*/ 89 w 237"/>
                    <a:gd name="T93" fmla="*/ 22 h 204"/>
                    <a:gd name="T94" fmla="*/ 65 w 237"/>
                    <a:gd name="T95" fmla="*/ 11 h 204"/>
                    <a:gd name="T96" fmla="*/ 55 w 237"/>
                    <a:gd name="T97" fmla="*/ 4 h 204"/>
                    <a:gd name="T98" fmla="*/ 61 w 237"/>
                    <a:gd name="T99" fmla="*/ 9 h 204"/>
                    <a:gd name="T100" fmla="*/ 58 w 237"/>
                    <a:gd name="T101" fmla="*/ 11 h 204"/>
                    <a:gd name="T102" fmla="*/ 35 w 237"/>
                    <a:gd name="T103" fmla="*/ 22 h 204"/>
                    <a:gd name="T104" fmla="*/ 35 w 237"/>
                    <a:gd name="T105" fmla="*/ 32 h 204"/>
                    <a:gd name="T106" fmla="*/ 36 w 237"/>
                    <a:gd name="T107" fmla="*/ 55 h 204"/>
                    <a:gd name="T108" fmla="*/ 28 w 237"/>
                    <a:gd name="T109" fmla="*/ 50 h 204"/>
                    <a:gd name="T110" fmla="*/ 25 w 237"/>
                    <a:gd name="T111" fmla="*/ 39 h 204"/>
                    <a:gd name="T112" fmla="*/ 29 w 237"/>
                    <a:gd name="T113" fmla="*/ 22 h 204"/>
                    <a:gd name="T114" fmla="*/ 28 w 237"/>
                    <a:gd name="T115" fmla="*/ 9 h 204"/>
                    <a:gd name="T116" fmla="*/ 160 w 237"/>
                    <a:gd name="T117" fmla="*/ 20 h 204"/>
                    <a:gd name="T118" fmla="*/ 168 w 237"/>
                    <a:gd name="T119" fmla="*/ 22 h 204"/>
                    <a:gd name="T120" fmla="*/ 141 w 237"/>
                    <a:gd name="T121" fmla="*/ 23 h 204"/>
                    <a:gd name="T122" fmla="*/ 142 w 237"/>
                    <a:gd name="T123"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7" h="204">
                      <a:moveTo>
                        <a:pt x="220" y="55"/>
                      </a:moveTo>
                      <a:lnTo>
                        <a:pt x="219" y="55"/>
                      </a:lnTo>
                      <a:lnTo>
                        <a:pt x="220" y="53"/>
                      </a:lnTo>
                      <a:lnTo>
                        <a:pt x="220" y="53"/>
                      </a:lnTo>
                      <a:lnTo>
                        <a:pt x="220" y="53"/>
                      </a:lnTo>
                      <a:lnTo>
                        <a:pt x="221" y="53"/>
                      </a:lnTo>
                      <a:lnTo>
                        <a:pt x="221" y="53"/>
                      </a:lnTo>
                      <a:lnTo>
                        <a:pt x="221" y="53"/>
                      </a:lnTo>
                      <a:lnTo>
                        <a:pt x="220" y="55"/>
                      </a:lnTo>
                      <a:close/>
                      <a:moveTo>
                        <a:pt x="217" y="56"/>
                      </a:moveTo>
                      <a:lnTo>
                        <a:pt x="217" y="57"/>
                      </a:lnTo>
                      <a:lnTo>
                        <a:pt x="217" y="57"/>
                      </a:lnTo>
                      <a:lnTo>
                        <a:pt x="217" y="59"/>
                      </a:lnTo>
                      <a:lnTo>
                        <a:pt x="219" y="59"/>
                      </a:lnTo>
                      <a:lnTo>
                        <a:pt x="220" y="57"/>
                      </a:lnTo>
                      <a:lnTo>
                        <a:pt x="220" y="56"/>
                      </a:lnTo>
                      <a:lnTo>
                        <a:pt x="219" y="56"/>
                      </a:lnTo>
                      <a:lnTo>
                        <a:pt x="217" y="56"/>
                      </a:lnTo>
                      <a:close/>
                      <a:moveTo>
                        <a:pt x="28" y="9"/>
                      </a:moveTo>
                      <a:lnTo>
                        <a:pt x="25" y="10"/>
                      </a:lnTo>
                      <a:lnTo>
                        <a:pt x="23" y="11"/>
                      </a:lnTo>
                      <a:lnTo>
                        <a:pt x="22" y="16"/>
                      </a:lnTo>
                      <a:lnTo>
                        <a:pt x="20" y="17"/>
                      </a:lnTo>
                      <a:lnTo>
                        <a:pt x="19" y="17"/>
                      </a:lnTo>
                      <a:lnTo>
                        <a:pt x="16" y="20"/>
                      </a:lnTo>
                      <a:lnTo>
                        <a:pt x="15" y="20"/>
                      </a:lnTo>
                      <a:lnTo>
                        <a:pt x="10" y="27"/>
                      </a:lnTo>
                      <a:lnTo>
                        <a:pt x="6" y="42"/>
                      </a:lnTo>
                      <a:lnTo>
                        <a:pt x="3" y="49"/>
                      </a:lnTo>
                      <a:lnTo>
                        <a:pt x="0" y="52"/>
                      </a:lnTo>
                      <a:lnTo>
                        <a:pt x="2" y="53"/>
                      </a:lnTo>
                      <a:lnTo>
                        <a:pt x="3" y="52"/>
                      </a:lnTo>
                      <a:lnTo>
                        <a:pt x="6" y="52"/>
                      </a:lnTo>
                      <a:lnTo>
                        <a:pt x="6" y="52"/>
                      </a:lnTo>
                      <a:lnTo>
                        <a:pt x="9" y="55"/>
                      </a:lnTo>
                      <a:lnTo>
                        <a:pt x="9" y="55"/>
                      </a:lnTo>
                      <a:lnTo>
                        <a:pt x="10" y="56"/>
                      </a:lnTo>
                      <a:lnTo>
                        <a:pt x="10" y="57"/>
                      </a:lnTo>
                      <a:lnTo>
                        <a:pt x="12" y="60"/>
                      </a:lnTo>
                      <a:lnTo>
                        <a:pt x="13" y="63"/>
                      </a:lnTo>
                      <a:lnTo>
                        <a:pt x="16" y="66"/>
                      </a:lnTo>
                      <a:lnTo>
                        <a:pt x="18" y="69"/>
                      </a:lnTo>
                      <a:lnTo>
                        <a:pt x="18" y="72"/>
                      </a:lnTo>
                      <a:lnTo>
                        <a:pt x="18" y="75"/>
                      </a:lnTo>
                      <a:lnTo>
                        <a:pt x="16" y="78"/>
                      </a:lnTo>
                      <a:lnTo>
                        <a:pt x="16" y="80"/>
                      </a:lnTo>
                      <a:lnTo>
                        <a:pt x="16" y="83"/>
                      </a:lnTo>
                      <a:lnTo>
                        <a:pt x="18" y="85"/>
                      </a:lnTo>
                      <a:lnTo>
                        <a:pt x="20" y="85"/>
                      </a:lnTo>
                      <a:lnTo>
                        <a:pt x="20" y="86"/>
                      </a:lnTo>
                      <a:lnTo>
                        <a:pt x="22" y="88"/>
                      </a:lnTo>
                      <a:lnTo>
                        <a:pt x="23" y="89"/>
                      </a:lnTo>
                      <a:lnTo>
                        <a:pt x="23" y="91"/>
                      </a:lnTo>
                      <a:lnTo>
                        <a:pt x="26" y="92"/>
                      </a:lnTo>
                      <a:lnTo>
                        <a:pt x="28" y="92"/>
                      </a:lnTo>
                      <a:lnTo>
                        <a:pt x="32" y="92"/>
                      </a:lnTo>
                      <a:lnTo>
                        <a:pt x="33" y="92"/>
                      </a:lnTo>
                      <a:lnTo>
                        <a:pt x="38" y="92"/>
                      </a:lnTo>
                      <a:lnTo>
                        <a:pt x="41" y="92"/>
                      </a:lnTo>
                      <a:lnTo>
                        <a:pt x="42" y="92"/>
                      </a:lnTo>
                      <a:lnTo>
                        <a:pt x="45" y="91"/>
                      </a:lnTo>
                      <a:lnTo>
                        <a:pt x="46" y="91"/>
                      </a:lnTo>
                      <a:lnTo>
                        <a:pt x="48" y="91"/>
                      </a:lnTo>
                      <a:lnTo>
                        <a:pt x="49" y="92"/>
                      </a:lnTo>
                      <a:lnTo>
                        <a:pt x="51" y="92"/>
                      </a:lnTo>
                      <a:lnTo>
                        <a:pt x="52" y="92"/>
                      </a:lnTo>
                      <a:lnTo>
                        <a:pt x="53" y="92"/>
                      </a:lnTo>
                      <a:lnTo>
                        <a:pt x="56" y="93"/>
                      </a:lnTo>
                      <a:lnTo>
                        <a:pt x="58" y="93"/>
                      </a:lnTo>
                      <a:lnTo>
                        <a:pt x="59" y="95"/>
                      </a:lnTo>
                      <a:lnTo>
                        <a:pt x="66" y="105"/>
                      </a:lnTo>
                      <a:lnTo>
                        <a:pt x="69" y="106"/>
                      </a:lnTo>
                      <a:lnTo>
                        <a:pt x="72" y="108"/>
                      </a:lnTo>
                      <a:lnTo>
                        <a:pt x="74" y="108"/>
                      </a:lnTo>
                      <a:lnTo>
                        <a:pt x="76" y="106"/>
                      </a:lnTo>
                      <a:lnTo>
                        <a:pt x="78" y="106"/>
                      </a:lnTo>
                      <a:lnTo>
                        <a:pt x="79" y="106"/>
                      </a:lnTo>
                      <a:lnTo>
                        <a:pt x="84" y="106"/>
                      </a:lnTo>
                      <a:lnTo>
                        <a:pt x="85" y="108"/>
                      </a:lnTo>
                      <a:lnTo>
                        <a:pt x="89" y="106"/>
                      </a:lnTo>
                      <a:lnTo>
                        <a:pt x="97" y="105"/>
                      </a:lnTo>
                      <a:lnTo>
                        <a:pt x="99" y="105"/>
                      </a:lnTo>
                      <a:lnTo>
                        <a:pt x="104" y="106"/>
                      </a:lnTo>
                      <a:lnTo>
                        <a:pt x="104" y="108"/>
                      </a:lnTo>
                      <a:lnTo>
                        <a:pt x="104" y="111"/>
                      </a:lnTo>
                      <a:lnTo>
                        <a:pt x="102" y="114"/>
                      </a:lnTo>
                      <a:lnTo>
                        <a:pt x="99" y="121"/>
                      </a:lnTo>
                      <a:lnTo>
                        <a:pt x="98" y="128"/>
                      </a:lnTo>
                      <a:lnTo>
                        <a:pt x="98" y="137"/>
                      </a:lnTo>
                      <a:lnTo>
                        <a:pt x="99" y="144"/>
                      </a:lnTo>
                      <a:lnTo>
                        <a:pt x="101" y="147"/>
                      </a:lnTo>
                      <a:lnTo>
                        <a:pt x="101" y="148"/>
                      </a:lnTo>
                      <a:lnTo>
                        <a:pt x="105" y="154"/>
                      </a:lnTo>
                      <a:lnTo>
                        <a:pt x="107" y="155"/>
                      </a:lnTo>
                      <a:lnTo>
                        <a:pt x="107" y="157"/>
                      </a:lnTo>
                      <a:lnTo>
                        <a:pt x="105" y="160"/>
                      </a:lnTo>
                      <a:lnTo>
                        <a:pt x="99" y="164"/>
                      </a:lnTo>
                      <a:lnTo>
                        <a:pt x="98" y="167"/>
                      </a:lnTo>
                      <a:lnTo>
                        <a:pt x="99" y="165"/>
                      </a:lnTo>
                      <a:lnTo>
                        <a:pt x="101" y="167"/>
                      </a:lnTo>
                      <a:lnTo>
                        <a:pt x="102" y="168"/>
                      </a:lnTo>
                      <a:lnTo>
                        <a:pt x="104" y="170"/>
                      </a:lnTo>
                      <a:lnTo>
                        <a:pt x="107" y="172"/>
                      </a:lnTo>
                      <a:lnTo>
                        <a:pt x="108" y="172"/>
                      </a:lnTo>
                      <a:lnTo>
                        <a:pt x="108" y="174"/>
                      </a:lnTo>
                      <a:lnTo>
                        <a:pt x="108" y="174"/>
                      </a:lnTo>
                      <a:lnTo>
                        <a:pt x="108" y="175"/>
                      </a:lnTo>
                      <a:lnTo>
                        <a:pt x="108" y="175"/>
                      </a:lnTo>
                      <a:lnTo>
                        <a:pt x="112" y="185"/>
                      </a:lnTo>
                      <a:lnTo>
                        <a:pt x="114" y="190"/>
                      </a:lnTo>
                      <a:lnTo>
                        <a:pt x="115" y="194"/>
                      </a:lnTo>
                      <a:lnTo>
                        <a:pt x="119" y="198"/>
                      </a:lnTo>
                      <a:lnTo>
                        <a:pt x="122" y="201"/>
                      </a:lnTo>
                      <a:lnTo>
                        <a:pt x="124" y="203"/>
                      </a:lnTo>
                      <a:lnTo>
                        <a:pt x="128" y="203"/>
                      </a:lnTo>
                      <a:lnTo>
                        <a:pt x="130" y="201"/>
                      </a:lnTo>
                      <a:lnTo>
                        <a:pt x="132" y="200"/>
                      </a:lnTo>
                      <a:lnTo>
                        <a:pt x="135" y="198"/>
                      </a:lnTo>
                      <a:lnTo>
                        <a:pt x="137" y="200"/>
                      </a:lnTo>
                      <a:lnTo>
                        <a:pt x="138" y="201"/>
                      </a:lnTo>
                      <a:lnTo>
                        <a:pt x="138" y="203"/>
                      </a:lnTo>
                      <a:lnTo>
                        <a:pt x="140" y="204"/>
                      </a:lnTo>
                      <a:lnTo>
                        <a:pt x="145" y="197"/>
                      </a:lnTo>
                      <a:lnTo>
                        <a:pt x="147" y="195"/>
                      </a:lnTo>
                      <a:lnTo>
                        <a:pt x="148" y="194"/>
                      </a:lnTo>
                      <a:lnTo>
                        <a:pt x="157" y="190"/>
                      </a:lnTo>
                      <a:lnTo>
                        <a:pt x="158" y="190"/>
                      </a:lnTo>
                      <a:lnTo>
                        <a:pt x="160" y="190"/>
                      </a:lnTo>
                      <a:lnTo>
                        <a:pt x="161" y="188"/>
                      </a:lnTo>
                      <a:lnTo>
                        <a:pt x="163" y="187"/>
                      </a:lnTo>
                      <a:lnTo>
                        <a:pt x="163" y="187"/>
                      </a:lnTo>
                      <a:lnTo>
                        <a:pt x="164" y="182"/>
                      </a:lnTo>
                      <a:lnTo>
                        <a:pt x="164" y="182"/>
                      </a:lnTo>
                      <a:lnTo>
                        <a:pt x="167" y="181"/>
                      </a:lnTo>
                      <a:lnTo>
                        <a:pt x="171" y="180"/>
                      </a:lnTo>
                      <a:lnTo>
                        <a:pt x="173" y="178"/>
                      </a:lnTo>
                      <a:lnTo>
                        <a:pt x="176" y="177"/>
                      </a:lnTo>
                      <a:lnTo>
                        <a:pt x="176" y="175"/>
                      </a:lnTo>
                      <a:lnTo>
                        <a:pt x="176" y="174"/>
                      </a:lnTo>
                      <a:lnTo>
                        <a:pt x="171" y="172"/>
                      </a:lnTo>
                      <a:lnTo>
                        <a:pt x="168" y="172"/>
                      </a:lnTo>
                      <a:lnTo>
                        <a:pt x="167" y="172"/>
                      </a:lnTo>
                      <a:lnTo>
                        <a:pt x="165" y="172"/>
                      </a:lnTo>
                      <a:lnTo>
                        <a:pt x="164" y="171"/>
                      </a:lnTo>
                      <a:lnTo>
                        <a:pt x="164" y="171"/>
                      </a:lnTo>
                      <a:lnTo>
                        <a:pt x="165" y="170"/>
                      </a:lnTo>
                      <a:lnTo>
                        <a:pt x="165" y="168"/>
                      </a:lnTo>
                      <a:lnTo>
                        <a:pt x="161" y="160"/>
                      </a:lnTo>
                      <a:lnTo>
                        <a:pt x="160" y="152"/>
                      </a:lnTo>
                      <a:lnTo>
                        <a:pt x="158" y="151"/>
                      </a:lnTo>
                      <a:lnTo>
                        <a:pt x="154" y="145"/>
                      </a:lnTo>
                      <a:lnTo>
                        <a:pt x="153" y="142"/>
                      </a:lnTo>
                      <a:lnTo>
                        <a:pt x="151" y="141"/>
                      </a:lnTo>
                      <a:lnTo>
                        <a:pt x="151" y="141"/>
                      </a:lnTo>
                      <a:lnTo>
                        <a:pt x="153" y="139"/>
                      </a:lnTo>
                      <a:lnTo>
                        <a:pt x="153" y="141"/>
                      </a:lnTo>
                      <a:lnTo>
                        <a:pt x="154" y="142"/>
                      </a:lnTo>
                      <a:lnTo>
                        <a:pt x="154" y="142"/>
                      </a:lnTo>
                      <a:lnTo>
                        <a:pt x="157" y="142"/>
                      </a:lnTo>
                      <a:lnTo>
                        <a:pt x="161" y="144"/>
                      </a:lnTo>
                      <a:lnTo>
                        <a:pt x="163" y="144"/>
                      </a:lnTo>
                      <a:lnTo>
                        <a:pt x="164" y="145"/>
                      </a:lnTo>
                      <a:lnTo>
                        <a:pt x="165" y="145"/>
                      </a:lnTo>
                      <a:lnTo>
                        <a:pt x="165" y="147"/>
                      </a:lnTo>
                      <a:lnTo>
                        <a:pt x="167" y="147"/>
                      </a:lnTo>
                      <a:lnTo>
                        <a:pt x="173" y="147"/>
                      </a:lnTo>
                      <a:lnTo>
                        <a:pt x="174" y="147"/>
                      </a:lnTo>
                      <a:lnTo>
                        <a:pt x="176" y="147"/>
                      </a:lnTo>
                      <a:lnTo>
                        <a:pt x="176" y="147"/>
                      </a:lnTo>
                      <a:lnTo>
                        <a:pt x="177" y="147"/>
                      </a:lnTo>
                      <a:lnTo>
                        <a:pt x="178" y="148"/>
                      </a:lnTo>
                      <a:lnTo>
                        <a:pt x="181" y="151"/>
                      </a:lnTo>
                      <a:lnTo>
                        <a:pt x="183" y="151"/>
                      </a:lnTo>
                      <a:lnTo>
                        <a:pt x="186" y="152"/>
                      </a:lnTo>
                      <a:lnTo>
                        <a:pt x="187" y="149"/>
                      </a:lnTo>
                      <a:lnTo>
                        <a:pt x="187" y="147"/>
                      </a:lnTo>
                      <a:lnTo>
                        <a:pt x="188" y="145"/>
                      </a:lnTo>
                      <a:lnTo>
                        <a:pt x="191" y="144"/>
                      </a:lnTo>
                      <a:lnTo>
                        <a:pt x="194" y="142"/>
                      </a:lnTo>
                      <a:lnTo>
                        <a:pt x="197" y="142"/>
                      </a:lnTo>
                      <a:lnTo>
                        <a:pt x="200" y="142"/>
                      </a:lnTo>
                      <a:lnTo>
                        <a:pt x="204" y="142"/>
                      </a:lnTo>
                      <a:lnTo>
                        <a:pt x="206" y="141"/>
                      </a:lnTo>
                      <a:lnTo>
                        <a:pt x="207" y="141"/>
                      </a:lnTo>
                      <a:lnTo>
                        <a:pt x="209" y="139"/>
                      </a:lnTo>
                      <a:lnTo>
                        <a:pt x="211" y="137"/>
                      </a:lnTo>
                      <a:lnTo>
                        <a:pt x="213" y="137"/>
                      </a:lnTo>
                      <a:lnTo>
                        <a:pt x="216" y="135"/>
                      </a:lnTo>
                      <a:lnTo>
                        <a:pt x="219" y="135"/>
                      </a:lnTo>
                      <a:lnTo>
                        <a:pt x="220" y="134"/>
                      </a:lnTo>
                      <a:lnTo>
                        <a:pt x="221" y="132"/>
                      </a:lnTo>
                      <a:lnTo>
                        <a:pt x="223" y="129"/>
                      </a:lnTo>
                      <a:lnTo>
                        <a:pt x="224" y="128"/>
                      </a:lnTo>
                      <a:lnTo>
                        <a:pt x="224" y="125"/>
                      </a:lnTo>
                      <a:lnTo>
                        <a:pt x="223" y="124"/>
                      </a:lnTo>
                      <a:lnTo>
                        <a:pt x="213" y="115"/>
                      </a:lnTo>
                      <a:lnTo>
                        <a:pt x="211" y="112"/>
                      </a:lnTo>
                      <a:lnTo>
                        <a:pt x="211" y="111"/>
                      </a:lnTo>
                      <a:lnTo>
                        <a:pt x="211" y="109"/>
                      </a:lnTo>
                      <a:lnTo>
                        <a:pt x="213" y="109"/>
                      </a:lnTo>
                      <a:lnTo>
                        <a:pt x="214" y="108"/>
                      </a:lnTo>
                      <a:lnTo>
                        <a:pt x="214" y="106"/>
                      </a:lnTo>
                      <a:lnTo>
                        <a:pt x="216" y="105"/>
                      </a:lnTo>
                      <a:lnTo>
                        <a:pt x="216" y="105"/>
                      </a:lnTo>
                      <a:lnTo>
                        <a:pt x="214" y="99"/>
                      </a:lnTo>
                      <a:lnTo>
                        <a:pt x="216" y="98"/>
                      </a:lnTo>
                      <a:lnTo>
                        <a:pt x="217" y="98"/>
                      </a:lnTo>
                      <a:lnTo>
                        <a:pt x="224" y="95"/>
                      </a:lnTo>
                      <a:lnTo>
                        <a:pt x="227" y="95"/>
                      </a:lnTo>
                      <a:lnTo>
                        <a:pt x="229" y="93"/>
                      </a:lnTo>
                      <a:lnTo>
                        <a:pt x="230" y="91"/>
                      </a:lnTo>
                      <a:lnTo>
                        <a:pt x="229" y="89"/>
                      </a:lnTo>
                      <a:lnTo>
                        <a:pt x="227" y="89"/>
                      </a:lnTo>
                      <a:lnTo>
                        <a:pt x="224" y="89"/>
                      </a:lnTo>
                      <a:lnTo>
                        <a:pt x="224" y="88"/>
                      </a:lnTo>
                      <a:lnTo>
                        <a:pt x="224" y="88"/>
                      </a:lnTo>
                      <a:lnTo>
                        <a:pt x="224" y="85"/>
                      </a:lnTo>
                      <a:lnTo>
                        <a:pt x="224" y="83"/>
                      </a:lnTo>
                      <a:lnTo>
                        <a:pt x="223" y="83"/>
                      </a:lnTo>
                      <a:lnTo>
                        <a:pt x="224" y="82"/>
                      </a:lnTo>
                      <a:lnTo>
                        <a:pt x="224" y="80"/>
                      </a:lnTo>
                      <a:lnTo>
                        <a:pt x="227" y="79"/>
                      </a:lnTo>
                      <a:lnTo>
                        <a:pt x="229" y="78"/>
                      </a:lnTo>
                      <a:lnTo>
                        <a:pt x="232" y="76"/>
                      </a:lnTo>
                      <a:lnTo>
                        <a:pt x="234" y="73"/>
                      </a:lnTo>
                      <a:lnTo>
                        <a:pt x="237" y="72"/>
                      </a:lnTo>
                      <a:lnTo>
                        <a:pt x="237" y="69"/>
                      </a:lnTo>
                      <a:lnTo>
                        <a:pt x="237" y="68"/>
                      </a:lnTo>
                      <a:lnTo>
                        <a:pt x="236" y="65"/>
                      </a:lnTo>
                      <a:lnTo>
                        <a:pt x="233" y="63"/>
                      </a:lnTo>
                      <a:lnTo>
                        <a:pt x="232" y="63"/>
                      </a:lnTo>
                      <a:lnTo>
                        <a:pt x="229" y="63"/>
                      </a:lnTo>
                      <a:lnTo>
                        <a:pt x="223" y="63"/>
                      </a:lnTo>
                      <a:lnTo>
                        <a:pt x="220" y="65"/>
                      </a:lnTo>
                      <a:lnTo>
                        <a:pt x="219" y="65"/>
                      </a:lnTo>
                      <a:lnTo>
                        <a:pt x="216" y="66"/>
                      </a:lnTo>
                      <a:lnTo>
                        <a:pt x="214" y="66"/>
                      </a:lnTo>
                      <a:lnTo>
                        <a:pt x="213" y="66"/>
                      </a:lnTo>
                      <a:lnTo>
                        <a:pt x="213" y="66"/>
                      </a:lnTo>
                      <a:lnTo>
                        <a:pt x="211" y="66"/>
                      </a:lnTo>
                      <a:lnTo>
                        <a:pt x="211" y="66"/>
                      </a:lnTo>
                      <a:lnTo>
                        <a:pt x="210" y="66"/>
                      </a:lnTo>
                      <a:lnTo>
                        <a:pt x="207" y="63"/>
                      </a:lnTo>
                      <a:lnTo>
                        <a:pt x="210" y="63"/>
                      </a:lnTo>
                      <a:lnTo>
                        <a:pt x="213" y="63"/>
                      </a:lnTo>
                      <a:lnTo>
                        <a:pt x="214" y="62"/>
                      </a:lnTo>
                      <a:lnTo>
                        <a:pt x="216" y="60"/>
                      </a:lnTo>
                      <a:lnTo>
                        <a:pt x="217" y="55"/>
                      </a:lnTo>
                      <a:lnTo>
                        <a:pt x="219" y="53"/>
                      </a:lnTo>
                      <a:lnTo>
                        <a:pt x="220" y="52"/>
                      </a:lnTo>
                      <a:lnTo>
                        <a:pt x="220" y="52"/>
                      </a:lnTo>
                      <a:lnTo>
                        <a:pt x="221" y="52"/>
                      </a:lnTo>
                      <a:lnTo>
                        <a:pt x="221" y="50"/>
                      </a:lnTo>
                      <a:lnTo>
                        <a:pt x="220" y="49"/>
                      </a:lnTo>
                      <a:lnTo>
                        <a:pt x="220" y="47"/>
                      </a:lnTo>
                      <a:lnTo>
                        <a:pt x="219" y="47"/>
                      </a:lnTo>
                      <a:lnTo>
                        <a:pt x="217" y="46"/>
                      </a:lnTo>
                      <a:lnTo>
                        <a:pt x="216" y="46"/>
                      </a:lnTo>
                      <a:lnTo>
                        <a:pt x="213" y="46"/>
                      </a:lnTo>
                      <a:lnTo>
                        <a:pt x="211" y="45"/>
                      </a:lnTo>
                      <a:lnTo>
                        <a:pt x="211" y="45"/>
                      </a:lnTo>
                      <a:lnTo>
                        <a:pt x="209" y="42"/>
                      </a:lnTo>
                      <a:lnTo>
                        <a:pt x="207" y="40"/>
                      </a:lnTo>
                      <a:lnTo>
                        <a:pt x="207" y="42"/>
                      </a:lnTo>
                      <a:lnTo>
                        <a:pt x="206" y="42"/>
                      </a:lnTo>
                      <a:lnTo>
                        <a:pt x="206" y="42"/>
                      </a:lnTo>
                      <a:lnTo>
                        <a:pt x="204" y="42"/>
                      </a:lnTo>
                      <a:lnTo>
                        <a:pt x="204" y="43"/>
                      </a:lnTo>
                      <a:lnTo>
                        <a:pt x="204" y="45"/>
                      </a:lnTo>
                      <a:lnTo>
                        <a:pt x="204" y="46"/>
                      </a:lnTo>
                      <a:lnTo>
                        <a:pt x="201" y="42"/>
                      </a:lnTo>
                      <a:lnTo>
                        <a:pt x="200" y="40"/>
                      </a:lnTo>
                      <a:lnTo>
                        <a:pt x="197" y="39"/>
                      </a:lnTo>
                      <a:lnTo>
                        <a:pt x="197" y="40"/>
                      </a:lnTo>
                      <a:lnTo>
                        <a:pt x="197" y="40"/>
                      </a:lnTo>
                      <a:lnTo>
                        <a:pt x="197" y="42"/>
                      </a:lnTo>
                      <a:lnTo>
                        <a:pt x="197" y="42"/>
                      </a:lnTo>
                      <a:lnTo>
                        <a:pt x="197" y="42"/>
                      </a:lnTo>
                      <a:lnTo>
                        <a:pt x="197" y="40"/>
                      </a:lnTo>
                      <a:lnTo>
                        <a:pt x="194" y="42"/>
                      </a:lnTo>
                      <a:lnTo>
                        <a:pt x="193" y="40"/>
                      </a:lnTo>
                      <a:lnTo>
                        <a:pt x="191" y="37"/>
                      </a:lnTo>
                      <a:lnTo>
                        <a:pt x="190" y="34"/>
                      </a:lnTo>
                      <a:lnTo>
                        <a:pt x="190" y="36"/>
                      </a:lnTo>
                      <a:lnTo>
                        <a:pt x="190" y="37"/>
                      </a:lnTo>
                      <a:lnTo>
                        <a:pt x="188" y="37"/>
                      </a:lnTo>
                      <a:lnTo>
                        <a:pt x="187" y="37"/>
                      </a:lnTo>
                      <a:lnTo>
                        <a:pt x="188" y="36"/>
                      </a:lnTo>
                      <a:lnTo>
                        <a:pt x="187" y="33"/>
                      </a:lnTo>
                      <a:lnTo>
                        <a:pt x="184" y="29"/>
                      </a:lnTo>
                      <a:lnTo>
                        <a:pt x="187" y="29"/>
                      </a:lnTo>
                      <a:lnTo>
                        <a:pt x="191" y="29"/>
                      </a:lnTo>
                      <a:lnTo>
                        <a:pt x="194" y="29"/>
                      </a:lnTo>
                      <a:lnTo>
                        <a:pt x="198" y="27"/>
                      </a:lnTo>
                      <a:lnTo>
                        <a:pt x="201" y="27"/>
                      </a:lnTo>
                      <a:lnTo>
                        <a:pt x="203" y="26"/>
                      </a:lnTo>
                      <a:lnTo>
                        <a:pt x="197" y="26"/>
                      </a:lnTo>
                      <a:lnTo>
                        <a:pt x="187" y="26"/>
                      </a:lnTo>
                      <a:lnTo>
                        <a:pt x="165" y="27"/>
                      </a:lnTo>
                      <a:lnTo>
                        <a:pt x="160" y="27"/>
                      </a:lnTo>
                      <a:lnTo>
                        <a:pt x="161" y="29"/>
                      </a:lnTo>
                      <a:lnTo>
                        <a:pt x="167" y="29"/>
                      </a:lnTo>
                      <a:lnTo>
                        <a:pt x="170" y="30"/>
                      </a:lnTo>
                      <a:lnTo>
                        <a:pt x="168" y="30"/>
                      </a:lnTo>
                      <a:lnTo>
                        <a:pt x="167" y="30"/>
                      </a:lnTo>
                      <a:lnTo>
                        <a:pt x="165" y="30"/>
                      </a:lnTo>
                      <a:lnTo>
                        <a:pt x="163" y="30"/>
                      </a:lnTo>
                      <a:lnTo>
                        <a:pt x="161" y="32"/>
                      </a:lnTo>
                      <a:lnTo>
                        <a:pt x="160" y="32"/>
                      </a:lnTo>
                      <a:lnTo>
                        <a:pt x="151" y="36"/>
                      </a:lnTo>
                      <a:lnTo>
                        <a:pt x="148" y="37"/>
                      </a:lnTo>
                      <a:lnTo>
                        <a:pt x="144" y="37"/>
                      </a:lnTo>
                      <a:lnTo>
                        <a:pt x="141" y="37"/>
                      </a:lnTo>
                      <a:lnTo>
                        <a:pt x="138" y="36"/>
                      </a:lnTo>
                      <a:lnTo>
                        <a:pt x="134" y="34"/>
                      </a:lnTo>
                      <a:lnTo>
                        <a:pt x="131" y="33"/>
                      </a:lnTo>
                      <a:lnTo>
                        <a:pt x="131" y="32"/>
                      </a:lnTo>
                      <a:lnTo>
                        <a:pt x="130" y="30"/>
                      </a:lnTo>
                      <a:lnTo>
                        <a:pt x="128" y="29"/>
                      </a:lnTo>
                      <a:lnTo>
                        <a:pt x="127" y="27"/>
                      </a:lnTo>
                      <a:lnTo>
                        <a:pt x="125" y="27"/>
                      </a:lnTo>
                      <a:lnTo>
                        <a:pt x="122" y="27"/>
                      </a:lnTo>
                      <a:lnTo>
                        <a:pt x="114" y="27"/>
                      </a:lnTo>
                      <a:lnTo>
                        <a:pt x="99" y="30"/>
                      </a:lnTo>
                      <a:lnTo>
                        <a:pt x="95" y="30"/>
                      </a:lnTo>
                      <a:lnTo>
                        <a:pt x="92" y="30"/>
                      </a:lnTo>
                      <a:lnTo>
                        <a:pt x="89" y="27"/>
                      </a:lnTo>
                      <a:lnTo>
                        <a:pt x="89" y="24"/>
                      </a:lnTo>
                      <a:lnTo>
                        <a:pt x="89" y="22"/>
                      </a:lnTo>
                      <a:lnTo>
                        <a:pt x="88" y="19"/>
                      </a:lnTo>
                      <a:lnTo>
                        <a:pt x="85" y="16"/>
                      </a:lnTo>
                      <a:lnTo>
                        <a:pt x="81" y="14"/>
                      </a:lnTo>
                      <a:lnTo>
                        <a:pt x="78" y="13"/>
                      </a:lnTo>
                      <a:lnTo>
                        <a:pt x="74" y="11"/>
                      </a:lnTo>
                      <a:lnTo>
                        <a:pt x="68" y="11"/>
                      </a:lnTo>
                      <a:lnTo>
                        <a:pt x="65" y="11"/>
                      </a:lnTo>
                      <a:lnTo>
                        <a:pt x="63" y="9"/>
                      </a:lnTo>
                      <a:lnTo>
                        <a:pt x="62" y="1"/>
                      </a:lnTo>
                      <a:lnTo>
                        <a:pt x="61" y="0"/>
                      </a:lnTo>
                      <a:lnTo>
                        <a:pt x="56" y="1"/>
                      </a:lnTo>
                      <a:lnTo>
                        <a:pt x="56" y="1"/>
                      </a:lnTo>
                      <a:lnTo>
                        <a:pt x="55" y="3"/>
                      </a:lnTo>
                      <a:lnTo>
                        <a:pt x="55" y="4"/>
                      </a:lnTo>
                      <a:lnTo>
                        <a:pt x="55" y="6"/>
                      </a:lnTo>
                      <a:lnTo>
                        <a:pt x="55" y="7"/>
                      </a:lnTo>
                      <a:lnTo>
                        <a:pt x="56" y="9"/>
                      </a:lnTo>
                      <a:lnTo>
                        <a:pt x="56" y="9"/>
                      </a:lnTo>
                      <a:lnTo>
                        <a:pt x="58" y="9"/>
                      </a:lnTo>
                      <a:lnTo>
                        <a:pt x="59" y="9"/>
                      </a:lnTo>
                      <a:lnTo>
                        <a:pt x="61" y="9"/>
                      </a:lnTo>
                      <a:lnTo>
                        <a:pt x="62" y="9"/>
                      </a:lnTo>
                      <a:lnTo>
                        <a:pt x="63" y="10"/>
                      </a:lnTo>
                      <a:lnTo>
                        <a:pt x="63" y="13"/>
                      </a:lnTo>
                      <a:lnTo>
                        <a:pt x="62" y="13"/>
                      </a:lnTo>
                      <a:lnTo>
                        <a:pt x="61" y="11"/>
                      </a:lnTo>
                      <a:lnTo>
                        <a:pt x="59" y="11"/>
                      </a:lnTo>
                      <a:lnTo>
                        <a:pt x="58" y="11"/>
                      </a:lnTo>
                      <a:lnTo>
                        <a:pt x="58" y="13"/>
                      </a:lnTo>
                      <a:lnTo>
                        <a:pt x="56" y="13"/>
                      </a:lnTo>
                      <a:lnTo>
                        <a:pt x="55" y="14"/>
                      </a:lnTo>
                      <a:lnTo>
                        <a:pt x="53" y="16"/>
                      </a:lnTo>
                      <a:lnTo>
                        <a:pt x="46" y="17"/>
                      </a:lnTo>
                      <a:lnTo>
                        <a:pt x="41" y="19"/>
                      </a:lnTo>
                      <a:lnTo>
                        <a:pt x="35" y="22"/>
                      </a:lnTo>
                      <a:lnTo>
                        <a:pt x="33" y="22"/>
                      </a:lnTo>
                      <a:lnTo>
                        <a:pt x="33" y="23"/>
                      </a:lnTo>
                      <a:lnTo>
                        <a:pt x="33" y="26"/>
                      </a:lnTo>
                      <a:lnTo>
                        <a:pt x="33" y="27"/>
                      </a:lnTo>
                      <a:lnTo>
                        <a:pt x="33" y="29"/>
                      </a:lnTo>
                      <a:lnTo>
                        <a:pt x="33" y="30"/>
                      </a:lnTo>
                      <a:lnTo>
                        <a:pt x="35" y="32"/>
                      </a:lnTo>
                      <a:lnTo>
                        <a:pt x="35" y="33"/>
                      </a:lnTo>
                      <a:lnTo>
                        <a:pt x="39" y="39"/>
                      </a:lnTo>
                      <a:lnTo>
                        <a:pt x="41" y="42"/>
                      </a:lnTo>
                      <a:lnTo>
                        <a:pt x="41" y="45"/>
                      </a:lnTo>
                      <a:lnTo>
                        <a:pt x="41" y="47"/>
                      </a:lnTo>
                      <a:lnTo>
                        <a:pt x="39" y="52"/>
                      </a:lnTo>
                      <a:lnTo>
                        <a:pt x="36" y="55"/>
                      </a:lnTo>
                      <a:lnTo>
                        <a:pt x="33" y="56"/>
                      </a:lnTo>
                      <a:lnTo>
                        <a:pt x="32" y="56"/>
                      </a:lnTo>
                      <a:lnTo>
                        <a:pt x="30" y="55"/>
                      </a:lnTo>
                      <a:lnTo>
                        <a:pt x="29" y="55"/>
                      </a:lnTo>
                      <a:lnTo>
                        <a:pt x="29" y="53"/>
                      </a:lnTo>
                      <a:lnTo>
                        <a:pt x="29" y="52"/>
                      </a:lnTo>
                      <a:lnTo>
                        <a:pt x="28" y="50"/>
                      </a:lnTo>
                      <a:lnTo>
                        <a:pt x="28" y="50"/>
                      </a:lnTo>
                      <a:lnTo>
                        <a:pt x="28" y="49"/>
                      </a:lnTo>
                      <a:lnTo>
                        <a:pt x="26" y="49"/>
                      </a:lnTo>
                      <a:lnTo>
                        <a:pt x="26" y="47"/>
                      </a:lnTo>
                      <a:lnTo>
                        <a:pt x="23" y="45"/>
                      </a:lnTo>
                      <a:lnTo>
                        <a:pt x="23" y="42"/>
                      </a:lnTo>
                      <a:lnTo>
                        <a:pt x="25" y="39"/>
                      </a:lnTo>
                      <a:lnTo>
                        <a:pt x="28" y="34"/>
                      </a:lnTo>
                      <a:lnTo>
                        <a:pt x="29" y="32"/>
                      </a:lnTo>
                      <a:lnTo>
                        <a:pt x="30" y="30"/>
                      </a:lnTo>
                      <a:lnTo>
                        <a:pt x="32" y="27"/>
                      </a:lnTo>
                      <a:lnTo>
                        <a:pt x="30" y="26"/>
                      </a:lnTo>
                      <a:lnTo>
                        <a:pt x="29" y="23"/>
                      </a:lnTo>
                      <a:lnTo>
                        <a:pt x="29" y="22"/>
                      </a:lnTo>
                      <a:lnTo>
                        <a:pt x="29" y="22"/>
                      </a:lnTo>
                      <a:lnTo>
                        <a:pt x="30" y="20"/>
                      </a:lnTo>
                      <a:lnTo>
                        <a:pt x="29" y="19"/>
                      </a:lnTo>
                      <a:lnTo>
                        <a:pt x="26" y="16"/>
                      </a:lnTo>
                      <a:lnTo>
                        <a:pt x="25" y="13"/>
                      </a:lnTo>
                      <a:lnTo>
                        <a:pt x="26" y="10"/>
                      </a:lnTo>
                      <a:lnTo>
                        <a:pt x="28" y="9"/>
                      </a:lnTo>
                      <a:lnTo>
                        <a:pt x="35" y="7"/>
                      </a:lnTo>
                      <a:lnTo>
                        <a:pt x="36" y="6"/>
                      </a:lnTo>
                      <a:lnTo>
                        <a:pt x="33" y="6"/>
                      </a:lnTo>
                      <a:lnTo>
                        <a:pt x="28" y="9"/>
                      </a:lnTo>
                      <a:close/>
                      <a:moveTo>
                        <a:pt x="160" y="22"/>
                      </a:moveTo>
                      <a:lnTo>
                        <a:pt x="158" y="22"/>
                      </a:lnTo>
                      <a:lnTo>
                        <a:pt x="160" y="20"/>
                      </a:lnTo>
                      <a:lnTo>
                        <a:pt x="161" y="20"/>
                      </a:lnTo>
                      <a:lnTo>
                        <a:pt x="163" y="20"/>
                      </a:lnTo>
                      <a:lnTo>
                        <a:pt x="164" y="20"/>
                      </a:lnTo>
                      <a:lnTo>
                        <a:pt x="165" y="20"/>
                      </a:lnTo>
                      <a:lnTo>
                        <a:pt x="167" y="19"/>
                      </a:lnTo>
                      <a:lnTo>
                        <a:pt x="168" y="19"/>
                      </a:lnTo>
                      <a:lnTo>
                        <a:pt x="168" y="22"/>
                      </a:lnTo>
                      <a:lnTo>
                        <a:pt x="167" y="22"/>
                      </a:lnTo>
                      <a:lnTo>
                        <a:pt x="167" y="23"/>
                      </a:lnTo>
                      <a:lnTo>
                        <a:pt x="165" y="23"/>
                      </a:lnTo>
                      <a:lnTo>
                        <a:pt x="164" y="23"/>
                      </a:lnTo>
                      <a:lnTo>
                        <a:pt x="163" y="23"/>
                      </a:lnTo>
                      <a:lnTo>
                        <a:pt x="160" y="22"/>
                      </a:lnTo>
                      <a:close/>
                      <a:moveTo>
                        <a:pt x="141" y="23"/>
                      </a:moveTo>
                      <a:lnTo>
                        <a:pt x="140" y="22"/>
                      </a:lnTo>
                      <a:lnTo>
                        <a:pt x="141" y="22"/>
                      </a:lnTo>
                      <a:lnTo>
                        <a:pt x="142" y="22"/>
                      </a:lnTo>
                      <a:lnTo>
                        <a:pt x="142" y="22"/>
                      </a:lnTo>
                      <a:lnTo>
                        <a:pt x="144" y="23"/>
                      </a:lnTo>
                      <a:lnTo>
                        <a:pt x="142" y="23"/>
                      </a:lnTo>
                      <a:lnTo>
                        <a:pt x="142" y="23"/>
                      </a:lnTo>
                      <a:lnTo>
                        <a:pt x="141" y="2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59" name="Freeform 252">
                  <a:extLst>
                    <a:ext uri="{FF2B5EF4-FFF2-40B4-BE49-F238E27FC236}">
                      <a16:creationId xmlns:a16="http://schemas.microsoft.com/office/drawing/2014/main" id="{2BE6FA82-D961-CD4C-C911-DB2FB67BA9C8}"/>
                    </a:ext>
                  </a:extLst>
                </p:cNvPr>
                <p:cNvSpPr>
                  <a:spLocks noEditPoints="1"/>
                </p:cNvSpPr>
                <p:nvPr/>
              </p:nvSpPr>
              <p:spPr bwMode="auto">
                <a:xfrm>
                  <a:off x="2158" y="2498"/>
                  <a:ext cx="214" cy="294"/>
                </a:xfrm>
                <a:custGeom>
                  <a:avLst/>
                  <a:gdLst>
                    <a:gd name="T0" fmla="*/ 3 w 214"/>
                    <a:gd name="T1" fmla="*/ 188 h 294"/>
                    <a:gd name="T2" fmla="*/ 10 w 214"/>
                    <a:gd name="T3" fmla="*/ 176 h 294"/>
                    <a:gd name="T4" fmla="*/ 23 w 214"/>
                    <a:gd name="T5" fmla="*/ 168 h 294"/>
                    <a:gd name="T6" fmla="*/ 29 w 214"/>
                    <a:gd name="T7" fmla="*/ 162 h 294"/>
                    <a:gd name="T8" fmla="*/ 29 w 214"/>
                    <a:gd name="T9" fmla="*/ 149 h 294"/>
                    <a:gd name="T10" fmla="*/ 29 w 214"/>
                    <a:gd name="T11" fmla="*/ 141 h 294"/>
                    <a:gd name="T12" fmla="*/ 29 w 214"/>
                    <a:gd name="T13" fmla="*/ 120 h 294"/>
                    <a:gd name="T14" fmla="*/ 29 w 214"/>
                    <a:gd name="T15" fmla="*/ 107 h 294"/>
                    <a:gd name="T16" fmla="*/ 20 w 214"/>
                    <a:gd name="T17" fmla="*/ 92 h 294"/>
                    <a:gd name="T18" fmla="*/ 32 w 214"/>
                    <a:gd name="T19" fmla="*/ 79 h 294"/>
                    <a:gd name="T20" fmla="*/ 29 w 214"/>
                    <a:gd name="T21" fmla="*/ 67 h 294"/>
                    <a:gd name="T22" fmla="*/ 38 w 214"/>
                    <a:gd name="T23" fmla="*/ 79 h 294"/>
                    <a:gd name="T24" fmla="*/ 38 w 214"/>
                    <a:gd name="T25" fmla="*/ 67 h 294"/>
                    <a:gd name="T26" fmla="*/ 55 w 214"/>
                    <a:gd name="T27" fmla="*/ 53 h 294"/>
                    <a:gd name="T28" fmla="*/ 59 w 214"/>
                    <a:gd name="T29" fmla="*/ 49 h 294"/>
                    <a:gd name="T30" fmla="*/ 65 w 214"/>
                    <a:gd name="T31" fmla="*/ 31 h 294"/>
                    <a:gd name="T32" fmla="*/ 81 w 214"/>
                    <a:gd name="T33" fmla="*/ 26 h 294"/>
                    <a:gd name="T34" fmla="*/ 89 w 214"/>
                    <a:gd name="T35" fmla="*/ 18 h 294"/>
                    <a:gd name="T36" fmla="*/ 119 w 214"/>
                    <a:gd name="T37" fmla="*/ 7 h 294"/>
                    <a:gd name="T38" fmla="*/ 137 w 214"/>
                    <a:gd name="T39" fmla="*/ 1 h 294"/>
                    <a:gd name="T40" fmla="*/ 124 w 214"/>
                    <a:gd name="T41" fmla="*/ 14 h 294"/>
                    <a:gd name="T42" fmla="*/ 109 w 214"/>
                    <a:gd name="T43" fmla="*/ 31 h 294"/>
                    <a:gd name="T44" fmla="*/ 105 w 214"/>
                    <a:gd name="T45" fmla="*/ 56 h 294"/>
                    <a:gd name="T46" fmla="*/ 115 w 214"/>
                    <a:gd name="T47" fmla="*/ 70 h 294"/>
                    <a:gd name="T48" fmla="*/ 117 w 214"/>
                    <a:gd name="T49" fmla="*/ 89 h 294"/>
                    <a:gd name="T50" fmla="*/ 127 w 214"/>
                    <a:gd name="T51" fmla="*/ 96 h 294"/>
                    <a:gd name="T52" fmla="*/ 145 w 214"/>
                    <a:gd name="T53" fmla="*/ 95 h 294"/>
                    <a:gd name="T54" fmla="*/ 157 w 214"/>
                    <a:gd name="T55" fmla="*/ 97 h 294"/>
                    <a:gd name="T56" fmla="*/ 177 w 214"/>
                    <a:gd name="T57" fmla="*/ 110 h 294"/>
                    <a:gd name="T58" fmla="*/ 203 w 214"/>
                    <a:gd name="T59" fmla="*/ 110 h 294"/>
                    <a:gd name="T60" fmla="*/ 198 w 214"/>
                    <a:gd name="T61" fmla="*/ 148 h 294"/>
                    <a:gd name="T62" fmla="*/ 198 w 214"/>
                    <a:gd name="T63" fmla="*/ 168 h 294"/>
                    <a:gd name="T64" fmla="*/ 207 w 214"/>
                    <a:gd name="T65" fmla="*/ 176 h 294"/>
                    <a:gd name="T66" fmla="*/ 214 w 214"/>
                    <a:gd name="T67" fmla="*/ 198 h 294"/>
                    <a:gd name="T68" fmla="*/ 204 w 214"/>
                    <a:gd name="T69" fmla="*/ 184 h 294"/>
                    <a:gd name="T70" fmla="*/ 191 w 214"/>
                    <a:gd name="T71" fmla="*/ 186 h 294"/>
                    <a:gd name="T72" fmla="*/ 168 w 214"/>
                    <a:gd name="T73" fmla="*/ 189 h 294"/>
                    <a:gd name="T74" fmla="*/ 165 w 214"/>
                    <a:gd name="T75" fmla="*/ 201 h 294"/>
                    <a:gd name="T76" fmla="*/ 173 w 214"/>
                    <a:gd name="T77" fmla="*/ 208 h 294"/>
                    <a:gd name="T78" fmla="*/ 158 w 214"/>
                    <a:gd name="T79" fmla="*/ 209 h 294"/>
                    <a:gd name="T80" fmla="*/ 160 w 214"/>
                    <a:gd name="T81" fmla="*/ 225 h 294"/>
                    <a:gd name="T82" fmla="*/ 165 w 214"/>
                    <a:gd name="T83" fmla="*/ 234 h 294"/>
                    <a:gd name="T84" fmla="*/ 157 w 214"/>
                    <a:gd name="T85" fmla="*/ 290 h 294"/>
                    <a:gd name="T86" fmla="*/ 145 w 214"/>
                    <a:gd name="T87" fmla="*/ 286 h 294"/>
                    <a:gd name="T88" fmla="*/ 142 w 214"/>
                    <a:gd name="T89" fmla="*/ 258 h 294"/>
                    <a:gd name="T90" fmla="*/ 131 w 214"/>
                    <a:gd name="T91" fmla="*/ 258 h 294"/>
                    <a:gd name="T92" fmla="*/ 118 w 214"/>
                    <a:gd name="T93" fmla="*/ 261 h 294"/>
                    <a:gd name="T94" fmla="*/ 102 w 214"/>
                    <a:gd name="T95" fmla="*/ 253 h 294"/>
                    <a:gd name="T96" fmla="*/ 94 w 214"/>
                    <a:gd name="T97" fmla="*/ 241 h 294"/>
                    <a:gd name="T98" fmla="*/ 81 w 214"/>
                    <a:gd name="T99" fmla="*/ 228 h 294"/>
                    <a:gd name="T100" fmla="*/ 55 w 214"/>
                    <a:gd name="T101" fmla="*/ 217 h 294"/>
                    <a:gd name="T102" fmla="*/ 46 w 214"/>
                    <a:gd name="T103" fmla="*/ 215 h 294"/>
                    <a:gd name="T104" fmla="*/ 30 w 214"/>
                    <a:gd name="T105" fmla="*/ 214 h 294"/>
                    <a:gd name="T106" fmla="*/ 22 w 214"/>
                    <a:gd name="T107" fmla="*/ 205 h 294"/>
                    <a:gd name="T108" fmla="*/ 15 w 214"/>
                    <a:gd name="T109" fmla="*/ 17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4" h="294">
                      <a:moveTo>
                        <a:pt x="12" y="201"/>
                      </a:moveTo>
                      <a:lnTo>
                        <a:pt x="3" y="194"/>
                      </a:lnTo>
                      <a:lnTo>
                        <a:pt x="2" y="192"/>
                      </a:lnTo>
                      <a:lnTo>
                        <a:pt x="0" y="192"/>
                      </a:lnTo>
                      <a:lnTo>
                        <a:pt x="0" y="191"/>
                      </a:lnTo>
                      <a:lnTo>
                        <a:pt x="2" y="189"/>
                      </a:lnTo>
                      <a:lnTo>
                        <a:pt x="3" y="188"/>
                      </a:lnTo>
                      <a:lnTo>
                        <a:pt x="5" y="188"/>
                      </a:lnTo>
                      <a:lnTo>
                        <a:pt x="6" y="188"/>
                      </a:lnTo>
                      <a:lnTo>
                        <a:pt x="7" y="188"/>
                      </a:lnTo>
                      <a:lnTo>
                        <a:pt x="9" y="185"/>
                      </a:lnTo>
                      <a:lnTo>
                        <a:pt x="7" y="181"/>
                      </a:lnTo>
                      <a:lnTo>
                        <a:pt x="7" y="178"/>
                      </a:lnTo>
                      <a:lnTo>
                        <a:pt x="10" y="176"/>
                      </a:lnTo>
                      <a:lnTo>
                        <a:pt x="12" y="176"/>
                      </a:lnTo>
                      <a:lnTo>
                        <a:pt x="16" y="175"/>
                      </a:lnTo>
                      <a:lnTo>
                        <a:pt x="17" y="175"/>
                      </a:lnTo>
                      <a:lnTo>
                        <a:pt x="17" y="175"/>
                      </a:lnTo>
                      <a:lnTo>
                        <a:pt x="20" y="172"/>
                      </a:lnTo>
                      <a:lnTo>
                        <a:pt x="23" y="169"/>
                      </a:lnTo>
                      <a:lnTo>
                        <a:pt x="23" y="168"/>
                      </a:lnTo>
                      <a:lnTo>
                        <a:pt x="23" y="168"/>
                      </a:lnTo>
                      <a:lnTo>
                        <a:pt x="23" y="166"/>
                      </a:lnTo>
                      <a:lnTo>
                        <a:pt x="23" y="166"/>
                      </a:lnTo>
                      <a:lnTo>
                        <a:pt x="23" y="166"/>
                      </a:lnTo>
                      <a:lnTo>
                        <a:pt x="26" y="165"/>
                      </a:lnTo>
                      <a:lnTo>
                        <a:pt x="26" y="165"/>
                      </a:lnTo>
                      <a:lnTo>
                        <a:pt x="29" y="162"/>
                      </a:lnTo>
                      <a:lnTo>
                        <a:pt x="35" y="151"/>
                      </a:lnTo>
                      <a:lnTo>
                        <a:pt x="32" y="152"/>
                      </a:lnTo>
                      <a:lnTo>
                        <a:pt x="32" y="151"/>
                      </a:lnTo>
                      <a:lnTo>
                        <a:pt x="30" y="149"/>
                      </a:lnTo>
                      <a:lnTo>
                        <a:pt x="30" y="148"/>
                      </a:lnTo>
                      <a:lnTo>
                        <a:pt x="30" y="149"/>
                      </a:lnTo>
                      <a:lnTo>
                        <a:pt x="29" y="149"/>
                      </a:lnTo>
                      <a:lnTo>
                        <a:pt x="29" y="151"/>
                      </a:lnTo>
                      <a:lnTo>
                        <a:pt x="29" y="149"/>
                      </a:lnTo>
                      <a:lnTo>
                        <a:pt x="27" y="148"/>
                      </a:lnTo>
                      <a:lnTo>
                        <a:pt x="27" y="146"/>
                      </a:lnTo>
                      <a:lnTo>
                        <a:pt x="29" y="145"/>
                      </a:lnTo>
                      <a:lnTo>
                        <a:pt x="26" y="145"/>
                      </a:lnTo>
                      <a:lnTo>
                        <a:pt x="29" y="141"/>
                      </a:lnTo>
                      <a:lnTo>
                        <a:pt x="30" y="139"/>
                      </a:lnTo>
                      <a:lnTo>
                        <a:pt x="30" y="136"/>
                      </a:lnTo>
                      <a:lnTo>
                        <a:pt x="29" y="128"/>
                      </a:lnTo>
                      <a:lnTo>
                        <a:pt x="29" y="125"/>
                      </a:lnTo>
                      <a:lnTo>
                        <a:pt x="26" y="122"/>
                      </a:lnTo>
                      <a:lnTo>
                        <a:pt x="27" y="120"/>
                      </a:lnTo>
                      <a:lnTo>
                        <a:pt x="29" y="120"/>
                      </a:lnTo>
                      <a:lnTo>
                        <a:pt x="30" y="119"/>
                      </a:lnTo>
                      <a:lnTo>
                        <a:pt x="30" y="116"/>
                      </a:lnTo>
                      <a:lnTo>
                        <a:pt x="30" y="115"/>
                      </a:lnTo>
                      <a:lnTo>
                        <a:pt x="27" y="110"/>
                      </a:lnTo>
                      <a:lnTo>
                        <a:pt x="27" y="109"/>
                      </a:lnTo>
                      <a:lnTo>
                        <a:pt x="29" y="109"/>
                      </a:lnTo>
                      <a:lnTo>
                        <a:pt x="29" y="107"/>
                      </a:lnTo>
                      <a:lnTo>
                        <a:pt x="29" y="107"/>
                      </a:lnTo>
                      <a:lnTo>
                        <a:pt x="29" y="106"/>
                      </a:lnTo>
                      <a:lnTo>
                        <a:pt x="29" y="105"/>
                      </a:lnTo>
                      <a:lnTo>
                        <a:pt x="29" y="103"/>
                      </a:lnTo>
                      <a:lnTo>
                        <a:pt x="26" y="102"/>
                      </a:lnTo>
                      <a:lnTo>
                        <a:pt x="22" y="95"/>
                      </a:lnTo>
                      <a:lnTo>
                        <a:pt x="20" y="92"/>
                      </a:lnTo>
                      <a:lnTo>
                        <a:pt x="22" y="84"/>
                      </a:lnTo>
                      <a:lnTo>
                        <a:pt x="22" y="83"/>
                      </a:lnTo>
                      <a:lnTo>
                        <a:pt x="25" y="84"/>
                      </a:lnTo>
                      <a:lnTo>
                        <a:pt x="25" y="86"/>
                      </a:lnTo>
                      <a:lnTo>
                        <a:pt x="26" y="86"/>
                      </a:lnTo>
                      <a:lnTo>
                        <a:pt x="29" y="84"/>
                      </a:lnTo>
                      <a:lnTo>
                        <a:pt x="32" y="79"/>
                      </a:lnTo>
                      <a:lnTo>
                        <a:pt x="32" y="79"/>
                      </a:lnTo>
                      <a:lnTo>
                        <a:pt x="32" y="77"/>
                      </a:lnTo>
                      <a:lnTo>
                        <a:pt x="32" y="76"/>
                      </a:lnTo>
                      <a:lnTo>
                        <a:pt x="30" y="74"/>
                      </a:lnTo>
                      <a:lnTo>
                        <a:pt x="29" y="72"/>
                      </a:lnTo>
                      <a:lnTo>
                        <a:pt x="27" y="69"/>
                      </a:lnTo>
                      <a:lnTo>
                        <a:pt x="29" y="67"/>
                      </a:lnTo>
                      <a:lnTo>
                        <a:pt x="30" y="69"/>
                      </a:lnTo>
                      <a:lnTo>
                        <a:pt x="38" y="76"/>
                      </a:lnTo>
                      <a:lnTo>
                        <a:pt x="38" y="77"/>
                      </a:lnTo>
                      <a:lnTo>
                        <a:pt x="38" y="77"/>
                      </a:lnTo>
                      <a:lnTo>
                        <a:pt x="38" y="77"/>
                      </a:lnTo>
                      <a:lnTo>
                        <a:pt x="38" y="79"/>
                      </a:lnTo>
                      <a:lnTo>
                        <a:pt x="38" y="79"/>
                      </a:lnTo>
                      <a:lnTo>
                        <a:pt x="39" y="80"/>
                      </a:lnTo>
                      <a:lnTo>
                        <a:pt x="39" y="79"/>
                      </a:lnTo>
                      <a:lnTo>
                        <a:pt x="40" y="77"/>
                      </a:lnTo>
                      <a:lnTo>
                        <a:pt x="40" y="74"/>
                      </a:lnTo>
                      <a:lnTo>
                        <a:pt x="39" y="73"/>
                      </a:lnTo>
                      <a:lnTo>
                        <a:pt x="38" y="69"/>
                      </a:lnTo>
                      <a:lnTo>
                        <a:pt x="38" y="67"/>
                      </a:lnTo>
                      <a:lnTo>
                        <a:pt x="39" y="66"/>
                      </a:lnTo>
                      <a:lnTo>
                        <a:pt x="46" y="63"/>
                      </a:lnTo>
                      <a:lnTo>
                        <a:pt x="48" y="61"/>
                      </a:lnTo>
                      <a:lnTo>
                        <a:pt x="49" y="59"/>
                      </a:lnTo>
                      <a:lnTo>
                        <a:pt x="50" y="56"/>
                      </a:lnTo>
                      <a:lnTo>
                        <a:pt x="52" y="54"/>
                      </a:lnTo>
                      <a:lnTo>
                        <a:pt x="55" y="53"/>
                      </a:lnTo>
                      <a:lnTo>
                        <a:pt x="56" y="53"/>
                      </a:lnTo>
                      <a:lnTo>
                        <a:pt x="58" y="53"/>
                      </a:lnTo>
                      <a:lnTo>
                        <a:pt x="59" y="53"/>
                      </a:lnTo>
                      <a:lnTo>
                        <a:pt x="59" y="53"/>
                      </a:lnTo>
                      <a:lnTo>
                        <a:pt x="61" y="51"/>
                      </a:lnTo>
                      <a:lnTo>
                        <a:pt x="59" y="50"/>
                      </a:lnTo>
                      <a:lnTo>
                        <a:pt x="59" y="49"/>
                      </a:lnTo>
                      <a:lnTo>
                        <a:pt x="59" y="47"/>
                      </a:lnTo>
                      <a:lnTo>
                        <a:pt x="59" y="46"/>
                      </a:lnTo>
                      <a:lnTo>
                        <a:pt x="61" y="38"/>
                      </a:lnTo>
                      <a:lnTo>
                        <a:pt x="61" y="38"/>
                      </a:lnTo>
                      <a:lnTo>
                        <a:pt x="59" y="40"/>
                      </a:lnTo>
                      <a:lnTo>
                        <a:pt x="58" y="40"/>
                      </a:lnTo>
                      <a:lnTo>
                        <a:pt x="65" y="31"/>
                      </a:lnTo>
                      <a:lnTo>
                        <a:pt x="71" y="26"/>
                      </a:lnTo>
                      <a:lnTo>
                        <a:pt x="72" y="24"/>
                      </a:lnTo>
                      <a:lnTo>
                        <a:pt x="73" y="23"/>
                      </a:lnTo>
                      <a:lnTo>
                        <a:pt x="75" y="23"/>
                      </a:lnTo>
                      <a:lnTo>
                        <a:pt x="81" y="24"/>
                      </a:lnTo>
                      <a:lnTo>
                        <a:pt x="82" y="26"/>
                      </a:lnTo>
                      <a:lnTo>
                        <a:pt x="81" y="26"/>
                      </a:lnTo>
                      <a:lnTo>
                        <a:pt x="79" y="27"/>
                      </a:lnTo>
                      <a:lnTo>
                        <a:pt x="81" y="28"/>
                      </a:lnTo>
                      <a:lnTo>
                        <a:pt x="82" y="28"/>
                      </a:lnTo>
                      <a:lnTo>
                        <a:pt x="84" y="27"/>
                      </a:lnTo>
                      <a:lnTo>
                        <a:pt x="85" y="21"/>
                      </a:lnTo>
                      <a:lnTo>
                        <a:pt x="86" y="18"/>
                      </a:lnTo>
                      <a:lnTo>
                        <a:pt x="89" y="18"/>
                      </a:lnTo>
                      <a:lnTo>
                        <a:pt x="95" y="20"/>
                      </a:lnTo>
                      <a:lnTo>
                        <a:pt x="99" y="20"/>
                      </a:lnTo>
                      <a:lnTo>
                        <a:pt x="102" y="18"/>
                      </a:lnTo>
                      <a:lnTo>
                        <a:pt x="111" y="13"/>
                      </a:lnTo>
                      <a:lnTo>
                        <a:pt x="115" y="10"/>
                      </a:lnTo>
                      <a:lnTo>
                        <a:pt x="118" y="10"/>
                      </a:lnTo>
                      <a:lnTo>
                        <a:pt x="119" y="7"/>
                      </a:lnTo>
                      <a:lnTo>
                        <a:pt x="122" y="4"/>
                      </a:lnTo>
                      <a:lnTo>
                        <a:pt x="122" y="3"/>
                      </a:lnTo>
                      <a:lnTo>
                        <a:pt x="125" y="1"/>
                      </a:lnTo>
                      <a:lnTo>
                        <a:pt x="128" y="0"/>
                      </a:lnTo>
                      <a:lnTo>
                        <a:pt x="131" y="0"/>
                      </a:lnTo>
                      <a:lnTo>
                        <a:pt x="134" y="0"/>
                      </a:lnTo>
                      <a:lnTo>
                        <a:pt x="137" y="1"/>
                      </a:lnTo>
                      <a:lnTo>
                        <a:pt x="138" y="3"/>
                      </a:lnTo>
                      <a:lnTo>
                        <a:pt x="138" y="5"/>
                      </a:lnTo>
                      <a:lnTo>
                        <a:pt x="137" y="7"/>
                      </a:lnTo>
                      <a:lnTo>
                        <a:pt x="135" y="10"/>
                      </a:lnTo>
                      <a:lnTo>
                        <a:pt x="132" y="10"/>
                      </a:lnTo>
                      <a:lnTo>
                        <a:pt x="127" y="13"/>
                      </a:lnTo>
                      <a:lnTo>
                        <a:pt x="124" y="14"/>
                      </a:lnTo>
                      <a:lnTo>
                        <a:pt x="122" y="15"/>
                      </a:lnTo>
                      <a:lnTo>
                        <a:pt x="121" y="20"/>
                      </a:lnTo>
                      <a:lnTo>
                        <a:pt x="119" y="21"/>
                      </a:lnTo>
                      <a:lnTo>
                        <a:pt x="118" y="21"/>
                      </a:lnTo>
                      <a:lnTo>
                        <a:pt x="115" y="24"/>
                      </a:lnTo>
                      <a:lnTo>
                        <a:pt x="114" y="24"/>
                      </a:lnTo>
                      <a:lnTo>
                        <a:pt x="109" y="31"/>
                      </a:lnTo>
                      <a:lnTo>
                        <a:pt x="105" y="46"/>
                      </a:lnTo>
                      <a:lnTo>
                        <a:pt x="102" y="53"/>
                      </a:lnTo>
                      <a:lnTo>
                        <a:pt x="99" y="56"/>
                      </a:lnTo>
                      <a:lnTo>
                        <a:pt x="101" y="57"/>
                      </a:lnTo>
                      <a:lnTo>
                        <a:pt x="102" y="56"/>
                      </a:lnTo>
                      <a:lnTo>
                        <a:pt x="105" y="56"/>
                      </a:lnTo>
                      <a:lnTo>
                        <a:pt x="105" y="56"/>
                      </a:lnTo>
                      <a:lnTo>
                        <a:pt x="108" y="59"/>
                      </a:lnTo>
                      <a:lnTo>
                        <a:pt x="108" y="59"/>
                      </a:lnTo>
                      <a:lnTo>
                        <a:pt x="109" y="60"/>
                      </a:lnTo>
                      <a:lnTo>
                        <a:pt x="109" y="61"/>
                      </a:lnTo>
                      <a:lnTo>
                        <a:pt x="111" y="64"/>
                      </a:lnTo>
                      <a:lnTo>
                        <a:pt x="112" y="67"/>
                      </a:lnTo>
                      <a:lnTo>
                        <a:pt x="115" y="70"/>
                      </a:lnTo>
                      <a:lnTo>
                        <a:pt x="117" y="73"/>
                      </a:lnTo>
                      <a:lnTo>
                        <a:pt x="117" y="76"/>
                      </a:lnTo>
                      <a:lnTo>
                        <a:pt x="117" y="79"/>
                      </a:lnTo>
                      <a:lnTo>
                        <a:pt x="115" y="82"/>
                      </a:lnTo>
                      <a:lnTo>
                        <a:pt x="115" y="84"/>
                      </a:lnTo>
                      <a:lnTo>
                        <a:pt x="115" y="87"/>
                      </a:lnTo>
                      <a:lnTo>
                        <a:pt x="117" y="89"/>
                      </a:lnTo>
                      <a:lnTo>
                        <a:pt x="119" y="89"/>
                      </a:lnTo>
                      <a:lnTo>
                        <a:pt x="119" y="90"/>
                      </a:lnTo>
                      <a:lnTo>
                        <a:pt x="121" y="92"/>
                      </a:lnTo>
                      <a:lnTo>
                        <a:pt x="122" y="93"/>
                      </a:lnTo>
                      <a:lnTo>
                        <a:pt x="122" y="95"/>
                      </a:lnTo>
                      <a:lnTo>
                        <a:pt x="125" y="96"/>
                      </a:lnTo>
                      <a:lnTo>
                        <a:pt x="127" y="96"/>
                      </a:lnTo>
                      <a:lnTo>
                        <a:pt x="131" y="96"/>
                      </a:lnTo>
                      <a:lnTo>
                        <a:pt x="132" y="96"/>
                      </a:lnTo>
                      <a:lnTo>
                        <a:pt x="137" y="96"/>
                      </a:lnTo>
                      <a:lnTo>
                        <a:pt x="140" y="96"/>
                      </a:lnTo>
                      <a:lnTo>
                        <a:pt x="141" y="96"/>
                      </a:lnTo>
                      <a:lnTo>
                        <a:pt x="144" y="95"/>
                      </a:lnTo>
                      <a:lnTo>
                        <a:pt x="145" y="95"/>
                      </a:lnTo>
                      <a:lnTo>
                        <a:pt x="147" y="95"/>
                      </a:lnTo>
                      <a:lnTo>
                        <a:pt x="148" y="96"/>
                      </a:lnTo>
                      <a:lnTo>
                        <a:pt x="150" y="96"/>
                      </a:lnTo>
                      <a:lnTo>
                        <a:pt x="151" y="96"/>
                      </a:lnTo>
                      <a:lnTo>
                        <a:pt x="152" y="96"/>
                      </a:lnTo>
                      <a:lnTo>
                        <a:pt x="155" y="97"/>
                      </a:lnTo>
                      <a:lnTo>
                        <a:pt x="157" y="97"/>
                      </a:lnTo>
                      <a:lnTo>
                        <a:pt x="158" y="99"/>
                      </a:lnTo>
                      <a:lnTo>
                        <a:pt x="165" y="109"/>
                      </a:lnTo>
                      <a:lnTo>
                        <a:pt x="168" y="110"/>
                      </a:lnTo>
                      <a:lnTo>
                        <a:pt x="171" y="112"/>
                      </a:lnTo>
                      <a:lnTo>
                        <a:pt x="173" y="112"/>
                      </a:lnTo>
                      <a:lnTo>
                        <a:pt x="175" y="110"/>
                      </a:lnTo>
                      <a:lnTo>
                        <a:pt x="177" y="110"/>
                      </a:lnTo>
                      <a:lnTo>
                        <a:pt x="178" y="110"/>
                      </a:lnTo>
                      <a:lnTo>
                        <a:pt x="183" y="110"/>
                      </a:lnTo>
                      <a:lnTo>
                        <a:pt x="184" y="112"/>
                      </a:lnTo>
                      <a:lnTo>
                        <a:pt x="188" y="110"/>
                      </a:lnTo>
                      <a:lnTo>
                        <a:pt x="196" y="109"/>
                      </a:lnTo>
                      <a:lnTo>
                        <a:pt x="198" y="109"/>
                      </a:lnTo>
                      <a:lnTo>
                        <a:pt x="203" y="110"/>
                      </a:lnTo>
                      <a:lnTo>
                        <a:pt x="203" y="112"/>
                      </a:lnTo>
                      <a:lnTo>
                        <a:pt x="203" y="115"/>
                      </a:lnTo>
                      <a:lnTo>
                        <a:pt x="201" y="118"/>
                      </a:lnTo>
                      <a:lnTo>
                        <a:pt x="198" y="125"/>
                      </a:lnTo>
                      <a:lnTo>
                        <a:pt x="197" y="132"/>
                      </a:lnTo>
                      <a:lnTo>
                        <a:pt x="197" y="141"/>
                      </a:lnTo>
                      <a:lnTo>
                        <a:pt x="198" y="148"/>
                      </a:lnTo>
                      <a:lnTo>
                        <a:pt x="200" y="151"/>
                      </a:lnTo>
                      <a:lnTo>
                        <a:pt x="200" y="152"/>
                      </a:lnTo>
                      <a:lnTo>
                        <a:pt x="204" y="158"/>
                      </a:lnTo>
                      <a:lnTo>
                        <a:pt x="206" y="159"/>
                      </a:lnTo>
                      <a:lnTo>
                        <a:pt x="206" y="161"/>
                      </a:lnTo>
                      <a:lnTo>
                        <a:pt x="204" y="164"/>
                      </a:lnTo>
                      <a:lnTo>
                        <a:pt x="198" y="168"/>
                      </a:lnTo>
                      <a:lnTo>
                        <a:pt x="197" y="171"/>
                      </a:lnTo>
                      <a:lnTo>
                        <a:pt x="198" y="169"/>
                      </a:lnTo>
                      <a:lnTo>
                        <a:pt x="200" y="171"/>
                      </a:lnTo>
                      <a:lnTo>
                        <a:pt x="201" y="172"/>
                      </a:lnTo>
                      <a:lnTo>
                        <a:pt x="203" y="174"/>
                      </a:lnTo>
                      <a:lnTo>
                        <a:pt x="206" y="176"/>
                      </a:lnTo>
                      <a:lnTo>
                        <a:pt x="207" y="176"/>
                      </a:lnTo>
                      <a:lnTo>
                        <a:pt x="207" y="178"/>
                      </a:lnTo>
                      <a:lnTo>
                        <a:pt x="207" y="178"/>
                      </a:lnTo>
                      <a:lnTo>
                        <a:pt x="207" y="179"/>
                      </a:lnTo>
                      <a:lnTo>
                        <a:pt x="207" y="179"/>
                      </a:lnTo>
                      <a:lnTo>
                        <a:pt x="211" y="189"/>
                      </a:lnTo>
                      <a:lnTo>
                        <a:pt x="213" y="194"/>
                      </a:lnTo>
                      <a:lnTo>
                        <a:pt x="214" y="198"/>
                      </a:lnTo>
                      <a:lnTo>
                        <a:pt x="210" y="198"/>
                      </a:lnTo>
                      <a:lnTo>
                        <a:pt x="210" y="197"/>
                      </a:lnTo>
                      <a:lnTo>
                        <a:pt x="210" y="192"/>
                      </a:lnTo>
                      <a:lnTo>
                        <a:pt x="210" y="189"/>
                      </a:lnTo>
                      <a:lnTo>
                        <a:pt x="208" y="186"/>
                      </a:lnTo>
                      <a:lnTo>
                        <a:pt x="207" y="185"/>
                      </a:lnTo>
                      <a:lnTo>
                        <a:pt x="204" y="184"/>
                      </a:lnTo>
                      <a:lnTo>
                        <a:pt x="201" y="184"/>
                      </a:lnTo>
                      <a:lnTo>
                        <a:pt x="200" y="185"/>
                      </a:lnTo>
                      <a:lnTo>
                        <a:pt x="198" y="186"/>
                      </a:lnTo>
                      <a:lnTo>
                        <a:pt x="196" y="188"/>
                      </a:lnTo>
                      <a:lnTo>
                        <a:pt x="194" y="188"/>
                      </a:lnTo>
                      <a:lnTo>
                        <a:pt x="193" y="188"/>
                      </a:lnTo>
                      <a:lnTo>
                        <a:pt x="191" y="186"/>
                      </a:lnTo>
                      <a:lnTo>
                        <a:pt x="191" y="185"/>
                      </a:lnTo>
                      <a:lnTo>
                        <a:pt x="190" y="185"/>
                      </a:lnTo>
                      <a:lnTo>
                        <a:pt x="190" y="186"/>
                      </a:lnTo>
                      <a:lnTo>
                        <a:pt x="190" y="186"/>
                      </a:lnTo>
                      <a:lnTo>
                        <a:pt x="190" y="188"/>
                      </a:lnTo>
                      <a:lnTo>
                        <a:pt x="191" y="189"/>
                      </a:lnTo>
                      <a:lnTo>
                        <a:pt x="168" y="189"/>
                      </a:lnTo>
                      <a:lnTo>
                        <a:pt x="165" y="188"/>
                      </a:lnTo>
                      <a:lnTo>
                        <a:pt x="164" y="189"/>
                      </a:lnTo>
                      <a:lnTo>
                        <a:pt x="162" y="189"/>
                      </a:lnTo>
                      <a:lnTo>
                        <a:pt x="161" y="192"/>
                      </a:lnTo>
                      <a:lnTo>
                        <a:pt x="161" y="195"/>
                      </a:lnTo>
                      <a:lnTo>
                        <a:pt x="161" y="201"/>
                      </a:lnTo>
                      <a:lnTo>
                        <a:pt x="165" y="201"/>
                      </a:lnTo>
                      <a:lnTo>
                        <a:pt x="168" y="201"/>
                      </a:lnTo>
                      <a:lnTo>
                        <a:pt x="170" y="201"/>
                      </a:lnTo>
                      <a:lnTo>
                        <a:pt x="171" y="202"/>
                      </a:lnTo>
                      <a:lnTo>
                        <a:pt x="173" y="204"/>
                      </a:lnTo>
                      <a:lnTo>
                        <a:pt x="174" y="207"/>
                      </a:lnTo>
                      <a:lnTo>
                        <a:pt x="174" y="208"/>
                      </a:lnTo>
                      <a:lnTo>
                        <a:pt x="173" y="208"/>
                      </a:lnTo>
                      <a:lnTo>
                        <a:pt x="170" y="208"/>
                      </a:lnTo>
                      <a:lnTo>
                        <a:pt x="168" y="208"/>
                      </a:lnTo>
                      <a:lnTo>
                        <a:pt x="167" y="207"/>
                      </a:lnTo>
                      <a:lnTo>
                        <a:pt x="165" y="207"/>
                      </a:lnTo>
                      <a:lnTo>
                        <a:pt x="161" y="208"/>
                      </a:lnTo>
                      <a:lnTo>
                        <a:pt x="158" y="209"/>
                      </a:lnTo>
                      <a:lnTo>
                        <a:pt x="158" y="209"/>
                      </a:lnTo>
                      <a:lnTo>
                        <a:pt x="158" y="211"/>
                      </a:lnTo>
                      <a:lnTo>
                        <a:pt x="157" y="212"/>
                      </a:lnTo>
                      <a:lnTo>
                        <a:pt x="158" y="215"/>
                      </a:lnTo>
                      <a:lnTo>
                        <a:pt x="157" y="220"/>
                      </a:lnTo>
                      <a:lnTo>
                        <a:pt x="157" y="221"/>
                      </a:lnTo>
                      <a:lnTo>
                        <a:pt x="158" y="224"/>
                      </a:lnTo>
                      <a:lnTo>
                        <a:pt x="160" y="225"/>
                      </a:lnTo>
                      <a:lnTo>
                        <a:pt x="164" y="227"/>
                      </a:lnTo>
                      <a:lnTo>
                        <a:pt x="165" y="228"/>
                      </a:lnTo>
                      <a:lnTo>
                        <a:pt x="165" y="230"/>
                      </a:lnTo>
                      <a:lnTo>
                        <a:pt x="165" y="230"/>
                      </a:lnTo>
                      <a:lnTo>
                        <a:pt x="165" y="231"/>
                      </a:lnTo>
                      <a:lnTo>
                        <a:pt x="165" y="232"/>
                      </a:lnTo>
                      <a:lnTo>
                        <a:pt x="165" y="234"/>
                      </a:lnTo>
                      <a:lnTo>
                        <a:pt x="168" y="237"/>
                      </a:lnTo>
                      <a:lnTo>
                        <a:pt x="168" y="238"/>
                      </a:lnTo>
                      <a:lnTo>
                        <a:pt x="168" y="241"/>
                      </a:lnTo>
                      <a:lnTo>
                        <a:pt x="168" y="244"/>
                      </a:lnTo>
                      <a:lnTo>
                        <a:pt x="162" y="284"/>
                      </a:lnTo>
                      <a:lnTo>
                        <a:pt x="160" y="294"/>
                      </a:lnTo>
                      <a:lnTo>
                        <a:pt x="157" y="290"/>
                      </a:lnTo>
                      <a:lnTo>
                        <a:pt x="154" y="289"/>
                      </a:lnTo>
                      <a:lnTo>
                        <a:pt x="152" y="287"/>
                      </a:lnTo>
                      <a:lnTo>
                        <a:pt x="152" y="287"/>
                      </a:lnTo>
                      <a:lnTo>
                        <a:pt x="151" y="287"/>
                      </a:lnTo>
                      <a:lnTo>
                        <a:pt x="150" y="287"/>
                      </a:lnTo>
                      <a:lnTo>
                        <a:pt x="150" y="287"/>
                      </a:lnTo>
                      <a:lnTo>
                        <a:pt x="145" y="286"/>
                      </a:lnTo>
                      <a:lnTo>
                        <a:pt x="155" y="273"/>
                      </a:lnTo>
                      <a:lnTo>
                        <a:pt x="157" y="268"/>
                      </a:lnTo>
                      <a:lnTo>
                        <a:pt x="157" y="267"/>
                      </a:lnTo>
                      <a:lnTo>
                        <a:pt x="154" y="264"/>
                      </a:lnTo>
                      <a:lnTo>
                        <a:pt x="148" y="263"/>
                      </a:lnTo>
                      <a:lnTo>
                        <a:pt x="145" y="260"/>
                      </a:lnTo>
                      <a:lnTo>
                        <a:pt x="142" y="258"/>
                      </a:lnTo>
                      <a:lnTo>
                        <a:pt x="141" y="258"/>
                      </a:lnTo>
                      <a:lnTo>
                        <a:pt x="140" y="258"/>
                      </a:lnTo>
                      <a:lnTo>
                        <a:pt x="138" y="260"/>
                      </a:lnTo>
                      <a:lnTo>
                        <a:pt x="135" y="260"/>
                      </a:lnTo>
                      <a:lnTo>
                        <a:pt x="134" y="260"/>
                      </a:lnTo>
                      <a:lnTo>
                        <a:pt x="132" y="260"/>
                      </a:lnTo>
                      <a:lnTo>
                        <a:pt x="131" y="258"/>
                      </a:lnTo>
                      <a:lnTo>
                        <a:pt x="129" y="258"/>
                      </a:lnTo>
                      <a:lnTo>
                        <a:pt x="128" y="257"/>
                      </a:lnTo>
                      <a:lnTo>
                        <a:pt x="127" y="258"/>
                      </a:lnTo>
                      <a:lnTo>
                        <a:pt x="124" y="260"/>
                      </a:lnTo>
                      <a:lnTo>
                        <a:pt x="122" y="261"/>
                      </a:lnTo>
                      <a:lnTo>
                        <a:pt x="119" y="261"/>
                      </a:lnTo>
                      <a:lnTo>
                        <a:pt x="118" y="261"/>
                      </a:lnTo>
                      <a:lnTo>
                        <a:pt x="114" y="261"/>
                      </a:lnTo>
                      <a:lnTo>
                        <a:pt x="109" y="263"/>
                      </a:lnTo>
                      <a:lnTo>
                        <a:pt x="108" y="263"/>
                      </a:lnTo>
                      <a:lnTo>
                        <a:pt x="105" y="261"/>
                      </a:lnTo>
                      <a:lnTo>
                        <a:pt x="104" y="258"/>
                      </a:lnTo>
                      <a:lnTo>
                        <a:pt x="104" y="255"/>
                      </a:lnTo>
                      <a:lnTo>
                        <a:pt x="102" y="253"/>
                      </a:lnTo>
                      <a:lnTo>
                        <a:pt x="101" y="251"/>
                      </a:lnTo>
                      <a:lnTo>
                        <a:pt x="99" y="251"/>
                      </a:lnTo>
                      <a:lnTo>
                        <a:pt x="98" y="250"/>
                      </a:lnTo>
                      <a:lnTo>
                        <a:pt x="96" y="248"/>
                      </a:lnTo>
                      <a:lnTo>
                        <a:pt x="96" y="245"/>
                      </a:lnTo>
                      <a:lnTo>
                        <a:pt x="95" y="244"/>
                      </a:lnTo>
                      <a:lnTo>
                        <a:pt x="94" y="241"/>
                      </a:lnTo>
                      <a:lnTo>
                        <a:pt x="86" y="238"/>
                      </a:lnTo>
                      <a:lnTo>
                        <a:pt x="84" y="237"/>
                      </a:lnTo>
                      <a:lnTo>
                        <a:pt x="84" y="235"/>
                      </a:lnTo>
                      <a:lnTo>
                        <a:pt x="82" y="234"/>
                      </a:lnTo>
                      <a:lnTo>
                        <a:pt x="82" y="232"/>
                      </a:lnTo>
                      <a:lnTo>
                        <a:pt x="81" y="230"/>
                      </a:lnTo>
                      <a:lnTo>
                        <a:pt x="81" y="228"/>
                      </a:lnTo>
                      <a:lnTo>
                        <a:pt x="79" y="227"/>
                      </a:lnTo>
                      <a:lnTo>
                        <a:pt x="71" y="222"/>
                      </a:lnTo>
                      <a:lnTo>
                        <a:pt x="68" y="221"/>
                      </a:lnTo>
                      <a:lnTo>
                        <a:pt x="66" y="221"/>
                      </a:lnTo>
                      <a:lnTo>
                        <a:pt x="61" y="220"/>
                      </a:lnTo>
                      <a:lnTo>
                        <a:pt x="58" y="218"/>
                      </a:lnTo>
                      <a:lnTo>
                        <a:pt x="55" y="217"/>
                      </a:lnTo>
                      <a:lnTo>
                        <a:pt x="52" y="214"/>
                      </a:lnTo>
                      <a:lnTo>
                        <a:pt x="49" y="212"/>
                      </a:lnTo>
                      <a:lnTo>
                        <a:pt x="48" y="212"/>
                      </a:lnTo>
                      <a:lnTo>
                        <a:pt x="46" y="212"/>
                      </a:lnTo>
                      <a:lnTo>
                        <a:pt x="46" y="214"/>
                      </a:lnTo>
                      <a:lnTo>
                        <a:pt x="46" y="214"/>
                      </a:lnTo>
                      <a:lnTo>
                        <a:pt x="46" y="215"/>
                      </a:lnTo>
                      <a:lnTo>
                        <a:pt x="45" y="215"/>
                      </a:lnTo>
                      <a:lnTo>
                        <a:pt x="43" y="215"/>
                      </a:lnTo>
                      <a:lnTo>
                        <a:pt x="39" y="215"/>
                      </a:lnTo>
                      <a:lnTo>
                        <a:pt x="33" y="214"/>
                      </a:lnTo>
                      <a:lnTo>
                        <a:pt x="32" y="214"/>
                      </a:lnTo>
                      <a:lnTo>
                        <a:pt x="32" y="214"/>
                      </a:lnTo>
                      <a:lnTo>
                        <a:pt x="30" y="214"/>
                      </a:lnTo>
                      <a:lnTo>
                        <a:pt x="29" y="212"/>
                      </a:lnTo>
                      <a:lnTo>
                        <a:pt x="29" y="212"/>
                      </a:lnTo>
                      <a:lnTo>
                        <a:pt x="27" y="211"/>
                      </a:lnTo>
                      <a:lnTo>
                        <a:pt x="27" y="209"/>
                      </a:lnTo>
                      <a:lnTo>
                        <a:pt x="27" y="208"/>
                      </a:lnTo>
                      <a:lnTo>
                        <a:pt x="26" y="208"/>
                      </a:lnTo>
                      <a:lnTo>
                        <a:pt x="22" y="205"/>
                      </a:lnTo>
                      <a:lnTo>
                        <a:pt x="15" y="202"/>
                      </a:lnTo>
                      <a:lnTo>
                        <a:pt x="12" y="201"/>
                      </a:lnTo>
                      <a:close/>
                      <a:moveTo>
                        <a:pt x="15" y="174"/>
                      </a:moveTo>
                      <a:lnTo>
                        <a:pt x="15" y="174"/>
                      </a:lnTo>
                      <a:lnTo>
                        <a:pt x="15" y="174"/>
                      </a:lnTo>
                      <a:lnTo>
                        <a:pt x="16" y="175"/>
                      </a:lnTo>
                      <a:lnTo>
                        <a:pt x="15" y="17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60" name="Freeform 253">
                  <a:extLst>
                    <a:ext uri="{FF2B5EF4-FFF2-40B4-BE49-F238E27FC236}">
                      <a16:creationId xmlns:a16="http://schemas.microsoft.com/office/drawing/2014/main" id="{71F37D86-CC31-8C3B-5EB6-EFF91913BC4A}"/>
                    </a:ext>
                  </a:extLst>
                </p:cNvPr>
                <p:cNvSpPr>
                  <a:spLocks noEditPoints="1"/>
                </p:cNvSpPr>
                <p:nvPr/>
              </p:nvSpPr>
              <p:spPr bwMode="auto">
                <a:xfrm>
                  <a:off x="2124" y="2692"/>
                  <a:ext cx="100" cy="113"/>
                </a:xfrm>
                <a:custGeom>
                  <a:avLst/>
                  <a:gdLst>
                    <a:gd name="T0" fmla="*/ 36 w 100"/>
                    <a:gd name="T1" fmla="*/ 4 h 113"/>
                    <a:gd name="T2" fmla="*/ 36 w 100"/>
                    <a:gd name="T3" fmla="*/ 3 h 113"/>
                    <a:gd name="T4" fmla="*/ 100 w 100"/>
                    <a:gd name="T5" fmla="*/ 36 h 113"/>
                    <a:gd name="T6" fmla="*/ 95 w 100"/>
                    <a:gd name="T7" fmla="*/ 28 h 113"/>
                    <a:gd name="T8" fmla="*/ 100 w 100"/>
                    <a:gd name="T9" fmla="*/ 27 h 113"/>
                    <a:gd name="T10" fmla="*/ 89 w 100"/>
                    <a:gd name="T11" fmla="*/ 23 h 113"/>
                    <a:gd name="T12" fmla="*/ 82 w 100"/>
                    <a:gd name="T13" fmla="*/ 18 h 113"/>
                    <a:gd name="T14" fmla="*/ 80 w 100"/>
                    <a:gd name="T15" fmla="*/ 20 h 113"/>
                    <a:gd name="T16" fmla="*/ 77 w 100"/>
                    <a:gd name="T17" fmla="*/ 21 h 113"/>
                    <a:gd name="T18" fmla="*/ 66 w 100"/>
                    <a:gd name="T19" fmla="*/ 20 h 113"/>
                    <a:gd name="T20" fmla="*/ 63 w 100"/>
                    <a:gd name="T21" fmla="*/ 18 h 113"/>
                    <a:gd name="T22" fmla="*/ 61 w 100"/>
                    <a:gd name="T23" fmla="*/ 15 h 113"/>
                    <a:gd name="T24" fmla="*/ 56 w 100"/>
                    <a:gd name="T25" fmla="*/ 11 h 113"/>
                    <a:gd name="T26" fmla="*/ 37 w 100"/>
                    <a:gd name="T27" fmla="*/ 0 h 113"/>
                    <a:gd name="T28" fmla="*/ 36 w 100"/>
                    <a:gd name="T29" fmla="*/ 4 h 113"/>
                    <a:gd name="T30" fmla="*/ 16 w 100"/>
                    <a:gd name="T31" fmla="*/ 13 h 113"/>
                    <a:gd name="T32" fmla="*/ 16 w 100"/>
                    <a:gd name="T33" fmla="*/ 20 h 113"/>
                    <a:gd name="T34" fmla="*/ 16 w 100"/>
                    <a:gd name="T35" fmla="*/ 24 h 113"/>
                    <a:gd name="T36" fmla="*/ 10 w 100"/>
                    <a:gd name="T37" fmla="*/ 31 h 113"/>
                    <a:gd name="T38" fmla="*/ 10 w 100"/>
                    <a:gd name="T39" fmla="*/ 36 h 113"/>
                    <a:gd name="T40" fmla="*/ 7 w 100"/>
                    <a:gd name="T41" fmla="*/ 40 h 113"/>
                    <a:gd name="T42" fmla="*/ 3 w 100"/>
                    <a:gd name="T43" fmla="*/ 43 h 113"/>
                    <a:gd name="T44" fmla="*/ 3 w 100"/>
                    <a:gd name="T45" fmla="*/ 49 h 113"/>
                    <a:gd name="T46" fmla="*/ 3 w 100"/>
                    <a:gd name="T47" fmla="*/ 53 h 113"/>
                    <a:gd name="T48" fmla="*/ 3 w 100"/>
                    <a:gd name="T49" fmla="*/ 57 h 113"/>
                    <a:gd name="T50" fmla="*/ 3 w 100"/>
                    <a:gd name="T51" fmla="*/ 63 h 113"/>
                    <a:gd name="T52" fmla="*/ 0 w 100"/>
                    <a:gd name="T53" fmla="*/ 66 h 113"/>
                    <a:gd name="T54" fmla="*/ 11 w 100"/>
                    <a:gd name="T55" fmla="*/ 73 h 113"/>
                    <a:gd name="T56" fmla="*/ 17 w 100"/>
                    <a:gd name="T57" fmla="*/ 69 h 113"/>
                    <a:gd name="T58" fmla="*/ 18 w 100"/>
                    <a:gd name="T59" fmla="*/ 70 h 113"/>
                    <a:gd name="T60" fmla="*/ 20 w 100"/>
                    <a:gd name="T61" fmla="*/ 61 h 113"/>
                    <a:gd name="T62" fmla="*/ 20 w 100"/>
                    <a:gd name="T63" fmla="*/ 74 h 113"/>
                    <a:gd name="T64" fmla="*/ 14 w 100"/>
                    <a:gd name="T65" fmla="*/ 83 h 113"/>
                    <a:gd name="T66" fmla="*/ 13 w 100"/>
                    <a:gd name="T67" fmla="*/ 90 h 113"/>
                    <a:gd name="T68" fmla="*/ 13 w 100"/>
                    <a:gd name="T69" fmla="*/ 95 h 113"/>
                    <a:gd name="T70" fmla="*/ 10 w 100"/>
                    <a:gd name="T71" fmla="*/ 96 h 113"/>
                    <a:gd name="T72" fmla="*/ 8 w 100"/>
                    <a:gd name="T73" fmla="*/ 99 h 113"/>
                    <a:gd name="T74" fmla="*/ 10 w 100"/>
                    <a:gd name="T75" fmla="*/ 103 h 113"/>
                    <a:gd name="T76" fmla="*/ 17 w 100"/>
                    <a:gd name="T77" fmla="*/ 102 h 113"/>
                    <a:gd name="T78" fmla="*/ 24 w 100"/>
                    <a:gd name="T79" fmla="*/ 105 h 113"/>
                    <a:gd name="T80" fmla="*/ 27 w 100"/>
                    <a:gd name="T81" fmla="*/ 110 h 113"/>
                    <a:gd name="T82" fmla="*/ 36 w 100"/>
                    <a:gd name="T83" fmla="*/ 112 h 113"/>
                    <a:gd name="T84" fmla="*/ 37 w 100"/>
                    <a:gd name="T85" fmla="*/ 107 h 113"/>
                    <a:gd name="T86" fmla="*/ 40 w 100"/>
                    <a:gd name="T87" fmla="*/ 105 h 113"/>
                    <a:gd name="T88" fmla="*/ 44 w 100"/>
                    <a:gd name="T89" fmla="*/ 89 h 113"/>
                    <a:gd name="T90" fmla="*/ 47 w 100"/>
                    <a:gd name="T91" fmla="*/ 86 h 113"/>
                    <a:gd name="T92" fmla="*/ 49 w 100"/>
                    <a:gd name="T93" fmla="*/ 87 h 113"/>
                    <a:gd name="T94" fmla="*/ 49 w 100"/>
                    <a:gd name="T95" fmla="*/ 86 h 113"/>
                    <a:gd name="T96" fmla="*/ 54 w 100"/>
                    <a:gd name="T97" fmla="*/ 79 h 113"/>
                    <a:gd name="T98" fmla="*/ 76 w 100"/>
                    <a:gd name="T99" fmla="*/ 70 h 113"/>
                    <a:gd name="T100" fmla="*/ 93 w 100"/>
                    <a:gd name="T101" fmla="*/ 53 h 113"/>
                    <a:gd name="T102" fmla="*/ 97 w 100"/>
                    <a:gd name="T103" fmla="*/ 41 h 113"/>
                    <a:gd name="T104" fmla="*/ 100 w 100"/>
                    <a:gd name="T105" fmla="*/ 38 h 113"/>
                    <a:gd name="T106" fmla="*/ 18 w 100"/>
                    <a:gd name="T107" fmla="*/ 73 h 113"/>
                    <a:gd name="T108" fmla="*/ 13 w 100"/>
                    <a:gd name="T109" fmla="*/ 76 h 113"/>
                    <a:gd name="T110" fmla="*/ 16 w 100"/>
                    <a:gd name="T111" fmla="*/ 7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113">
                      <a:moveTo>
                        <a:pt x="36" y="3"/>
                      </a:moveTo>
                      <a:lnTo>
                        <a:pt x="36" y="4"/>
                      </a:lnTo>
                      <a:lnTo>
                        <a:pt x="36" y="4"/>
                      </a:lnTo>
                      <a:lnTo>
                        <a:pt x="34" y="3"/>
                      </a:lnTo>
                      <a:lnTo>
                        <a:pt x="34" y="3"/>
                      </a:lnTo>
                      <a:lnTo>
                        <a:pt x="36" y="3"/>
                      </a:lnTo>
                      <a:lnTo>
                        <a:pt x="36" y="1"/>
                      </a:lnTo>
                      <a:lnTo>
                        <a:pt x="36" y="3"/>
                      </a:lnTo>
                      <a:close/>
                      <a:moveTo>
                        <a:pt x="100" y="36"/>
                      </a:moveTo>
                      <a:lnTo>
                        <a:pt x="99" y="34"/>
                      </a:lnTo>
                      <a:lnTo>
                        <a:pt x="93" y="28"/>
                      </a:lnTo>
                      <a:lnTo>
                        <a:pt x="95" y="28"/>
                      </a:lnTo>
                      <a:lnTo>
                        <a:pt x="97" y="28"/>
                      </a:lnTo>
                      <a:lnTo>
                        <a:pt x="99" y="28"/>
                      </a:lnTo>
                      <a:lnTo>
                        <a:pt x="100" y="27"/>
                      </a:lnTo>
                      <a:lnTo>
                        <a:pt x="95" y="26"/>
                      </a:lnTo>
                      <a:lnTo>
                        <a:pt x="92" y="24"/>
                      </a:lnTo>
                      <a:lnTo>
                        <a:pt x="89" y="23"/>
                      </a:lnTo>
                      <a:lnTo>
                        <a:pt x="86" y="20"/>
                      </a:lnTo>
                      <a:lnTo>
                        <a:pt x="83" y="18"/>
                      </a:lnTo>
                      <a:lnTo>
                        <a:pt x="82" y="18"/>
                      </a:lnTo>
                      <a:lnTo>
                        <a:pt x="80" y="18"/>
                      </a:lnTo>
                      <a:lnTo>
                        <a:pt x="80" y="20"/>
                      </a:lnTo>
                      <a:lnTo>
                        <a:pt x="80" y="20"/>
                      </a:lnTo>
                      <a:lnTo>
                        <a:pt x="80" y="21"/>
                      </a:lnTo>
                      <a:lnTo>
                        <a:pt x="79" y="21"/>
                      </a:lnTo>
                      <a:lnTo>
                        <a:pt x="77" y="21"/>
                      </a:lnTo>
                      <a:lnTo>
                        <a:pt x="73" y="21"/>
                      </a:lnTo>
                      <a:lnTo>
                        <a:pt x="67" y="20"/>
                      </a:lnTo>
                      <a:lnTo>
                        <a:pt x="66" y="20"/>
                      </a:lnTo>
                      <a:lnTo>
                        <a:pt x="66" y="20"/>
                      </a:lnTo>
                      <a:lnTo>
                        <a:pt x="64" y="20"/>
                      </a:lnTo>
                      <a:lnTo>
                        <a:pt x="63" y="18"/>
                      </a:lnTo>
                      <a:lnTo>
                        <a:pt x="63" y="18"/>
                      </a:lnTo>
                      <a:lnTo>
                        <a:pt x="61" y="17"/>
                      </a:lnTo>
                      <a:lnTo>
                        <a:pt x="61" y="15"/>
                      </a:lnTo>
                      <a:lnTo>
                        <a:pt x="61" y="14"/>
                      </a:lnTo>
                      <a:lnTo>
                        <a:pt x="60" y="14"/>
                      </a:lnTo>
                      <a:lnTo>
                        <a:pt x="56" y="11"/>
                      </a:lnTo>
                      <a:lnTo>
                        <a:pt x="49" y="8"/>
                      </a:lnTo>
                      <a:lnTo>
                        <a:pt x="46" y="7"/>
                      </a:lnTo>
                      <a:lnTo>
                        <a:pt x="37" y="0"/>
                      </a:lnTo>
                      <a:lnTo>
                        <a:pt x="37" y="1"/>
                      </a:lnTo>
                      <a:lnTo>
                        <a:pt x="37" y="3"/>
                      </a:lnTo>
                      <a:lnTo>
                        <a:pt x="36" y="4"/>
                      </a:lnTo>
                      <a:lnTo>
                        <a:pt x="28" y="7"/>
                      </a:lnTo>
                      <a:lnTo>
                        <a:pt x="20" y="10"/>
                      </a:lnTo>
                      <a:lnTo>
                        <a:pt x="16" y="13"/>
                      </a:lnTo>
                      <a:lnTo>
                        <a:pt x="16" y="14"/>
                      </a:lnTo>
                      <a:lnTo>
                        <a:pt x="16" y="18"/>
                      </a:lnTo>
                      <a:lnTo>
                        <a:pt x="16" y="20"/>
                      </a:lnTo>
                      <a:lnTo>
                        <a:pt x="16" y="21"/>
                      </a:lnTo>
                      <a:lnTo>
                        <a:pt x="16" y="23"/>
                      </a:lnTo>
                      <a:lnTo>
                        <a:pt x="16" y="24"/>
                      </a:lnTo>
                      <a:lnTo>
                        <a:pt x="14" y="26"/>
                      </a:lnTo>
                      <a:lnTo>
                        <a:pt x="11" y="28"/>
                      </a:lnTo>
                      <a:lnTo>
                        <a:pt x="10" y="31"/>
                      </a:lnTo>
                      <a:lnTo>
                        <a:pt x="8" y="34"/>
                      </a:lnTo>
                      <a:lnTo>
                        <a:pt x="11" y="37"/>
                      </a:lnTo>
                      <a:lnTo>
                        <a:pt x="10" y="36"/>
                      </a:lnTo>
                      <a:lnTo>
                        <a:pt x="8" y="37"/>
                      </a:lnTo>
                      <a:lnTo>
                        <a:pt x="8" y="38"/>
                      </a:lnTo>
                      <a:lnTo>
                        <a:pt x="7" y="40"/>
                      </a:lnTo>
                      <a:lnTo>
                        <a:pt x="5" y="41"/>
                      </a:lnTo>
                      <a:lnTo>
                        <a:pt x="4" y="43"/>
                      </a:lnTo>
                      <a:lnTo>
                        <a:pt x="3" y="43"/>
                      </a:lnTo>
                      <a:lnTo>
                        <a:pt x="1" y="44"/>
                      </a:lnTo>
                      <a:lnTo>
                        <a:pt x="1" y="46"/>
                      </a:lnTo>
                      <a:lnTo>
                        <a:pt x="3" y="49"/>
                      </a:lnTo>
                      <a:lnTo>
                        <a:pt x="3" y="49"/>
                      </a:lnTo>
                      <a:lnTo>
                        <a:pt x="3" y="50"/>
                      </a:lnTo>
                      <a:lnTo>
                        <a:pt x="3" y="53"/>
                      </a:lnTo>
                      <a:lnTo>
                        <a:pt x="3" y="54"/>
                      </a:lnTo>
                      <a:lnTo>
                        <a:pt x="3" y="56"/>
                      </a:lnTo>
                      <a:lnTo>
                        <a:pt x="3" y="57"/>
                      </a:lnTo>
                      <a:lnTo>
                        <a:pt x="4" y="60"/>
                      </a:lnTo>
                      <a:lnTo>
                        <a:pt x="3" y="61"/>
                      </a:lnTo>
                      <a:lnTo>
                        <a:pt x="3" y="63"/>
                      </a:lnTo>
                      <a:lnTo>
                        <a:pt x="1" y="63"/>
                      </a:lnTo>
                      <a:lnTo>
                        <a:pt x="0" y="64"/>
                      </a:lnTo>
                      <a:lnTo>
                        <a:pt x="0" y="66"/>
                      </a:lnTo>
                      <a:lnTo>
                        <a:pt x="1" y="67"/>
                      </a:lnTo>
                      <a:lnTo>
                        <a:pt x="8" y="70"/>
                      </a:lnTo>
                      <a:lnTo>
                        <a:pt x="11" y="73"/>
                      </a:lnTo>
                      <a:lnTo>
                        <a:pt x="13" y="72"/>
                      </a:lnTo>
                      <a:lnTo>
                        <a:pt x="17" y="67"/>
                      </a:lnTo>
                      <a:lnTo>
                        <a:pt x="17" y="69"/>
                      </a:lnTo>
                      <a:lnTo>
                        <a:pt x="17" y="70"/>
                      </a:lnTo>
                      <a:lnTo>
                        <a:pt x="17" y="72"/>
                      </a:lnTo>
                      <a:lnTo>
                        <a:pt x="18" y="70"/>
                      </a:lnTo>
                      <a:lnTo>
                        <a:pt x="18" y="69"/>
                      </a:lnTo>
                      <a:lnTo>
                        <a:pt x="18" y="64"/>
                      </a:lnTo>
                      <a:lnTo>
                        <a:pt x="20" y="61"/>
                      </a:lnTo>
                      <a:lnTo>
                        <a:pt x="20" y="69"/>
                      </a:lnTo>
                      <a:lnTo>
                        <a:pt x="21" y="72"/>
                      </a:lnTo>
                      <a:lnTo>
                        <a:pt x="20" y="74"/>
                      </a:lnTo>
                      <a:lnTo>
                        <a:pt x="18" y="79"/>
                      </a:lnTo>
                      <a:lnTo>
                        <a:pt x="17" y="82"/>
                      </a:lnTo>
                      <a:lnTo>
                        <a:pt x="14" y="83"/>
                      </a:lnTo>
                      <a:lnTo>
                        <a:pt x="11" y="86"/>
                      </a:lnTo>
                      <a:lnTo>
                        <a:pt x="13" y="87"/>
                      </a:lnTo>
                      <a:lnTo>
                        <a:pt x="13" y="90"/>
                      </a:lnTo>
                      <a:lnTo>
                        <a:pt x="14" y="92"/>
                      </a:lnTo>
                      <a:lnTo>
                        <a:pt x="14" y="95"/>
                      </a:lnTo>
                      <a:lnTo>
                        <a:pt x="13" y="95"/>
                      </a:lnTo>
                      <a:lnTo>
                        <a:pt x="11" y="96"/>
                      </a:lnTo>
                      <a:lnTo>
                        <a:pt x="10" y="96"/>
                      </a:lnTo>
                      <a:lnTo>
                        <a:pt x="10" y="96"/>
                      </a:lnTo>
                      <a:lnTo>
                        <a:pt x="8" y="97"/>
                      </a:lnTo>
                      <a:lnTo>
                        <a:pt x="8" y="99"/>
                      </a:lnTo>
                      <a:lnTo>
                        <a:pt x="8" y="99"/>
                      </a:lnTo>
                      <a:lnTo>
                        <a:pt x="11" y="100"/>
                      </a:lnTo>
                      <a:lnTo>
                        <a:pt x="8" y="103"/>
                      </a:lnTo>
                      <a:lnTo>
                        <a:pt x="10" y="103"/>
                      </a:lnTo>
                      <a:lnTo>
                        <a:pt x="13" y="102"/>
                      </a:lnTo>
                      <a:lnTo>
                        <a:pt x="16" y="102"/>
                      </a:lnTo>
                      <a:lnTo>
                        <a:pt x="17" y="102"/>
                      </a:lnTo>
                      <a:lnTo>
                        <a:pt x="21" y="105"/>
                      </a:lnTo>
                      <a:lnTo>
                        <a:pt x="23" y="105"/>
                      </a:lnTo>
                      <a:lnTo>
                        <a:pt x="24" y="105"/>
                      </a:lnTo>
                      <a:lnTo>
                        <a:pt x="24" y="106"/>
                      </a:lnTo>
                      <a:lnTo>
                        <a:pt x="26" y="107"/>
                      </a:lnTo>
                      <a:lnTo>
                        <a:pt x="27" y="110"/>
                      </a:lnTo>
                      <a:lnTo>
                        <a:pt x="30" y="113"/>
                      </a:lnTo>
                      <a:lnTo>
                        <a:pt x="33" y="113"/>
                      </a:lnTo>
                      <a:lnTo>
                        <a:pt x="36" y="112"/>
                      </a:lnTo>
                      <a:lnTo>
                        <a:pt x="36" y="110"/>
                      </a:lnTo>
                      <a:lnTo>
                        <a:pt x="37" y="109"/>
                      </a:lnTo>
                      <a:lnTo>
                        <a:pt x="37" y="107"/>
                      </a:lnTo>
                      <a:lnTo>
                        <a:pt x="39" y="106"/>
                      </a:lnTo>
                      <a:lnTo>
                        <a:pt x="39" y="106"/>
                      </a:lnTo>
                      <a:lnTo>
                        <a:pt x="40" y="105"/>
                      </a:lnTo>
                      <a:lnTo>
                        <a:pt x="44" y="92"/>
                      </a:lnTo>
                      <a:lnTo>
                        <a:pt x="44" y="90"/>
                      </a:lnTo>
                      <a:lnTo>
                        <a:pt x="44" y="89"/>
                      </a:lnTo>
                      <a:lnTo>
                        <a:pt x="46" y="87"/>
                      </a:lnTo>
                      <a:lnTo>
                        <a:pt x="46" y="86"/>
                      </a:lnTo>
                      <a:lnTo>
                        <a:pt x="47" y="86"/>
                      </a:lnTo>
                      <a:lnTo>
                        <a:pt x="47" y="86"/>
                      </a:lnTo>
                      <a:lnTo>
                        <a:pt x="49" y="87"/>
                      </a:lnTo>
                      <a:lnTo>
                        <a:pt x="49" y="87"/>
                      </a:lnTo>
                      <a:lnTo>
                        <a:pt x="49" y="86"/>
                      </a:lnTo>
                      <a:lnTo>
                        <a:pt x="49" y="86"/>
                      </a:lnTo>
                      <a:lnTo>
                        <a:pt x="49" y="86"/>
                      </a:lnTo>
                      <a:lnTo>
                        <a:pt x="49" y="84"/>
                      </a:lnTo>
                      <a:lnTo>
                        <a:pt x="53" y="80"/>
                      </a:lnTo>
                      <a:lnTo>
                        <a:pt x="54" y="79"/>
                      </a:lnTo>
                      <a:lnTo>
                        <a:pt x="57" y="76"/>
                      </a:lnTo>
                      <a:lnTo>
                        <a:pt x="72" y="72"/>
                      </a:lnTo>
                      <a:lnTo>
                        <a:pt x="76" y="70"/>
                      </a:lnTo>
                      <a:lnTo>
                        <a:pt x="82" y="67"/>
                      </a:lnTo>
                      <a:lnTo>
                        <a:pt x="86" y="63"/>
                      </a:lnTo>
                      <a:lnTo>
                        <a:pt x="93" y="53"/>
                      </a:lnTo>
                      <a:lnTo>
                        <a:pt x="95" y="51"/>
                      </a:lnTo>
                      <a:lnTo>
                        <a:pt x="96" y="49"/>
                      </a:lnTo>
                      <a:lnTo>
                        <a:pt x="97" y="41"/>
                      </a:lnTo>
                      <a:lnTo>
                        <a:pt x="100" y="43"/>
                      </a:lnTo>
                      <a:lnTo>
                        <a:pt x="100" y="41"/>
                      </a:lnTo>
                      <a:lnTo>
                        <a:pt x="100" y="38"/>
                      </a:lnTo>
                      <a:lnTo>
                        <a:pt x="100" y="36"/>
                      </a:lnTo>
                      <a:close/>
                      <a:moveTo>
                        <a:pt x="17" y="74"/>
                      </a:moveTo>
                      <a:lnTo>
                        <a:pt x="18" y="73"/>
                      </a:lnTo>
                      <a:lnTo>
                        <a:pt x="16" y="73"/>
                      </a:lnTo>
                      <a:lnTo>
                        <a:pt x="14" y="73"/>
                      </a:lnTo>
                      <a:lnTo>
                        <a:pt x="13" y="76"/>
                      </a:lnTo>
                      <a:lnTo>
                        <a:pt x="13" y="79"/>
                      </a:lnTo>
                      <a:lnTo>
                        <a:pt x="14" y="79"/>
                      </a:lnTo>
                      <a:lnTo>
                        <a:pt x="16" y="77"/>
                      </a:lnTo>
                      <a:lnTo>
                        <a:pt x="17" y="7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61" name="Freeform 254">
                  <a:extLst>
                    <a:ext uri="{FF2B5EF4-FFF2-40B4-BE49-F238E27FC236}">
                      <a16:creationId xmlns:a16="http://schemas.microsoft.com/office/drawing/2014/main" id="{178C5BFA-CF62-03B4-5F69-DF22E99AD21A}"/>
                    </a:ext>
                  </a:extLst>
                </p:cNvPr>
                <p:cNvSpPr>
                  <a:spLocks/>
                </p:cNvSpPr>
                <p:nvPr/>
              </p:nvSpPr>
              <p:spPr bwMode="auto">
                <a:xfrm>
                  <a:off x="2332" y="2498"/>
                  <a:ext cx="7" cy="5"/>
                </a:xfrm>
                <a:custGeom>
                  <a:avLst/>
                  <a:gdLst>
                    <a:gd name="T0" fmla="*/ 3 w 7"/>
                    <a:gd name="T1" fmla="*/ 3 h 5"/>
                    <a:gd name="T2" fmla="*/ 6 w 7"/>
                    <a:gd name="T3" fmla="*/ 4 h 5"/>
                    <a:gd name="T4" fmla="*/ 7 w 7"/>
                    <a:gd name="T5" fmla="*/ 5 h 5"/>
                    <a:gd name="T6" fmla="*/ 4 w 7"/>
                    <a:gd name="T7" fmla="*/ 5 h 5"/>
                    <a:gd name="T8" fmla="*/ 1 w 7"/>
                    <a:gd name="T9" fmla="*/ 4 h 5"/>
                    <a:gd name="T10" fmla="*/ 0 w 7"/>
                    <a:gd name="T11" fmla="*/ 3 h 5"/>
                    <a:gd name="T12" fmla="*/ 0 w 7"/>
                    <a:gd name="T13" fmla="*/ 0 h 5"/>
                    <a:gd name="T14" fmla="*/ 1 w 7"/>
                    <a:gd name="T15" fmla="*/ 1 h 5"/>
                    <a:gd name="T16" fmla="*/ 3 w 7"/>
                    <a:gd name="T1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3" y="3"/>
                      </a:moveTo>
                      <a:lnTo>
                        <a:pt x="6" y="4"/>
                      </a:lnTo>
                      <a:lnTo>
                        <a:pt x="7" y="5"/>
                      </a:lnTo>
                      <a:lnTo>
                        <a:pt x="4" y="5"/>
                      </a:lnTo>
                      <a:lnTo>
                        <a:pt x="1" y="4"/>
                      </a:lnTo>
                      <a:lnTo>
                        <a:pt x="0" y="3"/>
                      </a:lnTo>
                      <a:lnTo>
                        <a:pt x="0" y="0"/>
                      </a:lnTo>
                      <a:lnTo>
                        <a:pt x="1" y="1"/>
                      </a:lnTo>
                      <a:lnTo>
                        <a:pt x="3" y="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62" name="Freeform 255">
                  <a:extLst>
                    <a:ext uri="{FF2B5EF4-FFF2-40B4-BE49-F238E27FC236}">
                      <a16:creationId xmlns:a16="http://schemas.microsoft.com/office/drawing/2014/main" id="{070F9D0E-B15F-BF20-04DA-2F8656F967E9}"/>
                    </a:ext>
                  </a:extLst>
                </p:cNvPr>
                <p:cNvSpPr>
                  <a:spLocks/>
                </p:cNvSpPr>
                <p:nvPr/>
              </p:nvSpPr>
              <p:spPr bwMode="auto">
                <a:xfrm>
                  <a:off x="2345" y="2499"/>
                  <a:ext cx="3" cy="6"/>
                </a:xfrm>
                <a:custGeom>
                  <a:avLst/>
                  <a:gdLst>
                    <a:gd name="T0" fmla="*/ 1 w 3"/>
                    <a:gd name="T1" fmla="*/ 3 h 6"/>
                    <a:gd name="T2" fmla="*/ 3 w 3"/>
                    <a:gd name="T3" fmla="*/ 4 h 6"/>
                    <a:gd name="T4" fmla="*/ 3 w 3"/>
                    <a:gd name="T5" fmla="*/ 6 h 6"/>
                    <a:gd name="T6" fmla="*/ 3 w 3"/>
                    <a:gd name="T7" fmla="*/ 3 h 6"/>
                    <a:gd name="T8" fmla="*/ 3 w 3"/>
                    <a:gd name="T9" fmla="*/ 2 h 6"/>
                    <a:gd name="T10" fmla="*/ 1 w 3"/>
                    <a:gd name="T11" fmla="*/ 0 h 6"/>
                    <a:gd name="T12" fmla="*/ 0 w 3"/>
                    <a:gd name="T13" fmla="*/ 2 h 6"/>
                    <a:gd name="T14" fmla="*/ 1 w 3"/>
                    <a:gd name="T15" fmla="*/ 2 h 6"/>
                    <a:gd name="T16" fmla="*/ 1 w 3"/>
                    <a:gd name="T1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1" y="3"/>
                      </a:moveTo>
                      <a:lnTo>
                        <a:pt x="3" y="4"/>
                      </a:lnTo>
                      <a:lnTo>
                        <a:pt x="3" y="6"/>
                      </a:lnTo>
                      <a:lnTo>
                        <a:pt x="3" y="3"/>
                      </a:lnTo>
                      <a:lnTo>
                        <a:pt x="3" y="2"/>
                      </a:lnTo>
                      <a:lnTo>
                        <a:pt x="1" y="0"/>
                      </a:lnTo>
                      <a:lnTo>
                        <a:pt x="0" y="2"/>
                      </a:lnTo>
                      <a:lnTo>
                        <a:pt x="1" y="2"/>
                      </a:lnTo>
                      <a:lnTo>
                        <a:pt x="1" y="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63" name="Freeform 256">
                  <a:extLst>
                    <a:ext uri="{FF2B5EF4-FFF2-40B4-BE49-F238E27FC236}">
                      <a16:creationId xmlns:a16="http://schemas.microsoft.com/office/drawing/2014/main" id="{70F91A1D-9B3F-C72F-009B-2CF4E141B8D6}"/>
                    </a:ext>
                  </a:extLst>
                </p:cNvPr>
                <p:cNvSpPr>
                  <a:spLocks/>
                </p:cNvSpPr>
                <p:nvPr/>
              </p:nvSpPr>
              <p:spPr bwMode="auto">
                <a:xfrm>
                  <a:off x="2315" y="2493"/>
                  <a:ext cx="4" cy="5"/>
                </a:xfrm>
                <a:custGeom>
                  <a:avLst/>
                  <a:gdLst>
                    <a:gd name="T0" fmla="*/ 3 w 4"/>
                    <a:gd name="T1" fmla="*/ 2 h 5"/>
                    <a:gd name="T2" fmla="*/ 3 w 4"/>
                    <a:gd name="T3" fmla="*/ 3 h 5"/>
                    <a:gd name="T4" fmla="*/ 4 w 4"/>
                    <a:gd name="T5" fmla="*/ 5 h 5"/>
                    <a:gd name="T6" fmla="*/ 3 w 4"/>
                    <a:gd name="T7" fmla="*/ 3 h 5"/>
                    <a:gd name="T8" fmla="*/ 1 w 4"/>
                    <a:gd name="T9" fmla="*/ 3 h 5"/>
                    <a:gd name="T10" fmla="*/ 1 w 4"/>
                    <a:gd name="T11" fmla="*/ 3 h 5"/>
                    <a:gd name="T12" fmla="*/ 0 w 4"/>
                    <a:gd name="T13" fmla="*/ 2 h 5"/>
                    <a:gd name="T14" fmla="*/ 1 w 4"/>
                    <a:gd name="T15" fmla="*/ 2 h 5"/>
                    <a:gd name="T16" fmla="*/ 1 w 4"/>
                    <a:gd name="T17" fmla="*/ 2 h 5"/>
                    <a:gd name="T18" fmla="*/ 1 w 4"/>
                    <a:gd name="T19" fmla="*/ 0 h 5"/>
                    <a:gd name="T20" fmla="*/ 1 w 4"/>
                    <a:gd name="T21" fmla="*/ 2 h 5"/>
                    <a:gd name="T22" fmla="*/ 3 w 4"/>
                    <a:gd name="T2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3" y="2"/>
                      </a:moveTo>
                      <a:lnTo>
                        <a:pt x="3" y="3"/>
                      </a:lnTo>
                      <a:lnTo>
                        <a:pt x="4" y="5"/>
                      </a:lnTo>
                      <a:lnTo>
                        <a:pt x="3" y="3"/>
                      </a:lnTo>
                      <a:lnTo>
                        <a:pt x="1" y="3"/>
                      </a:lnTo>
                      <a:lnTo>
                        <a:pt x="1" y="3"/>
                      </a:lnTo>
                      <a:lnTo>
                        <a:pt x="0" y="2"/>
                      </a:lnTo>
                      <a:lnTo>
                        <a:pt x="1" y="2"/>
                      </a:lnTo>
                      <a:lnTo>
                        <a:pt x="1" y="2"/>
                      </a:lnTo>
                      <a:lnTo>
                        <a:pt x="1" y="0"/>
                      </a:lnTo>
                      <a:lnTo>
                        <a:pt x="1" y="2"/>
                      </a:lnTo>
                      <a:lnTo>
                        <a:pt x="3"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grpSp>
          <p:grpSp>
            <p:nvGrpSpPr>
              <p:cNvPr id="403" name="Group 286">
                <a:extLst>
                  <a:ext uri="{FF2B5EF4-FFF2-40B4-BE49-F238E27FC236}">
                    <a16:creationId xmlns:a16="http://schemas.microsoft.com/office/drawing/2014/main" id="{269A0728-0470-A1C4-E054-4EDFCB09A423}"/>
                  </a:ext>
                </a:extLst>
              </p:cNvPr>
              <p:cNvGrpSpPr>
                <a:grpSpLocks noChangeAspect="1"/>
              </p:cNvGrpSpPr>
              <p:nvPr/>
            </p:nvGrpSpPr>
            <p:grpSpPr bwMode="auto">
              <a:xfrm>
                <a:off x="1331162" y="1114954"/>
                <a:ext cx="4010242" cy="2811574"/>
                <a:chOff x="-3976" y="-5147"/>
                <a:chExt cx="3369" cy="2362"/>
              </a:xfrm>
              <a:grpFill/>
            </p:grpSpPr>
            <p:sp>
              <p:nvSpPr>
                <p:cNvPr id="404" name="Freeform 287">
                  <a:extLst>
                    <a:ext uri="{FF2B5EF4-FFF2-40B4-BE49-F238E27FC236}">
                      <a16:creationId xmlns:a16="http://schemas.microsoft.com/office/drawing/2014/main" id="{1196339E-B3E1-FD96-6DFB-28789E6D66CD}"/>
                    </a:ext>
                  </a:extLst>
                </p:cNvPr>
                <p:cNvSpPr>
                  <a:spLocks/>
                </p:cNvSpPr>
                <p:nvPr/>
              </p:nvSpPr>
              <p:spPr bwMode="auto">
                <a:xfrm>
                  <a:off x="-2289" y="-2942"/>
                  <a:ext cx="51" cy="28"/>
                </a:xfrm>
                <a:custGeom>
                  <a:avLst/>
                  <a:gdLst>
                    <a:gd name="T0" fmla="*/ 51 w 51"/>
                    <a:gd name="T1" fmla="*/ 19 h 28"/>
                    <a:gd name="T2" fmla="*/ 51 w 51"/>
                    <a:gd name="T3" fmla="*/ 16 h 28"/>
                    <a:gd name="T4" fmla="*/ 51 w 51"/>
                    <a:gd name="T5" fmla="*/ 12 h 28"/>
                    <a:gd name="T6" fmla="*/ 49 w 51"/>
                    <a:gd name="T7" fmla="*/ 12 h 28"/>
                    <a:gd name="T8" fmla="*/ 47 w 51"/>
                    <a:gd name="T9" fmla="*/ 12 h 28"/>
                    <a:gd name="T10" fmla="*/ 47 w 51"/>
                    <a:gd name="T11" fmla="*/ 12 h 28"/>
                    <a:gd name="T12" fmla="*/ 46 w 51"/>
                    <a:gd name="T13" fmla="*/ 12 h 28"/>
                    <a:gd name="T14" fmla="*/ 46 w 51"/>
                    <a:gd name="T15" fmla="*/ 12 h 28"/>
                    <a:gd name="T16" fmla="*/ 44 w 51"/>
                    <a:gd name="T17" fmla="*/ 12 h 28"/>
                    <a:gd name="T18" fmla="*/ 44 w 51"/>
                    <a:gd name="T19" fmla="*/ 10 h 28"/>
                    <a:gd name="T20" fmla="*/ 42 w 51"/>
                    <a:gd name="T21" fmla="*/ 12 h 28"/>
                    <a:gd name="T22" fmla="*/ 39 w 51"/>
                    <a:gd name="T23" fmla="*/ 12 h 28"/>
                    <a:gd name="T24" fmla="*/ 37 w 51"/>
                    <a:gd name="T25" fmla="*/ 14 h 28"/>
                    <a:gd name="T26" fmla="*/ 35 w 51"/>
                    <a:gd name="T27" fmla="*/ 12 h 28"/>
                    <a:gd name="T28" fmla="*/ 35 w 51"/>
                    <a:gd name="T29" fmla="*/ 12 h 28"/>
                    <a:gd name="T30" fmla="*/ 35 w 51"/>
                    <a:gd name="T31" fmla="*/ 12 h 28"/>
                    <a:gd name="T32" fmla="*/ 33 w 51"/>
                    <a:gd name="T33" fmla="*/ 10 h 28"/>
                    <a:gd name="T34" fmla="*/ 33 w 51"/>
                    <a:gd name="T35" fmla="*/ 10 h 28"/>
                    <a:gd name="T36" fmla="*/ 30 w 51"/>
                    <a:gd name="T37" fmla="*/ 9 h 28"/>
                    <a:gd name="T38" fmla="*/ 28 w 51"/>
                    <a:gd name="T39" fmla="*/ 9 h 28"/>
                    <a:gd name="T40" fmla="*/ 26 w 51"/>
                    <a:gd name="T41" fmla="*/ 7 h 28"/>
                    <a:gd name="T42" fmla="*/ 25 w 51"/>
                    <a:gd name="T43" fmla="*/ 5 h 28"/>
                    <a:gd name="T44" fmla="*/ 23 w 51"/>
                    <a:gd name="T45" fmla="*/ 3 h 28"/>
                    <a:gd name="T46" fmla="*/ 21 w 51"/>
                    <a:gd name="T47" fmla="*/ 2 h 28"/>
                    <a:gd name="T48" fmla="*/ 16 w 51"/>
                    <a:gd name="T49" fmla="*/ 2 h 28"/>
                    <a:gd name="T50" fmla="*/ 14 w 51"/>
                    <a:gd name="T51" fmla="*/ 0 h 28"/>
                    <a:gd name="T52" fmla="*/ 14 w 51"/>
                    <a:gd name="T53" fmla="*/ 2 h 28"/>
                    <a:gd name="T54" fmla="*/ 12 w 51"/>
                    <a:gd name="T55" fmla="*/ 2 h 28"/>
                    <a:gd name="T56" fmla="*/ 12 w 51"/>
                    <a:gd name="T57" fmla="*/ 2 h 28"/>
                    <a:gd name="T58" fmla="*/ 12 w 51"/>
                    <a:gd name="T59" fmla="*/ 3 h 28"/>
                    <a:gd name="T60" fmla="*/ 12 w 51"/>
                    <a:gd name="T61" fmla="*/ 3 h 28"/>
                    <a:gd name="T62" fmla="*/ 12 w 51"/>
                    <a:gd name="T63" fmla="*/ 5 h 28"/>
                    <a:gd name="T64" fmla="*/ 12 w 51"/>
                    <a:gd name="T65" fmla="*/ 5 h 28"/>
                    <a:gd name="T66" fmla="*/ 4 w 51"/>
                    <a:gd name="T67" fmla="*/ 10 h 28"/>
                    <a:gd name="T68" fmla="*/ 0 w 51"/>
                    <a:gd name="T69" fmla="*/ 12 h 28"/>
                    <a:gd name="T70" fmla="*/ 0 w 51"/>
                    <a:gd name="T71" fmla="*/ 16 h 28"/>
                    <a:gd name="T72" fmla="*/ 2 w 51"/>
                    <a:gd name="T73" fmla="*/ 17 h 28"/>
                    <a:gd name="T74" fmla="*/ 5 w 51"/>
                    <a:gd name="T75" fmla="*/ 19 h 28"/>
                    <a:gd name="T76" fmla="*/ 7 w 51"/>
                    <a:gd name="T77" fmla="*/ 19 h 28"/>
                    <a:gd name="T78" fmla="*/ 11 w 51"/>
                    <a:gd name="T79" fmla="*/ 21 h 28"/>
                    <a:gd name="T80" fmla="*/ 16 w 51"/>
                    <a:gd name="T81" fmla="*/ 21 h 28"/>
                    <a:gd name="T82" fmla="*/ 18 w 51"/>
                    <a:gd name="T83" fmla="*/ 21 h 28"/>
                    <a:gd name="T84" fmla="*/ 23 w 51"/>
                    <a:gd name="T85" fmla="*/ 23 h 28"/>
                    <a:gd name="T86" fmla="*/ 26 w 51"/>
                    <a:gd name="T87" fmla="*/ 26 h 28"/>
                    <a:gd name="T88" fmla="*/ 30 w 51"/>
                    <a:gd name="T89" fmla="*/ 28 h 28"/>
                    <a:gd name="T90" fmla="*/ 35 w 51"/>
                    <a:gd name="T91" fmla="*/ 28 h 28"/>
                    <a:gd name="T92" fmla="*/ 32 w 51"/>
                    <a:gd name="T93" fmla="*/ 26 h 28"/>
                    <a:gd name="T94" fmla="*/ 42 w 51"/>
                    <a:gd name="T95" fmla="*/ 28 h 28"/>
                    <a:gd name="T96" fmla="*/ 47 w 51"/>
                    <a:gd name="T97" fmla="*/ 28 h 28"/>
                    <a:gd name="T98" fmla="*/ 49 w 51"/>
                    <a:gd name="T99" fmla="*/ 23 h 28"/>
                    <a:gd name="T100" fmla="*/ 51 w 51"/>
                    <a:gd name="T101" fmla="*/ 21 h 28"/>
                    <a:gd name="T102" fmla="*/ 51 w 51"/>
                    <a:gd name="T103"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 h="28">
                      <a:moveTo>
                        <a:pt x="51" y="19"/>
                      </a:moveTo>
                      <a:lnTo>
                        <a:pt x="51" y="16"/>
                      </a:lnTo>
                      <a:lnTo>
                        <a:pt x="51" y="12"/>
                      </a:lnTo>
                      <a:lnTo>
                        <a:pt x="49" y="12"/>
                      </a:lnTo>
                      <a:lnTo>
                        <a:pt x="47" y="12"/>
                      </a:lnTo>
                      <a:lnTo>
                        <a:pt x="47" y="12"/>
                      </a:lnTo>
                      <a:lnTo>
                        <a:pt x="46" y="12"/>
                      </a:lnTo>
                      <a:lnTo>
                        <a:pt x="46" y="12"/>
                      </a:lnTo>
                      <a:lnTo>
                        <a:pt x="44" y="12"/>
                      </a:lnTo>
                      <a:lnTo>
                        <a:pt x="44" y="10"/>
                      </a:lnTo>
                      <a:lnTo>
                        <a:pt x="42" y="12"/>
                      </a:lnTo>
                      <a:lnTo>
                        <a:pt x="39" y="12"/>
                      </a:lnTo>
                      <a:lnTo>
                        <a:pt x="37" y="14"/>
                      </a:lnTo>
                      <a:lnTo>
                        <a:pt x="35" y="12"/>
                      </a:lnTo>
                      <a:lnTo>
                        <a:pt x="35" y="12"/>
                      </a:lnTo>
                      <a:lnTo>
                        <a:pt x="35" y="12"/>
                      </a:lnTo>
                      <a:lnTo>
                        <a:pt x="33" y="10"/>
                      </a:lnTo>
                      <a:lnTo>
                        <a:pt x="33" y="10"/>
                      </a:lnTo>
                      <a:lnTo>
                        <a:pt x="30" y="9"/>
                      </a:lnTo>
                      <a:lnTo>
                        <a:pt x="28" y="9"/>
                      </a:lnTo>
                      <a:lnTo>
                        <a:pt x="26" y="7"/>
                      </a:lnTo>
                      <a:lnTo>
                        <a:pt x="25" y="5"/>
                      </a:lnTo>
                      <a:lnTo>
                        <a:pt x="23" y="3"/>
                      </a:lnTo>
                      <a:lnTo>
                        <a:pt x="21" y="2"/>
                      </a:lnTo>
                      <a:lnTo>
                        <a:pt x="16" y="2"/>
                      </a:lnTo>
                      <a:lnTo>
                        <a:pt x="14" y="0"/>
                      </a:lnTo>
                      <a:lnTo>
                        <a:pt x="14" y="2"/>
                      </a:lnTo>
                      <a:lnTo>
                        <a:pt x="12" y="2"/>
                      </a:lnTo>
                      <a:lnTo>
                        <a:pt x="12" y="2"/>
                      </a:lnTo>
                      <a:lnTo>
                        <a:pt x="12" y="3"/>
                      </a:lnTo>
                      <a:lnTo>
                        <a:pt x="12" y="3"/>
                      </a:lnTo>
                      <a:lnTo>
                        <a:pt x="12" y="5"/>
                      </a:lnTo>
                      <a:lnTo>
                        <a:pt x="12" y="5"/>
                      </a:lnTo>
                      <a:lnTo>
                        <a:pt x="4" y="10"/>
                      </a:lnTo>
                      <a:lnTo>
                        <a:pt x="0" y="12"/>
                      </a:lnTo>
                      <a:lnTo>
                        <a:pt x="0" y="16"/>
                      </a:lnTo>
                      <a:lnTo>
                        <a:pt x="2" y="17"/>
                      </a:lnTo>
                      <a:lnTo>
                        <a:pt x="5" y="19"/>
                      </a:lnTo>
                      <a:lnTo>
                        <a:pt x="7" y="19"/>
                      </a:lnTo>
                      <a:lnTo>
                        <a:pt x="11" y="21"/>
                      </a:lnTo>
                      <a:lnTo>
                        <a:pt x="16" y="21"/>
                      </a:lnTo>
                      <a:lnTo>
                        <a:pt x="18" y="21"/>
                      </a:lnTo>
                      <a:lnTo>
                        <a:pt x="23" y="23"/>
                      </a:lnTo>
                      <a:lnTo>
                        <a:pt x="26" y="26"/>
                      </a:lnTo>
                      <a:lnTo>
                        <a:pt x="30" y="28"/>
                      </a:lnTo>
                      <a:lnTo>
                        <a:pt x="35" y="28"/>
                      </a:lnTo>
                      <a:lnTo>
                        <a:pt x="32" y="26"/>
                      </a:lnTo>
                      <a:lnTo>
                        <a:pt x="42" y="28"/>
                      </a:lnTo>
                      <a:lnTo>
                        <a:pt x="47" y="28"/>
                      </a:lnTo>
                      <a:lnTo>
                        <a:pt x="49" y="23"/>
                      </a:lnTo>
                      <a:lnTo>
                        <a:pt x="51" y="21"/>
                      </a:lnTo>
                      <a:lnTo>
                        <a:pt x="51" y="1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05" name="Freeform 288">
                  <a:extLst>
                    <a:ext uri="{FF2B5EF4-FFF2-40B4-BE49-F238E27FC236}">
                      <a16:creationId xmlns:a16="http://schemas.microsoft.com/office/drawing/2014/main" id="{DCAEF7EE-70BF-ABD3-4489-F2F47172CB44}"/>
                    </a:ext>
                  </a:extLst>
                </p:cNvPr>
                <p:cNvSpPr>
                  <a:spLocks/>
                </p:cNvSpPr>
                <p:nvPr/>
              </p:nvSpPr>
              <p:spPr bwMode="auto">
                <a:xfrm>
                  <a:off x="-2334" y="-3017"/>
                  <a:ext cx="85" cy="91"/>
                </a:xfrm>
                <a:custGeom>
                  <a:avLst/>
                  <a:gdLst>
                    <a:gd name="T0" fmla="*/ 57 w 85"/>
                    <a:gd name="T1" fmla="*/ 80 h 91"/>
                    <a:gd name="T2" fmla="*/ 57 w 85"/>
                    <a:gd name="T3" fmla="*/ 78 h 91"/>
                    <a:gd name="T4" fmla="*/ 57 w 85"/>
                    <a:gd name="T5" fmla="*/ 77 h 91"/>
                    <a:gd name="T6" fmla="*/ 59 w 85"/>
                    <a:gd name="T7" fmla="*/ 77 h 91"/>
                    <a:gd name="T8" fmla="*/ 61 w 85"/>
                    <a:gd name="T9" fmla="*/ 77 h 91"/>
                    <a:gd name="T10" fmla="*/ 64 w 85"/>
                    <a:gd name="T11" fmla="*/ 73 h 91"/>
                    <a:gd name="T12" fmla="*/ 64 w 85"/>
                    <a:gd name="T13" fmla="*/ 71 h 91"/>
                    <a:gd name="T14" fmla="*/ 64 w 85"/>
                    <a:gd name="T15" fmla="*/ 70 h 91"/>
                    <a:gd name="T16" fmla="*/ 64 w 85"/>
                    <a:gd name="T17" fmla="*/ 64 h 91"/>
                    <a:gd name="T18" fmla="*/ 66 w 85"/>
                    <a:gd name="T19" fmla="*/ 61 h 91"/>
                    <a:gd name="T20" fmla="*/ 77 w 85"/>
                    <a:gd name="T21" fmla="*/ 54 h 91"/>
                    <a:gd name="T22" fmla="*/ 78 w 85"/>
                    <a:gd name="T23" fmla="*/ 42 h 91"/>
                    <a:gd name="T24" fmla="*/ 77 w 85"/>
                    <a:gd name="T25" fmla="*/ 45 h 91"/>
                    <a:gd name="T26" fmla="*/ 71 w 85"/>
                    <a:gd name="T27" fmla="*/ 43 h 91"/>
                    <a:gd name="T28" fmla="*/ 64 w 85"/>
                    <a:gd name="T29" fmla="*/ 43 h 91"/>
                    <a:gd name="T30" fmla="*/ 29 w 85"/>
                    <a:gd name="T31" fmla="*/ 0 h 91"/>
                    <a:gd name="T32" fmla="*/ 26 w 85"/>
                    <a:gd name="T33" fmla="*/ 3 h 91"/>
                    <a:gd name="T34" fmla="*/ 17 w 85"/>
                    <a:gd name="T35" fmla="*/ 12 h 91"/>
                    <a:gd name="T36" fmla="*/ 24 w 85"/>
                    <a:gd name="T37" fmla="*/ 19 h 91"/>
                    <a:gd name="T38" fmla="*/ 31 w 85"/>
                    <a:gd name="T39" fmla="*/ 24 h 91"/>
                    <a:gd name="T40" fmla="*/ 33 w 85"/>
                    <a:gd name="T41" fmla="*/ 26 h 91"/>
                    <a:gd name="T42" fmla="*/ 35 w 85"/>
                    <a:gd name="T43" fmla="*/ 29 h 91"/>
                    <a:gd name="T44" fmla="*/ 36 w 85"/>
                    <a:gd name="T45" fmla="*/ 31 h 91"/>
                    <a:gd name="T46" fmla="*/ 38 w 85"/>
                    <a:gd name="T47" fmla="*/ 33 h 91"/>
                    <a:gd name="T48" fmla="*/ 38 w 85"/>
                    <a:gd name="T49" fmla="*/ 40 h 91"/>
                    <a:gd name="T50" fmla="*/ 12 w 85"/>
                    <a:gd name="T51" fmla="*/ 40 h 91"/>
                    <a:gd name="T52" fmla="*/ 8 w 85"/>
                    <a:gd name="T53" fmla="*/ 43 h 91"/>
                    <a:gd name="T54" fmla="*/ 2 w 85"/>
                    <a:gd name="T55" fmla="*/ 54 h 91"/>
                    <a:gd name="T56" fmla="*/ 0 w 85"/>
                    <a:gd name="T57" fmla="*/ 57 h 91"/>
                    <a:gd name="T58" fmla="*/ 2 w 85"/>
                    <a:gd name="T59" fmla="*/ 61 h 91"/>
                    <a:gd name="T60" fmla="*/ 2 w 85"/>
                    <a:gd name="T61" fmla="*/ 64 h 91"/>
                    <a:gd name="T62" fmla="*/ 2 w 85"/>
                    <a:gd name="T63" fmla="*/ 71 h 91"/>
                    <a:gd name="T64" fmla="*/ 10 w 85"/>
                    <a:gd name="T65" fmla="*/ 80 h 91"/>
                    <a:gd name="T66" fmla="*/ 21 w 85"/>
                    <a:gd name="T67" fmla="*/ 87 h 91"/>
                    <a:gd name="T68" fmla="*/ 31 w 85"/>
                    <a:gd name="T69" fmla="*/ 87 h 91"/>
                    <a:gd name="T70" fmla="*/ 38 w 85"/>
                    <a:gd name="T71" fmla="*/ 87 h 91"/>
                    <a:gd name="T72" fmla="*/ 45 w 85"/>
                    <a:gd name="T73" fmla="*/ 8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5" h="91">
                      <a:moveTo>
                        <a:pt x="49" y="85"/>
                      </a:moveTo>
                      <a:lnTo>
                        <a:pt x="57" y="80"/>
                      </a:lnTo>
                      <a:lnTo>
                        <a:pt x="57" y="80"/>
                      </a:lnTo>
                      <a:lnTo>
                        <a:pt x="57" y="78"/>
                      </a:lnTo>
                      <a:lnTo>
                        <a:pt x="57" y="78"/>
                      </a:lnTo>
                      <a:lnTo>
                        <a:pt x="57" y="77"/>
                      </a:lnTo>
                      <a:lnTo>
                        <a:pt x="57" y="77"/>
                      </a:lnTo>
                      <a:lnTo>
                        <a:pt x="59" y="77"/>
                      </a:lnTo>
                      <a:lnTo>
                        <a:pt x="59" y="75"/>
                      </a:lnTo>
                      <a:lnTo>
                        <a:pt x="61" y="77"/>
                      </a:lnTo>
                      <a:lnTo>
                        <a:pt x="63" y="75"/>
                      </a:lnTo>
                      <a:lnTo>
                        <a:pt x="64" y="73"/>
                      </a:lnTo>
                      <a:lnTo>
                        <a:pt x="64" y="71"/>
                      </a:lnTo>
                      <a:lnTo>
                        <a:pt x="64" y="71"/>
                      </a:lnTo>
                      <a:lnTo>
                        <a:pt x="64" y="70"/>
                      </a:lnTo>
                      <a:lnTo>
                        <a:pt x="64" y="70"/>
                      </a:lnTo>
                      <a:lnTo>
                        <a:pt x="64" y="66"/>
                      </a:lnTo>
                      <a:lnTo>
                        <a:pt x="64" y="64"/>
                      </a:lnTo>
                      <a:lnTo>
                        <a:pt x="66" y="63"/>
                      </a:lnTo>
                      <a:lnTo>
                        <a:pt x="66" y="61"/>
                      </a:lnTo>
                      <a:lnTo>
                        <a:pt x="68" y="59"/>
                      </a:lnTo>
                      <a:lnTo>
                        <a:pt x="77" y="54"/>
                      </a:lnTo>
                      <a:lnTo>
                        <a:pt x="85" y="47"/>
                      </a:lnTo>
                      <a:lnTo>
                        <a:pt x="78" y="42"/>
                      </a:lnTo>
                      <a:lnTo>
                        <a:pt x="78" y="45"/>
                      </a:lnTo>
                      <a:lnTo>
                        <a:pt x="77" y="45"/>
                      </a:lnTo>
                      <a:lnTo>
                        <a:pt x="73" y="43"/>
                      </a:lnTo>
                      <a:lnTo>
                        <a:pt x="71" y="43"/>
                      </a:lnTo>
                      <a:lnTo>
                        <a:pt x="66" y="43"/>
                      </a:lnTo>
                      <a:lnTo>
                        <a:pt x="64" y="43"/>
                      </a:lnTo>
                      <a:lnTo>
                        <a:pt x="66" y="0"/>
                      </a:lnTo>
                      <a:lnTo>
                        <a:pt x="29" y="0"/>
                      </a:lnTo>
                      <a:lnTo>
                        <a:pt x="26" y="0"/>
                      </a:lnTo>
                      <a:lnTo>
                        <a:pt x="26" y="3"/>
                      </a:lnTo>
                      <a:lnTo>
                        <a:pt x="26" y="14"/>
                      </a:lnTo>
                      <a:lnTo>
                        <a:pt x="17" y="12"/>
                      </a:lnTo>
                      <a:lnTo>
                        <a:pt x="19" y="14"/>
                      </a:lnTo>
                      <a:lnTo>
                        <a:pt x="24" y="19"/>
                      </a:lnTo>
                      <a:lnTo>
                        <a:pt x="26" y="21"/>
                      </a:lnTo>
                      <a:lnTo>
                        <a:pt x="31" y="24"/>
                      </a:lnTo>
                      <a:lnTo>
                        <a:pt x="33" y="26"/>
                      </a:lnTo>
                      <a:lnTo>
                        <a:pt x="33" y="26"/>
                      </a:lnTo>
                      <a:lnTo>
                        <a:pt x="33" y="28"/>
                      </a:lnTo>
                      <a:lnTo>
                        <a:pt x="35" y="29"/>
                      </a:lnTo>
                      <a:lnTo>
                        <a:pt x="35" y="29"/>
                      </a:lnTo>
                      <a:lnTo>
                        <a:pt x="36" y="31"/>
                      </a:lnTo>
                      <a:lnTo>
                        <a:pt x="38" y="31"/>
                      </a:lnTo>
                      <a:lnTo>
                        <a:pt x="38" y="33"/>
                      </a:lnTo>
                      <a:lnTo>
                        <a:pt x="38" y="36"/>
                      </a:lnTo>
                      <a:lnTo>
                        <a:pt x="38" y="40"/>
                      </a:lnTo>
                      <a:lnTo>
                        <a:pt x="14" y="40"/>
                      </a:lnTo>
                      <a:lnTo>
                        <a:pt x="12" y="40"/>
                      </a:lnTo>
                      <a:lnTo>
                        <a:pt x="10" y="42"/>
                      </a:lnTo>
                      <a:lnTo>
                        <a:pt x="8" y="43"/>
                      </a:lnTo>
                      <a:lnTo>
                        <a:pt x="5" y="50"/>
                      </a:lnTo>
                      <a:lnTo>
                        <a:pt x="2" y="54"/>
                      </a:lnTo>
                      <a:lnTo>
                        <a:pt x="2" y="56"/>
                      </a:lnTo>
                      <a:lnTo>
                        <a:pt x="0" y="57"/>
                      </a:lnTo>
                      <a:lnTo>
                        <a:pt x="2" y="59"/>
                      </a:lnTo>
                      <a:lnTo>
                        <a:pt x="2" y="61"/>
                      </a:lnTo>
                      <a:lnTo>
                        <a:pt x="3" y="63"/>
                      </a:lnTo>
                      <a:lnTo>
                        <a:pt x="2" y="64"/>
                      </a:lnTo>
                      <a:lnTo>
                        <a:pt x="2" y="68"/>
                      </a:lnTo>
                      <a:lnTo>
                        <a:pt x="2" y="71"/>
                      </a:lnTo>
                      <a:lnTo>
                        <a:pt x="0" y="73"/>
                      </a:lnTo>
                      <a:lnTo>
                        <a:pt x="10" y="80"/>
                      </a:lnTo>
                      <a:lnTo>
                        <a:pt x="15" y="84"/>
                      </a:lnTo>
                      <a:lnTo>
                        <a:pt x="21" y="87"/>
                      </a:lnTo>
                      <a:lnTo>
                        <a:pt x="24" y="87"/>
                      </a:lnTo>
                      <a:lnTo>
                        <a:pt x="31" y="87"/>
                      </a:lnTo>
                      <a:lnTo>
                        <a:pt x="35" y="87"/>
                      </a:lnTo>
                      <a:lnTo>
                        <a:pt x="38" y="87"/>
                      </a:lnTo>
                      <a:lnTo>
                        <a:pt x="45" y="91"/>
                      </a:lnTo>
                      <a:lnTo>
                        <a:pt x="45" y="87"/>
                      </a:lnTo>
                      <a:lnTo>
                        <a:pt x="49" y="8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06" name="Freeform 289">
                  <a:extLst>
                    <a:ext uri="{FF2B5EF4-FFF2-40B4-BE49-F238E27FC236}">
                      <a16:creationId xmlns:a16="http://schemas.microsoft.com/office/drawing/2014/main" id="{E07DD7C5-40D5-3C3E-13FB-E4FBA9667268}"/>
                    </a:ext>
                  </a:extLst>
                </p:cNvPr>
                <p:cNvSpPr>
                  <a:spLocks/>
                </p:cNvSpPr>
                <p:nvPr/>
              </p:nvSpPr>
              <p:spPr bwMode="auto">
                <a:xfrm>
                  <a:off x="-1901" y="-3064"/>
                  <a:ext cx="77" cy="50"/>
                </a:xfrm>
                <a:custGeom>
                  <a:avLst/>
                  <a:gdLst>
                    <a:gd name="T0" fmla="*/ 70 w 77"/>
                    <a:gd name="T1" fmla="*/ 38 h 50"/>
                    <a:gd name="T2" fmla="*/ 71 w 77"/>
                    <a:gd name="T3" fmla="*/ 36 h 50"/>
                    <a:gd name="T4" fmla="*/ 77 w 77"/>
                    <a:gd name="T5" fmla="*/ 29 h 50"/>
                    <a:gd name="T6" fmla="*/ 73 w 77"/>
                    <a:gd name="T7" fmla="*/ 24 h 50"/>
                    <a:gd name="T8" fmla="*/ 66 w 77"/>
                    <a:gd name="T9" fmla="*/ 20 h 50"/>
                    <a:gd name="T10" fmla="*/ 52 w 77"/>
                    <a:gd name="T11" fmla="*/ 19 h 50"/>
                    <a:gd name="T12" fmla="*/ 52 w 77"/>
                    <a:gd name="T13" fmla="*/ 15 h 50"/>
                    <a:gd name="T14" fmla="*/ 59 w 77"/>
                    <a:gd name="T15" fmla="*/ 13 h 50"/>
                    <a:gd name="T16" fmla="*/ 54 w 77"/>
                    <a:gd name="T17" fmla="*/ 13 h 50"/>
                    <a:gd name="T18" fmla="*/ 49 w 77"/>
                    <a:gd name="T19" fmla="*/ 13 h 50"/>
                    <a:gd name="T20" fmla="*/ 45 w 77"/>
                    <a:gd name="T21" fmla="*/ 10 h 50"/>
                    <a:gd name="T22" fmla="*/ 43 w 77"/>
                    <a:gd name="T23" fmla="*/ 7 h 50"/>
                    <a:gd name="T24" fmla="*/ 40 w 77"/>
                    <a:gd name="T25" fmla="*/ 5 h 50"/>
                    <a:gd name="T26" fmla="*/ 37 w 77"/>
                    <a:gd name="T27" fmla="*/ 5 h 50"/>
                    <a:gd name="T28" fmla="*/ 24 w 77"/>
                    <a:gd name="T29" fmla="*/ 1 h 50"/>
                    <a:gd name="T30" fmla="*/ 21 w 77"/>
                    <a:gd name="T31" fmla="*/ 0 h 50"/>
                    <a:gd name="T32" fmla="*/ 16 w 77"/>
                    <a:gd name="T33" fmla="*/ 1 h 50"/>
                    <a:gd name="T34" fmla="*/ 7 w 77"/>
                    <a:gd name="T35" fmla="*/ 1 h 50"/>
                    <a:gd name="T36" fmla="*/ 5 w 77"/>
                    <a:gd name="T37" fmla="*/ 7 h 50"/>
                    <a:gd name="T38" fmla="*/ 5 w 77"/>
                    <a:gd name="T39" fmla="*/ 12 h 50"/>
                    <a:gd name="T40" fmla="*/ 5 w 77"/>
                    <a:gd name="T41" fmla="*/ 15 h 50"/>
                    <a:gd name="T42" fmla="*/ 7 w 77"/>
                    <a:gd name="T43" fmla="*/ 17 h 50"/>
                    <a:gd name="T44" fmla="*/ 7 w 77"/>
                    <a:gd name="T45" fmla="*/ 19 h 50"/>
                    <a:gd name="T46" fmla="*/ 3 w 77"/>
                    <a:gd name="T47" fmla="*/ 22 h 50"/>
                    <a:gd name="T48" fmla="*/ 5 w 77"/>
                    <a:gd name="T49" fmla="*/ 24 h 50"/>
                    <a:gd name="T50" fmla="*/ 5 w 77"/>
                    <a:gd name="T51" fmla="*/ 27 h 50"/>
                    <a:gd name="T52" fmla="*/ 2 w 77"/>
                    <a:gd name="T53" fmla="*/ 29 h 50"/>
                    <a:gd name="T54" fmla="*/ 0 w 77"/>
                    <a:gd name="T55" fmla="*/ 31 h 50"/>
                    <a:gd name="T56" fmla="*/ 5 w 77"/>
                    <a:gd name="T57" fmla="*/ 36 h 50"/>
                    <a:gd name="T58" fmla="*/ 5 w 77"/>
                    <a:gd name="T59" fmla="*/ 40 h 50"/>
                    <a:gd name="T60" fmla="*/ 7 w 77"/>
                    <a:gd name="T61" fmla="*/ 43 h 50"/>
                    <a:gd name="T62" fmla="*/ 10 w 77"/>
                    <a:gd name="T63" fmla="*/ 48 h 50"/>
                    <a:gd name="T64" fmla="*/ 12 w 77"/>
                    <a:gd name="T65" fmla="*/ 50 h 50"/>
                    <a:gd name="T66" fmla="*/ 16 w 77"/>
                    <a:gd name="T67" fmla="*/ 48 h 50"/>
                    <a:gd name="T68" fmla="*/ 19 w 77"/>
                    <a:gd name="T69" fmla="*/ 40 h 50"/>
                    <a:gd name="T70" fmla="*/ 19 w 77"/>
                    <a:gd name="T71" fmla="*/ 38 h 50"/>
                    <a:gd name="T72" fmla="*/ 23 w 77"/>
                    <a:gd name="T73" fmla="*/ 36 h 50"/>
                    <a:gd name="T74" fmla="*/ 26 w 77"/>
                    <a:gd name="T75" fmla="*/ 36 h 50"/>
                    <a:gd name="T76" fmla="*/ 30 w 77"/>
                    <a:gd name="T77" fmla="*/ 36 h 50"/>
                    <a:gd name="T78" fmla="*/ 33 w 77"/>
                    <a:gd name="T79" fmla="*/ 38 h 50"/>
                    <a:gd name="T80" fmla="*/ 37 w 77"/>
                    <a:gd name="T81" fmla="*/ 38 h 50"/>
                    <a:gd name="T82" fmla="*/ 40 w 77"/>
                    <a:gd name="T83" fmla="*/ 36 h 50"/>
                    <a:gd name="T84" fmla="*/ 45 w 77"/>
                    <a:gd name="T85" fmla="*/ 34 h 50"/>
                    <a:gd name="T86" fmla="*/ 61 w 77"/>
                    <a:gd name="T87" fmla="*/ 34 h 50"/>
                    <a:gd name="T88" fmla="*/ 64 w 77"/>
                    <a:gd name="T89" fmla="*/ 34 h 50"/>
                    <a:gd name="T90" fmla="*/ 70 w 77"/>
                    <a:gd name="T91"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7" h="50">
                      <a:moveTo>
                        <a:pt x="70" y="38"/>
                      </a:moveTo>
                      <a:lnTo>
                        <a:pt x="70" y="38"/>
                      </a:lnTo>
                      <a:lnTo>
                        <a:pt x="71" y="38"/>
                      </a:lnTo>
                      <a:lnTo>
                        <a:pt x="71" y="36"/>
                      </a:lnTo>
                      <a:lnTo>
                        <a:pt x="75" y="33"/>
                      </a:lnTo>
                      <a:lnTo>
                        <a:pt x="77" y="29"/>
                      </a:lnTo>
                      <a:lnTo>
                        <a:pt x="77" y="27"/>
                      </a:lnTo>
                      <a:lnTo>
                        <a:pt x="73" y="24"/>
                      </a:lnTo>
                      <a:lnTo>
                        <a:pt x="70" y="22"/>
                      </a:lnTo>
                      <a:lnTo>
                        <a:pt x="66" y="20"/>
                      </a:lnTo>
                      <a:lnTo>
                        <a:pt x="57" y="19"/>
                      </a:lnTo>
                      <a:lnTo>
                        <a:pt x="52" y="19"/>
                      </a:lnTo>
                      <a:lnTo>
                        <a:pt x="50" y="17"/>
                      </a:lnTo>
                      <a:lnTo>
                        <a:pt x="52" y="15"/>
                      </a:lnTo>
                      <a:lnTo>
                        <a:pt x="56" y="15"/>
                      </a:lnTo>
                      <a:lnTo>
                        <a:pt x="59" y="13"/>
                      </a:lnTo>
                      <a:lnTo>
                        <a:pt x="56" y="13"/>
                      </a:lnTo>
                      <a:lnTo>
                        <a:pt x="54" y="13"/>
                      </a:lnTo>
                      <a:lnTo>
                        <a:pt x="50" y="13"/>
                      </a:lnTo>
                      <a:lnTo>
                        <a:pt x="49" y="13"/>
                      </a:lnTo>
                      <a:lnTo>
                        <a:pt x="47" y="12"/>
                      </a:lnTo>
                      <a:lnTo>
                        <a:pt x="45" y="10"/>
                      </a:lnTo>
                      <a:lnTo>
                        <a:pt x="45" y="8"/>
                      </a:lnTo>
                      <a:lnTo>
                        <a:pt x="43" y="7"/>
                      </a:lnTo>
                      <a:lnTo>
                        <a:pt x="42" y="5"/>
                      </a:lnTo>
                      <a:lnTo>
                        <a:pt x="40" y="5"/>
                      </a:lnTo>
                      <a:lnTo>
                        <a:pt x="38" y="7"/>
                      </a:lnTo>
                      <a:lnTo>
                        <a:pt x="37" y="5"/>
                      </a:lnTo>
                      <a:lnTo>
                        <a:pt x="30" y="3"/>
                      </a:lnTo>
                      <a:lnTo>
                        <a:pt x="24" y="1"/>
                      </a:lnTo>
                      <a:lnTo>
                        <a:pt x="23" y="0"/>
                      </a:lnTo>
                      <a:lnTo>
                        <a:pt x="21" y="0"/>
                      </a:lnTo>
                      <a:lnTo>
                        <a:pt x="17" y="1"/>
                      </a:lnTo>
                      <a:lnTo>
                        <a:pt x="16" y="1"/>
                      </a:lnTo>
                      <a:lnTo>
                        <a:pt x="9" y="1"/>
                      </a:lnTo>
                      <a:lnTo>
                        <a:pt x="7" y="1"/>
                      </a:lnTo>
                      <a:lnTo>
                        <a:pt x="5" y="5"/>
                      </a:lnTo>
                      <a:lnTo>
                        <a:pt x="5" y="7"/>
                      </a:lnTo>
                      <a:lnTo>
                        <a:pt x="5" y="8"/>
                      </a:lnTo>
                      <a:lnTo>
                        <a:pt x="5" y="12"/>
                      </a:lnTo>
                      <a:lnTo>
                        <a:pt x="5" y="13"/>
                      </a:lnTo>
                      <a:lnTo>
                        <a:pt x="5" y="15"/>
                      </a:lnTo>
                      <a:lnTo>
                        <a:pt x="7" y="15"/>
                      </a:lnTo>
                      <a:lnTo>
                        <a:pt x="7" y="17"/>
                      </a:lnTo>
                      <a:lnTo>
                        <a:pt x="7" y="17"/>
                      </a:lnTo>
                      <a:lnTo>
                        <a:pt x="7" y="19"/>
                      </a:lnTo>
                      <a:lnTo>
                        <a:pt x="5" y="20"/>
                      </a:lnTo>
                      <a:lnTo>
                        <a:pt x="3" y="22"/>
                      </a:lnTo>
                      <a:lnTo>
                        <a:pt x="3" y="22"/>
                      </a:lnTo>
                      <a:lnTo>
                        <a:pt x="5" y="24"/>
                      </a:lnTo>
                      <a:lnTo>
                        <a:pt x="5" y="24"/>
                      </a:lnTo>
                      <a:lnTo>
                        <a:pt x="5" y="27"/>
                      </a:lnTo>
                      <a:lnTo>
                        <a:pt x="3" y="27"/>
                      </a:lnTo>
                      <a:lnTo>
                        <a:pt x="2" y="29"/>
                      </a:lnTo>
                      <a:lnTo>
                        <a:pt x="0" y="29"/>
                      </a:lnTo>
                      <a:lnTo>
                        <a:pt x="0" y="31"/>
                      </a:lnTo>
                      <a:lnTo>
                        <a:pt x="3" y="34"/>
                      </a:lnTo>
                      <a:lnTo>
                        <a:pt x="5" y="36"/>
                      </a:lnTo>
                      <a:lnTo>
                        <a:pt x="5" y="36"/>
                      </a:lnTo>
                      <a:lnTo>
                        <a:pt x="5" y="40"/>
                      </a:lnTo>
                      <a:lnTo>
                        <a:pt x="5" y="41"/>
                      </a:lnTo>
                      <a:lnTo>
                        <a:pt x="7" y="43"/>
                      </a:lnTo>
                      <a:lnTo>
                        <a:pt x="9" y="47"/>
                      </a:lnTo>
                      <a:lnTo>
                        <a:pt x="10" y="48"/>
                      </a:lnTo>
                      <a:lnTo>
                        <a:pt x="12" y="50"/>
                      </a:lnTo>
                      <a:lnTo>
                        <a:pt x="12" y="50"/>
                      </a:lnTo>
                      <a:lnTo>
                        <a:pt x="14" y="50"/>
                      </a:lnTo>
                      <a:lnTo>
                        <a:pt x="16" y="48"/>
                      </a:lnTo>
                      <a:lnTo>
                        <a:pt x="19" y="41"/>
                      </a:lnTo>
                      <a:lnTo>
                        <a:pt x="19" y="40"/>
                      </a:lnTo>
                      <a:lnTo>
                        <a:pt x="19" y="40"/>
                      </a:lnTo>
                      <a:lnTo>
                        <a:pt x="19" y="38"/>
                      </a:lnTo>
                      <a:lnTo>
                        <a:pt x="21" y="36"/>
                      </a:lnTo>
                      <a:lnTo>
                        <a:pt x="23" y="36"/>
                      </a:lnTo>
                      <a:lnTo>
                        <a:pt x="24" y="36"/>
                      </a:lnTo>
                      <a:lnTo>
                        <a:pt x="26" y="36"/>
                      </a:lnTo>
                      <a:lnTo>
                        <a:pt x="28" y="36"/>
                      </a:lnTo>
                      <a:lnTo>
                        <a:pt x="30" y="36"/>
                      </a:lnTo>
                      <a:lnTo>
                        <a:pt x="31" y="36"/>
                      </a:lnTo>
                      <a:lnTo>
                        <a:pt x="33" y="38"/>
                      </a:lnTo>
                      <a:lnTo>
                        <a:pt x="35" y="38"/>
                      </a:lnTo>
                      <a:lnTo>
                        <a:pt x="37" y="38"/>
                      </a:lnTo>
                      <a:lnTo>
                        <a:pt x="38" y="36"/>
                      </a:lnTo>
                      <a:lnTo>
                        <a:pt x="40" y="36"/>
                      </a:lnTo>
                      <a:lnTo>
                        <a:pt x="42" y="34"/>
                      </a:lnTo>
                      <a:lnTo>
                        <a:pt x="45" y="34"/>
                      </a:lnTo>
                      <a:lnTo>
                        <a:pt x="47" y="33"/>
                      </a:lnTo>
                      <a:lnTo>
                        <a:pt x="61" y="34"/>
                      </a:lnTo>
                      <a:lnTo>
                        <a:pt x="63" y="34"/>
                      </a:lnTo>
                      <a:lnTo>
                        <a:pt x="64" y="34"/>
                      </a:lnTo>
                      <a:lnTo>
                        <a:pt x="66" y="36"/>
                      </a:lnTo>
                      <a:lnTo>
                        <a:pt x="70" y="38"/>
                      </a:lnTo>
                      <a:lnTo>
                        <a:pt x="70" y="3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07" name="Freeform 290">
                  <a:extLst>
                    <a:ext uri="{FF2B5EF4-FFF2-40B4-BE49-F238E27FC236}">
                      <a16:creationId xmlns:a16="http://schemas.microsoft.com/office/drawing/2014/main" id="{02D76AEB-0C1D-7F96-47AA-5B106862C22C}"/>
                    </a:ext>
                  </a:extLst>
                </p:cNvPr>
                <p:cNvSpPr>
                  <a:spLocks/>
                </p:cNvSpPr>
                <p:nvPr/>
              </p:nvSpPr>
              <p:spPr bwMode="auto">
                <a:xfrm>
                  <a:off x="-2198" y="-2871"/>
                  <a:ext cx="70" cy="69"/>
                </a:xfrm>
                <a:custGeom>
                  <a:avLst/>
                  <a:gdLst>
                    <a:gd name="T0" fmla="*/ 61 w 70"/>
                    <a:gd name="T1" fmla="*/ 63 h 69"/>
                    <a:gd name="T2" fmla="*/ 65 w 70"/>
                    <a:gd name="T3" fmla="*/ 60 h 69"/>
                    <a:gd name="T4" fmla="*/ 65 w 70"/>
                    <a:gd name="T5" fmla="*/ 58 h 69"/>
                    <a:gd name="T6" fmla="*/ 65 w 70"/>
                    <a:gd name="T7" fmla="*/ 53 h 69"/>
                    <a:gd name="T8" fmla="*/ 66 w 70"/>
                    <a:gd name="T9" fmla="*/ 51 h 69"/>
                    <a:gd name="T10" fmla="*/ 66 w 70"/>
                    <a:gd name="T11" fmla="*/ 49 h 69"/>
                    <a:gd name="T12" fmla="*/ 65 w 70"/>
                    <a:gd name="T13" fmla="*/ 48 h 69"/>
                    <a:gd name="T14" fmla="*/ 63 w 70"/>
                    <a:gd name="T15" fmla="*/ 48 h 69"/>
                    <a:gd name="T16" fmla="*/ 63 w 70"/>
                    <a:gd name="T17" fmla="*/ 42 h 69"/>
                    <a:gd name="T18" fmla="*/ 63 w 70"/>
                    <a:gd name="T19" fmla="*/ 39 h 69"/>
                    <a:gd name="T20" fmla="*/ 66 w 70"/>
                    <a:gd name="T21" fmla="*/ 37 h 69"/>
                    <a:gd name="T22" fmla="*/ 70 w 70"/>
                    <a:gd name="T23" fmla="*/ 35 h 69"/>
                    <a:gd name="T24" fmla="*/ 66 w 70"/>
                    <a:gd name="T25" fmla="*/ 32 h 69"/>
                    <a:gd name="T26" fmla="*/ 58 w 70"/>
                    <a:gd name="T27" fmla="*/ 25 h 69"/>
                    <a:gd name="T28" fmla="*/ 47 w 70"/>
                    <a:gd name="T29" fmla="*/ 7 h 69"/>
                    <a:gd name="T30" fmla="*/ 38 w 70"/>
                    <a:gd name="T31" fmla="*/ 9 h 69"/>
                    <a:gd name="T32" fmla="*/ 26 w 70"/>
                    <a:gd name="T33" fmla="*/ 4 h 69"/>
                    <a:gd name="T34" fmla="*/ 21 w 70"/>
                    <a:gd name="T35" fmla="*/ 6 h 69"/>
                    <a:gd name="T36" fmla="*/ 17 w 70"/>
                    <a:gd name="T37" fmla="*/ 6 h 69"/>
                    <a:gd name="T38" fmla="*/ 7 w 70"/>
                    <a:gd name="T39" fmla="*/ 0 h 69"/>
                    <a:gd name="T40" fmla="*/ 3 w 70"/>
                    <a:gd name="T41" fmla="*/ 4 h 69"/>
                    <a:gd name="T42" fmla="*/ 2 w 70"/>
                    <a:gd name="T43" fmla="*/ 6 h 69"/>
                    <a:gd name="T44" fmla="*/ 0 w 70"/>
                    <a:gd name="T45" fmla="*/ 7 h 69"/>
                    <a:gd name="T46" fmla="*/ 3 w 70"/>
                    <a:gd name="T47" fmla="*/ 11 h 69"/>
                    <a:gd name="T48" fmla="*/ 0 w 70"/>
                    <a:gd name="T49" fmla="*/ 21 h 69"/>
                    <a:gd name="T50" fmla="*/ 5 w 70"/>
                    <a:gd name="T51" fmla="*/ 28 h 69"/>
                    <a:gd name="T52" fmla="*/ 14 w 70"/>
                    <a:gd name="T53" fmla="*/ 34 h 69"/>
                    <a:gd name="T54" fmla="*/ 19 w 70"/>
                    <a:gd name="T55" fmla="*/ 34 h 69"/>
                    <a:gd name="T56" fmla="*/ 17 w 70"/>
                    <a:gd name="T57" fmla="*/ 27 h 69"/>
                    <a:gd name="T58" fmla="*/ 12 w 70"/>
                    <a:gd name="T59" fmla="*/ 21 h 69"/>
                    <a:gd name="T60" fmla="*/ 19 w 70"/>
                    <a:gd name="T61" fmla="*/ 25 h 69"/>
                    <a:gd name="T62" fmla="*/ 26 w 70"/>
                    <a:gd name="T63" fmla="*/ 30 h 69"/>
                    <a:gd name="T64" fmla="*/ 26 w 70"/>
                    <a:gd name="T65" fmla="*/ 34 h 69"/>
                    <a:gd name="T66" fmla="*/ 28 w 70"/>
                    <a:gd name="T67" fmla="*/ 37 h 69"/>
                    <a:gd name="T68" fmla="*/ 37 w 70"/>
                    <a:gd name="T69" fmla="*/ 41 h 69"/>
                    <a:gd name="T70" fmla="*/ 45 w 70"/>
                    <a:gd name="T71" fmla="*/ 44 h 69"/>
                    <a:gd name="T72" fmla="*/ 49 w 70"/>
                    <a:gd name="T73" fmla="*/ 53 h 69"/>
                    <a:gd name="T74" fmla="*/ 47 w 70"/>
                    <a:gd name="T75" fmla="*/ 56 h 69"/>
                    <a:gd name="T76" fmla="*/ 49 w 70"/>
                    <a:gd name="T77" fmla="*/ 60 h 69"/>
                    <a:gd name="T78" fmla="*/ 51 w 70"/>
                    <a:gd name="T79" fmla="*/ 60 h 69"/>
                    <a:gd name="T80" fmla="*/ 54 w 70"/>
                    <a:gd name="T81" fmla="*/ 60 h 69"/>
                    <a:gd name="T82" fmla="*/ 52 w 70"/>
                    <a:gd name="T83" fmla="*/ 56 h 69"/>
                    <a:gd name="T84" fmla="*/ 54 w 70"/>
                    <a:gd name="T85" fmla="*/ 55 h 69"/>
                    <a:gd name="T86" fmla="*/ 58 w 70"/>
                    <a:gd name="T87" fmla="*/ 58 h 69"/>
                    <a:gd name="T88" fmla="*/ 63 w 70"/>
                    <a:gd name="T89" fmla="*/ 67 h 69"/>
                    <a:gd name="T90" fmla="*/ 63 w 70"/>
                    <a:gd name="T91"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 h="69">
                      <a:moveTo>
                        <a:pt x="63" y="65"/>
                      </a:moveTo>
                      <a:lnTo>
                        <a:pt x="61" y="63"/>
                      </a:lnTo>
                      <a:lnTo>
                        <a:pt x="61" y="62"/>
                      </a:lnTo>
                      <a:lnTo>
                        <a:pt x="65" y="60"/>
                      </a:lnTo>
                      <a:lnTo>
                        <a:pt x="65" y="60"/>
                      </a:lnTo>
                      <a:lnTo>
                        <a:pt x="65" y="58"/>
                      </a:lnTo>
                      <a:lnTo>
                        <a:pt x="65" y="55"/>
                      </a:lnTo>
                      <a:lnTo>
                        <a:pt x="65" y="53"/>
                      </a:lnTo>
                      <a:lnTo>
                        <a:pt x="65" y="51"/>
                      </a:lnTo>
                      <a:lnTo>
                        <a:pt x="66" y="51"/>
                      </a:lnTo>
                      <a:lnTo>
                        <a:pt x="66" y="51"/>
                      </a:lnTo>
                      <a:lnTo>
                        <a:pt x="66" y="49"/>
                      </a:lnTo>
                      <a:lnTo>
                        <a:pt x="66" y="48"/>
                      </a:lnTo>
                      <a:lnTo>
                        <a:pt x="65" y="48"/>
                      </a:lnTo>
                      <a:lnTo>
                        <a:pt x="65" y="48"/>
                      </a:lnTo>
                      <a:lnTo>
                        <a:pt x="63" y="48"/>
                      </a:lnTo>
                      <a:lnTo>
                        <a:pt x="63" y="46"/>
                      </a:lnTo>
                      <a:lnTo>
                        <a:pt x="63" y="42"/>
                      </a:lnTo>
                      <a:lnTo>
                        <a:pt x="63" y="41"/>
                      </a:lnTo>
                      <a:lnTo>
                        <a:pt x="63" y="39"/>
                      </a:lnTo>
                      <a:lnTo>
                        <a:pt x="63" y="37"/>
                      </a:lnTo>
                      <a:lnTo>
                        <a:pt x="66" y="37"/>
                      </a:lnTo>
                      <a:lnTo>
                        <a:pt x="70" y="37"/>
                      </a:lnTo>
                      <a:lnTo>
                        <a:pt x="70" y="35"/>
                      </a:lnTo>
                      <a:lnTo>
                        <a:pt x="68" y="35"/>
                      </a:lnTo>
                      <a:lnTo>
                        <a:pt x="66" y="32"/>
                      </a:lnTo>
                      <a:lnTo>
                        <a:pt x="65" y="32"/>
                      </a:lnTo>
                      <a:lnTo>
                        <a:pt x="58" y="25"/>
                      </a:lnTo>
                      <a:lnTo>
                        <a:pt x="54" y="20"/>
                      </a:lnTo>
                      <a:lnTo>
                        <a:pt x="47" y="7"/>
                      </a:lnTo>
                      <a:lnTo>
                        <a:pt x="44" y="11"/>
                      </a:lnTo>
                      <a:lnTo>
                        <a:pt x="38" y="9"/>
                      </a:lnTo>
                      <a:lnTo>
                        <a:pt x="31" y="6"/>
                      </a:lnTo>
                      <a:lnTo>
                        <a:pt x="26" y="4"/>
                      </a:lnTo>
                      <a:lnTo>
                        <a:pt x="24" y="4"/>
                      </a:lnTo>
                      <a:lnTo>
                        <a:pt x="21" y="6"/>
                      </a:lnTo>
                      <a:lnTo>
                        <a:pt x="19" y="6"/>
                      </a:lnTo>
                      <a:lnTo>
                        <a:pt x="17" y="6"/>
                      </a:lnTo>
                      <a:lnTo>
                        <a:pt x="9" y="2"/>
                      </a:lnTo>
                      <a:lnTo>
                        <a:pt x="7" y="0"/>
                      </a:lnTo>
                      <a:lnTo>
                        <a:pt x="5" y="2"/>
                      </a:lnTo>
                      <a:lnTo>
                        <a:pt x="3" y="4"/>
                      </a:lnTo>
                      <a:lnTo>
                        <a:pt x="2" y="4"/>
                      </a:lnTo>
                      <a:lnTo>
                        <a:pt x="2" y="6"/>
                      </a:lnTo>
                      <a:lnTo>
                        <a:pt x="0" y="6"/>
                      </a:lnTo>
                      <a:lnTo>
                        <a:pt x="0" y="7"/>
                      </a:lnTo>
                      <a:lnTo>
                        <a:pt x="3" y="9"/>
                      </a:lnTo>
                      <a:lnTo>
                        <a:pt x="3" y="11"/>
                      </a:lnTo>
                      <a:lnTo>
                        <a:pt x="2" y="18"/>
                      </a:lnTo>
                      <a:lnTo>
                        <a:pt x="0" y="21"/>
                      </a:lnTo>
                      <a:lnTo>
                        <a:pt x="2" y="25"/>
                      </a:lnTo>
                      <a:lnTo>
                        <a:pt x="5" y="28"/>
                      </a:lnTo>
                      <a:lnTo>
                        <a:pt x="12" y="32"/>
                      </a:lnTo>
                      <a:lnTo>
                        <a:pt x="14" y="34"/>
                      </a:lnTo>
                      <a:lnTo>
                        <a:pt x="16" y="35"/>
                      </a:lnTo>
                      <a:lnTo>
                        <a:pt x="19" y="34"/>
                      </a:lnTo>
                      <a:lnTo>
                        <a:pt x="21" y="30"/>
                      </a:lnTo>
                      <a:lnTo>
                        <a:pt x="17" y="27"/>
                      </a:lnTo>
                      <a:lnTo>
                        <a:pt x="14" y="25"/>
                      </a:lnTo>
                      <a:lnTo>
                        <a:pt x="12" y="21"/>
                      </a:lnTo>
                      <a:lnTo>
                        <a:pt x="16" y="23"/>
                      </a:lnTo>
                      <a:lnTo>
                        <a:pt x="19" y="25"/>
                      </a:lnTo>
                      <a:lnTo>
                        <a:pt x="23" y="27"/>
                      </a:lnTo>
                      <a:lnTo>
                        <a:pt x="26" y="30"/>
                      </a:lnTo>
                      <a:lnTo>
                        <a:pt x="26" y="32"/>
                      </a:lnTo>
                      <a:lnTo>
                        <a:pt x="26" y="34"/>
                      </a:lnTo>
                      <a:lnTo>
                        <a:pt x="26" y="35"/>
                      </a:lnTo>
                      <a:lnTo>
                        <a:pt x="28" y="37"/>
                      </a:lnTo>
                      <a:lnTo>
                        <a:pt x="30" y="37"/>
                      </a:lnTo>
                      <a:lnTo>
                        <a:pt x="37" y="41"/>
                      </a:lnTo>
                      <a:lnTo>
                        <a:pt x="42" y="42"/>
                      </a:lnTo>
                      <a:lnTo>
                        <a:pt x="45" y="44"/>
                      </a:lnTo>
                      <a:lnTo>
                        <a:pt x="47" y="48"/>
                      </a:lnTo>
                      <a:lnTo>
                        <a:pt x="49" y="53"/>
                      </a:lnTo>
                      <a:lnTo>
                        <a:pt x="47" y="55"/>
                      </a:lnTo>
                      <a:lnTo>
                        <a:pt x="47" y="56"/>
                      </a:lnTo>
                      <a:lnTo>
                        <a:pt x="47" y="56"/>
                      </a:lnTo>
                      <a:lnTo>
                        <a:pt x="49" y="60"/>
                      </a:lnTo>
                      <a:lnTo>
                        <a:pt x="49" y="60"/>
                      </a:lnTo>
                      <a:lnTo>
                        <a:pt x="51" y="60"/>
                      </a:lnTo>
                      <a:lnTo>
                        <a:pt x="56" y="62"/>
                      </a:lnTo>
                      <a:lnTo>
                        <a:pt x="54" y="60"/>
                      </a:lnTo>
                      <a:lnTo>
                        <a:pt x="54" y="58"/>
                      </a:lnTo>
                      <a:lnTo>
                        <a:pt x="52" y="56"/>
                      </a:lnTo>
                      <a:lnTo>
                        <a:pt x="51" y="55"/>
                      </a:lnTo>
                      <a:lnTo>
                        <a:pt x="54" y="55"/>
                      </a:lnTo>
                      <a:lnTo>
                        <a:pt x="56" y="56"/>
                      </a:lnTo>
                      <a:lnTo>
                        <a:pt x="58" y="58"/>
                      </a:lnTo>
                      <a:lnTo>
                        <a:pt x="61" y="63"/>
                      </a:lnTo>
                      <a:lnTo>
                        <a:pt x="63" y="67"/>
                      </a:lnTo>
                      <a:lnTo>
                        <a:pt x="65" y="69"/>
                      </a:lnTo>
                      <a:lnTo>
                        <a:pt x="63" y="67"/>
                      </a:lnTo>
                      <a:lnTo>
                        <a:pt x="63" y="6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08" name="Freeform 291">
                  <a:extLst>
                    <a:ext uri="{FF2B5EF4-FFF2-40B4-BE49-F238E27FC236}">
                      <a16:creationId xmlns:a16="http://schemas.microsoft.com/office/drawing/2014/main" id="{821CF55B-A569-E23D-462B-18DD4E29241A}"/>
                    </a:ext>
                  </a:extLst>
                </p:cNvPr>
                <p:cNvSpPr>
                  <a:spLocks/>
                </p:cNvSpPr>
                <p:nvPr/>
              </p:nvSpPr>
              <p:spPr bwMode="auto">
                <a:xfrm>
                  <a:off x="-2236" y="-2954"/>
                  <a:ext cx="96" cy="94"/>
                </a:xfrm>
                <a:custGeom>
                  <a:avLst/>
                  <a:gdLst>
                    <a:gd name="T0" fmla="*/ 47 w 96"/>
                    <a:gd name="T1" fmla="*/ 85 h 94"/>
                    <a:gd name="T2" fmla="*/ 57 w 96"/>
                    <a:gd name="T3" fmla="*/ 89 h 94"/>
                    <a:gd name="T4" fmla="*/ 62 w 96"/>
                    <a:gd name="T5" fmla="*/ 87 h 94"/>
                    <a:gd name="T6" fmla="*/ 69 w 96"/>
                    <a:gd name="T7" fmla="*/ 89 h 94"/>
                    <a:gd name="T8" fmla="*/ 82 w 96"/>
                    <a:gd name="T9" fmla="*/ 94 h 94"/>
                    <a:gd name="T10" fmla="*/ 82 w 96"/>
                    <a:gd name="T11" fmla="*/ 87 h 94"/>
                    <a:gd name="T12" fmla="*/ 85 w 96"/>
                    <a:gd name="T13" fmla="*/ 75 h 94"/>
                    <a:gd name="T14" fmla="*/ 85 w 96"/>
                    <a:gd name="T15" fmla="*/ 73 h 94"/>
                    <a:gd name="T16" fmla="*/ 83 w 96"/>
                    <a:gd name="T17" fmla="*/ 69 h 94"/>
                    <a:gd name="T18" fmla="*/ 82 w 96"/>
                    <a:gd name="T19" fmla="*/ 69 h 94"/>
                    <a:gd name="T20" fmla="*/ 83 w 96"/>
                    <a:gd name="T21" fmla="*/ 64 h 94"/>
                    <a:gd name="T22" fmla="*/ 85 w 96"/>
                    <a:gd name="T23" fmla="*/ 66 h 94"/>
                    <a:gd name="T24" fmla="*/ 85 w 96"/>
                    <a:gd name="T25" fmla="*/ 61 h 94"/>
                    <a:gd name="T26" fmla="*/ 85 w 96"/>
                    <a:gd name="T27" fmla="*/ 59 h 94"/>
                    <a:gd name="T28" fmla="*/ 83 w 96"/>
                    <a:gd name="T29" fmla="*/ 57 h 94"/>
                    <a:gd name="T30" fmla="*/ 85 w 96"/>
                    <a:gd name="T31" fmla="*/ 54 h 94"/>
                    <a:gd name="T32" fmla="*/ 87 w 96"/>
                    <a:gd name="T33" fmla="*/ 50 h 94"/>
                    <a:gd name="T34" fmla="*/ 87 w 96"/>
                    <a:gd name="T35" fmla="*/ 54 h 94"/>
                    <a:gd name="T36" fmla="*/ 87 w 96"/>
                    <a:gd name="T37" fmla="*/ 57 h 94"/>
                    <a:gd name="T38" fmla="*/ 89 w 96"/>
                    <a:gd name="T39" fmla="*/ 56 h 94"/>
                    <a:gd name="T40" fmla="*/ 89 w 96"/>
                    <a:gd name="T41" fmla="*/ 28 h 94"/>
                    <a:gd name="T42" fmla="*/ 92 w 96"/>
                    <a:gd name="T43" fmla="*/ 21 h 94"/>
                    <a:gd name="T44" fmla="*/ 94 w 96"/>
                    <a:gd name="T45" fmla="*/ 12 h 94"/>
                    <a:gd name="T46" fmla="*/ 92 w 96"/>
                    <a:gd name="T47" fmla="*/ 5 h 94"/>
                    <a:gd name="T48" fmla="*/ 90 w 96"/>
                    <a:gd name="T49" fmla="*/ 5 h 94"/>
                    <a:gd name="T50" fmla="*/ 90 w 96"/>
                    <a:gd name="T51" fmla="*/ 3 h 94"/>
                    <a:gd name="T52" fmla="*/ 92 w 96"/>
                    <a:gd name="T53" fmla="*/ 3 h 94"/>
                    <a:gd name="T54" fmla="*/ 96 w 96"/>
                    <a:gd name="T55" fmla="*/ 0 h 94"/>
                    <a:gd name="T56" fmla="*/ 69 w 96"/>
                    <a:gd name="T57" fmla="*/ 7 h 94"/>
                    <a:gd name="T58" fmla="*/ 64 w 96"/>
                    <a:gd name="T59" fmla="*/ 8 h 94"/>
                    <a:gd name="T60" fmla="*/ 62 w 96"/>
                    <a:gd name="T61" fmla="*/ 7 h 94"/>
                    <a:gd name="T62" fmla="*/ 59 w 96"/>
                    <a:gd name="T63" fmla="*/ 5 h 94"/>
                    <a:gd name="T64" fmla="*/ 57 w 96"/>
                    <a:gd name="T65" fmla="*/ 7 h 94"/>
                    <a:gd name="T66" fmla="*/ 55 w 96"/>
                    <a:gd name="T67" fmla="*/ 8 h 94"/>
                    <a:gd name="T68" fmla="*/ 54 w 96"/>
                    <a:gd name="T69" fmla="*/ 14 h 94"/>
                    <a:gd name="T70" fmla="*/ 50 w 96"/>
                    <a:gd name="T71" fmla="*/ 17 h 94"/>
                    <a:gd name="T72" fmla="*/ 41 w 96"/>
                    <a:gd name="T73" fmla="*/ 24 h 94"/>
                    <a:gd name="T74" fmla="*/ 34 w 96"/>
                    <a:gd name="T75" fmla="*/ 22 h 94"/>
                    <a:gd name="T76" fmla="*/ 31 w 96"/>
                    <a:gd name="T77" fmla="*/ 22 h 94"/>
                    <a:gd name="T78" fmla="*/ 27 w 96"/>
                    <a:gd name="T79" fmla="*/ 28 h 94"/>
                    <a:gd name="T80" fmla="*/ 21 w 96"/>
                    <a:gd name="T81" fmla="*/ 28 h 94"/>
                    <a:gd name="T82" fmla="*/ 19 w 96"/>
                    <a:gd name="T83" fmla="*/ 29 h 94"/>
                    <a:gd name="T84" fmla="*/ 19 w 96"/>
                    <a:gd name="T85" fmla="*/ 33 h 94"/>
                    <a:gd name="T86" fmla="*/ 19 w 96"/>
                    <a:gd name="T87" fmla="*/ 36 h 94"/>
                    <a:gd name="T88" fmla="*/ 19 w 96"/>
                    <a:gd name="T89" fmla="*/ 36 h 94"/>
                    <a:gd name="T90" fmla="*/ 14 w 96"/>
                    <a:gd name="T91" fmla="*/ 43 h 94"/>
                    <a:gd name="T92" fmla="*/ 7 w 96"/>
                    <a:gd name="T93" fmla="*/ 45 h 94"/>
                    <a:gd name="T94" fmla="*/ 1 w 96"/>
                    <a:gd name="T95" fmla="*/ 43 h 94"/>
                    <a:gd name="T96" fmla="*/ 0 w 96"/>
                    <a:gd name="T97" fmla="*/ 47 h 94"/>
                    <a:gd name="T98" fmla="*/ 15 w 96"/>
                    <a:gd name="T99" fmla="*/ 59 h 94"/>
                    <a:gd name="T100" fmla="*/ 24 w 96"/>
                    <a:gd name="T101" fmla="*/ 69 h 94"/>
                    <a:gd name="T102" fmla="*/ 38 w 96"/>
                    <a:gd name="T103" fmla="*/ 82 h 94"/>
                    <a:gd name="T104" fmla="*/ 43 w 96"/>
                    <a:gd name="T105" fmla="*/ 8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6" h="94">
                      <a:moveTo>
                        <a:pt x="45" y="83"/>
                      </a:moveTo>
                      <a:lnTo>
                        <a:pt x="47" y="85"/>
                      </a:lnTo>
                      <a:lnTo>
                        <a:pt x="55" y="89"/>
                      </a:lnTo>
                      <a:lnTo>
                        <a:pt x="57" y="89"/>
                      </a:lnTo>
                      <a:lnTo>
                        <a:pt x="59" y="89"/>
                      </a:lnTo>
                      <a:lnTo>
                        <a:pt x="62" y="87"/>
                      </a:lnTo>
                      <a:lnTo>
                        <a:pt x="64" y="87"/>
                      </a:lnTo>
                      <a:lnTo>
                        <a:pt x="69" y="89"/>
                      </a:lnTo>
                      <a:lnTo>
                        <a:pt x="76" y="92"/>
                      </a:lnTo>
                      <a:lnTo>
                        <a:pt x="82" y="94"/>
                      </a:lnTo>
                      <a:lnTo>
                        <a:pt x="85" y="90"/>
                      </a:lnTo>
                      <a:lnTo>
                        <a:pt x="82" y="87"/>
                      </a:lnTo>
                      <a:lnTo>
                        <a:pt x="82" y="83"/>
                      </a:lnTo>
                      <a:lnTo>
                        <a:pt x="85" y="75"/>
                      </a:lnTo>
                      <a:lnTo>
                        <a:pt x="85" y="73"/>
                      </a:lnTo>
                      <a:lnTo>
                        <a:pt x="85" y="73"/>
                      </a:lnTo>
                      <a:lnTo>
                        <a:pt x="83" y="69"/>
                      </a:lnTo>
                      <a:lnTo>
                        <a:pt x="83" y="69"/>
                      </a:lnTo>
                      <a:lnTo>
                        <a:pt x="83" y="69"/>
                      </a:lnTo>
                      <a:lnTo>
                        <a:pt x="82" y="69"/>
                      </a:lnTo>
                      <a:lnTo>
                        <a:pt x="82" y="68"/>
                      </a:lnTo>
                      <a:lnTo>
                        <a:pt x="83" y="64"/>
                      </a:lnTo>
                      <a:lnTo>
                        <a:pt x="83" y="64"/>
                      </a:lnTo>
                      <a:lnTo>
                        <a:pt x="85" y="66"/>
                      </a:lnTo>
                      <a:lnTo>
                        <a:pt x="85" y="66"/>
                      </a:lnTo>
                      <a:lnTo>
                        <a:pt x="85" y="61"/>
                      </a:lnTo>
                      <a:lnTo>
                        <a:pt x="85" y="61"/>
                      </a:lnTo>
                      <a:lnTo>
                        <a:pt x="85" y="59"/>
                      </a:lnTo>
                      <a:lnTo>
                        <a:pt x="83" y="57"/>
                      </a:lnTo>
                      <a:lnTo>
                        <a:pt x="83" y="57"/>
                      </a:lnTo>
                      <a:lnTo>
                        <a:pt x="85" y="56"/>
                      </a:lnTo>
                      <a:lnTo>
                        <a:pt x="85" y="54"/>
                      </a:lnTo>
                      <a:lnTo>
                        <a:pt x="85" y="52"/>
                      </a:lnTo>
                      <a:lnTo>
                        <a:pt x="87" y="50"/>
                      </a:lnTo>
                      <a:lnTo>
                        <a:pt x="87" y="52"/>
                      </a:lnTo>
                      <a:lnTo>
                        <a:pt x="87" y="54"/>
                      </a:lnTo>
                      <a:lnTo>
                        <a:pt x="85" y="56"/>
                      </a:lnTo>
                      <a:lnTo>
                        <a:pt x="87" y="57"/>
                      </a:lnTo>
                      <a:lnTo>
                        <a:pt x="87" y="57"/>
                      </a:lnTo>
                      <a:lnTo>
                        <a:pt x="89" y="56"/>
                      </a:lnTo>
                      <a:lnTo>
                        <a:pt x="89" y="35"/>
                      </a:lnTo>
                      <a:lnTo>
                        <a:pt x="89" y="28"/>
                      </a:lnTo>
                      <a:lnTo>
                        <a:pt x="90" y="24"/>
                      </a:lnTo>
                      <a:lnTo>
                        <a:pt x="92" y="21"/>
                      </a:lnTo>
                      <a:lnTo>
                        <a:pt x="94" y="15"/>
                      </a:lnTo>
                      <a:lnTo>
                        <a:pt x="94" y="12"/>
                      </a:lnTo>
                      <a:lnTo>
                        <a:pt x="92" y="5"/>
                      </a:lnTo>
                      <a:lnTo>
                        <a:pt x="92" y="5"/>
                      </a:lnTo>
                      <a:lnTo>
                        <a:pt x="92" y="5"/>
                      </a:lnTo>
                      <a:lnTo>
                        <a:pt x="90" y="5"/>
                      </a:lnTo>
                      <a:lnTo>
                        <a:pt x="90" y="5"/>
                      </a:lnTo>
                      <a:lnTo>
                        <a:pt x="90" y="3"/>
                      </a:lnTo>
                      <a:lnTo>
                        <a:pt x="92" y="3"/>
                      </a:lnTo>
                      <a:lnTo>
                        <a:pt x="92" y="3"/>
                      </a:lnTo>
                      <a:lnTo>
                        <a:pt x="92" y="5"/>
                      </a:lnTo>
                      <a:lnTo>
                        <a:pt x="96" y="0"/>
                      </a:lnTo>
                      <a:lnTo>
                        <a:pt x="90" y="1"/>
                      </a:lnTo>
                      <a:lnTo>
                        <a:pt x="69" y="7"/>
                      </a:lnTo>
                      <a:lnTo>
                        <a:pt x="68" y="8"/>
                      </a:lnTo>
                      <a:lnTo>
                        <a:pt x="64" y="8"/>
                      </a:lnTo>
                      <a:lnTo>
                        <a:pt x="62" y="7"/>
                      </a:lnTo>
                      <a:lnTo>
                        <a:pt x="62" y="7"/>
                      </a:lnTo>
                      <a:lnTo>
                        <a:pt x="61" y="5"/>
                      </a:lnTo>
                      <a:lnTo>
                        <a:pt x="59" y="5"/>
                      </a:lnTo>
                      <a:lnTo>
                        <a:pt x="57" y="5"/>
                      </a:lnTo>
                      <a:lnTo>
                        <a:pt x="57" y="7"/>
                      </a:lnTo>
                      <a:lnTo>
                        <a:pt x="55" y="7"/>
                      </a:lnTo>
                      <a:lnTo>
                        <a:pt x="55" y="8"/>
                      </a:lnTo>
                      <a:lnTo>
                        <a:pt x="55" y="10"/>
                      </a:lnTo>
                      <a:lnTo>
                        <a:pt x="54" y="14"/>
                      </a:lnTo>
                      <a:lnTo>
                        <a:pt x="52" y="15"/>
                      </a:lnTo>
                      <a:lnTo>
                        <a:pt x="50" y="17"/>
                      </a:lnTo>
                      <a:lnTo>
                        <a:pt x="43" y="22"/>
                      </a:lnTo>
                      <a:lnTo>
                        <a:pt x="41" y="24"/>
                      </a:lnTo>
                      <a:lnTo>
                        <a:pt x="38" y="24"/>
                      </a:lnTo>
                      <a:lnTo>
                        <a:pt x="34" y="22"/>
                      </a:lnTo>
                      <a:lnTo>
                        <a:pt x="33" y="22"/>
                      </a:lnTo>
                      <a:lnTo>
                        <a:pt x="31" y="22"/>
                      </a:lnTo>
                      <a:lnTo>
                        <a:pt x="29" y="26"/>
                      </a:lnTo>
                      <a:lnTo>
                        <a:pt x="27" y="28"/>
                      </a:lnTo>
                      <a:lnTo>
                        <a:pt x="26" y="28"/>
                      </a:lnTo>
                      <a:lnTo>
                        <a:pt x="21" y="28"/>
                      </a:lnTo>
                      <a:lnTo>
                        <a:pt x="19" y="28"/>
                      </a:lnTo>
                      <a:lnTo>
                        <a:pt x="19" y="29"/>
                      </a:lnTo>
                      <a:lnTo>
                        <a:pt x="19" y="31"/>
                      </a:lnTo>
                      <a:lnTo>
                        <a:pt x="19" y="33"/>
                      </a:lnTo>
                      <a:lnTo>
                        <a:pt x="19" y="35"/>
                      </a:lnTo>
                      <a:lnTo>
                        <a:pt x="19" y="36"/>
                      </a:lnTo>
                      <a:lnTo>
                        <a:pt x="19" y="38"/>
                      </a:lnTo>
                      <a:lnTo>
                        <a:pt x="19" y="36"/>
                      </a:lnTo>
                      <a:lnTo>
                        <a:pt x="17" y="38"/>
                      </a:lnTo>
                      <a:lnTo>
                        <a:pt x="14" y="43"/>
                      </a:lnTo>
                      <a:lnTo>
                        <a:pt x="12" y="43"/>
                      </a:lnTo>
                      <a:lnTo>
                        <a:pt x="7" y="45"/>
                      </a:lnTo>
                      <a:lnTo>
                        <a:pt x="5" y="45"/>
                      </a:lnTo>
                      <a:lnTo>
                        <a:pt x="1" y="43"/>
                      </a:lnTo>
                      <a:lnTo>
                        <a:pt x="0" y="43"/>
                      </a:lnTo>
                      <a:lnTo>
                        <a:pt x="0" y="47"/>
                      </a:lnTo>
                      <a:lnTo>
                        <a:pt x="1" y="49"/>
                      </a:lnTo>
                      <a:lnTo>
                        <a:pt x="15" y="59"/>
                      </a:lnTo>
                      <a:lnTo>
                        <a:pt x="19" y="62"/>
                      </a:lnTo>
                      <a:lnTo>
                        <a:pt x="24" y="69"/>
                      </a:lnTo>
                      <a:lnTo>
                        <a:pt x="26" y="73"/>
                      </a:lnTo>
                      <a:lnTo>
                        <a:pt x="38" y="82"/>
                      </a:lnTo>
                      <a:lnTo>
                        <a:pt x="41" y="87"/>
                      </a:lnTo>
                      <a:lnTo>
                        <a:pt x="43" y="85"/>
                      </a:lnTo>
                      <a:lnTo>
                        <a:pt x="45" y="8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09" name="Freeform 292">
                  <a:extLst>
                    <a:ext uri="{FF2B5EF4-FFF2-40B4-BE49-F238E27FC236}">
                      <a16:creationId xmlns:a16="http://schemas.microsoft.com/office/drawing/2014/main" id="{EDFDEBC3-BF95-91BE-BD57-72C1764E885E}"/>
                    </a:ext>
                  </a:extLst>
                </p:cNvPr>
                <p:cNvSpPr>
                  <a:spLocks/>
                </p:cNvSpPr>
                <p:nvPr/>
              </p:nvSpPr>
              <p:spPr bwMode="auto">
                <a:xfrm>
                  <a:off x="-1637" y="-2916"/>
                  <a:ext cx="5" cy="4"/>
                </a:xfrm>
                <a:custGeom>
                  <a:avLst/>
                  <a:gdLst>
                    <a:gd name="T0" fmla="*/ 0 w 5"/>
                    <a:gd name="T1" fmla="*/ 2 h 4"/>
                    <a:gd name="T2" fmla="*/ 1 w 5"/>
                    <a:gd name="T3" fmla="*/ 4 h 4"/>
                    <a:gd name="T4" fmla="*/ 1 w 5"/>
                    <a:gd name="T5" fmla="*/ 4 h 4"/>
                    <a:gd name="T6" fmla="*/ 3 w 5"/>
                    <a:gd name="T7" fmla="*/ 4 h 4"/>
                    <a:gd name="T8" fmla="*/ 5 w 5"/>
                    <a:gd name="T9" fmla="*/ 4 h 4"/>
                    <a:gd name="T10" fmla="*/ 1 w 5"/>
                    <a:gd name="T11" fmla="*/ 0 h 4"/>
                    <a:gd name="T12" fmla="*/ 0 w 5"/>
                    <a:gd name="T13" fmla="*/ 0 h 4"/>
                    <a:gd name="T14" fmla="*/ 0 w 5"/>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0" y="2"/>
                      </a:moveTo>
                      <a:lnTo>
                        <a:pt x="1" y="4"/>
                      </a:lnTo>
                      <a:lnTo>
                        <a:pt x="1" y="4"/>
                      </a:lnTo>
                      <a:lnTo>
                        <a:pt x="3" y="4"/>
                      </a:lnTo>
                      <a:lnTo>
                        <a:pt x="5" y="4"/>
                      </a:lnTo>
                      <a:lnTo>
                        <a:pt x="1" y="0"/>
                      </a:lnTo>
                      <a:lnTo>
                        <a:pt x="0" y="0"/>
                      </a:lnTo>
                      <a:lnTo>
                        <a:pt x="0"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10" name="Freeform 293">
                  <a:extLst>
                    <a:ext uri="{FF2B5EF4-FFF2-40B4-BE49-F238E27FC236}">
                      <a16:creationId xmlns:a16="http://schemas.microsoft.com/office/drawing/2014/main" id="{D1D24CAF-BC4C-C32C-DA87-8D7898CD43FF}"/>
                    </a:ext>
                  </a:extLst>
                </p:cNvPr>
                <p:cNvSpPr>
                  <a:spLocks noEditPoints="1"/>
                </p:cNvSpPr>
                <p:nvPr/>
              </p:nvSpPr>
              <p:spPr bwMode="auto">
                <a:xfrm>
                  <a:off x="-2273" y="-2988"/>
                  <a:ext cx="133" cy="79"/>
                </a:xfrm>
                <a:custGeom>
                  <a:avLst/>
                  <a:gdLst>
                    <a:gd name="T0" fmla="*/ 44 w 133"/>
                    <a:gd name="T1" fmla="*/ 77 h 79"/>
                    <a:gd name="T2" fmla="*/ 40 w 133"/>
                    <a:gd name="T3" fmla="*/ 72 h 79"/>
                    <a:gd name="T4" fmla="*/ 33 w 133"/>
                    <a:gd name="T5" fmla="*/ 69 h 79"/>
                    <a:gd name="T6" fmla="*/ 35 w 133"/>
                    <a:gd name="T7" fmla="*/ 62 h 79"/>
                    <a:gd name="T8" fmla="*/ 31 w 133"/>
                    <a:gd name="T9" fmla="*/ 58 h 79"/>
                    <a:gd name="T10" fmla="*/ 30 w 133"/>
                    <a:gd name="T11" fmla="*/ 58 h 79"/>
                    <a:gd name="T12" fmla="*/ 26 w 133"/>
                    <a:gd name="T13" fmla="*/ 58 h 79"/>
                    <a:gd name="T14" fmla="*/ 19 w 133"/>
                    <a:gd name="T15" fmla="*/ 58 h 79"/>
                    <a:gd name="T16" fmla="*/ 17 w 133"/>
                    <a:gd name="T17" fmla="*/ 56 h 79"/>
                    <a:gd name="T18" fmla="*/ 12 w 133"/>
                    <a:gd name="T19" fmla="*/ 55 h 79"/>
                    <a:gd name="T20" fmla="*/ 7 w 133"/>
                    <a:gd name="T21" fmla="*/ 49 h 79"/>
                    <a:gd name="T22" fmla="*/ 2 w 133"/>
                    <a:gd name="T23" fmla="*/ 46 h 79"/>
                    <a:gd name="T24" fmla="*/ 3 w 133"/>
                    <a:gd name="T25" fmla="*/ 42 h 79"/>
                    <a:gd name="T26" fmla="*/ 3 w 133"/>
                    <a:gd name="T27" fmla="*/ 37 h 79"/>
                    <a:gd name="T28" fmla="*/ 5 w 133"/>
                    <a:gd name="T29" fmla="*/ 32 h 79"/>
                    <a:gd name="T30" fmla="*/ 24 w 133"/>
                    <a:gd name="T31" fmla="*/ 18 h 79"/>
                    <a:gd name="T32" fmla="*/ 31 w 133"/>
                    <a:gd name="T33" fmla="*/ 14 h 79"/>
                    <a:gd name="T34" fmla="*/ 38 w 133"/>
                    <a:gd name="T35" fmla="*/ 14 h 79"/>
                    <a:gd name="T36" fmla="*/ 42 w 133"/>
                    <a:gd name="T37" fmla="*/ 16 h 79"/>
                    <a:gd name="T38" fmla="*/ 61 w 133"/>
                    <a:gd name="T39" fmla="*/ 16 h 79"/>
                    <a:gd name="T40" fmla="*/ 70 w 133"/>
                    <a:gd name="T41" fmla="*/ 14 h 79"/>
                    <a:gd name="T42" fmla="*/ 73 w 133"/>
                    <a:gd name="T43" fmla="*/ 11 h 79"/>
                    <a:gd name="T44" fmla="*/ 91 w 133"/>
                    <a:gd name="T45" fmla="*/ 13 h 79"/>
                    <a:gd name="T46" fmla="*/ 98 w 133"/>
                    <a:gd name="T47" fmla="*/ 13 h 79"/>
                    <a:gd name="T48" fmla="*/ 105 w 133"/>
                    <a:gd name="T49" fmla="*/ 16 h 79"/>
                    <a:gd name="T50" fmla="*/ 108 w 133"/>
                    <a:gd name="T51" fmla="*/ 16 h 79"/>
                    <a:gd name="T52" fmla="*/ 120 w 133"/>
                    <a:gd name="T53" fmla="*/ 25 h 79"/>
                    <a:gd name="T54" fmla="*/ 113 w 133"/>
                    <a:gd name="T55" fmla="*/ 23 h 79"/>
                    <a:gd name="T56" fmla="*/ 113 w 133"/>
                    <a:gd name="T57" fmla="*/ 25 h 79"/>
                    <a:gd name="T58" fmla="*/ 120 w 133"/>
                    <a:gd name="T59" fmla="*/ 28 h 79"/>
                    <a:gd name="T60" fmla="*/ 122 w 133"/>
                    <a:gd name="T61" fmla="*/ 28 h 79"/>
                    <a:gd name="T62" fmla="*/ 126 w 133"/>
                    <a:gd name="T63" fmla="*/ 28 h 79"/>
                    <a:gd name="T64" fmla="*/ 122 w 133"/>
                    <a:gd name="T65" fmla="*/ 27 h 79"/>
                    <a:gd name="T66" fmla="*/ 131 w 133"/>
                    <a:gd name="T67" fmla="*/ 32 h 79"/>
                    <a:gd name="T68" fmla="*/ 106 w 133"/>
                    <a:gd name="T69" fmla="*/ 41 h 79"/>
                    <a:gd name="T70" fmla="*/ 99 w 133"/>
                    <a:gd name="T71" fmla="*/ 41 h 79"/>
                    <a:gd name="T72" fmla="*/ 96 w 133"/>
                    <a:gd name="T73" fmla="*/ 39 h 79"/>
                    <a:gd name="T74" fmla="*/ 92 w 133"/>
                    <a:gd name="T75" fmla="*/ 41 h 79"/>
                    <a:gd name="T76" fmla="*/ 91 w 133"/>
                    <a:gd name="T77" fmla="*/ 48 h 79"/>
                    <a:gd name="T78" fmla="*/ 80 w 133"/>
                    <a:gd name="T79" fmla="*/ 56 h 79"/>
                    <a:gd name="T80" fmla="*/ 71 w 133"/>
                    <a:gd name="T81" fmla="*/ 56 h 79"/>
                    <a:gd name="T82" fmla="*/ 66 w 133"/>
                    <a:gd name="T83" fmla="*/ 60 h 79"/>
                    <a:gd name="T84" fmla="*/ 58 w 133"/>
                    <a:gd name="T85" fmla="*/ 62 h 79"/>
                    <a:gd name="T86" fmla="*/ 56 w 133"/>
                    <a:gd name="T87" fmla="*/ 65 h 79"/>
                    <a:gd name="T88" fmla="*/ 56 w 133"/>
                    <a:gd name="T89" fmla="*/ 70 h 79"/>
                    <a:gd name="T90" fmla="*/ 54 w 133"/>
                    <a:gd name="T91" fmla="*/ 72 h 79"/>
                    <a:gd name="T92" fmla="*/ 73 w 133"/>
                    <a:gd name="T93" fmla="*/ 0 h 79"/>
                    <a:gd name="T94" fmla="*/ 73 w 133"/>
                    <a:gd name="T95" fmla="*/ 2 h 79"/>
                    <a:gd name="T96" fmla="*/ 75 w 133"/>
                    <a:gd name="T97" fmla="*/ 0 h 79"/>
                    <a:gd name="T98" fmla="*/ 59 w 133"/>
                    <a:gd name="T99" fmla="*/ 6 h 79"/>
                    <a:gd name="T100" fmla="*/ 64 w 133"/>
                    <a:gd name="T101" fmla="*/ 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 h="79">
                      <a:moveTo>
                        <a:pt x="49" y="77"/>
                      </a:moveTo>
                      <a:lnTo>
                        <a:pt x="44" y="79"/>
                      </a:lnTo>
                      <a:lnTo>
                        <a:pt x="44" y="77"/>
                      </a:lnTo>
                      <a:lnTo>
                        <a:pt x="42" y="76"/>
                      </a:lnTo>
                      <a:lnTo>
                        <a:pt x="42" y="72"/>
                      </a:lnTo>
                      <a:lnTo>
                        <a:pt x="40" y="72"/>
                      </a:lnTo>
                      <a:lnTo>
                        <a:pt x="38" y="70"/>
                      </a:lnTo>
                      <a:lnTo>
                        <a:pt x="35" y="70"/>
                      </a:lnTo>
                      <a:lnTo>
                        <a:pt x="33" y="69"/>
                      </a:lnTo>
                      <a:lnTo>
                        <a:pt x="35" y="67"/>
                      </a:lnTo>
                      <a:lnTo>
                        <a:pt x="35" y="65"/>
                      </a:lnTo>
                      <a:lnTo>
                        <a:pt x="35" y="62"/>
                      </a:lnTo>
                      <a:lnTo>
                        <a:pt x="35" y="58"/>
                      </a:lnTo>
                      <a:lnTo>
                        <a:pt x="33" y="58"/>
                      </a:lnTo>
                      <a:lnTo>
                        <a:pt x="31" y="58"/>
                      </a:lnTo>
                      <a:lnTo>
                        <a:pt x="31" y="58"/>
                      </a:lnTo>
                      <a:lnTo>
                        <a:pt x="30" y="58"/>
                      </a:lnTo>
                      <a:lnTo>
                        <a:pt x="30" y="58"/>
                      </a:lnTo>
                      <a:lnTo>
                        <a:pt x="28" y="58"/>
                      </a:lnTo>
                      <a:lnTo>
                        <a:pt x="28" y="56"/>
                      </a:lnTo>
                      <a:lnTo>
                        <a:pt x="26" y="58"/>
                      </a:lnTo>
                      <a:lnTo>
                        <a:pt x="23" y="58"/>
                      </a:lnTo>
                      <a:lnTo>
                        <a:pt x="21" y="60"/>
                      </a:lnTo>
                      <a:lnTo>
                        <a:pt x="19" y="58"/>
                      </a:lnTo>
                      <a:lnTo>
                        <a:pt x="19" y="58"/>
                      </a:lnTo>
                      <a:lnTo>
                        <a:pt x="19" y="58"/>
                      </a:lnTo>
                      <a:lnTo>
                        <a:pt x="17" y="56"/>
                      </a:lnTo>
                      <a:lnTo>
                        <a:pt x="17" y="56"/>
                      </a:lnTo>
                      <a:lnTo>
                        <a:pt x="14" y="55"/>
                      </a:lnTo>
                      <a:lnTo>
                        <a:pt x="12" y="55"/>
                      </a:lnTo>
                      <a:lnTo>
                        <a:pt x="10" y="53"/>
                      </a:lnTo>
                      <a:lnTo>
                        <a:pt x="9" y="51"/>
                      </a:lnTo>
                      <a:lnTo>
                        <a:pt x="7" y="49"/>
                      </a:lnTo>
                      <a:lnTo>
                        <a:pt x="5" y="48"/>
                      </a:lnTo>
                      <a:lnTo>
                        <a:pt x="0" y="48"/>
                      </a:lnTo>
                      <a:lnTo>
                        <a:pt x="2" y="46"/>
                      </a:lnTo>
                      <a:lnTo>
                        <a:pt x="3" y="44"/>
                      </a:lnTo>
                      <a:lnTo>
                        <a:pt x="3" y="42"/>
                      </a:lnTo>
                      <a:lnTo>
                        <a:pt x="3" y="42"/>
                      </a:lnTo>
                      <a:lnTo>
                        <a:pt x="3" y="41"/>
                      </a:lnTo>
                      <a:lnTo>
                        <a:pt x="3" y="41"/>
                      </a:lnTo>
                      <a:lnTo>
                        <a:pt x="3" y="37"/>
                      </a:lnTo>
                      <a:lnTo>
                        <a:pt x="3" y="35"/>
                      </a:lnTo>
                      <a:lnTo>
                        <a:pt x="5" y="34"/>
                      </a:lnTo>
                      <a:lnTo>
                        <a:pt x="5" y="32"/>
                      </a:lnTo>
                      <a:lnTo>
                        <a:pt x="7" y="30"/>
                      </a:lnTo>
                      <a:lnTo>
                        <a:pt x="16" y="25"/>
                      </a:lnTo>
                      <a:lnTo>
                        <a:pt x="24" y="18"/>
                      </a:lnTo>
                      <a:lnTo>
                        <a:pt x="28" y="18"/>
                      </a:lnTo>
                      <a:lnTo>
                        <a:pt x="30" y="16"/>
                      </a:lnTo>
                      <a:lnTo>
                        <a:pt x="31" y="14"/>
                      </a:lnTo>
                      <a:lnTo>
                        <a:pt x="35" y="14"/>
                      </a:lnTo>
                      <a:lnTo>
                        <a:pt x="37" y="14"/>
                      </a:lnTo>
                      <a:lnTo>
                        <a:pt x="38" y="14"/>
                      </a:lnTo>
                      <a:lnTo>
                        <a:pt x="38" y="16"/>
                      </a:lnTo>
                      <a:lnTo>
                        <a:pt x="40" y="16"/>
                      </a:lnTo>
                      <a:lnTo>
                        <a:pt x="42" y="16"/>
                      </a:lnTo>
                      <a:lnTo>
                        <a:pt x="45" y="16"/>
                      </a:lnTo>
                      <a:lnTo>
                        <a:pt x="56" y="16"/>
                      </a:lnTo>
                      <a:lnTo>
                        <a:pt x="61" y="16"/>
                      </a:lnTo>
                      <a:lnTo>
                        <a:pt x="64" y="16"/>
                      </a:lnTo>
                      <a:lnTo>
                        <a:pt x="66" y="14"/>
                      </a:lnTo>
                      <a:lnTo>
                        <a:pt x="70" y="14"/>
                      </a:lnTo>
                      <a:lnTo>
                        <a:pt x="73" y="13"/>
                      </a:lnTo>
                      <a:lnTo>
                        <a:pt x="73" y="11"/>
                      </a:lnTo>
                      <a:lnTo>
                        <a:pt x="73" y="11"/>
                      </a:lnTo>
                      <a:lnTo>
                        <a:pt x="77" y="13"/>
                      </a:lnTo>
                      <a:lnTo>
                        <a:pt x="85" y="13"/>
                      </a:lnTo>
                      <a:lnTo>
                        <a:pt x="91" y="13"/>
                      </a:lnTo>
                      <a:lnTo>
                        <a:pt x="92" y="13"/>
                      </a:lnTo>
                      <a:lnTo>
                        <a:pt x="96" y="13"/>
                      </a:lnTo>
                      <a:lnTo>
                        <a:pt x="98" y="13"/>
                      </a:lnTo>
                      <a:lnTo>
                        <a:pt x="99" y="14"/>
                      </a:lnTo>
                      <a:lnTo>
                        <a:pt x="103" y="16"/>
                      </a:lnTo>
                      <a:lnTo>
                        <a:pt x="105" y="16"/>
                      </a:lnTo>
                      <a:lnTo>
                        <a:pt x="106" y="16"/>
                      </a:lnTo>
                      <a:lnTo>
                        <a:pt x="105" y="14"/>
                      </a:lnTo>
                      <a:lnTo>
                        <a:pt x="108" y="16"/>
                      </a:lnTo>
                      <a:lnTo>
                        <a:pt x="113" y="18"/>
                      </a:lnTo>
                      <a:lnTo>
                        <a:pt x="117" y="21"/>
                      </a:lnTo>
                      <a:lnTo>
                        <a:pt x="120" y="25"/>
                      </a:lnTo>
                      <a:lnTo>
                        <a:pt x="119" y="25"/>
                      </a:lnTo>
                      <a:lnTo>
                        <a:pt x="115" y="23"/>
                      </a:lnTo>
                      <a:lnTo>
                        <a:pt x="113" y="23"/>
                      </a:lnTo>
                      <a:lnTo>
                        <a:pt x="113" y="23"/>
                      </a:lnTo>
                      <a:lnTo>
                        <a:pt x="113" y="25"/>
                      </a:lnTo>
                      <a:lnTo>
                        <a:pt x="113" y="25"/>
                      </a:lnTo>
                      <a:lnTo>
                        <a:pt x="115" y="25"/>
                      </a:lnTo>
                      <a:lnTo>
                        <a:pt x="115" y="25"/>
                      </a:lnTo>
                      <a:lnTo>
                        <a:pt x="120" y="28"/>
                      </a:lnTo>
                      <a:lnTo>
                        <a:pt x="120" y="28"/>
                      </a:lnTo>
                      <a:lnTo>
                        <a:pt x="122" y="28"/>
                      </a:lnTo>
                      <a:lnTo>
                        <a:pt x="122" y="28"/>
                      </a:lnTo>
                      <a:lnTo>
                        <a:pt x="124" y="28"/>
                      </a:lnTo>
                      <a:lnTo>
                        <a:pt x="126" y="28"/>
                      </a:lnTo>
                      <a:lnTo>
                        <a:pt x="126" y="28"/>
                      </a:lnTo>
                      <a:lnTo>
                        <a:pt x="124" y="27"/>
                      </a:lnTo>
                      <a:lnTo>
                        <a:pt x="124" y="27"/>
                      </a:lnTo>
                      <a:lnTo>
                        <a:pt x="122" y="27"/>
                      </a:lnTo>
                      <a:lnTo>
                        <a:pt x="126" y="27"/>
                      </a:lnTo>
                      <a:lnTo>
                        <a:pt x="127" y="30"/>
                      </a:lnTo>
                      <a:lnTo>
                        <a:pt x="131" y="32"/>
                      </a:lnTo>
                      <a:lnTo>
                        <a:pt x="133" y="34"/>
                      </a:lnTo>
                      <a:lnTo>
                        <a:pt x="127" y="35"/>
                      </a:lnTo>
                      <a:lnTo>
                        <a:pt x="106" y="41"/>
                      </a:lnTo>
                      <a:lnTo>
                        <a:pt x="105" y="42"/>
                      </a:lnTo>
                      <a:lnTo>
                        <a:pt x="101" y="42"/>
                      </a:lnTo>
                      <a:lnTo>
                        <a:pt x="99" y="41"/>
                      </a:lnTo>
                      <a:lnTo>
                        <a:pt x="99" y="41"/>
                      </a:lnTo>
                      <a:lnTo>
                        <a:pt x="98" y="39"/>
                      </a:lnTo>
                      <a:lnTo>
                        <a:pt x="96" y="39"/>
                      </a:lnTo>
                      <a:lnTo>
                        <a:pt x="94" y="39"/>
                      </a:lnTo>
                      <a:lnTo>
                        <a:pt x="94" y="41"/>
                      </a:lnTo>
                      <a:lnTo>
                        <a:pt x="92" y="41"/>
                      </a:lnTo>
                      <a:lnTo>
                        <a:pt x="92" y="42"/>
                      </a:lnTo>
                      <a:lnTo>
                        <a:pt x="92" y="44"/>
                      </a:lnTo>
                      <a:lnTo>
                        <a:pt x="91" y="48"/>
                      </a:lnTo>
                      <a:lnTo>
                        <a:pt x="89" y="49"/>
                      </a:lnTo>
                      <a:lnTo>
                        <a:pt x="87" y="51"/>
                      </a:lnTo>
                      <a:lnTo>
                        <a:pt x="80" y="56"/>
                      </a:lnTo>
                      <a:lnTo>
                        <a:pt x="78" y="58"/>
                      </a:lnTo>
                      <a:lnTo>
                        <a:pt x="75" y="58"/>
                      </a:lnTo>
                      <a:lnTo>
                        <a:pt x="71" y="56"/>
                      </a:lnTo>
                      <a:lnTo>
                        <a:pt x="70" y="56"/>
                      </a:lnTo>
                      <a:lnTo>
                        <a:pt x="68" y="56"/>
                      </a:lnTo>
                      <a:lnTo>
                        <a:pt x="66" y="60"/>
                      </a:lnTo>
                      <a:lnTo>
                        <a:pt x="64" y="62"/>
                      </a:lnTo>
                      <a:lnTo>
                        <a:pt x="63" y="62"/>
                      </a:lnTo>
                      <a:lnTo>
                        <a:pt x="58" y="62"/>
                      </a:lnTo>
                      <a:lnTo>
                        <a:pt x="56" y="62"/>
                      </a:lnTo>
                      <a:lnTo>
                        <a:pt x="56" y="63"/>
                      </a:lnTo>
                      <a:lnTo>
                        <a:pt x="56" y="65"/>
                      </a:lnTo>
                      <a:lnTo>
                        <a:pt x="56" y="67"/>
                      </a:lnTo>
                      <a:lnTo>
                        <a:pt x="56" y="69"/>
                      </a:lnTo>
                      <a:lnTo>
                        <a:pt x="56" y="70"/>
                      </a:lnTo>
                      <a:lnTo>
                        <a:pt x="56" y="72"/>
                      </a:lnTo>
                      <a:lnTo>
                        <a:pt x="56" y="70"/>
                      </a:lnTo>
                      <a:lnTo>
                        <a:pt x="54" y="72"/>
                      </a:lnTo>
                      <a:lnTo>
                        <a:pt x="51" y="77"/>
                      </a:lnTo>
                      <a:lnTo>
                        <a:pt x="49" y="77"/>
                      </a:lnTo>
                      <a:close/>
                      <a:moveTo>
                        <a:pt x="73" y="0"/>
                      </a:moveTo>
                      <a:lnTo>
                        <a:pt x="73" y="2"/>
                      </a:lnTo>
                      <a:lnTo>
                        <a:pt x="73" y="2"/>
                      </a:lnTo>
                      <a:lnTo>
                        <a:pt x="73" y="2"/>
                      </a:lnTo>
                      <a:lnTo>
                        <a:pt x="75" y="2"/>
                      </a:lnTo>
                      <a:lnTo>
                        <a:pt x="75" y="0"/>
                      </a:lnTo>
                      <a:lnTo>
                        <a:pt x="75" y="0"/>
                      </a:lnTo>
                      <a:lnTo>
                        <a:pt x="73" y="0"/>
                      </a:lnTo>
                      <a:close/>
                      <a:moveTo>
                        <a:pt x="61" y="4"/>
                      </a:moveTo>
                      <a:lnTo>
                        <a:pt x="59" y="6"/>
                      </a:lnTo>
                      <a:lnTo>
                        <a:pt x="61" y="4"/>
                      </a:lnTo>
                      <a:lnTo>
                        <a:pt x="66" y="2"/>
                      </a:lnTo>
                      <a:lnTo>
                        <a:pt x="64" y="2"/>
                      </a:lnTo>
                      <a:lnTo>
                        <a:pt x="63" y="2"/>
                      </a:lnTo>
                      <a:lnTo>
                        <a:pt x="61" y="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11" name="Freeform 294">
                  <a:extLst>
                    <a:ext uri="{FF2B5EF4-FFF2-40B4-BE49-F238E27FC236}">
                      <a16:creationId xmlns:a16="http://schemas.microsoft.com/office/drawing/2014/main" id="{313FDED8-CB0D-A8D9-50D3-B81774D60B76}"/>
                    </a:ext>
                  </a:extLst>
                </p:cNvPr>
                <p:cNvSpPr>
                  <a:spLocks noEditPoints="1"/>
                </p:cNvSpPr>
                <p:nvPr/>
              </p:nvSpPr>
              <p:spPr bwMode="auto">
                <a:xfrm>
                  <a:off x="-2270" y="-3031"/>
                  <a:ext cx="30" cy="57"/>
                </a:xfrm>
                <a:custGeom>
                  <a:avLst/>
                  <a:gdLst>
                    <a:gd name="T0" fmla="*/ 16 w 30"/>
                    <a:gd name="T1" fmla="*/ 0 h 57"/>
                    <a:gd name="T2" fmla="*/ 20 w 30"/>
                    <a:gd name="T3" fmla="*/ 0 h 57"/>
                    <a:gd name="T4" fmla="*/ 20 w 30"/>
                    <a:gd name="T5" fmla="*/ 0 h 57"/>
                    <a:gd name="T6" fmla="*/ 20 w 30"/>
                    <a:gd name="T7" fmla="*/ 1 h 57"/>
                    <a:gd name="T8" fmla="*/ 23 w 30"/>
                    <a:gd name="T9" fmla="*/ 3 h 57"/>
                    <a:gd name="T10" fmla="*/ 25 w 30"/>
                    <a:gd name="T11" fmla="*/ 5 h 57"/>
                    <a:gd name="T12" fmla="*/ 23 w 30"/>
                    <a:gd name="T13" fmla="*/ 8 h 57"/>
                    <a:gd name="T14" fmla="*/ 21 w 30"/>
                    <a:gd name="T15" fmla="*/ 14 h 57"/>
                    <a:gd name="T16" fmla="*/ 21 w 30"/>
                    <a:gd name="T17" fmla="*/ 15 h 57"/>
                    <a:gd name="T18" fmla="*/ 21 w 30"/>
                    <a:gd name="T19" fmla="*/ 17 h 57"/>
                    <a:gd name="T20" fmla="*/ 21 w 30"/>
                    <a:gd name="T21" fmla="*/ 17 h 57"/>
                    <a:gd name="T22" fmla="*/ 21 w 30"/>
                    <a:gd name="T23" fmla="*/ 21 h 57"/>
                    <a:gd name="T24" fmla="*/ 21 w 30"/>
                    <a:gd name="T25" fmla="*/ 21 h 57"/>
                    <a:gd name="T26" fmla="*/ 21 w 30"/>
                    <a:gd name="T27" fmla="*/ 22 h 57"/>
                    <a:gd name="T28" fmla="*/ 20 w 30"/>
                    <a:gd name="T29" fmla="*/ 26 h 57"/>
                    <a:gd name="T30" fmla="*/ 20 w 30"/>
                    <a:gd name="T31" fmla="*/ 28 h 57"/>
                    <a:gd name="T32" fmla="*/ 20 w 30"/>
                    <a:gd name="T33" fmla="*/ 36 h 57"/>
                    <a:gd name="T34" fmla="*/ 20 w 30"/>
                    <a:gd name="T35" fmla="*/ 42 h 57"/>
                    <a:gd name="T36" fmla="*/ 16 w 30"/>
                    <a:gd name="T37" fmla="*/ 45 h 57"/>
                    <a:gd name="T38" fmla="*/ 11 w 30"/>
                    <a:gd name="T39" fmla="*/ 50 h 57"/>
                    <a:gd name="T40" fmla="*/ 7 w 30"/>
                    <a:gd name="T41" fmla="*/ 54 h 57"/>
                    <a:gd name="T42" fmla="*/ 7 w 30"/>
                    <a:gd name="T43" fmla="*/ 57 h 57"/>
                    <a:gd name="T44" fmla="*/ 2 w 30"/>
                    <a:gd name="T45" fmla="*/ 57 h 57"/>
                    <a:gd name="T46" fmla="*/ 0 w 30"/>
                    <a:gd name="T47" fmla="*/ 57 h 57"/>
                    <a:gd name="T48" fmla="*/ 2 w 30"/>
                    <a:gd name="T49" fmla="*/ 14 h 57"/>
                    <a:gd name="T50" fmla="*/ 2 w 30"/>
                    <a:gd name="T51" fmla="*/ 12 h 57"/>
                    <a:gd name="T52" fmla="*/ 2 w 30"/>
                    <a:gd name="T53" fmla="*/ 10 h 57"/>
                    <a:gd name="T54" fmla="*/ 4 w 30"/>
                    <a:gd name="T55" fmla="*/ 12 h 57"/>
                    <a:gd name="T56" fmla="*/ 6 w 30"/>
                    <a:gd name="T57" fmla="*/ 12 h 57"/>
                    <a:gd name="T58" fmla="*/ 7 w 30"/>
                    <a:gd name="T59" fmla="*/ 10 h 57"/>
                    <a:gd name="T60" fmla="*/ 9 w 30"/>
                    <a:gd name="T61" fmla="*/ 10 h 57"/>
                    <a:gd name="T62" fmla="*/ 9 w 30"/>
                    <a:gd name="T63" fmla="*/ 10 h 57"/>
                    <a:gd name="T64" fmla="*/ 13 w 30"/>
                    <a:gd name="T65" fmla="*/ 7 h 57"/>
                    <a:gd name="T66" fmla="*/ 14 w 30"/>
                    <a:gd name="T67" fmla="*/ 3 h 57"/>
                    <a:gd name="T68" fmla="*/ 16 w 30"/>
                    <a:gd name="T69" fmla="*/ 0 h 57"/>
                    <a:gd name="T70" fmla="*/ 30 w 30"/>
                    <a:gd name="T71" fmla="*/ 7 h 57"/>
                    <a:gd name="T72" fmla="*/ 28 w 30"/>
                    <a:gd name="T73" fmla="*/ 7 h 57"/>
                    <a:gd name="T74" fmla="*/ 28 w 30"/>
                    <a:gd name="T75" fmla="*/ 8 h 57"/>
                    <a:gd name="T76" fmla="*/ 27 w 30"/>
                    <a:gd name="T77" fmla="*/ 10 h 57"/>
                    <a:gd name="T78" fmla="*/ 27 w 30"/>
                    <a:gd name="T79" fmla="*/ 12 h 57"/>
                    <a:gd name="T80" fmla="*/ 28 w 30"/>
                    <a:gd name="T81" fmla="*/ 12 h 57"/>
                    <a:gd name="T82" fmla="*/ 28 w 30"/>
                    <a:gd name="T83" fmla="*/ 10 h 57"/>
                    <a:gd name="T84" fmla="*/ 30 w 30"/>
                    <a:gd name="T85" fmla="*/ 7 h 57"/>
                    <a:gd name="T86" fmla="*/ 30 w 30"/>
                    <a:gd name="T87" fmla="*/ 21 h 57"/>
                    <a:gd name="T88" fmla="*/ 30 w 30"/>
                    <a:gd name="T89" fmla="*/ 21 h 57"/>
                    <a:gd name="T90" fmla="*/ 28 w 30"/>
                    <a:gd name="T91" fmla="*/ 22 h 57"/>
                    <a:gd name="T92" fmla="*/ 28 w 30"/>
                    <a:gd name="T93" fmla="*/ 24 h 57"/>
                    <a:gd name="T94" fmla="*/ 28 w 30"/>
                    <a:gd name="T95" fmla="*/ 26 h 57"/>
                    <a:gd name="T96" fmla="*/ 28 w 30"/>
                    <a:gd name="T97" fmla="*/ 24 h 57"/>
                    <a:gd name="T98" fmla="*/ 30 w 30"/>
                    <a:gd name="T99" fmla="*/ 2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57">
                      <a:moveTo>
                        <a:pt x="16" y="0"/>
                      </a:moveTo>
                      <a:lnTo>
                        <a:pt x="20" y="0"/>
                      </a:lnTo>
                      <a:lnTo>
                        <a:pt x="20" y="0"/>
                      </a:lnTo>
                      <a:lnTo>
                        <a:pt x="20" y="1"/>
                      </a:lnTo>
                      <a:lnTo>
                        <a:pt x="23" y="3"/>
                      </a:lnTo>
                      <a:lnTo>
                        <a:pt x="25" y="5"/>
                      </a:lnTo>
                      <a:lnTo>
                        <a:pt x="23" y="8"/>
                      </a:lnTo>
                      <a:lnTo>
                        <a:pt x="21" y="14"/>
                      </a:lnTo>
                      <a:lnTo>
                        <a:pt x="21" y="15"/>
                      </a:lnTo>
                      <a:lnTo>
                        <a:pt x="21" y="17"/>
                      </a:lnTo>
                      <a:lnTo>
                        <a:pt x="21" y="17"/>
                      </a:lnTo>
                      <a:lnTo>
                        <a:pt x="21" y="21"/>
                      </a:lnTo>
                      <a:lnTo>
                        <a:pt x="21" y="21"/>
                      </a:lnTo>
                      <a:lnTo>
                        <a:pt x="21" y="22"/>
                      </a:lnTo>
                      <a:lnTo>
                        <a:pt x="20" y="26"/>
                      </a:lnTo>
                      <a:lnTo>
                        <a:pt x="20" y="28"/>
                      </a:lnTo>
                      <a:lnTo>
                        <a:pt x="20" y="36"/>
                      </a:lnTo>
                      <a:lnTo>
                        <a:pt x="20" y="42"/>
                      </a:lnTo>
                      <a:lnTo>
                        <a:pt x="16" y="45"/>
                      </a:lnTo>
                      <a:lnTo>
                        <a:pt x="11" y="50"/>
                      </a:lnTo>
                      <a:lnTo>
                        <a:pt x="7" y="54"/>
                      </a:lnTo>
                      <a:lnTo>
                        <a:pt x="7" y="57"/>
                      </a:lnTo>
                      <a:lnTo>
                        <a:pt x="2" y="57"/>
                      </a:lnTo>
                      <a:lnTo>
                        <a:pt x="0" y="57"/>
                      </a:lnTo>
                      <a:lnTo>
                        <a:pt x="2" y="14"/>
                      </a:lnTo>
                      <a:lnTo>
                        <a:pt x="2" y="12"/>
                      </a:lnTo>
                      <a:lnTo>
                        <a:pt x="2" y="10"/>
                      </a:lnTo>
                      <a:lnTo>
                        <a:pt x="4" y="12"/>
                      </a:lnTo>
                      <a:lnTo>
                        <a:pt x="6" y="12"/>
                      </a:lnTo>
                      <a:lnTo>
                        <a:pt x="7" y="10"/>
                      </a:lnTo>
                      <a:lnTo>
                        <a:pt x="9" y="10"/>
                      </a:lnTo>
                      <a:lnTo>
                        <a:pt x="9" y="10"/>
                      </a:lnTo>
                      <a:lnTo>
                        <a:pt x="13" y="7"/>
                      </a:lnTo>
                      <a:lnTo>
                        <a:pt x="14" y="3"/>
                      </a:lnTo>
                      <a:lnTo>
                        <a:pt x="16" y="0"/>
                      </a:lnTo>
                      <a:close/>
                      <a:moveTo>
                        <a:pt x="30" y="7"/>
                      </a:moveTo>
                      <a:lnTo>
                        <a:pt x="28" y="7"/>
                      </a:lnTo>
                      <a:lnTo>
                        <a:pt x="28" y="8"/>
                      </a:lnTo>
                      <a:lnTo>
                        <a:pt x="27" y="10"/>
                      </a:lnTo>
                      <a:lnTo>
                        <a:pt x="27" y="12"/>
                      </a:lnTo>
                      <a:lnTo>
                        <a:pt x="28" y="12"/>
                      </a:lnTo>
                      <a:lnTo>
                        <a:pt x="28" y="10"/>
                      </a:lnTo>
                      <a:lnTo>
                        <a:pt x="30" y="7"/>
                      </a:lnTo>
                      <a:close/>
                      <a:moveTo>
                        <a:pt x="30" y="21"/>
                      </a:moveTo>
                      <a:lnTo>
                        <a:pt x="30" y="21"/>
                      </a:lnTo>
                      <a:lnTo>
                        <a:pt x="28" y="22"/>
                      </a:lnTo>
                      <a:lnTo>
                        <a:pt x="28" y="24"/>
                      </a:lnTo>
                      <a:lnTo>
                        <a:pt x="28" y="26"/>
                      </a:lnTo>
                      <a:lnTo>
                        <a:pt x="28" y="24"/>
                      </a:lnTo>
                      <a:lnTo>
                        <a:pt x="30" y="2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12" name="Freeform 295">
                  <a:extLst>
                    <a:ext uri="{FF2B5EF4-FFF2-40B4-BE49-F238E27FC236}">
                      <a16:creationId xmlns:a16="http://schemas.microsoft.com/office/drawing/2014/main" id="{64B93B55-7605-3DF4-306B-6D97859B74EA}"/>
                    </a:ext>
                  </a:extLst>
                </p:cNvPr>
                <p:cNvSpPr>
                  <a:spLocks noEditPoints="1"/>
                </p:cNvSpPr>
                <p:nvPr/>
              </p:nvSpPr>
              <p:spPr bwMode="auto">
                <a:xfrm>
                  <a:off x="-1954" y="-3068"/>
                  <a:ext cx="60" cy="45"/>
                </a:xfrm>
                <a:custGeom>
                  <a:avLst/>
                  <a:gdLst>
                    <a:gd name="T0" fmla="*/ 58 w 60"/>
                    <a:gd name="T1" fmla="*/ 45 h 45"/>
                    <a:gd name="T2" fmla="*/ 49 w 60"/>
                    <a:gd name="T3" fmla="*/ 42 h 45"/>
                    <a:gd name="T4" fmla="*/ 39 w 60"/>
                    <a:gd name="T5" fmla="*/ 44 h 45"/>
                    <a:gd name="T6" fmla="*/ 23 w 60"/>
                    <a:gd name="T7" fmla="*/ 42 h 45"/>
                    <a:gd name="T8" fmla="*/ 16 w 60"/>
                    <a:gd name="T9" fmla="*/ 44 h 45"/>
                    <a:gd name="T10" fmla="*/ 11 w 60"/>
                    <a:gd name="T11" fmla="*/ 45 h 45"/>
                    <a:gd name="T12" fmla="*/ 0 w 60"/>
                    <a:gd name="T13" fmla="*/ 37 h 45"/>
                    <a:gd name="T14" fmla="*/ 6 w 60"/>
                    <a:gd name="T15" fmla="*/ 33 h 45"/>
                    <a:gd name="T16" fmla="*/ 27 w 60"/>
                    <a:gd name="T17" fmla="*/ 37 h 45"/>
                    <a:gd name="T18" fmla="*/ 34 w 60"/>
                    <a:gd name="T19" fmla="*/ 37 h 45"/>
                    <a:gd name="T20" fmla="*/ 44 w 60"/>
                    <a:gd name="T21" fmla="*/ 35 h 45"/>
                    <a:gd name="T22" fmla="*/ 44 w 60"/>
                    <a:gd name="T23" fmla="*/ 33 h 45"/>
                    <a:gd name="T24" fmla="*/ 41 w 60"/>
                    <a:gd name="T25" fmla="*/ 28 h 45"/>
                    <a:gd name="T26" fmla="*/ 37 w 60"/>
                    <a:gd name="T27" fmla="*/ 24 h 45"/>
                    <a:gd name="T28" fmla="*/ 37 w 60"/>
                    <a:gd name="T29" fmla="*/ 21 h 45"/>
                    <a:gd name="T30" fmla="*/ 37 w 60"/>
                    <a:gd name="T31" fmla="*/ 16 h 45"/>
                    <a:gd name="T32" fmla="*/ 34 w 60"/>
                    <a:gd name="T33" fmla="*/ 12 h 45"/>
                    <a:gd name="T34" fmla="*/ 25 w 60"/>
                    <a:gd name="T35" fmla="*/ 11 h 45"/>
                    <a:gd name="T36" fmla="*/ 23 w 60"/>
                    <a:gd name="T37" fmla="*/ 7 h 45"/>
                    <a:gd name="T38" fmla="*/ 34 w 60"/>
                    <a:gd name="T39" fmla="*/ 4 h 45"/>
                    <a:gd name="T40" fmla="*/ 48 w 60"/>
                    <a:gd name="T41" fmla="*/ 7 h 45"/>
                    <a:gd name="T42" fmla="*/ 58 w 60"/>
                    <a:gd name="T43" fmla="*/ 9 h 45"/>
                    <a:gd name="T44" fmla="*/ 58 w 60"/>
                    <a:gd name="T45" fmla="*/ 12 h 45"/>
                    <a:gd name="T46" fmla="*/ 58 w 60"/>
                    <a:gd name="T47" fmla="*/ 17 h 45"/>
                    <a:gd name="T48" fmla="*/ 60 w 60"/>
                    <a:gd name="T49" fmla="*/ 19 h 45"/>
                    <a:gd name="T50" fmla="*/ 60 w 60"/>
                    <a:gd name="T51" fmla="*/ 21 h 45"/>
                    <a:gd name="T52" fmla="*/ 58 w 60"/>
                    <a:gd name="T53" fmla="*/ 24 h 45"/>
                    <a:gd name="T54" fmla="*/ 56 w 60"/>
                    <a:gd name="T55" fmla="*/ 26 h 45"/>
                    <a:gd name="T56" fmla="*/ 58 w 60"/>
                    <a:gd name="T57" fmla="*/ 28 h 45"/>
                    <a:gd name="T58" fmla="*/ 56 w 60"/>
                    <a:gd name="T59" fmla="*/ 31 h 45"/>
                    <a:gd name="T60" fmla="*/ 53 w 60"/>
                    <a:gd name="T61" fmla="*/ 33 h 45"/>
                    <a:gd name="T62" fmla="*/ 56 w 60"/>
                    <a:gd name="T63" fmla="*/ 38 h 45"/>
                    <a:gd name="T64" fmla="*/ 58 w 60"/>
                    <a:gd name="T65" fmla="*/ 40 h 45"/>
                    <a:gd name="T66" fmla="*/ 35 w 60"/>
                    <a:gd name="T67" fmla="*/ 2 h 45"/>
                    <a:gd name="T68" fmla="*/ 39 w 60"/>
                    <a:gd name="T69" fmla="*/ 2 h 45"/>
                    <a:gd name="T70" fmla="*/ 35 w 60"/>
                    <a:gd name="T71" fmla="*/ 0 h 45"/>
                    <a:gd name="T72" fmla="*/ 32 w 60"/>
                    <a:gd name="T73" fmla="*/ 0 h 45"/>
                    <a:gd name="T74" fmla="*/ 35 w 60"/>
                    <a:gd name="T75" fmla="*/ 2 h 45"/>
                    <a:gd name="T76" fmla="*/ 34 w 60"/>
                    <a:gd name="T77" fmla="*/ 28 h 45"/>
                    <a:gd name="T78" fmla="*/ 27 w 60"/>
                    <a:gd name="T79" fmla="*/ 26 h 45"/>
                    <a:gd name="T80" fmla="*/ 30 w 60"/>
                    <a:gd name="T8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45">
                      <a:moveTo>
                        <a:pt x="58" y="44"/>
                      </a:moveTo>
                      <a:lnTo>
                        <a:pt x="58" y="45"/>
                      </a:lnTo>
                      <a:lnTo>
                        <a:pt x="53" y="44"/>
                      </a:lnTo>
                      <a:lnTo>
                        <a:pt x="49" y="42"/>
                      </a:lnTo>
                      <a:lnTo>
                        <a:pt x="44" y="42"/>
                      </a:lnTo>
                      <a:lnTo>
                        <a:pt x="39" y="44"/>
                      </a:lnTo>
                      <a:lnTo>
                        <a:pt x="34" y="44"/>
                      </a:lnTo>
                      <a:lnTo>
                        <a:pt x="23" y="42"/>
                      </a:lnTo>
                      <a:lnTo>
                        <a:pt x="18" y="42"/>
                      </a:lnTo>
                      <a:lnTo>
                        <a:pt x="16" y="44"/>
                      </a:lnTo>
                      <a:lnTo>
                        <a:pt x="13" y="45"/>
                      </a:lnTo>
                      <a:lnTo>
                        <a:pt x="11" y="45"/>
                      </a:lnTo>
                      <a:lnTo>
                        <a:pt x="2" y="40"/>
                      </a:lnTo>
                      <a:lnTo>
                        <a:pt x="0" y="37"/>
                      </a:lnTo>
                      <a:lnTo>
                        <a:pt x="2" y="33"/>
                      </a:lnTo>
                      <a:lnTo>
                        <a:pt x="6" y="33"/>
                      </a:lnTo>
                      <a:lnTo>
                        <a:pt x="9" y="33"/>
                      </a:lnTo>
                      <a:lnTo>
                        <a:pt x="27" y="37"/>
                      </a:lnTo>
                      <a:lnTo>
                        <a:pt x="32" y="37"/>
                      </a:lnTo>
                      <a:lnTo>
                        <a:pt x="34" y="37"/>
                      </a:lnTo>
                      <a:lnTo>
                        <a:pt x="35" y="37"/>
                      </a:lnTo>
                      <a:lnTo>
                        <a:pt x="44" y="35"/>
                      </a:lnTo>
                      <a:lnTo>
                        <a:pt x="44" y="35"/>
                      </a:lnTo>
                      <a:lnTo>
                        <a:pt x="44" y="33"/>
                      </a:lnTo>
                      <a:lnTo>
                        <a:pt x="44" y="31"/>
                      </a:lnTo>
                      <a:lnTo>
                        <a:pt x="41" y="28"/>
                      </a:lnTo>
                      <a:lnTo>
                        <a:pt x="39" y="26"/>
                      </a:lnTo>
                      <a:lnTo>
                        <a:pt x="37" y="24"/>
                      </a:lnTo>
                      <a:lnTo>
                        <a:pt x="37" y="23"/>
                      </a:lnTo>
                      <a:lnTo>
                        <a:pt x="37" y="21"/>
                      </a:lnTo>
                      <a:lnTo>
                        <a:pt x="37" y="17"/>
                      </a:lnTo>
                      <a:lnTo>
                        <a:pt x="37" y="16"/>
                      </a:lnTo>
                      <a:lnTo>
                        <a:pt x="35" y="14"/>
                      </a:lnTo>
                      <a:lnTo>
                        <a:pt x="34" y="12"/>
                      </a:lnTo>
                      <a:lnTo>
                        <a:pt x="32" y="12"/>
                      </a:lnTo>
                      <a:lnTo>
                        <a:pt x="25" y="11"/>
                      </a:lnTo>
                      <a:lnTo>
                        <a:pt x="23" y="11"/>
                      </a:lnTo>
                      <a:lnTo>
                        <a:pt x="23" y="7"/>
                      </a:lnTo>
                      <a:lnTo>
                        <a:pt x="27" y="5"/>
                      </a:lnTo>
                      <a:lnTo>
                        <a:pt x="34" y="4"/>
                      </a:lnTo>
                      <a:lnTo>
                        <a:pt x="39" y="4"/>
                      </a:lnTo>
                      <a:lnTo>
                        <a:pt x="48" y="7"/>
                      </a:lnTo>
                      <a:lnTo>
                        <a:pt x="53" y="9"/>
                      </a:lnTo>
                      <a:lnTo>
                        <a:pt x="58" y="9"/>
                      </a:lnTo>
                      <a:lnTo>
                        <a:pt x="58" y="11"/>
                      </a:lnTo>
                      <a:lnTo>
                        <a:pt x="58" y="12"/>
                      </a:lnTo>
                      <a:lnTo>
                        <a:pt x="58" y="16"/>
                      </a:lnTo>
                      <a:lnTo>
                        <a:pt x="58" y="17"/>
                      </a:lnTo>
                      <a:lnTo>
                        <a:pt x="58" y="19"/>
                      </a:lnTo>
                      <a:lnTo>
                        <a:pt x="60" y="19"/>
                      </a:lnTo>
                      <a:lnTo>
                        <a:pt x="60" y="21"/>
                      </a:lnTo>
                      <a:lnTo>
                        <a:pt x="60" y="21"/>
                      </a:lnTo>
                      <a:lnTo>
                        <a:pt x="60" y="23"/>
                      </a:lnTo>
                      <a:lnTo>
                        <a:pt x="58" y="24"/>
                      </a:lnTo>
                      <a:lnTo>
                        <a:pt x="56" y="26"/>
                      </a:lnTo>
                      <a:lnTo>
                        <a:pt x="56" y="26"/>
                      </a:lnTo>
                      <a:lnTo>
                        <a:pt x="58" y="28"/>
                      </a:lnTo>
                      <a:lnTo>
                        <a:pt x="58" y="28"/>
                      </a:lnTo>
                      <a:lnTo>
                        <a:pt x="58" y="31"/>
                      </a:lnTo>
                      <a:lnTo>
                        <a:pt x="56" y="31"/>
                      </a:lnTo>
                      <a:lnTo>
                        <a:pt x="55" y="33"/>
                      </a:lnTo>
                      <a:lnTo>
                        <a:pt x="53" y="33"/>
                      </a:lnTo>
                      <a:lnTo>
                        <a:pt x="53" y="35"/>
                      </a:lnTo>
                      <a:lnTo>
                        <a:pt x="56" y="38"/>
                      </a:lnTo>
                      <a:lnTo>
                        <a:pt x="58" y="40"/>
                      </a:lnTo>
                      <a:lnTo>
                        <a:pt x="58" y="40"/>
                      </a:lnTo>
                      <a:lnTo>
                        <a:pt x="58" y="44"/>
                      </a:lnTo>
                      <a:close/>
                      <a:moveTo>
                        <a:pt x="35" y="2"/>
                      </a:moveTo>
                      <a:lnTo>
                        <a:pt x="37" y="2"/>
                      </a:lnTo>
                      <a:lnTo>
                        <a:pt x="39" y="2"/>
                      </a:lnTo>
                      <a:lnTo>
                        <a:pt x="37" y="0"/>
                      </a:lnTo>
                      <a:lnTo>
                        <a:pt x="35" y="0"/>
                      </a:lnTo>
                      <a:lnTo>
                        <a:pt x="34" y="0"/>
                      </a:lnTo>
                      <a:lnTo>
                        <a:pt x="32" y="0"/>
                      </a:lnTo>
                      <a:lnTo>
                        <a:pt x="34" y="2"/>
                      </a:lnTo>
                      <a:lnTo>
                        <a:pt x="35" y="2"/>
                      </a:lnTo>
                      <a:close/>
                      <a:moveTo>
                        <a:pt x="35" y="31"/>
                      </a:moveTo>
                      <a:lnTo>
                        <a:pt x="34" y="28"/>
                      </a:lnTo>
                      <a:lnTo>
                        <a:pt x="30" y="26"/>
                      </a:lnTo>
                      <a:lnTo>
                        <a:pt x="27" y="26"/>
                      </a:lnTo>
                      <a:lnTo>
                        <a:pt x="25" y="26"/>
                      </a:lnTo>
                      <a:lnTo>
                        <a:pt x="30" y="30"/>
                      </a:lnTo>
                      <a:lnTo>
                        <a:pt x="35" y="3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13" name="Freeform 296">
                  <a:extLst>
                    <a:ext uri="{FF2B5EF4-FFF2-40B4-BE49-F238E27FC236}">
                      <a16:creationId xmlns:a16="http://schemas.microsoft.com/office/drawing/2014/main" id="{D057B87C-E521-8524-2EF7-3E0F21BD4854}"/>
                    </a:ext>
                  </a:extLst>
                </p:cNvPr>
                <p:cNvSpPr>
                  <a:spLocks noEditPoints="1"/>
                </p:cNvSpPr>
                <p:nvPr/>
              </p:nvSpPr>
              <p:spPr bwMode="auto">
                <a:xfrm>
                  <a:off x="-1706" y="-3007"/>
                  <a:ext cx="7" cy="5"/>
                </a:xfrm>
                <a:custGeom>
                  <a:avLst/>
                  <a:gdLst>
                    <a:gd name="T0" fmla="*/ 6 w 7"/>
                    <a:gd name="T1" fmla="*/ 5 h 5"/>
                    <a:gd name="T2" fmla="*/ 6 w 7"/>
                    <a:gd name="T3" fmla="*/ 4 h 5"/>
                    <a:gd name="T4" fmla="*/ 7 w 7"/>
                    <a:gd name="T5" fmla="*/ 5 h 5"/>
                    <a:gd name="T6" fmla="*/ 6 w 7"/>
                    <a:gd name="T7" fmla="*/ 5 h 5"/>
                    <a:gd name="T8" fmla="*/ 6 w 7"/>
                    <a:gd name="T9" fmla="*/ 5 h 5"/>
                    <a:gd name="T10" fmla="*/ 0 w 7"/>
                    <a:gd name="T11" fmla="*/ 2 h 5"/>
                    <a:gd name="T12" fmla="*/ 6 w 7"/>
                    <a:gd name="T13" fmla="*/ 4 h 5"/>
                    <a:gd name="T14" fmla="*/ 2 w 7"/>
                    <a:gd name="T15" fmla="*/ 0 h 5"/>
                    <a:gd name="T16" fmla="*/ 0 w 7"/>
                    <a:gd name="T17" fmla="*/ 0 h 5"/>
                    <a:gd name="T18" fmla="*/ 0 w 7"/>
                    <a:gd name="T1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6" y="5"/>
                      </a:moveTo>
                      <a:lnTo>
                        <a:pt x="6" y="4"/>
                      </a:lnTo>
                      <a:lnTo>
                        <a:pt x="7" y="5"/>
                      </a:lnTo>
                      <a:lnTo>
                        <a:pt x="6" y="5"/>
                      </a:lnTo>
                      <a:lnTo>
                        <a:pt x="6" y="5"/>
                      </a:lnTo>
                      <a:close/>
                      <a:moveTo>
                        <a:pt x="0" y="2"/>
                      </a:moveTo>
                      <a:lnTo>
                        <a:pt x="6" y="4"/>
                      </a:lnTo>
                      <a:lnTo>
                        <a:pt x="2" y="0"/>
                      </a:lnTo>
                      <a:lnTo>
                        <a:pt x="0" y="0"/>
                      </a:lnTo>
                      <a:lnTo>
                        <a:pt x="0"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14" name="Freeform 297">
                  <a:extLst>
                    <a:ext uri="{FF2B5EF4-FFF2-40B4-BE49-F238E27FC236}">
                      <a16:creationId xmlns:a16="http://schemas.microsoft.com/office/drawing/2014/main" id="{EED83AC1-5620-272E-1D3C-1ACEC287E5A7}"/>
                    </a:ext>
                  </a:extLst>
                </p:cNvPr>
                <p:cNvSpPr>
                  <a:spLocks/>
                </p:cNvSpPr>
                <p:nvPr/>
              </p:nvSpPr>
              <p:spPr bwMode="auto">
                <a:xfrm>
                  <a:off x="-1713" y="-3026"/>
                  <a:ext cx="4" cy="2"/>
                </a:xfrm>
                <a:custGeom>
                  <a:avLst/>
                  <a:gdLst>
                    <a:gd name="T0" fmla="*/ 4 w 4"/>
                    <a:gd name="T1" fmla="*/ 0 h 2"/>
                    <a:gd name="T2" fmla="*/ 4 w 4"/>
                    <a:gd name="T3" fmla="*/ 0 h 2"/>
                    <a:gd name="T4" fmla="*/ 2 w 4"/>
                    <a:gd name="T5" fmla="*/ 0 h 2"/>
                    <a:gd name="T6" fmla="*/ 0 w 4"/>
                    <a:gd name="T7" fmla="*/ 0 h 2"/>
                    <a:gd name="T8" fmla="*/ 0 w 4"/>
                    <a:gd name="T9" fmla="*/ 2 h 2"/>
                    <a:gd name="T10" fmla="*/ 2 w 4"/>
                    <a:gd name="T11" fmla="*/ 2 h 2"/>
                    <a:gd name="T12" fmla="*/ 2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2" y="0"/>
                      </a:lnTo>
                      <a:lnTo>
                        <a:pt x="0" y="0"/>
                      </a:lnTo>
                      <a:lnTo>
                        <a:pt x="0" y="2"/>
                      </a:lnTo>
                      <a:lnTo>
                        <a:pt x="2" y="2"/>
                      </a:lnTo>
                      <a:lnTo>
                        <a:pt x="2" y="0"/>
                      </a:lnTo>
                      <a:lnTo>
                        <a:pt x="4" y="0"/>
                      </a:lnTo>
                      <a:lnTo>
                        <a:pt x="4"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15" name="Freeform 298">
                  <a:extLst>
                    <a:ext uri="{FF2B5EF4-FFF2-40B4-BE49-F238E27FC236}">
                      <a16:creationId xmlns:a16="http://schemas.microsoft.com/office/drawing/2014/main" id="{23D04ACE-31B0-97E9-6EFF-9D1153F052E0}"/>
                    </a:ext>
                  </a:extLst>
                </p:cNvPr>
                <p:cNvSpPr>
                  <a:spLocks/>
                </p:cNvSpPr>
                <p:nvPr/>
              </p:nvSpPr>
              <p:spPr bwMode="auto">
                <a:xfrm>
                  <a:off x="-1706" y="-3019"/>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16" name="Freeform 299">
                  <a:extLst>
                    <a:ext uri="{FF2B5EF4-FFF2-40B4-BE49-F238E27FC236}">
                      <a16:creationId xmlns:a16="http://schemas.microsoft.com/office/drawing/2014/main" id="{84BB1365-C392-F548-32E3-080474696D6C}"/>
                    </a:ext>
                  </a:extLst>
                </p:cNvPr>
                <p:cNvSpPr>
                  <a:spLocks/>
                </p:cNvSpPr>
                <p:nvPr/>
              </p:nvSpPr>
              <p:spPr bwMode="auto">
                <a:xfrm>
                  <a:off x="-1711" y="-3023"/>
                  <a:ext cx="2" cy="0"/>
                </a:xfrm>
                <a:custGeom>
                  <a:avLst/>
                  <a:gdLst>
                    <a:gd name="T0" fmla="*/ 0 w 2"/>
                    <a:gd name="T1" fmla="*/ 2 w 2"/>
                    <a:gd name="T2" fmla="*/ 2 w 2"/>
                    <a:gd name="T3" fmla="*/ 2 w 2"/>
                    <a:gd name="T4" fmla="*/ 0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2" y="0"/>
                      </a:lnTo>
                      <a:lnTo>
                        <a:pt x="2" y="0"/>
                      </a:lnTo>
                      <a:lnTo>
                        <a:pt x="2" y="0"/>
                      </a:lnTo>
                      <a:lnTo>
                        <a:pt x="0" y="0"/>
                      </a:lnTo>
                      <a:lnTo>
                        <a:pt x="0"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17" name="Freeform 300">
                  <a:extLst>
                    <a:ext uri="{FF2B5EF4-FFF2-40B4-BE49-F238E27FC236}">
                      <a16:creationId xmlns:a16="http://schemas.microsoft.com/office/drawing/2014/main" id="{57998F04-EFA0-F5B0-DFA9-FE0AF0815177}"/>
                    </a:ext>
                  </a:extLst>
                </p:cNvPr>
                <p:cNvSpPr>
                  <a:spLocks/>
                </p:cNvSpPr>
                <p:nvPr/>
              </p:nvSpPr>
              <p:spPr bwMode="auto">
                <a:xfrm>
                  <a:off x="-1692" y="-2995"/>
                  <a:ext cx="0" cy="4"/>
                </a:xfrm>
                <a:custGeom>
                  <a:avLst/>
                  <a:gdLst>
                    <a:gd name="T0" fmla="*/ 2 h 4"/>
                    <a:gd name="T1" fmla="*/ 2 h 4"/>
                    <a:gd name="T2" fmla="*/ 4 h 4"/>
                    <a:gd name="T3" fmla="*/ 2 h 4"/>
                    <a:gd name="T4" fmla="*/ 0 h 4"/>
                    <a:gd name="T5" fmla="*/ 2 h 4"/>
                    <a:gd name="T6" fmla="*/ 2 h 4"/>
                  </a:gdLst>
                  <a:ahLst/>
                  <a:cxnLst>
                    <a:cxn ang="0">
                      <a:pos x="0" y="T0"/>
                    </a:cxn>
                    <a:cxn ang="0">
                      <a:pos x="0" y="T1"/>
                    </a:cxn>
                    <a:cxn ang="0">
                      <a:pos x="0" y="T2"/>
                    </a:cxn>
                    <a:cxn ang="0">
                      <a:pos x="0" y="T3"/>
                    </a:cxn>
                    <a:cxn ang="0">
                      <a:pos x="0" y="T4"/>
                    </a:cxn>
                    <a:cxn ang="0">
                      <a:pos x="0" y="T5"/>
                    </a:cxn>
                    <a:cxn ang="0">
                      <a:pos x="0" y="T6"/>
                    </a:cxn>
                  </a:cxnLst>
                  <a:rect l="0" t="0" r="r" b="b"/>
                  <a:pathLst>
                    <a:path h="4">
                      <a:moveTo>
                        <a:pt x="0" y="2"/>
                      </a:moveTo>
                      <a:lnTo>
                        <a:pt x="0" y="2"/>
                      </a:lnTo>
                      <a:lnTo>
                        <a:pt x="0" y="4"/>
                      </a:lnTo>
                      <a:lnTo>
                        <a:pt x="0" y="2"/>
                      </a:lnTo>
                      <a:lnTo>
                        <a:pt x="0" y="0"/>
                      </a:lnTo>
                      <a:lnTo>
                        <a:pt x="0" y="2"/>
                      </a:lnTo>
                      <a:lnTo>
                        <a:pt x="0"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18" name="Freeform 301">
                  <a:extLst>
                    <a:ext uri="{FF2B5EF4-FFF2-40B4-BE49-F238E27FC236}">
                      <a16:creationId xmlns:a16="http://schemas.microsoft.com/office/drawing/2014/main" id="{D431AA38-1A2D-B69D-4A00-F8E2794FC259}"/>
                    </a:ext>
                  </a:extLst>
                </p:cNvPr>
                <p:cNvSpPr>
                  <a:spLocks noEditPoints="1"/>
                </p:cNvSpPr>
                <p:nvPr/>
              </p:nvSpPr>
              <p:spPr bwMode="auto">
                <a:xfrm>
                  <a:off x="-1753" y="-3030"/>
                  <a:ext cx="11" cy="16"/>
                </a:xfrm>
                <a:custGeom>
                  <a:avLst/>
                  <a:gdLst>
                    <a:gd name="T0" fmla="*/ 7 w 11"/>
                    <a:gd name="T1" fmla="*/ 0 h 16"/>
                    <a:gd name="T2" fmla="*/ 7 w 11"/>
                    <a:gd name="T3" fmla="*/ 0 h 16"/>
                    <a:gd name="T4" fmla="*/ 9 w 11"/>
                    <a:gd name="T5" fmla="*/ 0 h 16"/>
                    <a:gd name="T6" fmla="*/ 7 w 11"/>
                    <a:gd name="T7" fmla="*/ 2 h 16"/>
                    <a:gd name="T8" fmla="*/ 7 w 11"/>
                    <a:gd name="T9" fmla="*/ 2 h 16"/>
                    <a:gd name="T10" fmla="*/ 6 w 11"/>
                    <a:gd name="T11" fmla="*/ 2 h 16"/>
                    <a:gd name="T12" fmla="*/ 7 w 11"/>
                    <a:gd name="T13" fmla="*/ 0 h 16"/>
                    <a:gd name="T14" fmla="*/ 7 w 11"/>
                    <a:gd name="T15" fmla="*/ 0 h 16"/>
                    <a:gd name="T16" fmla="*/ 2 w 11"/>
                    <a:gd name="T17" fmla="*/ 0 h 16"/>
                    <a:gd name="T18" fmla="*/ 2 w 11"/>
                    <a:gd name="T19" fmla="*/ 0 h 16"/>
                    <a:gd name="T20" fmla="*/ 0 w 11"/>
                    <a:gd name="T21" fmla="*/ 0 h 16"/>
                    <a:gd name="T22" fmla="*/ 2 w 11"/>
                    <a:gd name="T23" fmla="*/ 0 h 16"/>
                    <a:gd name="T24" fmla="*/ 2 w 11"/>
                    <a:gd name="T25" fmla="*/ 2 h 16"/>
                    <a:gd name="T26" fmla="*/ 4 w 11"/>
                    <a:gd name="T27" fmla="*/ 2 h 16"/>
                    <a:gd name="T28" fmla="*/ 4 w 11"/>
                    <a:gd name="T29" fmla="*/ 2 h 16"/>
                    <a:gd name="T30" fmla="*/ 4 w 11"/>
                    <a:gd name="T31" fmla="*/ 0 h 16"/>
                    <a:gd name="T32" fmla="*/ 2 w 11"/>
                    <a:gd name="T33" fmla="*/ 0 h 16"/>
                    <a:gd name="T34" fmla="*/ 7 w 11"/>
                    <a:gd name="T35" fmla="*/ 16 h 16"/>
                    <a:gd name="T36" fmla="*/ 9 w 11"/>
                    <a:gd name="T37" fmla="*/ 16 h 16"/>
                    <a:gd name="T38" fmla="*/ 11 w 11"/>
                    <a:gd name="T39" fmla="*/ 14 h 16"/>
                    <a:gd name="T40" fmla="*/ 6 w 11"/>
                    <a:gd name="T41" fmla="*/ 14 h 16"/>
                    <a:gd name="T42" fmla="*/ 4 w 11"/>
                    <a:gd name="T43" fmla="*/ 14 h 16"/>
                    <a:gd name="T44" fmla="*/ 4 w 11"/>
                    <a:gd name="T45" fmla="*/ 16 h 16"/>
                    <a:gd name="T46" fmla="*/ 6 w 11"/>
                    <a:gd name="T47" fmla="*/ 16 h 16"/>
                    <a:gd name="T48" fmla="*/ 7 w 11"/>
                    <a:gd name="T4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 h="16">
                      <a:moveTo>
                        <a:pt x="7" y="0"/>
                      </a:moveTo>
                      <a:lnTo>
                        <a:pt x="7" y="0"/>
                      </a:lnTo>
                      <a:lnTo>
                        <a:pt x="9" y="0"/>
                      </a:lnTo>
                      <a:lnTo>
                        <a:pt x="7" y="2"/>
                      </a:lnTo>
                      <a:lnTo>
                        <a:pt x="7" y="2"/>
                      </a:lnTo>
                      <a:lnTo>
                        <a:pt x="6" y="2"/>
                      </a:lnTo>
                      <a:lnTo>
                        <a:pt x="7" y="0"/>
                      </a:lnTo>
                      <a:lnTo>
                        <a:pt x="7" y="0"/>
                      </a:lnTo>
                      <a:close/>
                      <a:moveTo>
                        <a:pt x="2" y="0"/>
                      </a:moveTo>
                      <a:lnTo>
                        <a:pt x="2" y="0"/>
                      </a:lnTo>
                      <a:lnTo>
                        <a:pt x="0" y="0"/>
                      </a:lnTo>
                      <a:lnTo>
                        <a:pt x="2" y="0"/>
                      </a:lnTo>
                      <a:lnTo>
                        <a:pt x="2" y="2"/>
                      </a:lnTo>
                      <a:lnTo>
                        <a:pt x="4" y="2"/>
                      </a:lnTo>
                      <a:lnTo>
                        <a:pt x="4" y="2"/>
                      </a:lnTo>
                      <a:lnTo>
                        <a:pt x="4" y="0"/>
                      </a:lnTo>
                      <a:lnTo>
                        <a:pt x="2" y="0"/>
                      </a:lnTo>
                      <a:close/>
                      <a:moveTo>
                        <a:pt x="7" y="16"/>
                      </a:moveTo>
                      <a:lnTo>
                        <a:pt x="9" y="16"/>
                      </a:lnTo>
                      <a:lnTo>
                        <a:pt x="11" y="14"/>
                      </a:lnTo>
                      <a:lnTo>
                        <a:pt x="6" y="14"/>
                      </a:lnTo>
                      <a:lnTo>
                        <a:pt x="4" y="14"/>
                      </a:lnTo>
                      <a:lnTo>
                        <a:pt x="4" y="16"/>
                      </a:lnTo>
                      <a:lnTo>
                        <a:pt x="6" y="16"/>
                      </a:lnTo>
                      <a:lnTo>
                        <a:pt x="7" y="1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19" name="Freeform 302">
                  <a:extLst>
                    <a:ext uri="{FF2B5EF4-FFF2-40B4-BE49-F238E27FC236}">
                      <a16:creationId xmlns:a16="http://schemas.microsoft.com/office/drawing/2014/main" id="{DD797E12-424C-1526-87AB-56DD49B1BD2E}"/>
                    </a:ext>
                  </a:extLst>
                </p:cNvPr>
                <p:cNvSpPr>
                  <a:spLocks/>
                </p:cNvSpPr>
                <p:nvPr/>
              </p:nvSpPr>
              <p:spPr bwMode="auto">
                <a:xfrm>
                  <a:off x="-1709" y="-3010"/>
                  <a:ext cx="2" cy="1"/>
                </a:xfrm>
                <a:custGeom>
                  <a:avLst/>
                  <a:gdLst>
                    <a:gd name="T0" fmla="*/ 0 w 2"/>
                    <a:gd name="T1" fmla="*/ 1 h 1"/>
                    <a:gd name="T2" fmla="*/ 0 w 2"/>
                    <a:gd name="T3" fmla="*/ 0 h 1"/>
                    <a:gd name="T4" fmla="*/ 2 w 2"/>
                    <a:gd name="T5" fmla="*/ 0 h 1"/>
                    <a:gd name="T6" fmla="*/ 2 w 2"/>
                    <a:gd name="T7" fmla="*/ 0 h 1"/>
                    <a:gd name="T8" fmla="*/ 0 w 2"/>
                    <a:gd name="T9" fmla="*/ 0 h 1"/>
                    <a:gd name="T10" fmla="*/ 0 w 2"/>
                    <a:gd name="T11" fmla="*/ 0 h 1"/>
                    <a:gd name="T12" fmla="*/ 0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1"/>
                      </a:moveTo>
                      <a:lnTo>
                        <a:pt x="0" y="0"/>
                      </a:lnTo>
                      <a:lnTo>
                        <a:pt x="2" y="0"/>
                      </a:lnTo>
                      <a:lnTo>
                        <a:pt x="2" y="0"/>
                      </a:lnTo>
                      <a:lnTo>
                        <a:pt x="0" y="0"/>
                      </a:lnTo>
                      <a:lnTo>
                        <a:pt x="0" y="0"/>
                      </a:lnTo>
                      <a:lnTo>
                        <a:pt x="0" y="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20" name="Freeform 303">
                  <a:extLst>
                    <a:ext uri="{FF2B5EF4-FFF2-40B4-BE49-F238E27FC236}">
                      <a16:creationId xmlns:a16="http://schemas.microsoft.com/office/drawing/2014/main" id="{BDF5A03D-6B12-C143-09CB-65E06D6B9155}"/>
                    </a:ext>
                  </a:extLst>
                </p:cNvPr>
                <p:cNvSpPr>
                  <a:spLocks noEditPoints="1"/>
                </p:cNvSpPr>
                <p:nvPr/>
              </p:nvSpPr>
              <p:spPr bwMode="auto">
                <a:xfrm>
                  <a:off x="-1746" y="-3038"/>
                  <a:ext cx="9" cy="8"/>
                </a:xfrm>
                <a:custGeom>
                  <a:avLst/>
                  <a:gdLst>
                    <a:gd name="T0" fmla="*/ 4 w 9"/>
                    <a:gd name="T1" fmla="*/ 7 h 8"/>
                    <a:gd name="T2" fmla="*/ 2 w 9"/>
                    <a:gd name="T3" fmla="*/ 8 h 8"/>
                    <a:gd name="T4" fmla="*/ 2 w 9"/>
                    <a:gd name="T5" fmla="*/ 8 h 8"/>
                    <a:gd name="T6" fmla="*/ 0 w 9"/>
                    <a:gd name="T7" fmla="*/ 8 h 8"/>
                    <a:gd name="T8" fmla="*/ 2 w 9"/>
                    <a:gd name="T9" fmla="*/ 7 h 8"/>
                    <a:gd name="T10" fmla="*/ 2 w 9"/>
                    <a:gd name="T11" fmla="*/ 7 h 8"/>
                    <a:gd name="T12" fmla="*/ 4 w 9"/>
                    <a:gd name="T13" fmla="*/ 7 h 8"/>
                    <a:gd name="T14" fmla="*/ 9 w 9"/>
                    <a:gd name="T15" fmla="*/ 0 h 8"/>
                    <a:gd name="T16" fmla="*/ 7 w 9"/>
                    <a:gd name="T17" fmla="*/ 0 h 8"/>
                    <a:gd name="T18" fmla="*/ 7 w 9"/>
                    <a:gd name="T19" fmla="*/ 0 h 8"/>
                    <a:gd name="T20" fmla="*/ 9 w 9"/>
                    <a:gd name="T21" fmla="*/ 1 h 8"/>
                    <a:gd name="T22" fmla="*/ 9 w 9"/>
                    <a:gd name="T23" fmla="*/ 1 h 8"/>
                    <a:gd name="T24" fmla="*/ 9 w 9"/>
                    <a:gd name="T25" fmla="*/ 0 h 8"/>
                    <a:gd name="T26" fmla="*/ 7 w 9"/>
                    <a:gd name="T27" fmla="*/ 5 h 8"/>
                    <a:gd name="T28" fmla="*/ 5 w 9"/>
                    <a:gd name="T29" fmla="*/ 7 h 8"/>
                    <a:gd name="T30" fmla="*/ 5 w 9"/>
                    <a:gd name="T31" fmla="*/ 7 h 8"/>
                    <a:gd name="T32" fmla="*/ 7 w 9"/>
                    <a:gd name="T33" fmla="*/ 7 h 8"/>
                    <a:gd name="T34" fmla="*/ 7 w 9"/>
                    <a:gd name="T35" fmla="*/ 7 h 8"/>
                    <a:gd name="T36" fmla="*/ 9 w 9"/>
                    <a:gd name="T37" fmla="*/ 5 h 8"/>
                    <a:gd name="T38" fmla="*/ 7 w 9"/>
                    <a:gd name="T39" fmla="*/ 5 h 8"/>
                    <a:gd name="T40" fmla="*/ 7 w 9"/>
                    <a:gd name="T41"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8">
                      <a:moveTo>
                        <a:pt x="4" y="7"/>
                      </a:moveTo>
                      <a:lnTo>
                        <a:pt x="2" y="8"/>
                      </a:lnTo>
                      <a:lnTo>
                        <a:pt x="2" y="8"/>
                      </a:lnTo>
                      <a:lnTo>
                        <a:pt x="0" y="8"/>
                      </a:lnTo>
                      <a:lnTo>
                        <a:pt x="2" y="7"/>
                      </a:lnTo>
                      <a:lnTo>
                        <a:pt x="2" y="7"/>
                      </a:lnTo>
                      <a:lnTo>
                        <a:pt x="4" y="7"/>
                      </a:lnTo>
                      <a:close/>
                      <a:moveTo>
                        <a:pt x="9" y="0"/>
                      </a:moveTo>
                      <a:lnTo>
                        <a:pt x="7" y="0"/>
                      </a:lnTo>
                      <a:lnTo>
                        <a:pt x="7" y="0"/>
                      </a:lnTo>
                      <a:lnTo>
                        <a:pt x="9" y="1"/>
                      </a:lnTo>
                      <a:lnTo>
                        <a:pt x="9" y="1"/>
                      </a:lnTo>
                      <a:lnTo>
                        <a:pt x="9" y="0"/>
                      </a:lnTo>
                      <a:close/>
                      <a:moveTo>
                        <a:pt x="7" y="5"/>
                      </a:moveTo>
                      <a:lnTo>
                        <a:pt x="5" y="7"/>
                      </a:lnTo>
                      <a:lnTo>
                        <a:pt x="5" y="7"/>
                      </a:lnTo>
                      <a:lnTo>
                        <a:pt x="7" y="7"/>
                      </a:lnTo>
                      <a:lnTo>
                        <a:pt x="7" y="7"/>
                      </a:lnTo>
                      <a:lnTo>
                        <a:pt x="9" y="5"/>
                      </a:lnTo>
                      <a:lnTo>
                        <a:pt x="7" y="5"/>
                      </a:lnTo>
                      <a:lnTo>
                        <a:pt x="7" y="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21" name="Freeform 304">
                  <a:extLst>
                    <a:ext uri="{FF2B5EF4-FFF2-40B4-BE49-F238E27FC236}">
                      <a16:creationId xmlns:a16="http://schemas.microsoft.com/office/drawing/2014/main" id="{CC92E619-64D8-1F0D-FF92-EF45237DB6D3}"/>
                    </a:ext>
                  </a:extLst>
                </p:cNvPr>
                <p:cNvSpPr>
                  <a:spLocks/>
                </p:cNvSpPr>
                <p:nvPr/>
              </p:nvSpPr>
              <p:spPr bwMode="auto">
                <a:xfrm>
                  <a:off x="-1683" y="-2892"/>
                  <a:ext cx="4" cy="4"/>
                </a:xfrm>
                <a:custGeom>
                  <a:avLst/>
                  <a:gdLst>
                    <a:gd name="T0" fmla="*/ 0 w 4"/>
                    <a:gd name="T1" fmla="*/ 4 h 4"/>
                    <a:gd name="T2" fmla="*/ 4 w 4"/>
                    <a:gd name="T3" fmla="*/ 2 h 4"/>
                    <a:gd name="T4" fmla="*/ 4 w 4"/>
                    <a:gd name="T5" fmla="*/ 0 h 4"/>
                    <a:gd name="T6" fmla="*/ 2 w 4"/>
                    <a:gd name="T7" fmla="*/ 0 h 4"/>
                    <a:gd name="T8" fmla="*/ 0 w 4"/>
                    <a:gd name="T9" fmla="*/ 4 h 4"/>
                  </a:gdLst>
                  <a:ahLst/>
                  <a:cxnLst>
                    <a:cxn ang="0">
                      <a:pos x="T0" y="T1"/>
                    </a:cxn>
                    <a:cxn ang="0">
                      <a:pos x="T2" y="T3"/>
                    </a:cxn>
                    <a:cxn ang="0">
                      <a:pos x="T4" y="T5"/>
                    </a:cxn>
                    <a:cxn ang="0">
                      <a:pos x="T6" y="T7"/>
                    </a:cxn>
                    <a:cxn ang="0">
                      <a:pos x="T8" y="T9"/>
                    </a:cxn>
                  </a:cxnLst>
                  <a:rect l="0" t="0" r="r" b="b"/>
                  <a:pathLst>
                    <a:path w="4" h="4">
                      <a:moveTo>
                        <a:pt x="0" y="4"/>
                      </a:moveTo>
                      <a:lnTo>
                        <a:pt x="4" y="2"/>
                      </a:lnTo>
                      <a:lnTo>
                        <a:pt x="4" y="0"/>
                      </a:lnTo>
                      <a:lnTo>
                        <a:pt x="2" y="0"/>
                      </a:lnTo>
                      <a:lnTo>
                        <a:pt x="0" y="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22" name="Freeform 305">
                  <a:extLst>
                    <a:ext uri="{FF2B5EF4-FFF2-40B4-BE49-F238E27FC236}">
                      <a16:creationId xmlns:a16="http://schemas.microsoft.com/office/drawing/2014/main" id="{FF4F1DE1-B6EE-A4D2-8224-D8A0426CD8CA}"/>
                    </a:ext>
                  </a:extLst>
                </p:cNvPr>
                <p:cNvSpPr>
                  <a:spLocks/>
                </p:cNvSpPr>
                <p:nvPr/>
              </p:nvSpPr>
              <p:spPr bwMode="auto">
                <a:xfrm>
                  <a:off x="-1676" y="-2968"/>
                  <a:ext cx="4" cy="8"/>
                </a:xfrm>
                <a:custGeom>
                  <a:avLst/>
                  <a:gdLst>
                    <a:gd name="T0" fmla="*/ 4 w 4"/>
                    <a:gd name="T1" fmla="*/ 7 h 8"/>
                    <a:gd name="T2" fmla="*/ 4 w 4"/>
                    <a:gd name="T3" fmla="*/ 3 h 8"/>
                    <a:gd name="T4" fmla="*/ 4 w 4"/>
                    <a:gd name="T5" fmla="*/ 1 h 8"/>
                    <a:gd name="T6" fmla="*/ 2 w 4"/>
                    <a:gd name="T7" fmla="*/ 1 h 8"/>
                    <a:gd name="T8" fmla="*/ 0 w 4"/>
                    <a:gd name="T9" fmla="*/ 0 h 8"/>
                    <a:gd name="T10" fmla="*/ 0 w 4"/>
                    <a:gd name="T11" fmla="*/ 1 h 8"/>
                    <a:gd name="T12" fmla="*/ 0 w 4"/>
                    <a:gd name="T13" fmla="*/ 5 h 8"/>
                    <a:gd name="T14" fmla="*/ 2 w 4"/>
                    <a:gd name="T15" fmla="*/ 7 h 8"/>
                    <a:gd name="T16" fmla="*/ 2 w 4"/>
                    <a:gd name="T17" fmla="*/ 8 h 8"/>
                    <a:gd name="T18" fmla="*/ 4 w 4"/>
                    <a:gd name="T19" fmla="*/ 8 h 8"/>
                    <a:gd name="T20" fmla="*/ 4 w 4"/>
                    <a:gd name="T21"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8">
                      <a:moveTo>
                        <a:pt x="4" y="7"/>
                      </a:moveTo>
                      <a:lnTo>
                        <a:pt x="4" y="3"/>
                      </a:lnTo>
                      <a:lnTo>
                        <a:pt x="4" y="1"/>
                      </a:lnTo>
                      <a:lnTo>
                        <a:pt x="2" y="1"/>
                      </a:lnTo>
                      <a:lnTo>
                        <a:pt x="0" y="0"/>
                      </a:lnTo>
                      <a:lnTo>
                        <a:pt x="0" y="1"/>
                      </a:lnTo>
                      <a:lnTo>
                        <a:pt x="0" y="5"/>
                      </a:lnTo>
                      <a:lnTo>
                        <a:pt x="2" y="7"/>
                      </a:lnTo>
                      <a:lnTo>
                        <a:pt x="2" y="8"/>
                      </a:lnTo>
                      <a:lnTo>
                        <a:pt x="4" y="8"/>
                      </a:lnTo>
                      <a:lnTo>
                        <a:pt x="4" y="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23" name="Freeform 306">
                  <a:extLst>
                    <a:ext uri="{FF2B5EF4-FFF2-40B4-BE49-F238E27FC236}">
                      <a16:creationId xmlns:a16="http://schemas.microsoft.com/office/drawing/2014/main" id="{61509BD7-B824-A6B0-3064-B3CB8F4551F9}"/>
                    </a:ext>
                  </a:extLst>
                </p:cNvPr>
                <p:cNvSpPr>
                  <a:spLocks noEditPoints="1"/>
                </p:cNvSpPr>
                <p:nvPr/>
              </p:nvSpPr>
              <p:spPr bwMode="auto">
                <a:xfrm>
                  <a:off x="-1685" y="-3014"/>
                  <a:ext cx="4" cy="16"/>
                </a:xfrm>
                <a:custGeom>
                  <a:avLst/>
                  <a:gdLst>
                    <a:gd name="T0" fmla="*/ 2 w 4"/>
                    <a:gd name="T1" fmla="*/ 0 h 16"/>
                    <a:gd name="T2" fmla="*/ 2 w 4"/>
                    <a:gd name="T3" fmla="*/ 2 h 16"/>
                    <a:gd name="T4" fmla="*/ 2 w 4"/>
                    <a:gd name="T5" fmla="*/ 2 h 16"/>
                    <a:gd name="T6" fmla="*/ 0 w 4"/>
                    <a:gd name="T7" fmla="*/ 0 h 16"/>
                    <a:gd name="T8" fmla="*/ 2 w 4"/>
                    <a:gd name="T9" fmla="*/ 0 h 16"/>
                    <a:gd name="T10" fmla="*/ 0 w 4"/>
                    <a:gd name="T11" fmla="*/ 14 h 16"/>
                    <a:gd name="T12" fmla="*/ 2 w 4"/>
                    <a:gd name="T13" fmla="*/ 16 h 16"/>
                    <a:gd name="T14" fmla="*/ 4 w 4"/>
                    <a:gd name="T15" fmla="*/ 12 h 16"/>
                    <a:gd name="T16" fmla="*/ 0 w 4"/>
                    <a:gd name="T17" fmla="*/ 11 h 16"/>
                    <a:gd name="T18" fmla="*/ 0 w 4"/>
                    <a:gd name="T19"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6">
                      <a:moveTo>
                        <a:pt x="2" y="0"/>
                      </a:moveTo>
                      <a:lnTo>
                        <a:pt x="2" y="2"/>
                      </a:lnTo>
                      <a:lnTo>
                        <a:pt x="2" y="2"/>
                      </a:lnTo>
                      <a:lnTo>
                        <a:pt x="0" y="0"/>
                      </a:lnTo>
                      <a:lnTo>
                        <a:pt x="2" y="0"/>
                      </a:lnTo>
                      <a:close/>
                      <a:moveTo>
                        <a:pt x="0" y="14"/>
                      </a:moveTo>
                      <a:lnTo>
                        <a:pt x="2" y="16"/>
                      </a:lnTo>
                      <a:lnTo>
                        <a:pt x="4" y="12"/>
                      </a:lnTo>
                      <a:lnTo>
                        <a:pt x="0" y="11"/>
                      </a:lnTo>
                      <a:lnTo>
                        <a:pt x="0" y="1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24" name="Freeform 307">
                  <a:extLst>
                    <a:ext uri="{FF2B5EF4-FFF2-40B4-BE49-F238E27FC236}">
                      <a16:creationId xmlns:a16="http://schemas.microsoft.com/office/drawing/2014/main" id="{CDDA29FB-D5BC-659A-9D7E-4DC75025273C}"/>
                    </a:ext>
                  </a:extLst>
                </p:cNvPr>
                <p:cNvSpPr>
                  <a:spLocks noEditPoints="1"/>
                </p:cNvSpPr>
                <p:nvPr/>
              </p:nvSpPr>
              <p:spPr bwMode="auto">
                <a:xfrm>
                  <a:off x="-1674" y="-2918"/>
                  <a:ext cx="5" cy="14"/>
                </a:xfrm>
                <a:custGeom>
                  <a:avLst/>
                  <a:gdLst>
                    <a:gd name="T0" fmla="*/ 0 w 5"/>
                    <a:gd name="T1" fmla="*/ 14 h 14"/>
                    <a:gd name="T2" fmla="*/ 0 w 5"/>
                    <a:gd name="T3" fmla="*/ 14 h 14"/>
                    <a:gd name="T4" fmla="*/ 2 w 5"/>
                    <a:gd name="T5" fmla="*/ 14 h 14"/>
                    <a:gd name="T6" fmla="*/ 2 w 5"/>
                    <a:gd name="T7" fmla="*/ 14 h 14"/>
                    <a:gd name="T8" fmla="*/ 0 w 5"/>
                    <a:gd name="T9" fmla="*/ 14 h 14"/>
                    <a:gd name="T10" fmla="*/ 0 w 5"/>
                    <a:gd name="T11" fmla="*/ 14 h 14"/>
                    <a:gd name="T12" fmla="*/ 0 w 5"/>
                    <a:gd name="T13" fmla="*/ 14 h 14"/>
                    <a:gd name="T14" fmla="*/ 0 w 5"/>
                    <a:gd name="T15" fmla="*/ 14 h 14"/>
                    <a:gd name="T16" fmla="*/ 5 w 5"/>
                    <a:gd name="T17" fmla="*/ 2 h 14"/>
                    <a:gd name="T18" fmla="*/ 3 w 5"/>
                    <a:gd name="T19" fmla="*/ 0 h 14"/>
                    <a:gd name="T20" fmla="*/ 3 w 5"/>
                    <a:gd name="T21" fmla="*/ 0 h 14"/>
                    <a:gd name="T22" fmla="*/ 2 w 5"/>
                    <a:gd name="T23" fmla="*/ 0 h 14"/>
                    <a:gd name="T24" fmla="*/ 2 w 5"/>
                    <a:gd name="T25" fmla="*/ 2 h 14"/>
                    <a:gd name="T26" fmla="*/ 2 w 5"/>
                    <a:gd name="T27" fmla="*/ 4 h 14"/>
                    <a:gd name="T28" fmla="*/ 3 w 5"/>
                    <a:gd name="T29" fmla="*/ 4 h 14"/>
                    <a:gd name="T30" fmla="*/ 5 w 5"/>
                    <a:gd name="T31" fmla="*/ 4 h 14"/>
                    <a:gd name="T32" fmla="*/ 5 w 5"/>
                    <a:gd name="T33" fmla="*/ 2 h 14"/>
                    <a:gd name="T34" fmla="*/ 3 w 5"/>
                    <a:gd name="T35" fmla="*/ 7 h 14"/>
                    <a:gd name="T36" fmla="*/ 3 w 5"/>
                    <a:gd name="T37" fmla="*/ 7 h 14"/>
                    <a:gd name="T38" fmla="*/ 3 w 5"/>
                    <a:gd name="T39" fmla="*/ 7 h 14"/>
                    <a:gd name="T40" fmla="*/ 2 w 5"/>
                    <a:gd name="T41" fmla="*/ 9 h 14"/>
                    <a:gd name="T42" fmla="*/ 2 w 5"/>
                    <a:gd name="T43" fmla="*/ 9 h 14"/>
                    <a:gd name="T44" fmla="*/ 3 w 5"/>
                    <a:gd name="T45" fmla="*/ 9 h 14"/>
                    <a:gd name="T46" fmla="*/ 3 w 5"/>
                    <a:gd name="T47" fmla="*/ 7 h 14"/>
                    <a:gd name="T48" fmla="*/ 3 w 5"/>
                    <a:gd name="T49" fmla="*/ 7 h 14"/>
                    <a:gd name="T50" fmla="*/ 3 w 5"/>
                    <a:gd name="T51" fmla="*/ 7 h 14"/>
                    <a:gd name="T52" fmla="*/ 3 w 5"/>
                    <a:gd name="T53" fmla="*/ 7 h 14"/>
                    <a:gd name="T54" fmla="*/ 3 w 5"/>
                    <a:gd name="T55"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14">
                      <a:moveTo>
                        <a:pt x="0" y="14"/>
                      </a:moveTo>
                      <a:lnTo>
                        <a:pt x="0" y="14"/>
                      </a:lnTo>
                      <a:lnTo>
                        <a:pt x="2" y="14"/>
                      </a:lnTo>
                      <a:lnTo>
                        <a:pt x="2" y="14"/>
                      </a:lnTo>
                      <a:lnTo>
                        <a:pt x="0" y="14"/>
                      </a:lnTo>
                      <a:lnTo>
                        <a:pt x="0" y="14"/>
                      </a:lnTo>
                      <a:lnTo>
                        <a:pt x="0" y="14"/>
                      </a:lnTo>
                      <a:lnTo>
                        <a:pt x="0" y="14"/>
                      </a:lnTo>
                      <a:close/>
                      <a:moveTo>
                        <a:pt x="5" y="2"/>
                      </a:moveTo>
                      <a:lnTo>
                        <a:pt x="3" y="0"/>
                      </a:lnTo>
                      <a:lnTo>
                        <a:pt x="3" y="0"/>
                      </a:lnTo>
                      <a:lnTo>
                        <a:pt x="2" y="0"/>
                      </a:lnTo>
                      <a:lnTo>
                        <a:pt x="2" y="2"/>
                      </a:lnTo>
                      <a:lnTo>
                        <a:pt x="2" y="4"/>
                      </a:lnTo>
                      <a:lnTo>
                        <a:pt x="3" y="4"/>
                      </a:lnTo>
                      <a:lnTo>
                        <a:pt x="5" y="4"/>
                      </a:lnTo>
                      <a:lnTo>
                        <a:pt x="5" y="2"/>
                      </a:lnTo>
                      <a:close/>
                      <a:moveTo>
                        <a:pt x="3" y="7"/>
                      </a:moveTo>
                      <a:lnTo>
                        <a:pt x="3" y="7"/>
                      </a:lnTo>
                      <a:lnTo>
                        <a:pt x="3" y="7"/>
                      </a:lnTo>
                      <a:lnTo>
                        <a:pt x="2" y="9"/>
                      </a:lnTo>
                      <a:lnTo>
                        <a:pt x="2" y="9"/>
                      </a:lnTo>
                      <a:lnTo>
                        <a:pt x="3" y="9"/>
                      </a:lnTo>
                      <a:lnTo>
                        <a:pt x="3" y="7"/>
                      </a:lnTo>
                      <a:lnTo>
                        <a:pt x="3" y="7"/>
                      </a:lnTo>
                      <a:lnTo>
                        <a:pt x="3" y="7"/>
                      </a:lnTo>
                      <a:lnTo>
                        <a:pt x="3" y="7"/>
                      </a:lnTo>
                      <a:lnTo>
                        <a:pt x="3" y="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25" name="Freeform 308">
                  <a:extLst>
                    <a:ext uri="{FF2B5EF4-FFF2-40B4-BE49-F238E27FC236}">
                      <a16:creationId xmlns:a16="http://schemas.microsoft.com/office/drawing/2014/main" id="{EE4D3BBB-4081-4D0B-3B10-742AE6D240A2}"/>
                    </a:ext>
                  </a:extLst>
                </p:cNvPr>
                <p:cNvSpPr>
                  <a:spLocks/>
                </p:cNvSpPr>
                <p:nvPr/>
              </p:nvSpPr>
              <p:spPr bwMode="auto">
                <a:xfrm>
                  <a:off x="-1667" y="-2933"/>
                  <a:ext cx="3" cy="7"/>
                </a:xfrm>
                <a:custGeom>
                  <a:avLst/>
                  <a:gdLst>
                    <a:gd name="T0" fmla="*/ 3 w 3"/>
                    <a:gd name="T1" fmla="*/ 3 h 7"/>
                    <a:gd name="T2" fmla="*/ 3 w 3"/>
                    <a:gd name="T3" fmla="*/ 1 h 7"/>
                    <a:gd name="T4" fmla="*/ 3 w 3"/>
                    <a:gd name="T5" fmla="*/ 1 h 7"/>
                    <a:gd name="T6" fmla="*/ 3 w 3"/>
                    <a:gd name="T7" fmla="*/ 0 h 7"/>
                    <a:gd name="T8" fmla="*/ 0 w 3"/>
                    <a:gd name="T9" fmla="*/ 1 h 7"/>
                    <a:gd name="T10" fmla="*/ 0 w 3"/>
                    <a:gd name="T11" fmla="*/ 3 h 7"/>
                    <a:gd name="T12" fmla="*/ 0 w 3"/>
                    <a:gd name="T13" fmla="*/ 5 h 7"/>
                    <a:gd name="T14" fmla="*/ 2 w 3"/>
                    <a:gd name="T15" fmla="*/ 7 h 7"/>
                    <a:gd name="T16" fmla="*/ 3 w 3"/>
                    <a:gd name="T17" fmla="*/ 5 h 7"/>
                    <a:gd name="T18" fmla="*/ 3 w 3"/>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3" y="3"/>
                      </a:moveTo>
                      <a:lnTo>
                        <a:pt x="3" y="1"/>
                      </a:lnTo>
                      <a:lnTo>
                        <a:pt x="3" y="1"/>
                      </a:lnTo>
                      <a:lnTo>
                        <a:pt x="3" y="0"/>
                      </a:lnTo>
                      <a:lnTo>
                        <a:pt x="0" y="1"/>
                      </a:lnTo>
                      <a:lnTo>
                        <a:pt x="0" y="3"/>
                      </a:lnTo>
                      <a:lnTo>
                        <a:pt x="0" y="5"/>
                      </a:lnTo>
                      <a:lnTo>
                        <a:pt x="2" y="7"/>
                      </a:lnTo>
                      <a:lnTo>
                        <a:pt x="3" y="5"/>
                      </a:lnTo>
                      <a:lnTo>
                        <a:pt x="3" y="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26" name="Freeform 309">
                  <a:extLst>
                    <a:ext uri="{FF2B5EF4-FFF2-40B4-BE49-F238E27FC236}">
                      <a16:creationId xmlns:a16="http://schemas.microsoft.com/office/drawing/2014/main" id="{CBC0A14C-F4F3-E2AD-AC51-AD5272241E83}"/>
                    </a:ext>
                  </a:extLst>
                </p:cNvPr>
                <p:cNvSpPr>
                  <a:spLocks noEditPoints="1"/>
                </p:cNvSpPr>
                <p:nvPr/>
              </p:nvSpPr>
              <p:spPr bwMode="auto">
                <a:xfrm>
                  <a:off x="-1685" y="-2986"/>
                  <a:ext cx="14" cy="12"/>
                </a:xfrm>
                <a:custGeom>
                  <a:avLst/>
                  <a:gdLst>
                    <a:gd name="T0" fmla="*/ 6 w 14"/>
                    <a:gd name="T1" fmla="*/ 9 h 12"/>
                    <a:gd name="T2" fmla="*/ 4 w 14"/>
                    <a:gd name="T3" fmla="*/ 11 h 12"/>
                    <a:gd name="T4" fmla="*/ 2 w 14"/>
                    <a:gd name="T5" fmla="*/ 9 h 12"/>
                    <a:gd name="T6" fmla="*/ 0 w 14"/>
                    <a:gd name="T7" fmla="*/ 5 h 12"/>
                    <a:gd name="T8" fmla="*/ 2 w 14"/>
                    <a:gd name="T9" fmla="*/ 4 h 12"/>
                    <a:gd name="T10" fmla="*/ 4 w 14"/>
                    <a:gd name="T11" fmla="*/ 2 h 12"/>
                    <a:gd name="T12" fmla="*/ 7 w 14"/>
                    <a:gd name="T13" fmla="*/ 4 h 12"/>
                    <a:gd name="T14" fmla="*/ 6 w 14"/>
                    <a:gd name="T15" fmla="*/ 9 h 12"/>
                    <a:gd name="T16" fmla="*/ 13 w 14"/>
                    <a:gd name="T17" fmla="*/ 2 h 12"/>
                    <a:gd name="T18" fmla="*/ 11 w 14"/>
                    <a:gd name="T19" fmla="*/ 0 h 12"/>
                    <a:gd name="T20" fmla="*/ 9 w 14"/>
                    <a:gd name="T21" fmla="*/ 0 h 12"/>
                    <a:gd name="T22" fmla="*/ 7 w 14"/>
                    <a:gd name="T23" fmla="*/ 0 h 12"/>
                    <a:gd name="T24" fmla="*/ 7 w 14"/>
                    <a:gd name="T25" fmla="*/ 4 h 12"/>
                    <a:gd name="T26" fmla="*/ 7 w 14"/>
                    <a:gd name="T27" fmla="*/ 5 h 12"/>
                    <a:gd name="T28" fmla="*/ 9 w 14"/>
                    <a:gd name="T29" fmla="*/ 5 h 12"/>
                    <a:gd name="T30" fmla="*/ 11 w 14"/>
                    <a:gd name="T31" fmla="*/ 5 h 12"/>
                    <a:gd name="T32" fmla="*/ 14 w 14"/>
                    <a:gd name="T33" fmla="*/ 4 h 12"/>
                    <a:gd name="T34" fmla="*/ 13 w 14"/>
                    <a:gd name="T35" fmla="*/ 2 h 12"/>
                    <a:gd name="T36" fmla="*/ 13 w 14"/>
                    <a:gd name="T37" fmla="*/ 11 h 12"/>
                    <a:gd name="T38" fmla="*/ 13 w 14"/>
                    <a:gd name="T39" fmla="*/ 12 h 12"/>
                    <a:gd name="T40" fmla="*/ 14 w 14"/>
                    <a:gd name="T41" fmla="*/ 12 h 12"/>
                    <a:gd name="T42" fmla="*/ 13 w 14"/>
                    <a:gd name="T43" fmla="*/ 11 h 12"/>
                    <a:gd name="T44" fmla="*/ 13 w 14"/>
                    <a:gd name="T45"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12">
                      <a:moveTo>
                        <a:pt x="6" y="9"/>
                      </a:moveTo>
                      <a:lnTo>
                        <a:pt x="4" y="11"/>
                      </a:lnTo>
                      <a:lnTo>
                        <a:pt x="2" y="9"/>
                      </a:lnTo>
                      <a:lnTo>
                        <a:pt x="0" y="5"/>
                      </a:lnTo>
                      <a:lnTo>
                        <a:pt x="2" y="4"/>
                      </a:lnTo>
                      <a:lnTo>
                        <a:pt x="4" y="2"/>
                      </a:lnTo>
                      <a:lnTo>
                        <a:pt x="7" y="4"/>
                      </a:lnTo>
                      <a:lnTo>
                        <a:pt x="6" y="9"/>
                      </a:lnTo>
                      <a:close/>
                      <a:moveTo>
                        <a:pt x="13" y="2"/>
                      </a:moveTo>
                      <a:lnTo>
                        <a:pt x="11" y="0"/>
                      </a:lnTo>
                      <a:lnTo>
                        <a:pt x="9" y="0"/>
                      </a:lnTo>
                      <a:lnTo>
                        <a:pt x="7" y="0"/>
                      </a:lnTo>
                      <a:lnTo>
                        <a:pt x="7" y="4"/>
                      </a:lnTo>
                      <a:lnTo>
                        <a:pt x="7" y="5"/>
                      </a:lnTo>
                      <a:lnTo>
                        <a:pt x="9" y="5"/>
                      </a:lnTo>
                      <a:lnTo>
                        <a:pt x="11" y="5"/>
                      </a:lnTo>
                      <a:lnTo>
                        <a:pt x="14" y="4"/>
                      </a:lnTo>
                      <a:lnTo>
                        <a:pt x="13" y="2"/>
                      </a:lnTo>
                      <a:close/>
                      <a:moveTo>
                        <a:pt x="13" y="11"/>
                      </a:moveTo>
                      <a:lnTo>
                        <a:pt x="13" y="12"/>
                      </a:lnTo>
                      <a:lnTo>
                        <a:pt x="14" y="12"/>
                      </a:lnTo>
                      <a:lnTo>
                        <a:pt x="13" y="11"/>
                      </a:lnTo>
                      <a:lnTo>
                        <a:pt x="13" y="1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27" name="Freeform 310">
                  <a:extLst>
                    <a:ext uri="{FF2B5EF4-FFF2-40B4-BE49-F238E27FC236}">
                      <a16:creationId xmlns:a16="http://schemas.microsoft.com/office/drawing/2014/main" id="{A56EEAC6-E9B4-2D4A-3D8B-3D240CE230C5}"/>
                    </a:ext>
                  </a:extLst>
                </p:cNvPr>
                <p:cNvSpPr>
                  <a:spLocks/>
                </p:cNvSpPr>
                <p:nvPr/>
              </p:nvSpPr>
              <p:spPr bwMode="auto">
                <a:xfrm>
                  <a:off x="-1671" y="-2951"/>
                  <a:ext cx="9" cy="9"/>
                </a:xfrm>
                <a:custGeom>
                  <a:avLst/>
                  <a:gdLst>
                    <a:gd name="T0" fmla="*/ 7 w 9"/>
                    <a:gd name="T1" fmla="*/ 9 h 9"/>
                    <a:gd name="T2" fmla="*/ 9 w 9"/>
                    <a:gd name="T3" fmla="*/ 9 h 9"/>
                    <a:gd name="T4" fmla="*/ 9 w 9"/>
                    <a:gd name="T5" fmla="*/ 9 h 9"/>
                    <a:gd name="T6" fmla="*/ 7 w 9"/>
                    <a:gd name="T7" fmla="*/ 5 h 9"/>
                    <a:gd name="T8" fmla="*/ 7 w 9"/>
                    <a:gd name="T9" fmla="*/ 4 h 9"/>
                    <a:gd name="T10" fmla="*/ 6 w 9"/>
                    <a:gd name="T11" fmla="*/ 2 h 9"/>
                    <a:gd name="T12" fmla="*/ 4 w 9"/>
                    <a:gd name="T13" fmla="*/ 0 h 9"/>
                    <a:gd name="T14" fmla="*/ 0 w 9"/>
                    <a:gd name="T15" fmla="*/ 0 h 9"/>
                    <a:gd name="T16" fmla="*/ 0 w 9"/>
                    <a:gd name="T17" fmla="*/ 2 h 9"/>
                    <a:gd name="T18" fmla="*/ 2 w 9"/>
                    <a:gd name="T19" fmla="*/ 5 h 9"/>
                    <a:gd name="T20" fmla="*/ 4 w 9"/>
                    <a:gd name="T21" fmla="*/ 5 h 9"/>
                    <a:gd name="T22" fmla="*/ 4 w 9"/>
                    <a:gd name="T23" fmla="*/ 7 h 9"/>
                    <a:gd name="T24" fmla="*/ 4 w 9"/>
                    <a:gd name="T25" fmla="*/ 9 h 9"/>
                    <a:gd name="T26" fmla="*/ 6 w 9"/>
                    <a:gd name="T27" fmla="*/ 9 h 9"/>
                    <a:gd name="T28" fmla="*/ 7 w 9"/>
                    <a:gd name="T29" fmla="*/ 9 h 9"/>
                    <a:gd name="T30" fmla="*/ 7 w 9"/>
                    <a:gd name="T3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9">
                      <a:moveTo>
                        <a:pt x="7" y="9"/>
                      </a:moveTo>
                      <a:lnTo>
                        <a:pt x="9" y="9"/>
                      </a:lnTo>
                      <a:lnTo>
                        <a:pt x="9" y="9"/>
                      </a:lnTo>
                      <a:lnTo>
                        <a:pt x="7" y="5"/>
                      </a:lnTo>
                      <a:lnTo>
                        <a:pt x="7" y="4"/>
                      </a:lnTo>
                      <a:lnTo>
                        <a:pt x="6" y="2"/>
                      </a:lnTo>
                      <a:lnTo>
                        <a:pt x="4" y="0"/>
                      </a:lnTo>
                      <a:lnTo>
                        <a:pt x="0" y="0"/>
                      </a:lnTo>
                      <a:lnTo>
                        <a:pt x="0" y="2"/>
                      </a:lnTo>
                      <a:lnTo>
                        <a:pt x="2" y="5"/>
                      </a:lnTo>
                      <a:lnTo>
                        <a:pt x="4" y="5"/>
                      </a:lnTo>
                      <a:lnTo>
                        <a:pt x="4" y="7"/>
                      </a:lnTo>
                      <a:lnTo>
                        <a:pt x="4" y="9"/>
                      </a:lnTo>
                      <a:lnTo>
                        <a:pt x="6" y="9"/>
                      </a:lnTo>
                      <a:lnTo>
                        <a:pt x="7" y="9"/>
                      </a:lnTo>
                      <a:lnTo>
                        <a:pt x="7" y="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28" name="Freeform 311">
                  <a:extLst>
                    <a:ext uri="{FF2B5EF4-FFF2-40B4-BE49-F238E27FC236}">
                      <a16:creationId xmlns:a16="http://schemas.microsoft.com/office/drawing/2014/main" id="{6130B6D8-7500-D0A6-AFEA-4196023B216B}"/>
                    </a:ext>
                  </a:extLst>
                </p:cNvPr>
                <p:cNvSpPr>
                  <a:spLocks noEditPoints="1"/>
                </p:cNvSpPr>
                <p:nvPr/>
              </p:nvSpPr>
              <p:spPr bwMode="auto">
                <a:xfrm>
                  <a:off x="-2051" y="-3227"/>
                  <a:ext cx="134" cy="140"/>
                </a:xfrm>
                <a:custGeom>
                  <a:avLst/>
                  <a:gdLst>
                    <a:gd name="T0" fmla="*/ 117 w 134"/>
                    <a:gd name="T1" fmla="*/ 135 h 140"/>
                    <a:gd name="T2" fmla="*/ 122 w 134"/>
                    <a:gd name="T3" fmla="*/ 135 h 140"/>
                    <a:gd name="T4" fmla="*/ 127 w 134"/>
                    <a:gd name="T5" fmla="*/ 133 h 140"/>
                    <a:gd name="T6" fmla="*/ 113 w 134"/>
                    <a:gd name="T7" fmla="*/ 138 h 140"/>
                    <a:gd name="T8" fmla="*/ 129 w 134"/>
                    <a:gd name="T9" fmla="*/ 126 h 140"/>
                    <a:gd name="T10" fmla="*/ 129 w 134"/>
                    <a:gd name="T11" fmla="*/ 126 h 140"/>
                    <a:gd name="T12" fmla="*/ 129 w 134"/>
                    <a:gd name="T13" fmla="*/ 105 h 140"/>
                    <a:gd name="T14" fmla="*/ 134 w 134"/>
                    <a:gd name="T15" fmla="*/ 107 h 140"/>
                    <a:gd name="T16" fmla="*/ 106 w 134"/>
                    <a:gd name="T17" fmla="*/ 98 h 140"/>
                    <a:gd name="T18" fmla="*/ 106 w 134"/>
                    <a:gd name="T19" fmla="*/ 107 h 140"/>
                    <a:gd name="T20" fmla="*/ 104 w 134"/>
                    <a:gd name="T21" fmla="*/ 108 h 140"/>
                    <a:gd name="T22" fmla="*/ 110 w 134"/>
                    <a:gd name="T23" fmla="*/ 101 h 140"/>
                    <a:gd name="T24" fmla="*/ 108 w 134"/>
                    <a:gd name="T25" fmla="*/ 100 h 140"/>
                    <a:gd name="T26" fmla="*/ 97 w 134"/>
                    <a:gd name="T27" fmla="*/ 68 h 140"/>
                    <a:gd name="T28" fmla="*/ 96 w 134"/>
                    <a:gd name="T29" fmla="*/ 68 h 140"/>
                    <a:gd name="T30" fmla="*/ 97 w 134"/>
                    <a:gd name="T31" fmla="*/ 68 h 140"/>
                    <a:gd name="T32" fmla="*/ 21 w 134"/>
                    <a:gd name="T33" fmla="*/ 63 h 140"/>
                    <a:gd name="T34" fmla="*/ 26 w 134"/>
                    <a:gd name="T35" fmla="*/ 65 h 140"/>
                    <a:gd name="T36" fmla="*/ 31 w 134"/>
                    <a:gd name="T37" fmla="*/ 66 h 140"/>
                    <a:gd name="T38" fmla="*/ 31 w 134"/>
                    <a:gd name="T39" fmla="*/ 45 h 140"/>
                    <a:gd name="T40" fmla="*/ 35 w 134"/>
                    <a:gd name="T41" fmla="*/ 44 h 140"/>
                    <a:gd name="T42" fmla="*/ 35 w 134"/>
                    <a:gd name="T43" fmla="*/ 45 h 140"/>
                    <a:gd name="T44" fmla="*/ 19 w 134"/>
                    <a:gd name="T45" fmla="*/ 42 h 140"/>
                    <a:gd name="T46" fmla="*/ 28 w 134"/>
                    <a:gd name="T47" fmla="*/ 56 h 140"/>
                    <a:gd name="T48" fmla="*/ 19 w 134"/>
                    <a:gd name="T49" fmla="*/ 61 h 140"/>
                    <a:gd name="T50" fmla="*/ 17 w 134"/>
                    <a:gd name="T51" fmla="*/ 58 h 140"/>
                    <a:gd name="T52" fmla="*/ 15 w 134"/>
                    <a:gd name="T53" fmla="*/ 56 h 140"/>
                    <a:gd name="T54" fmla="*/ 14 w 134"/>
                    <a:gd name="T55" fmla="*/ 54 h 140"/>
                    <a:gd name="T56" fmla="*/ 15 w 134"/>
                    <a:gd name="T57" fmla="*/ 54 h 140"/>
                    <a:gd name="T58" fmla="*/ 17 w 134"/>
                    <a:gd name="T59" fmla="*/ 45 h 140"/>
                    <a:gd name="T60" fmla="*/ 38 w 134"/>
                    <a:gd name="T61" fmla="*/ 24 h 140"/>
                    <a:gd name="T62" fmla="*/ 38 w 134"/>
                    <a:gd name="T63" fmla="*/ 16 h 140"/>
                    <a:gd name="T64" fmla="*/ 31 w 134"/>
                    <a:gd name="T65" fmla="*/ 2 h 140"/>
                    <a:gd name="T66" fmla="*/ 35 w 134"/>
                    <a:gd name="T67" fmla="*/ 2 h 140"/>
                    <a:gd name="T68" fmla="*/ 38 w 134"/>
                    <a:gd name="T69" fmla="*/ 17 h 140"/>
                    <a:gd name="T70" fmla="*/ 82 w 134"/>
                    <a:gd name="T71" fmla="*/ 86 h 140"/>
                    <a:gd name="T72" fmla="*/ 80 w 134"/>
                    <a:gd name="T73" fmla="*/ 79 h 140"/>
                    <a:gd name="T74" fmla="*/ 89 w 134"/>
                    <a:gd name="T75" fmla="*/ 93 h 140"/>
                    <a:gd name="T76" fmla="*/ 80 w 134"/>
                    <a:gd name="T77" fmla="*/ 87 h 140"/>
                    <a:gd name="T78" fmla="*/ 75 w 134"/>
                    <a:gd name="T79" fmla="*/ 65 h 140"/>
                    <a:gd name="T80" fmla="*/ 70 w 134"/>
                    <a:gd name="T81" fmla="*/ 52 h 140"/>
                    <a:gd name="T82" fmla="*/ 76 w 134"/>
                    <a:gd name="T83" fmla="*/ 61 h 140"/>
                    <a:gd name="T84" fmla="*/ 17 w 134"/>
                    <a:gd name="T85" fmla="*/ 7 h 140"/>
                    <a:gd name="T86" fmla="*/ 0 w 134"/>
                    <a:gd name="T87" fmla="*/ 5 h 140"/>
                    <a:gd name="T88" fmla="*/ 8 w 134"/>
                    <a:gd name="T89" fmla="*/ 2 h 140"/>
                    <a:gd name="T90" fmla="*/ 64 w 134"/>
                    <a:gd name="T91" fmla="*/ 77 h 140"/>
                    <a:gd name="T92" fmla="*/ 70 w 134"/>
                    <a:gd name="T93" fmla="*/ 80 h 140"/>
                    <a:gd name="T94" fmla="*/ 63 w 134"/>
                    <a:gd name="T95" fmla="*/ 77 h 140"/>
                    <a:gd name="T96" fmla="*/ 59 w 134"/>
                    <a:gd name="T97" fmla="*/ 40 h 140"/>
                    <a:gd name="T98" fmla="*/ 59 w 134"/>
                    <a:gd name="T99" fmla="*/ 52 h 140"/>
                    <a:gd name="T100" fmla="*/ 59 w 134"/>
                    <a:gd name="T101" fmla="*/ 49 h 140"/>
                    <a:gd name="T102" fmla="*/ 56 w 134"/>
                    <a:gd name="T103" fmla="*/ 37 h 140"/>
                    <a:gd name="T104" fmla="*/ 47 w 134"/>
                    <a:gd name="T105" fmla="*/ 3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4" h="140">
                      <a:moveTo>
                        <a:pt x="113" y="136"/>
                      </a:moveTo>
                      <a:lnTo>
                        <a:pt x="113" y="136"/>
                      </a:lnTo>
                      <a:lnTo>
                        <a:pt x="113" y="136"/>
                      </a:lnTo>
                      <a:lnTo>
                        <a:pt x="117" y="135"/>
                      </a:lnTo>
                      <a:lnTo>
                        <a:pt x="118" y="133"/>
                      </a:lnTo>
                      <a:lnTo>
                        <a:pt x="118" y="133"/>
                      </a:lnTo>
                      <a:lnTo>
                        <a:pt x="122" y="135"/>
                      </a:lnTo>
                      <a:lnTo>
                        <a:pt x="122" y="135"/>
                      </a:lnTo>
                      <a:lnTo>
                        <a:pt x="124" y="133"/>
                      </a:lnTo>
                      <a:lnTo>
                        <a:pt x="125" y="133"/>
                      </a:lnTo>
                      <a:lnTo>
                        <a:pt x="127" y="131"/>
                      </a:lnTo>
                      <a:lnTo>
                        <a:pt x="127" y="133"/>
                      </a:lnTo>
                      <a:lnTo>
                        <a:pt x="125" y="136"/>
                      </a:lnTo>
                      <a:lnTo>
                        <a:pt x="122" y="140"/>
                      </a:lnTo>
                      <a:lnTo>
                        <a:pt x="117" y="140"/>
                      </a:lnTo>
                      <a:lnTo>
                        <a:pt x="113" y="138"/>
                      </a:lnTo>
                      <a:lnTo>
                        <a:pt x="113" y="136"/>
                      </a:lnTo>
                      <a:lnTo>
                        <a:pt x="113" y="136"/>
                      </a:lnTo>
                      <a:close/>
                      <a:moveTo>
                        <a:pt x="131" y="126"/>
                      </a:moveTo>
                      <a:lnTo>
                        <a:pt x="129" y="126"/>
                      </a:lnTo>
                      <a:lnTo>
                        <a:pt x="127" y="126"/>
                      </a:lnTo>
                      <a:lnTo>
                        <a:pt x="127" y="126"/>
                      </a:lnTo>
                      <a:lnTo>
                        <a:pt x="127" y="128"/>
                      </a:lnTo>
                      <a:lnTo>
                        <a:pt x="129" y="126"/>
                      </a:lnTo>
                      <a:lnTo>
                        <a:pt x="131" y="126"/>
                      </a:lnTo>
                      <a:close/>
                      <a:moveTo>
                        <a:pt x="134" y="107"/>
                      </a:moveTo>
                      <a:lnTo>
                        <a:pt x="131" y="107"/>
                      </a:lnTo>
                      <a:lnTo>
                        <a:pt x="129" y="105"/>
                      </a:lnTo>
                      <a:lnTo>
                        <a:pt x="125" y="105"/>
                      </a:lnTo>
                      <a:lnTo>
                        <a:pt x="125" y="107"/>
                      </a:lnTo>
                      <a:lnTo>
                        <a:pt x="132" y="108"/>
                      </a:lnTo>
                      <a:lnTo>
                        <a:pt x="134" y="107"/>
                      </a:lnTo>
                      <a:close/>
                      <a:moveTo>
                        <a:pt x="101" y="98"/>
                      </a:moveTo>
                      <a:lnTo>
                        <a:pt x="103" y="100"/>
                      </a:lnTo>
                      <a:lnTo>
                        <a:pt x="104" y="100"/>
                      </a:lnTo>
                      <a:lnTo>
                        <a:pt x="106" y="98"/>
                      </a:lnTo>
                      <a:lnTo>
                        <a:pt x="103" y="98"/>
                      </a:lnTo>
                      <a:lnTo>
                        <a:pt x="101" y="96"/>
                      </a:lnTo>
                      <a:lnTo>
                        <a:pt x="101" y="98"/>
                      </a:lnTo>
                      <a:close/>
                      <a:moveTo>
                        <a:pt x="106" y="107"/>
                      </a:moveTo>
                      <a:lnTo>
                        <a:pt x="103" y="108"/>
                      </a:lnTo>
                      <a:lnTo>
                        <a:pt x="101" y="110"/>
                      </a:lnTo>
                      <a:lnTo>
                        <a:pt x="103" y="110"/>
                      </a:lnTo>
                      <a:lnTo>
                        <a:pt x="104" y="108"/>
                      </a:lnTo>
                      <a:lnTo>
                        <a:pt x="106" y="108"/>
                      </a:lnTo>
                      <a:lnTo>
                        <a:pt x="108" y="107"/>
                      </a:lnTo>
                      <a:lnTo>
                        <a:pt x="110" y="105"/>
                      </a:lnTo>
                      <a:lnTo>
                        <a:pt x="110" y="101"/>
                      </a:lnTo>
                      <a:lnTo>
                        <a:pt x="110" y="100"/>
                      </a:lnTo>
                      <a:lnTo>
                        <a:pt x="110" y="98"/>
                      </a:lnTo>
                      <a:lnTo>
                        <a:pt x="108" y="98"/>
                      </a:lnTo>
                      <a:lnTo>
                        <a:pt x="108" y="100"/>
                      </a:lnTo>
                      <a:lnTo>
                        <a:pt x="108" y="103"/>
                      </a:lnTo>
                      <a:lnTo>
                        <a:pt x="108" y="105"/>
                      </a:lnTo>
                      <a:lnTo>
                        <a:pt x="106" y="107"/>
                      </a:lnTo>
                      <a:close/>
                      <a:moveTo>
                        <a:pt x="97" y="68"/>
                      </a:moveTo>
                      <a:lnTo>
                        <a:pt x="97" y="66"/>
                      </a:lnTo>
                      <a:lnTo>
                        <a:pt x="96" y="66"/>
                      </a:lnTo>
                      <a:lnTo>
                        <a:pt x="96" y="66"/>
                      </a:lnTo>
                      <a:lnTo>
                        <a:pt x="96" y="68"/>
                      </a:lnTo>
                      <a:lnTo>
                        <a:pt x="96" y="70"/>
                      </a:lnTo>
                      <a:lnTo>
                        <a:pt x="96" y="70"/>
                      </a:lnTo>
                      <a:lnTo>
                        <a:pt x="96" y="68"/>
                      </a:lnTo>
                      <a:lnTo>
                        <a:pt x="97" y="68"/>
                      </a:lnTo>
                      <a:close/>
                      <a:moveTo>
                        <a:pt x="31" y="75"/>
                      </a:moveTo>
                      <a:lnTo>
                        <a:pt x="28" y="75"/>
                      </a:lnTo>
                      <a:lnTo>
                        <a:pt x="28" y="73"/>
                      </a:lnTo>
                      <a:lnTo>
                        <a:pt x="21" y="63"/>
                      </a:lnTo>
                      <a:lnTo>
                        <a:pt x="24" y="63"/>
                      </a:lnTo>
                      <a:lnTo>
                        <a:pt x="26" y="63"/>
                      </a:lnTo>
                      <a:lnTo>
                        <a:pt x="28" y="63"/>
                      </a:lnTo>
                      <a:lnTo>
                        <a:pt x="26" y="65"/>
                      </a:lnTo>
                      <a:lnTo>
                        <a:pt x="28" y="66"/>
                      </a:lnTo>
                      <a:lnTo>
                        <a:pt x="28" y="65"/>
                      </a:lnTo>
                      <a:lnTo>
                        <a:pt x="29" y="63"/>
                      </a:lnTo>
                      <a:lnTo>
                        <a:pt x="31" y="66"/>
                      </a:lnTo>
                      <a:lnTo>
                        <a:pt x="31" y="68"/>
                      </a:lnTo>
                      <a:lnTo>
                        <a:pt x="31" y="72"/>
                      </a:lnTo>
                      <a:lnTo>
                        <a:pt x="31" y="75"/>
                      </a:lnTo>
                      <a:close/>
                      <a:moveTo>
                        <a:pt x="31" y="45"/>
                      </a:moveTo>
                      <a:lnTo>
                        <a:pt x="31" y="44"/>
                      </a:lnTo>
                      <a:lnTo>
                        <a:pt x="31" y="44"/>
                      </a:lnTo>
                      <a:lnTo>
                        <a:pt x="33" y="44"/>
                      </a:lnTo>
                      <a:lnTo>
                        <a:pt x="35" y="44"/>
                      </a:lnTo>
                      <a:lnTo>
                        <a:pt x="35" y="44"/>
                      </a:lnTo>
                      <a:lnTo>
                        <a:pt x="36" y="44"/>
                      </a:lnTo>
                      <a:lnTo>
                        <a:pt x="36" y="44"/>
                      </a:lnTo>
                      <a:lnTo>
                        <a:pt x="35" y="45"/>
                      </a:lnTo>
                      <a:lnTo>
                        <a:pt x="35" y="45"/>
                      </a:lnTo>
                      <a:lnTo>
                        <a:pt x="33" y="45"/>
                      </a:lnTo>
                      <a:lnTo>
                        <a:pt x="31" y="45"/>
                      </a:lnTo>
                      <a:close/>
                      <a:moveTo>
                        <a:pt x="19" y="42"/>
                      </a:moveTo>
                      <a:lnTo>
                        <a:pt x="22" y="44"/>
                      </a:lnTo>
                      <a:lnTo>
                        <a:pt x="24" y="49"/>
                      </a:lnTo>
                      <a:lnTo>
                        <a:pt x="26" y="52"/>
                      </a:lnTo>
                      <a:lnTo>
                        <a:pt x="28" y="56"/>
                      </a:lnTo>
                      <a:lnTo>
                        <a:pt x="26" y="58"/>
                      </a:lnTo>
                      <a:lnTo>
                        <a:pt x="24" y="59"/>
                      </a:lnTo>
                      <a:lnTo>
                        <a:pt x="21" y="61"/>
                      </a:lnTo>
                      <a:lnTo>
                        <a:pt x="19" y="61"/>
                      </a:lnTo>
                      <a:lnTo>
                        <a:pt x="19" y="59"/>
                      </a:lnTo>
                      <a:lnTo>
                        <a:pt x="19" y="58"/>
                      </a:lnTo>
                      <a:lnTo>
                        <a:pt x="19" y="58"/>
                      </a:lnTo>
                      <a:lnTo>
                        <a:pt x="17" y="58"/>
                      </a:lnTo>
                      <a:lnTo>
                        <a:pt x="17" y="58"/>
                      </a:lnTo>
                      <a:lnTo>
                        <a:pt x="17" y="58"/>
                      </a:lnTo>
                      <a:lnTo>
                        <a:pt x="15" y="58"/>
                      </a:lnTo>
                      <a:lnTo>
                        <a:pt x="15" y="56"/>
                      </a:lnTo>
                      <a:lnTo>
                        <a:pt x="14" y="56"/>
                      </a:lnTo>
                      <a:lnTo>
                        <a:pt x="12" y="54"/>
                      </a:lnTo>
                      <a:lnTo>
                        <a:pt x="12" y="54"/>
                      </a:lnTo>
                      <a:lnTo>
                        <a:pt x="14" y="54"/>
                      </a:lnTo>
                      <a:lnTo>
                        <a:pt x="14" y="54"/>
                      </a:lnTo>
                      <a:lnTo>
                        <a:pt x="14" y="54"/>
                      </a:lnTo>
                      <a:lnTo>
                        <a:pt x="14" y="54"/>
                      </a:lnTo>
                      <a:lnTo>
                        <a:pt x="15" y="54"/>
                      </a:lnTo>
                      <a:lnTo>
                        <a:pt x="15" y="52"/>
                      </a:lnTo>
                      <a:lnTo>
                        <a:pt x="15" y="51"/>
                      </a:lnTo>
                      <a:lnTo>
                        <a:pt x="15" y="49"/>
                      </a:lnTo>
                      <a:lnTo>
                        <a:pt x="17" y="45"/>
                      </a:lnTo>
                      <a:lnTo>
                        <a:pt x="17" y="44"/>
                      </a:lnTo>
                      <a:lnTo>
                        <a:pt x="17" y="40"/>
                      </a:lnTo>
                      <a:lnTo>
                        <a:pt x="19" y="42"/>
                      </a:lnTo>
                      <a:close/>
                      <a:moveTo>
                        <a:pt x="38" y="24"/>
                      </a:moveTo>
                      <a:lnTo>
                        <a:pt x="35" y="21"/>
                      </a:lnTo>
                      <a:lnTo>
                        <a:pt x="35" y="21"/>
                      </a:lnTo>
                      <a:lnTo>
                        <a:pt x="36" y="19"/>
                      </a:lnTo>
                      <a:lnTo>
                        <a:pt x="38" y="16"/>
                      </a:lnTo>
                      <a:lnTo>
                        <a:pt x="38" y="12"/>
                      </a:lnTo>
                      <a:lnTo>
                        <a:pt x="38" y="9"/>
                      </a:lnTo>
                      <a:lnTo>
                        <a:pt x="35" y="5"/>
                      </a:lnTo>
                      <a:lnTo>
                        <a:pt x="31" y="2"/>
                      </a:lnTo>
                      <a:lnTo>
                        <a:pt x="28" y="0"/>
                      </a:lnTo>
                      <a:lnTo>
                        <a:pt x="22" y="0"/>
                      </a:lnTo>
                      <a:lnTo>
                        <a:pt x="28" y="0"/>
                      </a:lnTo>
                      <a:lnTo>
                        <a:pt x="35" y="2"/>
                      </a:lnTo>
                      <a:lnTo>
                        <a:pt x="40" y="7"/>
                      </a:lnTo>
                      <a:lnTo>
                        <a:pt x="42" y="14"/>
                      </a:lnTo>
                      <a:lnTo>
                        <a:pt x="40" y="16"/>
                      </a:lnTo>
                      <a:lnTo>
                        <a:pt x="38" y="17"/>
                      </a:lnTo>
                      <a:lnTo>
                        <a:pt x="38" y="21"/>
                      </a:lnTo>
                      <a:lnTo>
                        <a:pt x="38" y="24"/>
                      </a:lnTo>
                      <a:close/>
                      <a:moveTo>
                        <a:pt x="80" y="87"/>
                      </a:moveTo>
                      <a:lnTo>
                        <a:pt x="82" y="86"/>
                      </a:lnTo>
                      <a:lnTo>
                        <a:pt x="82" y="82"/>
                      </a:lnTo>
                      <a:lnTo>
                        <a:pt x="80" y="79"/>
                      </a:lnTo>
                      <a:lnTo>
                        <a:pt x="78" y="77"/>
                      </a:lnTo>
                      <a:lnTo>
                        <a:pt x="80" y="79"/>
                      </a:lnTo>
                      <a:lnTo>
                        <a:pt x="83" y="86"/>
                      </a:lnTo>
                      <a:lnTo>
                        <a:pt x="85" y="87"/>
                      </a:lnTo>
                      <a:lnTo>
                        <a:pt x="87" y="89"/>
                      </a:lnTo>
                      <a:lnTo>
                        <a:pt x="89" y="93"/>
                      </a:lnTo>
                      <a:lnTo>
                        <a:pt x="89" y="94"/>
                      </a:lnTo>
                      <a:lnTo>
                        <a:pt x="89" y="93"/>
                      </a:lnTo>
                      <a:lnTo>
                        <a:pt x="85" y="91"/>
                      </a:lnTo>
                      <a:lnTo>
                        <a:pt x="80" y="87"/>
                      </a:lnTo>
                      <a:close/>
                      <a:moveTo>
                        <a:pt x="76" y="61"/>
                      </a:moveTo>
                      <a:lnTo>
                        <a:pt x="78" y="63"/>
                      </a:lnTo>
                      <a:lnTo>
                        <a:pt x="78" y="65"/>
                      </a:lnTo>
                      <a:lnTo>
                        <a:pt x="75" y="65"/>
                      </a:lnTo>
                      <a:lnTo>
                        <a:pt x="76" y="63"/>
                      </a:lnTo>
                      <a:lnTo>
                        <a:pt x="75" y="61"/>
                      </a:lnTo>
                      <a:lnTo>
                        <a:pt x="71" y="56"/>
                      </a:lnTo>
                      <a:lnTo>
                        <a:pt x="70" y="52"/>
                      </a:lnTo>
                      <a:lnTo>
                        <a:pt x="71" y="52"/>
                      </a:lnTo>
                      <a:lnTo>
                        <a:pt x="73" y="56"/>
                      </a:lnTo>
                      <a:lnTo>
                        <a:pt x="75" y="58"/>
                      </a:lnTo>
                      <a:lnTo>
                        <a:pt x="76" y="61"/>
                      </a:lnTo>
                      <a:close/>
                      <a:moveTo>
                        <a:pt x="19" y="4"/>
                      </a:moveTo>
                      <a:lnTo>
                        <a:pt x="22" y="4"/>
                      </a:lnTo>
                      <a:lnTo>
                        <a:pt x="21" y="5"/>
                      </a:lnTo>
                      <a:lnTo>
                        <a:pt x="17" y="7"/>
                      </a:lnTo>
                      <a:lnTo>
                        <a:pt x="7" y="9"/>
                      </a:lnTo>
                      <a:lnTo>
                        <a:pt x="5" y="9"/>
                      </a:lnTo>
                      <a:lnTo>
                        <a:pt x="3" y="7"/>
                      </a:lnTo>
                      <a:lnTo>
                        <a:pt x="0" y="5"/>
                      </a:lnTo>
                      <a:lnTo>
                        <a:pt x="3" y="7"/>
                      </a:lnTo>
                      <a:lnTo>
                        <a:pt x="5" y="7"/>
                      </a:lnTo>
                      <a:lnTo>
                        <a:pt x="8" y="5"/>
                      </a:lnTo>
                      <a:lnTo>
                        <a:pt x="8" y="2"/>
                      </a:lnTo>
                      <a:lnTo>
                        <a:pt x="12" y="4"/>
                      </a:lnTo>
                      <a:lnTo>
                        <a:pt x="15" y="5"/>
                      </a:lnTo>
                      <a:lnTo>
                        <a:pt x="19" y="4"/>
                      </a:lnTo>
                      <a:close/>
                      <a:moveTo>
                        <a:pt x="64" y="77"/>
                      </a:moveTo>
                      <a:lnTo>
                        <a:pt x="66" y="77"/>
                      </a:lnTo>
                      <a:lnTo>
                        <a:pt x="66" y="79"/>
                      </a:lnTo>
                      <a:lnTo>
                        <a:pt x="68" y="79"/>
                      </a:lnTo>
                      <a:lnTo>
                        <a:pt x="70" y="80"/>
                      </a:lnTo>
                      <a:lnTo>
                        <a:pt x="71" y="82"/>
                      </a:lnTo>
                      <a:lnTo>
                        <a:pt x="70" y="80"/>
                      </a:lnTo>
                      <a:lnTo>
                        <a:pt x="66" y="79"/>
                      </a:lnTo>
                      <a:lnTo>
                        <a:pt x="63" y="77"/>
                      </a:lnTo>
                      <a:lnTo>
                        <a:pt x="64" y="77"/>
                      </a:lnTo>
                      <a:close/>
                      <a:moveTo>
                        <a:pt x="49" y="31"/>
                      </a:moveTo>
                      <a:lnTo>
                        <a:pt x="52" y="35"/>
                      </a:lnTo>
                      <a:lnTo>
                        <a:pt x="59" y="40"/>
                      </a:lnTo>
                      <a:lnTo>
                        <a:pt x="61" y="42"/>
                      </a:lnTo>
                      <a:lnTo>
                        <a:pt x="61" y="51"/>
                      </a:lnTo>
                      <a:lnTo>
                        <a:pt x="61" y="52"/>
                      </a:lnTo>
                      <a:lnTo>
                        <a:pt x="59" y="52"/>
                      </a:lnTo>
                      <a:lnTo>
                        <a:pt x="59" y="51"/>
                      </a:lnTo>
                      <a:lnTo>
                        <a:pt x="57" y="51"/>
                      </a:lnTo>
                      <a:lnTo>
                        <a:pt x="57" y="49"/>
                      </a:lnTo>
                      <a:lnTo>
                        <a:pt x="59" y="49"/>
                      </a:lnTo>
                      <a:lnTo>
                        <a:pt x="61" y="45"/>
                      </a:lnTo>
                      <a:lnTo>
                        <a:pt x="59" y="42"/>
                      </a:lnTo>
                      <a:lnTo>
                        <a:pt x="57" y="38"/>
                      </a:lnTo>
                      <a:lnTo>
                        <a:pt x="56" y="37"/>
                      </a:lnTo>
                      <a:lnTo>
                        <a:pt x="52" y="35"/>
                      </a:lnTo>
                      <a:lnTo>
                        <a:pt x="50" y="35"/>
                      </a:lnTo>
                      <a:lnTo>
                        <a:pt x="47" y="35"/>
                      </a:lnTo>
                      <a:lnTo>
                        <a:pt x="47" y="33"/>
                      </a:lnTo>
                      <a:lnTo>
                        <a:pt x="49" y="33"/>
                      </a:lnTo>
                      <a:lnTo>
                        <a:pt x="49" y="3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29" name="Freeform 312">
                  <a:extLst>
                    <a:ext uri="{FF2B5EF4-FFF2-40B4-BE49-F238E27FC236}">
                      <a16:creationId xmlns:a16="http://schemas.microsoft.com/office/drawing/2014/main" id="{91FFF89C-B6CC-3EE6-4C0A-524C8B2D5B41}"/>
                    </a:ext>
                  </a:extLst>
                </p:cNvPr>
                <p:cNvSpPr>
                  <a:spLocks/>
                </p:cNvSpPr>
                <p:nvPr/>
              </p:nvSpPr>
              <p:spPr bwMode="auto">
                <a:xfrm>
                  <a:off x="-2037" y="-3031"/>
                  <a:ext cx="45" cy="17"/>
                </a:xfrm>
                <a:custGeom>
                  <a:avLst/>
                  <a:gdLst>
                    <a:gd name="T0" fmla="*/ 40 w 45"/>
                    <a:gd name="T1" fmla="*/ 12 h 17"/>
                    <a:gd name="T2" fmla="*/ 42 w 45"/>
                    <a:gd name="T3" fmla="*/ 14 h 17"/>
                    <a:gd name="T4" fmla="*/ 45 w 45"/>
                    <a:gd name="T5" fmla="*/ 12 h 17"/>
                    <a:gd name="T6" fmla="*/ 43 w 45"/>
                    <a:gd name="T7" fmla="*/ 8 h 17"/>
                    <a:gd name="T8" fmla="*/ 38 w 45"/>
                    <a:gd name="T9" fmla="*/ 5 h 17"/>
                    <a:gd name="T10" fmla="*/ 33 w 45"/>
                    <a:gd name="T11" fmla="*/ 3 h 17"/>
                    <a:gd name="T12" fmla="*/ 29 w 45"/>
                    <a:gd name="T13" fmla="*/ 1 h 17"/>
                    <a:gd name="T14" fmla="*/ 24 w 45"/>
                    <a:gd name="T15" fmla="*/ 0 h 17"/>
                    <a:gd name="T16" fmla="*/ 19 w 45"/>
                    <a:gd name="T17" fmla="*/ 0 h 17"/>
                    <a:gd name="T18" fmla="*/ 14 w 45"/>
                    <a:gd name="T19" fmla="*/ 0 h 17"/>
                    <a:gd name="T20" fmla="*/ 7 w 45"/>
                    <a:gd name="T21" fmla="*/ 0 h 17"/>
                    <a:gd name="T22" fmla="*/ 3 w 45"/>
                    <a:gd name="T23" fmla="*/ 0 h 17"/>
                    <a:gd name="T24" fmla="*/ 1 w 45"/>
                    <a:gd name="T25" fmla="*/ 1 h 17"/>
                    <a:gd name="T26" fmla="*/ 0 w 45"/>
                    <a:gd name="T27" fmla="*/ 3 h 17"/>
                    <a:gd name="T28" fmla="*/ 1 w 45"/>
                    <a:gd name="T29" fmla="*/ 5 h 17"/>
                    <a:gd name="T30" fmla="*/ 3 w 45"/>
                    <a:gd name="T31" fmla="*/ 5 h 17"/>
                    <a:gd name="T32" fmla="*/ 5 w 45"/>
                    <a:gd name="T33" fmla="*/ 7 h 17"/>
                    <a:gd name="T34" fmla="*/ 7 w 45"/>
                    <a:gd name="T35" fmla="*/ 7 h 17"/>
                    <a:gd name="T36" fmla="*/ 8 w 45"/>
                    <a:gd name="T37" fmla="*/ 8 h 17"/>
                    <a:gd name="T38" fmla="*/ 12 w 45"/>
                    <a:gd name="T39" fmla="*/ 12 h 17"/>
                    <a:gd name="T40" fmla="*/ 14 w 45"/>
                    <a:gd name="T41" fmla="*/ 14 h 17"/>
                    <a:gd name="T42" fmla="*/ 17 w 45"/>
                    <a:gd name="T43" fmla="*/ 14 h 17"/>
                    <a:gd name="T44" fmla="*/ 19 w 45"/>
                    <a:gd name="T45" fmla="*/ 14 h 17"/>
                    <a:gd name="T46" fmla="*/ 22 w 45"/>
                    <a:gd name="T47" fmla="*/ 14 h 17"/>
                    <a:gd name="T48" fmla="*/ 24 w 45"/>
                    <a:gd name="T49" fmla="*/ 17 h 17"/>
                    <a:gd name="T50" fmla="*/ 24 w 45"/>
                    <a:gd name="T51" fmla="*/ 14 h 17"/>
                    <a:gd name="T52" fmla="*/ 26 w 45"/>
                    <a:gd name="T53" fmla="*/ 14 h 17"/>
                    <a:gd name="T54" fmla="*/ 28 w 45"/>
                    <a:gd name="T55" fmla="*/ 14 h 17"/>
                    <a:gd name="T56" fmla="*/ 28 w 45"/>
                    <a:gd name="T57" fmla="*/ 14 h 17"/>
                    <a:gd name="T58" fmla="*/ 31 w 45"/>
                    <a:gd name="T59" fmla="*/ 12 h 17"/>
                    <a:gd name="T60" fmla="*/ 33 w 45"/>
                    <a:gd name="T61" fmla="*/ 10 h 17"/>
                    <a:gd name="T62" fmla="*/ 35 w 45"/>
                    <a:gd name="T63" fmla="*/ 10 h 17"/>
                    <a:gd name="T64" fmla="*/ 33 w 45"/>
                    <a:gd name="T65" fmla="*/ 12 h 17"/>
                    <a:gd name="T66" fmla="*/ 40 w 45"/>
                    <a:gd name="T6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17">
                      <a:moveTo>
                        <a:pt x="40" y="12"/>
                      </a:moveTo>
                      <a:lnTo>
                        <a:pt x="42" y="14"/>
                      </a:lnTo>
                      <a:lnTo>
                        <a:pt x="45" y="12"/>
                      </a:lnTo>
                      <a:lnTo>
                        <a:pt x="43" y="8"/>
                      </a:lnTo>
                      <a:lnTo>
                        <a:pt x="38" y="5"/>
                      </a:lnTo>
                      <a:lnTo>
                        <a:pt x="33" y="3"/>
                      </a:lnTo>
                      <a:lnTo>
                        <a:pt x="29" y="1"/>
                      </a:lnTo>
                      <a:lnTo>
                        <a:pt x="24" y="0"/>
                      </a:lnTo>
                      <a:lnTo>
                        <a:pt x="19" y="0"/>
                      </a:lnTo>
                      <a:lnTo>
                        <a:pt x="14" y="0"/>
                      </a:lnTo>
                      <a:lnTo>
                        <a:pt x="7" y="0"/>
                      </a:lnTo>
                      <a:lnTo>
                        <a:pt x="3" y="0"/>
                      </a:lnTo>
                      <a:lnTo>
                        <a:pt x="1" y="1"/>
                      </a:lnTo>
                      <a:lnTo>
                        <a:pt x="0" y="3"/>
                      </a:lnTo>
                      <a:lnTo>
                        <a:pt x="1" y="5"/>
                      </a:lnTo>
                      <a:lnTo>
                        <a:pt x="3" y="5"/>
                      </a:lnTo>
                      <a:lnTo>
                        <a:pt x="5" y="7"/>
                      </a:lnTo>
                      <a:lnTo>
                        <a:pt x="7" y="7"/>
                      </a:lnTo>
                      <a:lnTo>
                        <a:pt x="8" y="8"/>
                      </a:lnTo>
                      <a:lnTo>
                        <a:pt x="12" y="12"/>
                      </a:lnTo>
                      <a:lnTo>
                        <a:pt x="14" y="14"/>
                      </a:lnTo>
                      <a:lnTo>
                        <a:pt x="17" y="14"/>
                      </a:lnTo>
                      <a:lnTo>
                        <a:pt x="19" y="14"/>
                      </a:lnTo>
                      <a:lnTo>
                        <a:pt x="22" y="14"/>
                      </a:lnTo>
                      <a:lnTo>
                        <a:pt x="24" y="17"/>
                      </a:lnTo>
                      <a:lnTo>
                        <a:pt x="24" y="14"/>
                      </a:lnTo>
                      <a:lnTo>
                        <a:pt x="26" y="14"/>
                      </a:lnTo>
                      <a:lnTo>
                        <a:pt x="28" y="14"/>
                      </a:lnTo>
                      <a:lnTo>
                        <a:pt x="28" y="14"/>
                      </a:lnTo>
                      <a:lnTo>
                        <a:pt x="31" y="12"/>
                      </a:lnTo>
                      <a:lnTo>
                        <a:pt x="33" y="10"/>
                      </a:lnTo>
                      <a:lnTo>
                        <a:pt x="35" y="10"/>
                      </a:lnTo>
                      <a:lnTo>
                        <a:pt x="33" y="12"/>
                      </a:lnTo>
                      <a:lnTo>
                        <a:pt x="40" y="1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30" name="Freeform 313">
                  <a:extLst>
                    <a:ext uri="{FF2B5EF4-FFF2-40B4-BE49-F238E27FC236}">
                      <a16:creationId xmlns:a16="http://schemas.microsoft.com/office/drawing/2014/main" id="{6C735648-CD84-61F2-9F2E-1DBC62B70E55}"/>
                    </a:ext>
                  </a:extLst>
                </p:cNvPr>
                <p:cNvSpPr>
                  <a:spLocks noEditPoints="1"/>
                </p:cNvSpPr>
                <p:nvPr/>
              </p:nvSpPr>
              <p:spPr bwMode="auto">
                <a:xfrm>
                  <a:off x="-1814" y="-3033"/>
                  <a:ext cx="56" cy="14"/>
                </a:xfrm>
                <a:custGeom>
                  <a:avLst/>
                  <a:gdLst>
                    <a:gd name="T0" fmla="*/ 56 w 56"/>
                    <a:gd name="T1" fmla="*/ 9 h 14"/>
                    <a:gd name="T2" fmla="*/ 54 w 56"/>
                    <a:gd name="T3" fmla="*/ 9 h 14"/>
                    <a:gd name="T4" fmla="*/ 53 w 56"/>
                    <a:gd name="T5" fmla="*/ 10 h 14"/>
                    <a:gd name="T6" fmla="*/ 51 w 56"/>
                    <a:gd name="T7" fmla="*/ 10 h 14"/>
                    <a:gd name="T8" fmla="*/ 51 w 56"/>
                    <a:gd name="T9" fmla="*/ 9 h 14"/>
                    <a:gd name="T10" fmla="*/ 51 w 56"/>
                    <a:gd name="T11" fmla="*/ 9 h 14"/>
                    <a:gd name="T12" fmla="*/ 53 w 56"/>
                    <a:gd name="T13" fmla="*/ 9 h 14"/>
                    <a:gd name="T14" fmla="*/ 54 w 56"/>
                    <a:gd name="T15" fmla="*/ 9 h 14"/>
                    <a:gd name="T16" fmla="*/ 56 w 56"/>
                    <a:gd name="T17" fmla="*/ 9 h 14"/>
                    <a:gd name="T18" fmla="*/ 18 w 56"/>
                    <a:gd name="T19" fmla="*/ 0 h 14"/>
                    <a:gd name="T20" fmla="*/ 16 w 56"/>
                    <a:gd name="T21" fmla="*/ 2 h 14"/>
                    <a:gd name="T22" fmla="*/ 14 w 56"/>
                    <a:gd name="T23" fmla="*/ 2 h 14"/>
                    <a:gd name="T24" fmla="*/ 14 w 56"/>
                    <a:gd name="T25" fmla="*/ 3 h 14"/>
                    <a:gd name="T26" fmla="*/ 14 w 56"/>
                    <a:gd name="T27" fmla="*/ 5 h 14"/>
                    <a:gd name="T28" fmla="*/ 16 w 56"/>
                    <a:gd name="T29" fmla="*/ 10 h 14"/>
                    <a:gd name="T30" fmla="*/ 16 w 56"/>
                    <a:gd name="T31" fmla="*/ 10 h 14"/>
                    <a:gd name="T32" fmla="*/ 18 w 56"/>
                    <a:gd name="T33" fmla="*/ 12 h 14"/>
                    <a:gd name="T34" fmla="*/ 23 w 56"/>
                    <a:gd name="T35" fmla="*/ 14 h 14"/>
                    <a:gd name="T36" fmla="*/ 32 w 56"/>
                    <a:gd name="T37" fmla="*/ 12 h 14"/>
                    <a:gd name="T38" fmla="*/ 35 w 56"/>
                    <a:gd name="T39" fmla="*/ 14 h 14"/>
                    <a:gd name="T40" fmla="*/ 37 w 56"/>
                    <a:gd name="T41" fmla="*/ 14 h 14"/>
                    <a:gd name="T42" fmla="*/ 40 w 56"/>
                    <a:gd name="T43" fmla="*/ 12 h 14"/>
                    <a:gd name="T44" fmla="*/ 42 w 56"/>
                    <a:gd name="T45" fmla="*/ 12 h 14"/>
                    <a:gd name="T46" fmla="*/ 47 w 56"/>
                    <a:gd name="T47" fmla="*/ 9 h 14"/>
                    <a:gd name="T48" fmla="*/ 49 w 56"/>
                    <a:gd name="T49" fmla="*/ 7 h 14"/>
                    <a:gd name="T50" fmla="*/ 49 w 56"/>
                    <a:gd name="T51" fmla="*/ 3 h 14"/>
                    <a:gd name="T52" fmla="*/ 46 w 56"/>
                    <a:gd name="T53" fmla="*/ 2 h 14"/>
                    <a:gd name="T54" fmla="*/ 42 w 56"/>
                    <a:gd name="T55" fmla="*/ 2 h 14"/>
                    <a:gd name="T56" fmla="*/ 39 w 56"/>
                    <a:gd name="T57" fmla="*/ 2 h 14"/>
                    <a:gd name="T58" fmla="*/ 39 w 56"/>
                    <a:gd name="T59" fmla="*/ 2 h 14"/>
                    <a:gd name="T60" fmla="*/ 35 w 56"/>
                    <a:gd name="T61" fmla="*/ 2 h 14"/>
                    <a:gd name="T62" fmla="*/ 30 w 56"/>
                    <a:gd name="T63" fmla="*/ 0 h 14"/>
                    <a:gd name="T64" fmla="*/ 23 w 56"/>
                    <a:gd name="T65" fmla="*/ 0 h 14"/>
                    <a:gd name="T66" fmla="*/ 19 w 56"/>
                    <a:gd name="T67" fmla="*/ 0 h 14"/>
                    <a:gd name="T68" fmla="*/ 18 w 56"/>
                    <a:gd name="T69" fmla="*/ 0 h 14"/>
                    <a:gd name="T70" fmla="*/ 0 w 56"/>
                    <a:gd name="T71" fmla="*/ 9 h 14"/>
                    <a:gd name="T72" fmla="*/ 2 w 56"/>
                    <a:gd name="T73" fmla="*/ 10 h 14"/>
                    <a:gd name="T74" fmla="*/ 0 w 56"/>
                    <a:gd name="T75" fmla="*/ 10 h 14"/>
                    <a:gd name="T76" fmla="*/ 0 w 56"/>
                    <a:gd name="T77" fmla="*/ 10 h 14"/>
                    <a:gd name="T78" fmla="*/ 0 w 56"/>
                    <a:gd name="T7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14">
                      <a:moveTo>
                        <a:pt x="56" y="9"/>
                      </a:moveTo>
                      <a:lnTo>
                        <a:pt x="54" y="9"/>
                      </a:lnTo>
                      <a:lnTo>
                        <a:pt x="53" y="10"/>
                      </a:lnTo>
                      <a:lnTo>
                        <a:pt x="51" y="10"/>
                      </a:lnTo>
                      <a:lnTo>
                        <a:pt x="51" y="9"/>
                      </a:lnTo>
                      <a:lnTo>
                        <a:pt x="51" y="9"/>
                      </a:lnTo>
                      <a:lnTo>
                        <a:pt x="53" y="9"/>
                      </a:lnTo>
                      <a:lnTo>
                        <a:pt x="54" y="9"/>
                      </a:lnTo>
                      <a:lnTo>
                        <a:pt x="56" y="9"/>
                      </a:lnTo>
                      <a:close/>
                      <a:moveTo>
                        <a:pt x="18" y="0"/>
                      </a:moveTo>
                      <a:lnTo>
                        <a:pt x="16" y="2"/>
                      </a:lnTo>
                      <a:lnTo>
                        <a:pt x="14" y="2"/>
                      </a:lnTo>
                      <a:lnTo>
                        <a:pt x="14" y="3"/>
                      </a:lnTo>
                      <a:lnTo>
                        <a:pt x="14" y="5"/>
                      </a:lnTo>
                      <a:lnTo>
                        <a:pt x="16" y="10"/>
                      </a:lnTo>
                      <a:lnTo>
                        <a:pt x="16" y="10"/>
                      </a:lnTo>
                      <a:lnTo>
                        <a:pt x="18" y="12"/>
                      </a:lnTo>
                      <a:lnTo>
                        <a:pt x="23" y="14"/>
                      </a:lnTo>
                      <a:lnTo>
                        <a:pt x="32" y="12"/>
                      </a:lnTo>
                      <a:lnTo>
                        <a:pt x="35" y="14"/>
                      </a:lnTo>
                      <a:lnTo>
                        <a:pt x="37" y="14"/>
                      </a:lnTo>
                      <a:lnTo>
                        <a:pt x="40" y="12"/>
                      </a:lnTo>
                      <a:lnTo>
                        <a:pt x="42" y="12"/>
                      </a:lnTo>
                      <a:lnTo>
                        <a:pt x="47" y="9"/>
                      </a:lnTo>
                      <a:lnTo>
                        <a:pt x="49" y="7"/>
                      </a:lnTo>
                      <a:lnTo>
                        <a:pt x="49" y="3"/>
                      </a:lnTo>
                      <a:lnTo>
                        <a:pt x="46" y="2"/>
                      </a:lnTo>
                      <a:lnTo>
                        <a:pt x="42" y="2"/>
                      </a:lnTo>
                      <a:lnTo>
                        <a:pt x="39" y="2"/>
                      </a:lnTo>
                      <a:lnTo>
                        <a:pt x="39" y="2"/>
                      </a:lnTo>
                      <a:lnTo>
                        <a:pt x="35" y="2"/>
                      </a:lnTo>
                      <a:lnTo>
                        <a:pt x="30" y="0"/>
                      </a:lnTo>
                      <a:lnTo>
                        <a:pt x="23" y="0"/>
                      </a:lnTo>
                      <a:lnTo>
                        <a:pt x="19" y="0"/>
                      </a:lnTo>
                      <a:lnTo>
                        <a:pt x="18" y="0"/>
                      </a:lnTo>
                      <a:close/>
                      <a:moveTo>
                        <a:pt x="0" y="9"/>
                      </a:moveTo>
                      <a:lnTo>
                        <a:pt x="2" y="10"/>
                      </a:lnTo>
                      <a:lnTo>
                        <a:pt x="0" y="10"/>
                      </a:lnTo>
                      <a:lnTo>
                        <a:pt x="0" y="10"/>
                      </a:lnTo>
                      <a:lnTo>
                        <a:pt x="0" y="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31" name="Freeform 314">
                  <a:extLst>
                    <a:ext uri="{FF2B5EF4-FFF2-40B4-BE49-F238E27FC236}">
                      <a16:creationId xmlns:a16="http://schemas.microsoft.com/office/drawing/2014/main" id="{9A70C6DA-DD18-708D-DC90-418AB3D140B2}"/>
                    </a:ext>
                  </a:extLst>
                </p:cNvPr>
                <p:cNvSpPr>
                  <a:spLocks noEditPoints="1"/>
                </p:cNvSpPr>
                <p:nvPr/>
              </p:nvSpPr>
              <p:spPr bwMode="auto">
                <a:xfrm>
                  <a:off x="-2104" y="-3061"/>
                  <a:ext cx="37" cy="10"/>
                </a:xfrm>
                <a:custGeom>
                  <a:avLst/>
                  <a:gdLst>
                    <a:gd name="T0" fmla="*/ 4 w 37"/>
                    <a:gd name="T1" fmla="*/ 9 h 10"/>
                    <a:gd name="T2" fmla="*/ 6 w 37"/>
                    <a:gd name="T3" fmla="*/ 9 h 10"/>
                    <a:gd name="T4" fmla="*/ 7 w 37"/>
                    <a:gd name="T5" fmla="*/ 10 h 10"/>
                    <a:gd name="T6" fmla="*/ 4 w 37"/>
                    <a:gd name="T7" fmla="*/ 10 h 10"/>
                    <a:gd name="T8" fmla="*/ 2 w 37"/>
                    <a:gd name="T9" fmla="*/ 10 h 10"/>
                    <a:gd name="T10" fmla="*/ 0 w 37"/>
                    <a:gd name="T11" fmla="*/ 9 h 10"/>
                    <a:gd name="T12" fmla="*/ 2 w 37"/>
                    <a:gd name="T13" fmla="*/ 9 h 10"/>
                    <a:gd name="T14" fmla="*/ 4 w 37"/>
                    <a:gd name="T15" fmla="*/ 9 h 10"/>
                    <a:gd name="T16" fmla="*/ 35 w 37"/>
                    <a:gd name="T17" fmla="*/ 2 h 10"/>
                    <a:gd name="T18" fmla="*/ 33 w 37"/>
                    <a:gd name="T19" fmla="*/ 2 h 10"/>
                    <a:gd name="T20" fmla="*/ 35 w 37"/>
                    <a:gd name="T21" fmla="*/ 2 h 10"/>
                    <a:gd name="T22" fmla="*/ 35 w 37"/>
                    <a:gd name="T23" fmla="*/ 2 h 10"/>
                    <a:gd name="T24" fmla="*/ 37 w 37"/>
                    <a:gd name="T25" fmla="*/ 0 h 10"/>
                    <a:gd name="T26" fmla="*/ 37 w 37"/>
                    <a:gd name="T27" fmla="*/ 0 h 10"/>
                    <a:gd name="T28" fmla="*/ 35 w 37"/>
                    <a:gd name="T29" fmla="*/ 0 h 10"/>
                    <a:gd name="T30" fmla="*/ 35 w 37"/>
                    <a:gd name="T31" fmla="*/ 0 h 10"/>
                    <a:gd name="T32" fmla="*/ 35 w 37"/>
                    <a:gd name="T33" fmla="*/ 2 h 10"/>
                    <a:gd name="T34" fmla="*/ 28 w 37"/>
                    <a:gd name="T35" fmla="*/ 2 h 10"/>
                    <a:gd name="T36" fmla="*/ 32 w 37"/>
                    <a:gd name="T37" fmla="*/ 2 h 10"/>
                    <a:gd name="T38" fmla="*/ 30 w 37"/>
                    <a:gd name="T39" fmla="*/ 2 h 10"/>
                    <a:gd name="T40" fmla="*/ 30 w 37"/>
                    <a:gd name="T41" fmla="*/ 2 h 10"/>
                    <a:gd name="T42" fmla="*/ 28 w 37"/>
                    <a:gd name="T4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0">
                      <a:moveTo>
                        <a:pt x="4" y="9"/>
                      </a:moveTo>
                      <a:lnTo>
                        <a:pt x="6" y="9"/>
                      </a:lnTo>
                      <a:lnTo>
                        <a:pt x="7" y="10"/>
                      </a:lnTo>
                      <a:lnTo>
                        <a:pt x="4" y="10"/>
                      </a:lnTo>
                      <a:lnTo>
                        <a:pt x="2" y="10"/>
                      </a:lnTo>
                      <a:lnTo>
                        <a:pt x="0" y="9"/>
                      </a:lnTo>
                      <a:lnTo>
                        <a:pt x="2" y="9"/>
                      </a:lnTo>
                      <a:lnTo>
                        <a:pt x="4" y="9"/>
                      </a:lnTo>
                      <a:close/>
                      <a:moveTo>
                        <a:pt x="35" y="2"/>
                      </a:moveTo>
                      <a:lnTo>
                        <a:pt x="33" y="2"/>
                      </a:lnTo>
                      <a:lnTo>
                        <a:pt x="35" y="2"/>
                      </a:lnTo>
                      <a:lnTo>
                        <a:pt x="35" y="2"/>
                      </a:lnTo>
                      <a:lnTo>
                        <a:pt x="37" y="0"/>
                      </a:lnTo>
                      <a:lnTo>
                        <a:pt x="37" y="0"/>
                      </a:lnTo>
                      <a:lnTo>
                        <a:pt x="35" y="0"/>
                      </a:lnTo>
                      <a:lnTo>
                        <a:pt x="35" y="0"/>
                      </a:lnTo>
                      <a:lnTo>
                        <a:pt x="35" y="2"/>
                      </a:lnTo>
                      <a:close/>
                      <a:moveTo>
                        <a:pt x="28" y="2"/>
                      </a:moveTo>
                      <a:lnTo>
                        <a:pt x="32" y="2"/>
                      </a:lnTo>
                      <a:lnTo>
                        <a:pt x="30" y="2"/>
                      </a:lnTo>
                      <a:lnTo>
                        <a:pt x="30" y="2"/>
                      </a:lnTo>
                      <a:lnTo>
                        <a:pt x="28"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32" name="Freeform 315">
                  <a:extLst>
                    <a:ext uri="{FF2B5EF4-FFF2-40B4-BE49-F238E27FC236}">
                      <a16:creationId xmlns:a16="http://schemas.microsoft.com/office/drawing/2014/main" id="{8450E0EB-75DF-0A5A-11A8-2561045E27DE}"/>
                    </a:ext>
                  </a:extLst>
                </p:cNvPr>
                <p:cNvSpPr>
                  <a:spLocks noEditPoints="1"/>
                </p:cNvSpPr>
                <p:nvPr/>
              </p:nvSpPr>
              <p:spPr bwMode="auto">
                <a:xfrm>
                  <a:off x="-2137" y="-2836"/>
                  <a:ext cx="124" cy="51"/>
                </a:xfrm>
                <a:custGeom>
                  <a:avLst/>
                  <a:gdLst>
                    <a:gd name="T0" fmla="*/ 84 w 124"/>
                    <a:gd name="T1" fmla="*/ 30 h 51"/>
                    <a:gd name="T2" fmla="*/ 84 w 124"/>
                    <a:gd name="T3" fmla="*/ 28 h 51"/>
                    <a:gd name="T4" fmla="*/ 84 w 124"/>
                    <a:gd name="T5" fmla="*/ 30 h 51"/>
                    <a:gd name="T6" fmla="*/ 87 w 124"/>
                    <a:gd name="T7" fmla="*/ 25 h 51"/>
                    <a:gd name="T8" fmla="*/ 87 w 124"/>
                    <a:gd name="T9" fmla="*/ 30 h 51"/>
                    <a:gd name="T10" fmla="*/ 112 w 124"/>
                    <a:gd name="T11" fmla="*/ 41 h 51"/>
                    <a:gd name="T12" fmla="*/ 117 w 124"/>
                    <a:gd name="T13" fmla="*/ 44 h 51"/>
                    <a:gd name="T14" fmla="*/ 124 w 124"/>
                    <a:gd name="T15" fmla="*/ 35 h 51"/>
                    <a:gd name="T16" fmla="*/ 122 w 124"/>
                    <a:gd name="T17" fmla="*/ 30 h 51"/>
                    <a:gd name="T18" fmla="*/ 121 w 124"/>
                    <a:gd name="T19" fmla="*/ 21 h 51"/>
                    <a:gd name="T20" fmla="*/ 96 w 124"/>
                    <a:gd name="T21" fmla="*/ 4 h 51"/>
                    <a:gd name="T22" fmla="*/ 87 w 124"/>
                    <a:gd name="T23" fmla="*/ 4 h 51"/>
                    <a:gd name="T24" fmla="*/ 84 w 124"/>
                    <a:gd name="T25" fmla="*/ 2 h 51"/>
                    <a:gd name="T26" fmla="*/ 73 w 124"/>
                    <a:gd name="T27" fmla="*/ 2 h 51"/>
                    <a:gd name="T28" fmla="*/ 63 w 124"/>
                    <a:gd name="T29" fmla="*/ 7 h 51"/>
                    <a:gd name="T30" fmla="*/ 40 w 124"/>
                    <a:gd name="T31" fmla="*/ 18 h 51"/>
                    <a:gd name="T32" fmla="*/ 32 w 124"/>
                    <a:gd name="T33" fmla="*/ 16 h 51"/>
                    <a:gd name="T34" fmla="*/ 26 w 124"/>
                    <a:gd name="T35" fmla="*/ 14 h 51"/>
                    <a:gd name="T36" fmla="*/ 18 w 124"/>
                    <a:gd name="T37" fmla="*/ 13 h 51"/>
                    <a:gd name="T38" fmla="*/ 14 w 124"/>
                    <a:gd name="T39" fmla="*/ 9 h 51"/>
                    <a:gd name="T40" fmla="*/ 12 w 124"/>
                    <a:gd name="T41" fmla="*/ 4 h 51"/>
                    <a:gd name="T42" fmla="*/ 9 w 124"/>
                    <a:gd name="T43" fmla="*/ 2 h 51"/>
                    <a:gd name="T44" fmla="*/ 2 w 124"/>
                    <a:gd name="T45" fmla="*/ 4 h 51"/>
                    <a:gd name="T46" fmla="*/ 2 w 124"/>
                    <a:gd name="T47" fmla="*/ 11 h 51"/>
                    <a:gd name="T48" fmla="*/ 4 w 124"/>
                    <a:gd name="T49" fmla="*/ 13 h 51"/>
                    <a:gd name="T50" fmla="*/ 5 w 124"/>
                    <a:gd name="T51" fmla="*/ 16 h 51"/>
                    <a:gd name="T52" fmla="*/ 4 w 124"/>
                    <a:gd name="T53" fmla="*/ 18 h 51"/>
                    <a:gd name="T54" fmla="*/ 4 w 124"/>
                    <a:gd name="T55" fmla="*/ 25 h 51"/>
                    <a:gd name="T56" fmla="*/ 0 w 124"/>
                    <a:gd name="T57" fmla="*/ 28 h 51"/>
                    <a:gd name="T58" fmla="*/ 4 w 124"/>
                    <a:gd name="T59" fmla="*/ 34 h 51"/>
                    <a:gd name="T60" fmla="*/ 12 w 124"/>
                    <a:gd name="T61" fmla="*/ 28 h 51"/>
                    <a:gd name="T62" fmla="*/ 19 w 124"/>
                    <a:gd name="T63" fmla="*/ 30 h 51"/>
                    <a:gd name="T64" fmla="*/ 26 w 124"/>
                    <a:gd name="T65" fmla="*/ 34 h 51"/>
                    <a:gd name="T66" fmla="*/ 32 w 124"/>
                    <a:gd name="T67" fmla="*/ 39 h 51"/>
                    <a:gd name="T68" fmla="*/ 37 w 124"/>
                    <a:gd name="T69" fmla="*/ 42 h 51"/>
                    <a:gd name="T70" fmla="*/ 40 w 124"/>
                    <a:gd name="T71" fmla="*/ 41 h 51"/>
                    <a:gd name="T72" fmla="*/ 42 w 124"/>
                    <a:gd name="T73" fmla="*/ 41 h 51"/>
                    <a:gd name="T74" fmla="*/ 47 w 124"/>
                    <a:gd name="T75" fmla="*/ 51 h 51"/>
                    <a:gd name="T76" fmla="*/ 54 w 124"/>
                    <a:gd name="T77" fmla="*/ 51 h 51"/>
                    <a:gd name="T78" fmla="*/ 58 w 124"/>
                    <a:gd name="T79" fmla="*/ 48 h 51"/>
                    <a:gd name="T80" fmla="*/ 63 w 124"/>
                    <a:gd name="T81" fmla="*/ 46 h 51"/>
                    <a:gd name="T82" fmla="*/ 56 w 124"/>
                    <a:gd name="T83" fmla="*/ 34 h 51"/>
                    <a:gd name="T84" fmla="*/ 58 w 124"/>
                    <a:gd name="T85" fmla="*/ 28 h 51"/>
                    <a:gd name="T86" fmla="*/ 70 w 124"/>
                    <a:gd name="T87" fmla="*/ 21 h 51"/>
                    <a:gd name="T88" fmla="*/ 75 w 124"/>
                    <a:gd name="T89" fmla="*/ 14 h 51"/>
                    <a:gd name="T90" fmla="*/ 87 w 124"/>
                    <a:gd name="T91" fmla="*/ 14 h 51"/>
                    <a:gd name="T92" fmla="*/ 94 w 124"/>
                    <a:gd name="T93" fmla="*/ 21 h 51"/>
                    <a:gd name="T94" fmla="*/ 98 w 124"/>
                    <a:gd name="T95" fmla="*/ 27 h 51"/>
                    <a:gd name="T96" fmla="*/ 98 w 124"/>
                    <a:gd name="T97" fmla="*/ 25 h 51"/>
                    <a:gd name="T98" fmla="*/ 105 w 124"/>
                    <a:gd name="T99" fmla="*/ 25 h 51"/>
                    <a:gd name="T100" fmla="*/ 112 w 124"/>
                    <a:gd name="T101" fmla="*/ 32 h 51"/>
                    <a:gd name="T102" fmla="*/ 105 w 124"/>
                    <a:gd name="T103" fmla="*/ 28 h 51"/>
                    <a:gd name="T104" fmla="*/ 101 w 124"/>
                    <a:gd name="T105" fmla="*/ 32 h 51"/>
                    <a:gd name="T106" fmla="*/ 100 w 124"/>
                    <a:gd name="T107" fmla="*/ 39 h 51"/>
                    <a:gd name="T108" fmla="*/ 110 w 124"/>
                    <a:gd name="T109" fmla="*/ 51 h 51"/>
                    <a:gd name="T110" fmla="*/ 30 w 124"/>
                    <a:gd name="T111" fmla="*/ 48 h 51"/>
                    <a:gd name="T112" fmla="*/ 26 w 124"/>
                    <a:gd name="T113" fmla="*/ 49 h 51"/>
                    <a:gd name="T114" fmla="*/ 26 w 124"/>
                    <a:gd name="T115" fmla="*/ 44 h 51"/>
                    <a:gd name="T116" fmla="*/ 16 w 124"/>
                    <a:gd name="T117" fmla="*/ 4 h 51"/>
                    <a:gd name="T118" fmla="*/ 16 w 124"/>
                    <a:gd name="T119" fmla="*/ 6 h 51"/>
                    <a:gd name="T120" fmla="*/ 16 w 124"/>
                    <a:gd name="T121"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4" h="51">
                      <a:moveTo>
                        <a:pt x="84" y="30"/>
                      </a:moveTo>
                      <a:lnTo>
                        <a:pt x="84" y="30"/>
                      </a:lnTo>
                      <a:lnTo>
                        <a:pt x="84" y="30"/>
                      </a:lnTo>
                      <a:lnTo>
                        <a:pt x="84" y="28"/>
                      </a:lnTo>
                      <a:lnTo>
                        <a:pt x="84" y="28"/>
                      </a:lnTo>
                      <a:lnTo>
                        <a:pt x="84" y="28"/>
                      </a:lnTo>
                      <a:lnTo>
                        <a:pt x="84" y="30"/>
                      </a:lnTo>
                      <a:lnTo>
                        <a:pt x="84" y="30"/>
                      </a:lnTo>
                      <a:lnTo>
                        <a:pt x="84" y="30"/>
                      </a:lnTo>
                      <a:close/>
                      <a:moveTo>
                        <a:pt x="89" y="28"/>
                      </a:moveTo>
                      <a:lnTo>
                        <a:pt x="89" y="27"/>
                      </a:lnTo>
                      <a:lnTo>
                        <a:pt x="87" y="25"/>
                      </a:lnTo>
                      <a:lnTo>
                        <a:pt x="87" y="25"/>
                      </a:lnTo>
                      <a:lnTo>
                        <a:pt x="87" y="28"/>
                      </a:lnTo>
                      <a:lnTo>
                        <a:pt x="87" y="30"/>
                      </a:lnTo>
                      <a:lnTo>
                        <a:pt x="89" y="28"/>
                      </a:lnTo>
                      <a:lnTo>
                        <a:pt x="89" y="28"/>
                      </a:lnTo>
                      <a:close/>
                      <a:moveTo>
                        <a:pt x="112" y="41"/>
                      </a:moveTo>
                      <a:lnTo>
                        <a:pt x="115" y="42"/>
                      </a:lnTo>
                      <a:lnTo>
                        <a:pt x="115" y="44"/>
                      </a:lnTo>
                      <a:lnTo>
                        <a:pt x="117" y="44"/>
                      </a:lnTo>
                      <a:lnTo>
                        <a:pt x="121" y="42"/>
                      </a:lnTo>
                      <a:lnTo>
                        <a:pt x="124" y="35"/>
                      </a:lnTo>
                      <a:lnTo>
                        <a:pt x="124" y="35"/>
                      </a:lnTo>
                      <a:lnTo>
                        <a:pt x="124" y="34"/>
                      </a:lnTo>
                      <a:lnTo>
                        <a:pt x="124" y="32"/>
                      </a:lnTo>
                      <a:lnTo>
                        <a:pt x="122" y="30"/>
                      </a:lnTo>
                      <a:lnTo>
                        <a:pt x="121" y="27"/>
                      </a:lnTo>
                      <a:lnTo>
                        <a:pt x="119" y="23"/>
                      </a:lnTo>
                      <a:lnTo>
                        <a:pt x="121" y="21"/>
                      </a:lnTo>
                      <a:lnTo>
                        <a:pt x="108" y="11"/>
                      </a:lnTo>
                      <a:lnTo>
                        <a:pt x="103" y="7"/>
                      </a:lnTo>
                      <a:lnTo>
                        <a:pt x="96" y="4"/>
                      </a:lnTo>
                      <a:lnTo>
                        <a:pt x="94" y="4"/>
                      </a:lnTo>
                      <a:lnTo>
                        <a:pt x="89" y="4"/>
                      </a:lnTo>
                      <a:lnTo>
                        <a:pt x="87" y="4"/>
                      </a:lnTo>
                      <a:lnTo>
                        <a:pt x="87" y="4"/>
                      </a:lnTo>
                      <a:lnTo>
                        <a:pt x="84" y="2"/>
                      </a:lnTo>
                      <a:lnTo>
                        <a:pt x="84" y="2"/>
                      </a:lnTo>
                      <a:lnTo>
                        <a:pt x="80" y="0"/>
                      </a:lnTo>
                      <a:lnTo>
                        <a:pt x="77" y="0"/>
                      </a:lnTo>
                      <a:lnTo>
                        <a:pt x="73" y="2"/>
                      </a:lnTo>
                      <a:lnTo>
                        <a:pt x="70" y="2"/>
                      </a:lnTo>
                      <a:lnTo>
                        <a:pt x="68" y="4"/>
                      </a:lnTo>
                      <a:lnTo>
                        <a:pt x="63" y="7"/>
                      </a:lnTo>
                      <a:lnTo>
                        <a:pt x="61" y="9"/>
                      </a:lnTo>
                      <a:lnTo>
                        <a:pt x="44" y="16"/>
                      </a:lnTo>
                      <a:lnTo>
                        <a:pt x="40" y="18"/>
                      </a:lnTo>
                      <a:lnTo>
                        <a:pt x="37" y="18"/>
                      </a:lnTo>
                      <a:lnTo>
                        <a:pt x="33" y="18"/>
                      </a:lnTo>
                      <a:lnTo>
                        <a:pt x="32" y="16"/>
                      </a:lnTo>
                      <a:lnTo>
                        <a:pt x="26" y="13"/>
                      </a:lnTo>
                      <a:lnTo>
                        <a:pt x="25" y="11"/>
                      </a:lnTo>
                      <a:lnTo>
                        <a:pt x="26" y="14"/>
                      </a:lnTo>
                      <a:lnTo>
                        <a:pt x="23" y="14"/>
                      </a:lnTo>
                      <a:lnTo>
                        <a:pt x="19" y="14"/>
                      </a:lnTo>
                      <a:lnTo>
                        <a:pt x="18" y="13"/>
                      </a:lnTo>
                      <a:lnTo>
                        <a:pt x="18" y="9"/>
                      </a:lnTo>
                      <a:lnTo>
                        <a:pt x="16" y="9"/>
                      </a:lnTo>
                      <a:lnTo>
                        <a:pt x="14" y="9"/>
                      </a:lnTo>
                      <a:lnTo>
                        <a:pt x="14" y="7"/>
                      </a:lnTo>
                      <a:lnTo>
                        <a:pt x="14" y="6"/>
                      </a:lnTo>
                      <a:lnTo>
                        <a:pt x="12" y="4"/>
                      </a:lnTo>
                      <a:lnTo>
                        <a:pt x="11" y="2"/>
                      </a:lnTo>
                      <a:lnTo>
                        <a:pt x="9" y="0"/>
                      </a:lnTo>
                      <a:lnTo>
                        <a:pt x="9" y="2"/>
                      </a:lnTo>
                      <a:lnTo>
                        <a:pt x="5" y="2"/>
                      </a:lnTo>
                      <a:lnTo>
                        <a:pt x="2" y="2"/>
                      </a:lnTo>
                      <a:lnTo>
                        <a:pt x="2" y="4"/>
                      </a:lnTo>
                      <a:lnTo>
                        <a:pt x="2" y="6"/>
                      </a:lnTo>
                      <a:lnTo>
                        <a:pt x="2" y="7"/>
                      </a:lnTo>
                      <a:lnTo>
                        <a:pt x="2" y="11"/>
                      </a:lnTo>
                      <a:lnTo>
                        <a:pt x="2" y="13"/>
                      </a:lnTo>
                      <a:lnTo>
                        <a:pt x="4" y="13"/>
                      </a:lnTo>
                      <a:lnTo>
                        <a:pt x="4" y="13"/>
                      </a:lnTo>
                      <a:lnTo>
                        <a:pt x="5" y="13"/>
                      </a:lnTo>
                      <a:lnTo>
                        <a:pt x="5" y="14"/>
                      </a:lnTo>
                      <a:lnTo>
                        <a:pt x="5" y="16"/>
                      </a:lnTo>
                      <a:lnTo>
                        <a:pt x="5" y="16"/>
                      </a:lnTo>
                      <a:lnTo>
                        <a:pt x="4" y="16"/>
                      </a:lnTo>
                      <a:lnTo>
                        <a:pt x="4" y="18"/>
                      </a:lnTo>
                      <a:lnTo>
                        <a:pt x="4" y="20"/>
                      </a:lnTo>
                      <a:lnTo>
                        <a:pt x="4" y="23"/>
                      </a:lnTo>
                      <a:lnTo>
                        <a:pt x="4" y="25"/>
                      </a:lnTo>
                      <a:lnTo>
                        <a:pt x="4" y="25"/>
                      </a:lnTo>
                      <a:lnTo>
                        <a:pt x="0" y="27"/>
                      </a:lnTo>
                      <a:lnTo>
                        <a:pt x="0" y="28"/>
                      </a:lnTo>
                      <a:lnTo>
                        <a:pt x="2" y="30"/>
                      </a:lnTo>
                      <a:lnTo>
                        <a:pt x="2" y="32"/>
                      </a:lnTo>
                      <a:lnTo>
                        <a:pt x="4" y="34"/>
                      </a:lnTo>
                      <a:lnTo>
                        <a:pt x="5" y="28"/>
                      </a:lnTo>
                      <a:lnTo>
                        <a:pt x="7" y="28"/>
                      </a:lnTo>
                      <a:lnTo>
                        <a:pt x="12" y="28"/>
                      </a:lnTo>
                      <a:lnTo>
                        <a:pt x="16" y="28"/>
                      </a:lnTo>
                      <a:lnTo>
                        <a:pt x="18" y="30"/>
                      </a:lnTo>
                      <a:lnTo>
                        <a:pt x="19" y="30"/>
                      </a:lnTo>
                      <a:lnTo>
                        <a:pt x="23" y="30"/>
                      </a:lnTo>
                      <a:lnTo>
                        <a:pt x="25" y="32"/>
                      </a:lnTo>
                      <a:lnTo>
                        <a:pt x="26" y="34"/>
                      </a:lnTo>
                      <a:lnTo>
                        <a:pt x="28" y="34"/>
                      </a:lnTo>
                      <a:lnTo>
                        <a:pt x="30" y="35"/>
                      </a:lnTo>
                      <a:lnTo>
                        <a:pt x="32" y="39"/>
                      </a:lnTo>
                      <a:lnTo>
                        <a:pt x="33" y="41"/>
                      </a:lnTo>
                      <a:lnTo>
                        <a:pt x="35" y="42"/>
                      </a:lnTo>
                      <a:lnTo>
                        <a:pt x="37" y="42"/>
                      </a:lnTo>
                      <a:lnTo>
                        <a:pt x="39" y="42"/>
                      </a:lnTo>
                      <a:lnTo>
                        <a:pt x="40" y="41"/>
                      </a:lnTo>
                      <a:lnTo>
                        <a:pt x="40" y="41"/>
                      </a:lnTo>
                      <a:lnTo>
                        <a:pt x="40" y="39"/>
                      </a:lnTo>
                      <a:lnTo>
                        <a:pt x="42" y="37"/>
                      </a:lnTo>
                      <a:lnTo>
                        <a:pt x="42" y="41"/>
                      </a:lnTo>
                      <a:lnTo>
                        <a:pt x="42" y="42"/>
                      </a:lnTo>
                      <a:lnTo>
                        <a:pt x="45" y="49"/>
                      </a:lnTo>
                      <a:lnTo>
                        <a:pt x="47" y="51"/>
                      </a:lnTo>
                      <a:lnTo>
                        <a:pt x="47" y="51"/>
                      </a:lnTo>
                      <a:lnTo>
                        <a:pt x="51" y="51"/>
                      </a:lnTo>
                      <a:lnTo>
                        <a:pt x="54" y="51"/>
                      </a:lnTo>
                      <a:lnTo>
                        <a:pt x="56" y="49"/>
                      </a:lnTo>
                      <a:lnTo>
                        <a:pt x="56" y="49"/>
                      </a:lnTo>
                      <a:lnTo>
                        <a:pt x="58" y="48"/>
                      </a:lnTo>
                      <a:lnTo>
                        <a:pt x="61" y="48"/>
                      </a:lnTo>
                      <a:lnTo>
                        <a:pt x="63" y="48"/>
                      </a:lnTo>
                      <a:lnTo>
                        <a:pt x="63" y="46"/>
                      </a:lnTo>
                      <a:lnTo>
                        <a:pt x="63" y="44"/>
                      </a:lnTo>
                      <a:lnTo>
                        <a:pt x="61" y="41"/>
                      </a:lnTo>
                      <a:lnTo>
                        <a:pt x="56" y="34"/>
                      </a:lnTo>
                      <a:lnTo>
                        <a:pt x="54" y="30"/>
                      </a:lnTo>
                      <a:lnTo>
                        <a:pt x="56" y="30"/>
                      </a:lnTo>
                      <a:lnTo>
                        <a:pt x="58" y="28"/>
                      </a:lnTo>
                      <a:lnTo>
                        <a:pt x="61" y="28"/>
                      </a:lnTo>
                      <a:lnTo>
                        <a:pt x="63" y="27"/>
                      </a:lnTo>
                      <a:lnTo>
                        <a:pt x="70" y="21"/>
                      </a:lnTo>
                      <a:lnTo>
                        <a:pt x="68" y="21"/>
                      </a:lnTo>
                      <a:lnTo>
                        <a:pt x="72" y="18"/>
                      </a:lnTo>
                      <a:lnTo>
                        <a:pt x="75" y="14"/>
                      </a:lnTo>
                      <a:lnTo>
                        <a:pt x="80" y="13"/>
                      </a:lnTo>
                      <a:lnTo>
                        <a:pt x="86" y="14"/>
                      </a:lnTo>
                      <a:lnTo>
                        <a:pt x="87" y="14"/>
                      </a:lnTo>
                      <a:lnTo>
                        <a:pt x="89" y="16"/>
                      </a:lnTo>
                      <a:lnTo>
                        <a:pt x="93" y="20"/>
                      </a:lnTo>
                      <a:lnTo>
                        <a:pt x="94" y="21"/>
                      </a:lnTo>
                      <a:lnTo>
                        <a:pt x="96" y="23"/>
                      </a:lnTo>
                      <a:lnTo>
                        <a:pt x="98" y="25"/>
                      </a:lnTo>
                      <a:lnTo>
                        <a:pt x="98" y="27"/>
                      </a:lnTo>
                      <a:lnTo>
                        <a:pt x="100" y="27"/>
                      </a:lnTo>
                      <a:lnTo>
                        <a:pt x="100" y="25"/>
                      </a:lnTo>
                      <a:lnTo>
                        <a:pt x="98" y="25"/>
                      </a:lnTo>
                      <a:lnTo>
                        <a:pt x="101" y="27"/>
                      </a:lnTo>
                      <a:lnTo>
                        <a:pt x="103" y="25"/>
                      </a:lnTo>
                      <a:lnTo>
                        <a:pt x="105" y="25"/>
                      </a:lnTo>
                      <a:lnTo>
                        <a:pt x="107" y="27"/>
                      </a:lnTo>
                      <a:lnTo>
                        <a:pt x="108" y="28"/>
                      </a:lnTo>
                      <a:lnTo>
                        <a:pt x="112" y="32"/>
                      </a:lnTo>
                      <a:lnTo>
                        <a:pt x="110" y="30"/>
                      </a:lnTo>
                      <a:lnTo>
                        <a:pt x="107" y="28"/>
                      </a:lnTo>
                      <a:lnTo>
                        <a:pt x="105" y="28"/>
                      </a:lnTo>
                      <a:lnTo>
                        <a:pt x="103" y="28"/>
                      </a:lnTo>
                      <a:lnTo>
                        <a:pt x="101" y="30"/>
                      </a:lnTo>
                      <a:lnTo>
                        <a:pt x="101" y="32"/>
                      </a:lnTo>
                      <a:lnTo>
                        <a:pt x="101" y="34"/>
                      </a:lnTo>
                      <a:lnTo>
                        <a:pt x="98" y="34"/>
                      </a:lnTo>
                      <a:lnTo>
                        <a:pt x="100" y="39"/>
                      </a:lnTo>
                      <a:lnTo>
                        <a:pt x="103" y="44"/>
                      </a:lnTo>
                      <a:lnTo>
                        <a:pt x="107" y="48"/>
                      </a:lnTo>
                      <a:lnTo>
                        <a:pt x="110" y="51"/>
                      </a:lnTo>
                      <a:lnTo>
                        <a:pt x="112" y="42"/>
                      </a:lnTo>
                      <a:lnTo>
                        <a:pt x="112" y="41"/>
                      </a:lnTo>
                      <a:close/>
                      <a:moveTo>
                        <a:pt x="30" y="48"/>
                      </a:moveTo>
                      <a:lnTo>
                        <a:pt x="30" y="49"/>
                      </a:lnTo>
                      <a:lnTo>
                        <a:pt x="28" y="49"/>
                      </a:lnTo>
                      <a:lnTo>
                        <a:pt x="26" y="49"/>
                      </a:lnTo>
                      <a:lnTo>
                        <a:pt x="26" y="48"/>
                      </a:lnTo>
                      <a:lnTo>
                        <a:pt x="25" y="46"/>
                      </a:lnTo>
                      <a:lnTo>
                        <a:pt x="26" y="44"/>
                      </a:lnTo>
                      <a:lnTo>
                        <a:pt x="28" y="44"/>
                      </a:lnTo>
                      <a:lnTo>
                        <a:pt x="30" y="48"/>
                      </a:lnTo>
                      <a:close/>
                      <a:moveTo>
                        <a:pt x="16" y="4"/>
                      </a:moveTo>
                      <a:lnTo>
                        <a:pt x="16" y="4"/>
                      </a:lnTo>
                      <a:lnTo>
                        <a:pt x="18" y="6"/>
                      </a:lnTo>
                      <a:lnTo>
                        <a:pt x="16" y="6"/>
                      </a:lnTo>
                      <a:lnTo>
                        <a:pt x="16" y="6"/>
                      </a:lnTo>
                      <a:lnTo>
                        <a:pt x="14" y="4"/>
                      </a:lnTo>
                      <a:lnTo>
                        <a:pt x="16" y="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33" name="Freeform 316">
                  <a:extLst>
                    <a:ext uri="{FF2B5EF4-FFF2-40B4-BE49-F238E27FC236}">
                      <a16:creationId xmlns:a16="http://schemas.microsoft.com/office/drawing/2014/main" id="{20FBBA15-7F79-8194-76E0-3BA62D403EAA}"/>
                    </a:ext>
                  </a:extLst>
                </p:cNvPr>
                <p:cNvSpPr>
                  <a:spLocks noEditPoints="1"/>
                </p:cNvSpPr>
                <p:nvPr/>
              </p:nvSpPr>
              <p:spPr bwMode="auto">
                <a:xfrm>
                  <a:off x="-2177" y="-3140"/>
                  <a:ext cx="230" cy="77"/>
                </a:xfrm>
                <a:custGeom>
                  <a:avLst/>
                  <a:gdLst>
                    <a:gd name="T0" fmla="*/ 154 w 230"/>
                    <a:gd name="T1" fmla="*/ 28 h 77"/>
                    <a:gd name="T2" fmla="*/ 150 w 230"/>
                    <a:gd name="T3" fmla="*/ 25 h 77"/>
                    <a:gd name="T4" fmla="*/ 147 w 230"/>
                    <a:gd name="T5" fmla="*/ 23 h 77"/>
                    <a:gd name="T6" fmla="*/ 147 w 230"/>
                    <a:gd name="T7" fmla="*/ 20 h 77"/>
                    <a:gd name="T8" fmla="*/ 143 w 230"/>
                    <a:gd name="T9" fmla="*/ 20 h 77"/>
                    <a:gd name="T10" fmla="*/ 147 w 230"/>
                    <a:gd name="T11" fmla="*/ 20 h 77"/>
                    <a:gd name="T12" fmla="*/ 134 w 230"/>
                    <a:gd name="T13" fmla="*/ 16 h 77"/>
                    <a:gd name="T14" fmla="*/ 140 w 230"/>
                    <a:gd name="T15" fmla="*/ 16 h 77"/>
                    <a:gd name="T16" fmla="*/ 117 w 230"/>
                    <a:gd name="T17" fmla="*/ 13 h 77"/>
                    <a:gd name="T18" fmla="*/ 113 w 230"/>
                    <a:gd name="T19" fmla="*/ 11 h 77"/>
                    <a:gd name="T20" fmla="*/ 208 w 230"/>
                    <a:gd name="T21" fmla="*/ 74 h 77"/>
                    <a:gd name="T22" fmla="*/ 211 w 230"/>
                    <a:gd name="T23" fmla="*/ 76 h 77"/>
                    <a:gd name="T24" fmla="*/ 227 w 230"/>
                    <a:gd name="T25" fmla="*/ 72 h 77"/>
                    <a:gd name="T26" fmla="*/ 215 w 230"/>
                    <a:gd name="T27" fmla="*/ 60 h 77"/>
                    <a:gd name="T28" fmla="*/ 196 w 230"/>
                    <a:gd name="T29" fmla="*/ 58 h 77"/>
                    <a:gd name="T30" fmla="*/ 199 w 230"/>
                    <a:gd name="T31" fmla="*/ 55 h 77"/>
                    <a:gd name="T32" fmla="*/ 197 w 230"/>
                    <a:gd name="T33" fmla="*/ 49 h 77"/>
                    <a:gd name="T34" fmla="*/ 176 w 230"/>
                    <a:gd name="T35" fmla="*/ 44 h 77"/>
                    <a:gd name="T36" fmla="*/ 171 w 230"/>
                    <a:gd name="T37" fmla="*/ 42 h 77"/>
                    <a:gd name="T38" fmla="*/ 164 w 230"/>
                    <a:gd name="T39" fmla="*/ 39 h 77"/>
                    <a:gd name="T40" fmla="*/ 164 w 230"/>
                    <a:gd name="T41" fmla="*/ 37 h 77"/>
                    <a:gd name="T42" fmla="*/ 159 w 230"/>
                    <a:gd name="T43" fmla="*/ 32 h 77"/>
                    <a:gd name="T44" fmla="*/ 159 w 230"/>
                    <a:gd name="T45" fmla="*/ 34 h 77"/>
                    <a:gd name="T46" fmla="*/ 140 w 230"/>
                    <a:gd name="T47" fmla="*/ 23 h 77"/>
                    <a:gd name="T48" fmla="*/ 122 w 230"/>
                    <a:gd name="T49" fmla="*/ 18 h 77"/>
                    <a:gd name="T50" fmla="*/ 110 w 230"/>
                    <a:gd name="T51" fmla="*/ 9 h 77"/>
                    <a:gd name="T52" fmla="*/ 101 w 230"/>
                    <a:gd name="T53" fmla="*/ 6 h 77"/>
                    <a:gd name="T54" fmla="*/ 84 w 230"/>
                    <a:gd name="T55" fmla="*/ 4 h 77"/>
                    <a:gd name="T56" fmla="*/ 70 w 230"/>
                    <a:gd name="T57" fmla="*/ 2 h 77"/>
                    <a:gd name="T58" fmla="*/ 26 w 230"/>
                    <a:gd name="T59" fmla="*/ 9 h 77"/>
                    <a:gd name="T60" fmla="*/ 12 w 230"/>
                    <a:gd name="T61" fmla="*/ 18 h 77"/>
                    <a:gd name="T62" fmla="*/ 12 w 230"/>
                    <a:gd name="T63" fmla="*/ 27 h 77"/>
                    <a:gd name="T64" fmla="*/ 9 w 230"/>
                    <a:gd name="T65" fmla="*/ 27 h 77"/>
                    <a:gd name="T66" fmla="*/ 7 w 230"/>
                    <a:gd name="T67" fmla="*/ 30 h 77"/>
                    <a:gd name="T68" fmla="*/ 14 w 230"/>
                    <a:gd name="T69" fmla="*/ 30 h 77"/>
                    <a:gd name="T70" fmla="*/ 19 w 230"/>
                    <a:gd name="T71" fmla="*/ 28 h 77"/>
                    <a:gd name="T72" fmla="*/ 23 w 230"/>
                    <a:gd name="T73" fmla="*/ 23 h 77"/>
                    <a:gd name="T74" fmla="*/ 42 w 230"/>
                    <a:gd name="T75" fmla="*/ 14 h 77"/>
                    <a:gd name="T76" fmla="*/ 65 w 230"/>
                    <a:gd name="T77" fmla="*/ 13 h 77"/>
                    <a:gd name="T78" fmla="*/ 68 w 230"/>
                    <a:gd name="T79" fmla="*/ 16 h 77"/>
                    <a:gd name="T80" fmla="*/ 63 w 230"/>
                    <a:gd name="T81" fmla="*/ 21 h 77"/>
                    <a:gd name="T82" fmla="*/ 79 w 230"/>
                    <a:gd name="T83" fmla="*/ 25 h 77"/>
                    <a:gd name="T84" fmla="*/ 91 w 230"/>
                    <a:gd name="T85" fmla="*/ 28 h 77"/>
                    <a:gd name="T86" fmla="*/ 112 w 230"/>
                    <a:gd name="T87" fmla="*/ 37 h 77"/>
                    <a:gd name="T88" fmla="*/ 131 w 230"/>
                    <a:gd name="T89" fmla="*/ 37 h 77"/>
                    <a:gd name="T90" fmla="*/ 138 w 230"/>
                    <a:gd name="T91" fmla="*/ 51 h 77"/>
                    <a:gd name="T92" fmla="*/ 148 w 230"/>
                    <a:gd name="T93" fmla="*/ 58 h 77"/>
                    <a:gd name="T94" fmla="*/ 164 w 230"/>
                    <a:gd name="T95" fmla="*/ 60 h 77"/>
                    <a:gd name="T96" fmla="*/ 164 w 230"/>
                    <a:gd name="T97" fmla="*/ 67 h 77"/>
                    <a:gd name="T98" fmla="*/ 183 w 230"/>
                    <a:gd name="T99" fmla="*/ 74 h 77"/>
                    <a:gd name="T100" fmla="*/ 37 w 230"/>
                    <a:gd name="T101" fmla="*/ 37 h 77"/>
                    <a:gd name="T102" fmla="*/ 47 w 230"/>
                    <a:gd name="T103" fmla="*/ 39 h 77"/>
                    <a:gd name="T104" fmla="*/ 44 w 230"/>
                    <a:gd name="T105" fmla="*/ 28 h 77"/>
                    <a:gd name="T106" fmla="*/ 40 w 230"/>
                    <a:gd name="T107" fmla="*/ 3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0" h="77">
                      <a:moveTo>
                        <a:pt x="152" y="28"/>
                      </a:moveTo>
                      <a:lnTo>
                        <a:pt x="148" y="27"/>
                      </a:lnTo>
                      <a:lnTo>
                        <a:pt x="154" y="27"/>
                      </a:lnTo>
                      <a:lnTo>
                        <a:pt x="154" y="28"/>
                      </a:lnTo>
                      <a:lnTo>
                        <a:pt x="152" y="28"/>
                      </a:lnTo>
                      <a:close/>
                      <a:moveTo>
                        <a:pt x="148" y="25"/>
                      </a:moveTo>
                      <a:lnTo>
                        <a:pt x="150" y="25"/>
                      </a:lnTo>
                      <a:lnTo>
                        <a:pt x="150" y="25"/>
                      </a:lnTo>
                      <a:lnTo>
                        <a:pt x="148" y="23"/>
                      </a:lnTo>
                      <a:lnTo>
                        <a:pt x="148" y="21"/>
                      </a:lnTo>
                      <a:lnTo>
                        <a:pt x="148" y="21"/>
                      </a:lnTo>
                      <a:lnTo>
                        <a:pt x="147" y="23"/>
                      </a:lnTo>
                      <a:lnTo>
                        <a:pt x="147" y="23"/>
                      </a:lnTo>
                      <a:lnTo>
                        <a:pt x="147" y="25"/>
                      </a:lnTo>
                      <a:lnTo>
                        <a:pt x="148" y="25"/>
                      </a:lnTo>
                      <a:close/>
                      <a:moveTo>
                        <a:pt x="147" y="20"/>
                      </a:moveTo>
                      <a:lnTo>
                        <a:pt x="145" y="18"/>
                      </a:lnTo>
                      <a:lnTo>
                        <a:pt x="143" y="18"/>
                      </a:lnTo>
                      <a:lnTo>
                        <a:pt x="141" y="18"/>
                      </a:lnTo>
                      <a:lnTo>
                        <a:pt x="143" y="20"/>
                      </a:lnTo>
                      <a:lnTo>
                        <a:pt x="143" y="20"/>
                      </a:lnTo>
                      <a:lnTo>
                        <a:pt x="145" y="21"/>
                      </a:lnTo>
                      <a:lnTo>
                        <a:pt x="147" y="21"/>
                      </a:lnTo>
                      <a:lnTo>
                        <a:pt x="147" y="20"/>
                      </a:lnTo>
                      <a:close/>
                      <a:moveTo>
                        <a:pt x="138" y="14"/>
                      </a:moveTo>
                      <a:lnTo>
                        <a:pt x="134" y="16"/>
                      </a:lnTo>
                      <a:lnTo>
                        <a:pt x="133" y="16"/>
                      </a:lnTo>
                      <a:lnTo>
                        <a:pt x="134" y="16"/>
                      </a:lnTo>
                      <a:lnTo>
                        <a:pt x="136" y="18"/>
                      </a:lnTo>
                      <a:lnTo>
                        <a:pt x="140" y="18"/>
                      </a:lnTo>
                      <a:lnTo>
                        <a:pt x="141" y="18"/>
                      </a:lnTo>
                      <a:lnTo>
                        <a:pt x="140" y="16"/>
                      </a:lnTo>
                      <a:lnTo>
                        <a:pt x="138" y="14"/>
                      </a:lnTo>
                      <a:close/>
                      <a:moveTo>
                        <a:pt x="117" y="13"/>
                      </a:moveTo>
                      <a:lnTo>
                        <a:pt x="119" y="13"/>
                      </a:lnTo>
                      <a:lnTo>
                        <a:pt x="117" y="13"/>
                      </a:lnTo>
                      <a:lnTo>
                        <a:pt x="115" y="11"/>
                      </a:lnTo>
                      <a:lnTo>
                        <a:pt x="113" y="9"/>
                      </a:lnTo>
                      <a:lnTo>
                        <a:pt x="112" y="9"/>
                      </a:lnTo>
                      <a:lnTo>
                        <a:pt x="113" y="11"/>
                      </a:lnTo>
                      <a:lnTo>
                        <a:pt x="115" y="11"/>
                      </a:lnTo>
                      <a:lnTo>
                        <a:pt x="117" y="13"/>
                      </a:lnTo>
                      <a:close/>
                      <a:moveTo>
                        <a:pt x="204" y="76"/>
                      </a:moveTo>
                      <a:lnTo>
                        <a:pt x="208" y="74"/>
                      </a:lnTo>
                      <a:lnTo>
                        <a:pt x="208" y="74"/>
                      </a:lnTo>
                      <a:lnTo>
                        <a:pt x="209" y="76"/>
                      </a:lnTo>
                      <a:lnTo>
                        <a:pt x="209" y="76"/>
                      </a:lnTo>
                      <a:lnTo>
                        <a:pt x="211" y="76"/>
                      </a:lnTo>
                      <a:lnTo>
                        <a:pt x="215" y="74"/>
                      </a:lnTo>
                      <a:lnTo>
                        <a:pt x="218" y="72"/>
                      </a:lnTo>
                      <a:lnTo>
                        <a:pt x="225" y="72"/>
                      </a:lnTo>
                      <a:lnTo>
                        <a:pt x="227" y="72"/>
                      </a:lnTo>
                      <a:lnTo>
                        <a:pt x="230" y="69"/>
                      </a:lnTo>
                      <a:lnTo>
                        <a:pt x="229" y="67"/>
                      </a:lnTo>
                      <a:lnTo>
                        <a:pt x="222" y="65"/>
                      </a:lnTo>
                      <a:lnTo>
                        <a:pt x="215" y="60"/>
                      </a:lnTo>
                      <a:lnTo>
                        <a:pt x="211" y="58"/>
                      </a:lnTo>
                      <a:lnTo>
                        <a:pt x="206" y="58"/>
                      </a:lnTo>
                      <a:lnTo>
                        <a:pt x="197" y="58"/>
                      </a:lnTo>
                      <a:lnTo>
                        <a:pt x="196" y="58"/>
                      </a:lnTo>
                      <a:lnTo>
                        <a:pt x="196" y="56"/>
                      </a:lnTo>
                      <a:lnTo>
                        <a:pt x="196" y="55"/>
                      </a:lnTo>
                      <a:lnTo>
                        <a:pt x="197" y="55"/>
                      </a:lnTo>
                      <a:lnTo>
                        <a:pt x="199" y="55"/>
                      </a:lnTo>
                      <a:lnTo>
                        <a:pt x="197" y="53"/>
                      </a:lnTo>
                      <a:lnTo>
                        <a:pt x="197" y="51"/>
                      </a:lnTo>
                      <a:lnTo>
                        <a:pt x="197" y="51"/>
                      </a:lnTo>
                      <a:lnTo>
                        <a:pt x="197" y="49"/>
                      </a:lnTo>
                      <a:lnTo>
                        <a:pt x="196" y="48"/>
                      </a:lnTo>
                      <a:lnTo>
                        <a:pt x="187" y="48"/>
                      </a:lnTo>
                      <a:lnTo>
                        <a:pt x="178" y="44"/>
                      </a:lnTo>
                      <a:lnTo>
                        <a:pt x="176" y="44"/>
                      </a:lnTo>
                      <a:lnTo>
                        <a:pt x="175" y="42"/>
                      </a:lnTo>
                      <a:lnTo>
                        <a:pt x="173" y="42"/>
                      </a:lnTo>
                      <a:lnTo>
                        <a:pt x="171" y="44"/>
                      </a:lnTo>
                      <a:lnTo>
                        <a:pt x="171" y="42"/>
                      </a:lnTo>
                      <a:lnTo>
                        <a:pt x="169" y="41"/>
                      </a:lnTo>
                      <a:lnTo>
                        <a:pt x="166" y="37"/>
                      </a:lnTo>
                      <a:lnTo>
                        <a:pt x="166" y="39"/>
                      </a:lnTo>
                      <a:lnTo>
                        <a:pt x="164" y="39"/>
                      </a:lnTo>
                      <a:lnTo>
                        <a:pt x="162" y="39"/>
                      </a:lnTo>
                      <a:lnTo>
                        <a:pt x="161" y="37"/>
                      </a:lnTo>
                      <a:lnTo>
                        <a:pt x="162" y="37"/>
                      </a:lnTo>
                      <a:lnTo>
                        <a:pt x="164" y="37"/>
                      </a:lnTo>
                      <a:lnTo>
                        <a:pt x="164" y="37"/>
                      </a:lnTo>
                      <a:lnTo>
                        <a:pt x="166" y="35"/>
                      </a:lnTo>
                      <a:lnTo>
                        <a:pt x="162" y="35"/>
                      </a:lnTo>
                      <a:lnTo>
                        <a:pt x="159" y="32"/>
                      </a:lnTo>
                      <a:lnTo>
                        <a:pt x="155" y="30"/>
                      </a:lnTo>
                      <a:lnTo>
                        <a:pt x="157" y="32"/>
                      </a:lnTo>
                      <a:lnTo>
                        <a:pt x="157" y="32"/>
                      </a:lnTo>
                      <a:lnTo>
                        <a:pt x="159" y="34"/>
                      </a:lnTo>
                      <a:lnTo>
                        <a:pt x="155" y="32"/>
                      </a:lnTo>
                      <a:lnTo>
                        <a:pt x="152" y="32"/>
                      </a:lnTo>
                      <a:lnTo>
                        <a:pt x="147" y="27"/>
                      </a:lnTo>
                      <a:lnTo>
                        <a:pt x="140" y="23"/>
                      </a:lnTo>
                      <a:lnTo>
                        <a:pt x="136" y="21"/>
                      </a:lnTo>
                      <a:lnTo>
                        <a:pt x="131" y="20"/>
                      </a:lnTo>
                      <a:lnTo>
                        <a:pt x="127" y="20"/>
                      </a:lnTo>
                      <a:lnTo>
                        <a:pt x="122" y="18"/>
                      </a:lnTo>
                      <a:lnTo>
                        <a:pt x="119" y="18"/>
                      </a:lnTo>
                      <a:lnTo>
                        <a:pt x="115" y="16"/>
                      </a:lnTo>
                      <a:lnTo>
                        <a:pt x="112" y="13"/>
                      </a:lnTo>
                      <a:lnTo>
                        <a:pt x="110" y="9"/>
                      </a:lnTo>
                      <a:lnTo>
                        <a:pt x="108" y="7"/>
                      </a:lnTo>
                      <a:lnTo>
                        <a:pt x="106" y="7"/>
                      </a:lnTo>
                      <a:lnTo>
                        <a:pt x="105" y="7"/>
                      </a:lnTo>
                      <a:lnTo>
                        <a:pt x="101" y="6"/>
                      </a:lnTo>
                      <a:lnTo>
                        <a:pt x="96" y="6"/>
                      </a:lnTo>
                      <a:lnTo>
                        <a:pt x="92" y="4"/>
                      </a:lnTo>
                      <a:lnTo>
                        <a:pt x="89" y="4"/>
                      </a:lnTo>
                      <a:lnTo>
                        <a:pt x="84" y="4"/>
                      </a:lnTo>
                      <a:lnTo>
                        <a:pt x="80" y="2"/>
                      </a:lnTo>
                      <a:lnTo>
                        <a:pt x="77" y="0"/>
                      </a:lnTo>
                      <a:lnTo>
                        <a:pt x="73" y="2"/>
                      </a:lnTo>
                      <a:lnTo>
                        <a:pt x="70" y="2"/>
                      </a:lnTo>
                      <a:lnTo>
                        <a:pt x="63" y="0"/>
                      </a:lnTo>
                      <a:lnTo>
                        <a:pt x="59" y="0"/>
                      </a:lnTo>
                      <a:lnTo>
                        <a:pt x="56" y="2"/>
                      </a:lnTo>
                      <a:lnTo>
                        <a:pt x="26" y="9"/>
                      </a:lnTo>
                      <a:lnTo>
                        <a:pt x="19" y="13"/>
                      </a:lnTo>
                      <a:lnTo>
                        <a:pt x="17" y="14"/>
                      </a:lnTo>
                      <a:lnTo>
                        <a:pt x="14" y="16"/>
                      </a:lnTo>
                      <a:lnTo>
                        <a:pt x="12" y="18"/>
                      </a:lnTo>
                      <a:lnTo>
                        <a:pt x="10" y="20"/>
                      </a:lnTo>
                      <a:lnTo>
                        <a:pt x="10" y="21"/>
                      </a:lnTo>
                      <a:lnTo>
                        <a:pt x="12" y="25"/>
                      </a:lnTo>
                      <a:lnTo>
                        <a:pt x="12" y="27"/>
                      </a:lnTo>
                      <a:lnTo>
                        <a:pt x="10" y="27"/>
                      </a:lnTo>
                      <a:lnTo>
                        <a:pt x="10" y="27"/>
                      </a:lnTo>
                      <a:lnTo>
                        <a:pt x="9" y="27"/>
                      </a:lnTo>
                      <a:lnTo>
                        <a:pt x="9" y="27"/>
                      </a:lnTo>
                      <a:lnTo>
                        <a:pt x="2" y="30"/>
                      </a:lnTo>
                      <a:lnTo>
                        <a:pt x="0" y="32"/>
                      </a:lnTo>
                      <a:lnTo>
                        <a:pt x="2" y="32"/>
                      </a:lnTo>
                      <a:lnTo>
                        <a:pt x="7" y="30"/>
                      </a:lnTo>
                      <a:lnTo>
                        <a:pt x="9" y="30"/>
                      </a:lnTo>
                      <a:lnTo>
                        <a:pt x="9" y="34"/>
                      </a:lnTo>
                      <a:lnTo>
                        <a:pt x="12" y="32"/>
                      </a:lnTo>
                      <a:lnTo>
                        <a:pt x="14" y="30"/>
                      </a:lnTo>
                      <a:lnTo>
                        <a:pt x="16" y="30"/>
                      </a:lnTo>
                      <a:lnTo>
                        <a:pt x="17" y="30"/>
                      </a:lnTo>
                      <a:lnTo>
                        <a:pt x="17" y="28"/>
                      </a:lnTo>
                      <a:lnTo>
                        <a:pt x="19" y="28"/>
                      </a:lnTo>
                      <a:lnTo>
                        <a:pt x="19" y="28"/>
                      </a:lnTo>
                      <a:lnTo>
                        <a:pt x="19" y="25"/>
                      </a:lnTo>
                      <a:lnTo>
                        <a:pt x="21" y="25"/>
                      </a:lnTo>
                      <a:lnTo>
                        <a:pt x="23" y="23"/>
                      </a:lnTo>
                      <a:lnTo>
                        <a:pt x="30" y="23"/>
                      </a:lnTo>
                      <a:lnTo>
                        <a:pt x="31" y="23"/>
                      </a:lnTo>
                      <a:lnTo>
                        <a:pt x="35" y="21"/>
                      </a:lnTo>
                      <a:lnTo>
                        <a:pt x="42" y="14"/>
                      </a:lnTo>
                      <a:lnTo>
                        <a:pt x="45" y="13"/>
                      </a:lnTo>
                      <a:lnTo>
                        <a:pt x="49" y="11"/>
                      </a:lnTo>
                      <a:lnTo>
                        <a:pt x="54" y="11"/>
                      </a:lnTo>
                      <a:lnTo>
                        <a:pt x="65" y="13"/>
                      </a:lnTo>
                      <a:lnTo>
                        <a:pt x="65" y="13"/>
                      </a:lnTo>
                      <a:lnTo>
                        <a:pt x="66" y="13"/>
                      </a:lnTo>
                      <a:lnTo>
                        <a:pt x="68" y="14"/>
                      </a:lnTo>
                      <a:lnTo>
                        <a:pt x="68" y="16"/>
                      </a:lnTo>
                      <a:lnTo>
                        <a:pt x="68" y="18"/>
                      </a:lnTo>
                      <a:lnTo>
                        <a:pt x="65" y="18"/>
                      </a:lnTo>
                      <a:lnTo>
                        <a:pt x="59" y="20"/>
                      </a:lnTo>
                      <a:lnTo>
                        <a:pt x="63" y="21"/>
                      </a:lnTo>
                      <a:lnTo>
                        <a:pt x="65" y="23"/>
                      </a:lnTo>
                      <a:lnTo>
                        <a:pt x="72" y="23"/>
                      </a:lnTo>
                      <a:lnTo>
                        <a:pt x="77" y="25"/>
                      </a:lnTo>
                      <a:lnTo>
                        <a:pt x="79" y="25"/>
                      </a:lnTo>
                      <a:lnTo>
                        <a:pt x="79" y="21"/>
                      </a:lnTo>
                      <a:lnTo>
                        <a:pt x="82" y="25"/>
                      </a:lnTo>
                      <a:lnTo>
                        <a:pt x="87" y="27"/>
                      </a:lnTo>
                      <a:lnTo>
                        <a:pt x="91" y="28"/>
                      </a:lnTo>
                      <a:lnTo>
                        <a:pt x="94" y="25"/>
                      </a:lnTo>
                      <a:lnTo>
                        <a:pt x="99" y="30"/>
                      </a:lnTo>
                      <a:lnTo>
                        <a:pt x="106" y="34"/>
                      </a:lnTo>
                      <a:lnTo>
                        <a:pt x="112" y="37"/>
                      </a:lnTo>
                      <a:lnTo>
                        <a:pt x="119" y="37"/>
                      </a:lnTo>
                      <a:lnTo>
                        <a:pt x="124" y="37"/>
                      </a:lnTo>
                      <a:lnTo>
                        <a:pt x="127" y="37"/>
                      </a:lnTo>
                      <a:lnTo>
                        <a:pt x="131" y="37"/>
                      </a:lnTo>
                      <a:lnTo>
                        <a:pt x="134" y="39"/>
                      </a:lnTo>
                      <a:lnTo>
                        <a:pt x="134" y="42"/>
                      </a:lnTo>
                      <a:lnTo>
                        <a:pt x="136" y="48"/>
                      </a:lnTo>
                      <a:lnTo>
                        <a:pt x="138" y="51"/>
                      </a:lnTo>
                      <a:lnTo>
                        <a:pt x="140" y="53"/>
                      </a:lnTo>
                      <a:lnTo>
                        <a:pt x="143" y="55"/>
                      </a:lnTo>
                      <a:lnTo>
                        <a:pt x="147" y="56"/>
                      </a:lnTo>
                      <a:lnTo>
                        <a:pt x="148" y="58"/>
                      </a:lnTo>
                      <a:lnTo>
                        <a:pt x="152" y="58"/>
                      </a:lnTo>
                      <a:lnTo>
                        <a:pt x="157" y="58"/>
                      </a:lnTo>
                      <a:lnTo>
                        <a:pt x="161" y="58"/>
                      </a:lnTo>
                      <a:lnTo>
                        <a:pt x="164" y="60"/>
                      </a:lnTo>
                      <a:lnTo>
                        <a:pt x="166" y="62"/>
                      </a:lnTo>
                      <a:lnTo>
                        <a:pt x="166" y="63"/>
                      </a:lnTo>
                      <a:lnTo>
                        <a:pt x="166" y="65"/>
                      </a:lnTo>
                      <a:lnTo>
                        <a:pt x="164" y="67"/>
                      </a:lnTo>
                      <a:lnTo>
                        <a:pt x="162" y="69"/>
                      </a:lnTo>
                      <a:lnTo>
                        <a:pt x="155" y="74"/>
                      </a:lnTo>
                      <a:lnTo>
                        <a:pt x="154" y="77"/>
                      </a:lnTo>
                      <a:lnTo>
                        <a:pt x="183" y="74"/>
                      </a:lnTo>
                      <a:lnTo>
                        <a:pt x="197" y="76"/>
                      </a:lnTo>
                      <a:lnTo>
                        <a:pt x="204" y="76"/>
                      </a:lnTo>
                      <a:close/>
                      <a:moveTo>
                        <a:pt x="38" y="39"/>
                      </a:moveTo>
                      <a:lnTo>
                        <a:pt x="37" y="37"/>
                      </a:lnTo>
                      <a:lnTo>
                        <a:pt x="37" y="37"/>
                      </a:lnTo>
                      <a:lnTo>
                        <a:pt x="38" y="41"/>
                      </a:lnTo>
                      <a:lnTo>
                        <a:pt x="42" y="41"/>
                      </a:lnTo>
                      <a:lnTo>
                        <a:pt x="47" y="39"/>
                      </a:lnTo>
                      <a:lnTo>
                        <a:pt x="49" y="37"/>
                      </a:lnTo>
                      <a:lnTo>
                        <a:pt x="49" y="34"/>
                      </a:lnTo>
                      <a:lnTo>
                        <a:pt x="47" y="32"/>
                      </a:lnTo>
                      <a:lnTo>
                        <a:pt x="44" y="28"/>
                      </a:lnTo>
                      <a:lnTo>
                        <a:pt x="40" y="30"/>
                      </a:lnTo>
                      <a:lnTo>
                        <a:pt x="38" y="32"/>
                      </a:lnTo>
                      <a:lnTo>
                        <a:pt x="40" y="34"/>
                      </a:lnTo>
                      <a:lnTo>
                        <a:pt x="40" y="35"/>
                      </a:lnTo>
                      <a:lnTo>
                        <a:pt x="40" y="37"/>
                      </a:lnTo>
                      <a:lnTo>
                        <a:pt x="40" y="39"/>
                      </a:lnTo>
                      <a:lnTo>
                        <a:pt x="38" y="3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34" name="Freeform 317">
                  <a:extLst>
                    <a:ext uri="{FF2B5EF4-FFF2-40B4-BE49-F238E27FC236}">
                      <a16:creationId xmlns:a16="http://schemas.microsoft.com/office/drawing/2014/main" id="{0DA830F2-244B-548F-FA94-BC9662B8B3A1}"/>
                    </a:ext>
                  </a:extLst>
                </p:cNvPr>
                <p:cNvSpPr>
                  <a:spLocks noEditPoints="1"/>
                </p:cNvSpPr>
                <p:nvPr/>
              </p:nvSpPr>
              <p:spPr bwMode="auto">
                <a:xfrm>
                  <a:off x="-1919" y="-5147"/>
                  <a:ext cx="1312" cy="1025"/>
                </a:xfrm>
                <a:custGeom>
                  <a:avLst/>
                  <a:gdLst>
                    <a:gd name="T0" fmla="*/ 388 w 1312"/>
                    <a:gd name="T1" fmla="*/ 655 h 1025"/>
                    <a:gd name="T2" fmla="*/ 392 w 1312"/>
                    <a:gd name="T3" fmla="*/ 671 h 1025"/>
                    <a:gd name="T4" fmla="*/ 406 w 1312"/>
                    <a:gd name="T5" fmla="*/ 615 h 1025"/>
                    <a:gd name="T6" fmla="*/ 1003 w 1312"/>
                    <a:gd name="T7" fmla="*/ 617 h 1025"/>
                    <a:gd name="T8" fmla="*/ 463 w 1312"/>
                    <a:gd name="T9" fmla="*/ 658 h 1025"/>
                    <a:gd name="T10" fmla="*/ 1172 w 1312"/>
                    <a:gd name="T11" fmla="*/ 321 h 1025"/>
                    <a:gd name="T12" fmla="*/ 1162 w 1312"/>
                    <a:gd name="T13" fmla="*/ 204 h 1025"/>
                    <a:gd name="T14" fmla="*/ 907 w 1312"/>
                    <a:gd name="T15" fmla="*/ 713 h 1025"/>
                    <a:gd name="T16" fmla="*/ 791 w 1312"/>
                    <a:gd name="T17" fmla="*/ 781 h 1025"/>
                    <a:gd name="T18" fmla="*/ 748 w 1312"/>
                    <a:gd name="T19" fmla="*/ 802 h 1025"/>
                    <a:gd name="T20" fmla="*/ 708 w 1312"/>
                    <a:gd name="T21" fmla="*/ 826 h 1025"/>
                    <a:gd name="T22" fmla="*/ 688 w 1312"/>
                    <a:gd name="T23" fmla="*/ 870 h 1025"/>
                    <a:gd name="T24" fmla="*/ 680 w 1312"/>
                    <a:gd name="T25" fmla="*/ 903 h 1025"/>
                    <a:gd name="T26" fmla="*/ 653 w 1312"/>
                    <a:gd name="T27" fmla="*/ 945 h 1025"/>
                    <a:gd name="T28" fmla="*/ 634 w 1312"/>
                    <a:gd name="T29" fmla="*/ 1015 h 1025"/>
                    <a:gd name="T30" fmla="*/ 594 w 1312"/>
                    <a:gd name="T31" fmla="*/ 1003 h 1025"/>
                    <a:gd name="T32" fmla="*/ 529 w 1312"/>
                    <a:gd name="T33" fmla="*/ 996 h 1025"/>
                    <a:gd name="T34" fmla="*/ 496 w 1312"/>
                    <a:gd name="T35" fmla="*/ 950 h 1025"/>
                    <a:gd name="T36" fmla="*/ 456 w 1312"/>
                    <a:gd name="T37" fmla="*/ 879 h 1025"/>
                    <a:gd name="T38" fmla="*/ 461 w 1312"/>
                    <a:gd name="T39" fmla="*/ 858 h 1025"/>
                    <a:gd name="T40" fmla="*/ 433 w 1312"/>
                    <a:gd name="T41" fmla="*/ 821 h 1025"/>
                    <a:gd name="T42" fmla="*/ 412 w 1312"/>
                    <a:gd name="T43" fmla="*/ 790 h 1025"/>
                    <a:gd name="T44" fmla="*/ 461 w 1312"/>
                    <a:gd name="T45" fmla="*/ 730 h 1025"/>
                    <a:gd name="T46" fmla="*/ 423 w 1312"/>
                    <a:gd name="T47" fmla="*/ 711 h 1025"/>
                    <a:gd name="T48" fmla="*/ 451 w 1312"/>
                    <a:gd name="T49" fmla="*/ 699 h 1025"/>
                    <a:gd name="T50" fmla="*/ 479 w 1312"/>
                    <a:gd name="T51" fmla="*/ 653 h 1025"/>
                    <a:gd name="T52" fmla="*/ 461 w 1312"/>
                    <a:gd name="T53" fmla="*/ 632 h 1025"/>
                    <a:gd name="T54" fmla="*/ 439 w 1312"/>
                    <a:gd name="T55" fmla="*/ 592 h 1025"/>
                    <a:gd name="T56" fmla="*/ 383 w 1312"/>
                    <a:gd name="T57" fmla="*/ 603 h 1025"/>
                    <a:gd name="T58" fmla="*/ 379 w 1312"/>
                    <a:gd name="T59" fmla="*/ 536 h 1025"/>
                    <a:gd name="T60" fmla="*/ 346 w 1312"/>
                    <a:gd name="T61" fmla="*/ 480 h 1025"/>
                    <a:gd name="T62" fmla="*/ 213 w 1312"/>
                    <a:gd name="T63" fmla="*/ 375 h 1025"/>
                    <a:gd name="T64" fmla="*/ 98 w 1312"/>
                    <a:gd name="T65" fmla="*/ 384 h 1025"/>
                    <a:gd name="T66" fmla="*/ 48 w 1312"/>
                    <a:gd name="T67" fmla="*/ 337 h 1025"/>
                    <a:gd name="T68" fmla="*/ 58 w 1312"/>
                    <a:gd name="T69" fmla="*/ 323 h 1025"/>
                    <a:gd name="T70" fmla="*/ 4 w 1312"/>
                    <a:gd name="T71" fmla="*/ 285 h 1025"/>
                    <a:gd name="T72" fmla="*/ 168 w 1312"/>
                    <a:gd name="T73" fmla="*/ 201 h 1025"/>
                    <a:gd name="T74" fmla="*/ 205 w 1312"/>
                    <a:gd name="T75" fmla="*/ 143 h 1025"/>
                    <a:gd name="T76" fmla="*/ 330 w 1312"/>
                    <a:gd name="T77" fmla="*/ 105 h 1025"/>
                    <a:gd name="T78" fmla="*/ 460 w 1312"/>
                    <a:gd name="T79" fmla="*/ 77 h 1025"/>
                    <a:gd name="T80" fmla="*/ 606 w 1312"/>
                    <a:gd name="T81" fmla="*/ 52 h 1025"/>
                    <a:gd name="T82" fmla="*/ 667 w 1312"/>
                    <a:gd name="T83" fmla="*/ 17 h 1025"/>
                    <a:gd name="T84" fmla="*/ 776 w 1312"/>
                    <a:gd name="T85" fmla="*/ 2 h 1025"/>
                    <a:gd name="T86" fmla="*/ 1050 w 1312"/>
                    <a:gd name="T87" fmla="*/ 33 h 1025"/>
                    <a:gd name="T88" fmla="*/ 1036 w 1312"/>
                    <a:gd name="T89" fmla="*/ 92 h 1025"/>
                    <a:gd name="T90" fmla="*/ 1108 w 1312"/>
                    <a:gd name="T91" fmla="*/ 129 h 1025"/>
                    <a:gd name="T92" fmla="*/ 1277 w 1312"/>
                    <a:gd name="T93" fmla="*/ 141 h 1025"/>
                    <a:gd name="T94" fmla="*/ 1167 w 1312"/>
                    <a:gd name="T95" fmla="*/ 194 h 1025"/>
                    <a:gd name="T96" fmla="*/ 1132 w 1312"/>
                    <a:gd name="T97" fmla="*/ 262 h 1025"/>
                    <a:gd name="T98" fmla="*/ 1139 w 1312"/>
                    <a:gd name="T99" fmla="*/ 323 h 1025"/>
                    <a:gd name="T100" fmla="*/ 1095 w 1312"/>
                    <a:gd name="T101" fmla="*/ 354 h 1025"/>
                    <a:gd name="T102" fmla="*/ 1141 w 1312"/>
                    <a:gd name="T103" fmla="*/ 407 h 1025"/>
                    <a:gd name="T104" fmla="*/ 1113 w 1312"/>
                    <a:gd name="T105" fmla="*/ 451 h 1025"/>
                    <a:gd name="T106" fmla="*/ 1087 w 1312"/>
                    <a:gd name="T107" fmla="*/ 470 h 1025"/>
                    <a:gd name="T108" fmla="*/ 1041 w 1312"/>
                    <a:gd name="T109" fmla="*/ 505 h 1025"/>
                    <a:gd name="T110" fmla="*/ 978 w 1312"/>
                    <a:gd name="T111" fmla="*/ 531 h 1025"/>
                    <a:gd name="T112" fmla="*/ 1076 w 1312"/>
                    <a:gd name="T113" fmla="*/ 573 h 1025"/>
                    <a:gd name="T114" fmla="*/ 1018 w 1312"/>
                    <a:gd name="T115" fmla="*/ 564 h 1025"/>
                    <a:gd name="T116" fmla="*/ 1094 w 1312"/>
                    <a:gd name="T117" fmla="*/ 638 h 1025"/>
                    <a:gd name="T118" fmla="*/ 1006 w 1312"/>
                    <a:gd name="T119" fmla="*/ 601 h 1025"/>
                    <a:gd name="T120" fmla="*/ 989 w 1312"/>
                    <a:gd name="T121" fmla="*/ 638 h 1025"/>
                    <a:gd name="T122" fmla="*/ 1046 w 1312"/>
                    <a:gd name="T123" fmla="*/ 665 h 1025"/>
                    <a:gd name="T124" fmla="*/ 552 w 1312"/>
                    <a:gd name="T125" fmla="*/ 43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2" h="1025">
                      <a:moveTo>
                        <a:pt x="559" y="994"/>
                      </a:moveTo>
                      <a:lnTo>
                        <a:pt x="557" y="994"/>
                      </a:lnTo>
                      <a:lnTo>
                        <a:pt x="559" y="992"/>
                      </a:lnTo>
                      <a:lnTo>
                        <a:pt x="563" y="990"/>
                      </a:lnTo>
                      <a:lnTo>
                        <a:pt x="566" y="989"/>
                      </a:lnTo>
                      <a:lnTo>
                        <a:pt x="570" y="989"/>
                      </a:lnTo>
                      <a:lnTo>
                        <a:pt x="568" y="992"/>
                      </a:lnTo>
                      <a:lnTo>
                        <a:pt x="568" y="996"/>
                      </a:lnTo>
                      <a:lnTo>
                        <a:pt x="566" y="997"/>
                      </a:lnTo>
                      <a:lnTo>
                        <a:pt x="564" y="997"/>
                      </a:lnTo>
                      <a:lnTo>
                        <a:pt x="559" y="994"/>
                      </a:lnTo>
                      <a:close/>
                      <a:moveTo>
                        <a:pt x="763" y="819"/>
                      </a:moveTo>
                      <a:lnTo>
                        <a:pt x="765" y="819"/>
                      </a:lnTo>
                      <a:lnTo>
                        <a:pt x="767" y="816"/>
                      </a:lnTo>
                      <a:lnTo>
                        <a:pt x="767" y="814"/>
                      </a:lnTo>
                      <a:lnTo>
                        <a:pt x="765" y="811"/>
                      </a:lnTo>
                      <a:lnTo>
                        <a:pt x="762" y="812"/>
                      </a:lnTo>
                      <a:lnTo>
                        <a:pt x="760" y="814"/>
                      </a:lnTo>
                      <a:lnTo>
                        <a:pt x="762" y="817"/>
                      </a:lnTo>
                      <a:lnTo>
                        <a:pt x="763" y="819"/>
                      </a:lnTo>
                      <a:close/>
                      <a:moveTo>
                        <a:pt x="25" y="332"/>
                      </a:moveTo>
                      <a:lnTo>
                        <a:pt x="30" y="330"/>
                      </a:lnTo>
                      <a:lnTo>
                        <a:pt x="18" y="328"/>
                      </a:lnTo>
                      <a:lnTo>
                        <a:pt x="11" y="327"/>
                      </a:lnTo>
                      <a:lnTo>
                        <a:pt x="7" y="328"/>
                      </a:lnTo>
                      <a:lnTo>
                        <a:pt x="11" y="332"/>
                      </a:lnTo>
                      <a:lnTo>
                        <a:pt x="18" y="332"/>
                      </a:lnTo>
                      <a:lnTo>
                        <a:pt x="25" y="332"/>
                      </a:lnTo>
                      <a:close/>
                      <a:moveTo>
                        <a:pt x="393" y="658"/>
                      </a:moveTo>
                      <a:lnTo>
                        <a:pt x="395" y="658"/>
                      </a:lnTo>
                      <a:lnTo>
                        <a:pt x="392" y="657"/>
                      </a:lnTo>
                      <a:lnTo>
                        <a:pt x="388" y="655"/>
                      </a:lnTo>
                      <a:lnTo>
                        <a:pt x="385" y="651"/>
                      </a:lnTo>
                      <a:lnTo>
                        <a:pt x="385" y="648"/>
                      </a:lnTo>
                      <a:lnTo>
                        <a:pt x="386" y="645"/>
                      </a:lnTo>
                      <a:lnTo>
                        <a:pt x="392" y="643"/>
                      </a:lnTo>
                      <a:lnTo>
                        <a:pt x="395" y="643"/>
                      </a:lnTo>
                      <a:lnTo>
                        <a:pt x="399" y="643"/>
                      </a:lnTo>
                      <a:lnTo>
                        <a:pt x="404" y="645"/>
                      </a:lnTo>
                      <a:lnTo>
                        <a:pt x="412" y="646"/>
                      </a:lnTo>
                      <a:lnTo>
                        <a:pt x="418" y="646"/>
                      </a:lnTo>
                      <a:lnTo>
                        <a:pt x="421" y="650"/>
                      </a:lnTo>
                      <a:lnTo>
                        <a:pt x="426" y="655"/>
                      </a:lnTo>
                      <a:lnTo>
                        <a:pt x="430" y="658"/>
                      </a:lnTo>
                      <a:lnTo>
                        <a:pt x="435" y="660"/>
                      </a:lnTo>
                      <a:lnTo>
                        <a:pt x="439" y="662"/>
                      </a:lnTo>
                      <a:lnTo>
                        <a:pt x="442" y="664"/>
                      </a:lnTo>
                      <a:lnTo>
                        <a:pt x="446" y="665"/>
                      </a:lnTo>
                      <a:lnTo>
                        <a:pt x="446" y="669"/>
                      </a:lnTo>
                      <a:lnTo>
                        <a:pt x="446" y="671"/>
                      </a:lnTo>
                      <a:lnTo>
                        <a:pt x="444" y="671"/>
                      </a:lnTo>
                      <a:lnTo>
                        <a:pt x="442" y="672"/>
                      </a:lnTo>
                      <a:lnTo>
                        <a:pt x="437" y="674"/>
                      </a:lnTo>
                      <a:lnTo>
                        <a:pt x="412" y="679"/>
                      </a:lnTo>
                      <a:lnTo>
                        <a:pt x="409" y="679"/>
                      </a:lnTo>
                      <a:lnTo>
                        <a:pt x="404" y="678"/>
                      </a:lnTo>
                      <a:lnTo>
                        <a:pt x="402" y="678"/>
                      </a:lnTo>
                      <a:lnTo>
                        <a:pt x="402" y="676"/>
                      </a:lnTo>
                      <a:lnTo>
                        <a:pt x="400" y="676"/>
                      </a:lnTo>
                      <a:lnTo>
                        <a:pt x="399" y="674"/>
                      </a:lnTo>
                      <a:lnTo>
                        <a:pt x="400" y="674"/>
                      </a:lnTo>
                      <a:lnTo>
                        <a:pt x="409" y="672"/>
                      </a:lnTo>
                      <a:lnTo>
                        <a:pt x="404" y="671"/>
                      </a:lnTo>
                      <a:lnTo>
                        <a:pt x="392" y="671"/>
                      </a:lnTo>
                      <a:lnTo>
                        <a:pt x="386" y="669"/>
                      </a:lnTo>
                      <a:lnTo>
                        <a:pt x="385" y="667"/>
                      </a:lnTo>
                      <a:lnTo>
                        <a:pt x="383" y="665"/>
                      </a:lnTo>
                      <a:lnTo>
                        <a:pt x="383" y="662"/>
                      </a:lnTo>
                      <a:lnTo>
                        <a:pt x="385" y="660"/>
                      </a:lnTo>
                      <a:lnTo>
                        <a:pt x="386" y="657"/>
                      </a:lnTo>
                      <a:lnTo>
                        <a:pt x="390" y="658"/>
                      </a:lnTo>
                      <a:lnTo>
                        <a:pt x="393" y="658"/>
                      </a:lnTo>
                      <a:close/>
                      <a:moveTo>
                        <a:pt x="358" y="552"/>
                      </a:moveTo>
                      <a:lnTo>
                        <a:pt x="360" y="552"/>
                      </a:lnTo>
                      <a:lnTo>
                        <a:pt x="362" y="554"/>
                      </a:lnTo>
                      <a:lnTo>
                        <a:pt x="364" y="554"/>
                      </a:lnTo>
                      <a:lnTo>
                        <a:pt x="367" y="557"/>
                      </a:lnTo>
                      <a:lnTo>
                        <a:pt x="372" y="555"/>
                      </a:lnTo>
                      <a:lnTo>
                        <a:pt x="378" y="552"/>
                      </a:lnTo>
                      <a:lnTo>
                        <a:pt x="379" y="547"/>
                      </a:lnTo>
                      <a:lnTo>
                        <a:pt x="376" y="545"/>
                      </a:lnTo>
                      <a:lnTo>
                        <a:pt x="374" y="545"/>
                      </a:lnTo>
                      <a:lnTo>
                        <a:pt x="369" y="547"/>
                      </a:lnTo>
                      <a:lnTo>
                        <a:pt x="367" y="547"/>
                      </a:lnTo>
                      <a:lnTo>
                        <a:pt x="364" y="547"/>
                      </a:lnTo>
                      <a:lnTo>
                        <a:pt x="360" y="548"/>
                      </a:lnTo>
                      <a:lnTo>
                        <a:pt x="355" y="550"/>
                      </a:lnTo>
                      <a:lnTo>
                        <a:pt x="357" y="552"/>
                      </a:lnTo>
                      <a:lnTo>
                        <a:pt x="358" y="552"/>
                      </a:lnTo>
                      <a:close/>
                      <a:moveTo>
                        <a:pt x="412" y="615"/>
                      </a:moveTo>
                      <a:lnTo>
                        <a:pt x="414" y="611"/>
                      </a:lnTo>
                      <a:lnTo>
                        <a:pt x="414" y="608"/>
                      </a:lnTo>
                      <a:lnTo>
                        <a:pt x="411" y="606"/>
                      </a:lnTo>
                      <a:lnTo>
                        <a:pt x="406" y="608"/>
                      </a:lnTo>
                      <a:lnTo>
                        <a:pt x="404" y="611"/>
                      </a:lnTo>
                      <a:lnTo>
                        <a:pt x="406" y="615"/>
                      </a:lnTo>
                      <a:lnTo>
                        <a:pt x="409" y="615"/>
                      </a:lnTo>
                      <a:lnTo>
                        <a:pt x="412" y="615"/>
                      </a:lnTo>
                      <a:close/>
                      <a:moveTo>
                        <a:pt x="959" y="634"/>
                      </a:moveTo>
                      <a:lnTo>
                        <a:pt x="957" y="636"/>
                      </a:lnTo>
                      <a:lnTo>
                        <a:pt x="961" y="638"/>
                      </a:lnTo>
                      <a:lnTo>
                        <a:pt x="966" y="638"/>
                      </a:lnTo>
                      <a:lnTo>
                        <a:pt x="980" y="634"/>
                      </a:lnTo>
                      <a:lnTo>
                        <a:pt x="987" y="634"/>
                      </a:lnTo>
                      <a:lnTo>
                        <a:pt x="989" y="634"/>
                      </a:lnTo>
                      <a:lnTo>
                        <a:pt x="992" y="634"/>
                      </a:lnTo>
                      <a:lnTo>
                        <a:pt x="994" y="636"/>
                      </a:lnTo>
                      <a:lnTo>
                        <a:pt x="996" y="636"/>
                      </a:lnTo>
                      <a:lnTo>
                        <a:pt x="996" y="636"/>
                      </a:lnTo>
                      <a:lnTo>
                        <a:pt x="997" y="636"/>
                      </a:lnTo>
                      <a:lnTo>
                        <a:pt x="1001" y="636"/>
                      </a:lnTo>
                      <a:lnTo>
                        <a:pt x="1004" y="632"/>
                      </a:lnTo>
                      <a:lnTo>
                        <a:pt x="1006" y="632"/>
                      </a:lnTo>
                      <a:lnTo>
                        <a:pt x="1008" y="631"/>
                      </a:lnTo>
                      <a:lnTo>
                        <a:pt x="1011" y="631"/>
                      </a:lnTo>
                      <a:lnTo>
                        <a:pt x="1013" y="629"/>
                      </a:lnTo>
                      <a:lnTo>
                        <a:pt x="1015" y="629"/>
                      </a:lnTo>
                      <a:lnTo>
                        <a:pt x="1015" y="627"/>
                      </a:lnTo>
                      <a:lnTo>
                        <a:pt x="1015" y="625"/>
                      </a:lnTo>
                      <a:lnTo>
                        <a:pt x="1013" y="625"/>
                      </a:lnTo>
                      <a:lnTo>
                        <a:pt x="1013" y="625"/>
                      </a:lnTo>
                      <a:lnTo>
                        <a:pt x="1015" y="622"/>
                      </a:lnTo>
                      <a:lnTo>
                        <a:pt x="1013" y="620"/>
                      </a:lnTo>
                      <a:lnTo>
                        <a:pt x="1011" y="618"/>
                      </a:lnTo>
                      <a:lnTo>
                        <a:pt x="1006" y="617"/>
                      </a:lnTo>
                      <a:lnTo>
                        <a:pt x="1006" y="615"/>
                      </a:lnTo>
                      <a:lnTo>
                        <a:pt x="1004" y="615"/>
                      </a:lnTo>
                      <a:lnTo>
                        <a:pt x="1003" y="617"/>
                      </a:lnTo>
                      <a:lnTo>
                        <a:pt x="992" y="620"/>
                      </a:lnTo>
                      <a:lnTo>
                        <a:pt x="987" y="622"/>
                      </a:lnTo>
                      <a:lnTo>
                        <a:pt x="982" y="622"/>
                      </a:lnTo>
                      <a:lnTo>
                        <a:pt x="977" y="622"/>
                      </a:lnTo>
                      <a:lnTo>
                        <a:pt x="973" y="622"/>
                      </a:lnTo>
                      <a:lnTo>
                        <a:pt x="968" y="620"/>
                      </a:lnTo>
                      <a:lnTo>
                        <a:pt x="966" y="620"/>
                      </a:lnTo>
                      <a:lnTo>
                        <a:pt x="964" y="622"/>
                      </a:lnTo>
                      <a:lnTo>
                        <a:pt x="964" y="624"/>
                      </a:lnTo>
                      <a:lnTo>
                        <a:pt x="964" y="627"/>
                      </a:lnTo>
                      <a:lnTo>
                        <a:pt x="963" y="629"/>
                      </a:lnTo>
                      <a:lnTo>
                        <a:pt x="959" y="634"/>
                      </a:lnTo>
                      <a:close/>
                      <a:moveTo>
                        <a:pt x="451" y="622"/>
                      </a:moveTo>
                      <a:lnTo>
                        <a:pt x="454" y="622"/>
                      </a:lnTo>
                      <a:lnTo>
                        <a:pt x="451" y="620"/>
                      </a:lnTo>
                      <a:lnTo>
                        <a:pt x="447" y="618"/>
                      </a:lnTo>
                      <a:lnTo>
                        <a:pt x="444" y="618"/>
                      </a:lnTo>
                      <a:lnTo>
                        <a:pt x="442" y="620"/>
                      </a:lnTo>
                      <a:lnTo>
                        <a:pt x="444" y="622"/>
                      </a:lnTo>
                      <a:lnTo>
                        <a:pt x="447" y="622"/>
                      </a:lnTo>
                      <a:lnTo>
                        <a:pt x="451" y="622"/>
                      </a:lnTo>
                      <a:close/>
                      <a:moveTo>
                        <a:pt x="467" y="671"/>
                      </a:moveTo>
                      <a:lnTo>
                        <a:pt x="467" y="669"/>
                      </a:lnTo>
                      <a:lnTo>
                        <a:pt x="467" y="667"/>
                      </a:lnTo>
                      <a:lnTo>
                        <a:pt x="468" y="665"/>
                      </a:lnTo>
                      <a:lnTo>
                        <a:pt x="470" y="665"/>
                      </a:lnTo>
                      <a:lnTo>
                        <a:pt x="470" y="664"/>
                      </a:lnTo>
                      <a:lnTo>
                        <a:pt x="472" y="664"/>
                      </a:lnTo>
                      <a:lnTo>
                        <a:pt x="474" y="662"/>
                      </a:lnTo>
                      <a:lnTo>
                        <a:pt x="470" y="660"/>
                      </a:lnTo>
                      <a:lnTo>
                        <a:pt x="467" y="658"/>
                      </a:lnTo>
                      <a:lnTo>
                        <a:pt x="463" y="658"/>
                      </a:lnTo>
                      <a:lnTo>
                        <a:pt x="460" y="662"/>
                      </a:lnTo>
                      <a:lnTo>
                        <a:pt x="461" y="669"/>
                      </a:lnTo>
                      <a:lnTo>
                        <a:pt x="463" y="672"/>
                      </a:lnTo>
                      <a:lnTo>
                        <a:pt x="467" y="671"/>
                      </a:lnTo>
                      <a:close/>
                      <a:moveTo>
                        <a:pt x="1151" y="285"/>
                      </a:moveTo>
                      <a:lnTo>
                        <a:pt x="1149" y="285"/>
                      </a:lnTo>
                      <a:lnTo>
                        <a:pt x="1148" y="285"/>
                      </a:lnTo>
                      <a:lnTo>
                        <a:pt x="1146" y="286"/>
                      </a:lnTo>
                      <a:lnTo>
                        <a:pt x="1144" y="288"/>
                      </a:lnTo>
                      <a:lnTo>
                        <a:pt x="1144" y="292"/>
                      </a:lnTo>
                      <a:lnTo>
                        <a:pt x="1144" y="297"/>
                      </a:lnTo>
                      <a:lnTo>
                        <a:pt x="1148" y="307"/>
                      </a:lnTo>
                      <a:lnTo>
                        <a:pt x="1151" y="304"/>
                      </a:lnTo>
                      <a:lnTo>
                        <a:pt x="1153" y="300"/>
                      </a:lnTo>
                      <a:lnTo>
                        <a:pt x="1153" y="297"/>
                      </a:lnTo>
                      <a:lnTo>
                        <a:pt x="1151" y="293"/>
                      </a:lnTo>
                      <a:lnTo>
                        <a:pt x="1153" y="286"/>
                      </a:lnTo>
                      <a:lnTo>
                        <a:pt x="1151" y="285"/>
                      </a:lnTo>
                      <a:close/>
                      <a:moveTo>
                        <a:pt x="1156" y="388"/>
                      </a:moveTo>
                      <a:lnTo>
                        <a:pt x="1149" y="370"/>
                      </a:lnTo>
                      <a:lnTo>
                        <a:pt x="1148" y="361"/>
                      </a:lnTo>
                      <a:lnTo>
                        <a:pt x="1151" y="356"/>
                      </a:lnTo>
                      <a:lnTo>
                        <a:pt x="1156" y="360"/>
                      </a:lnTo>
                      <a:lnTo>
                        <a:pt x="1158" y="368"/>
                      </a:lnTo>
                      <a:lnTo>
                        <a:pt x="1160" y="386"/>
                      </a:lnTo>
                      <a:lnTo>
                        <a:pt x="1160" y="388"/>
                      </a:lnTo>
                      <a:lnTo>
                        <a:pt x="1156" y="388"/>
                      </a:lnTo>
                      <a:close/>
                      <a:moveTo>
                        <a:pt x="1176" y="311"/>
                      </a:moveTo>
                      <a:lnTo>
                        <a:pt x="1179" y="313"/>
                      </a:lnTo>
                      <a:lnTo>
                        <a:pt x="1179" y="316"/>
                      </a:lnTo>
                      <a:lnTo>
                        <a:pt x="1176" y="320"/>
                      </a:lnTo>
                      <a:lnTo>
                        <a:pt x="1172" y="321"/>
                      </a:lnTo>
                      <a:lnTo>
                        <a:pt x="1167" y="321"/>
                      </a:lnTo>
                      <a:lnTo>
                        <a:pt x="1169" y="318"/>
                      </a:lnTo>
                      <a:lnTo>
                        <a:pt x="1172" y="313"/>
                      </a:lnTo>
                      <a:lnTo>
                        <a:pt x="1176" y="311"/>
                      </a:lnTo>
                      <a:close/>
                      <a:moveTo>
                        <a:pt x="1153" y="444"/>
                      </a:moveTo>
                      <a:lnTo>
                        <a:pt x="1153" y="438"/>
                      </a:lnTo>
                      <a:lnTo>
                        <a:pt x="1153" y="433"/>
                      </a:lnTo>
                      <a:lnTo>
                        <a:pt x="1155" y="428"/>
                      </a:lnTo>
                      <a:lnTo>
                        <a:pt x="1158" y="426"/>
                      </a:lnTo>
                      <a:lnTo>
                        <a:pt x="1160" y="426"/>
                      </a:lnTo>
                      <a:lnTo>
                        <a:pt x="1162" y="428"/>
                      </a:lnTo>
                      <a:lnTo>
                        <a:pt x="1163" y="430"/>
                      </a:lnTo>
                      <a:lnTo>
                        <a:pt x="1165" y="428"/>
                      </a:lnTo>
                      <a:lnTo>
                        <a:pt x="1172" y="424"/>
                      </a:lnTo>
                      <a:lnTo>
                        <a:pt x="1174" y="433"/>
                      </a:lnTo>
                      <a:lnTo>
                        <a:pt x="1174" y="437"/>
                      </a:lnTo>
                      <a:lnTo>
                        <a:pt x="1176" y="440"/>
                      </a:lnTo>
                      <a:lnTo>
                        <a:pt x="1177" y="440"/>
                      </a:lnTo>
                      <a:lnTo>
                        <a:pt x="1181" y="440"/>
                      </a:lnTo>
                      <a:lnTo>
                        <a:pt x="1183" y="440"/>
                      </a:lnTo>
                      <a:lnTo>
                        <a:pt x="1184" y="442"/>
                      </a:lnTo>
                      <a:lnTo>
                        <a:pt x="1184" y="447"/>
                      </a:lnTo>
                      <a:lnTo>
                        <a:pt x="1177" y="449"/>
                      </a:lnTo>
                      <a:lnTo>
                        <a:pt x="1169" y="449"/>
                      </a:lnTo>
                      <a:lnTo>
                        <a:pt x="1158" y="447"/>
                      </a:lnTo>
                      <a:lnTo>
                        <a:pt x="1153" y="444"/>
                      </a:lnTo>
                      <a:close/>
                      <a:moveTo>
                        <a:pt x="1155" y="220"/>
                      </a:moveTo>
                      <a:lnTo>
                        <a:pt x="1149" y="218"/>
                      </a:lnTo>
                      <a:lnTo>
                        <a:pt x="1148" y="213"/>
                      </a:lnTo>
                      <a:lnTo>
                        <a:pt x="1151" y="209"/>
                      </a:lnTo>
                      <a:lnTo>
                        <a:pt x="1156" y="206"/>
                      </a:lnTo>
                      <a:lnTo>
                        <a:pt x="1162" y="204"/>
                      </a:lnTo>
                      <a:lnTo>
                        <a:pt x="1170" y="202"/>
                      </a:lnTo>
                      <a:lnTo>
                        <a:pt x="1172" y="202"/>
                      </a:lnTo>
                      <a:lnTo>
                        <a:pt x="1174" y="202"/>
                      </a:lnTo>
                      <a:lnTo>
                        <a:pt x="1181" y="202"/>
                      </a:lnTo>
                      <a:lnTo>
                        <a:pt x="1183" y="204"/>
                      </a:lnTo>
                      <a:lnTo>
                        <a:pt x="1184" y="206"/>
                      </a:lnTo>
                      <a:lnTo>
                        <a:pt x="1184" y="209"/>
                      </a:lnTo>
                      <a:lnTo>
                        <a:pt x="1181" y="213"/>
                      </a:lnTo>
                      <a:lnTo>
                        <a:pt x="1177" y="216"/>
                      </a:lnTo>
                      <a:lnTo>
                        <a:pt x="1172" y="220"/>
                      </a:lnTo>
                      <a:lnTo>
                        <a:pt x="1167" y="220"/>
                      </a:lnTo>
                      <a:lnTo>
                        <a:pt x="1162" y="220"/>
                      </a:lnTo>
                      <a:lnTo>
                        <a:pt x="1155" y="220"/>
                      </a:lnTo>
                      <a:close/>
                      <a:moveTo>
                        <a:pt x="1038" y="672"/>
                      </a:moveTo>
                      <a:lnTo>
                        <a:pt x="1032" y="676"/>
                      </a:lnTo>
                      <a:lnTo>
                        <a:pt x="1018" y="679"/>
                      </a:lnTo>
                      <a:lnTo>
                        <a:pt x="1020" y="681"/>
                      </a:lnTo>
                      <a:lnTo>
                        <a:pt x="1018" y="683"/>
                      </a:lnTo>
                      <a:lnTo>
                        <a:pt x="1010" y="686"/>
                      </a:lnTo>
                      <a:lnTo>
                        <a:pt x="1010" y="686"/>
                      </a:lnTo>
                      <a:lnTo>
                        <a:pt x="1008" y="688"/>
                      </a:lnTo>
                      <a:lnTo>
                        <a:pt x="1008" y="690"/>
                      </a:lnTo>
                      <a:lnTo>
                        <a:pt x="1006" y="690"/>
                      </a:lnTo>
                      <a:lnTo>
                        <a:pt x="992" y="695"/>
                      </a:lnTo>
                      <a:lnTo>
                        <a:pt x="935" y="707"/>
                      </a:lnTo>
                      <a:lnTo>
                        <a:pt x="929" y="707"/>
                      </a:lnTo>
                      <a:lnTo>
                        <a:pt x="921" y="707"/>
                      </a:lnTo>
                      <a:lnTo>
                        <a:pt x="917" y="707"/>
                      </a:lnTo>
                      <a:lnTo>
                        <a:pt x="915" y="709"/>
                      </a:lnTo>
                      <a:lnTo>
                        <a:pt x="912" y="711"/>
                      </a:lnTo>
                      <a:lnTo>
                        <a:pt x="910" y="713"/>
                      </a:lnTo>
                      <a:lnTo>
                        <a:pt x="907" y="713"/>
                      </a:lnTo>
                      <a:lnTo>
                        <a:pt x="900" y="709"/>
                      </a:lnTo>
                      <a:lnTo>
                        <a:pt x="901" y="714"/>
                      </a:lnTo>
                      <a:lnTo>
                        <a:pt x="898" y="716"/>
                      </a:lnTo>
                      <a:lnTo>
                        <a:pt x="893" y="716"/>
                      </a:lnTo>
                      <a:lnTo>
                        <a:pt x="887" y="714"/>
                      </a:lnTo>
                      <a:lnTo>
                        <a:pt x="882" y="713"/>
                      </a:lnTo>
                      <a:lnTo>
                        <a:pt x="872" y="706"/>
                      </a:lnTo>
                      <a:lnTo>
                        <a:pt x="867" y="704"/>
                      </a:lnTo>
                      <a:lnTo>
                        <a:pt x="867" y="707"/>
                      </a:lnTo>
                      <a:lnTo>
                        <a:pt x="868" y="709"/>
                      </a:lnTo>
                      <a:lnTo>
                        <a:pt x="868" y="711"/>
                      </a:lnTo>
                      <a:lnTo>
                        <a:pt x="865" y="711"/>
                      </a:lnTo>
                      <a:lnTo>
                        <a:pt x="868" y="718"/>
                      </a:lnTo>
                      <a:lnTo>
                        <a:pt x="865" y="723"/>
                      </a:lnTo>
                      <a:lnTo>
                        <a:pt x="849" y="730"/>
                      </a:lnTo>
                      <a:lnTo>
                        <a:pt x="844" y="735"/>
                      </a:lnTo>
                      <a:lnTo>
                        <a:pt x="828" y="765"/>
                      </a:lnTo>
                      <a:lnTo>
                        <a:pt x="826" y="769"/>
                      </a:lnTo>
                      <a:lnTo>
                        <a:pt x="825" y="769"/>
                      </a:lnTo>
                      <a:lnTo>
                        <a:pt x="821" y="770"/>
                      </a:lnTo>
                      <a:lnTo>
                        <a:pt x="821" y="770"/>
                      </a:lnTo>
                      <a:lnTo>
                        <a:pt x="819" y="772"/>
                      </a:lnTo>
                      <a:lnTo>
                        <a:pt x="818" y="776"/>
                      </a:lnTo>
                      <a:lnTo>
                        <a:pt x="818" y="777"/>
                      </a:lnTo>
                      <a:lnTo>
                        <a:pt x="814" y="779"/>
                      </a:lnTo>
                      <a:lnTo>
                        <a:pt x="811" y="783"/>
                      </a:lnTo>
                      <a:lnTo>
                        <a:pt x="807" y="784"/>
                      </a:lnTo>
                      <a:lnTo>
                        <a:pt x="804" y="786"/>
                      </a:lnTo>
                      <a:lnTo>
                        <a:pt x="800" y="784"/>
                      </a:lnTo>
                      <a:lnTo>
                        <a:pt x="797" y="783"/>
                      </a:lnTo>
                      <a:lnTo>
                        <a:pt x="790" y="777"/>
                      </a:lnTo>
                      <a:lnTo>
                        <a:pt x="791" y="781"/>
                      </a:lnTo>
                      <a:lnTo>
                        <a:pt x="793" y="784"/>
                      </a:lnTo>
                      <a:lnTo>
                        <a:pt x="795" y="788"/>
                      </a:lnTo>
                      <a:lnTo>
                        <a:pt x="793" y="793"/>
                      </a:lnTo>
                      <a:lnTo>
                        <a:pt x="791" y="795"/>
                      </a:lnTo>
                      <a:lnTo>
                        <a:pt x="786" y="798"/>
                      </a:lnTo>
                      <a:lnTo>
                        <a:pt x="781" y="804"/>
                      </a:lnTo>
                      <a:lnTo>
                        <a:pt x="779" y="805"/>
                      </a:lnTo>
                      <a:lnTo>
                        <a:pt x="779" y="800"/>
                      </a:lnTo>
                      <a:lnTo>
                        <a:pt x="777" y="798"/>
                      </a:lnTo>
                      <a:lnTo>
                        <a:pt x="776" y="797"/>
                      </a:lnTo>
                      <a:lnTo>
                        <a:pt x="776" y="804"/>
                      </a:lnTo>
                      <a:lnTo>
                        <a:pt x="772" y="807"/>
                      </a:lnTo>
                      <a:lnTo>
                        <a:pt x="769" y="807"/>
                      </a:lnTo>
                      <a:lnTo>
                        <a:pt x="765" y="804"/>
                      </a:lnTo>
                      <a:lnTo>
                        <a:pt x="760" y="807"/>
                      </a:lnTo>
                      <a:lnTo>
                        <a:pt x="760" y="807"/>
                      </a:lnTo>
                      <a:lnTo>
                        <a:pt x="760" y="809"/>
                      </a:lnTo>
                      <a:lnTo>
                        <a:pt x="758" y="811"/>
                      </a:lnTo>
                      <a:lnTo>
                        <a:pt x="758" y="811"/>
                      </a:lnTo>
                      <a:lnTo>
                        <a:pt x="757" y="814"/>
                      </a:lnTo>
                      <a:lnTo>
                        <a:pt x="755" y="814"/>
                      </a:lnTo>
                      <a:lnTo>
                        <a:pt x="753" y="816"/>
                      </a:lnTo>
                      <a:lnTo>
                        <a:pt x="751" y="816"/>
                      </a:lnTo>
                      <a:lnTo>
                        <a:pt x="748" y="816"/>
                      </a:lnTo>
                      <a:lnTo>
                        <a:pt x="746" y="816"/>
                      </a:lnTo>
                      <a:lnTo>
                        <a:pt x="744" y="814"/>
                      </a:lnTo>
                      <a:lnTo>
                        <a:pt x="744" y="811"/>
                      </a:lnTo>
                      <a:lnTo>
                        <a:pt x="746" y="809"/>
                      </a:lnTo>
                      <a:lnTo>
                        <a:pt x="748" y="807"/>
                      </a:lnTo>
                      <a:lnTo>
                        <a:pt x="748" y="805"/>
                      </a:lnTo>
                      <a:lnTo>
                        <a:pt x="748" y="805"/>
                      </a:lnTo>
                      <a:lnTo>
                        <a:pt x="748" y="802"/>
                      </a:lnTo>
                      <a:lnTo>
                        <a:pt x="748" y="802"/>
                      </a:lnTo>
                      <a:lnTo>
                        <a:pt x="750" y="798"/>
                      </a:lnTo>
                      <a:lnTo>
                        <a:pt x="751" y="797"/>
                      </a:lnTo>
                      <a:lnTo>
                        <a:pt x="753" y="791"/>
                      </a:lnTo>
                      <a:lnTo>
                        <a:pt x="758" y="784"/>
                      </a:lnTo>
                      <a:lnTo>
                        <a:pt x="760" y="783"/>
                      </a:lnTo>
                      <a:lnTo>
                        <a:pt x="757" y="781"/>
                      </a:lnTo>
                      <a:lnTo>
                        <a:pt x="751" y="781"/>
                      </a:lnTo>
                      <a:lnTo>
                        <a:pt x="744" y="779"/>
                      </a:lnTo>
                      <a:lnTo>
                        <a:pt x="741" y="779"/>
                      </a:lnTo>
                      <a:lnTo>
                        <a:pt x="743" y="781"/>
                      </a:lnTo>
                      <a:lnTo>
                        <a:pt x="750" y="786"/>
                      </a:lnTo>
                      <a:lnTo>
                        <a:pt x="746" y="790"/>
                      </a:lnTo>
                      <a:lnTo>
                        <a:pt x="744" y="793"/>
                      </a:lnTo>
                      <a:lnTo>
                        <a:pt x="743" y="798"/>
                      </a:lnTo>
                      <a:lnTo>
                        <a:pt x="741" y="802"/>
                      </a:lnTo>
                      <a:lnTo>
                        <a:pt x="736" y="798"/>
                      </a:lnTo>
                      <a:lnTo>
                        <a:pt x="734" y="797"/>
                      </a:lnTo>
                      <a:lnTo>
                        <a:pt x="736" y="800"/>
                      </a:lnTo>
                      <a:lnTo>
                        <a:pt x="739" y="805"/>
                      </a:lnTo>
                      <a:lnTo>
                        <a:pt x="741" y="809"/>
                      </a:lnTo>
                      <a:lnTo>
                        <a:pt x="739" y="811"/>
                      </a:lnTo>
                      <a:lnTo>
                        <a:pt x="737" y="812"/>
                      </a:lnTo>
                      <a:lnTo>
                        <a:pt x="734" y="814"/>
                      </a:lnTo>
                      <a:lnTo>
                        <a:pt x="730" y="816"/>
                      </a:lnTo>
                      <a:lnTo>
                        <a:pt x="723" y="816"/>
                      </a:lnTo>
                      <a:lnTo>
                        <a:pt x="708" y="817"/>
                      </a:lnTo>
                      <a:lnTo>
                        <a:pt x="701" y="817"/>
                      </a:lnTo>
                      <a:lnTo>
                        <a:pt x="699" y="821"/>
                      </a:lnTo>
                      <a:lnTo>
                        <a:pt x="701" y="823"/>
                      </a:lnTo>
                      <a:lnTo>
                        <a:pt x="704" y="824"/>
                      </a:lnTo>
                      <a:lnTo>
                        <a:pt x="708" y="826"/>
                      </a:lnTo>
                      <a:lnTo>
                        <a:pt x="709" y="826"/>
                      </a:lnTo>
                      <a:lnTo>
                        <a:pt x="709" y="828"/>
                      </a:lnTo>
                      <a:lnTo>
                        <a:pt x="709" y="828"/>
                      </a:lnTo>
                      <a:lnTo>
                        <a:pt x="709" y="830"/>
                      </a:lnTo>
                      <a:lnTo>
                        <a:pt x="709" y="831"/>
                      </a:lnTo>
                      <a:lnTo>
                        <a:pt x="706" y="833"/>
                      </a:lnTo>
                      <a:lnTo>
                        <a:pt x="702" y="837"/>
                      </a:lnTo>
                      <a:lnTo>
                        <a:pt x="701" y="838"/>
                      </a:lnTo>
                      <a:lnTo>
                        <a:pt x="697" y="840"/>
                      </a:lnTo>
                      <a:lnTo>
                        <a:pt x="681" y="838"/>
                      </a:lnTo>
                      <a:lnTo>
                        <a:pt x="678" y="838"/>
                      </a:lnTo>
                      <a:lnTo>
                        <a:pt x="678" y="840"/>
                      </a:lnTo>
                      <a:lnTo>
                        <a:pt x="680" y="844"/>
                      </a:lnTo>
                      <a:lnTo>
                        <a:pt x="680" y="845"/>
                      </a:lnTo>
                      <a:lnTo>
                        <a:pt x="681" y="847"/>
                      </a:lnTo>
                      <a:lnTo>
                        <a:pt x="683" y="847"/>
                      </a:lnTo>
                      <a:lnTo>
                        <a:pt x="687" y="847"/>
                      </a:lnTo>
                      <a:lnTo>
                        <a:pt x="688" y="847"/>
                      </a:lnTo>
                      <a:lnTo>
                        <a:pt x="690" y="849"/>
                      </a:lnTo>
                      <a:lnTo>
                        <a:pt x="690" y="851"/>
                      </a:lnTo>
                      <a:lnTo>
                        <a:pt x="692" y="854"/>
                      </a:lnTo>
                      <a:lnTo>
                        <a:pt x="692" y="856"/>
                      </a:lnTo>
                      <a:lnTo>
                        <a:pt x="694" y="858"/>
                      </a:lnTo>
                      <a:lnTo>
                        <a:pt x="695" y="859"/>
                      </a:lnTo>
                      <a:lnTo>
                        <a:pt x="697" y="861"/>
                      </a:lnTo>
                      <a:lnTo>
                        <a:pt x="697" y="863"/>
                      </a:lnTo>
                      <a:lnTo>
                        <a:pt x="697" y="865"/>
                      </a:lnTo>
                      <a:lnTo>
                        <a:pt x="695" y="866"/>
                      </a:lnTo>
                      <a:lnTo>
                        <a:pt x="694" y="868"/>
                      </a:lnTo>
                      <a:lnTo>
                        <a:pt x="692" y="868"/>
                      </a:lnTo>
                      <a:lnTo>
                        <a:pt x="692" y="870"/>
                      </a:lnTo>
                      <a:lnTo>
                        <a:pt x="688" y="870"/>
                      </a:lnTo>
                      <a:lnTo>
                        <a:pt x="687" y="870"/>
                      </a:lnTo>
                      <a:lnTo>
                        <a:pt x="687" y="870"/>
                      </a:lnTo>
                      <a:lnTo>
                        <a:pt x="687" y="872"/>
                      </a:lnTo>
                      <a:lnTo>
                        <a:pt x="687" y="873"/>
                      </a:lnTo>
                      <a:lnTo>
                        <a:pt x="687" y="873"/>
                      </a:lnTo>
                      <a:lnTo>
                        <a:pt x="681" y="873"/>
                      </a:lnTo>
                      <a:lnTo>
                        <a:pt x="667" y="872"/>
                      </a:lnTo>
                      <a:lnTo>
                        <a:pt x="678" y="877"/>
                      </a:lnTo>
                      <a:lnTo>
                        <a:pt x="680" y="877"/>
                      </a:lnTo>
                      <a:lnTo>
                        <a:pt x="681" y="877"/>
                      </a:lnTo>
                      <a:lnTo>
                        <a:pt x="683" y="877"/>
                      </a:lnTo>
                      <a:lnTo>
                        <a:pt x="685" y="877"/>
                      </a:lnTo>
                      <a:lnTo>
                        <a:pt x="687" y="877"/>
                      </a:lnTo>
                      <a:lnTo>
                        <a:pt x="688" y="879"/>
                      </a:lnTo>
                      <a:lnTo>
                        <a:pt x="688" y="879"/>
                      </a:lnTo>
                      <a:lnTo>
                        <a:pt x="688" y="880"/>
                      </a:lnTo>
                      <a:lnTo>
                        <a:pt x="688" y="882"/>
                      </a:lnTo>
                      <a:lnTo>
                        <a:pt x="688" y="889"/>
                      </a:lnTo>
                      <a:lnTo>
                        <a:pt x="688" y="891"/>
                      </a:lnTo>
                      <a:lnTo>
                        <a:pt x="688" y="894"/>
                      </a:lnTo>
                      <a:lnTo>
                        <a:pt x="688" y="894"/>
                      </a:lnTo>
                      <a:lnTo>
                        <a:pt x="687" y="896"/>
                      </a:lnTo>
                      <a:lnTo>
                        <a:pt x="685" y="896"/>
                      </a:lnTo>
                      <a:lnTo>
                        <a:pt x="685" y="898"/>
                      </a:lnTo>
                      <a:lnTo>
                        <a:pt x="685" y="900"/>
                      </a:lnTo>
                      <a:lnTo>
                        <a:pt x="685" y="900"/>
                      </a:lnTo>
                      <a:lnTo>
                        <a:pt x="683" y="900"/>
                      </a:lnTo>
                      <a:lnTo>
                        <a:pt x="681" y="901"/>
                      </a:lnTo>
                      <a:lnTo>
                        <a:pt x="681" y="901"/>
                      </a:lnTo>
                      <a:lnTo>
                        <a:pt x="680" y="901"/>
                      </a:lnTo>
                      <a:lnTo>
                        <a:pt x="680" y="903"/>
                      </a:lnTo>
                      <a:lnTo>
                        <a:pt x="680" y="903"/>
                      </a:lnTo>
                      <a:lnTo>
                        <a:pt x="678" y="905"/>
                      </a:lnTo>
                      <a:lnTo>
                        <a:pt x="678" y="907"/>
                      </a:lnTo>
                      <a:lnTo>
                        <a:pt x="678" y="907"/>
                      </a:lnTo>
                      <a:lnTo>
                        <a:pt x="678" y="908"/>
                      </a:lnTo>
                      <a:lnTo>
                        <a:pt x="678" y="908"/>
                      </a:lnTo>
                      <a:lnTo>
                        <a:pt x="676" y="910"/>
                      </a:lnTo>
                      <a:lnTo>
                        <a:pt x="676" y="912"/>
                      </a:lnTo>
                      <a:lnTo>
                        <a:pt x="674" y="914"/>
                      </a:lnTo>
                      <a:lnTo>
                        <a:pt x="673" y="915"/>
                      </a:lnTo>
                      <a:lnTo>
                        <a:pt x="667" y="917"/>
                      </a:lnTo>
                      <a:lnTo>
                        <a:pt x="664" y="915"/>
                      </a:lnTo>
                      <a:lnTo>
                        <a:pt x="655" y="912"/>
                      </a:lnTo>
                      <a:lnTo>
                        <a:pt x="657" y="914"/>
                      </a:lnTo>
                      <a:lnTo>
                        <a:pt x="659" y="915"/>
                      </a:lnTo>
                      <a:lnTo>
                        <a:pt x="666" y="919"/>
                      </a:lnTo>
                      <a:lnTo>
                        <a:pt x="666" y="921"/>
                      </a:lnTo>
                      <a:lnTo>
                        <a:pt x="666" y="922"/>
                      </a:lnTo>
                      <a:lnTo>
                        <a:pt x="666" y="922"/>
                      </a:lnTo>
                      <a:lnTo>
                        <a:pt x="664" y="924"/>
                      </a:lnTo>
                      <a:lnTo>
                        <a:pt x="660" y="928"/>
                      </a:lnTo>
                      <a:lnTo>
                        <a:pt x="657" y="929"/>
                      </a:lnTo>
                      <a:lnTo>
                        <a:pt x="650" y="929"/>
                      </a:lnTo>
                      <a:lnTo>
                        <a:pt x="640" y="928"/>
                      </a:lnTo>
                      <a:lnTo>
                        <a:pt x="641" y="929"/>
                      </a:lnTo>
                      <a:lnTo>
                        <a:pt x="645" y="931"/>
                      </a:lnTo>
                      <a:lnTo>
                        <a:pt x="648" y="931"/>
                      </a:lnTo>
                      <a:lnTo>
                        <a:pt x="655" y="933"/>
                      </a:lnTo>
                      <a:lnTo>
                        <a:pt x="655" y="933"/>
                      </a:lnTo>
                      <a:lnTo>
                        <a:pt x="655" y="933"/>
                      </a:lnTo>
                      <a:lnTo>
                        <a:pt x="655" y="936"/>
                      </a:lnTo>
                      <a:lnTo>
                        <a:pt x="655" y="936"/>
                      </a:lnTo>
                      <a:lnTo>
                        <a:pt x="653" y="945"/>
                      </a:lnTo>
                      <a:lnTo>
                        <a:pt x="653" y="947"/>
                      </a:lnTo>
                      <a:lnTo>
                        <a:pt x="653" y="949"/>
                      </a:lnTo>
                      <a:lnTo>
                        <a:pt x="653" y="950"/>
                      </a:lnTo>
                      <a:lnTo>
                        <a:pt x="655" y="950"/>
                      </a:lnTo>
                      <a:lnTo>
                        <a:pt x="655" y="952"/>
                      </a:lnTo>
                      <a:lnTo>
                        <a:pt x="655" y="954"/>
                      </a:lnTo>
                      <a:lnTo>
                        <a:pt x="655" y="957"/>
                      </a:lnTo>
                      <a:lnTo>
                        <a:pt x="653" y="959"/>
                      </a:lnTo>
                      <a:lnTo>
                        <a:pt x="650" y="959"/>
                      </a:lnTo>
                      <a:lnTo>
                        <a:pt x="646" y="961"/>
                      </a:lnTo>
                      <a:lnTo>
                        <a:pt x="650" y="961"/>
                      </a:lnTo>
                      <a:lnTo>
                        <a:pt x="652" y="963"/>
                      </a:lnTo>
                      <a:lnTo>
                        <a:pt x="652" y="964"/>
                      </a:lnTo>
                      <a:lnTo>
                        <a:pt x="652" y="966"/>
                      </a:lnTo>
                      <a:lnTo>
                        <a:pt x="648" y="973"/>
                      </a:lnTo>
                      <a:lnTo>
                        <a:pt x="645" y="983"/>
                      </a:lnTo>
                      <a:lnTo>
                        <a:pt x="643" y="990"/>
                      </a:lnTo>
                      <a:lnTo>
                        <a:pt x="643" y="996"/>
                      </a:lnTo>
                      <a:lnTo>
                        <a:pt x="640" y="999"/>
                      </a:lnTo>
                      <a:lnTo>
                        <a:pt x="636" y="1003"/>
                      </a:lnTo>
                      <a:lnTo>
                        <a:pt x="634" y="1003"/>
                      </a:lnTo>
                      <a:lnTo>
                        <a:pt x="631" y="1003"/>
                      </a:lnTo>
                      <a:lnTo>
                        <a:pt x="624" y="1001"/>
                      </a:lnTo>
                      <a:lnTo>
                        <a:pt x="620" y="1001"/>
                      </a:lnTo>
                      <a:lnTo>
                        <a:pt x="619" y="1001"/>
                      </a:lnTo>
                      <a:lnTo>
                        <a:pt x="619" y="1001"/>
                      </a:lnTo>
                      <a:lnTo>
                        <a:pt x="622" y="1003"/>
                      </a:lnTo>
                      <a:lnTo>
                        <a:pt x="629" y="1004"/>
                      </a:lnTo>
                      <a:lnTo>
                        <a:pt x="633" y="1006"/>
                      </a:lnTo>
                      <a:lnTo>
                        <a:pt x="634" y="1010"/>
                      </a:lnTo>
                      <a:lnTo>
                        <a:pt x="634" y="1013"/>
                      </a:lnTo>
                      <a:lnTo>
                        <a:pt x="634" y="1015"/>
                      </a:lnTo>
                      <a:lnTo>
                        <a:pt x="634" y="1018"/>
                      </a:lnTo>
                      <a:lnTo>
                        <a:pt x="633" y="1020"/>
                      </a:lnTo>
                      <a:lnTo>
                        <a:pt x="629" y="1022"/>
                      </a:lnTo>
                      <a:lnTo>
                        <a:pt x="626" y="1022"/>
                      </a:lnTo>
                      <a:lnTo>
                        <a:pt x="617" y="1020"/>
                      </a:lnTo>
                      <a:lnTo>
                        <a:pt x="619" y="1020"/>
                      </a:lnTo>
                      <a:lnTo>
                        <a:pt x="624" y="1025"/>
                      </a:lnTo>
                      <a:lnTo>
                        <a:pt x="619" y="1025"/>
                      </a:lnTo>
                      <a:lnTo>
                        <a:pt x="617" y="1025"/>
                      </a:lnTo>
                      <a:lnTo>
                        <a:pt x="613" y="1025"/>
                      </a:lnTo>
                      <a:lnTo>
                        <a:pt x="613" y="1025"/>
                      </a:lnTo>
                      <a:lnTo>
                        <a:pt x="615" y="1024"/>
                      </a:lnTo>
                      <a:lnTo>
                        <a:pt x="615" y="1022"/>
                      </a:lnTo>
                      <a:lnTo>
                        <a:pt x="610" y="1024"/>
                      </a:lnTo>
                      <a:lnTo>
                        <a:pt x="608" y="1022"/>
                      </a:lnTo>
                      <a:lnTo>
                        <a:pt x="608" y="1020"/>
                      </a:lnTo>
                      <a:lnTo>
                        <a:pt x="612" y="1011"/>
                      </a:lnTo>
                      <a:lnTo>
                        <a:pt x="610" y="1013"/>
                      </a:lnTo>
                      <a:lnTo>
                        <a:pt x="606" y="1017"/>
                      </a:lnTo>
                      <a:lnTo>
                        <a:pt x="603" y="1020"/>
                      </a:lnTo>
                      <a:lnTo>
                        <a:pt x="601" y="1020"/>
                      </a:lnTo>
                      <a:lnTo>
                        <a:pt x="598" y="1018"/>
                      </a:lnTo>
                      <a:lnTo>
                        <a:pt x="592" y="1017"/>
                      </a:lnTo>
                      <a:lnTo>
                        <a:pt x="591" y="1015"/>
                      </a:lnTo>
                      <a:lnTo>
                        <a:pt x="589" y="1013"/>
                      </a:lnTo>
                      <a:lnTo>
                        <a:pt x="587" y="1013"/>
                      </a:lnTo>
                      <a:lnTo>
                        <a:pt x="587" y="1010"/>
                      </a:lnTo>
                      <a:lnTo>
                        <a:pt x="589" y="1008"/>
                      </a:lnTo>
                      <a:lnTo>
                        <a:pt x="594" y="1004"/>
                      </a:lnTo>
                      <a:lnTo>
                        <a:pt x="598" y="1003"/>
                      </a:lnTo>
                      <a:lnTo>
                        <a:pt x="599" y="997"/>
                      </a:lnTo>
                      <a:lnTo>
                        <a:pt x="594" y="1003"/>
                      </a:lnTo>
                      <a:lnTo>
                        <a:pt x="591" y="1004"/>
                      </a:lnTo>
                      <a:lnTo>
                        <a:pt x="587" y="1004"/>
                      </a:lnTo>
                      <a:lnTo>
                        <a:pt x="585" y="1004"/>
                      </a:lnTo>
                      <a:lnTo>
                        <a:pt x="582" y="1003"/>
                      </a:lnTo>
                      <a:lnTo>
                        <a:pt x="575" y="1001"/>
                      </a:lnTo>
                      <a:lnTo>
                        <a:pt x="573" y="999"/>
                      </a:lnTo>
                      <a:lnTo>
                        <a:pt x="571" y="997"/>
                      </a:lnTo>
                      <a:lnTo>
                        <a:pt x="571" y="996"/>
                      </a:lnTo>
                      <a:lnTo>
                        <a:pt x="571" y="992"/>
                      </a:lnTo>
                      <a:lnTo>
                        <a:pt x="573" y="989"/>
                      </a:lnTo>
                      <a:lnTo>
                        <a:pt x="575" y="985"/>
                      </a:lnTo>
                      <a:lnTo>
                        <a:pt x="577" y="982"/>
                      </a:lnTo>
                      <a:lnTo>
                        <a:pt x="577" y="980"/>
                      </a:lnTo>
                      <a:lnTo>
                        <a:pt x="575" y="978"/>
                      </a:lnTo>
                      <a:lnTo>
                        <a:pt x="575" y="980"/>
                      </a:lnTo>
                      <a:lnTo>
                        <a:pt x="571" y="983"/>
                      </a:lnTo>
                      <a:lnTo>
                        <a:pt x="568" y="985"/>
                      </a:lnTo>
                      <a:lnTo>
                        <a:pt x="561" y="987"/>
                      </a:lnTo>
                      <a:lnTo>
                        <a:pt x="557" y="989"/>
                      </a:lnTo>
                      <a:lnTo>
                        <a:pt x="552" y="992"/>
                      </a:lnTo>
                      <a:lnTo>
                        <a:pt x="550" y="994"/>
                      </a:lnTo>
                      <a:lnTo>
                        <a:pt x="547" y="994"/>
                      </a:lnTo>
                      <a:lnTo>
                        <a:pt x="545" y="992"/>
                      </a:lnTo>
                      <a:lnTo>
                        <a:pt x="542" y="992"/>
                      </a:lnTo>
                      <a:lnTo>
                        <a:pt x="542" y="992"/>
                      </a:lnTo>
                      <a:lnTo>
                        <a:pt x="540" y="992"/>
                      </a:lnTo>
                      <a:lnTo>
                        <a:pt x="535" y="992"/>
                      </a:lnTo>
                      <a:lnTo>
                        <a:pt x="535" y="992"/>
                      </a:lnTo>
                      <a:lnTo>
                        <a:pt x="536" y="994"/>
                      </a:lnTo>
                      <a:lnTo>
                        <a:pt x="536" y="996"/>
                      </a:lnTo>
                      <a:lnTo>
                        <a:pt x="535" y="996"/>
                      </a:lnTo>
                      <a:lnTo>
                        <a:pt x="529" y="996"/>
                      </a:lnTo>
                      <a:lnTo>
                        <a:pt x="528" y="994"/>
                      </a:lnTo>
                      <a:lnTo>
                        <a:pt x="526" y="992"/>
                      </a:lnTo>
                      <a:lnTo>
                        <a:pt x="526" y="990"/>
                      </a:lnTo>
                      <a:lnTo>
                        <a:pt x="529" y="989"/>
                      </a:lnTo>
                      <a:lnTo>
                        <a:pt x="535" y="985"/>
                      </a:lnTo>
                      <a:lnTo>
                        <a:pt x="533" y="985"/>
                      </a:lnTo>
                      <a:lnTo>
                        <a:pt x="529" y="985"/>
                      </a:lnTo>
                      <a:lnTo>
                        <a:pt x="526" y="985"/>
                      </a:lnTo>
                      <a:lnTo>
                        <a:pt x="523" y="985"/>
                      </a:lnTo>
                      <a:lnTo>
                        <a:pt x="523" y="982"/>
                      </a:lnTo>
                      <a:lnTo>
                        <a:pt x="521" y="978"/>
                      </a:lnTo>
                      <a:lnTo>
                        <a:pt x="514" y="976"/>
                      </a:lnTo>
                      <a:lnTo>
                        <a:pt x="512" y="976"/>
                      </a:lnTo>
                      <a:lnTo>
                        <a:pt x="510" y="975"/>
                      </a:lnTo>
                      <a:lnTo>
                        <a:pt x="510" y="973"/>
                      </a:lnTo>
                      <a:lnTo>
                        <a:pt x="510" y="971"/>
                      </a:lnTo>
                      <a:lnTo>
                        <a:pt x="509" y="970"/>
                      </a:lnTo>
                      <a:lnTo>
                        <a:pt x="507" y="968"/>
                      </a:lnTo>
                      <a:lnTo>
                        <a:pt x="505" y="968"/>
                      </a:lnTo>
                      <a:lnTo>
                        <a:pt x="503" y="966"/>
                      </a:lnTo>
                      <a:lnTo>
                        <a:pt x="505" y="963"/>
                      </a:lnTo>
                      <a:lnTo>
                        <a:pt x="503" y="961"/>
                      </a:lnTo>
                      <a:lnTo>
                        <a:pt x="502" y="957"/>
                      </a:lnTo>
                      <a:lnTo>
                        <a:pt x="502" y="956"/>
                      </a:lnTo>
                      <a:lnTo>
                        <a:pt x="503" y="952"/>
                      </a:lnTo>
                      <a:lnTo>
                        <a:pt x="507" y="950"/>
                      </a:lnTo>
                      <a:lnTo>
                        <a:pt x="510" y="949"/>
                      </a:lnTo>
                      <a:lnTo>
                        <a:pt x="514" y="949"/>
                      </a:lnTo>
                      <a:lnTo>
                        <a:pt x="509" y="949"/>
                      </a:lnTo>
                      <a:lnTo>
                        <a:pt x="507" y="949"/>
                      </a:lnTo>
                      <a:lnTo>
                        <a:pt x="500" y="950"/>
                      </a:lnTo>
                      <a:lnTo>
                        <a:pt x="496" y="950"/>
                      </a:lnTo>
                      <a:lnTo>
                        <a:pt x="495" y="949"/>
                      </a:lnTo>
                      <a:lnTo>
                        <a:pt x="495" y="947"/>
                      </a:lnTo>
                      <a:lnTo>
                        <a:pt x="498" y="943"/>
                      </a:lnTo>
                      <a:lnTo>
                        <a:pt x="481" y="936"/>
                      </a:lnTo>
                      <a:lnTo>
                        <a:pt x="482" y="933"/>
                      </a:lnTo>
                      <a:lnTo>
                        <a:pt x="482" y="928"/>
                      </a:lnTo>
                      <a:lnTo>
                        <a:pt x="482" y="926"/>
                      </a:lnTo>
                      <a:lnTo>
                        <a:pt x="484" y="922"/>
                      </a:lnTo>
                      <a:lnTo>
                        <a:pt x="488" y="921"/>
                      </a:lnTo>
                      <a:lnTo>
                        <a:pt x="493" y="917"/>
                      </a:lnTo>
                      <a:lnTo>
                        <a:pt x="482" y="922"/>
                      </a:lnTo>
                      <a:lnTo>
                        <a:pt x="479" y="924"/>
                      </a:lnTo>
                      <a:lnTo>
                        <a:pt x="479" y="922"/>
                      </a:lnTo>
                      <a:lnTo>
                        <a:pt x="475" y="919"/>
                      </a:lnTo>
                      <a:lnTo>
                        <a:pt x="470" y="914"/>
                      </a:lnTo>
                      <a:lnTo>
                        <a:pt x="468" y="914"/>
                      </a:lnTo>
                      <a:lnTo>
                        <a:pt x="456" y="894"/>
                      </a:lnTo>
                      <a:lnTo>
                        <a:pt x="456" y="893"/>
                      </a:lnTo>
                      <a:lnTo>
                        <a:pt x="454" y="891"/>
                      </a:lnTo>
                      <a:lnTo>
                        <a:pt x="456" y="889"/>
                      </a:lnTo>
                      <a:lnTo>
                        <a:pt x="456" y="887"/>
                      </a:lnTo>
                      <a:lnTo>
                        <a:pt x="456" y="886"/>
                      </a:lnTo>
                      <a:lnTo>
                        <a:pt x="454" y="882"/>
                      </a:lnTo>
                      <a:lnTo>
                        <a:pt x="481" y="877"/>
                      </a:lnTo>
                      <a:lnTo>
                        <a:pt x="482" y="875"/>
                      </a:lnTo>
                      <a:lnTo>
                        <a:pt x="481" y="875"/>
                      </a:lnTo>
                      <a:lnTo>
                        <a:pt x="479" y="875"/>
                      </a:lnTo>
                      <a:lnTo>
                        <a:pt x="477" y="873"/>
                      </a:lnTo>
                      <a:lnTo>
                        <a:pt x="479" y="870"/>
                      </a:lnTo>
                      <a:lnTo>
                        <a:pt x="468" y="875"/>
                      </a:lnTo>
                      <a:lnTo>
                        <a:pt x="460" y="879"/>
                      </a:lnTo>
                      <a:lnTo>
                        <a:pt x="456" y="879"/>
                      </a:lnTo>
                      <a:lnTo>
                        <a:pt x="454" y="879"/>
                      </a:lnTo>
                      <a:lnTo>
                        <a:pt x="453" y="875"/>
                      </a:lnTo>
                      <a:lnTo>
                        <a:pt x="453" y="872"/>
                      </a:lnTo>
                      <a:lnTo>
                        <a:pt x="458" y="865"/>
                      </a:lnTo>
                      <a:lnTo>
                        <a:pt x="460" y="863"/>
                      </a:lnTo>
                      <a:lnTo>
                        <a:pt x="463" y="861"/>
                      </a:lnTo>
                      <a:lnTo>
                        <a:pt x="467" y="861"/>
                      </a:lnTo>
                      <a:lnTo>
                        <a:pt x="470" y="861"/>
                      </a:lnTo>
                      <a:lnTo>
                        <a:pt x="470" y="858"/>
                      </a:lnTo>
                      <a:lnTo>
                        <a:pt x="472" y="856"/>
                      </a:lnTo>
                      <a:lnTo>
                        <a:pt x="475" y="856"/>
                      </a:lnTo>
                      <a:lnTo>
                        <a:pt x="479" y="856"/>
                      </a:lnTo>
                      <a:lnTo>
                        <a:pt x="481" y="858"/>
                      </a:lnTo>
                      <a:lnTo>
                        <a:pt x="484" y="863"/>
                      </a:lnTo>
                      <a:lnTo>
                        <a:pt x="488" y="865"/>
                      </a:lnTo>
                      <a:lnTo>
                        <a:pt x="488" y="863"/>
                      </a:lnTo>
                      <a:lnTo>
                        <a:pt x="488" y="859"/>
                      </a:lnTo>
                      <a:lnTo>
                        <a:pt x="486" y="856"/>
                      </a:lnTo>
                      <a:lnTo>
                        <a:pt x="484" y="854"/>
                      </a:lnTo>
                      <a:lnTo>
                        <a:pt x="482" y="852"/>
                      </a:lnTo>
                      <a:lnTo>
                        <a:pt x="481" y="852"/>
                      </a:lnTo>
                      <a:lnTo>
                        <a:pt x="479" y="852"/>
                      </a:lnTo>
                      <a:lnTo>
                        <a:pt x="475" y="851"/>
                      </a:lnTo>
                      <a:lnTo>
                        <a:pt x="474" y="847"/>
                      </a:lnTo>
                      <a:lnTo>
                        <a:pt x="470" y="837"/>
                      </a:lnTo>
                      <a:lnTo>
                        <a:pt x="467" y="835"/>
                      </a:lnTo>
                      <a:lnTo>
                        <a:pt x="470" y="845"/>
                      </a:lnTo>
                      <a:lnTo>
                        <a:pt x="472" y="849"/>
                      </a:lnTo>
                      <a:lnTo>
                        <a:pt x="472" y="852"/>
                      </a:lnTo>
                      <a:lnTo>
                        <a:pt x="468" y="856"/>
                      </a:lnTo>
                      <a:lnTo>
                        <a:pt x="467" y="858"/>
                      </a:lnTo>
                      <a:lnTo>
                        <a:pt x="461" y="858"/>
                      </a:lnTo>
                      <a:lnTo>
                        <a:pt x="463" y="854"/>
                      </a:lnTo>
                      <a:lnTo>
                        <a:pt x="463" y="852"/>
                      </a:lnTo>
                      <a:lnTo>
                        <a:pt x="460" y="856"/>
                      </a:lnTo>
                      <a:lnTo>
                        <a:pt x="451" y="872"/>
                      </a:lnTo>
                      <a:lnTo>
                        <a:pt x="447" y="873"/>
                      </a:lnTo>
                      <a:lnTo>
                        <a:pt x="444" y="872"/>
                      </a:lnTo>
                      <a:lnTo>
                        <a:pt x="444" y="868"/>
                      </a:lnTo>
                      <a:lnTo>
                        <a:pt x="442" y="856"/>
                      </a:lnTo>
                      <a:lnTo>
                        <a:pt x="440" y="840"/>
                      </a:lnTo>
                      <a:lnTo>
                        <a:pt x="440" y="838"/>
                      </a:lnTo>
                      <a:lnTo>
                        <a:pt x="439" y="837"/>
                      </a:lnTo>
                      <a:lnTo>
                        <a:pt x="439" y="835"/>
                      </a:lnTo>
                      <a:lnTo>
                        <a:pt x="437" y="835"/>
                      </a:lnTo>
                      <a:lnTo>
                        <a:pt x="435" y="833"/>
                      </a:lnTo>
                      <a:lnTo>
                        <a:pt x="433" y="830"/>
                      </a:lnTo>
                      <a:lnTo>
                        <a:pt x="435" y="828"/>
                      </a:lnTo>
                      <a:lnTo>
                        <a:pt x="437" y="826"/>
                      </a:lnTo>
                      <a:lnTo>
                        <a:pt x="440" y="824"/>
                      </a:lnTo>
                      <a:lnTo>
                        <a:pt x="442" y="823"/>
                      </a:lnTo>
                      <a:lnTo>
                        <a:pt x="451" y="814"/>
                      </a:lnTo>
                      <a:lnTo>
                        <a:pt x="454" y="812"/>
                      </a:lnTo>
                      <a:lnTo>
                        <a:pt x="458" y="811"/>
                      </a:lnTo>
                      <a:lnTo>
                        <a:pt x="461" y="809"/>
                      </a:lnTo>
                      <a:lnTo>
                        <a:pt x="465" y="809"/>
                      </a:lnTo>
                      <a:lnTo>
                        <a:pt x="463" y="807"/>
                      </a:lnTo>
                      <a:lnTo>
                        <a:pt x="458" y="809"/>
                      </a:lnTo>
                      <a:lnTo>
                        <a:pt x="453" y="811"/>
                      </a:lnTo>
                      <a:lnTo>
                        <a:pt x="449" y="812"/>
                      </a:lnTo>
                      <a:lnTo>
                        <a:pt x="444" y="819"/>
                      </a:lnTo>
                      <a:lnTo>
                        <a:pt x="440" y="821"/>
                      </a:lnTo>
                      <a:lnTo>
                        <a:pt x="435" y="823"/>
                      </a:lnTo>
                      <a:lnTo>
                        <a:pt x="433" y="821"/>
                      </a:lnTo>
                      <a:lnTo>
                        <a:pt x="432" y="819"/>
                      </a:lnTo>
                      <a:lnTo>
                        <a:pt x="430" y="817"/>
                      </a:lnTo>
                      <a:lnTo>
                        <a:pt x="428" y="817"/>
                      </a:lnTo>
                      <a:lnTo>
                        <a:pt x="426" y="817"/>
                      </a:lnTo>
                      <a:lnTo>
                        <a:pt x="425" y="817"/>
                      </a:lnTo>
                      <a:lnTo>
                        <a:pt x="423" y="817"/>
                      </a:lnTo>
                      <a:lnTo>
                        <a:pt x="419" y="817"/>
                      </a:lnTo>
                      <a:lnTo>
                        <a:pt x="418" y="814"/>
                      </a:lnTo>
                      <a:lnTo>
                        <a:pt x="419" y="809"/>
                      </a:lnTo>
                      <a:lnTo>
                        <a:pt x="421" y="798"/>
                      </a:lnTo>
                      <a:lnTo>
                        <a:pt x="419" y="798"/>
                      </a:lnTo>
                      <a:lnTo>
                        <a:pt x="418" y="798"/>
                      </a:lnTo>
                      <a:lnTo>
                        <a:pt x="418" y="798"/>
                      </a:lnTo>
                      <a:lnTo>
                        <a:pt x="416" y="797"/>
                      </a:lnTo>
                      <a:lnTo>
                        <a:pt x="416" y="795"/>
                      </a:lnTo>
                      <a:lnTo>
                        <a:pt x="418" y="793"/>
                      </a:lnTo>
                      <a:lnTo>
                        <a:pt x="421" y="791"/>
                      </a:lnTo>
                      <a:lnTo>
                        <a:pt x="435" y="781"/>
                      </a:lnTo>
                      <a:lnTo>
                        <a:pt x="442" y="776"/>
                      </a:lnTo>
                      <a:lnTo>
                        <a:pt x="444" y="774"/>
                      </a:lnTo>
                      <a:lnTo>
                        <a:pt x="446" y="772"/>
                      </a:lnTo>
                      <a:lnTo>
                        <a:pt x="447" y="770"/>
                      </a:lnTo>
                      <a:lnTo>
                        <a:pt x="451" y="767"/>
                      </a:lnTo>
                      <a:lnTo>
                        <a:pt x="456" y="765"/>
                      </a:lnTo>
                      <a:lnTo>
                        <a:pt x="460" y="763"/>
                      </a:lnTo>
                      <a:lnTo>
                        <a:pt x="461" y="760"/>
                      </a:lnTo>
                      <a:lnTo>
                        <a:pt x="456" y="762"/>
                      </a:lnTo>
                      <a:lnTo>
                        <a:pt x="449" y="767"/>
                      </a:lnTo>
                      <a:lnTo>
                        <a:pt x="426" y="784"/>
                      </a:lnTo>
                      <a:lnTo>
                        <a:pt x="421" y="788"/>
                      </a:lnTo>
                      <a:lnTo>
                        <a:pt x="414" y="790"/>
                      </a:lnTo>
                      <a:lnTo>
                        <a:pt x="412" y="790"/>
                      </a:lnTo>
                      <a:lnTo>
                        <a:pt x="411" y="788"/>
                      </a:lnTo>
                      <a:lnTo>
                        <a:pt x="411" y="786"/>
                      </a:lnTo>
                      <a:lnTo>
                        <a:pt x="411" y="779"/>
                      </a:lnTo>
                      <a:lnTo>
                        <a:pt x="411" y="776"/>
                      </a:lnTo>
                      <a:lnTo>
                        <a:pt x="412" y="774"/>
                      </a:lnTo>
                      <a:lnTo>
                        <a:pt x="414" y="770"/>
                      </a:lnTo>
                      <a:lnTo>
                        <a:pt x="416" y="769"/>
                      </a:lnTo>
                      <a:lnTo>
                        <a:pt x="419" y="767"/>
                      </a:lnTo>
                      <a:lnTo>
                        <a:pt x="423" y="763"/>
                      </a:lnTo>
                      <a:lnTo>
                        <a:pt x="423" y="762"/>
                      </a:lnTo>
                      <a:lnTo>
                        <a:pt x="426" y="762"/>
                      </a:lnTo>
                      <a:lnTo>
                        <a:pt x="433" y="762"/>
                      </a:lnTo>
                      <a:lnTo>
                        <a:pt x="437" y="760"/>
                      </a:lnTo>
                      <a:lnTo>
                        <a:pt x="430" y="758"/>
                      </a:lnTo>
                      <a:lnTo>
                        <a:pt x="416" y="758"/>
                      </a:lnTo>
                      <a:lnTo>
                        <a:pt x="409" y="756"/>
                      </a:lnTo>
                      <a:lnTo>
                        <a:pt x="407" y="753"/>
                      </a:lnTo>
                      <a:lnTo>
                        <a:pt x="406" y="749"/>
                      </a:lnTo>
                      <a:lnTo>
                        <a:pt x="406" y="746"/>
                      </a:lnTo>
                      <a:lnTo>
                        <a:pt x="407" y="739"/>
                      </a:lnTo>
                      <a:lnTo>
                        <a:pt x="409" y="739"/>
                      </a:lnTo>
                      <a:lnTo>
                        <a:pt x="411" y="737"/>
                      </a:lnTo>
                      <a:lnTo>
                        <a:pt x="412" y="737"/>
                      </a:lnTo>
                      <a:lnTo>
                        <a:pt x="416" y="734"/>
                      </a:lnTo>
                      <a:lnTo>
                        <a:pt x="426" y="728"/>
                      </a:lnTo>
                      <a:lnTo>
                        <a:pt x="430" y="727"/>
                      </a:lnTo>
                      <a:lnTo>
                        <a:pt x="435" y="727"/>
                      </a:lnTo>
                      <a:lnTo>
                        <a:pt x="439" y="727"/>
                      </a:lnTo>
                      <a:lnTo>
                        <a:pt x="446" y="730"/>
                      </a:lnTo>
                      <a:lnTo>
                        <a:pt x="449" y="730"/>
                      </a:lnTo>
                      <a:lnTo>
                        <a:pt x="456" y="730"/>
                      </a:lnTo>
                      <a:lnTo>
                        <a:pt x="461" y="730"/>
                      </a:lnTo>
                      <a:lnTo>
                        <a:pt x="465" y="732"/>
                      </a:lnTo>
                      <a:lnTo>
                        <a:pt x="468" y="734"/>
                      </a:lnTo>
                      <a:lnTo>
                        <a:pt x="472" y="735"/>
                      </a:lnTo>
                      <a:lnTo>
                        <a:pt x="475" y="735"/>
                      </a:lnTo>
                      <a:lnTo>
                        <a:pt x="472" y="734"/>
                      </a:lnTo>
                      <a:lnTo>
                        <a:pt x="467" y="732"/>
                      </a:lnTo>
                      <a:lnTo>
                        <a:pt x="465" y="730"/>
                      </a:lnTo>
                      <a:lnTo>
                        <a:pt x="463" y="728"/>
                      </a:lnTo>
                      <a:lnTo>
                        <a:pt x="465" y="727"/>
                      </a:lnTo>
                      <a:lnTo>
                        <a:pt x="467" y="727"/>
                      </a:lnTo>
                      <a:lnTo>
                        <a:pt x="468" y="727"/>
                      </a:lnTo>
                      <a:lnTo>
                        <a:pt x="465" y="725"/>
                      </a:lnTo>
                      <a:lnTo>
                        <a:pt x="461" y="725"/>
                      </a:lnTo>
                      <a:lnTo>
                        <a:pt x="456" y="727"/>
                      </a:lnTo>
                      <a:lnTo>
                        <a:pt x="453" y="727"/>
                      </a:lnTo>
                      <a:lnTo>
                        <a:pt x="447" y="727"/>
                      </a:lnTo>
                      <a:lnTo>
                        <a:pt x="440" y="725"/>
                      </a:lnTo>
                      <a:lnTo>
                        <a:pt x="437" y="725"/>
                      </a:lnTo>
                      <a:lnTo>
                        <a:pt x="433" y="725"/>
                      </a:lnTo>
                      <a:lnTo>
                        <a:pt x="430" y="725"/>
                      </a:lnTo>
                      <a:lnTo>
                        <a:pt x="426" y="727"/>
                      </a:lnTo>
                      <a:lnTo>
                        <a:pt x="423" y="728"/>
                      </a:lnTo>
                      <a:lnTo>
                        <a:pt x="416" y="732"/>
                      </a:lnTo>
                      <a:lnTo>
                        <a:pt x="412" y="734"/>
                      </a:lnTo>
                      <a:lnTo>
                        <a:pt x="407" y="734"/>
                      </a:lnTo>
                      <a:lnTo>
                        <a:pt x="409" y="732"/>
                      </a:lnTo>
                      <a:lnTo>
                        <a:pt x="411" y="728"/>
                      </a:lnTo>
                      <a:lnTo>
                        <a:pt x="411" y="727"/>
                      </a:lnTo>
                      <a:lnTo>
                        <a:pt x="412" y="725"/>
                      </a:lnTo>
                      <a:lnTo>
                        <a:pt x="416" y="720"/>
                      </a:lnTo>
                      <a:lnTo>
                        <a:pt x="419" y="713"/>
                      </a:lnTo>
                      <a:lnTo>
                        <a:pt x="423" y="711"/>
                      </a:lnTo>
                      <a:lnTo>
                        <a:pt x="426" y="711"/>
                      </a:lnTo>
                      <a:lnTo>
                        <a:pt x="442" y="716"/>
                      </a:lnTo>
                      <a:lnTo>
                        <a:pt x="451" y="716"/>
                      </a:lnTo>
                      <a:lnTo>
                        <a:pt x="458" y="713"/>
                      </a:lnTo>
                      <a:lnTo>
                        <a:pt x="460" y="711"/>
                      </a:lnTo>
                      <a:lnTo>
                        <a:pt x="461" y="709"/>
                      </a:lnTo>
                      <a:lnTo>
                        <a:pt x="463" y="706"/>
                      </a:lnTo>
                      <a:lnTo>
                        <a:pt x="460" y="704"/>
                      </a:lnTo>
                      <a:lnTo>
                        <a:pt x="458" y="704"/>
                      </a:lnTo>
                      <a:lnTo>
                        <a:pt x="456" y="706"/>
                      </a:lnTo>
                      <a:lnTo>
                        <a:pt x="456" y="707"/>
                      </a:lnTo>
                      <a:lnTo>
                        <a:pt x="454" y="707"/>
                      </a:lnTo>
                      <a:lnTo>
                        <a:pt x="453" y="709"/>
                      </a:lnTo>
                      <a:lnTo>
                        <a:pt x="451" y="709"/>
                      </a:lnTo>
                      <a:lnTo>
                        <a:pt x="449" y="709"/>
                      </a:lnTo>
                      <a:lnTo>
                        <a:pt x="444" y="711"/>
                      </a:lnTo>
                      <a:lnTo>
                        <a:pt x="439" y="711"/>
                      </a:lnTo>
                      <a:lnTo>
                        <a:pt x="435" y="711"/>
                      </a:lnTo>
                      <a:lnTo>
                        <a:pt x="430" y="709"/>
                      </a:lnTo>
                      <a:lnTo>
                        <a:pt x="426" y="709"/>
                      </a:lnTo>
                      <a:lnTo>
                        <a:pt x="425" y="707"/>
                      </a:lnTo>
                      <a:lnTo>
                        <a:pt x="421" y="707"/>
                      </a:lnTo>
                      <a:lnTo>
                        <a:pt x="418" y="709"/>
                      </a:lnTo>
                      <a:lnTo>
                        <a:pt x="416" y="709"/>
                      </a:lnTo>
                      <a:lnTo>
                        <a:pt x="418" y="706"/>
                      </a:lnTo>
                      <a:lnTo>
                        <a:pt x="419" y="702"/>
                      </a:lnTo>
                      <a:lnTo>
                        <a:pt x="423" y="699"/>
                      </a:lnTo>
                      <a:lnTo>
                        <a:pt x="426" y="697"/>
                      </a:lnTo>
                      <a:lnTo>
                        <a:pt x="430" y="695"/>
                      </a:lnTo>
                      <a:lnTo>
                        <a:pt x="435" y="695"/>
                      </a:lnTo>
                      <a:lnTo>
                        <a:pt x="439" y="697"/>
                      </a:lnTo>
                      <a:lnTo>
                        <a:pt x="451" y="699"/>
                      </a:lnTo>
                      <a:lnTo>
                        <a:pt x="460" y="700"/>
                      </a:lnTo>
                      <a:lnTo>
                        <a:pt x="467" y="699"/>
                      </a:lnTo>
                      <a:lnTo>
                        <a:pt x="470" y="692"/>
                      </a:lnTo>
                      <a:lnTo>
                        <a:pt x="467" y="693"/>
                      </a:lnTo>
                      <a:lnTo>
                        <a:pt x="463" y="695"/>
                      </a:lnTo>
                      <a:lnTo>
                        <a:pt x="461" y="695"/>
                      </a:lnTo>
                      <a:lnTo>
                        <a:pt x="463" y="688"/>
                      </a:lnTo>
                      <a:lnTo>
                        <a:pt x="465" y="685"/>
                      </a:lnTo>
                      <a:lnTo>
                        <a:pt x="467" y="683"/>
                      </a:lnTo>
                      <a:lnTo>
                        <a:pt x="470" y="683"/>
                      </a:lnTo>
                      <a:lnTo>
                        <a:pt x="475" y="683"/>
                      </a:lnTo>
                      <a:lnTo>
                        <a:pt x="479" y="683"/>
                      </a:lnTo>
                      <a:lnTo>
                        <a:pt x="482" y="681"/>
                      </a:lnTo>
                      <a:lnTo>
                        <a:pt x="479" y="681"/>
                      </a:lnTo>
                      <a:lnTo>
                        <a:pt x="475" y="679"/>
                      </a:lnTo>
                      <a:lnTo>
                        <a:pt x="474" y="679"/>
                      </a:lnTo>
                      <a:lnTo>
                        <a:pt x="467" y="681"/>
                      </a:lnTo>
                      <a:lnTo>
                        <a:pt x="465" y="681"/>
                      </a:lnTo>
                      <a:lnTo>
                        <a:pt x="465" y="678"/>
                      </a:lnTo>
                      <a:lnTo>
                        <a:pt x="470" y="671"/>
                      </a:lnTo>
                      <a:lnTo>
                        <a:pt x="472" y="669"/>
                      </a:lnTo>
                      <a:lnTo>
                        <a:pt x="472" y="667"/>
                      </a:lnTo>
                      <a:lnTo>
                        <a:pt x="474" y="665"/>
                      </a:lnTo>
                      <a:lnTo>
                        <a:pt x="479" y="664"/>
                      </a:lnTo>
                      <a:lnTo>
                        <a:pt x="481" y="664"/>
                      </a:lnTo>
                      <a:lnTo>
                        <a:pt x="479" y="662"/>
                      </a:lnTo>
                      <a:lnTo>
                        <a:pt x="479" y="660"/>
                      </a:lnTo>
                      <a:lnTo>
                        <a:pt x="479" y="658"/>
                      </a:lnTo>
                      <a:lnTo>
                        <a:pt x="479" y="657"/>
                      </a:lnTo>
                      <a:lnTo>
                        <a:pt x="479" y="657"/>
                      </a:lnTo>
                      <a:lnTo>
                        <a:pt x="482" y="655"/>
                      </a:lnTo>
                      <a:lnTo>
                        <a:pt x="479" y="653"/>
                      </a:lnTo>
                      <a:lnTo>
                        <a:pt x="477" y="655"/>
                      </a:lnTo>
                      <a:lnTo>
                        <a:pt x="475" y="655"/>
                      </a:lnTo>
                      <a:lnTo>
                        <a:pt x="474" y="655"/>
                      </a:lnTo>
                      <a:lnTo>
                        <a:pt x="470" y="655"/>
                      </a:lnTo>
                      <a:lnTo>
                        <a:pt x="467" y="653"/>
                      </a:lnTo>
                      <a:lnTo>
                        <a:pt x="463" y="653"/>
                      </a:lnTo>
                      <a:lnTo>
                        <a:pt x="461" y="653"/>
                      </a:lnTo>
                      <a:lnTo>
                        <a:pt x="458" y="655"/>
                      </a:lnTo>
                      <a:lnTo>
                        <a:pt x="454" y="655"/>
                      </a:lnTo>
                      <a:lnTo>
                        <a:pt x="453" y="655"/>
                      </a:lnTo>
                      <a:lnTo>
                        <a:pt x="444" y="653"/>
                      </a:lnTo>
                      <a:lnTo>
                        <a:pt x="439" y="651"/>
                      </a:lnTo>
                      <a:lnTo>
                        <a:pt x="428" y="646"/>
                      </a:lnTo>
                      <a:lnTo>
                        <a:pt x="423" y="643"/>
                      </a:lnTo>
                      <a:lnTo>
                        <a:pt x="418" y="643"/>
                      </a:lnTo>
                      <a:lnTo>
                        <a:pt x="407" y="639"/>
                      </a:lnTo>
                      <a:lnTo>
                        <a:pt x="404" y="639"/>
                      </a:lnTo>
                      <a:lnTo>
                        <a:pt x="400" y="638"/>
                      </a:lnTo>
                      <a:lnTo>
                        <a:pt x="397" y="634"/>
                      </a:lnTo>
                      <a:lnTo>
                        <a:pt x="393" y="632"/>
                      </a:lnTo>
                      <a:lnTo>
                        <a:pt x="392" y="627"/>
                      </a:lnTo>
                      <a:lnTo>
                        <a:pt x="393" y="625"/>
                      </a:lnTo>
                      <a:lnTo>
                        <a:pt x="399" y="624"/>
                      </a:lnTo>
                      <a:lnTo>
                        <a:pt x="404" y="624"/>
                      </a:lnTo>
                      <a:lnTo>
                        <a:pt x="426" y="625"/>
                      </a:lnTo>
                      <a:lnTo>
                        <a:pt x="430" y="627"/>
                      </a:lnTo>
                      <a:lnTo>
                        <a:pt x="435" y="627"/>
                      </a:lnTo>
                      <a:lnTo>
                        <a:pt x="456" y="638"/>
                      </a:lnTo>
                      <a:lnTo>
                        <a:pt x="467" y="641"/>
                      </a:lnTo>
                      <a:lnTo>
                        <a:pt x="474" y="639"/>
                      </a:lnTo>
                      <a:lnTo>
                        <a:pt x="465" y="636"/>
                      </a:lnTo>
                      <a:lnTo>
                        <a:pt x="461" y="632"/>
                      </a:lnTo>
                      <a:lnTo>
                        <a:pt x="460" y="627"/>
                      </a:lnTo>
                      <a:lnTo>
                        <a:pt x="460" y="625"/>
                      </a:lnTo>
                      <a:lnTo>
                        <a:pt x="460" y="624"/>
                      </a:lnTo>
                      <a:lnTo>
                        <a:pt x="460" y="622"/>
                      </a:lnTo>
                      <a:lnTo>
                        <a:pt x="458" y="620"/>
                      </a:lnTo>
                      <a:lnTo>
                        <a:pt x="456" y="618"/>
                      </a:lnTo>
                      <a:lnTo>
                        <a:pt x="453" y="617"/>
                      </a:lnTo>
                      <a:lnTo>
                        <a:pt x="449" y="617"/>
                      </a:lnTo>
                      <a:lnTo>
                        <a:pt x="454" y="617"/>
                      </a:lnTo>
                      <a:lnTo>
                        <a:pt x="458" y="617"/>
                      </a:lnTo>
                      <a:lnTo>
                        <a:pt x="463" y="618"/>
                      </a:lnTo>
                      <a:lnTo>
                        <a:pt x="467" y="617"/>
                      </a:lnTo>
                      <a:lnTo>
                        <a:pt x="460" y="613"/>
                      </a:lnTo>
                      <a:lnTo>
                        <a:pt x="456" y="611"/>
                      </a:lnTo>
                      <a:lnTo>
                        <a:pt x="454" y="611"/>
                      </a:lnTo>
                      <a:lnTo>
                        <a:pt x="446" y="611"/>
                      </a:lnTo>
                      <a:lnTo>
                        <a:pt x="442" y="611"/>
                      </a:lnTo>
                      <a:lnTo>
                        <a:pt x="439" y="610"/>
                      </a:lnTo>
                      <a:lnTo>
                        <a:pt x="437" y="610"/>
                      </a:lnTo>
                      <a:lnTo>
                        <a:pt x="433" y="610"/>
                      </a:lnTo>
                      <a:lnTo>
                        <a:pt x="428" y="610"/>
                      </a:lnTo>
                      <a:lnTo>
                        <a:pt x="425" y="610"/>
                      </a:lnTo>
                      <a:lnTo>
                        <a:pt x="421" y="608"/>
                      </a:lnTo>
                      <a:lnTo>
                        <a:pt x="423" y="604"/>
                      </a:lnTo>
                      <a:lnTo>
                        <a:pt x="425" y="601"/>
                      </a:lnTo>
                      <a:lnTo>
                        <a:pt x="430" y="597"/>
                      </a:lnTo>
                      <a:lnTo>
                        <a:pt x="433" y="596"/>
                      </a:lnTo>
                      <a:lnTo>
                        <a:pt x="446" y="594"/>
                      </a:lnTo>
                      <a:lnTo>
                        <a:pt x="451" y="592"/>
                      </a:lnTo>
                      <a:lnTo>
                        <a:pt x="447" y="592"/>
                      </a:lnTo>
                      <a:lnTo>
                        <a:pt x="440" y="592"/>
                      </a:lnTo>
                      <a:lnTo>
                        <a:pt x="439" y="592"/>
                      </a:lnTo>
                      <a:lnTo>
                        <a:pt x="433" y="592"/>
                      </a:lnTo>
                      <a:lnTo>
                        <a:pt x="432" y="592"/>
                      </a:lnTo>
                      <a:lnTo>
                        <a:pt x="428" y="592"/>
                      </a:lnTo>
                      <a:lnTo>
                        <a:pt x="423" y="596"/>
                      </a:lnTo>
                      <a:lnTo>
                        <a:pt x="419" y="596"/>
                      </a:lnTo>
                      <a:lnTo>
                        <a:pt x="416" y="596"/>
                      </a:lnTo>
                      <a:lnTo>
                        <a:pt x="414" y="594"/>
                      </a:lnTo>
                      <a:lnTo>
                        <a:pt x="414" y="592"/>
                      </a:lnTo>
                      <a:lnTo>
                        <a:pt x="419" y="589"/>
                      </a:lnTo>
                      <a:lnTo>
                        <a:pt x="421" y="587"/>
                      </a:lnTo>
                      <a:lnTo>
                        <a:pt x="418" y="587"/>
                      </a:lnTo>
                      <a:lnTo>
                        <a:pt x="416" y="583"/>
                      </a:lnTo>
                      <a:lnTo>
                        <a:pt x="414" y="580"/>
                      </a:lnTo>
                      <a:lnTo>
                        <a:pt x="412" y="576"/>
                      </a:lnTo>
                      <a:lnTo>
                        <a:pt x="409" y="573"/>
                      </a:lnTo>
                      <a:lnTo>
                        <a:pt x="407" y="571"/>
                      </a:lnTo>
                      <a:lnTo>
                        <a:pt x="407" y="568"/>
                      </a:lnTo>
                      <a:lnTo>
                        <a:pt x="409" y="566"/>
                      </a:lnTo>
                      <a:lnTo>
                        <a:pt x="406" y="568"/>
                      </a:lnTo>
                      <a:lnTo>
                        <a:pt x="406" y="571"/>
                      </a:lnTo>
                      <a:lnTo>
                        <a:pt x="412" y="580"/>
                      </a:lnTo>
                      <a:lnTo>
                        <a:pt x="414" y="583"/>
                      </a:lnTo>
                      <a:lnTo>
                        <a:pt x="412" y="585"/>
                      </a:lnTo>
                      <a:lnTo>
                        <a:pt x="409" y="589"/>
                      </a:lnTo>
                      <a:lnTo>
                        <a:pt x="407" y="590"/>
                      </a:lnTo>
                      <a:lnTo>
                        <a:pt x="406" y="592"/>
                      </a:lnTo>
                      <a:lnTo>
                        <a:pt x="404" y="592"/>
                      </a:lnTo>
                      <a:lnTo>
                        <a:pt x="402" y="592"/>
                      </a:lnTo>
                      <a:lnTo>
                        <a:pt x="404" y="599"/>
                      </a:lnTo>
                      <a:lnTo>
                        <a:pt x="399" y="601"/>
                      </a:lnTo>
                      <a:lnTo>
                        <a:pt x="390" y="603"/>
                      </a:lnTo>
                      <a:lnTo>
                        <a:pt x="383" y="603"/>
                      </a:lnTo>
                      <a:lnTo>
                        <a:pt x="376" y="601"/>
                      </a:lnTo>
                      <a:lnTo>
                        <a:pt x="372" y="599"/>
                      </a:lnTo>
                      <a:lnTo>
                        <a:pt x="369" y="597"/>
                      </a:lnTo>
                      <a:lnTo>
                        <a:pt x="367" y="594"/>
                      </a:lnTo>
                      <a:lnTo>
                        <a:pt x="367" y="590"/>
                      </a:lnTo>
                      <a:lnTo>
                        <a:pt x="374" y="578"/>
                      </a:lnTo>
                      <a:lnTo>
                        <a:pt x="376" y="575"/>
                      </a:lnTo>
                      <a:lnTo>
                        <a:pt x="383" y="568"/>
                      </a:lnTo>
                      <a:lnTo>
                        <a:pt x="385" y="566"/>
                      </a:lnTo>
                      <a:lnTo>
                        <a:pt x="383" y="564"/>
                      </a:lnTo>
                      <a:lnTo>
                        <a:pt x="379" y="566"/>
                      </a:lnTo>
                      <a:lnTo>
                        <a:pt x="376" y="569"/>
                      </a:lnTo>
                      <a:lnTo>
                        <a:pt x="372" y="573"/>
                      </a:lnTo>
                      <a:lnTo>
                        <a:pt x="369" y="573"/>
                      </a:lnTo>
                      <a:lnTo>
                        <a:pt x="367" y="569"/>
                      </a:lnTo>
                      <a:lnTo>
                        <a:pt x="369" y="568"/>
                      </a:lnTo>
                      <a:lnTo>
                        <a:pt x="374" y="566"/>
                      </a:lnTo>
                      <a:lnTo>
                        <a:pt x="374" y="564"/>
                      </a:lnTo>
                      <a:lnTo>
                        <a:pt x="372" y="562"/>
                      </a:lnTo>
                      <a:lnTo>
                        <a:pt x="369" y="562"/>
                      </a:lnTo>
                      <a:lnTo>
                        <a:pt x="371" y="561"/>
                      </a:lnTo>
                      <a:lnTo>
                        <a:pt x="374" y="559"/>
                      </a:lnTo>
                      <a:lnTo>
                        <a:pt x="376" y="559"/>
                      </a:lnTo>
                      <a:lnTo>
                        <a:pt x="379" y="559"/>
                      </a:lnTo>
                      <a:lnTo>
                        <a:pt x="381" y="557"/>
                      </a:lnTo>
                      <a:lnTo>
                        <a:pt x="383" y="557"/>
                      </a:lnTo>
                      <a:lnTo>
                        <a:pt x="385" y="555"/>
                      </a:lnTo>
                      <a:lnTo>
                        <a:pt x="386" y="554"/>
                      </a:lnTo>
                      <a:lnTo>
                        <a:pt x="386" y="548"/>
                      </a:lnTo>
                      <a:lnTo>
                        <a:pt x="386" y="543"/>
                      </a:lnTo>
                      <a:lnTo>
                        <a:pt x="383" y="540"/>
                      </a:lnTo>
                      <a:lnTo>
                        <a:pt x="379" y="536"/>
                      </a:lnTo>
                      <a:lnTo>
                        <a:pt x="376" y="540"/>
                      </a:lnTo>
                      <a:lnTo>
                        <a:pt x="371" y="540"/>
                      </a:lnTo>
                      <a:lnTo>
                        <a:pt x="367" y="536"/>
                      </a:lnTo>
                      <a:lnTo>
                        <a:pt x="369" y="531"/>
                      </a:lnTo>
                      <a:lnTo>
                        <a:pt x="372" y="527"/>
                      </a:lnTo>
                      <a:lnTo>
                        <a:pt x="374" y="524"/>
                      </a:lnTo>
                      <a:lnTo>
                        <a:pt x="374" y="520"/>
                      </a:lnTo>
                      <a:lnTo>
                        <a:pt x="374" y="517"/>
                      </a:lnTo>
                      <a:lnTo>
                        <a:pt x="372" y="515"/>
                      </a:lnTo>
                      <a:lnTo>
                        <a:pt x="369" y="517"/>
                      </a:lnTo>
                      <a:lnTo>
                        <a:pt x="365" y="517"/>
                      </a:lnTo>
                      <a:lnTo>
                        <a:pt x="364" y="515"/>
                      </a:lnTo>
                      <a:lnTo>
                        <a:pt x="362" y="513"/>
                      </a:lnTo>
                      <a:lnTo>
                        <a:pt x="358" y="513"/>
                      </a:lnTo>
                      <a:lnTo>
                        <a:pt x="357" y="512"/>
                      </a:lnTo>
                      <a:lnTo>
                        <a:pt x="357" y="508"/>
                      </a:lnTo>
                      <a:lnTo>
                        <a:pt x="358" y="506"/>
                      </a:lnTo>
                      <a:lnTo>
                        <a:pt x="362" y="505"/>
                      </a:lnTo>
                      <a:lnTo>
                        <a:pt x="364" y="505"/>
                      </a:lnTo>
                      <a:lnTo>
                        <a:pt x="362" y="501"/>
                      </a:lnTo>
                      <a:lnTo>
                        <a:pt x="360" y="496"/>
                      </a:lnTo>
                      <a:lnTo>
                        <a:pt x="357" y="492"/>
                      </a:lnTo>
                      <a:lnTo>
                        <a:pt x="355" y="489"/>
                      </a:lnTo>
                      <a:lnTo>
                        <a:pt x="350" y="487"/>
                      </a:lnTo>
                      <a:lnTo>
                        <a:pt x="344" y="489"/>
                      </a:lnTo>
                      <a:lnTo>
                        <a:pt x="339" y="489"/>
                      </a:lnTo>
                      <a:lnTo>
                        <a:pt x="334" y="491"/>
                      </a:lnTo>
                      <a:lnTo>
                        <a:pt x="337" y="489"/>
                      </a:lnTo>
                      <a:lnTo>
                        <a:pt x="341" y="487"/>
                      </a:lnTo>
                      <a:lnTo>
                        <a:pt x="344" y="486"/>
                      </a:lnTo>
                      <a:lnTo>
                        <a:pt x="346" y="482"/>
                      </a:lnTo>
                      <a:lnTo>
                        <a:pt x="346" y="480"/>
                      </a:lnTo>
                      <a:lnTo>
                        <a:pt x="344" y="479"/>
                      </a:lnTo>
                      <a:lnTo>
                        <a:pt x="344" y="477"/>
                      </a:lnTo>
                      <a:lnTo>
                        <a:pt x="346" y="475"/>
                      </a:lnTo>
                      <a:lnTo>
                        <a:pt x="348" y="475"/>
                      </a:lnTo>
                      <a:lnTo>
                        <a:pt x="353" y="473"/>
                      </a:lnTo>
                      <a:lnTo>
                        <a:pt x="355" y="472"/>
                      </a:lnTo>
                      <a:lnTo>
                        <a:pt x="343" y="466"/>
                      </a:lnTo>
                      <a:lnTo>
                        <a:pt x="339" y="463"/>
                      </a:lnTo>
                      <a:lnTo>
                        <a:pt x="336" y="456"/>
                      </a:lnTo>
                      <a:lnTo>
                        <a:pt x="334" y="454"/>
                      </a:lnTo>
                      <a:lnTo>
                        <a:pt x="330" y="451"/>
                      </a:lnTo>
                      <a:lnTo>
                        <a:pt x="322" y="447"/>
                      </a:lnTo>
                      <a:lnTo>
                        <a:pt x="320" y="444"/>
                      </a:lnTo>
                      <a:lnTo>
                        <a:pt x="316" y="440"/>
                      </a:lnTo>
                      <a:lnTo>
                        <a:pt x="313" y="435"/>
                      </a:lnTo>
                      <a:lnTo>
                        <a:pt x="311" y="433"/>
                      </a:lnTo>
                      <a:lnTo>
                        <a:pt x="309" y="431"/>
                      </a:lnTo>
                      <a:lnTo>
                        <a:pt x="308" y="430"/>
                      </a:lnTo>
                      <a:lnTo>
                        <a:pt x="306" y="430"/>
                      </a:lnTo>
                      <a:lnTo>
                        <a:pt x="304" y="428"/>
                      </a:lnTo>
                      <a:lnTo>
                        <a:pt x="306" y="424"/>
                      </a:lnTo>
                      <a:lnTo>
                        <a:pt x="309" y="421"/>
                      </a:lnTo>
                      <a:lnTo>
                        <a:pt x="311" y="417"/>
                      </a:lnTo>
                      <a:lnTo>
                        <a:pt x="309" y="412"/>
                      </a:lnTo>
                      <a:lnTo>
                        <a:pt x="308" y="409"/>
                      </a:lnTo>
                      <a:lnTo>
                        <a:pt x="306" y="407"/>
                      </a:lnTo>
                      <a:lnTo>
                        <a:pt x="302" y="405"/>
                      </a:lnTo>
                      <a:lnTo>
                        <a:pt x="252" y="381"/>
                      </a:lnTo>
                      <a:lnTo>
                        <a:pt x="229" y="375"/>
                      </a:lnTo>
                      <a:lnTo>
                        <a:pt x="226" y="375"/>
                      </a:lnTo>
                      <a:lnTo>
                        <a:pt x="217" y="375"/>
                      </a:lnTo>
                      <a:lnTo>
                        <a:pt x="213" y="375"/>
                      </a:lnTo>
                      <a:lnTo>
                        <a:pt x="206" y="372"/>
                      </a:lnTo>
                      <a:lnTo>
                        <a:pt x="205" y="372"/>
                      </a:lnTo>
                      <a:lnTo>
                        <a:pt x="199" y="372"/>
                      </a:lnTo>
                      <a:lnTo>
                        <a:pt x="196" y="374"/>
                      </a:lnTo>
                      <a:lnTo>
                        <a:pt x="194" y="375"/>
                      </a:lnTo>
                      <a:lnTo>
                        <a:pt x="191" y="377"/>
                      </a:lnTo>
                      <a:lnTo>
                        <a:pt x="187" y="375"/>
                      </a:lnTo>
                      <a:lnTo>
                        <a:pt x="184" y="374"/>
                      </a:lnTo>
                      <a:lnTo>
                        <a:pt x="182" y="374"/>
                      </a:lnTo>
                      <a:lnTo>
                        <a:pt x="178" y="375"/>
                      </a:lnTo>
                      <a:lnTo>
                        <a:pt x="172" y="379"/>
                      </a:lnTo>
                      <a:lnTo>
                        <a:pt x="168" y="381"/>
                      </a:lnTo>
                      <a:lnTo>
                        <a:pt x="165" y="381"/>
                      </a:lnTo>
                      <a:lnTo>
                        <a:pt x="161" y="381"/>
                      </a:lnTo>
                      <a:lnTo>
                        <a:pt x="158" y="381"/>
                      </a:lnTo>
                      <a:lnTo>
                        <a:pt x="154" y="381"/>
                      </a:lnTo>
                      <a:lnTo>
                        <a:pt x="152" y="379"/>
                      </a:lnTo>
                      <a:lnTo>
                        <a:pt x="149" y="377"/>
                      </a:lnTo>
                      <a:lnTo>
                        <a:pt x="145" y="377"/>
                      </a:lnTo>
                      <a:lnTo>
                        <a:pt x="142" y="379"/>
                      </a:lnTo>
                      <a:lnTo>
                        <a:pt x="140" y="381"/>
                      </a:lnTo>
                      <a:lnTo>
                        <a:pt x="137" y="381"/>
                      </a:lnTo>
                      <a:lnTo>
                        <a:pt x="133" y="381"/>
                      </a:lnTo>
                      <a:lnTo>
                        <a:pt x="130" y="379"/>
                      </a:lnTo>
                      <a:lnTo>
                        <a:pt x="124" y="377"/>
                      </a:lnTo>
                      <a:lnTo>
                        <a:pt x="123" y="379"/>
                      </a:lnTo>
                      <a:lnTo>
                        <a:pt x="124" y="382"/>
                      </a:lnTo>
                      <a:lnTo>
                        <a:pt x="126" y="384"/>
                      </a:lnTo>
                      <a:lnTo>
                        <a:pt x="131" y="389"/>
                      </a:lnTo>
                      <a:lnTo>
                        <a:pt x="124" y="391"/>
                      </a:lnTo>
                      <a:lnTo>
                        <a:pt x="117" y="389"/>
                      </a:lnTo>
                      <a:lnTo>
                        <a:pt x="98" y="384"/>
                      </a:lnTo>
                      <a:lnTo>
                        <a:pt x="93" y="382"/>
                      </a:lnTo>
                      <a:lnTo>
                        <a:pt x="75" y="372"/>
                      </a:lnTo>
                      <a:lnTo>
                        <a:pt x="72" y="370"/>
                      </a:lnTo>
                      <a:lnTo>
                        <a:pt x="72" y="368"/>
                      </a:lnTo>
                      <a:lnTo>
                        <a:pt x="74" y="367"/>
                      </a:lnTo>
                      <a:lnTo>
                        <a:pt x="84" y="361"/>
                      </a:lnTo>
                      <a:lnTo>
                        <a:pt x="86" y="361"/>
                      </a:lnTo>
                      <a:lnTo>
                        <a:pt x="89" y="360"/>
                      </a:lnTo>
                      <a:lnTo>
                        <a:pt x="95" y="360"/>
                      </a:lnTo>
                      <a:lnTo>
                        <a:pt x="98" y="360"/>
                      </a:lnTo>
                      <a:lnTo>
                        <a:pt x="100" y="358"/>
                      </a:lnTo>
                      <a:lnTo>
                        <a:pt x="95" y="356"/>
                      </a:lnTo>
                      <a:lnTo>
                        <a:pt x="75" y="356"/>
                      </a:lnTo>
                      <a:lnTo>
                        <a:pt x="68" y="354"/>
                      </a:lnTo>
                      <a:lnTo>
                        <a:pt x="65" y="353"/>
                      </a:lnTo>
                      <a:lnTo>
                        <a:pt x="63" y="351"/>
                      </a:lnTo>
                      <a:lnTo>
                        <a:pt x="63" y="349"/>
                      </a:lnTo>
                      <a:lnTo>
                        <a:pt x="63" y="347"/>
                      </a:lnTo>
                      <a:lnTo>
                        <a:pt x="65" y="346"/>
                      </a:lnTo>
                      <a:lnTo>
                        <a:pt x="67" y="344"/>
                      </a:lnTo>
                      <a:lnTo>
                        <a:pt x="55" y="349"/>
                      </a:lnTo>
                      <a:lnTo>
                        <a:pt x="51" y="351"/>
                      </a:lnTo>
                      <a:lnTo>
                        <a:pt x="48" y="351"/>
                      </a:lnTo>
                      <a:lnTo>
                        <a:pt x="46" y="349"/>
                      </a:lnTo>
                      <a:lnTo>
                        <a:pt x="44" y="349"/>
                      </a:lnTo>
                      <a:lnTo>
                        <a:pt x="44" y="346"/>
                      </a:lnTo>
                      <a:lnTo>
                        <a:pt x="39" y="344"/>
                      </a:lnTo>
                      <a:lnTo>
                        <a:pt x="37" y="342"/>
                      </a:lnTo>
                      <a:lnTo>
                        <a:pt x="37" y="340"/>
                      </a:lnTo>
                      <a:lnTo>
                        <a:pt x="39" y="339"/>
                      </a:lnTo>
                      <a:lnTo>
                        <a:pt x="42" y="337"/>
                      </a:lnTo>
                      <a:lnTo>
                        <a:pt x="48" y="337"/>
                      </a:lnTo>
                      <a:lnTo>
                        <a:pt x="81" y="335"/>
                      </a:lnTo>
                      <a:lnTo>
                        <a:pt x="82" y="335"/>
                      </a:lnTo>
                      <a:lnTo>
                        <a:pt x="88" y="332"/>
                      </a:lnTo>
                      <a:lnTo>
                        <a:pt x="91" y="332"/>
                      </a:lnTo>
                      <a:lnTo>
                        <a:pt x="95" y="330"/>
                      </a:lnTo>
                      <a:lnTo>
                        <a:pt x="112" y="330"/>
                      </a:lnTo>
                      <a:lnTo>
                        <a:pt x="126" y="330"/>
                      </a:lnTo>
                      <a:lnTo>
                        <a:pt x="135" y="333"/>
                      </a:lnTo>
                      <a:lnTo>
                        <a:pt x="137" y="333"/>
                      </a:lnTo>
                      <a:lnTo>
                        <a:pt x="138" y="333"/>
                      </a:lnTo>
                      <a:lnTo>
                        <a:pt x="137" y="332"/>
                      </a:lnTo>
                      <a:lnTo>
                        <a:pt x="137" y="332"/>
                      </a:lnTo>
                      <a:lnTo>
                        <a:pt x="137" y="332"/>
                      </a:lnTo>
                      <a:lnTo>
                        <a:pt x="138" y="327"/>
                      </a:lnTo>
                      <a:lnTo>
                        <a:pt x="138" y="323"/>
                      </a:lnTo>
                      <a:lnTo>
                        <a:pt x="133" y="321"/>
                      </a:lnTo>
                      <a:lnTo>
                        <a:pt x="128" y="321"/>
                      </a:lnTo>
                      <a:lnTo>
                        <a:pt x="123" y="321"/>
                      </a:lnTo>
                      <a:lnTo>
                        <a:pt x="110" y="325"/>
                      </a:lnTo>
                      <a:lnTo>
                        <a:pt x="105" y="325"/>
                      </a:lnTo>
                      <a:lnTo>
                        <a:pt x="100" y="325"/>
                      </a:lnTo>
                      <a:lnTo>
                        <a:pt x="93" y="323"/>
                      </a:lnTo>
                      <a:lnTo>
                        <a:pt x="91" y="323"/>
                      </a:lnTo>
                      <a:lnTo>
                        <a:pt x="88" y="323"/>
                      </a:lnTo>
                      <a:lnTo>
                        <a:pt x="86" y="325"/>
                      </a:lnTo>
                      <a:lnTo>
                        <a:pt x="81" y="327"/>
                      </a:lnTo>
                      <a:lnTo>
                        <a:pt x="79" y="327"/>
                      </a:lnTo>
                      <a:lnTo>
                        <a:pt x="75" y="327"/>
                      </a:lnTo>
                      <a:lnTo>
                        <a:pt x="61" y="325"/>
                      </a:lnTo>
                      <a:lnTo>
                        <a:pt x="61" y="325"/>
                      </a:lnTo>
                      <a:lnTo>
                        <a:pt x="60" y="323"/>
                      </a:lnTo>
                      <a:lnTo>
                        <a:pt x="58" y="323"/>
                      </a:lnTo>
                      <a:lnTo>
                        <a:pt x="58" y="323"/>
                      </a:lnTo>
                      <a:lnTo>
                        <a:pt x="58" y="321"/>
                      </a:lnTo>
                      <a:lnTo>
                        <a:pt x="56" y="321"/>
                      </a:lnTo>
                      <a:lnTo>
                        <a:pt x="49" y="320"/>
                      </a:lnTo>
                      <a:lnTo>
                        <a:pt x="48" y="320"/>
                      </a:lnTo>
                      <a:lnTo>
                        <a:pt x="49" y="318"/>
                      </a:lnTo>
                      <a:lnTo>
                        <a:pt x="53" y="314"/>
                      </a:lnTo>
                      <a:lnTo>
                        <a:pt x="58" y="313"/>
                      </a:lnTo>
                      <a:lnTo>
                        <a:pt x="55" y="311"/>
                      </a:lnTo>
                      <a:lnTo>
                        <a:pt x="49" y="313"/>
                      </a:lnTo>
                      <a:lnTo>
                        <a:pt x="46" y="314"/>
                      </a:lnTo>
                      <a:lnTo>
                        <a:pt x="41" y="314"/>
                      </a:lnTo>
                      <a:lnTo>
                        <a:pt x="35" y="314"/>
                      </a:lnTo>
                      <a:lnTo>
                        <a:pt x="25" y="309"/>
                      </a:lnTo>
                      <a:lnTo>
                        <a:pt x="23" y="307"/>
                      </a:lnTo>
                      <a:lnTo>
                        <a:pt x="18" y="307"/>
                      </a:lnTo>
                      <a:lnTo>
                        <a:pt x="14" y="306"/>
                      </a:lnTo>
                      <a:lnTo>
                        <a:pt x="13" y="306"/>
                      </a:lnTo>
                      <a:lnTo>
                        <a:pt x="7" y="302"/>
                      </a:lnTo>
                      <a:lnTo>
                        <a:pt x="4" y="299"/>
                      </a:lnTo>
                      <a:lnTo>
                        <a:pt x="2" y="299"/>
                      </a:lnTo>
                      <a:lnTo>
                        <a:pt x="0" y="297"/>
                      </a:lnTo>
                      <a:lnTo>
                        <a:pt x="0" y="295"/>
                      </a:lnTo>
                      <a:lnTo>
                        <a:pt x="2" y="293"/>
                      </a:lnTo>
                      <a:lnTo>
                        <a:pt x="4" y="293"/>
                      </a:lnTo>
                      <a:lnTo>
                        <a:pt x="4" y="292"/>
                      </a:lnTo>
                      <a:lnTo>
                        <a:pt x="4" y="290"/>
                      </a:lnTo>
                      <a:lnTo>
                        <a:pt x="4" y="288"/>
                      </a:lnTo>
                      <a:lnTo>
                        <a:pt x="2" y="288"/>
                      </a:lnTo>
                      <a:lnTo>
                        <a:pt x="2" y="286"/>
                      </a:lnTo>
                      <a:lnTo>
                        <a:pt x="4" y="285"/>
                      </a:lnTo>
                      <a:lnTo>
                        <a:pt x="4" y="285"/>
                      </a:lnTo>
                      <a:lnTo>
                        <a:pt x="6" y="283"/>
                      </a:lnTo>
                      <a:lnTo>
                        <a:pt x="7" y="281"/>
                      </a:lnTo>
                      <a:lnTo>
                        <a:pt x="16" y="278"/>
                      </a:lnTo>
                      <a:lnTo>
                        <a:pt x="25" y="276"/>
                      </a:lnTo>
                      <a:lnTo>
                        <a:pt x="28" y="274"/>
                      </a:lnTo>
                      <a:lnTo>
                        <a:pt x="37" y="274"/>
                      </a:lnTo>
                      <a:lnTo>
                        <a:pt x="41" y="274"/>
                      </a:lnTo>
                      <a:lnTo>
                        <a:pt x="46" y="274"/>
                      </a:lnTo>
                      <a:lnTo>
                        <a:pt x="56" y="269"/>
                      </a:lnTo>
                      <a:lnTo>
                        <a:pt x="82" y="264"/>
                      </a:lnTo>
                      <a:lnTo>
                        <a:pt x="82" y="262"/>
                      </a:lnTo>
                      <a:lnTo>
                        <a:pt x="81" y="260"/>
                      </a:lnTo>
                      <a:lnTo>
                        <a:pt x="89" y="257"/>
                      </a:lnTo>
                      <a:lnTo>
                        <a:pt x="117" y="251"/>
                      </a:lnTo>
                      <a:lnTo>
                        <a:pt x="123" y="250"/>
                      </a:lnTo>
                      <a:lnTo>
                        <a:pt x="131" y="250"/>
                      </a:lnTo>
                      <a:lnTo>
                        <a:pt x="138" y="251"/>
                      </a:lnTo>
                      <a:lnTo>
                        <a:pt x="144" y="251"/>
                      </a:lnTo>
                      <a:lnTo>
                        <a:pt x="147" y="250"/>
                      </a:lnTo>
                      <a:lnTo>
                        <a:pt x="154" y="246"/>
                      </a:lnTo>
                      <a:lnTo>
                        <a:pt x="159" y="239"/>
                      </a:lnTo>
                      <a:lnTo>
                        <a:pt x="163" y="230"/>
                      </a:lnTo>
                      <a:lnTo>
                        <a:pt x="166" y="223"/>
                      </a:lnTo>
                      <a:lnTo>
                        <a:pt x="170" y="209"/>
                      </a:lnTo>
                      <a:lnTo>
                        <a:pt x="172" y="206"/>
                      </a:lnTo>
                      <a:lnTo>
                        <a:pt x="173" y="204"/>
                      </a:lnTo>
                      <a:lnTo>
                        <a:pt x="177" y="202"/>
                      </a:lnTo>
                      <a:lnTo>
                        <a:pt x="185" y="199"/>
                      </a:lnTo>
                      <a:lnTo>
                        <a:pt x="180" y="197"/>
                      </a:lnTo>
                      <a:lnTo>
                        <a:pt x="177" y="197"/>
                      </a:lnTo>
                      <a:lnTo>
                        <a:pt x="172" y="199"/>
                      </a:lnTo>
                      <a:lnTo>
                        <a:pt x="168" y="201"/>
                      </a:lnTo>
                      <a:lnTo>
                        <a:pt x="159" y="201"/>
                      </a:lnTo>
                      <a:lnTo>
                        <a:pt x="158" y="201"/>
                      </a:lnTo>
                      <a:lnTo>
                        <a:pt x="152" y="202"/>
                      </a:lnTo>
                      <a:lnTo>
                        <a:pt x="151" y="204"/>
                      </a:lnTo>
                      <a:lnTo>
                        <a:pt x="147" y="204"/>
                      </a:lnTo>
                      <a:lnTo>
                        <a:pt x="145" y="202"/>
                      </a:lnTo>
                      <a:lnTo>
                        <a:pt x="140" y="201"/>
                      </a:lnTo>
                      <a:lnTo>
                        <a:pt x="138" y="201"/>
                      </a:lnTo>
                      <a:lnTo>
                        <a:pt x="137" y="201"/>
                      </a:lnTo>
                      <a:lnTo>
                        <a:pt x="131" y="201"/>
                      </a:lnTo>
                      <a:lnTo>
                        <a:pt x="130" y="201"/>
                      </a:lnTo>
                      <a:lnTo>
                        <a:pt x="126" y="199"/>
                      </a:lnTo>
                      <a:lnTo>
                        <a:pt x="123" y="197"/>
                      </a:lnTo>
                      <a:lnTo>
                        <a:pt x="121" y="194"/>
                      </a:lnTo>
                      <a:lnTo>
                        <a:pt x="121" y="190"/>
                      </a:lnTo>
                      <a:lnTo>
                        <a:pt x="123" y="181"/>
                      </a:lnTo>
                      <a:lnTo>
                        <a:pt x="130" y="176"/>
                      </a:lnTo>
                      <a:lnTo>
                        <a:pt x="138" y="171"/>
                      </a:lnTo>
                      <a:lnTo>
                        <a:pt x="152" y="168"/>
                      </a:lnTo>
                      <a:lnTo>
                        <a:pt x="156" y="164"/>
                      </a:lnTo>
                      <a:lnTo>
                        <a:pt x="165" y="159"/>
                      </a:lnTo>
                      <a:lnTo>
                        <a:pt x="173" y="150"/>
                      </a:lnTo>
                      <a:lnTo>
                        <a:pt x="177" y="148"/>
                      </a:lnTo>
                      <a:lnTo>
                        <a:pt x="182" y="147"/>
                      </a:lnTo>
                      <a:lnTo>
                        <a:pt x="187" y="145"/>
                      </a:lnTo>
                      <a:lnTo>
                        <a:pt x="191" y="145"/>
                      </a:lnTo>
                      <a:lnTo>
                        <a:pt x="196" y="145"/>
                      </a:lnTo>
                      <a:lnTo>
                        <a:pt x="199" y="147"/>
                      </a:lnTo>
                      <a:lnTo>
                        <a:pt x="206" y="154"/>
                      </a:lnTo>
                      <a:lnTo>
                        <a:pt x="210" y="155"/>
                      </a:lnTo>
                      <a:lnTo>
                        <a:pt x="206" y="150"/>
                      </a:lnTo>
                      <a:lnTo>
                        <a:pt x="205" y="143"/>
                      </a:lnTo>
                      <a:lnTo>
                        <a:pt x="206" y="138"/>
                      </a:lnTo>
                      <a:lnTo>
                        <a:pt x="210" y="134"/>
                      </a:lnTo>
                      <a:lnTo>
                        <a:pt x="215" y="133"/>
                      </a:lnTo>
                      <a:lnTo>
                        <a:pt x="222" y="134"/>
                      </a:lnTo>
                      <a:lnTo>
                        <a:pt x="227" y="136"/>
                      </a:lnTo>
                      <a:lnTo>
                        <a:pt x="233" y="138"/>
                      </a:lnTo>
                      <a:lnTo>
                        <a:pt x="238" y="140"/>
                      </a:lnTo>
                      <a:lnTo>
                        <a:pt x="243" y="140"/>
                      </a:lnTo>
                      <a:lnTo>
                        <a:pt x="245" y="136"/>
                      </a:lnTo>
                      <a:lnTo>
                        <a:pt x="248" y="129"/>
                      </a:lnTo>
                      <a:lnTo>
                        <a:pt x="250" y="124"/>
                      </a:lnTo>
                      <a:lnTo>
                        <a:pt x="250" y="119"/>
                      </a:lnTo>
                      <a:lnTo>
                        <a:pt x="250" y="113"/>
                      </a:lnTo>
                      <a:lnTo>
                        <a:pt x="250" y="108"/>
                      </a:lnTo>
                      <a:lnTo>
                        <a:pt x="248" y="98"/>
                      </a:lnTo>
                      <a:lnTo>
                        <a:pt x="248" y="94"/>
                      </a:lnTo>
                      <a:lnTo>
                        <a:pt x="252" y="89"/>
                      </a:lnTo>
                      <a:lnTo>
                        <a:pt x="257" y="87"/>
                      </a:lnTo>
                      <a:lnTo>
                        <a:pt x="261" y="84"/>
                      </a:lnTo>
                      <a:lnTo>
                        <a:pt x="266" y="82"/>
                      </a:lnTo>
                      <a:lnTo>
                        <a:pt x="271" y="82"/>
                      </a:lnTo>
                      <a:lnTo>
                        <a:pt x="282" y="82"/>
                      </a:lnTo>
                      <a:lnTo>
                        <a:pt x="292" y="87"/>
                      </a:lnTo>
                      <a:lnTo>
                        <a:pt x="309" y="98"/>
                      </a:lnTo>
                      <a:lnTo>
                        <a:pt x="315" y="101"/>
                      </a:lnTo>
                      <a:lnTo>
                        <a:pt x="323" y="105"/>
                      </a:lnTo>
                      <a:lnTo>
                        <a:pt x="329" y="108"/>
                      </a:lnTo>
                      <a:lnTo>
                        <a:pt x="337" y="117"/>
                      </a:lnTo>
                      <a:lnTo>
                        <a:pt x="341" y="120"/>
                      </a:lnTo>
                      <a:lnTo>
                        <a:pt x="346" y="120"/>
                      </a:lnTo>
                      <a:lnTo>
                        <a:pt x="341" y="112"/>
                      </a:lnTo>
                      <a:lnTo>
                        <a:pt x="330" y="105"/>
                      </a:lnTo>
                      <a:lnTo>
                        <a:pt x="309" y="91"/>
                      </a:lnTo>
                      <a:lnTo>
                        <a:pt x="302" y="84"/>
                      </a:lnTo>
                      <a:lnTo>
                        <a:pt x="299" y="82"/>
                      </a:lnTo>
                      <a:lnTo>
                        <a:pt x="292" y="80"/>
                      </a:lnTo>
                      <a:lnTo>
                        <a:pt x="290" y="78"/>
                      </a:lnTo>
                      <a:lnTo>
                        <a:pt x="292" y="77"/>
                      </a:lnTo>
                      <a:lnTo>
                        <a:pt x="297" y="73"/>
                      </a:lnTo>
                      <a:lnTo>
                        <a:pt x="306" y="71"/>
                      </a:lnTo>
                      <a:lnTo>
                        <a:pt x="365" y="64"/>
                      </a:lnTo>
                      <a:lnTo>
                        <a:pt x="376" y="61"/>
                      </a:lnTo>
                      <a:lnTo>
                        <a:pt x="386" y="59"/>
                      </a:lnTo>
                      <a:lnTo>
                        <a:pt x="399" y="61"/>
                      </a:lnTo>
                      <a:lnTo>
                        <a:pt x="402" y="63"/>
                      </a:lnTo>
                      <a:lnTo>
                        <a:pt x="407" y="66"/>
                      </a:lnTo>
                      <a:lnTo>
                        <a:pt x="409" y="70"/>
                      </a:lnTo>
                      <a:lnTo>
                        <a:pt x="411" y="75"/>
                      </a:lnTo>
                      <a:lnTo>
                        <a:pt x="411" y="80"/>
                      </a:lnTo>
                      <a:lnTo>
                        <a:pt x="411" y="87"/>
                      </a:lnTo>
                      <a:lnTo>
                        <a:pt x="411" y="94"/>
                      </a:lnTo>
                      <a:lnTo>
                        <a:pt x="412" y="99"/>
                      </a:lnTo>
                      <a:lnTo>
                        <a:pt x="418" y="94"/>
                      </a:lnTo>
                      <a:lnTo>
                        <a:pt x="421" y="89"/>
                      </a:lnTo>
                      <a:lnTo>
                        <a:pt x="425" y="80"/>
                      </a:lnTo>
                      <a:lnTo>
                        <a:pt x="425" y="75"/>
                      </a:lnTo>
                      <a:lnTo>
                        <a:pt x="421" y="68"/>
                      </a:lnTo>
                      <a:lnTo>
                        <a:pt x="421" y="64"/>
                      </a:lnTo>
                      <a:lnTo>
                        <a:pt x="423" y="61"/>
                      </a:lnTo>
                      <a:lnTo>
                        <a:pt x="426" y="61"/>
                      </a:lnTo>
                      <a:lnTo>
                        <a:pt x="432" y="61"/>
                      </a:lnTo>
                      <a:lnTo>
                        <a:pt x="453" y="73"/>
                      </a:lnTo>
                      <a:lnTo>
                        <a:pt x="458" y="75"/>
                      </a:lnTo>
                      <a:lnTo>
                        <a:pt x="460" y="77"/>
                      </a:lnTo>
                      <a:lnTo>
                        <a:pt x="461" y="78"/>
                      </a:lnTo>
                      <a:lnTo>
                        <a:pt x="465" y="82"/>
                      </a:lnTo>
                      <a:lnTo>
                        <a:pt x="468" y="84"/>
                      </a:lnTo>
                      <a:lnTo>
                        <a:pt x="470" y="84"/>
                      </a:lnTo>
                      <a:lnTo>
                        <a:pt x="481" y="84"/>
                      </a:lnTo>
                      <a:lnTo>
                        <a:pt x="489" y="84"/>
                      </a:lnTo>
                      <a:lnTo>
                        <a:pt x="495" y="84"/>
                      </a:lnTo>
                      <a:lnTo>
                        <a:pt x="498" y="82"/>
                      </a:lnTo>
                      <a:lnTo>
                        <a:pt x="489" y="77"/>
                      </a:lnTo>
                      <a:lnTo>
                        <a:pt x="481" y="71"/>
                      </a:lnTo>
                      <a:lnTo>
                        <a:pt x="472" y="64"/>
                      </a:lnTo>
                      <a:lnTo>
                        <a:pt x="467" y="54"/>
                      </a:lnTo>
                      <a:lnTo>
                        <a:pt x="477" y="54"/>
                      </a:lnTo>
                      <a:lnTo>
                        <a:pt x="489" y="54"/>
                      </a:lnTo>
                      <a:lnTo>
                        <a:pt x="502" y="56"/>
                      </a:lnTo>
                      <a:lnTo>
                        <a:pt x="512" y="57"/>
                      </a:lnTo>
                      <a:lnTo>
                        <a:pt x="561" y="71"/>
                      </a:lnTo>
                      <a:lnTo>
                        <a:pt x="587" y="87"/>
                      </a:lnTo>
                      <a:lnTo>
                        <a:pt x="598" y="91"/>
                      </a:lnTo>
                      <a:lnTo>
                        <a:pt x="601" y="91"/>
                      </a:lnTo>
                      <a:lnTo>
                        <a:pt x="605" y="87"/>
                      </a:lnTo>
                      <a:lnTo>
                        <a:pt x="605" y="84"/>
                      </a:lnTo>
                      <a:lnTo>
                        <a:pt x="603" y="77"/>
                      </a:lnTo>
                      <a:lnTo>
                        <a:pt x="603" y="75"/>
                      </a:lnTo>
                      <a:lnTo>
                        <a:pt x="603" y="71"/>
                      </a:lnTo>
                      <a:lnTo>
                        <a:pt x="603" y="70"/>
                      </a:lnTo>
                      <a:lnTo>
                        <a:pt x="603" y="66"/>
                      </a:lnTo>
                      <a:lnTo>
                        <a:pt x="605" y="64"/>
                      </a:lnTo>
                      <a:lnTo>
                        <a:pt x="608" y="61"/>
                      </a:lnTo>
                      <a:lnTo>
                        <a:pt x="610" y="57"/>
                      </a:lnTo>
                      <a:lnTo>
                        <a:pt x="610" y="56"/>
                      </a:lnTo>
                      <a:lnTo>
                        <a:pt x="606" y="52"/>
                      </a:lnTo>
                      <a:lnTo>
                        <a:pt x="585" y="42"/>
                      </a:lnTo>
                      <a:lnTo>
                        <a:pt x="584" y="38"/>
                      </a:lnTo>
                      <a:lnTo>
                        <a:pt x="589" y="35"/>
                      </a:lnTo>
                      <a:lnTo>
                        <a:pt x="603" y="35"/>
                      </a:lnTo>
                      <a:lnTo>
                        <a:pt x="645" y="38"/>
                      </a:lnTo>
                      <a:lnTo>
                        <a:pt x="650" y="38"/>
                      </a:lnTo>
                      <a:lnTo>
                        <a:pt x="659" y="40"/>
                      </a:lnTo>
                      <a:lnTo>
                        <a:pt x="662" y="42"/>
                      </a:lnTo>
                      <a:lnTo>
                        <a:pt x="667" y="42"/>
                      </a:lnTo>
                      <a:lnTo>
                        <a:pt x="671" y="40"/>
                      </a:lnTo>
                      <a:lnTo>
                        <a:pt x="673" y="38"/>
                      </a:lnTo>
                      <a:lnTo>
                        <a:pt x="669" y="35"/>
                      </a:lnTo>
                      <a:lnTo>
                        <a:pt x="664" y="35"/>
                      </a:lnTo>
                      <a:lnTo>
                        <a:pt x="596" y="29"/>
                      </a:lnTo>
                      <a:lnTo>
                        <a:pt x="577" y="31"/>
                      </a:lnTo>
                      <a:lnTo>
                        <a:pt x="571" y="31"/>
                      </a:lnTo>
                      <a:lnTo>
                        <a:pt x="568" y="29"/>
                      </a:lnTo>
                      <a:lnTo>
                        <a:pt x="563" y="26"/>
                      </a:lnTo>
                      <a:lnTo>
                        <a:pt x="566" y="24"/>
                      </a:lnTo>
                      <a:lnTo>
                        <a:pt x="568" y="22"/>
                      </a:lnTo>
                      <a:lnTo>
                        <a:pt x="571" y="21"/>
                      </a:lnTo>
                      <a:lnTo>
                        <a:pt x="575" y="21"/>
                      </a:lnTo>
                      <a:lnTo>
                        <a:pt x="584" y="22"/>
                      </a:lnTo>
                      <a:lnTo>
                        <a:pt x="587" y="22"/>
                      </a:lnTo>
                      <a:lnTo>
                        <a:pt x="591" y="21"/>
                      </a:lnTo>
                      <a:lnTo>
                        <a:pt x="598" y="19"/>
                      </a:lnTo>
                      <a:lnTo>
                        <a:pt x="601" y="17"/>
                      </a:lnTo>
                      <a:lnTo>
                        <a:pt x="613" y="15"/>
                      </a:lnTo>
                      <a:lnTo>
                        <a:pt x="634" y="12"/>
                      </a:lnTo>
                      <a:lnTo>
                        <a:pt x="643" y="12"/>
                      </a:lnTo>
                      <a:lnTo>
                        <a:pt x="648" y="12"/>
                      </a:lnTo>
                      <a:lnTo>
                        <a:pt x="667" y="17"/>
                      </a:lnTo>
                      <a:lnTo>
                        <a:pt x="673" y="17"/>
                      </a:lnTo>
                      <a:lnTo>
                        <a:pt x="678" y="15"/>
                      </a:lnTo>
                      <a:lnTo>
                        <a:pt x="687" y="10"/>
                      </a:lnTo>
                      <a:lnTo>
                        <a:pt x="694" y="10"/>
                      </a:lnTo>
                      <a:lnTo>
                        <a:pt x="701" y="10"/>
                      </a:lnTo>
                      <a:lnTo>
                        <a:pt x="725" y="15"/>
                      </a:lnTo>
                      <a:lnTo>
                        <a:pt x="727" y="17"/>
                      </a:lnTo>
                      <a:lnTo>
                        <a:pt x="734" y="21"/>
                      </a:lnTo>
                      <a:lnTo>
                        <a:pt x="737" y="22"/>
                      </a:lnTo>
                      <a:lnTo>
                        <a:pt x="739" y="22"/>
                      </a:lnTo>
                      <a:lnTo>
                        <a:pt x="741" y="22"/>
                      </a:lnTo>
                      <a:lnTo>
                        <a:pt x="743" y="22"/>
                      </a:lnTo>
                      <a:lnTo>
                        <a:pt x="744" y="21"/>
                      </a:lnTo>
                      <a:lnTo>
                        <a:pt x="744" y="17"/>
                      </a:lnTo>
                      <a:lnTo>
                        <a:pt x="744" y="15"/>
                      </a:lnTo>
                      <a:lnTo>
                        <a:pt x="744" y="15"/>
                      </a:lnTo>
                      <a:lnTo>
                        <a:pt x="741" y="14"/>
                      </a:lnTo>
                      <a:lnTo>
                        <a:pt x="734" y="12"/>
                      </a:lnTo>
                      <a:lnTo>
                        <a:pt x="730" y="10"/>
                      </a:lnTo>
                      <a:lnTo>
                        <a:pt x="729" y="9"/>
                      </a:lnTo>
                      <a:lnTo>
                        <a:pt x="729" y="7"/>
                      </a:lnTo>
                      <a:lnTo>
                        <a:pt x="732" y="7"/>
                      </a:lnTo>
                      <a:lnTo>
                        <a:pt x="737" y="7"/>
                      </a:lnTo>
                      <a:lnTo>
                        <a:pt x="739" y="7"/>
                      </a:lnTo>
                      <a:lnTo>
                        <a:pt x="743" y="5"/>
                      </a:lnTo>
                      <a:lnTo>
                        <a:pt x="748" y="3"/>
                      </a:lnTo>
                      <a:lnTo>
                        <a:pt x="751" y="3"/>
                      </a:lnTo>
                      <a:lnTo>
                        <a:pt x="755" y="3"/>
                      </a:lnTo>
                      <a:lnTo>
                        <a:pt x="762" y="5"/>
                      </a:lnTo>
                      <a:lnTo>
                        <a:pt x="765" y="5"/>
                      </a:lnTo>
                      <a:lnTo>
                        <a:pt x="769" y="3"/>
                      </a:lnTo>
                      <a:lnTo>
                        <a:pt x="776" y="2"/>
                      </a:lnTo>
                      <a:lnTo>
                        <a:pt x="783" y="2"/>
                      </a:lnTo>
                      <a:lnTo>
                        <a:pt x="797" y="2"/>
                      </a:lnTo>
                      <a:lnTo>
                        <a:pt x="811" y="2"/>
                      </a:lnTo>
                      <a:lnTo>
                        <a:pt x="828" y="2"/>
                      </a:lnTo>
                      <a:lnTo>
                        <a:pt x="833" y="2"/>
                      </a:lnTo>
                      <a:lnTo>
                        <a:pt x="853" y="0"/>
                      </a:lnTo>
                      <a:lnTo>
                        <a:pt x="865" y="0"/>
                      </a:lnTo>
                      <a:lnTo>
                        <a:pt x="999" y="10"/>
                      </a:lnTo>
                      <a:lnTo>
                        <a:pt x="1006" y="12"/>
                      </a:lnTo>
                      <a:lnTo>
                        <a:pt x="997" y="14"/>
                      </a:lnTo>
                      <a:lnTo>
                        <a:pt x="875" y="19"/>
                      </a:lnTo>
                      <a:lnTo>
                        <a:pt x="874" y="21"/>
                      </a:lnTo>
                      <a:lnTo>
                        <a:pt x="872" y="24"/>
                      </a:lnTo>
                      <a:lnTo>
                        <a:pt x="879" y="24"/>
                      </a:lnTo>
                      <a:lnTo>
                        <a:pt x="884" y="24"/>
                      </a:lnTo>
                      <a:lnTo>
                        <a:pt x="896" y="21"/>
                      </a:lnTo>
                      <a:lnTo>
                        <a:pt x="908" y="19"/>
                      </a:lnTo>
                      <a:lnTo>
                        <a:pt x="922" y="19"/>
                      </a:lnTo>
                      <a:lnTo>
                        <a:pt x="961" y="21"/>
                      </a:lnTo>
                      <a:lnTo>
                        <a:pt x="1003" y="19"/>
                      </a:lnTo>
                      <a:lnTo>
                        <a:pt x="1017" y="15"/>
                      </a:lnTo>
                      <a:lnTo>
                        <a:pt x="1018" y="15"/>
                      </a:lnTo>
                      <a:lnTo>
                        <a:pt x="1020" y="17"/>
                      </a:lnTo>
                      <a:lnTo>
                        <a:pt x="1022" y="19"/>
                      </a:lnTo>
                      <a:lnTo>
                        <a:pt x="1029" y="28"/>
                      </a:lnTo>
                      <a:lnTo>
                        <a:pt x="1032" y="29"/>
                      </a:lnTo>
                      <a:lnTo>
                        <a:pt x="1034" y="29"/>
                      </a:lnTo>
                      <a:lnTo>
                        <a:pt x="1038" y="29"/>
                      </a:lnTo>
                      <a:lnTo>
                        <a:pt x="1039" y="29"/>
                      </a:lnTo>
                      <a:lnTo>
                        <a:pt x="1041" y="29"/>
                      </a:lnTo>
                      <a:lnTo>
                        <a:pt x="1045" y="31"/>
                      </a:lnTo>
                      <a:lnTo>
                        <a:pt x="1050" y="33"/>
                      </a:lnTo>
                      <a:lnTo>
                        <a:pt x="1052" y="33"/>
                      </a:lnTo>
                      <a:lnTo>
                        <a:pt x="1064" y="33"/>
                      </a:lnTo>
                      <a:lnTo>
                        <a:pt x="1076" y="35"/>
                      </a:lnTo>
                      <a:lnTo>
                        <a:pt x="1081" y="36"/>
                      </a:lnTo>
                      <a:lnTo>
                        <a:pt x="1088" y="40"/>
                      </a:lnTo>
                      <a:lnTo>
                        <a:pt x="1092" y="40"/>
                      </a:lnTo>
                      <a:lnTo>
                        <a:pt x="1094" y="42"/>
                      </a:lnTo>
                      <a:lnTo>
                        <a:pt x="1095" y="45"/>
                      </a:lnTo>
                      <a:lnTo>
                        <a:pt x="1097" y="47"/>
                      </a:lnTo>
                      <a:lnTo>
                        <a:pt x="1095" y="50"/>
                      </a:lnTo>
                      <a:lnTo>
                        <a:pt x="1094" y="52"/>
                      </a:lnTo>
                      <a:lnTo>
                        <a:pt x="1081" y="56"/>
                      </a:lnTo>
                      <a:lnTo>
                        <a:pt x="1069" y="59"/>
                      </a:lnTo>
                      <a:lnTo>
                        <a:pt x="1052" y="63"/>
                      </a:lnTo>
                      <a:lnTo>
                        <a:pt x="929" y="68"/>
                      </a:lnTo>
                      <a:lnTo>
                        <a:pt x="926" y="68"/>
                      </a:lnTo>
                      <a:lnTo>
                        <a:pt x="921" y="71"/>
                      </a:lnTo>
                      <a:lnTo>
                        <a:pt x="919" y="75"/>
                      </a:lnTo>
                      <a:lnTo>
                        <a:pt x="919" y="78"/>
                      </a:lnTo>
                      <a:lnTo>
                        <a:pt x="924" y="80"/>
                      </a:lnTo>
                      <a:lnTo>
                        <a:pt x="929" y="80"/>
                      </a:lnTo>
                      <a:lnTo>
                        <a:pt x="947" y="77"/>
                      </a:lnTo>
                      <a:lnTo>
                        <a:pt x="961" y="75"/>
                      </a:lnTo>
                      <a:lnTo>
                        <a:pt x="975" y="75"/>
                      </a:lnTo>
                      <a:lnTo>
                        <a:pt x="1013" y="77"/>
                      </a:lnTo>
                      <a:lnTo>
                        <a:pt x="1018" y="78"/>
                      </a:lnTo>
                      <a:lnTo>
                        <a:pt x="1024" y="80"/>
                      </a:lnTo>
                      <a:lnTo>
                        <a:pt x="1027" y="82"/>
                      </a:lnTo>
                      <a:lnTo>
                        <a:pt x="1031" y="84"/>
                      </a:lnTo>
                      <a:lnTo>
                        <a:pt x="1032" y="87"/>
                      </a:lnTo>
                      <a:lnTo>
                        <a:pt x="1034" y="89"/>
                      </a:lnTo>
                      <a:lnTo>
                        <a:pt x="1036" y="92"/>
                      </a:lnTo>
                      <a:lnTo>
                        <a:pt x="1038" y="94"/>
                      </a:lnTo>
                      <a:lnTo>
                        <a:pt x="1039" y="96"/>
                      </a:lnTo>
                      <a:lnTo>
                        <a:pt x="1041" y="96"/>
                      </a:lnTo>
                      <a:lnTo>
                        <a:pt x="1045" y="94"/>
                      </a:lnTo>
                      <a:lnTo>
                        <a:pt x="1048" y="94"/>
                      </a:lnTo>
                      <a:lnTo>
                        <a:pt x="1052" y="92"/>
                      </a:lnTo>
                      <a:lnTo>
                        <a:pt x="1055" y="91"/>
                      </a:lnTo>
                      <a:lnTo>
                        <a:pt x="1057" y="89"/>
                      </a:lnTo>
                      <a:lnTo>
                        <a:pt x="1057" y="85"/>
                      </a:lnTo>
                      <a:lnTo>
                        <a:pt x="1059" y="84"/>
                      </a:lnTo>
                      <a:lnTo>
                        <a:pt x="1060" y="80"/>
                      </a:lnTo>
                      <a:lnTo>
                        <a:pt x="1064" y="77"/>
                      </a:lnTo>
                      <a:lnTo>
                        <a:pt x="1069" y="75"/>
                      </a:lnTo>
                      <a:lnTo>
                        <a:pt x="1094" y="73"/>
                      </a:lnTo>
                      <a:lnTo>
                        <a:pt x="1101" y="75"/>
                      </a:lnTo>
                      <a:lnTo>
                        <a:pt x="1104" y="78"/>
                      </a:lnTo>
                      <a:lnTo>
                        <a:pt x="1106" y="91"/>
                      </a:lnTo>
                      <a:lnTo>
                        <a:pt x="1102" y="103"/>
                      </a:lnTo>
                      <a:lnTo>
                        <a:pt x="1097" y="115"/>
                      </a:lnTo>
                      <a:lnTo>
                        <a:pt x="1090" y="126"/>
                      </a:lnTo>
                      <a:lnTo>
                        <a:pt x="1066" y="152"/>
                      </a:lnTo>
                      <a:lnTo>
                        <a:pt x="1060" y="159"/>
                      </a:lnTo>
                      <a:lnTo>
                        <a:pt x="1062" y="162"/>
                      </a:lnTo>
                      <a:lnTo>
                        <a:pt x="1064" y="161"/>
                      </a:lnTo>
                      <a:lnTo>
                        <a:pt x="1066" y="159"/>
                      </a:lnTo>
                      <a:lnTo>
                        <a:pt x="1067" y="155"/>
                      </a:lnTo>
                      <a:lnTo>
                        <a:pt x="1069" y="154"/>
                      </a:lnTo>
                      <a:lnTo>
                        <a:pt x="1073" y="152"/>
                      </a:lnTo>
                      <a:lnTo>
                        <a:pt x="1083" y="148"/>
                      </a:lnTo>
                      <a:lnTo>
                        <a:pt x="1088" y="145"/>
                      </a:lnTo>
                      <a:lnTo>
                        <a:pt x="1097" y="138"/>
                      </a:lnTo>
                      <a:lnTo>
                        <a:pt x="1108" y="129"/>
                      </a:lnTo>
                      <a:lnTo>
                        <a:pt x="1113" y="126"/>
                      </a:lnTo>
                      <a:lnTo>
                        <a:pt x="1128" y="106"/>
                      </a:lnTo>
                      <a:lnTo>
                        <a:pt x="1134" y="103"/>
                      </a:lnTo>
                      <a:lnTo>
                        <a:pt x="1139" y="99"/>
                      </a:lnTo>
                      <a:lnTo>
                        <a:pt x="1144" y="99"/>
                      </a:lnTo>
                      <a:lnTo>
                        <a:pt x="1146" y="101"/>
                      </a:lnTo>
                      <a:lnTo>
                        <a:pt x="1146" y="105"/>
                      </a:lnTo>
                      <a:lnTo>
                        <a:pt x="1148" y="108"/>
                      </a:lnTo>
                      <a:lnTo>
                        <a:pt x="1149" y="110"/>
                      </a:lnTo>
                      <a:lnTo>
                        <a:pt x="1153" y="110"/>
                      </a:lnTo>
                      <a:lnTo>
                        <a:pt x="1163" y="112"/>
                      </a:lnTo>
                      <a:lnTo>
                        <a:pt x="1181" y="117"/>
                      </a:lnTo>
                      <a:lnTo>
                        <a:pt x="1183" y="117"/>
                      </a:lnTo>
                      <a:lnTo>
                        <a:pt x="1186" y="117"/>
                      </a:lnTo>
                      <a:lnTo>
                        <a:pt x="1188" y="115"/>
                      </a:lnTo>
                      <a:lnTo>
                        <a:pt x="1190" y="113"/>
                      </a:lnTo>
                      <a:lnTo>
                        <a:pt x="1195" y="106"/>
                      </a:lnTo>
                      <a:lnTo>
                        <a:pt x="1205" y="96"/>
                      </a:lnTo>
                      <a:lnTo>
                        <a:pt x="1211" y="92"/>
                      </a:lnTo>
                      <a:lnTo>
                        <a:pt x="1216" y="91"/>
                      </a:lnTo>
                      <a:lnTo>
                        <a:pt x="1228" y="89"/>
                      </a:lnTo>
                      <a:lnTo>
                        <a:pt x="1240" y="87"/>
                      </a:lnTo>
                      <a:lnTo>
                        <a:pt x="1254" y="89"/>
                      </a:lnTo>
                      <a:lnTo>
                        <a:pt x="1291" y="98"/>
                      </a:lnTo>
                      <a:lnTo>
                        <a:pt x="1298" y="101"/>
                      </a:lnTo>
                      <a:lnTo>
                        <a:pt x="1307" y="108"/>
                      </a:lnTo>
                      <a:lnTo>
                        <a:pt x="1312" y="112"/>
                      </a:lnTo>
                      <a:lnTo>
                        <a:pt x="1310" y="115"/>
                      </a:lnTo>
                      <a:lnTo>
                        <a:pt x="1307" y="119"/>
                      </a:lnTo>
                      <a:lnTo>
                        <a:pt x="1298" y="124"/>
                      </a:lnTo>
                      <a:lnTo>
                        <a:pt x="1287" y="133"/>
                      </a:lnTo>
                      <a:lnTo>
                        <a:pt x="1277" y="141"/>
                      </a:lnTo>
                      <a:lnTo>
                        <a:pt x="1273" y="145"/>
                      </a:lnTo>
                      <a:lnTo>
                        <a:pt x="1268" y="147"/>
                      </a:lnTo>
                      <a:lnTo>
                        <a:pt x="1265" y="147"/>
                      </a:lnTo>
                      <a:lnTo>
                        <a:pt x="1254" y="147"/>
                      </a:lnTo>
                      <a:lnTo>
                        <a:pt x="1251" y="148"/>
                      </a:lnTo>
                      <a:lnTo>
                        <a:pt x="1249" y="150"/>
                      </a:lnTo>
                      <a:lnTo>
                        <a:pt x="1252" y="155"/>
                      </a:lnTo>
                      <a:lnTo>
                        <a:pt x="1252" y="159"/>
                      </a:lnTo>
                      <a:lnTo>
                        <a:pt x="1249" y="162"/>
                      </a:lnTo>
                      <a:lnTo>
                        <a:pt x="1244" y="164"/>
                      </a:lnTo>
                      <a:lnTo>
                        <a:pt x="1233" y="164"/>
                      </a:lnTo>
                      <a:lnTo>
                        <a:pt x="1221" y="169"/>
                      </a:lnTo>
                      <a:lnTo>
                        <a:pt x="1207" y="169"/>
                      </a:lnTo>
                      <a:lnTo>
                        <a:pt x="1204" y="171"/>
                      </a:lnTo>
                      <a:lnTo>
                        <a:pt x="1198" y="173"/>
                      </a:lnTo>
                      <a:lnTo>
                        <a:pt x="1200" y="174"/>
                      </a:lnTo>
                      <a:lnTo>
                        <a:pt x="1204" y="176"/>
                      </a:lnTo>
                      <a:lnTo>
                        <a:pt x="1205" y="176"/>
                      </a:lnTo>
                      <a:lnTo>
                        <a:pt x="1207" y="178"/>
                      </a:lnTo>
                      <a:lnTo>
                        <a:pt x="1214" y="178"/>
                      </a:lnTo>
                      <a:lnTo>
                        <a:pt x="1216" y="180"/>
                      </a:lnTo>
                      <a:lnTo>
                        <a:pt x="1216" y="181"/>
                      </a:lnTo>
                      <a:lnTo>
                        <a:pt x="1214" y="183"/>
                      </a:lnTo>
                      <a:lnTo>
                        <a:pt x="1202" y="190"/>
                      </a:lnTo>
                      <a:lnTo>
                        <a:pt x="1198" y="192"/>
                      </a:lnTo>
                      <a:lnTo>
                        <a:pt x="1197" y="192"/>
                      </a:lnTo>
                      <a:lnTo>
                        <a:pt x="1193" y="192"/>
                      </a:lnTo>
                      <a:lnTo>
                        <a:pt x="1188" y="192"/>
                      </a:lnTo>
                      <a:lnTo>
                        <a:pt x="1186" y="192"/>
                      </a:lnTo>
                      <a:lnTo>
                        <a:pt x="1177" y="194"/>
                      </a:lnTo>
                      <a:lnTo>
                        <a:pt x="1174" y="194"/>
                      </a:lnTo>
                      <a:lnTo>
                        <a:pt x="1167" y="194"/>
                      </a:lnTo>
                      <a:lnTo>
                        <a:pt x="1162" y="192"/>
                      </a:lnTo>
                      <a:lnTo>
                        <a:pt x="1151" y="190"/>
                      </a:lnTo>
                      <a:lnTo>
                        <a:pt x="1146" y="188"/>
                      </a:lnTo>
                      <a:lnTo>
                        <a:pt x="1141" y="188"/>
                      </a:lnTo>
                      <a:lnTo>
                        <a:pt x="1137" y="192"/>
                      </a:lnTo>
                      <a:lnTo>
                        <a:pt x="1134" y="195"/>
                      </a:lnTo>
                      <a:lnTo>
                        <a:pt x="1130" y="199"/>
                      </a:lnTo>
                      <a:lnTo>
                        <a:pt x="1128" y="202"/>
                      </a:lnTo>
                      <a:lnTo>
                        <a:pt x="1127" y="206"/>
                      </a:lnTo>
                      <a:lnTo>
                        <a:pt x="1125" y="209"/>
                      </a:lnTo>
                      <a:lnTo>
                        <a:pt x="1127" y="215"/>
                      </a:lnTo>
                      <a:lnTo>
                        <a:pt x="1128" y="216"/>
                      </a:lnTo>
                      <a:lnTo>
                        <a:pt x="1132" y="218"/>
                      </a:lnTo>
                      <a:lnTo>
                        <a:pt x="1141" y="220"/>
                      </a:lnTo>
                      <a:lnTo>
                        <a:pt x="1144" y="220"/>
                      </a:lnTo>
                      <a:lnTo>
                        <a:pt x="1144" y="223"/>
                      </a:lnTo>
                      <a:lnTo>
                        <a:pt x="1141" y="234"/>
                      </a:lnTo>
                      <a:lnTo>
                        <a:pt x="1141" y="236"/>
                      </a:lnTo>
                      <a:lnTo>
                        <a:pt x="1142" y="239"/>
                      </a:lnTo>
                      <a:lnTo>
                        <a:pt x="1142" y="239"/>
                      </a:lnTo>
                      <a:lnTo>
                        <a:pt x="1146" y="239"/>
                      </a:lnTo>
                      <a:lnTo>
                        <a:pt x="1148" y="241"/>
                      </a:lnTo>
                      <a:lnTo>
                        <a:pt x="1151" y="244"/>
                      </a:lnTo>
                      <a:lnTo>
                        <a:pt x="1151" y="248"/>
                      </a:lnTo>
                      <a:lnTo>
                        <a:pt x="1148" y="250"/>
                      </a:lnTo>
                      <a:lnTo>
                        <a:pt x="1142" y="251"/>
                      </a:lnTo>
                      <a:lnTo>
                        <a:pt x="1137" y="253"/>
                      </a:lnTo>
                      <a:lnTo>
                        <a:pt x="1135" y="253"/>
                      </a:lnTo>
                      <a:lnTo>
                        <a:pt x="1134" y="255"/>
                      </a:lnTo>
                      <a:lnTo>
                        <a:pt x="1134" y="257"/>
                      </a:lnTo>
                      <a:lnTo>
                        <a:pt x="1132" y="260"/>
                      </a:lnTo>
                      <a:lnTo>
                        <a:pt x="1132" y="262"/>
                      </a:lnTo>
                      <a:lnTo>
                        <a:pt x="1130" y="264"/>
                      </a:lnTo>
                      <a:lnTo>
                        <a:pt x="1127" y="265"/>
                      </a:lnTo>
                      <a:lnTo>
                        <a:pt x="1118" y="267"/>
                      </a:lnTo>
                      <a:lnTo>
                        <a:pt x="1114" y="267"/>
                      </a:lnTo>
                      <a:lnTo>
                        <a:pt x="1109" y="271"/>
                      </a:lnTo>
                      <a:lnTo>
                        <a:pt x="1106" y="272"/>
                      </a:lnTo>
                      <a:lnTo>
                        <a:pt x="1106" y="274"/>
                      </a:lnTo>
                      <a:lnTo>
                        <a:pt x="1106" y="274"/>
                      </a:lnTo>
                      <a:lnTo>
                        <a:pt x="1108" y="276"/>
                      </a:lnTo>
                      <a:lnTo>
                        <a:pt x="1109" y="276"/>
                      </a:lnTo>
                      <a:lnTo>
                        <a:pt x="1109" y="278"/>
                      </a:lnTo>
                      <a:lnTo>
                        <a:pt x="1109" y="278"/>
                      </a:lnTo>
                      <a:lnTo>
                        <a:pt x="1109" y="279"/>
                      </a:lnTo>
                      <a:lnTo>
                        <a:pt x="1108" y="279"/>
                      </a:lnTo>
                      <a:lnTo>
                        <a:pt x="1108" y="283"/>
                      </a:lnTo>
                      <a:lnTo>
                        <a:pt x="1104" y="288"/>
                      </a:lnTo>
                      <a:lnTo>
                        <a:pt x="1102" y="290"/>
                      </a:lnTo>
                      <a:lnTo>
                        <a:pt x="1101" y="297"/>
                      </a:lnTo>
                      <a:lnTo>
                        <a:pt x="1099" y="300"/>
                      </a:lnTo>
                      <a:lnTo>
                        <a:pt x="1095" y="309"/>
                      </a:lnTo>
                      <a:lnTo>
                        <a:pt x="1092" y="313"/>
                      </a:lnTo>
                      <a:lnTo>
                        <a:pt x="1092" y="318"/>
                      </a:lnTo>
                      <a:lnTo>
                        <a:pt x="1095" y="321"/>
                      </a:lnTo>
                      <a:lnTo>
                        <a:pt x="1099" y="320"/>
                      </a:lnTo>
                      <a:lnTo>
                        <a:pt x="1106" y="313"/>
                      </a:lnTo>
                      <a:lnTo>
                        <a:pt x="1113" y="309"/>
                      </a:lnTo>
                      <a:lnTo>
                        <a:pt x="1123" y="311"/>
                      </a:lnTo>
                      <a:lnTo>
                        <a:pt x="1134" y="314"/>
                      </a:lnTo>
                      <a:lnTo>
                        <a:pt x="1141" y="320"/>
                      </a:lnTo>
                      <a:lnTo>
                        <a:pt x="1144" y="323"/>
                      </a:lnTo>
                      <a:lnTo>
                        <a:pt x="1142" y="323"/>
                      </a:lnTo>
                      <a:lnTo>
                        <a:pt x="1139" y="323"/>
                      </a:lnTo>
                      <a:lnTo>
                        <a:pt x="1128" y="321"/>
                      </a:lnTo>
                      <a:lnTo>
                        <a:pt x="1125" y="321"/>
                      </a:lnTo>
                      <a:lnTo>
                        <a:pt x="1120" y="321"/>
                      </a:lnTo>
                      <a:lnTo>
                        <a:pt x="1114" y="323"/>
                      </a:lnTo>
                      <a:lnTo>
                        <a:pt x="1120" y="327"/>
                      </a:lnTo>
                      <a:lnTo>
                        <a:pt x="1123" y="328"/>
                      </a:lnTo>
                      <a:lnTo>
                        <a:pt x="1127" y="330"/>
                      </a:lnTo>
                      <a:lnTo>
                        <a:pt x="1134" y="332"/>
                      </a:lnTo>
                      <a:lnTo>
                        <a:pt x="1135" y="332"/>
                      </a:lnTo>
                      <a:lnTo>
                        <a:pt x="1141" y="333"/>
                      </a:lnTo>
                      <a:lnTo>
                        <a:pt x="1142" y="335"/>
                      </a:lnTo>
                      <a:lnTo>
                        <a:pt x="1146" y="335"/>
                      </a:lnTo>
                      <a:lnTo>
                        <a:pt x="1148" y="335"/>
                      </a:lnTo>
                      <a:lnTo>
                        <a:pt x="1153" y="333"/>
                      </a:lnTo>
                      <a:lnTo>
                        <a:pt x="1158" y="333"/>
                      </a:lnTo>
                      <a:lnTo>
                        <a:pt x="1162" y="333"/>
                      </a:lnTo>
                      <a:lnTo>
                        <a:pt x="1165" y="337"/>
                      </a:lnTo>
                      <a:lnTo>
                        <a:pt x="1165" y="342"/>
                      </a:lnTo>
                      <a:lnTo>
                        <a:pt x="1165" y="347"/>
                      </a:lnTo>
                      <a:lnTo>
                        <a:pt x="1163" y="351"/>
                      </a:lnTo>
                      <a:lnTo>
                        <a:pt x="1160" y="353"/>
                      </a:lnTo>
                      <a:lnTo>
                        <a:pt x="1156" y="353"/>
                      </a:lnTo>
                      <a:lnTo>
                        <a:pt x="1128" y="347"/>
                      </a:lnTo>
                      <a:lnTo>
                        <a:pt x="1120" y="346"/>
                      </a:lnTo>
                      <a:lnTo>
                        <a:pt x="1111" y="347"/>
                      </a:lnTo>
                      <a:lnTo>
                        <a:pt x="1109" y="347"/>
                      </a:lnTo>
                      <a:lnTo>
                        <a:pt x="1109" y="347"/>
                      </a:lnTo>
                      <a:lnTo>
                        <a:pt x="1109" y="349"/>
                      </a:lnTo>
                      <a:lnTo>
                        <a:pt x="1109" y="349"/>
                      </a:lnTo>
                      <a:lnTo>
                        <a:pt x="1108" y="349"/>
                      </a:lnTo>
                      <a:lnTo>
                        <a:pt x="1099" y="354"/>
                      </a:lnTo>
                      <a:lnTo>
                        <a:pt x="1095" y="354"/>
                      </a:lnTo>
                      <a:lnTo>
                        <a:pt x="1092" y="354"/>
                      </a:lnTo>
                      <a:lnTo>
                        <a:pt x="1087" y="353"/>
                      </a:lnTo>
                      <a:lnTo>
                        <a:pt x="1083" y="353"/>
                      </a:lnTo>
                      <a:lnTo>
                        <a:pt x="1078" y="353"/>
                      </a:lnTo>
                      <a:lnTo>
                        <a:pt x="1074" y="353"/>
                      </a:lnTo>
                      <a:lnTo>
                        <a:pt x="1074" y="356"/>
                      </a:lnTo>
                      <a:lnTo>
                        <a:pt x="1078" y="360"/>
                      </a:lnTo>
                      <a:lnTo>
                        <a:pt x="1081" y="360"/>
                      </a:lnTo>
                      <a:lnTo>
                        <a:pt x="1087" y="360"/>
                      </a:lnTo>
                      <a:lnTo>
                        <a:pt x="1090" y="361"/>
                      </a:lnTo>
                      <a:lnTo>
                        <a:pt x="1092" y="365"/>
                      </a:lnTo>
                      <a:lnTo>
                        <a:pt x="1094" y="368"/>
                      </a:lnTo>
                      <a:lnTo>
                        <a:pt x="1095" y="372"/>
                      </a:lnTo>
                      <a:lnTo>
                        <a:pt x="1099" y="375"/>
                      </a:lnTo>
                      <a:lnTo>
                        <a:pt x="1102" y="375"/>
                      </a:lnTo>
                      <a:lnTo>
                        <a:pt x="1108" y="374"/>
                      </a:lnTo>
                      <a:lnTo>
                        <a:pt x="1109" y="374"/>
                      </a:lnTo>
                      <a:lnTo>
                        <a:pt x="1111" y="374"/>
                      </a:lnTo>
                      <a:lnTo>
                        <a:pt x="1114" y="375"/>
                      </a:lnTo>
                      <a:lnTo>
                        <a:pt x="1118" y="377"/>
                      </a:lnTo>
                      <a:lnTo>
                        <a:pt x="1127" y="377"/>
                      </a:lnTo>
                      <a:lnTo>
                        <a:pt x="1130" y="379"/>
                      </a:lnTo>
                      <a:lnTo>
                        <a:pt x="1132" y="382"/>
                      </a:lnTo>
                      <a:lnTo>
                        <a:pt x="1132" y="386"/>
                      </a:lnTo>
                      <a:lnTo>
                        <a:pt x="1132" y="388"/>
                      </a:lnTo>
                      <a:lnTo>
                        <a:pt x="1132" y="389"/>
                      </a:lnTo>
                      <a:lnTo>
                        <a:pt x="1132" y="391"/>
                      </a:lnTo>
                      <a:lnTo>
                        <a:pt x="1134" y="395"/>
                      </a:lnTo>
                      <a:lnTo>
                        <a:pt x="1137" y="398"/>
                      </a:lnTo>
                      <a:lnTo>
                        <a:pt x="1139" y="400"/>
                      </a:lnTo>
                      <a:lnTo>
                        <a:pt x="1139" y="403"/>
                      </a:lnTo>
                      <a:lnTo>
                        <a:pt x="1141" y="407"/>
                      </a:lnTo>
                      <a:lnTo>
                        <a:pt x="1142" y="424"/>
                      </a:lnTo>
                      <a:lnTo>
                        <a:pt x="1142" y="430"/>
                      </a:lnTo>
                      <a:lnTo>
                        <a:pt x="1142" y="435"/>
                      </a:lnTo>
                      <a:lnTo>
                        <a:pt x="1141" y="437"/>
                      </a:lnTo>
                      <a:lnTo>
                        <a:pt x="1139" y="438"/>
                      </a:lnTo>
                      <a:lnTo>
                        <a:pt x="1137" y="440"/>
                      </a:lnTo>
                      <a:lnTo>
                        <a:pt x="1135" y="440"/>
                      </a:lnTo>
                      <a:lnTo>
                        <a:pt x="1134" y="440"/>
                      </a:lnTo>
                      <a:lnTo>
                        <a:pt x="1132" y="438"/>
                      </a:lnTo>
                      <a:lnTo>
                        <a:pt x="1128" y="435"/>
                      </a:lnTo>
                      <a:lnTo>
                        <a:pt x="1125" y="431"/>
                      </a:lnTo>
                      <a:lnTo>
                        <a:pt x="1121" y="431"/>
                      </a:lnTo>
                      <a:lnTo>
                        <a:pt x="1118" y="431"/>
                      </a:lnTo>
                      <a:lnTo>
                        <a:pt x="1113" y="437"/>
                      </a:lnTo>
                      <a:lnTo>
                        <a:pt x="1111" y="438"/>
                      </a:lnTo>
                      <a:lnTo>
                        <a:pt x="1106" y="440"/>
                      </a:lnTo>
                      <a:lnTo>
                        <a:pt x="1104" y="442"/>
                      </a:lnTo>
                      <a:lnTo>
                        <a:pt x="1099" y="445"/>
                      </a:lnTo>
                      <a:lnTo>
                        <a:pt x="1094" y="447"/>
                      </a:lnTo>
                      <a:lnTo>
                        <a:pt x="1090" y="445"/>
                      </a:lnTo>
                      <a:lnTo>
                        <a:pt x="1087" y="444"/>
                      </a:lnTo>
                      <a:lnTo>
                        <a:pt x="1081" y="442"/>
                      </a:lnTo>
                      <a:lnTo>
                        <a:pt x="1085" y="445"/>
                      </a:lnTo>
                      <a:lnTo>
                        <a:pt x="1088" y="447"/>
                      </a:lnTo>
                      <a:lnTo>
                        <a:pt x="1092" y="449"/>
                      </a:lnTo>
                      <a:lnTo>
                        <a:pt x="1095" y="451"/>
                      </a:lnTo>
                      <a:lnTo>
                        <a:pt x="1099" y="449"/>
                      </a:lnTo>
                      <a:lnTo>
                        <a:pt x="1102" y="445"/>
                      </a:lnTo>
                      <a:lnTo>
                        <a:pt x="1106" y="444"/>
                      </a:lnTo>
                      <a:lnTo>
                        <a:pt x="1109" y="445"/>
                      </a:lnTo>
                      <a:lnTo>
                        <a:pt x="1111" y="447"/>
                      </a:lnTo>
                      <a:lnTo>
                        <a:pt x="1113" y="451"/>
                      </a:lnTo>
                      <a:lnTo>
                        <a:pt x="1113" y="456"/>
                      </a:lnTo>
                      <a:lnTo>
                        <a:pt x="1113" y="459"/>
                      </a:lnTo>
                      <a:lnTo>
                        <a:pt x="1111" y="461"/>
                      </a:lnTo>
                      <a:lnTo>
                        <a:pt x="1109" y="463"/>
                      </a:lnTo>
                      <a:lnTo>
                        <a:pt x="1108" y="465"/>
                      </a:lnTo>
                      <a:lnTo>
                        <a:pt x="1109" y="466"/>
                      </a:lnTo>
                      <a:lnTo>
                        <a:pt x="1114" y="465"/>
                      </a:lnTo>
                      <a:lnTo>
                        <a:pt x="1121" y="449"/>
                      </a:lnTo>
                      <a:lnTo>
                        <a:pt x="1128" y="449"/>
                      </a:lnTo>
                      <a:lnTo>
                        <a:pt x="1130" y="451"/>
                      </a:lnTo>
                      <a:lnTo>
                        <a:pt x="1134" y="454"/>
                      </a:lnTo>
                      <a:lnTo>
                        <a:pt x="1137" y="465"/>
                      </a:lnTo>
                      <a:lnTo>
                        <a:pt x="1139" y="466"/>
                      </a:lnTo>
                      <a:lnTo>
                        <a:pt x="1139" y="466"/>
                      </a:lnTo>
                      <a:lnTo>
                        <a:pt x="1141" y="468"/>
                      </a:lnTo>
                      <a:lnTo>
                        <a:pt x="1144" y="472"/>
                      </a:lnTo>
                      <a:lnTo>
                        <a:pt x="1144" y="472"/>
                      </a:lnTo>
                      <a:lnTo>
                        <a:pt x="1146" y="473"/>
                      </a:lnTo>
                      <a:lnTo>
                        <a:pt x="1144" y="482"/>
                      </a:lnTo>
                      <a:lnTo>
                        <a:pt x="1139" y="484"/>
                      </a:lnTo>
                      <a:lnTo>
                        <a:pt x="1123" y="484"/>
                      </a:lnTo>
                      <a:lnTo>
                        <a:pt x="1123" y="487"/>
                      </a:lnTo>
                      <a:lnTo>
                        <a:pt x="1118" y="489"/>
                      </a:lnTo>
                      <a:lnTo>
                        <a:pt x="1111" y="491"/>
                      </a:lnTo>
                      <a:lnTo>
                        <a:pt x="1108" y="491"/>
                      </a:lnTo>
                      <a:lnTo>
                        <a:pt x="1102" y="491"/>
                      </a:lnTo>
                      <a:lnTo>
                        <a:pt x="1097" y="489"/>
                      </a:lnTo>
                      <a:lnTo>
                        <a:pt x="1088" y="486"/>
                      </a:lnTo>
                      <a:lnTo>
                        <a:pt x="1090" y="480"/>
                      </a:lnTo>
                      <a:lnTo>
                        <a:pt x="1092" y="477"/>
                      </a:lnTo>
                      <a:lnTo>
                        <a:pt x="1090" y="473"/>
                      </a:lnTo>
                      <a:lnTo>
                        <a:pt x="1087" y="470"/>
                      </a:lnTo>
                      <a:lnTo>
                        <a:pt x="1088" y="475"/>
                      </a:lnTo>
                      <a:lnTo>
                        <a:pt x="1087" y="479"/>
                      </a:lnTo>
                      <a:lnTo>
                        <a:pt x="1083" y="480"/>
                      </a:lnTo>
                      <a:lnTo>
                        <a:pt x="1080" y="484"/>
                      </a:lnTo>
                      <a:lnTo>
                        <a:pt x="1081" y="486"/>
                      </a:lnTo>
                      <a:lnTo>
                        <a:pt x="1080" y="492"/>
                      </a:lnTo>
                      <a:lnTo>
                        <a:pt x="1083" y="494"/>
                      </a:lnTo>
                      <a:lnTo>
                        <a:pt x="1088" y="496"/>
                      </a:lnTo>
                      <a:lnTo>
                        <a:pt x="1104" y="496"/>
                      </a:lnTo>
                      <a:lnTo>
                        <a:pt x="1113" y="498"/>
                      </a:lnTo>
                      <a:lnTo>
                        <a:pt x="1118" y="499"/>
                      </a:lnTo>
                      <a:lnTo>
                        <a:pt x="1121" y="501"/>
                      </a:lnTo>
                      <a:lnTo>
                        <a:pt x="1121" y="503"/>
                      </a:lnTo>
                      <a:lnTo>
                        <a:pt x="1121" y="506"/>
                      </a:lnTo>
                      <a:lnTo>
                        <a:pt x="1118" y="513"/>
                      </a:lnTo>
                      <a:lnTo>
                        <a:pt x="1116" y="513"/>
                      </a:lnTo>
                      <a:lnTo>
                        <a:pt x="1114" y="515"/>
                      </a:lnTo>
                      <a:lnTo>
                        <a:pt x="1109" y="515"/>
                      </a:lnTo>
                      <a:lnTo>
                        <a:pt x="1099" y="515"/>
                      </a:lnTo>
                      <a:lnTo>
                        <a:pt x="1095" y="517"/>
                      </a:lnTo>
                      <a:lnTo>
                        <a:pt x="1090" y="519"/>
                      </a:lnTo>
                      <a:lnTo>
                        <a:pt x="1087" y="520"/>
                      </a:lnTo>
                      <a:lnTo>
                        <a:pt x="1083" y="522"/>
                      </a:lnTo>
                      <a:lnTo>
                        <a:pt x="1078" y="524"/>
                      </a:lnTo>
                      <a:lnTo>
                        <a:pt x="1074" y="522"/>
                      </a:lnTo>
                      <a:lnTo>
                        <a:pt x="1069" y="520"/>
                      </a:lnTo>
                      <a:lnTo>
                        <a:pt x="1052" y="513"/>
                      </a:lnTo>
                      <a:lnTo>
                        <a:pt x="1050" y="512"/>
                      </a:lnTo>
                      <a:lnTo>
                        <a:pt x="1048" y="512"/>
                      </a:lnTo>
                      <a:lnTo>
                        <a:pt x="1045" y="508"/>
                      </a:lnTo>
                      <a:lnTo>
                        <a:pt x="1043" y="506"/>
                      </a:lnTo>
                      <a:lnTo>
                        <a:pt x="1041" y="505"/>
                      </a:lnTo>
                      <a:lnTo>
                        <a:pt x="1039" y="505"/>
                      </a:lnTo>
                      <a:lnTo>
                        <a:pt x="1036" y="508"/>
                      </a:lnTo>
                      <a:lnTo>
                        <a:pt x="1034" y="508"/>
                      </a:lnTo>
                      <a:lnTo>
                        <a:pt x="1032" y="510"/>
                      </a:lnTo>
                      <a:lnTo>
                        <a:pt x="1031" y="510"/>
                      </a:lnTo>
                      <a:lnTo>
                        <a:pt x="1027" y="510"/>
                      </a:lnTo>
                      <a:lnTo>
                        <a:pt x="1024" y="508"/>
                      </a:lnTo>
                      <a:lnTo>
                        <a:pt x="1015" y="503"/>
                      </a:lnTo>
                      <a:lnTo>
                        <a:pt x="1011" y="501"/>
                      </a:lnTo>
                      <a:lnTo>
                        <a:pt x="1015" y="503"/>
                      </a:lnTo>
                      <a:lnTo>
                        <a:pt x="1024" y="510"/>
                      </a:lnTo>
                      <a:lnTo>
                        <a:pt x="1027" y="512"/>
                      </a:lnTo>
                      <a:lnTo>
                        <a:pt x="1025" y="513"/>
                      </a:lnTo>
                      <a:lnTo>
                        <a:pt x="1015" y="517"/>
                      </a:lnTo>
                      <a:lnTo>
                        <a:pt x="1011" y="519"/>
                      </a:lnTo>
                      <a:lnTo>
                        <a:pt x="1008" y="522"/>
                      </a:lnTo>
                      <a:lnTo>
                        <a:pt x="1003" y="524"/>
                      </a:lnTo>
                      <a:lnTo>
                        <a:pt x="999" y="524"/>
                      </a:lnTo>
                      <a:lnTo>
                        <a:pt x="973" y="515"/>
                      </a:lnTo>
                      <a:lnTo>
                        <a:pt x="978" y="519"/>
                      </a:lnTo>
                      <a:lnTo>
                        <a:pt x="985" y="522"/>
                      </a:lnTo>
                      <a:lnTo>
                        <a:pt x="989" y="526"/>
                      </a:lnTo>
                      <a:lnTo>
                        <a:pt x="985" y="529"/>
                      </a:lnTo>
                      <a:lnTo>
                        <a:pt x="982" y="529"/>
                      </a:lnTo>
                      <a:lnTo>
                        <a:pt x="975" y="529"/>
                      </a:lnTo>
                      <a:lnTo>
                        <a:pt x="970" y="529"/>
                      </a:lnTo>
                      <a:lnTo>
                        <a:pt x="970" y="533"/>
                      </a:lnTo>
                      <a:lnTo>
                        <a:pt x="971" y="534"/>
                      </a:lnTo>
                      <a:lnTo>
                        <a:pt x="973" y="533"/>
                      </a:lnTo>
                      <a:lnTo>
                        <a:pt x="975" y="533"/>
                      </a:lnTo>
                      <a:lnTo>
                        <a:pt x="975" y="531"/>
                      </a:lnTo>
                      <a:lnTo>
                        <a:pt x="978" y="531"/>
                      </a:lnTo>
                      <a:lnTo>
                        <a:pt x="984" y="531"/>
                      </a:lnTo>
                      <a:lnTo>
                        <a:pt x="985" y="531"/>
                      </a:lnTo>
                      <a:lnTo>
                        <a:pt x="987" y="531"/>
                      </a:lnTo>
                      <a:lnTo>
                        <a:pt x="994" y="529"/>
                      </a:lnTo>
                      <a:lnTo>
                        <a:pt x="1011" y="524"/>
                      </a:lnTo>
                      <a:lnTo>
                        <a:pt x="1013" y="524"/>
                      </a:lnTo>
                      <a:lnTo>
                        <a:pt x="1013" y="522"/>
                      </a:lnTo>
                      <a:lnTo>
                        <a:pt x="1015" y="520"/>
                      </a:lnTo>
                      <a:lnTo>
                        <a:pt x="1015" y="520"/>
                      </a:lnTo>
                      <a:lnTo>
                        <a:pt x="1017" y="519"/>
                      </a:lnTo>
                      <a:lnTo>
                        <a:pt x="1018" y="519"/>
                      </a:lnTo>
                      <a:lnTo>
                        <a:pt x="1020" y="517"/>
                      </a:lnTo>
                      <a:lnTo>
                        <a:pt x="1022" y="517"/>
                      </a:lnTo>
                      <a:lnTo>
                        <a:pt x="1034" y="515"/>
                      </a:lnTo>
                      <a:lnTo>
                        <a:pt x="1041" y="515"/>
                      </a:lnTo>
                      <a:lnTo>
                        <a:pt x="1046" y="517"/>
                      </a:lnTo>
                      <a:lnTo>
                        <a:pt x="1048" y="519"/>
                      </a:lnTo>
                      <a:lnTo>
                        <a:pt x="1055" y="524"/>
                      </a:lnTo>
                      <a:lnTo>
                        <a:pt x="1076" y="536"/>
                      </a:lnTo>
                      <a:lnTo>
                        <a:pt x="1081" y="538"/>
                      </a:lnTo>
                      <a:lnTo>
                        <a:pt x="1085" y="541"/>
                      </a:lnTo>
                      <a:lnTo>
                        <a:pt x="1087" y="545"/>
                      </a:lnTo>
                      <a:lnTo>
                        <a:pt x="1087" y="550"/>
                      </a:lnTo>
                      <a:lnTo>
                        <a:pt x="1085" y="562"/>
                      </a:lnTo>
                      <a:lnTo>
                        <a:pt x="1085" y="564"/>
                      </a:lnTo>
                      <a:lnTo>
                        <a:pt x="1085" y="564"/>
                      </a:lnTo>
                      <a:lnTo>
                        <a:pt x="1081" y="566"/>
                      </a:lnTo>
                      <a:lnTo>
                        <a:pt x="1081" y="566"/>
                      </a:lnTo>
                      <a:lnTo>
                        <a:pt x="1081" y="568"/>
                      </a:lnTo>
                      <a:lnTo>
                        <a:pt x="1081" y="573"/>
                      </a:lnTo>
                      <a:lnTo>
                        <a:pt x="1080" y="575"/>
                      </a:lnTo>
                      <a:lnTo>
                        <a:pt x="1076" y="573"/>
                      </a:lnTo>
                      <a:lnTo>
                        <a:pt x="1067" y="569"/>
                      </a:lnTo>
                      <a:lnTo>
                        <a:pt x="1052" y="564"/>
                      </a:lnTo>
                      <a:lnTo>
                        <a:pt x="1045" y="561"/>
                      </a:lnTo>
                      <a:lnTo>
                        <a:pt x="1041" y="557"/>
                      </a:lnTo>
                      <a:lnTo>
                        <a:pt x="1036" y="552"/>
                      </a:lnTo>
                      <a:lnTo>
                        <a:pt x="1034" y="545"/>
                      </a:lnTo>
                      <a:lnTo>
                        <a:pt x="1031" y="538"/>
                      </a:lnTo>
                      <a:lnTo>
                        <a:pt x="1031" y="536"/>
                      </a:lnTo>
                      <a:lnTo>
                        <a:pt x="1027" y="534"/>
                      </a:lnTo>
                      <a:lnTo>
                        <a:pt x="1024" y="536"/>
                      </a:lnTo>
                      <a:lnTo>
                        <a:pt x="1022" y="538"/>
                      </a:lnTo>
                      <a:lnTo>
                        <a:pt x="1018" y="540"/>
                      </a:lnTo>
                      <a:lnTo>
                        <a:pt x="1017" y="541"/>
                      </a:lnTo>
                      <a:lnTo>
                        <a:pt x="1010" y="543"/>
                      </a:lnTo>
                      <a:lnTo>
                        <a:pt x="987" y="550"/>
                      </a:lnTo>
                      <a:lnTo>
                        <a:pt x="992" y="552"/>
                      </a:lnTo>
                      <a:lnTo>
                        <a:pt x="996" y="552"/>
                      </a:lnTo>
                      <a:lnTo>
                        <a:pt x="1006" y="547"/>
                      </a:lnTo>
                      <a:lnTo>
                        <a:pt x="1008" y="547"/>
                      </a:lnTo>
                      <a:lnTo>
                        <a:pt x="1011" y="547"/>
                      </a:lnTo>
                      <a:lnTo>
                        <a:pt x="1015" y="547"/>
                      </a:lnTo>
                      <a:lnTo>
                        <a:pt x="1017" y="545"/>
                      </a:lnTo>
                      <a:lnTo>
                        <a:pt x="1020" y="543"/>
                      </a:lnTo>
                      <a:lnTo>
                        <a:pt x="1022" y="543"/>
                      </a:lnTo>
                      <a:lnTo>
                        <a:pt x="1025" y="543"/>
                      </a:lnTo>
                      <a:lnTo>
                        <a:pt x="1029" y="545"/>
                      </a:lnTo>
                      <a:lnTo>
                        <a:pt x="1029" y="548"/>
                      </a:lnTo>
                      <a:lnTo>
                        <a:pt x="1029" y="554"/>
                      </a:lnTo>
                      <a:lnTo>
                        <a:pt x="1029" y="559"/>
                      </a:lnTo>
                      <a:lnTo>
                        <a:pt x="1025" y="561"/>
                      </a:lnTo>
                      <a:lnTo>
                        <a:pt x="1022" y="562"/>
                      </a:lnTo>
                      <a:lnTo>
                        <a:pt x="1018" y="564"/>
                      </a:lnTo>
                      <a:lnTo>
                        <a:pt x="1020" y="566"/>
                      </a:lnTo>
                      <a:lnTo>
                        <a:pt x="1022" y="566"/>
                      </a:lnTo>
                      <a:lnTo>
                        <a:pt x="1027" y="564"/>
                      </a:lnTo>
                      <a:lnTo>
                        <a:pt x="1029" y="564"/>
                      </a:lnTo>
                      <a:lnTo>
                        <a:pt x="1031" y="564"/>
                      </a:lnTo>
                      <a:lnTo>
                        <a:pt x="1034" y="566"/>
                      </a:lnTo>
                      <a:lnTo>
                        <a:pt x="1053" y="575"/>
                      </a:lnTo>
                      <a:lnTo>
                        <a:pt x="1073" y="582"/>
                      </a:lnTo>
                      <a:lnTo>
                        <a:pt x="1074" y="583"/>
                      </a:lnTo>
                      <a:lnTo>
                        <a:pt x="1076" y="585"/>
                      </a:lnTo>
                      <a:lnTo>
                        <a:pt x="1076" y="585"/>
                      </a:lnTo>
                      <a:lnTo>
                        <a:pt x="1078" y="587"/>
                      </a:lnTo>
                      <a:lnTo>
                        <a:pt x="1080" y="589"/>
                      </a:lnTo>
                      <a:lnTo>
                        <a:pt x="1083" y="589"/>
                      </a:lnTo>
                      <a:lnTo>
                        <a:pt x="1088" y="589"/>
                      </a:lnTo>
                      <a:lnTo>
                        <a:pt x="1085" y="592"/>
                      </a:lnTo>
                      <a:lnTo>
                        <a:pt x="1083" y="594"/>
                      </a:lnTo>
                      <a:lnTo>
                        <a:pt x="1080" y="596"/>
                      </a:lnTo>
                      <a:lnTo>
                        <a:pt x="1076" y="597"/>
                      </a:lnTo>
                      <a:lnTo>
                        <a:pt x="1076" y="599"/>
                      </a:lnTo>
                      <a:lnTo>
                        <a:pt x="1076" y="603"/>
                      </a:lnTo>
                      <a:lnTo>
                        <a:pt x="1078" y="608"/>
                      </a:lnTo>
                      <a:lnTo>
                        <a:pt x="1080" y="603"/>
                      </a:lnTo>
                      <a:lnTo>
                        <a:pt x="1083" y="599"/>
                      </a:lnTo>
                      <a:lnTo>
                        <a:pt x="1087" y="597"/>
                      </a:lnTo>
                      <a:lnTo>
                        <a:pt x="1092" y="599"/>
                      </a:lnTo>
                      <a:lnTo>
                        <a:pt x="1094" y="603"/>
                      </a:lnTo>
                      <a:lnTo>
                        <a:pt x="1094" y="608"/>
                      </a:lnTo>
                      <a:lnTo>
                        <a:pt x="1094" y="617"/>
                      </a:lnTo>
                      <a:lnTo>
                        <a:pt x="1097" y="631"/>
                      </a:lnTo>
                      <a:lnTo>
                        <a:pt x="1097" y="634"/>
                      </a:lnTo>
                      <a:lnTo>
                        <a:pt x="1094" y="638"/>
                      </a:lnTo>
                      <a:lnTo>
                        <a:pt x="1088" y="638"/>
                      </a:lnTo>
                      <a:lnTo>
                        <a:pt x="1078" y="638"/>
                      </a:lnTo>
                      <a:lnTo>
                        <a:pt x="1078" y="622"/>
                      </a:lnTo>
                      <a:lnTo>
                        <a:pt x="1076" y="624"/>
                      </a:lnTo>
                      <a:lnTo>
                        <a:pt x="1074" y="627"/>
                      </a:lnTo>
                      <a:lnTo>
                        <a:pt x="1074" y="632"/>
                      </a:lnTo>
                      <a:lnTo>
                        <a:pt x="1073" y="636"/>
                      </a:lnTo>
                      <a:lnTo>
                        <a:pt x="1073" y="638"/>
                      </a:lnTo>
                      <a:lnTo>
                        <a:pt x="1069" y="638"/>
                      </a:lnTo>
                      <a:lnTo>
                        <a:pt x="1060" y="638"/>
                      </a:lnTo>
                      <a:lnTo>
                        <a:pt x="1053" y="636"/>
                      </a:lnTo>
                      <a:lnTo>
                        <a:pt x="1048" y="632"/>
                      </a:lnTo>
                      <a:lnTo>
                        <a:pt x="1043" y="627"/>
                      </a:lnTo>
                      <a:lnTo>
                        <a:pt x="1041" y="622"/>
                      </a:lnTo>
                      <a:lnTo>
                        <a:pt x="1039" y="617"/>
                      </a:lnTo>
                      <a:lnTo>
                        <a:pt x="1036" y="613"/>
                      </a:lnTo>
                      <a:lnTo>
                        <a:pt x="1032" y="608"/>
                      </a:lnTo>
                      <a:lnTo>
                        <a:pt x="1011" y="599"/>
                      </a:lnTo>
                      <a:lnTo>
                        <a:pt x="1006" y="596"/>
                      </a:lnTo>
                      <a:lnTo>
                        <a:pt x="999" y="596"/>
                      </a:lnTo>
                      <a:lnTo>
                        <a:pt x="987" y="596"/>
                      </a:lnTo>
                      <a:lnTo>
                        <a:pt x="985" y="594"/>
                      </a:lnTo>
                      <a:lnTo>
                        <a:pt x="982" y="594"/>
                      </a:lnTo>
                      <a:lnTo>
                        <a:pt x="980" y="594"/>
                      </a:lnTo>
                      <a:lnTo>
                        <a:pt x="978" y="594"/>
                      </a:lnTo>
                      <a:lnTo>
                        <a:pt x="977" y="596"/>
                      </a:lnTo>
                      <a:lnTo>
                        <a:pt x="978" y="596"/>
                      </a:lnTo>
                      <a:lnTo>
                        <a:pt x="980" y="597"/>
                      </a:lnTo>
                      <a:lnTo>
                        <a:pt x="984" y="597"/>
                      </a:lnTo>
                      <a:lnTo>
                        <a:pt x="996" y="597"/>
                      </a:lnTo>
                      <a:lnTo>
                        <a:pt x="1001" y="597"/>
                      </a:lnTo>
                      <a:lnTo>
                        <a:pt x="1006" y="601"/>
                      </a:lnTo>
                      <a:lnTo>
                        <a:pt x="1008" y="606"/>
                      </a:lnTo>
                      <a:lnTo>
                        <a:pt x="1006" y="610"/>
                      </a:lnTo>
                      <a:lnTo>
                        <a:pt x="1001" y="613"/>
                      </a:lnTo>
                      <a:lnTo>
                        <a:pt x="996" y="615"/>
                      </a:lnTo>
                      <a:lnTo>
                        <a:pt x="991" y="617"/>
                      </a:lnTo>
                      <a:lnTo>
                        <a:pt x="985" y="618"/>
                      </a:lnTo>
                      <a:lnTo>
                        <a:pt x="978" y="618"/>
                      </a:lnTo>
                      <a:lnTo>
                        <a:pt x="973" y="618"/>
                      </a:lnTo>
                      <a:lnTo>
                        <a:pt x="961" y="617"/>
                      </a:lnTo>
                      <a:lnTo>
                        <a:pt x="956" y="617"/>
                      </a:lnTo>
                      <a:lnTo>
                        <a:pt x="950" y="617"/>
                      </a:lnTo>
                      <a:lnTo>
                        <a:pt x="952" y="618"/>
                      </a:lnTo>
                      <a:lnTo>
                        <a:pt x="957" y="620"/>
                      </a:lnTo>
                      <a:lnTo>
                        <a:pt x="959" y="620"/>
                      </a:lnTo>
                      <a:lnTo>
                        <a:pt x="959" y="624"/>
                      </a:lnTo>
                      <a:lnTo>
                        <a:pt x="957" y="625"/>
                      </a:lnTo>
                      <a:lnTo>
                        <a:pt x="957" y="627"/>
                      </a:lnTo>
                      <a:lnTo>
                        <a:pt x="956" y="629"/>
                      </a:lnTo>
                      <a:lnTo>
                        <a:pt x="950" y="632"/>
                      </a:lnTo>
                      <a:lnTo>
                        <a:pt x="940" y="636"/>
                      </a:lnTo>
                      <a:lnTo>
                        <a:pt x="935" y="638"/>
                      </a:lnTo>
                      <a:lnTo>
                        <a:pt x="938" y="638"/>
                      </a:lnTo>
                      <a:lnTo>
                        <a:pt x="943" y="636"/>
                      </a:lnTo>
                      <a:lnTo>
                        <a:pt x="947" y="636"/>
                      </a:lnTo>
                      <a:lnTo>
                        <a:pt x="949" y="638"/>
                      </a:lnTo>
                      <a:lnTo>
                        <a:pt x="956" y="639"/>
                      </a:lnTo>
                      <a:lnTo>
                        <a:pt x="957" y="639"/>
                      </a:lnTo>
                      <a:lnTo>
                        <a:pt x="964" y="639"/>
                      </a:lnTo>
                      <a:lnTo>
                        <a:pt x="984" y="638"/>
                      </a:lnTo>
                      <a:lnTo>
                        <a:pt x="987" y="636"/>
                      </a:lnTo>
                      <a:lnTo>
                        <a:pt x="989" y="638"/>
                      </a:lnTo>
                      <a:lnTo>
                        <a:pt x="989" y="638"/>
                      </a:lnTo>
                      <a:lnTo>
                        <a:pt x="989" y="641"/>
                      </a:lnTo>
                      <a:lnTo>
                        <a:pt x="987" y="641"/>
                      </a:lnTo>
                      <a:lnTo>
                        <a:pt x="978" y="645"/>
                      </a:lnTo>
                      <a:lnTo>
                        <a:pt x="973" y="646"/>
                      </a:lnTo>
                      <a:lnTo>
                        <a:pt x="968" y="650"/>
                      </a:lnTo>
                      <a:lnTo>
                        <a:pt x="966" y="655"/>
                      </a:lnTo>
                      <a:lnTo>
                        <a:pt x="971" y="655"/>
                      </a:lnTo>
                      <a:lnTo>
                        <a:pt x="973" y="653"/>
                      </a:lnTo>
                      <a:lnTo>
                        <a:pt x="977" y="650"/>
                      </a:lnTo>
                      <a:lnTo>
                        <a:pt x="980" y="646"/>
                      </a:lnTo>
                      <a:lnTo>
                        <a:pt x="984" y="646"/>
                      </a:lnTo>
                      <a:lnTo>
                        <a:pt x="994" y="646"/>
                      </a:lnTo>
                      <a:lnTo>
                        <a:pt x="997" y="646"/>
                      </a:lnTo>
                      <a:lnTo>
                        <a:pt x="1006" y="643"/>
                      </a:lnTo>
                      <a:lnTo>
                        <a:pt x="1010" y="641"/>
                      </a:lnTo>
                      <a:lnTo>
                        <a:pt x="1015" y="641"/>
                      </a:lnTo>
                      <a:lnTo>
                        <a:pt x="1020" y="643"/>
                      </a:lnTo>
                      <a:lnTo>
                        <a:pt x="1046" y="648"/>
                      </a:lnTo>
                      <a:lnTo>
                        <a:pt x="1055" y="650"/>
                      </a:lnTo>
                      <a:lnTo>
                        <a:pt x="1076" y="650"/>
                      </a:lnTo>
                      <a:lnTo>
                        <a:pt x="1080" y="650"/>
                      </a:lnTo>
                      <a:lnTo>
                        <a:pt x="1081" y="651"/>
                      </a:lnTo>
                      <a:lnTo>
                        <a:pt x="1081" y="651"/>
                      </a:lnTo>
                      <a:lnTo>
                        <a:pt x="1081" y="653"/>
                      </a:lnTo>
                      <a:lnTo>
                        <a:pt x="1080" y="655"/>
                      </a:lnTo>
                      <a:lnTo>
                        <a:pt x="1078" y="655"/>
                      </a:lnTo>
                      <a:lnTo>
                        <a:pt x="1076" y="657"/>
                      </a:lnTo>
                      <a:lnTo>
                        <a:pt x="1067" y="658"/>
                      </a:lnTo>
                      <a:lnTo>
                        <a:pt x="1064" y="660"/>
                      </a:lnTo>
                      <a:lnTo>
                        <a:pt x="1066" y="664"/>
                      </a:lnTo>
                      <a:lnTo>
                        <a:pt x="1060" y="665"/>
                      </a:lnTo>
                      <a:lnTo>
                        <a:pt x="1046" y="665"/>
                      </a:lnTo>
                      <a:lnTo>
                        <a:pt x="1050" y="669"/>
                      </a:lnTo>
                      <a:lnTo>
                        <a:pt x="1046" y="669"/>
                      </a:lnTo>
                      <a:lnTo>
                        <a:pt x="1038" y="669"/>
                      </a:lnTo>
                      <a:lnTo>
                        <a:pt x="1038" y="672"/>
                      </a:lnTo>
                      <a:close/>
                      <a:moveTo>
                        <a:pt x="1139" y="78"/>
                      </a:moveTo>
                      <a:lnTo>
                        <a:pt x="1137" y="73"/>
                      </a:lnTo>
                      <a:lnTo>
                        <a:pt x="1142" y="70"/>
                      </a:lnTo>
                      <a:lnTo>
                        <a:pt x="1149" y="75"/>
                      </a:lnTo>
                      <a:lnTo>
                        <a:pt x="1155" y="82"/>
                      </a:lnTo>
                      <a:lnTo>
                        <a:pt x="1158" y="87"/>
                      </a:lnTo>
                      <a:lnTo>
                        <a:pt x="1153" y="89"/>
                      </a:lnTo>
                      <a:lnTo>
                        <a:pt x="1146" y="85"/>
                      </a:lnTo>
                      <a:lnTo>
                        <a:pt x="1139" y="78"/>
                      </a:lnTo>
                      <a:close/>
                      <a:moveTo>
                        <a:pt x="550" y="56"/>
                      </a:moveTo>
                      <a:lnTo>
                        <a:pt x="554" y="57"/>
                      </a:lnTo>
                      <a:lnTo>
                        <a:pt x="557" y="59"/>
                      </a:lnTo>
                      <a:lnTo>
                        <a:pt x="582" y="68"/>
                      </a:lnTo>
                      <a:lnTo>
                        <a:pt x="584" y="68"/>
                      </a:lnTo>
                      <a:lnTo>
                        <a:pt x="591" y="73"/>
                      </a:lnTo>
                      <a:lnTo>
                        <a:pt x="592" y="73"/>
                      </a:lnTo>
                      <a:lnTo>
                        <a:pt x="596" y="73"/>
                      </a:lnTo>
                      <a:lnTo>
                        <a:pt x="598" y="71"/>
                      </a:lnTo>
                      <a:lnTo>
                        <a:pt x="599" y="68"/>
                      </a:lnTo>
                      <a:lnTo>
                        <a:pt x="599" y="64"/>
                      </a:lnTo>
                      <a:lnTo>
                        <a:pt x="599" y="59"/>
                      </a:lnTo>
                      <a:lnTo>
                        <a:pt x="598" y="56"/>
                      </a:lnTo>
                      <a:lnTo>
                        <a:pt x="596" y="54"/>
                      </a:lnTo>
                      <a:lnTo>
                        <a:pt x="568" y="42"/>
                      </a:lnTo>
                      <a:lnTo>
                        <a:pt x="564" y="42"/>
                      </a:lnTo>
                      <a:lnTo>
                        <a:pt x="561" y="42"/>
                      </a:lnTo>
                      <a:lnTo>
                        <a:pt x="557" y="42"/>
                      </a:lnTo>
                      <a:lnTo>
                        <a:pt x="552" y="43"/>
                      </a:lnTo>
                      <a:lnTo>
                        <a:pt x="549" y="43"/>
                      </a:lnTo>
                      <a:lnTo>
                        <a:pt x="545" y="45"/>
                      </a:lnTo>
                      <a:lnTo>
                        <a:pt x="545" y="50"/>
                      </a:lnTo>
                      <a:lnTo>
                        <a:pt x="547" y="52"/>
                      </a:lnTo>
                      <a:lnTo>
                        <a:pt x="550" y="5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35" name="Freeform 318">
                  <a:extLst>
                    <a:ext uri="{FF2B5EF4-FFF2-40B4-BE49-F238E27FC236}">
                      <a16:creationId xmlns:a16="http://schemas.microsoft.com/office/drawing/2014/main" id="{A1AFEA68-0A83-4678-3167-49BABCCBDA59}"/>
                    </a:ext>
                  </a:extLst>
                </p:cNvPr>
                <p:cNvSpPr>
                  <a:spLocks noEditPoints="1"/>
                </p:cNvSpPr>
                <p:nvPr/>
              </p:nvSpPr>
              <p:spPr bwMode="auto">
                <a:xfrm>
                  <a:off x="-3976" y="-4544"/>
                  <a:ext cx="2181" cy="1500"/>
                </a:xfrm>
                <a:custGeom>
                  <a:avLst/>
                  <a:gdLst>
                    <a:gd name="T0" fmla="*/ 735 w 2181"/>
                    <a:gd name="T1" fmla="*/ 522 h 1500"/>
                    <a:gd name="T2" fmla="*/ 767 w 2181"/>
                    <a:gd name="T3" fmla="*/ 522 h 1500"/>
                    <a:gd name="T4" fmla="*/ 713 w 2181"/>
                    <a:gd name="T5" fmla="*/ 501 h 1500"/>
                    <a:gd name="T6" fmla="*/ 529 w 2181"/>
                    <a:gd name="T7" fmla="*/ 417 h 1500"/>
                    <a:gd name="T8" fmla="*/ 65 w 2181"/>
                    <a:gd name="T9" fmla="*/ 181 h 1500"/>
                    <a:gd name="T10" fmla="*/ 805 w 2181"/>
                    <a:gd name="T11" fmla="*/ 564 h 1500"/>
                    <a:gd name="T12" fmla="*/ 779 w 2181"/>
                    <a:gd name="T13" fmla="*/ 566 h 1500"/>
                    <a:gd name="T14" fmla="*/ 795 w 2181"/>
                    <a:gd name="T15" fmla="*/ 557 h 1500"/>
                    <a:gd name="T16" fmla="*/ 680 w 2181"/>
                    <a:gd name="T17" fmla="*/ 450 h 1500"/>
                    <a:gd name="T18" fmla="*/ 397 w 2181"/>
                    <a:gd name="T19" fmla="*/ 33 h 1500"/>
                    <a:gd name="T20" fmla="*/ 208 w 2181"/>
                    <a:gd name="T21" fmla="*/ 19 h 1500"/>
                    <a:gd name="T22" fmla="*/ 142 w 2181"/>
                    <a:gd name="T23" fmla="*/ 148 h 1500"/>
                    <a:gd name="T24" fmla="*/ 150 w 2181"/>
                    <a:gd name="T25" fmla="*/ 169 h 1500"/>
                    <a:gd name="T26" fmla="*/ 54 w 2181"/>
                    <a:gd name="T27" fmla="*/ 188 h 1500"/>
                    <a:gd name="T28" fmla="*/ 145 w 2181"/>
                    <a:gd name="T29" fmla="*/ 253 h 1500"/>
                    <a:gd name="T30" fmla="*/ 91 w 2181"/>
                    <a:gd name="T31" fmla="*/ 328 h 1500"/>
                    <a:gd name="T32" fmla="*/ 86 w 2181"/>
                    <a:gd name="T33" fmla="*/ 386 h 1500"/>
                    <a:gd name="T34" fmla="*/ 150 w 2181"/>
                    <a:gd name="T35" fmla="*/ 394 h 1500"/>
                    <a:gd name="T36" fmla="*/ 227 w 2181"/>
                    <a:gd name="T37" fmla="*/ 447 h 1500"/>
                    <a:gd name="T38" fmla="*/ 178 w 2181"/>
                    <a:gd name="T39" fmla="*/ 545 h 1500"/>
                    <a:gd name="T40" fmla="*/ 182 w 2181"/>
                    <a:gd name="T41" fmla="*/ 553 h 1500"/>
                    <a:gd name="T42" fmla="*/ 309 w 2181"/>
                    <a:gd name="T43" fmla="*/ 478 h 1500"/>
                    <a:gd name="T44" fmla="*/ 407 w 2181"/>
                    <a:gd name="T45" fmla="*/ 372 h 1500"/>
                    <a:gd name="T46" fmla="*/ 388 w 2181"/>
                    <a:gd name="T47" fmla="*/ 440 h 1500"/>
                    <a:gd name="T48" fmla="*/ 461 w 2181"/>
                    <a:gd name="T49" fmla="*/ 384 h 1500"/>
                    <a:gd name="T50" fmla="*/ 631 w 2181"/>
                    <a:gd name="T51" fmla="*/ 417 h 1500"/>
                    <a:gd name="T52" fmla="*/ 706 w 2181"/>
                    <a:gd name="T53" fmla="*/ 456 h 1500"/>
                    <a:gd name="T54" fmla="*/ 758 w 2181"/>
                    <a:gd name="T55" fmla="*/ 496 h 1500"/>
                    <a:gd name="T56" fmla="*/ 2 w 2181"/>
                    <a:gd name="T57" fmla="*/ 311 h 1500"/>
                    <a:gd name="T58" fmla="*/ 133 w 2181"/>
                    <a:gd name="T59" fmla="*/ 583 h 1500"/>
                    <a:gd name="T60" fmla="*/ 987 w 2181"/>
                    <a:gd name="T61" fmla="*/ 763 h 1500"/>
                    <a:gd name="T62" fmla="*/ 51 w 2181"/>
                    <a:gd name="T63" fmla="*/ 405 h 1500"/>
                    <a:gd name="T64" fmla="*/ 316 w 2181"/>
                    <a:gd name="T65" fmla="*/ 524 h 1500"/>
                    <a:gd name="T66" fmla="*/ 308 w 2181"/>
                    <a:gd name="T67" fmla="*/ 506 h 1500"/>
                    <a:gd name="T68" fmla="*/ 351 w 2181"/>
                    <a:gd name="T69" fmla="*/ 477 h 1500"/>
                    <a:gd name="T70" fmla="*/ 240 w 2181"/>
                    <a:gd name="T71" fmla="*/ 1443 h 1500"/>
                    <a:gd name="T72" fmla="*/ 205 w 2181"/>
                    <a:gd name="T73" fmla="*/ 1434 h 1500"/>
                    <a:gd name="T74" fmla="*/ 2138 w 2181"/>
                    <a:gd name="T75" fmla="*/ 798 h 1500"/>
                    <a:gd name="T76" fmla="*/ 1857 w 2181"/>
                    <a:gd name="T77" fmla="*/ 908 h 1500"/>
                    <a:gd name="T78" fmla="*/ 1623 w 2181"/>
                    <a:gd name="T79" fmla="*/ 761 h 1500"/>
                    <a:gd name="T80" fmla="*/ 985 w 2181"/>
                    <a:gd name="T81" fmla="*/ 802 h 1500"/>
                    <a:gd name="T82" fmla="*/ 964 w 2181"/>
                    <a:gd name="T83" fmla="*/ 819 h 1500"/>
                    <a:gd name="T84" fmla="*/ 985 w 2181"/>
                    <a:gd name="T85" fmla="*/ 1044 h 1500"/>
                    <a:gd name="T86" fmla="*/ 1081 w 2181"/>
                    <a:gd name="T87" fmla="*/ 1151 h 1500"/>
                    <a:gd name="T88" fmla="*/ 1471 w 2181"/>
                    <a:gd name="T89" fmla="*/ 1284 h 1500"/>
                    <a:gd name="T90" fmla="*/ 1546 w 2181"/>
                    <a:gd name="T91" fmla="*/ 1282 h 1500"/>
                    <a:gd name="T92" fmla="*/ 1654 w 2181"/>
                    <a:gd name="T93" fmla="*/ 1249 h 1500"/>
                    <a:gd name="T94" fmla="*/ 1680 w 2181"/>
                    <a:gd name="T95" fmla="*/ 1240 h 1500"/>
                    <a:gd name="T96" fmla="*/ 1788 w 2181"/>
                    <a:gd name="T97" fmla="*/ 1247 h 1500"/>
                    <a:gd name="T98" fmla="*/ 1879 w 2181"/>
                    <a:gd name="T99" fmla="*/ 1355 h 1500"/>
                    <a:gd name="T100" fmla="*/ 1886 w 2181"/>
                    <a:gd name="T101" fmla="*/ 1188 h 1500"/>
                    <a:gd name="T102" fmla="*/ 1972 w 2181"/>
                    <a:gd name="T103" fmla="*/ 1125 h 1500"/>
                    <a:gd name="T104" fmla="*/ 1981 w 2181"/>
                    <a:gd name="T105" fmla="*/ 1078 h 1500"/>
                    <a:gd name="T106" fmla="*/ 1970 w 2181"/>
                    <a:gd name="T107" fmla="*/ 1043 h 1500"/>
                    <a:gd name="T108" fmla="*/ 1991 w 2181"/>
                    <a:gd name="T109" fmla="*/ 1044 h 1500"/>
                    <a:gd name="T110" fmla="*/ 2033 w 2181"/>
                    <a:gd name="T111" fmla="*/ 992 h 1500"/>
                    <a:gd name="T112" fmla="*/ 2099 w 2181"/>
                    <a:gd name="T113" fmla="*/ 926 h 1500"/>
                    <a:gd name="T114" fmla="*/ 2166 w 2181"/>
                    <a:gd name="T115" fmla="*/ 877 h 1500"/>
                    <a:gd name="T116" fmla="*/ 1996 w 2181"/>
                    <a:gd name="T117" fmla="*/ 1102 h 1500"/>
                    <a:gd name="T118" fmla="*/ 1876 w 2181"/>
                    <a:gd name="T119" fmla="*/ 1369 h 1500"/>
                    <a:gd name="T120" fmla="*/ 1727 w 2181"/>
                    <a:gd name="T121" fmla="*/ 1238 h 1500"/>
                    <a:gd name="T122" fmla="*/ 2146 w 2181"/>
                    <a:gd name="T123" fmla="*/ 889 h 1500"/>
                    <a:gd name="T124" fmla="*/ 1993 w 2181"/>
                    <a:gd name="T125" fmla="*/ 1121 h 1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81" h="1500">
                      <a:moveTo>
                        <a:pt x="749" y="519"/>
                      </a:moveTo>
                      <a:lnTo>
                        <a:pt x="748" y="517"/>
                      </a:lnTo>
                      <a:lnTo>
                        <a:pt x="744" y="515"/>
                      </a:lnTo>
                      <a:lnTo>
                        <a:pt x="741" y="517"/>
                      </a:lnTo>
                      <a:lnTo>
                        <a:pt x="741" y="520"/>
                      </a:lnTo>
                      <a:lnTo>
                        <a:pt x="742" y="522"/>
                      </a:lnTo>
                      <a:lnTo>
                        <a:pt x="748" y="527"/>
                      </a:lnTo>
                      <a:lnTo>
                        <a:pt x="744" y="531"/>
                      </a:lnTo>
                      <a:lnTo>
                        <a:pt x="744" y="534"/>
                      </a:lnTo>
                      <a:lnTo>
                        <a:pt x="744" y="538"/>
                      </a:lnTo>
                      <a:lnTo>
                        <a:pt x="748" y="538"/>
                      </a:lnTo>
                      <a:lnTo>
                        <a:pt x="749" y="536"/>
                      </a:lnTo>
                      <a:lnTo>
                        <a:pt x="749" y="538"/>
                      </a:lnTo>
                      <a:lnTo>
                        <a:pt x="749" y="536"/>
                      </a:lnTo>
                      <a:lnTo>
                        <a:pt x="749" y="536"/>
                      </a:lnTo>
                      <a:lnTo>
                        <a:pt x="751" y="532"/>
                      </a:lnTo>
                      <a:lnTo>
                        <a:pt x="751" y="531"/>
                      </a:lnTo>
                      <a:lnTo>
                        <a:pt x="751" y="529"/>
                      </a:lnTo>
                      <a:lnTo>
                        <a:pt x="751" y="527"/>
                      </a:lnTo>
                      <a:lnTo>
                        <a:pt x="753" y="522"/>
                      </a:lnTo>
                      <a:lnTo>
                        <a:pt x="753" y="520"/>
                      </a:lnTo>
                      <a:lnTo>
                        <a:pt x="749" y="519"/>
                      </a:lnTo>
                      <a:close/>
                      <a:moveTo>
                        <a:pt x="735" y="522"/>
                      </a:moveTo>
                      <a:lnTo>
                        <a:pt x="734" y="519"/>
                      </a:lnTo>
                      <a:lnTo>
                        <a:pt x="732" y="513"/>
                      </a:lnTo>
                      <a:lnTo>
                        <a:pt x="730" y="508"/>
                      </a:lnTo>
                      <a:lnTo>
                        <a:pt x="728" y="503"/>
                      </a:lnTo>
                      <a:lnTo>
                        <a:pt x="725" y="499"/>
                      </a:lnTo>
                      <a:lnTo>
                        <a:pt x="721" y="498"/>
                      </a:lnTo>
                      <a:lnTo>
                        <a:pt x="720" y="498"/>
                      </a:lnTo>
                      <a:lnTo>
                        <a:pt x="718" y="498"/>
                      </a:lnTo>
                      <a:lnTo>
                        <a:pt x="709" y="505"/>
                      </a:lnTo>
                      <a:lnTo>
                        <a:pt x="711" y="508"/>
                      </a:lnTo>
                      <a:lnTo>
                        <a:pt x="711" y="510"/>
                      </a:lnTo>
                      <a:lnTo>
                        <a:pt x="711" y="512"/>
                      </a:lnTo>
                      <a:lnTo>
                        <a:pt x="709" y="513"/>
                      </a:lnTo>
                      <a:lnTo>
                        <a:pt x="713" y="512"/>
                      </a:lnTo>
                      <a:lnTo>
                        <a:pt x="714" y="510"/>
                      </a:lnTo>
                      <a:lnTo>
                        <a:pt x="716" y="508"/>
                      </a:lnTo>
                      <a:lnTo>
                        <a:pt x="718" y="506"/>
                      </a:lnTo>
                      <a:lnTo>
                        <a:pt x="718" y="508"/>
                      </a:lnTo>
                      <a:lnTo>
                        <a:pt x="721" y="512"/>
                      </a:lnTo>
                      <a:lnTo>
                        <a:pt x="723" y="513"/>
                      </a:lnTo>
                      <a:lnTo>
                        <a:pt x="721" y="513"/>
                      </a:lnTo>
                      <a:lnTo>
                        <a:pt x="721" y="515"/>
                      </a:lnTo>
                      <a:lnTo>
                        <a:pt x="720" y="517"/>
                      </a:lnTo>
                      <a:lnTo>
                        <a:pt x="720" y="517"/>
                      </a:lnTo>
                      <a:lnTo>
                        <a:pt x="721" y="519"/>
                      </a:lnTo>
                      <a:lnTo>
                        <a:pt x="721" y="519"/>
                      </a:lnTo>
                      <a:lnTo>
                        <a:pt x="723" y="519"/>
                      </a:lnTo>
                      <a:lnTo>
                        <a:pt x="723" y="519"/>
                      </a:lnTo>
                      <a:lnTo>
                        <a:pt x="725" y="519"/>
                      </a:lnTo>
                      <a:lnTo>
                        <a:pt x="725" y="520"/>
                      </a:lnTo>
                      <a:lnTo>
                        <a:pt x="725" y="520"/>
                      </a:lnTo>
                      <a:lnTo>
                        <a:pt x="725" y="522"/>
                      </a:lnTo>
                      <a:lnTo>
                        <a:pt x="727" y="522"/>
                      </a:lnTo>
                      <a:lnTo>
                        <a:pt x="728" y="522"/>
                      </a:lnTo>
                      <a:lnTo>
                        <a:pt x="728" y="522"/>
                      </a:lnTo>
                      <a:lnTo>
                        <a:pt x="730" y="522"/>
                      </a:lnTo>
                      <a:lnTo>
                        <a:pt x="728" y="526"/>
                      </a:lnTo>
                      <a:lnTo>
                        <a:pt x="730" y="531"/>
                      </a:lnTo>
                      <a:lnTo>
                        <a:pt x="732" y="534"/>
                      </a:lnTo>
                      <a:lnTo>
                        <a:pt x="735" y="534"/>
                      </a:lnTo>
                      <a:lnTo>
                        <a:pt x="735" y="532"/>
                      </a:lnTo>
                      <a:lnTo>
                        <a:pt x="735" y="527"/>
                      </a:lnTo>
                      <a:lnTo>
                        <a:pt x="735" y="522"/>
                      </a:lnTo>
                      <a:close/>
                      <a:moveTo>
                        <a:pt x="365" y="403"/>
                      </a:moveTo>
                      <a:lnTo>
                        <a:pt x="367" y="401"/>
                      </a:lnTo>
                      <a:lnTo>
                        <a:pt x="365" y="400"/>
                      </a:lnTo>
                      <a:lnTo>
                        <a:pt x="365" y="400"/>
                      </a:lnTo>
                      <a:lnTo>
                        <a:pt x="365" y="400"/>
                      </a:lnTo>
                      <a:lnTo>
                        <a:pt x="365" y="401"/>
                      </a:lnTo>
                      <a:lnTo>
                        <a:pt x="363" y="403"/>
                      </a:lnTo>
                      <a:lnTo>
                        <a:pt x="363" y="405"/>
                      </a:lnTo>
                      <a:lnTo>
                        <a:pt x="362" y="405"/>
                      </a:lnTo>
                      <a:lnTo>
                        <a:pt x="363" y="405"/>
                      </a:lnTo>
                      <a:lnTo>
                        <a:pt x="365" y="403"/>
                      </a:lnTo>
                      <a:lnTo>
                        <a:pt x="365" y="403"/>
                      </a:lnTo>
                      <a:close/>
                      <a:moveTo>
                        <a:pt x="742" y="510"/>
                      </a:moveTo>
                      <a:lnTo>
                        <a:pt x="742" y="510"/>
                      </a:lnTo>
                      <a:lnTo>
                        <a:pt x="744" y="508"/>
                      </a:lnTo>
                      <a:lnTo>
                        <a:pt x="744" y="506"/>
                      </a:lnTo>
                      <a:lnTo>
                        <a:pt x="749" y="505"/>
                      </a:lnTo>
                      <a:lnTo>
                        <a:pt x="751" y="501"/>
                      </a:lnTo>
                      <a:lnTo>
                        <a:pt x="749" y="498"/>
                      </a:lnTo>
                      <a:lnTo>
                        <a:pt x="749" y="494"/>
                      </a:lnTo>
                      <a:lnTo>
                        <a:pt x="746" y="489"/>
                      </a:lnTo>
                      <a:lnTo>
                        <a:pt x="744" y="484"/>
                      </a:lnTo>
                      <a:lnTo>
                        <a:pt x="742" y="482"/>
                      </a:lnTo>
                      <a:lnTo>
                        <a:pt x="744" y="482"/>
                      </a:lnTo>
                      <a:lnTo>
                        <a:pt x="748" y="484"/>
                      </a:lnTo>
                      <a:lnTo>
                        <a:pt x="749" y="492"/>
                      </a:lnTo>
                      <a:lnTo>
                        <a:pt x="753" y="494"/>
                      </a:lnTo>
                      <a:lnTo>
                        <a:pt x="751" y="491"/>
                      </a:lnTo>
                      <a:lnTo>
                        <a:pt x="749" y="487"/>
                      </a:lnTo>
                      <a:lnTo>
                        <a:pt x="748" y="482"/>
                      </a:lnTo>
                      <a:lnTo>
                        <a:pt x="744" y="480"/>
                      </a:lnTo>
                      <a:lnTo>
                        <a:pt x="742" y="478"/>
                      </a:lnTo>
                      <a:lnTo>
                        <a:pt x="741" y="478"/>
                      </a:lnTo>
                      <a:lnTo>
                        <a:pt x="739" y="478"/>
                      </a:lnTo>
                      <a:lnTo>
                        <a:pt x="735" y="477"/>
                      </a:lnTo>
                      <a:lnTo>
                        <a:pt x="734" y="477"/>
                      </a:lnTo>
                      <a:lnTo>
                        <a:pt x="732" y="473"/>
                      </a:lnTo>
                      <a:lnTo>
                        <a:pt x="728" y="471"/>
                      </a:lnTo>
                      <a:lnTo>
                        <a:pt x="728" y="473"/>
                      </a:lnTo>
                      <a:lnTo>
                        <a:pt x="732" y="480"/>
                      </a:lnTo>
                      <a:lnTo>
                        <a:pt x="732" y="482"/>
                      </a:lnTo>
                      <a:lnTo>
                        <a:pt x="734" y="489"/>
                      </a:lnTo>
                      <a:lnTo>
                        <a:pt x="734" y="491"/>
                      </a:lnTo>
                      <a:lnTo>
                        <a:pt x="735" y="494"/>
                      </a:lnTo>
                      <a:lnTo>
                        <a:pt x="737" y="499"/>
                      </a:lnTo>
                      <a:lnTo>
                        <a:pt x="739" y="501"/>
                      </a:lnTo>
                      <a:lnTo>
                        <a:pt x="737" y="505"/>
                      </a:lnTo>
                      <a:lnTo>
                        <a:pt x="737" y="506"/>
                      </a:lnTo>
                      <a:lnTo>
                        <a:pt x="735" y="508"/>
                      </a:lnTo>
                      <a:lnTo>
                        <a:pt x="735" y="512"/>
                      </a:lnTo>
                      <a:lnTo>
                        <a:pt x="737" y="512"/>
                      </a:lnTo>
                      <a:lnTo>
                        <a:pt x="739" y="512"/>
                      </a:lnTo>
                      <a:lnTo>
                        <a:pt x="741" y="512"/>
                      </a:lnTo>
                      <a:lnTo>
                        <a:pt x="742" y="510"/>
                      </a:lnTo>
                      <a:close/>
                      <a:moveTo>
                        <a:pt x="755" y="519"/>
                      </a:moveTo>
                      <a:lnTo>
                        <a:pt x="756" y="520"/>
                      </a:lnTo>
                      <a:lnTo>
                        <a:pt x="756" y="522"/>
                      </a:lnTo>
                      <a:lnTo>
                        <a:pt x="756" y="524"/>
                      </a:lnTo>
                      <a:lnTo>
                        <a:pt x="756" y="526"/>
                      </a:lnTo>
                      <a:lnTo>
                        <a:pt x="756" y="527"/>
                      </a:lnTo>
                      <a:lnTo>
                        <a:pt x="758" y="527"/>
                      </a:lnTo>
                      <a:lnTo>
                        <a:pt x="762" y="529"/>
                      </a:lnTo>
                      <a:lnTo>
                        <a:pt x="765" y="527"/>
                      </a:lnTo>
                      <a:lnTo>
                        <a:pt x="767" y="527"/>
                      </a:lnTo>
                      <a:lnTo>
                        <a:pt x="767" y="526"/>
                      </a:lnTo>
                      <a:lnTo>
                        <a:pt x="767" y="522"/>
                      </a:lnTo>
                      <a:lnTo>
                        <a:pt x="763" y="519"/>
                      </a:lnTo>
                      <a:lnTo>
                        <a:pt x="767" y="520"/>
                      </a:lnTo>
                      <a:lnTo>
                        <a:pt x="769" y="522"/>
                      </a:lnTo>
                      <a:lnTo>
                        <a:pt x="770" y="522"/>
                      </a:lnTo>
                      <a:lnTo>
                        <a:pt x="772" y="517"/>
                      </a:lnTo>
                      <a:lnTo>
                        <a:pt x="769" y="515"/>
                      </a:lnTo>
                      <a:lnTo>
                        <a:pt x="765" y="513"/>
                      </a:lnTo>
                      <a:lnTo>
                        <a:pt x="753" y="512"/>
                      </a:lnTo>
                      <a:lnTo>
                        <a:pt x="751" y="512"/>
                      </a:lnTo>
                      <a:lnTo>
                        <a:pt x="749" y="513"/>
                      </a:lnTo>
                      <a:lnTo>
                        <a:pt x="749" y="513"/>
                      </a:lnTo>
                      <a:lnTo>
                        <a:pt x="751" y="515"/>
                      </a:lnTo>
                      <a:lnTo>
                        <a:pt x="753" y="515"/>
                      </a:lnTo>
                      <a:lnTo>
                        <a:pt x="753" y="515"/>
                      </a:lnTo>
                      <a:lnTo>
                        <a:pt x="755" y="517"/>
                      </a:lnTo>
                      <a:lnTo>
                        <a:pt x="755" y="519"/>
                      </a:lnTo>
                      <a:lnTo>
                        <a:pt x="755" y="519"/>
                      </a:lnTo>
                      <a:close/>
                      <a:moveTo>
                        <a:pt x="713" y="501"/>
                      </a:moveTo>
                      <a:lnTo>
                        <a:pt x="714" y="499"/>
                      </a:lnTo>
                      <a:lnTo>
                        <a:pt x="714" y="498"/>
                      </a:lnTo>
                      <a:lnTo>
                        <a:pt x="714" y="496"/>
                      </a:lnTo>
                      <a:lnTo>
                        <a:pt x="714" y="494"/>
                      </a:lnTo>
                      <a:lnTo>
                        <a:pt x="718" y="492"/>
                      </a:lnTo>
                      <a:lnTo>
                        <a:pt x="725" y="498"/>
                      </a:lnTo>
                      <a:lnTo>
                        <a:pt x="728" y="499"/>
                      </a:lnTo>
                      <a:lnTo>
                        <a:pt x="730" y="498"/>
                      </a:lnTo>
                      <a:lnTo>
                        <a:pt x="730" y="496"/>
                      </a:lnTo>
                      <a:lnTo>
                        <a:pt x="730" y="492"/>
                      </a:lnTo>
                      <a:lnTo>
                        <a:pt x="728" y="492"/>
                      </a:lnTo>
                      <a:lnTo>
                        <a:pt x="727" y="491"/>
                      </a:lnTo>
                      <a:lnTo>
                        <a:pt x="721" y="491"/>
                      </a:lnTo>
                      <a:lnTo>
                        <a:pt x="720" y="489"/>
                      </a:lnTo>
                      <a:lnTo>
                        <a:pt x="721" y="489"/>
                      </a:lnTo>
                      <a:lnTo>
                        <a:pt x="723" y="489"/>
                      </a:lnTo>
                      <a:lnTo>
                        <a:pt x="725" y="489"/>
                      </a:lnTo>
                      <a:lnTo>
                        <a:pt x="727" y="489"/>
                      </a:lnTo>
                      <a:lnTo>
                        <a:pt x="728" y="487"/>
                      </a:lnTo>
                      <a:lnTo>
                        <a:pt x="728" y="484"/>
                      </a:lnTo>
                      <a:lnTo>
                        <a:pt x="728" y="482"/>
                      </a:lnTo>
                      <a:lnTo>
                        <a:pt x="727" y="480"/>
                      </a:lnTo>
                      <a:lnTo>
                        <a:pt x="723" y="478"/>
                      </a:lnTo>
                      <a:lnTo>
                        <a:pt x="718" y="480"/>
                      </a:lnTo>
                      <a:lnTo>
                        <a:pt x="714" y="482"/>
                      </a:lnTo>
                      <a:lnTo>
                        <a:pt x="713" y="480"/>
                      </a:lnTo>
                      <a:lnTo>
                        <a:pt x="714" y="480"/>
                      </a:lnTo>
                      <a:lnTo>
                        <a:pt x="714" y="477"/>
                      </a:lnTo>
                      <a:lnTo>
                        <a:pt x="713" y="475"/>
                      </a:lnTo>
                      <a:lnTo>
                        <a:pt x="711" y="473"/>
                      </a:lnTo>
                      <a:lnTo>
                        <a:pt x="709" y="475"/>
                      </a:lnTo>
                      <a:lnTo>
                        <a:pt x="706" y="475"/>
                      </a:lnTo>
                      <a:lnTo>
                        <a:pt x="704" y="477"/>
                      </a:lnTo>
                      <a:lnTo>
                        <a:pt x="702" y="478"/>
                      </a:lnTo>
                      <a:lnTo>
                        <a:pt x="701" y="477"/>
                      </a:lnTo>
                      <a:lnTo>
                        <a:pt x="701" y="477"/>
                      </a:lnTo>
                      <a:lnTo>
                        <a:pt x="699" y="475"/>
                      </a:lnTo>
                      <a:lnTo>
                        <a:pt x="699" y="477"/>
                      </a:lnTo>
                      <a:lnTo>
                        <a:pt x="695" y="480"/>
                      </a:lnTo>
                      <a:lnTo>
                        <a:pt x="694" y="484"/>
                      </a:lnTo>
                      <a:lnTo>
                        <a:pt x="695" y="485"/>
                      </a:lnTo>
                      <a:lnTo>
                        <a:pt x="697" y="487"/>
                      </a:lnTo>
                      <a:lnTo>
                        <a:pt x="702" y="491"/>
                      </a:lnTo>
                      <a:lnTo>
                        <a:pt x="704" y="492"/>
                      </a:lnTo>
                      <a:lnTo>
                        <a:pt x="708" y="498"/>
                      </a:lnTo>
                      <a:lnTo>
                        <a:pt x="709" y="499"/>
                      </a:lnTo>
                      <a:lnTo>
                        <a:pt x="711" y="501"/>
                      </a:lnTo>
                      <a:lnTo>
                        <a:pt x="713" y="501"/>
                      </a:lnTo>
                      <a:close/>
                      <a:moveTo>
                        <a:pt x="777" y="536"/>
                      </a:moveTo>
                      <a:lnTo>
                        <a:pt x="779" y="539"/>
                      </a:lnTo>
                      <a:lnTo>
                        <a:pt x="783" y="539"/>
                      </a:lnTo>
                      <a:lnTo>
                        <a:pt x="783" y="541"/>
                      </a:lnTo>
                      <a:lnTo>
                        <a:pt x="784" y="541"/>
                      </a:lnTo>
                      <a:lnTo>
                        <a:pt x="784" y="543"/>
                      </a:lnTo>
                      <a:lnTo>
                        <a:pt x="786" y="543"/>
                      </a:lnTo>
                      <a:lnTo>
                        <a:pt x="786" y="543"/>
                      </a:lnTo>
                      <a:lnTo>
                        <a:pt x="788" y="541"/>
                      </a:lnTo>
                      <a:lnTo>
                        <a:pt x="788" y="541"/>
                      </a:lnTo>
                      <a:lnTo>
                        <a:pt x="790" y="541"/>
                      </a:lnTo>
                      <a:lnTo>
                        <a:pt x="790" y="536"/>
                      </a:lnTo>
                      <a:lnTo>
                        <a:pt x="790" y="532"/>
                      </a:lnTo>
                      <a:lnTo>
                        <a:pt x="786" y="529"/>
                      </a:lnTo>
                      <a:lnTo>
                        <a:pt x="784" y="527"/>
                      </a:lnTo>
                      <a:lnTo>
                        <a:pt x="783" y="529"/>
                      </a:lnTo>
                      <a:lnTo>
                        <a:pt x="781" y="531"/>
                      </a:lnTo>
                      <a:lnTo>
                        <a:pt x="779" y="532"/>
                      </a:lnTo>
                      <a:lnTo>
                        <a:pt x="777" y="536"/>
                      </a:lnTo>
                      <a:lnTo>
                        <a:pt x="777" y="536"/>
                      </a:lnTo>
                      <a:close/>
                      <a:moveTo>
                        <a:pt x="777" y="522"/>
                      </a:moveTo>
                      <a:lnTo>
                        <a:pt x="774" y="519"/>
                      </a:lnTo>
                      <a:lnTo>
                        <a:pt x="774" y="520"/>
                      </a:lnTo>
                      <a:lnTo>
                        <a:pt x="772" y="522"/>
                      </a:lnTo>
                      <a:lnTo>
                        <a:pt x="772" y="526"/>
                      </a:lnTo>
                      <a:lnTo>
                        <a:pt x="772" y="526"/>
                      </a:lnTo>
                      <a:lnTo>
                        <a:pt x="774" y="527"/>
                      </a:lnTo>
                      <a:lnTo>
                        <a:pt x="776" y="527"/>
                      </a:lnTo>
                      <a:lnTo>
                        <a:pt x="779" y="526"/>
                      </a:lnTo>
                      <a:lnTo>
                        <a:pt x="779" y="524"/>
                      </a:lnTo>
                      <a:lnTo>
                        <a:pt x="777" y="522"/>
                      </a:lnTo>
                      <a:close/>
                      <a:moveTo>
                        <a:pt x="447" y="412"/>
                      </a:moveTo>
                      <a:lnTo>
                        <a:pt x="446" y="414"/>
                      </a:lnTo>
                      <a:lnTo>
                        <a:pt x="444" y="415"/>
                      </a:lnTo>
                      <a:lnTo>
                        <a:pt x="446" y="415"/>
                      </a:lnTo>
                      <a:lnTo>
                        <a:pt x="447" y="415"/>
                      </a:lnTo>
                      <a:lnTo>
                        <a:pt x="449" y="415"/>
                      </a:lnTo>
                      <a:lnTo>
                        <a:pt x="451" y="414"/>
                      </a:lnTo>
                      <a:lnTo>
                        <a:pt x="449" y="414"/>
                      </a:lnTo>
                      <a:lnTo>
                        <a:pt x="447" y="412"/>
                      </a:lnTo>
                      <a:close/>
                      <a:moveTo>
                        <a:pt x="454" y="410"/>
                      </a:moveTo>
                      <a:lnTo>
                        <a:pt x="454" y="410"/>
                      </a:lnTo>
                      <a:lnTo>
                        <a:pt x="454" y="410"/>
                      </a:lnTo>
                      <a:lnTo>
                        <a:pt x="456" y="408"/>
                      </a:lnTo>
                      <a:lnTo>
                        <a:pt x="456" y="407"/>
                      </a:lnTo>
                      <a:lnTo>
                        <a:pt x="456" y="405"/>
                      </a:lnTo>
                      <a:lnTo>
                        <a:pt x="456" y="403"/>
                      </a:lnTo>
                      <a:lnTo>
                        <a:pt x="456" y="401"/>
                      </a:lnTo>
                      <a:lnTo>
                        <a:pt x="456" y="401"/>
                      </a:lnTo>
                      <a:lnTo>
                        <a:pt x="454" y="401"/>
                      </a:lnTo>
                      <a:lnTo>
                        <a:pt x="454" y="403"/>
                      </a:lnTo>
                      <a:lnTo>
                        <a:pt x="454" y="401"/>
                      </a:lnTo>
                      <a:lnTo>
                        <a:pt x="454" y="401"/>
                      </a:lnTo>
                      <a:lnTo>
                        <a:pt x="453" y="405"/>
                      </a:lnTo>
                      <a:lnTo>
                        <a:pt x="453" y="407"/>
                      </a:lnTo>
                      <a:lnTo>
                        <a:pt x="453" y="408"/>
                      </a:lnTo>
                      <a:lnTo>
                        <a:pt x="453" y="408"/>
                      </a:lnTo>
                      <a:lnTo>
                        <a:pt x="453" y="410"/>
                      </a:lnTo>
                      <a:lnTo>
                        <a:pt x="454" y="410"/>
                      </a:lnTo>
                      <a:close/>
                      <a:moveTo>
                        <a:pt x="526" y="419"/>
                      </a:moveTo>
                      <a:lnTo>
                        <a:pt x="524" y="421"/>
                      </a:lnTo>
                      <a:lnTo>
                        <a:pt x="522" y="424"/>
                      </a:lnTo>
                      <a:lnTo>
                        <a:pt x="524" y="422"/>
                      </a:lnTo>
                      <a:lnTo>
                        <a:pt x="526" y="421"/>
                      </a:lnTo>
                      <a:lnTo>
                        <a:pt x="529" y="419"/>
                      </a:lnTo>
                      <a:lnTo>
                        <a:pt x="529" y="417"/>
                      </a:lnTo>
                      <a:lnTo>
                        <a:pt x="528" y="417"/>
                      </a:lnTo>
                      <a:lnTo>
                        <a:pt x="526" y="419"/>
                      </a:lnTo>
                      <a:close/>
                      <a:moveTo>
                        <a:pt x="770" y="532"/>
                      </a:moveTo>
                      <a:lnTo>
                        <a:pt x="772" y="534"/>
                      </a:lnTo>
                      <a:lnTo>
                        <a:pt x="776" y="532"/>
                      </a:lnTo>
                      <a:lnTo>
                        <a:pt x="777" y="531"/>
                      </a:lnTo>
                      <a:lnTo>
                        <a:pt x="777" y="529"/>
                      </a:lnTo>
                      <a:lnTo>
                        <a:pt x="776" y="527"/>
                      </a:lnTo>
                      <a:lnTo>
                        <a:pt x="772" y="529"/>
                      </a:lnTo>
                      <a:lnTo>
                        <a:pt x="770" y="529"/>
                      </a:lnTo>
                      <a:lnTo>
                        <a:pt x="770" y="532"/>
                      </a:lnTo>
                      <a:close/>
                      <a:moveTo>
                        <a:pt x="454" y="401"/>
                      </a:moveTo>
                      <a:lnTo>
                        <a:pt x="454" y="401"/>
                      </a:lnTo>
                      <a:lnTo>
                        <a:pt x="454" y="401"/>
                      </a:lnTo>
                      <a:lnTo>
                        <a:pt x="454" y="401"/>
                      </a:lnTo>
                      <a:close/>
                      <a:moveTo>
                        <a:pt x="510" y="403"/>
                      </a:moveTo>
                      <a:lnTo>
                        <a:pt x="508" y="405"/>
                      </a:lnTo>
                      <a:lnTo>
                        <a:pt x="508" y="405"/>
                      </a:lnTo>
                      <a:lnTo>
                        <a:pt x="508" y="407"/>
                      </a:lnTo>
                      <a:lnTo>
                        <a:pt x="510" y="407"/>
                      </a:lnTo>
                      <a:lnTo>
                        <a:pt x="510" y="407"/>
                      </a:lnTo>
                      <a:lnTo>
                        <a:pt x="512" y="405"/>
                      </a:lnTo>
                      <a:lnTo>
                        <a:pt x="512" y="403"/>
                      </a:lnTo>
                      <a:lnTo>
                        <a:pt x="510" y="403"/>
                      </a:lnTo>
                      <a:close/>
                      <a:moveTo>
                        <a:pt x="482" y="401"/>
                      </a:moveTo>
                      <a:lnTo>
                        <a:pt x="479" y="401"/>
                      </a:lnTo>
                      <a:lnTo>
                        <a:pt x="477" y="405"/>
                      </a:lnTo>
                      <a:lnTo>
                        <a:pt x="480" y="407"/>
                      </a:lnTo>
                      <a:lnTo>
                        <a:pt x="484" y="407"/>
                      </a:lnTo>
                      <a:lnTo>
                        <a:pt x="487" y="405"/>
                      </a:lnTo>
                      <a:lnTo>
                        <a:pt x="489" y="403"/>
                      </a:lnTo>
                      <a:lnTo>
                        <a:pt x="487" y="403"/>
                      </a:lnTo>
                      <a:lnTo>
                        <a:pt x="482" y="401"/>
                      </a:lnTo>
                      <a:close/>
                      <a:moveTo>
                        <a:pt x="470" y="405"/>
                      </a:moveTo>
                      <a:lnTo>
                        <a:pt x="468" y="405"/>
                      </a:lnTo>
                      <a:lnTo>
                        <a:pt x="467" y="407"/>
                      </a:lnTo>
                      <a:lnTo>
                        <a:pt x="463" y="412"/>
                      </a:lnTo>
                      <a:lnTo>
                        <a:pt x="460" y="414"/>
                      </a:lnTo>
                      <a:lnTo>
                        <a:pt x="458" y="417"/>
                      </a:lnTo>
                      <a:lnTo>
                        <a:pt x="454" y="419"/>
                      </a:lnTo>
                      <a:lnTo>
                        <a:pt x="453" y="422"/>
                      </a:lnTo>
                      <a:lnTo>
                        <a:pt x="454" y="424"/>
                      </a:lnTo>
                      <a:lnTo>
                        <a:pt x="456" y="422"/>
                      </a:lnTo>
                      <a:lnTo>
                        <a:pt x="460" y="421"/>
                      </a:lnTo>
                      <a:lnTo>
                        <a:pt x="470" y="412"/>
                      </a:lnTo>
                      <a:lnTo>
                        <a:pt x="470" y="408"/>
                      </a:lnTo>
                      <a:lnTo>
                        <a:pt x="472" y="408"/>
                      </a:lnTo>
                      <a:lnTo>
                        <a:pt x="470" y="407"/>
                      </a:lnTo>
                      <a:lnTo>
                        <a:pt x="470" y="405"/>
                      </a:lnTo>
                      <a:close/>
                      <a:moveTo>
                        <a:pt x="741" y="475"/>
                      </a:moveTo>
                      <a:lnTo>
                        <a:pt x="742" y="475"/>
                      </a:lnTo>
                      <a:lnTo>
                        <a:pt x="741" y="473"/>
                      </a:lnTo>
                      <a:lnTo>
                        <a:pt x="737" y="471"/>
                      </a:lnTo>
                      <a:lnTo>
                        <a:pt x="735" y="471"/>
                      </a:lnTo>
                      <a:lnTo>
                        <a:pt x="735" y="473"/>
                      </a:lnTo>
                      <a:lnTo>
                        <a:pt x="735" y="475"/>
                      </a:lnTo>
                      <a:lnTo>
                        <a:pt x="739" y="475"/>
                      </a:lnTo>
                      <a:lnTo>
                        <a:pt x="741" y="475"/>
                      </a:lnTo>
                      <a:close/>
                      <a:moveTo>
                        <a:pt x="1043" y="1149"/>
                      </a:moveTo>
                      <a:lnTo>
                        <a:pt x="1045" y="1151"/>
                      </a:lnTo>
                      <a:lnTo>
                        <a:pt x="1048" y="1151"/>
                      </a:lnTo>
                      <a:lnTo>
                        <a:pt x="1048" y="1149"/>
                      </a:lnTo>
                      <a:lnTo>
                        <a:pt x="1043" y="1149"/>
                      </a:lnTo>
                      <a:close/>
                      <a:moveTo>
                        <a:pt x="67" y="181"/>
                      </a:moveTo>
                      <a:lnTo>
                        <a:pt x="68" y="180"/>
                      </a:lnTo>
                      <a:lnTo>
                        <a:pt x="65" y="181"/>
                      </a:lnTo>
                      <a:lnTo>
                        <a:pt x="63" y="183"/>
                      </a:lnTo>
                      <a:lnTo>
                        <a:pt x="61" y="185"/>
                      </a:lnTo>
                      <a:lnTo>
                        <a:pt x="63" y="183"/>
                      </a:lnTo>
                      <a:lnTo>
                        <a:pt x="65" y="181"/>
                      </a:lnTo>
                      <a:lnTo>
                        <a:pt x="67" y="181"/>
                      </a:lnTo>
                      <a:close/>
                      <a:moveTo>
                        <a:pt x="1039" y="1148"/>
                      </a:moveTo>
                      <a:lnTo>
                        <a:pt x="1039" y="1149"/>
                      </a:lnTo>
                      <a:lnTo>
                        <a:pt x="1039" y="1149"/>
                      </a:lnTo>
                      <a:lnTo>
                        <a:pt x="1041" y="1149"/>
                      </a:lnTo>
                      <a:lnTo>
                        <a:pt x="1041" y="1148"/>
                      </a:lnTo>
                      <a:lnTo>
                        <a:pt x="1039" y="1148"/>
                      </a:lnTo>
                      <a:close/>
                      <a:moveTo>
                        <a:pt x="1052" y="1148"/>
                      </a:moveTo>
                      <a:lnTo>
                        <a:pt x="1050" y="1148"/>
                      </a:lnTo>
                      <a:lnTo>
                        <a:pt x="1052" y="1149"/>
                      </a:lnTo>
                      <a:lnTo>
                        <a:pt x="1053" y="1151"/>
                      </a:lnTo>
                      <a:lnTo>
                        <a:pt x="1055" y="1149"/>
                      </a:lnTo>
                      <a:lnTo>
                        <a:pt x="1059" y="1149"/>
                      </a:lnTo>
                      <a:lnTo>
                        <a:pt x="1052" y="1148"/>
                      </a:lnTo>
                      <a:close/>
                      <a:moveTo>
                        <a:pt x="1083" y="1163"/>
                      </a:moveTo>
                      <a:lnTo>
                        <a:pt x="1081" y="1163"/>
                      </a:lnTo>
                      <a:lnTo>
                        <a:pt x="1079" y="1162"/>
                      </a:lnTo>
                      <a:lnTo>
                        <a:pt x="1079" y="1163"/>
                      </a:lnTo>
                      <a:lnTo>
                        <a:pt x="1081" y="1165"/>
                      </a:lnTo>
                      <a:lnTo>
                        <a:pt x="1083" y="1167"/>
                      </a:lnTo>
                      <a:lnTo>
                        <a:pt x="1085" y="1167"/>
                      </a:lnTo>
                      <a:lnTo>
                        <a:pt x="1083" y="1165"/>
                      </a:lnTo>
                      <a:lnTo>
                        <a:pt x="1083" y="1163"/>
                      </a:lnTo>
                      <a:close/>
                      <a:moveTo>
                        <a:pt x="1059" y="1167"/>
                      </a:moveTo>
                      <a:lnTo>
                        <a:pt x="1059" y="1167"/>
                      </a:lnTo>
                      <a:lnTo>
                        <a:pt x="1057" y="1167"/>
                      </a:lnTo>
                      <a:lnTo>
                        <a:pt x="1059" y="1168"/>
                      </a:lnTo>
                      <a:lnTo>
                        <a:pt x="1059" y="1168"/>
                      </a:lnTo>
                      <a:lnTo>
                        <a:pt x="1059" y="1168"/>
                      </a:lnTo>
                      <a:lnTo>
                        <a:pt x="1060" y="1168"/>
                      </a:lnTo>
                      <a:lnTo>
                        <a:pt x="1060" y="1168"/>
                      </a:lnTo>
                      <a:lnTo>
                        <a:pt x="1059" y="1167"/>
                      </a:lnTo>
                      <a:close/>
                      <a:moveTo>
                        <a:pt x="1078" y="1174"/>
                      </a:moveTo>
                      <a:lnTo>
                        <a:pt x="1079" y="1175"/>
                      </a:lnTo>
                      <a:lnTo>
                        <a:pt x="1079" y="1177"/>
                      </a:lnTo>
                      <a:lnTo>
                        <a:pt x="1081" y="1177"/>
                      </a:lnTo>
                      <a:lnTo>
                        <a:pt x="1083" y="1177"/>
                      </a:lnTo>
                      <a:lnTo>
                        <a:pt x="1079" y="1174"/>
                      </a:lnTo>
                      <a:lnTo>
                        <a:pt x="1078" y="1174"/>
                      </a:lnTo>
                      <a:close/>
                      <a:moveTo>
                        <a:pt x="173" y="463"/>
                      </a:moveTo>
                      <a:lnTo>
                        <a:pt x="177" y="459"/>
                      </a:lnTo>
                      <a:lnTo>
                        <a:pt x="178" y="457"/>
                      </a:lnTo>
                      <a:lnTo>
                        <a:pt x="175" y="457"/>
                      </a:lnTo>
                      <a:lnTo>
                        <a:pt x="173" y="459"/>
                      </a:lnTo>
                      <a:lnTo>
                        <a:pt x="171" y="459"/>
                      </a:lnTo>
                      <a:lnTo>
                        <a:pt x="168" y="461"/>
                      </a:lnTo>
                      <a:lnTo>
                        <a:pt x="170" y="464"/>
                      </a:lnTo>
                      <a:lnTo>
                        <a:pt x="173" y="463"/>
                      </a:lnTo>
                      <a:close/>
                      <a:moveTo>
                        <a:pt x="805" y="564"/>
                      </a:moveTo>
                      <a:lnTo>
                        <a:pt x="804" y="562"/>
                      </a:lnTo>
                      <a:lnTo>
                        <a:pt x="802" y="560"/>
                      </a:lnTo>
                      <a:lnTo>
                        <a:pt x="800" y="560"/>
                      </a:lnTo>
                      <a:lnTo>
                        <a:pt x="800" y="562"/>
                      </a:lnTo>
                      <a:lnTo>
                        <a:pt x="800" y="564"/>
                      </a:lnTo>
                      <a:lnTo>
                        <a:pt x="800" y="566"/>
                      </a:lnTo>
                      <a:lnTo>
                        <a:pt x="800" y="567"/>
                      </a:lnTo>
                      <a:lnTo>
                        <a:pt x="802" y="567"/>
                      </a:lnTo>
                      <a:lnTo>
                        <a:pt x="805" y="569"/>
                      </a:lnTo>
                      <a:lnTo>
                        <a:pt x="807" y="571"/>
                      </a:lnTo>
                      <a:lnTo>
                        <a:pt x="807" y="569"/>
                      </a:lnTo>
                      <a:lnTo>
                        <a:pt x="807" y="567"/>
                      </a:lnTo>
                      <a:lnTo>
                        <a:pt x="805" y="564"/>
                      </a:lnTo>
                      <a:close/>
                      <a:moveTo>
                        <a:pt x="791" y="562"/>
                      </a:moveTo>
                      <a:lnTo>
                        <a:pt x="790" y="562"/>
                      </a:lnTo>
                      <a:lnTo>
                        <a:pt x="788" y="562"/>
                      </a:lnTo>
                      <a:lnTo>
                        <a:pt x="788" y="559"/>
                      </a:lnTo>
                      <a:lnTo>
                        <a:pt x="786" y="557"/>
                      </a:lnTo>
                      <a:lnTo>
                        <a:pt x="781" y="555"/>
                      </a:lnTo>
                      <a:lnTo>
                        <a:pt x="777" y="555"/>
                      </a:lnTo>
                      <a:lnTo>
                        <a:pt x="781" y="552"/>
                      </a:lnTo>
                      <a:lnTo>
                        <a:pt x="783" y="552"/>
                      </a:lnTo>
                      <a:lnTo>
                        <a:pt x="784" y="553"/>
                      </a:lnTo>
                      <a:lnTo>
                        <a:pt x="788" y="555"/>
                      </a:lnTo>
                      <a:lnTo>
                        <a:pt x="786" y="552"/>
                      </a:lnTo>
                      <a:lnTo>
                        <a:pt x="781" y="546"/>
                      </a:lnTo>
                      <a:lnTo>
                        <a:pt x="779" y="543"/>
                      </a:lnTo>
                      <a:lnTo>
                        <a:pt x="777" y="541"/>
                      </a:lnTo>
                      <a:lnTo>
                        <a:pt x="772" y="539"/>
                      </a:lnTo>
                      <a:lnTo>
                        <a:pt x="770" y="538"/>
                      </a:lnTo>
                      <a:lnTo>
                        <a:pt x="769" y="538"/>
                      </a:lnTo>
                      <a:lnTo>
                        <a:pt x="769" y="538"/>
                      </a:lnTo>
                      <a:lnTo>
                        <a:pt x="769" y="536"/>
                      </a:lnTo>
                      <a:lnTo>
                        <a:pt x="769" y="536"/>
                      </a:lnTo>
                      <a:lnTo>
                        <a:pt x="769" y="534"/>
                      </a:lnTo>
                      <a:lnTo>
                        <a:pt x="767" y="532"/>
                      </a:lnTo>
                      <a:lnTo>
                        <a:pt x="767" y="532"/>
                      </a:lnTo>
                      <a:lnTo>
                        <a:pt x="765" y="532"/>
                      </a:lnTo>
                      <a:lnTo>
                        <a:pt x="763" y="531"/>
                      </a:lnTo>
                      <a:lnTo>
                        <a:pt x="760" y="531"/>
                      </a:lnTo>
                      <a:lnTo>
                        <a:pt x="758" y="531"/>
                      </a:lnTo>
                      <a:lnTo>
                        <a:pt x="758" y="532"/>
                      </a:lnTo>
                      <a:lnTo>
                        <a:pt x="758" y="534"/>
                      </a:lnTo>
                      <a:lnTo>
                        <a:pt x="758" y="534"/>
                      </a:lnTo>
                      <a:lnTo>
                        <a:pt x="758" y="536"/>
                      </a:lnTo>
                      <a:lnTo>
                        <a:pt x="758" y="538"/>
                      </a:lnTo>
                      <a:lnTo>
                        <a:pt x="756" y="538"/>
                      </a:lnTo>
                      <a:lnTo>
                        <a:pt x="756" y="539"/>
                      </a:lnTo>
                      <a:lnTo>
                        <a:pt x="755" y="541"/>
                      </a:lnTo>
                      <a:lnTo>
                        <a:pt x="756" y="541"/>
                      </a:lnTo>
                      <a:lnTo>
                        <a:pt x="762" y="539"/>
                      </a:lnTo>
                      <a:lnTo>
                        <a:pt x="765" y="541"/>
                      </a:lnTo>
                      <a:lnTo>
                        <a:pt x="765" y="543"/>
                      </a:lnTo>
                      <a:lnTo>
                        <a:pt x="763" y="545"/>
                      </a:lnTo>
                      <a:lnTo>
                        <a:pt x="760" y="545"/>
                      </a:lnTo>
                      <a:lnTo>
                        <a:pt x="756" y="546"/>
                      </a:lnTo>
                      <a:lnTo>
                        <a:pt x="756" y="546"/>
                      </a:lnTo>
                      <a:lnTo>
                        <a:pt x="763" y="550"/>
                      </a:lnTo>
                      <a:lnTo>
                        <a:pt x="770" y="552"/>
                      </a:lnTo>
                      <a:lnTo>
                        <a:pt x="769" y="553"/>
                      </a:lnTo>
                      <a:lnTo>
                        <a:pt x="769" y="553"/>
                      </a:lnTo>
                      <a:lnTo>
                        <a:pt x="770" y="555"/>
                      </a:lnTo>
                      <a:lnTo>
                        <a:pt x="770" y="555"/>
                      </a:lnTo>
                      <a:lnTo>
                        <a:pt x="770" y="555"/>
                      </a:lnTo>
                      <a:lnTo>
                        <a:pt x="770" y="557"/>
                      </a:lnTo>
                      <a:lnTo>
                        <a:pt x="770" y="557"/>
                      </a:lnTo>
                      <a:lnTo>
                        <a:pt x="770" y="557"/>
                      </a:lnTo>
                      <a:lnTo>
                        <a:pt x="769" y="557"/>
                      </a:lnTo>
                      <a:lnTo>
                        <a:pt x="769" y="557"/>
                      </a:lnTo>
                      <a:lnTo>
                        <a:pt x="769" y="559"/>
                      </a:lnTo>
                      <a:lnTo>
                        <a:pt x="769" y="559"/>
                      </a:lnTo>
                      <a:lnTo>
                        <a:pt x="769" y="559"/>
                      </a:lnTo>
                      <a:lnTo>
                        <a:pt x="770" y="560"/>
                      </a:lnTo>
                      <a:lnTo>
                        <a:pt x="774" y="564"/>
                      </a:lnTo>
                      <a:lnTo>
                        <a:pt x="776" y="566"/>
                      </a:lnTo>
                      <a:lnTo>
                        <a:pt x="777" y="566"/>
                      </a:lnTo>
                      <a:lnTo>
                        <a:pt x="777" y="564"/>
                      </a:lnTo>
                      <a:lnTo>
                        <a:pt x="777" y="564"/>
                      </a:lnTo>
                      <a:lnTo>
                        <a:pt x="779" y="566"/>
                      </a:lnTo>
                      <a:lnTo>
                        <a:pt x="779" y="567"/>
                      </a:lnTo>
                      <a:lnTo>
                        <a:pt x="781" y="569"/>
                      </a:lnTo>
                      <a:lnTo>
                        <a:pt x="781" y="569"/>
                      </a:lnTo>
                      <a:lnTo>
                        <a:pt x="783" y="569"/>
                      </a:lnTo>
                      <a:lnTo>
                        <a:pt x="784" y="571"/>
                      </a:lnTo>
                      <a:lnTo>
                        <a:pt x="784" y="571"/>
                      </a:lnTo>
                      <a:lnTo>
                        <a:pt x="786" y="574"/>
                      </a:lnTo>
                      <a:lnTo>
                        <a:pt x="788" y="574"/>
                      </a:lnTo>
                      <a:lnTo>
                        <a:pt x="790" y="576"/>
                      </a:lnTo>
                      <a:lnTo>
                        <a:pt x="790" y="576"/>
                      </a:lnTo>
                      <a:lnTo>
                        <a:pt x="791" y="574"/>
                      </a:lnTo>
                      <a:lnTo>
                        <a:pt x="791" y="573"/>
                      </a:lnTo>
                      <a:lnTo>
                        <a:pt x="791" y="571"/>
                      </a:lnTo>
                      <a:lnTo>
                        <a:pt x="791" y="562"/>
                      </a:lnTo>
                      <a:lnTo>
                        <a:pt x="791" y="562"/>
                      </a:lnTo>
                      <a:close/>
                      <a:moveTo>
                        <a:pt x="763" y="555"/>
                      </a:moveTo>
                      <a:lnTo>
                        <a:pt x="763" y="553"/>
                      </a:lnTo>
                      <a:lnTo>
                        <a:pt x="763" y="553"/>
                      </a:lnTo>
                      <a:lnTo>
                        <a:pt x="760" y="553"/>
                      </a:lnTo>
                      <a:lnTo>
                        <a:pt x="756" y="553"/>
                      </a:lnTo>
                      <a:lnTo>
                        <a:pt x="755" y="553"/>
                      </a:lnTo>
                      <a:lnTo>
                        <a:pt x="756" y="555"/>
                      </a:lnTo>
                      <a:lnTo>
                        <a:pt x="756" y="557"/>
                      </a:lnTo>
                      <a:lnTo>
                        <a:pt x="756" y="559"/>
                      </a:lnTo>
                      <a:lnTo>
                        <a:pt x="756" y="560"/>
                      </a:lnTo>
                      <a:lnTo>
                        <a:pt x="763" y="555"/>
                      </a:lnTo>
                      <a:close/>
                      <a:moveTo>
                        <a:pt x="777" y="571"/>
                      </a:moveTo>
                      <a:lnTo>
                        <a:pt x="777" y="571"/>
                      </a:lnTo>
                      <a:lnTo>
                        <a:pt x="776" y="571"/>
                      </a:lnTo>
                      <a:lnTo>
                        <a:pt x="774" y="571"/>
                      </a:lnTo>
                      <a:lnTo>
                        <a:pt x="774" y="569"/>
                      </a:lnTo>
                      <a:lnTo>
                        <a:pt x="772" y="569"/>
                      </a:lnTo>
                      <a:lnTo>
                        <a:pt x="770" y="567"/>
                      </a:lnTo>
                      <a:lnTo>
                        <a:pt x="769" y="564"/>
                      </a:lnTo>
                      <a:lnTo>
                        <a:pt x="767" y="560"/>
                      </a:lnTo>
                      <a:lnTo>
                        <a:pt x="763" y="559"/>
                      </a:lnTo>
                      <a:lnTo>
                        <a:pt x="760" y="560"/>
                      </a:lnTo>
                      <a:lnTo>
                        <a:pt x="762" y="562"/>
                      </a:lnTo>
                      <a:lnTo>
                        <a:pt x="762" y="562"/>
                      </a:lnTo>
                      <a:lnTo>
                        <a:pt x="762" y="562"/>
                      </a:lnTo>
                      <a:lnTo>
                        <a:pt x="763" y="562"/>
                      </a:lnTo>
                      <a:lnTo>
                        <a:pt x="765" y="564"/>
                      </a:lnTo>
                      <a:lnTo>
                        <a:pt x="765" y="566"/>
                      </a:lnTo>
                      <a:lnTo>
                        <a:pt x="767" y="567"/>
                      </a:lnTo>
                      <a:lnTo>
                        <a:pt x="769" y="569"/>
                      </a:lnTo>
                      <a:lnTo>
                        <a:pt x="770" y="573"/>
                      </a:lnTo>
                      <a:lnTo>
                        <a:pt x="772" y="574"/>
                      </a:lnTo>
                      <a:lnTo>
                        <a:pt x="774" y="576"/>
                      </a:lnTo>
                      <a:lnTo>
                        <a:pt x="776" y="576"/>
                      </a:lnTo>
                      <a:lnTo>
                        <a:pt x="777" y="576"/>
                      </a:lnTo>
                      <a:lnTo>
                        <a:pt x="777" y="574"/>
                      </a:lnTo>
                      <a:lnTo>
                        <a:pt x="779" y="573"/>
                      </a:lnTo>
                      <a:lnTo>
                        <a:pt x="779" y="571"/>
                      </a:lnTo>
                      <a:lnTo>
                        <a:pt x="777" y="571"/>
                      </a:lnTo>
                      <a:close/>
                      <a:moveTo>
                        <a:pt x="447" y="387"/>
                      </a:moveTo>
                      <a:lnTo>
                        <a:pt x="447" y="389"/>
                      </a:lnTo>
                      <a:lnTo>
                        <a:pt x="451" y="389"/>
                      </a:lnTo>
                      <a:lnTo>
                        <a:pt x="449" y="386"/>
                      </a:lnTo>
                      <a:lnTo>
                        <a:pt x="447" y="387"/>
                      </a:lnTo>
                      <a:close/>
                      <a:moveTo>
                        <a:pt x="814" y="550"/>
                      </a:moveTo>
                      <a:lnTo>
                        <a:pt x="811" y="545"/>
                      </a:lnTo>
                      <a:lnTo>
                        <a:pt x="807" y="541"/>
                      </a:lnTo>
                      <a:lnTo>
                        <a:pt x="802" y="543"/>
                      </a:lnTo>
                      <a:lnTo>
                        <a:pt x="800" y="545"/>
                      </a:lnTo>
                      <a:lnTo>
                        <a:pt x="798" y="552"/>
                      </a:lnTo>
                      <a:lnTo>
                        <a:pt x="795" y="557"/>
                      </a:lnTo>
                      <a:lnTo>
                        <a:pt x="795" y="560"/>
                      </a:lnTo>
                      <a:lnTo>
                        <a:pt x="797" y="564"/>
                      </a:lnTo>
                      <a:lnTo>
                        <a:pt x="798" y="560"/>
                      </a:lnTo>
                      <a:lnTo>
                        <a:pt x="802" y="559"/>
                      </a:lnTo>
                      <a:lnTo>
                        <a:pt x="804" y="557"/>
                      </a:lnTo>
                      <a:lnTo>
                        <a:pt x="804" y="559"/>
                      </a:lnTo>
                      <a:lnTo>
                        <a:pt x="805" y="560"/>
                      </a:lnTo>
                      <a:lnTo>
                        <a:pt x="809" y="562"/>
                      </a:lnTo>
                      <a:lnTo>
                        <a:pt x="811" y="560"/>
                      </a:lnTo>
                      <a:lnTo>
                        <a:pt x="812" y="555"/>
                      </a:lnTo>
                      <a:lnTo>
                        <a:pt x="814" y="550"/>
                      </a:lnTo>
                      <a:close/>
                      <a:moveTo>
                        <a:pt x="828" y="538"/>
                      </a:moveTo>
                      <a:lnTo>
                        <a:pt x="825" y="536"/>
                      </a:lnTo>
                      <a:lnTo>
                        <a:pt x="825" y="536"/>
                      </a:lnTo>
                      <a:lnTo>
                        <a:pt x="825" y="534"/>
                      </a:lnTo>
                      <a:lnTo>
                        <a:pt x="823" y="534"/>
                      </a:lnTo>
                      <a:lnTo>
                        <a:pt x="798" y="524"/>
                      </a:lnTo>
                      <a:lnTo>
                        <a:pt x="798" y="524"/>
                      </a:lnTo>
                      <a:lnTo>
                        <a:pt x="797" y="526"/>
                      </a:lnTo>
                      <a:lnTo>
                        <a:pt x="795" y="524"/>
                      </a:lnTo>
                      <a:lnTo>
                        <a:pt x="795" y="524"/>
                      </a:lnTo>
                      <a:lnTo>
                        <a:pt x="795" y="522"/>
                      </a:lnTo>
                      <a:lnTo>
                        <a:pt x="795" y="520"/>
                      </a:lnTo>
                      <a:lnTo>
                        <a:pt x="793" y="520"/>
                      </a:lnTo>
                      <a:lnTo>
                        <a:pt x="793" y="519"/>
                      </a:lnTo>
                      <a:lnTo>
                        <a:pt x="791" y="519"/>
                      </a:lnTo>
                      <a:lnTo>
                        <a:pt x="790" y="517"/>
                      </a:lnTo>
                      <a:lnTo>
                        <a:pt x="790" y="517"/>
                      </a:lnTo>
                      <a:lnTo>
                        <a:pt x="791" y="513"/>
                      </a:lnTo>
                      <a:lnTo>
                        <a:pt x="791" y="513"/>
                      </a:lnTo>
                      <a:lnTo>
                        <a:pt x="784" y="512"/>
                      </a:lnTo>
                      <a:lnTo>
                        <a:pt x="786" y="508"/>
                      </a:lnTo>
                      <a:lnTo>
                        <a:pt x="784" y="505"/>
                      </a:lnTo>
                      <a:lnTo>
                        <a:pt x="779" y="496"/>
                      </a:lnTo>
                      <a:lnTo>
                        <a:pt x="758" y="466"/>
                      </a:lnTo>
                      <a:lnTo>
                        <a:pt x="755" y="463"/>
                      </a:lnTo>
                      <a:lnTo>
                        <a:pt x="744" y="456"/>
                      </a:lnTo>
                      <a:lnTo>
                        <a:pt x="742" y="452"/>
                      </a:lnTo>
                      <a:lnTo>
                        <a:pt x="739" y="447"/>
                      </a:lnTo>
                      <a:lnTo>
                        <a:pt x="735" y="445"/>
                      </a:lnTo>
                      <a:lnTo>
                        <a:pt x="730" y="442"/>
                      </a:lnTo>
                      <a:lnTo>
                        <a:pt x="728" y="438"/>
                      </a:lnTo>
                      <a:lnTo>
                        <a:pt x="727" y="435"/>
                      </a:lnTo>
                      <a:lnTo>
                        <a:pt x="725" y="433"/>
                      </a:lnTo>
                      <a:lnTo>
                        <a:pt x="725" y="431"/>
                      </a:lnTo>
                      <a:lnTo>
                        <a:pt x="725" y="431"/>
                      </a:lnTo>
                      <a:lnTo>
                        <a:pt x="723" y="429"/>
                      </a:lnTo>
                      <a:lnTo>
                        <a:pt x="720" y="426"/>
                      </a:lnTo>
                      <a:lnTo>
                        <a:pt x="718" y="424"/>
                      </a:lnTo>
                      <a:lnTo>
                        <a:pt x="718" y="424"/>
                      </a:lnTo>
                      <a:lnTo>
                        <a:pt x="714" y="424"/>
                      </a:lnTo>
                      <a:lnTo>
                        <a:pt x="708" y="428"/>
                      </a:lnTo>
                      <a:lnTo>
                        <a:pt x="699" y="431"/>
                      </a:lnTo>
                      <a:lnTo>
                        <a:pt x="701" y="433"/>
                      </a:lnTo>
                      <a:lnTo>
                        <a:pt x="701" y="435"/>
                      </a:lnTo>
                      <a:lnTo>
                        <a:pt x="699" y="435"/>
                      </a:lnTo>
                      <a:lnTo>
                        <a:pt x="695" y="435"/>
                      </a:lnTo>
                      <a:lnTo>
                        <a:pt x="697" y="440"/>
                      </a:lnTo>
                      <a:lnTo>
                        <a:pt x="695" y="442"/>
                      </a:lnTo>
                      <a:lnTo>
                        <a:pt x="695" y="443"/>
                      </a:lnTo>
                      <a:lnTo>
                        <a:pt x="694" y="445"/>
                      </a:lnTo>
                      <a:lnTo>
                        <a:pt x="692" y="445"/>
                      </a:lnTo>
                      <a:lnTo>
                        <a:pt x="690" y="445"/>
                      </a:lnTo>
                      <a:lnTo>
                        <a:pt x="687" y="445"/>
                      </a:lnTo>
                      <a:lnTo>
                        <a:pt x="685" y="447"/>
                      </a:lnTo>
                      <a:lnTo>
                        <a:pt x="680" y="450"/>
                      </a:lnTo>
                      <a:lnTo>
                        <a:pt x="676" y="452"/>
                      </a:lnTo>
                      <a:lnTo>
                        <a:pt x="674" y="452"/>
                      </a:lnTo>
                      <a:lnTo>
                        <a:pt x="673" y="445"/>
                      </a:lnTo>
                      <a:lnTo>
                        <a:pt x="667" y="438"/>
                      </a:lnTo>
                      <a:lnTo>
                        <a:pt x="655" y="428"/>
                      </a:lnTo>
                      <a:lnTo>
                        <a:pt x="653" y="428"/>
                      </a:lnTo>
                      <a:lnTo>
                        <a:pt x="650" y="422"/>
                      </a:lnTo>
                      <a:lnTo>
                        <a:pt x="648" y="421"/>
                      </a:lnTo>
                      <a:lnTo>
                        <a:pt x="646" y="421"/>
                      </a:lnTo>
                      <a:lnTo>
                        <a:pt x="643" y="419"/>
                      </a:lnTo>
                      <a:lnTo>
                        <a:pt x="639" y="415"/>
                      </a:lnTo>
                      <a:lnTo>
                        <a:pt x="639" y="414"/>
                      </a:lnTo>
                      <a:lnTo>
                        <a:pt x="639" y="410"/>
                      </a:lnTo>
                      <a:lnTo>
                        <a:pt x="639" y="405"/>
                      </a:lnTo>
                      <a:lnTo>
                        <a:pt x="632" y="405"/>
                      </a:lnTo>
                      <a:lnTo>
                        <a:pt x="629" y="407"/>
                      </a:lnTo>
                      <a:lnTo>
                        <a:pt x="627" y="407"/>
                      </a:lnTo>
                      <a:lnTo>
                        <a:pt x="624" y="410"/>
                      </a:lnTo>
                      <a:lnTo>
                        <a:pt x="622" y="410"/>
                      </a:lnTo>
                      <a:lnTo>
                        <a:pt x="618" y="410"/>
                      </a:lnTo>
                      <a:lnTo>
                        <a:pt x="613" y="408"/>
                      </a:lnTo>
                      <a:lnTo>
                        <a:pt x="611" y="407"/>
                      </a:lnTo>
                      <a:lnTo>
                        <a:pt x="611" y="408"/>
                      </a:lnTo>
                      <a:lnTo>
                        <a:pt x="610" y="408"/>
                      </a:lnTo>
                      <a:lnTo>
                        <a:pt x="610" y="410"/>
                      </a:lnTo>
                      <a:lnTo>
                        <a:pt x="610" y="410"/>
                      </a:lnTo>
                      <a:lnTo>
                        <a:pt x="599" y="407"/>
                      </a:lnTo>
                      <a:lnTo>
                        <a:pt x="599" y="64"/>
                      </a:lnTo>
                      <a:lnTo>
                        <a:pt x="597" y="64"/>
                      </a:lnTo>
                      <a:lnTo>
                        <a:pt x="592" y="66"/>
                      </a:lnTo>
                      <a:lnTo>
                        <a:pt x="591" y="64"/>
                      </a:lnTo>
                      <a:lnTo>
                        <a:pt x="587" y="64"/>
                      </a:lnTo>
                      <a:lnTo>
                        <a:pt x="571" y="57"/>
                      </a:lnTo>
                      <a:lnTo>
                        <a:pt x="561" y="50"/>
                      </a:lnTo>
                      <a:lnTo>
                        <a:pt x="554" y="48"/>
                      </a:lnTo>
                      <a:lnTo>
                        <a:pt x="549" y="48"/>
                      </a:lnTo>
                      <a:lnTo>
                        <a:pt x="543" y="48"/>
                      </a:lnTo>
                      <a:lnTo>
                        <a:pt x="533" y="50"/>
                      </a:lnTo>
                      <a:lnTo>
                        <a:pt x="521" y="54"/>
                      </a:lnTo>
                      <a:lnTo>
                        <a:pt x="519" y="54"/>
                      </a:lnTo>
                      <a:lnTo>
                        <a:pt x="515" y="54"/>
                      </a:lnTo>
                      <a:lnTo>
                        <a:pt x="507" y="50"/>
                      </a:lnTo>
                      <a:lnTo>
                        <a:pt x="498" y="47"/>
                      </a:lnTo>
                      <a:lnTo>
                        <a:pt x="494" y="47"/>
                      </a:lnTo>
                      <a:lnTo>
                        <a:pt x="479" y="45"/>
                      </a:lnTo>
                      <a:lnTo>
                        <a:pt x="467" y="45"/>
                      </a:lnTo>
                      <a:lnTo>
                        <a:pt x="460" y="43"/>
                      </a:lnTo>
                      <a:lnTo>
                        <a:pt x="456" y="43"/>
                      </a:lnTo>
                      <a:lnTo>
                        <a:pt x="454" y="43"/>
                      </a:lnTo>
                      <a:lnTo>
                        <a:pt x="451" y="40"/>
                      </a:lnTo>
                      <a:lnTo>
                        <a:pt x="447" y="38"/>
                      </a:lnTo>
                      <a:lnTo>
                        <a:pt x="446" y="38"/>
                      </a:lnTo>
                      <a:lnTo>
                        <a:pt x="442" y="40"/>
                      </a:lnTo>
                      <a:lnTo>
                        <a:pt x="440" y="40"/>
                      </a:lnTo>
                      <a:lnTo>
                        <a:pt x="439" y="40"/>
                      </a:lnTo>
                      <a:lnTo>
                        <a:pt x="433" y="36"/>
                      </a:lnTo>
                      <a:lnTo>
                        <a:pt x="432" y="35"/>
                      </a:lnTo>
                      <a:lnTo>
                        <a:pt x="425" y="33"/>
                      </a:lnTo>
                      <a:lnTo>
                        <a:pt x="419" y="33"/>
                      </a:lnTo>
                      <a:lnTo>
                        <a:pt x="416" y="33"/>
                      </a:lnTo>
                      <a:lnTo>
                        <a:pt x="412" y="33"/>
                      </a:lnTo>
                      <a:lnTo>
                        <a:pt x="409" y="33"/>
                      </a:lnTo>
                      <a:lnTo>
                        <a:pt x="405" y="35"/>
                      </a:lnTo>
                      <a:lnTo>
                        <a:pt x="402" y="35"/>
                      </a:lnTo>
                      <a:lnTo>
                        <a:pt x="398" y="35"/>
                      </a:lnTo>
                      <a:lnTo>
                        <a:pt x="397" y="33"/>
                      </a:lnTo>
                      <a:lnTo>
                        <a:pt x="393" y="33"/>
                      </a:lnTo>
                      <a:lnTo>
                        <a:pt x="390" y="33"/>
                      </a:lnTo>
                      <a:lnTo>
                        <a:pt x="384" y="35"/>
                      </a:lnTo>
                      <a:lnTo>
                        <a:pt x="381" y="36"/>
                      </a:lnTo>
                      <a:lnTo>
                        <a:pt x="377" y="36"/>
                      </a:lnTo>
                      <a:lnTo>
                        <a:pt x="365" y="35"/>
                      </a:lnTo>
                      <a:lnTo>
                        <a:pt x="367" y="33"/>
                      </a:lnTo>
                      <a:lnTo>
                        <a:pt x="367" y="33"/>
                      </a:lnTo>
                      <a:lnTo>
                        <a:pt x="369" y="31"/>
                      </a:lnTo>
                      <a:lnTo>
                        <a:pt x="369" y="29"/>
                      </a:lnTo>
                      <a:lnTo>
                        <a:pt x="363" y="29"/>
                      </a:lnTo>
                      <a:lnTo>
                        <a:pt x="357" y="28"/>
                      </a:lnTo>
                      <a:lnTo>
                        <a:pt x="355" y="26"/>
                      </a:lnTo>
                      <a:lnTo>
                        <a:pt x="358" y="21"/>
                      </a:lnTo>
                      <a:lnTo>
                        <a:pt x="357" y="19"/>
                      </a:lnTo>
                      <a:lnTo>
                        <a:pt x="353" y="19"/>
                      </a:lnTo>
                      <a:lnTo>
                        <a:pt x="346" y="19"/>
                      </a:lnTo>
                      <a:lnTo>
                        <a:pt x="344" y="17"/>
                      </a:lnTo>
                      <a:lnTo>
                        <a:pt x="341" y="17"/>
                      </a:lnTo>
                      <a:lnTo>
                        <a:pt x="337" y="15"/>
                      </a:lnTo>
                      <a:lnTo>
                        <a:pt x="337" y="17"/>
                      </a:lnTo>
                      <a:lnTo>
                        <a:pt x="334" y="17"/>
                      </a:lnTo>
                      <a:lnTo>
                        <a:pt x="318" y="21"/>
                      </a:lnTo>
                      <a:lnTo>
                        <a:pt x="311" y="21"/>
                      </a:lnTo>
                      <a:lnTo>
                        <a:pt x="304" y="17"/>
                      </a:lnTo>
                      <a:lnTo>
                        <a:pt x="306" y="15"/>
                      </a:lnTo>
                      <a:lnTo>
                        <a:pt x="306" y="14"/>
                      </a:lnTo>
                      <a:lnTo>
                        <a:pt x="304" y="12"/>
                      </a:lnTo>
                      <a:lnTo>
                        <a:pt x="302" y="10"/>
                      </a:lnTo>
                      <a:lnTo>
                        <a:pt x="299" y="10"/>
                      </a:lnTo>
                      <a:lnTo>
                        <a:pt x="297" y="10"/>
                      </a:lnTo>
                      <a:lnTo>
                        <a:pt x="295" y="12"/>
                      </a:lnTo>
                      <a:lnTo>
                        <a:pt x="287" y="17"/>
                      </a:lnTo>
                      <a:lnTo>
                        <a:pt x="285" y="19"/>
                      </a:lnTo>
                      <a:lnTo>
                        <a:pt x="281" y="19"/>
                      </a:lnTo>
                      <a:lnTo>
                        <a:pt x="280" y="19"/>
                      </a:lnTo>
                      <a:lnTo>
                        <a:pt x="278" y="17"/>
                      </a:lnTo>
                      <a:lnTo>
                        <a:pt x="276" y="15"/>
                      </a:lnTo>
                      <a:lnTo>
                        <a:pt x="280" y="15"/>
                      </a:lnTo>
                      <a:lnTo>
                        <a:pt x="285" y="12"/>
                      </a:lnTo>
                      <a:lnTo>
                        <a:pt x="287" y="10"/>
                      </a:lnTo>
                      <a:lnTo>
                        <a:pt x="285" y="7"/>
                      </a:lnTo>
                      <a:lnTo>
                        <a:pt x="280" y="5"/>
                      </a:lnTo>
                      <a:lnTo>
                        <a:pt x="274" y="5"/>
                      </a:lnTo>
                      <a:lnTo>
                        <a:pt x="271" y="3"/>
                      </a:lnTo>
                      <a:lnTo>
                        <a:pt x="266" y="1"/>
                      </a:lnTo>
                      <a:lnTo>
                        <a:pt x="267" y="0"/>
                      </a:lnTo>
                      <a:lnTo>
                        <a:pt x="269" y="0"/>
                      </a:lnTo>
                      <a:lnTo>
                        <a:pt x="269" y="0"/>
                      </a:lnTo>
                      <a:lnTo>
                        <a:pt x="264" y="0"/>
                      </a:lnTo>
                      <a:lnTo>
                        <a:pt x="259" y="3"/>
                      </a:lnTo>
                      <a:lnTo>
                        <a:pt x="250" y="12"/>
                      </a:lnTo>
                      <a:lnTo>
                        <a:pt x="245" y="15"/>
                      </a:lnTo>
                      <a:lnTo>
                        <a:pt x="241" y="17"/>
                      </a:lnTo>
                      <a:lnTo>
                        <a:pt x="238" y="19"/>
                      </a:lnTo>
                      <a:lnTo>
                        <a:pt x="234" y="19"/>
                      </a:lnTo>
                      <a:lnTo>
                        <a:pt x="229" y="19"/>
                      </a:lnTo>
                      <a:lnTo>
                        <a:pt x="213" y="22"/>
                      </a:lnTo>
                      <a:lnTo>
                        <a:pt x="212" y="22"/>
                      </a:lnTo>
                      <a:lnTo>
                        <a:pt x="210" y="22"/>
                      </a:lnTo>
                      <a:lnTo>
                        <a:pt x="208" y="22"/>
                      </a:lnTo>
                      <a:lnTo>
                        <a:pt x="208" y="22"/>
                      </a:lnTo>
                      <a:lnTo>
                        <a:pt x="208" y="21"/>
                      </a:lnTo>
                      <a:lnTo>
                        <a:pt x="210" y="21"/>
                      </a:lnTo>
                      <a:lnTo>
                        <a:pt x="210" y="21"/>
                      </a:lnTo>
                      <a:lnTo>
                        <a:pt x="208" y="19"/>
                      </a:lnTo>
                      <a:lnTo>
                        <a:pt x="208" y="19"/>
                      </a:lnTo>
                      <a:lnTo>
                        <a:pt x="206" y="19"/>
                      </a:lnTo>
                      <a:lnTo>
                        <a:pt x="199" y="22"/>
                      </a:lnTo>
                      <a:lnTo>
                        <a:pt x="191" y="28"/>
                      </a:lnTo>
                      <a:lnTo>
                        <a:pt x="194" y="28"/>
                      </a:lnTo>
                      <a:lnTo>
                        <a:pt x="194" y="29"/>
                      </a:lnTo>
                      <a:lnTo>
                        <a:pt x="196" y="29"/>
                      </a:lnTo>
                      <a:lnTo>
                        <a:pt x="198" y="31"/>
                      </a:lnTo>
                      <a:lnTo>
                        <a:pt x="199" y="31"/>
                      </a:lnTo>
                      <a:lnTo>
                        <a:pt x="206" y="31"/>
                      </a:lnTo>
                      <a:lnTo>
                        <a:pt x="198" y="33"/>
                      </a:lnTo>
                      <a:lnTo>
                        <a:pt x="196" y="35"/>
                      </a:lnTo>
                      <a:lnTo>
                        <a:pt x="196" y="36"/>
                      </a:lnTo>
                      <a:lnTo>
                        <a:pt x="196" y="42"/>
                      </a:lnTo>
                      <a:lnTo>
                        <a:pt x="196" y="40"/>
                      </a:lnTo>
                      <a:lnTo>
                        <a:pt x="194" y="40"/>
                      </a:lnTo>
                      <a:lnTo>
                        <a:pt x="192" y="38"/>
                      </a:lnTo>
                      <a:lnTo>
                        <a:pt x="191" y="40"/>
                      </a:lnTo>
                      <a:lnTo>
                        <a:pt x="192" y="36"/>
                      </a:lnTo>
                      <a:lnTo>
                        <a:pt x="192" y="35"/>
                      </a:lnTo>
                      <a:lnTo>
                        <a:pt x="191" y="33"/>
                      </a:lnTo>
                      <a:lnTo>
                        <a:pt x="191" y="33"/>
                      </a:lnTo>
                      <a:lnTo>
                        <a:pt x="192" y="31"/>
                      </a:lnTo>
                      <a:lnTo>
                        <a:pt x="194" y="29"/>
                      </a:lnTo>
                      <a:lnTo>
                        <a:pt x="189" y="29"/>
                      </a:lnTo>
                      <a:lnTo>
                        <a:pt x="184" y="33"/>
                      </a:lnTo>
                      <a:lnTo>
                        <a:pt x="177" y="36"/>
                      </a:lnTo>
                      <a:lnTo>
                        <a:pt x="173" y="40"/>
                      </a:lnTo>
                      <a:lnTo>
                        <a:pt x="170" y="40"/>
                      </a:lnTo>
                      <a:lnTo>
                        <a:pt x="159" y="43"/>
                      </a:lnTo>
                      <a:lnTo>
                        <a:pt x="152" y="45"/>
                      </a:lnTo>
                      <a:lnTo>
                        <a:pt x="149" y="45"/>
                      </a:lnTo>
                      <a:lnTo>
                        <a:pt x="156" y="42"/>
                      </a:lnTo>
                      <a:lnTo>
                        <a:pt x="154" y="40"/>
                      </a:lnTo>
                      <a:lnTo>
                        <a:pt x="152" y="40"/>
                      </a:lnTo>
                      <a:lnTo>
                        <a:pt x="131" y="61"/>
                      </a:lnTo>
                      <a:lnTo>
                        <a:pt x="128" y="64"/>
                      </a:lnTo>
                      <a:lnTo>
                        <a:pt x="126" y="68"/>
                      </a:lnTo>
                      <a:lnTo>
                        <a:pt x="126" y="71"/>
                      </a:lnTo>
                      <a:lnTo>
                        <a:pt x="124" y="73"/>
                      </a:lnTo>
                      <a:lnTo>
                        <a:pt x="123" y="75"/>
                      </a:lnTo>
                      <a:lnTo>
                        <a:pt x="119" y="76"/>
                      </a:lnTo>
                      <a:lnTo>
                        <a:pt x="105" y="83"/>
                      </a:lnTo>
                      <a:lnTo>
                        <a:pt x="91" y="87"/>
                      </a:lnTo>
                      <a:lnTo>
                        <a:pt x="60" y="87"/>
                      </a:lnTo>
                      <a:lnTo>
                        <a:pt x="60" y="92"/>
                      </a:lnTo>
                      <a:lnTo>
                        <a:pt x="58" y="97"/>
                      </a:lnTo>
                      <a:lnTo>
                        <a:pt x="56" y="103"/>
                      </a:lnTo>
                      <a:lnTo>
                        <a:pt x="51" y="103"/>
                      </a:lnTo>
                      <a:lnTo>
                        <a:pt x="53" y="101"/>
                      </a:lnTo>
                      <a:lnTo>
                        <a:pt x="51" y="101"/>
                      </a:lnTo>
                      <a:lnTo>
                        <a:pt x="51" y="103"/>
                      </a:lnTo>
                      <a:lnTo>
                        <a:pt x="49" y="103"/>
                      </a:lnTo>
                      <a:lnTo>
                        <a:pt x="47" y="103"/>
                      </a:lnTo>
                      <a:lnTo>
                        <a:pt x="58" y="106"/>
                      </a:lnTo>
                      <a:lnTo>
                        <a:pt x="60" y="106"/>
                      </a:lnTo>
                      <a:lnTo>
                        <a:pt x="70" y="111"/>
                      </a:lnTo>
                      <a:lnTo>
                        <a:pt x="81" y="115"/>
                      </a:lnTo>
                      <a:lnTo>
                        <a:pt x="102" y="127"/>
                      </a:lnTo>
                      <a:lnTo>
                        <a:pt x="107" y="132"/>
                      </a:lnTo>
                      <a:lnTo>
                        <a:pt x="112" y="141"/>
                      </a:lnTo>
                      <a:lnTo>
                        <a:pt x="116" y="146"/>
                      </a:lnTo>
                      <a:lnTo>
                        <a:pt x="121" y="150"/>
                      </a:lnTo>
                      <a:lnTo>
                        <a:pt x="128" y="152"/>
                      </a:lnTo>
                      <a:lnTo>
                        <a:pt x="136" y="150"/>
                      </a:lnTo>
                      <a:lnTo>
                        <a:pt x="142" y="148"/>
                      </a:lnTo>
                      <a:lnTo>
                        <a:pt x="143" y="150"/>
                      </a:lnTo>
                      <a:lnTo>
                        <a:pt x="154" y="152"/>
                      </a:lnTo>
                      <a:lnTo>
                        <a:pt x="157" y="153"/>
                      </a:lnTo>
                      <a:lnTo>
                        <a:pt x="156" y="155"/>
                      </a:lnTo>
                      <a:lnTo>
                        <a:pt x="154" y="159"/>
                      </a:lnTo>
                      <a:lnTo>
                        <a:pt x="154" y="162"/>
                      </a:lnTo>
                      <a:lnTo>
                        <a:pt x="156" y="166"/>
                      </a:lnTo>
                      <a:lnTo>
                        <a:pt x="157" y="167"/>
                      </a:lnTo>
                      <a:lnTo>
                        <a:pt x="159" y="167"/>
                      </a:lnTo>
                      <a:lnTo>
                        <a:pt x="161" y="169"/>
                      </a:lnTo>
                      <a:lnTo>
                        <a:pt x="163" y="169"/>
                      </a:lnTo>
                      <a:lnTo>
                        <a:pt x="164" y="169"/>
                      </a:lnTo>
                      <a:lnTo>
                        <a:pt x="166" y="169"/>
                      </a:lnTo>
                      <a:lnTo>
                        <a:pt x="168" y="167"/>
                      </a:lnTo>
                      <a:lnTo>
                        <a:pt x="170" y="166"/>
                      </a:lnTo>
                      <a:lnTo>
                        <a:pt x="171" y="166"/>
                      </a:lnTo>
                      <a:lnTo>
                        <a:pt x="173" y="166"/>
                      </a:lnTo>
                      <a:lnTo>
                        <a:pt x="175" y="166"/>
                      </a:lnTo>
                      <a:lnTo>
                        <a:pt x="177" y="166"/>
                      </a:lnTo>
                      <a:lnTo>
                        <a:pt x="177" y="166"/>
                      </a:lnTo>
                      <a:lnTo>
                        <a:pt x="178" y="167"/>
                      </a:lnTo>
                      <a:lnTo>
                        <a:pt x="180" y="167"/>
                      </a:lnTo>
                      <a:lnTo>
                        <a:pt x="180" y="167"/>
                      </a:lnTo>
                      <a:lnTo>
                        <a:pt x="184" y="167"/>
                      </a:lnTo>
                      <a:lnTo>
                        <a:pt x="185" y="167"/>
                      </a:lnTo>
                      <a:lnTo>
                        <a:pt x="187" y="169"/>
                      </a:lnTo>
                      <a:lnTo>
                        <a:pt x="187" y="169"/>
                      </a:lnTo>
                      <a:lnTo>
                        <a:pt x="189" y="171"/>
                      </a:lnTo>
                      <a:lnTo>
                        <a:pt x="189" y="174"/>
                      </a:lnTo>
                      <a:lnTo>
                        <a:pt x="187" y="176"/>
                      </a:lnTo>
                      <a:lnTo>
                        <a:pt x="185" y="176"/>
                      </a:lnTo>
                      <a:lnTo>
                        <a:pt x="182" y="178"/>
                      </a:lnTo>
                      <a:lnTo>
                        <a:pt x="180" y="178"/>
                      </a:lnTo>
                      <a:lnTo>
                        <a:pt x="175" y="176"/>
                      </a:lnTo>
                      <a:lnTo>
                        <a:pt x="170" y="173"/>
                      </a:lnTo>
                      <a:lnTo>
                        <a:pt x="164" y="173"/>
                      </a:lnTo>
                      <a:lnTo>
                        <a:pt x="163" y="173"/>
                      </a:lnTo>
                      <a:lnTo>
                        <a:pt x="161" y="173"/>
                      </a:lnTo>
                      <a:lnTo>
                        <a:pt x="159" y="173"/>
                      </a:lnTo>
                      <a:lnTo>
                        <a:pt x="157" y="173"/>
                      </a:lnTo>
                      <a:lnTo>
                        <a:pt x="156" y="173"/>
                      </a:lnTo>
                      <a:lnTo>
                        <a:pt x="152" y="171"/>
                      </a:lnTo>
                      <a:lnTo>
                        <a:pt x="150" y="167"/>
                      </a:lnTo>
                      <a:lnTo>
                        <a:pt x="149" y="166"/>
                      </a:lnTo>
                      <a:lnTo>
                        <a:pt x="149" y="166"/>
                      </a:lnTo>
                      <a:lnTo>
                        <a:pt x="150" y="162"/>
                      </a:lnTo>
                      <a:lnTo>
                        <a:pt x="149" y="162"/>
                      </a:lnTo>
                      <a:lnTo>
                        <a:pt x="149" y="160"/>
                      </a:lnTo>
                      <a:lnTo>
                        <a:pt x="149" y="160"/>
                      </a:lnTo>
                      <a:lnTo>
                        <a:pt x="149" y="160"/>
                      </a:lnTo>
                      <a:lnTo>
                        <a:pt x="147" y="160"/>
                      </a:lnTo>
                      <a:lnTo>
                        <a:pt x="147" y="157"/>
                      </a:lnTo>
                      <a:lnTo>
                        <a:pt x="145" y="155"/>
                      </a:lnTo>
                      <a:lnTo>
                        <a:pt x="143" y="155"/>
                      </a:lnTo>
                      <a:lnTo>
                        <a:pt x="140" y="155"/>
                      </a:lnTo>
                      <a:lnTo>
                        <a:pt x="138" y="155"/>
                      </a:lnTo>
                      <a:lnTo>
                        <a:pt x="138" y="157"/>
                      </a:lnTo>
                      <a:lnTo>
                        <a:pt x="138" y="159"/>
                      </a:lnTo>
                      <a:lnTo>
                        <a:pt x="138" y="160"/>
                      </a:lnTo>
                      <a:lnTo>
                        <a:pt x="140" y="162"/>
                      </a:lnTo>
                      <a:lnTo>
                        <a:pt x="142" y="162"/>
                      </a:lnTo>
                      <a:lnTo>
                        <a:pt x="143" y="162"/>
                      </a:lnTo>
                      <a:lnTo>
                        <a:pt x="145" y="164"/>
                      </a:lnTo>
                      <a:lnTo>
                        <a:pt x="147" y="166"/>
                      </a:lnTo>
                      <a:lnTo>
                        <a:pt x="149" y="167"/>
                      </a:lnTo>
                      <a:lnTo>
                        <a:pt x="150" y="169"/>
                      </a:lnTo>
                      <a:lnTo>
                        <a:pt x="152" y="173"/>
                      </a:lnTo>
                      <a:lnTo>
                        <a:pt x="152" y="174"/>
                      </a:lnTo>
                      <a:lnTo>
                        <a:pt x="152" y="176"/>
                      </a:lnTo>
                      <a:lnTo>
                        <a:pt x="154" y="176"/>
                      </a:lnTo>
                      <a:lnTo>
                        <a:pt x="156" y="178"/>
                      </a:lnTo>
                      <a:lnTo>
                        <a:pt x="159" y="178"/>
                      </a:lnTo>
                      <a:lnTo>
                        <a:pt x="161" y="176"/>
                      </a:lnTo>
                      <a:lnTo>
                        <a:pt x="164" y="178"/>
                      </a:lnTo>
                      <a:lnTo>
                        <a:pt x="166" y="178"/>
                      </a:lnTo>
                      <a:lnTo>
                        <a:pt x="168" y="180"/>
                      </a:lnTo>
                      <a:lnTo>
                        <a:pt x="170" y="181"/>
                      </a:lnTo>
                      <a:lnTo>
                        <a:pt x="170" y="183"/>
                      </a:lnTo>
                      <a:lnTo>
                        <a:pt x="171" y="185"/>
                      </a:lnTo>
                      <a:lnTo>
                        <a:pt x="170" y="185"/>
                      </a:lnTo>
                      <a:lnTo>
                        <a:pt x="168" y="183"/>
                      </a:lnTo>
                      <a:lnTo>
                        <a:pt x="164" y="181"/>
                      </a:lnTo>
                      <a:lnTo>
                        <a:pt x="163" y="181"/>
                      </a:lnTo>
                      <a:lnTo>
                        <a:pt x="159" y="183"/>
                      </a:lnTo>
                      <a:lnTo>
                        <a:pt x="157" y="185"/>
                      </a:lnTo>
                      <a:lnTo>
                        <a:pt x="157" y="188"/>
                      </a:lnTo>
                      <a:lnTo>
                        <a:pt x="154" y="190"/>
                      </a:lnTo>
                      <a:lnTo>
                        <a:pt x="152" y="192"/>
                      </a:lnTo>
                      <a:lnTo>
                        <a:pt x="150" y="192"/>
                      </a:lnTo>
                      <a:lnTo>
                        <a:pt x="145" y="192"/>
                      </a:lnTo>
                      <a:lnTo>
                        <a:pt x="143" y="192"/>
                      </a:lnTo>
                      <a:lnTo>
                        <a:pt x="140" y="192"/>
                      </a:lnTo>
                      <a:lnTo>
                        <a:pt x="138" y="192"/>
                      </a:lnTo>
                      <a:lnTo>
                        <a:pt x="136" y="192"/>
                      </a:lnTo>
                      <a:lnTo>
                        <a:pt x="133" y="190"/>
                      </a:lnTo>
                      <a:lnTo>
                        <a:pt x="133" y="190"/>
                      </a:lnTo>
                      <a:lnTo>
                        <a:pt x="126" y="190"/>
                      </a:lnTo>
                      <a:lnTo>
                        <a:pt x="121" y="190"/>
                      </a:lnTo>
                      <a:lnTo>
                        <a:pt x="116" y="190"/>
                      </a:lnTo>
                      <a:lnTo>
                        <a:pt x="110" y="187"/>
                      </a:lnTo>
                      <a:lnTo>
                        <a:pt x="109" y="185"/>
                      </a:lnTo>
                      <a:lnTo>
                        <a:pt x="109" y="185"/>
                      </a:lnTo>
                      <a:lnTo>
                        <a:pt x="109" y="183"/>
                      </a:lnTo>
                      <a:lnTo>
                        <a:pt x="109" y="183"/>
                      </a:lnTo>
                      <a:lnTo>
                        <a:pt x="109" y="181"/>
                      </a:lnTo>
                      <a:lnTo>
                        <a:pt x="110" y="181"/>
                      </a:lnTo>
                      <a:lnTo>
                        <a:pt x="110" y="180"/>
                      </a:lnTo>
                      <a:lnTo>
                        <a:pt x="110" y="178"/>
                      </a:lnTo>
                      <a:lnTo>
                        <a:pt x="110" y="178"/>
                      </a:lnTo>
                      <a:lnTo>
                        <a:pt x="112" y="173"/>
                      </a:lnTo>
                      <a:lnTo>
                        <a:pt x="112" y="171"/>
                      </a:lnTo>
                      <a:lnTo>
                        <a:pt x="110" y="169"/>
                      </a:lnTo>
                      <a:lnTo>
                        <a:pt x="110" y="169"/>
                      </a:lnTo>
                      <a:lnTo>
                        <a:pt x="112" y="169"/>
                      </a:lnTo>
                      <a:lnTo>
                        <a:pt x="114" y="169"/>
                      </a:lnTo>
                      <a:lnTo>
                        <a:pt x="116" y="169"/>
                      </a:lnTo>
                      <a:lnTo>
                        <a:pt x="109" y="166"/>
                      </a:lnTo>
                      <a:lnTo>
                        <a:pt x="100" y="167"/>
                      </a:lnTo>
                      <a:lnTo>
                        <a:pt x="86" y="174"/>
                      </a:lnTo>
                      <a:lnTo>
                        <a:pt x="75" y="176"/>
                      </a:lnTo>
                      <a:lnTo>
                        <a:pt x="74" y="178"/>
                      </a:lnTo>
                      <a:lnTo>
                        <a:pt x="70" y="180"/>
                      </a:lnTo>
                      <a:lnTo>
                        <a:pt x="68" y="183"/>
                      </a:lnTo>
                      <a:lnTo>
                        <a:pt x="70" y="185"/>
                      </a:lnTo>
                      <a:lnTo>
                        <a:pt x="74" y="187"/>
                      </a:lnTo>
                      <a:lnTo>
                        <a:pt x="72" y="188"/>
                      </a:lnTo>
                      <a:lnTo>
                        <a:pt x="68" y="188"/>
                      </a:lnTo>
                      <a:lnTo>
                        <a:pt x="65" y="188"/>
                      </a:lnTo>
                      <a:lnTo>
                        <a:pt x="60" y="187"/>
                      </a:lnTo>
                      <a:lnTo>
                        <a:pt x="58" y="187"/>
                      </a:lnTo>
                      <a:lnTo>
                        <a:pt x="56" y="188"/>
                      </a:lnTo>
                      <a:lnTo>
                        <a:pt x="54" y="188"/>
                      </a:lnTo>
                      <a:lnTo>
                        <a:pt x="51" y="192"/>
                      </a:lnTo>
                      <a:lnTo>
                        <a:pt x="49" y="192"/>
                      </a:lnTo>
                      <a:lnTo>
                        <a:pt x="47" y="194"/>
                      </a:lnTo>
                      <a:lnTo>
                        <a:pt x="46" y="197"/>
                      </a:lnTo>
                      <a:lnTo>
                        <a:pt x="44" y="197"/>
                      </a:lnTo>
                      <a:lnTo>
                        <a:pt x="42" y="199"/>
                      </a:lnTo>
                      <a:lnTo>
                        <a:pt x="42" y="201"/>
                      </a:lnTo>
                      <a:lnTo>
                        <a:pt x="39" y="201"/>
                      </a:lnTo>
                      <a:lnTo>
                        <a:pt x="35" y="202"/>
                      </a:lnTo>
                      <a:lnTo>
                        <a:pt x="35" y="202"/>
                      </a:lnTo>
                      <a:lnTo>
                        <a:pt x="32" y="206"/>
                      </a:lnTo>
                      <a:lnTo>
                        <a:pt x="30" y="208"/>
                      </a:lnTo>
                      <a:lnTo>
                        <a:pt x="23" y="209"/>
                      </a:lnTo>
                      <a:lnTo>
                        <a:pt x="23" y="209"/>
                      </a:lnTo>
                      <a:lnTo>
                        <a:pt x="23" y="208"/>
                      </a:lnTo>
                      <a:lnTo>
                        <a:pt x="23" y="206"/>
                      </a:lnTo>
                      <a:lnTo>
                        <a:pt x="21" y="211"/>
                      </a:lnTo>
                      <a:lnTo>
                        <a:pt x="25" y="216"/>
                      </a:lnTo>
                      <a:lnTo>
                        <a:pt x="30" y="220"/>
                      </a:lnTo>
                      <a:lnTo>
                        <a:pt x="37" y="221"/>
                      </a:lnTo>
                      <a:lnTo>
                        <a:pt x="44" y="223"/>
                      </a:lnTo>
                      <a:lnTo>
                        <a:pt x="58" y="225"/>
                      </a:lnTo>
                      <a:lnTo>
                        <a:pt x="60" y="227"/>
                      </a:lnTo>
                      <a:lnTo>
                        <a:pt x="61" y="228"/>
                      </a:lnTo>
                      <a:lnTo>
                        <a:pt x="61" y="228"/>
                      </a:lnTo>
                      <a:lnTo>
                        <a:pt x="60" y="228"/>
                      </a:lnTo>
                      <a:lnTo>
                        <a:pt x="58" y="228"/>
                      </a:lnTo>
                      <a:lnTo>
                        <a:pt x="56" y="228"/>
                      </a:lnTo>
                      <a:lnTo>
                        <a:pt x="56" y="230"/>
                      </a:lnTo>
                      <a:lnTo>
                        <a:pt x="54" y="230"/>
                      </a:lnTo>
                      <a:lnTo>
                        <a:pt x="54" y="232"/>
                      </a:lnTo>
                      <a:lnTo>
                        <a:pt x="53" y="232"/>
                      </a:lnTo>
                      <a:lnTo>
                        <a:pt x="51" y="234"/>
                      </a:lnTo>
                      <a:lnTo>
                        <a:pt x="49" y="234"/>
                      </a:lnTo>
                      <a:lnTo>
                        <a:pt x="47" y="234"/>
                      </a:lnTo>
                      <a:lnTo>
                        <a:pt x="46" y="234"/>
                      </a:lnTo>
                      <a:lnTo>
                        <a:pt x="47" y="235"/>
                      </a:lnTo>
                      <a:lnTo>
                        <a:pt x="53" y="241"/>
                      </a:lnTo>
                      <a:lnTo>
                        <a:pt x="54" y="242"/>
                      </a:lnTo>
                      <a:lnTo>
                        <a:pt x="56" y="244"/>
                      </a:lnTo>
                      <a:lnTo>
                        <a:pt x="54" y="248"/>
                      </a:lnTo>
                      <a:lnTo>
                        <a:pt x="54" y="249"/>
                      </a:lnTo>
                      <a:lnTo>
                        <a:pt x="54" y="251"/>
                      </a:lnTo>
                      <a:lnTo>
                        <a:pt x="60" y="256"/>
                      </a:lnTo>
                      <a:lnTo>
                        <a:pt x="67" y="258"/>
                      </a:lnTo>
                      <a:lnTo>
                        <a:pt x="81" y="262"/>
                      </a:lnTo>
                      <a:lnTo>
                        <a:pt x="86" y="262"/>
                      </a:lnTo>
                      <a:lnTo>
                        <a:pt x="91" y="260"/>
                      </a:lnTo>
                      <a:lnTo>
                        <a:pt x="95" y="258"/>
                      </a:lnTo>
                      <a:lnTo>
                        <a:pt x="100" y="256"/>
                      </a:lnTo>
                      <a:lnTo>
                        <a:pt x="107" y="256"/>
                      </a:lnTo>
                      <a:lnTo>
                        <a:pt x="114" y="256"/>
                      </a:lnTo>
                      <a:lnTo>
                        <a:pt x="121" y="260"/>
                      </a:lnTo>
                      <a:lnTo>
                        <a:pt x="126" y="263"/>
                      </a:lnTo>
                      <a:lnTo>
                        <a:pt x="126" y="262"/>
                      </a:lnTo>
                      <a:lnTo>
                        <a:pt x="128" y="260"/>
                      </a:lnTo>
                      <a:lnTo>
                        <a:pt x="124" y="258"/>
                      </a:lnTo>
                      <a:lnTo>
                        <a:pt x="123" y="256"/>
                      </a:lnTo>
                      <a:lnTo>
                        <a:pt x="124" y="255"/>
                      </a:lnTo>
                      <a:lnTo>
                        <a:pt x="126" y="256"/>
                      </a:lnTo>
                      <a:lnTo>
                        <a:pt x="129" y="258"/>
                      </a:lnTo>
                      <a:lnTo>
                        <a:pt x="133" y="263"/>
                      </a:lnTo>
                      <a:lnTo>
                        <a:pt x="135" y="265"/>
                      </a:lnTo>
                      <a:lnTo>
                        <a:pt x="136" y="263"/>
                      </a:lnTo>
                      <a:lnTo>
                        <a:pt x="143" y="255"/>
                      </a:lnTo>
                      <a:lnTo>
                        <a:pt x="145" y="253"/>
                      </a:lnTo>
                      <a:lnTo>
                        <a:pt x="149" y="253"/>
                      </a:lnTo>
                      <a:lnTo>
                        <a:pt x="154" y="249"/>
                      </a:lnTo>
                      <a:lnTo>
                        <a:pt x="154" y="248"/>
                      </a:lnTo>
                      <a:lnTo>
                        <a:pt x="156" y="248"/>
                      </a:lnTo>
                      <a:lnTo>
                        <a:pt x="159" y="248"/>
                      </a:lnTo>
                      <a:lnTo>
                        <a:pt x="159" y="248"/>
                      </a:lnTo>
                      <a:lnTo>
                        <a:pt x="161" y="248"/>
                      </a:lnTo>
                      <a:lnTo>
                        <a:pt x="163" y="246"/>
                      </a:lnTo>
                      <a:lnTo>
                        <a:pt x="164" y="246"/>
                      </a:lnTo>
                      <a:lnTo>
                        <a:pt x="166" y="244"/>
                      </a:lnTo>
                      <a:lnTo>
                        <a:pt x="168" y="244"/>
                      </a:lnTo>
                      <a:lnTo>
                        <a:pt x="171" y="244"/>
                      </a:lnTo>
                      <a:lnTo>
                        <a:pt x="173" y="246"/>
                      </a:lnTo>
                      <a:lnTo>
                        <a:pt x="173" y="248"/>
                      </a:lnTo>
                      <a:lnTo>
                        <a:pt x="175" y="255"/>
                      </a:lnTo>
                      <a:lnTo>
                        <a:pt x="170" y="258"/>
                      </a:lnTo>
                      <a:lnTo>
                        <a:pt x="164" y="260"/>
                      </a:lnTo>
                      <a:lnTo>
                        <a:pt x="161" y="263"/>
                      </a:lnTo>
                      <a:lnTo>
                        <a:pt x="164" y="263"/>
                      </a:lnTo>
                      <a:lnTo>
                        <a:pt x="168" y="265"/>
                      </a:lnTo>
                      <a:lnTo>
                        <a:pt x="170" y="267"/>
                      </a:lnTo>
                      <a:lnTo>
                        <a:pt x="171" y="270"/>
                      </a:lnTo>
                      <a:lnTo>
                        <a:pt x="173" y="274"/>
                      </a:lnTo>
                      <a:lnTo>
                        <a:pt x="175" y="283"/>
                      </a:lnTo>
                      <a:lnTo>
                        <a:pt x="177" y="286"/>
                      </a:lnTo>
                      <a:lnTo>
                        <a:pt x="173" y="291"/>
                      </a:lnTo>
                      <a:lnTo>
                        <a:pt x="168" y="297"/>
                      </a:lnTo>
                      <a:lnTo>
                        <a:pt x="161" y="298"/>
                      </a:lnTo>
                      <a:lnTo>
                        <a:pt x="156" y="300"/>
                      </a:lnTo>
                      <a:lnTo>
                        <a:pt x="152" y="300"/>
                      </a:lnTo>
                      <a:lnTo>
                        <a:pt x="150" y="300"/>
                      </a:lnTo>
                      <a:lnTo>
                        <a:pt x="149" y="298"/>
                      </a:lnTo>
                      <a:lnTo>
                        <a:pt x="149" y="298"/>
                      </a:lnTo>
                      <a:lnTo>
                        <a:pt x="147" y="297"/>
                      </a:lnTo>
                      <a:lnTo>
                        <a:pt x="147" y="297"/>
                      </a:lnTo>
                      <a:lnTo>
                        <a:pt x="143" y="297"/>
                      </a:lnTo>
                      <a:lnTo>
                        <a:pt x="142" y="298"/>
                      </a:lnTo>
                      <a:lnTo>
                        <a:pt x="136" y="305"/>
                      </a:lnTo>
                      <a:lnTo>
                        <a:pt x="135" y="307"/>
                      </a:lnTo>
                      <a:lnTo>
                        <a:pt x="129" y="312"/>
                      </a:lnTo>
                      <a:lnTo>
                        <a:pt x="126" y="312"/>
                      </a:lnTo>
                      <a:lnTo>
                        <a:pt x="124" y="314"/>
                      </a:lnTo>
                      <a:lnTo>
                        <a:pt x="121" y="314"/>
                      </a:lnTo>
                      <a:lnTo>
                        <a:pt x="119" y="312"/>
                      </a:lnTo>
                      <a:lnTo>
                        <a:pt x="116" y="312"/>
                      </a:lnTo>
                      <a:lnTo>
                        <a:pt x="114" y="314"/>
                      </a:lnTo>
                      <a:lnTo>
                        <a:pt x="114" y="314"/>
                      </a:lnTo>
                      <a:lnTo>
                        <a:pt x="116" y="312"/>
                      </a:lnTo>
                      <a:lnTo>
                        <a:pt x="116" y="312"/>
                      </a:lnTo>
                      <a:lnTo>
                        <a:pt x="114" y="311"/>
                      </a:lnTo>
                      <a:lnTo>
                        <a:pt x="112" y="309"/>
                      </a:lnTo>
                      <a:lnTo>
                        <a:pt x="110" y="307"/>
                      </a:lnTo>
                      <a:lnTo>
                        <a:pt x="109" y="307"/>
                      </a:lnTo>
                      <a:lnTo>
                        <a:pt x="105" y="307"/>
                      </a:lnTo>
                      <a:lnTo>
                        <a:pt x="103" y="307"/>
                      </a:lnTo>
                      <a:lnTo>
                        <a:pt x="100" y="307"/>
                      </a:lnTo>
                      <a:lnTo>
                        <a:pt x="98" y="309"/>
                      </a:lnTo>
                      <a:lnTo>
                        <a:pt x="96" y="311"/>
                      </a:lnTo>
                      <a:lnTo>
                        <a:pt x="98" y="312"/>
                      </a:lnTo>
                      <a:lnTo>
                        <a:pt x="98" y="312"/>
                      </a:lnTo>
                      <a:lnTo>
                        <a:pt x="100" y="314"/>
                      </a:lnTo>
                      <a:lnTo>
                        <a:pt x="95" y="314"/>
                      </a:lnTo>
                      <a:lnTo>
                        <a:pt x="91" y="318"/>
                      </a:lnTo>
                      <a:lnTo>
                        <a:pt x="89" y="323"/>
                      </a:lnTo>
                      <a:lnTo>
                        <a:pt x="91" y="328"/>
                      </a:lnTo>
                      <a:lnTo>
                        <a:pt x="91" y="328"/>
                      </a:lnTo>
                      <a:lnTo>
                        <a:pt x="93" y="326"/>
                      </a:lnTo>
                      <a:lnTo>
                        <a:pt x="93" y="326"/>
                      </a:lnTo>
                      <a:lnTo>
                        <a:pt x="95" y="325"/>
                      </a:lnTo>
                      <a:lnTo>
                        <a:pt x="95" y="326"/>
                      </a:lnTo>
                      <a:lnTo>
                        <a:pt x="93" y="328"/>
                      </a:lnTo>
                      <a:lnTo>
                        <a:pt x="91" y="330"/>
                      </a:lnTo>
                      <a:lnTo>
                        <a:pt x="89" y="330"/>
                      </a:lnTo>
                      <a:lnTo>
                        <a:pt x="89" y="330"/>
                      </a:lnTo>
                      <a:lnTo>
                        <a:pt x="89" y="332"/>
                      </a:lnTo>
                      <a:lnTo>
                        <a:pt x="91" y="332"/>
                      </a:lnTo>
                      <a:lnTo>
                        <a:pt x="91" y="332"/>
                      </a:lnTo>
                      <a:lnTo>
                        <a:pt x="91" y="333"/>
                      </a:lnTo>
                      <a:lnTo>
                        <a:pt x="84" y="333"/>
                      </a:lnTo>
                      <a:lnTo>
                        <a:pt x="75" y="339"/>
                      </a:lnTo>
                      <a:lnTo>
                        <a:pt x="70" y="346"/>
                      </a:lnTo>
                      <a:lnTo>
                        <a:pt x="74" y="353"/>
                      </a:lnTo>
                      <a:lnTo>
                        <a:pt x="65" y="354"/>
                      </a:lnTo>
                      <a:lnTo>
                        <a:pt x="63" y="354"/>
                      </a:lnTo>
                      <a:lnTo>
                        <a:pt x="65" y="356"/>
                      </a:lnTo>
                      <a:lnTo>
                        <a:pt x="65" y="358"/>
                      </a:lnTo>
                      <a:lnTo>
                        <a:pt x="68" y="358"/>
                      </a:lnTo>
                      <a:lnTo>
                        <a:pt x="67" y="360"/>
                      </a:lnTo>
                      <a:lnTo>
                        <a:pt x="63" y="360"/>
                      </a:lnTo>
                      <a:lnTo>
                        <a:pt x="61" y="361"/>
                      </a:lnTo>
                      <a:lnTo>
                        <a:pt x="61" y="363"/>
                      </a:lnTo>
                      <a:lnTo>
                        <a:pt x="61" y="365"/>
                      </a:lnTo>
                      <a:lnTo>
                        <a:pt x="63" y="365"/>
                      </a:lnTo>
                      <a:lnTo>
                        <a:pt x="63" y="365"/>
                      </a:lnTo>
                      <a:lnTo>
                        <a:pt x="65" y="365"/>
                      </a:lnTo>
                      <a:lnTo>
                        <a:pt x="67" y="365"/>
                      </a:lnTo>
                      <a:lnTo>
                        <a:pt x="67" y="365"/>
                      </a:lnTo>
                      <a:lnTo>
                        <a:pt x="68" y="365"/>
                      </a:lnTo>
                      <a:lnTo>
                        <a:pt x="68" y="365"/>
                      </a:lnTo>
                      <a:lnTo>
                        <a:pt x="68" y="367"/>
                      </a:lnTo>
                      <a:lnTo>
                        <a:pt x="68" y="367"/>
                      </a:lnTo>
                      <a:lnTo>
                        <a:pt x="68" y="367"/>
                      </a:lnTo>
                      <a:lnTo>
                        <a:pt x="68" y="368"/>
                      </a:lnTo>
                      <a:lnTo>
                        <a:pt x="67" y="368"/>
                      </a:lnTo>
                      <a:lnTo>
                        <a:pt x="67" y="370"/>
                      </a:lnTo>
                      <a:lnTo>
                        <a:pt x="67" y="370"/>
                      </a:lnTo>
                      <a:lnTo>
                        <a:pt x="68" y="372"/>
                      </a:lnTo>
                      <a:lnTo>
                        <a:pt x="70" y="372"/>
                      </a:lnTo>
                      <a:lnTo>
                        <a:pt x="72" y="372"/>
                      </a:lnTo>
                      <a:lnTo>
                        <a:pt x="72" y="373"/>
                      </a:lnTo>
                      <a:lnTo>
                        <a:pt x="72" y="377"/>
                      </a:lnTo>
                      <a:lnTo>
                        <a:pt x="74" y="379"/>
                      </a:lnTo>
                      <a:lnTo>
                        <a:pt x="74" y="379"/>
                      </a:lnTo>
                      <a:lnTo>
                        <a:pt x="77" y="380"/>
                      </a:lnTo>
                      <a:lnTo>
                        <a:pt x="77" y="377"/>
                      </a:lnTo>
                      <a:lnTo>
                        <a:pt x="79" y="375"/>
                      </a:lnTo>
                      <a:lnTo>
                        <a:pt x="81" y="373"/>
                      </a:lnTo>
                      <a:lnTo>
                        <a:pt x="81" y="373"/>
                      </a:lnTo>
                      <a:lnTo>
                        <a:pt x="79" y="375"/>
                      </a:lnTo>
                      <a:lnTo>
                        <a:pt x="79" y="375"/>
                      </a:lnTo>
                      <a:lnTo>
                        <a:pt x="81" y="377"/>
                      </a:lnTo>
                      <a:lnTo>
                        <a:pt x="81" y="377"/>
                      </a:lnTo>
                      <a:lnTo>
                        <a:pt x="82" y="377"/>
                      </a:lnTo>
                      <a:lnTo>
                        <a:pt x="84" y="377"/>
                      </a:lnTo>
                      <a:lnTo>
                        <a:pt x="84" y="379"/>
                      </a:lnTo>
                      <a:lnTo>
                        <a:pt x="84" y="379"/>
                      </a:lnTo>
                      <a:lnTo>
                        <a:pt x="86" y="379"/>
                      </a:lnTo>
                      <a:lnTo>
                        <a:pt x="89" y="379"/>
                      </a:lnTo>
                      <a:lnTo>
                        <a:pt x="88" y="380"/>
                      </a:lnTo>
                      <a:lnTo>
                        <a:pt x="82" y="384"/>
                      </a:lnTo>
                      <a:lnTo>
                        <a:pt x="84" y="386"/>
                      </a:lnTo>
                      <a:lnTo>
                        <a:pt x="86" y="386"/>
                      </a:lnTo>
                      <a:lnTo>
                        <a:pt x="88" y="386"/>
                      </a:lnTo>
                      <a:lnTo>
                        <a:pt x="91" y="386"/>
                      </a:lnTo>
                      <a:lnTo>
                        <a:pt x="93" y="386"/>
                      </a:lnTo>
                      <a:lnTo>
                        <a:pt x="96" y="387"/>
                      </a:lnTo>
                      <a:lnTo>
                        <a:pt x="98" y="387"/>
                      </a:lnTo>
                      <a:lnTo>
                        <a:pt x="102" y="387"/>
                      </a:lnTo>
                      <a:lnTo>
                        <a:pt x="103" y="387"/>
                      </a:lnTo>
                      <a:lnTo>
                        <a:pt x="105" y="387"/>
                      </a:lnTo>
                      <a:lnTo>
                        <a:pt x="109" y="387"/>
                      </a:lnTo>
                      <a:lnTo>
                        <a:pt x="110" y="386"/>
                      </a:lnTo>
                      <a:lnTo>
                        <a:pt x="112" y="384"/>
                      </a:lnTo>
                      <a:lnTo>
                        <a:pt x="114" y="384"/>
                      </a:lnTo>
                      <a:lnTo>
                        <a:pt x="116" y="386"/>
                      </a:lnTo>
                      <a:lnTo>
                        <a:pt x="114" y="387"/>
                      </a:lnTo>
                      <a:lnTo>
                        <a:pt x="110" y="387"/>
                      </a:lnTo>
                      <a:lnTo>
                        <a:pt x="110" y="387"/>
                      </a:lnTo>
                      <a:lnTo>
                        <a:pt x="116" y="389"/>
                      </a:lnTo>
                      <a:lnTo>
                        <a:pt x="117" y="389"/>
                      </a:lnTo>
                      <a:lnTo>
                        <a:pt x="119" y="391"/>
                      </a:lnTo>
                      <a:lnTo>
                        <a:pt x="119" y="393"/>
                      </a:lnTo>
                      <a:lnTo>
                        <a:pt x="117" y="394"/>
                      </a:lnTo>
                      <a:lnTo>
                        <a:pt x="114" y="396"/>
                      </a:lnTo>
                      <a:lnTo>
                        <a:pt x="112" y="396"/>
                      </a:lnTo>
                      <a:lnTo>
                        <a:pt x="110" y="394"/>
                      </a:lnTo>
                      <a:lnTo>
                        <a:pt x="110" y="393"/>
                      </a:lnTo>
                      <a:lnTo>
                        <a:pt x="109" y="391"/>
                      </a:lnTo>
                      <a:lnTo>
                        <a:pt x="107" y="391"/>
                      </a:lnTo>
                      <a:lnTo>
                        <a:pt x="105" y="393"/>
                      </a:lnTo>
                      <a:lnTo>
                        <a:pt x="102" y="396"/>
                      </a:lnTo>
                      <a:lnTo>
                        <a:pt x="100" y="398"/>
                      </a:lnTo>
                      <a:lnTo>
                        <a:pt x="102" y="393"/>
                      </a:lnTo>
                      <a:lnTo>
                        <a:pt x="100" y="391"/>
                      </a:lnTo>
                      <a:lnTo>
                        <a:pt x="96" y="389"/>
                      </a:lnTo>
                      <a:lnTo>
                        <a:pt x="93" y="387"/>
                      </a:lnTo>
                      <a:lnTo>
                        <a:pt x="89" y="387"/>
                      </a:lnTo>
                      <a:lnTo>
                        <a:pt x="86" y="391"/>
                      </a:lnTo>
                      <a:lnTo>
                        <a:pt x="79" y="400"/>
                      </a:lnTo>
                      <a:lnTo>
                        <a:pt x="79" y="400"/>
                      </a:lnTo>
                      <a:lnTo>
                        <a:pt x="82" y="400"/>
                      </a:lnTo>
                      <a:lnTo>
                        <a:pt x="84" y="400"/>
                      </a:lnTo>
                      <a:lnTo>
                        <a:pt x="84" y="400"/>
                      </a:lnTo>
                      <a:lnTo>
                        <a:pt x="84" y="401"/>
                      </a:lnTo>
                      <a:lnTo>
                        <a:pt x="84" y="401"/>
                      </a:lnTo>
                      <a:lnTo>
                        <a:pt x="84" y="401"/>
                      </a:lnTo>
                      <a:lnTo>
                        <a:pt x="86" y="403"/>
                      </a:lnTo>
                      <a:lnTo>
                        <a:pt x="88" y="405"/>
                      </a:lnTo>
                      <a:lnTo>
                        <a:pt x="93" y="407"/>
                      </a:lnTo>
                      <a:lnTo>
                        <a:pt x="95" y="408"/>
                      </a:lnTo>
                      <a:lnTo>
                        <a:pt x="102" y="415"/>
                      </a:lnTo>
                      <a:lnTo>
                        <a:pt x="103" y="417"/>
                      </a:lnTo>
                      <a:lnTo>
                        <a:pt x="105" y="421"/>
                      </a:lnTo>
                      <a:lnTo>
                        <a:pt x="107" y="422"/>
                      </a:lnTo>
                      <a:lnTo>
                        <a:pt x="112" y="424"/>
                      </a:lnTo>
                      <a:lnTo>
                        <a:pt x="119" y="424"/>
                      </a:lnTo>
                      <a:lnTo>
                        <a:pt x="124" y="422"/>
                      </a:lnTo>
                      <a:lnTo>
                        <a:pt x="135" y="419"/>
                      </a:lnTo>
                      <a:lnTo>
                        <a:pt x="136" y="417"/>
                      </a:lnTo>
                      <a:lnTo>
                        <a:pt x="138" y="415"/>
                      </a:lnTo>
                      <a:lnTo>
                        <a:pt x="140" y="414"/>
                      </a:lnTo>
                      <a:lnTo>
                        <a:pt x="140" y="412"/>
                      </a:lnTo>
                      <a:lnTo>
                        <a:pt x="138" y="408"/>
                      </a:lnTo>
                      <a:lnTo>
                        <a:pt x="135" y="408"/>
                      </a:lnTo>
                      <a:lnTo>
                        <a:pt x="140" y="405"/>
                      </a:lnTo>
                      <a:lnTo>
                        <a:pt x="143" y="400"/>
                      </a:lnTo>
                      <a:lnTo>
                        <a:pt x="147" y="394"/>
                      </a:lnTo>
                      <a:lnTo>
                        <a:pt x="150" y="394"/>
                      </a:lnTo>
                      <a:lnTo>
                        <a:pt x="149" y="396"/>
                      </a:lnTo>
                      <a:lnTo>
                        <a:pt x="145" y="400"/>
                      </a:lnTo>
                      <a:lnTo>
                        <a:pt x="142" y="405"/>
                      </a:lnTo>
                      <a:lnTo>
                        <a:pt x="142" y="408"/>
                      </a:lnTo>
                      <a:lnTo>
                        <a:pt x="142" y="408"/>
                      </a:lnTo>
                      <a:lnTo>
                        <a:pt x="143" y="410"/>
                      </a:lnTo>
                      <a:lnTo>
                        <a:pt x="145" y="412"/>
                      </a:lnTo>
                      <a:lnTo>
                        <a:pt x="145" y="412"/>
                      </a:lnTo>
                      <a:lnTo>
                        <a:pt x="147" y="415"/>
                      </a:lnTo>
                      <a:lnTo>
                        <a:pt x="152" y="428"/>
                      </a:lnTo>
                      <a:lnTo>
                        <a:pt x="154" y="431"/>
                      </a:lnTo>
                      <a:lnTo>
                        <a:pt x="152" y="435"/>
                      </a:lnTo>
                      <a:lnTo>
                        <a:pt x="152" y="438"/>
                      </a:lnTo>
                      <a:lnTo>
                        <a:pt x="150" y="442"/>
                      </a:lnTo>
                      <a:lnTo>
                        <a:pt x="150" y="443"/>
                      </a:lnTo>
                      <a:lnTo>
                        <a:pt x="150" y="445"/>
                      </a:lnTo>
                      <a:lnTo>
                        <a:pt x="152" y="447"/>
                      </a:lnTo>
                      <a:lnTo>
                        <a:pt x="154" y="447"/>
                      </a:lnTo>
                      <a:lnTo>
                        <a:pt x="156" y="447"/>
                      </a:lnTo>
                      <a:lnTo>
                        <a:pt x="157" y="447"/>
                      </a:lnTo>
                      <a:lnTo>
                        <a:pt x="156" y="449"/>
                      </a:lnTo>
                      <a:lnTo>
                        <a:pt x="156" y="450"/>
                      </a:lnTo>
                      <a:lnTo>
                        <a:pt x="156" y="454"/>
                      </a:lnTo>
                      <a:lnTo>
                        <a:pt x="156" y="456"/>
                      </a:lnTo>
                      <a:lnTo>
                        <a:pt x="154" y="457"/>
                      </a:lnTo>
                      <a:lnTo>
                        <a:pt x="152" y="459"/>
                      </a:lnTo>
                      <a:lnTo>
                        <a:pt x="147" y="461"/>
                      </a:lnTo>
                      <a:lnTo>
                        <a:pt x="154" y="463"/>
                      </a:lnTo>
                      <a:lnTo>
                        <a:pt x="157" y="463"/>
                      </a:lnTo>
                      <a:lnTo>
                        <a:pt x="161" y="461"/>
                      </a:lnTo>
                      <a:lnTo>
                        <a:pt x="163" y="459"/>
                      </a:lnTo>
                      <a:lnTo>
                        <a:pt x="166" y="457"/>
                      </a:lnTo>
                      <a:lnTo>
                        <a:pt x="170" y="456"/>
                      </a:lnTo>
                      <a:lnTo>
                        <a:pt x="171" y="456"/>
                      </a:lnTo>
                      <a:lnTo>
                        <a:pt x="175" y="454"/>
                      </a:lnTo>
                      <a:lnTo>
                        <a:pt x="177" y="454"/>
                      </a:lnTo>
                      <a:lnTo>
                        <a:pt x="177" y="452"/>
                      </a:lnTo>
                      <a:lnTo>
                        <a:pt x="180" y="450"/>
                      </a:lnTo>
                      <a:lnTo>
                        <a:pt x="182" y="450"/>
                      </a:lnTo>
                      <a:lnTo>
                        <a:pt x="185" y="449"/>
                      </a:lnTo>
                      <a:lnTo>
                        <a:pt x="187" y="450"/>
                      </a:lnTo>
                      <a:lnTo>
                        <a:pt x="189" y="452"/>
                      </a:lnTo>
                      <a:lnTo>
                        <a:pt x="191" y="454"/>
                      </a:lnTo>
                      <a:lnTo>
                        <a:pt x="194" y="456"/>
                      </a:lnTo>
                      <a:lnTo>
                        <a:pt x="196" y="454"/>
                      </a:lnTo>
                      <a:lnTo>
                        <a:pt x="198" y="454"/>
                      </a:lnTo>
                      <a:lnTo>
                        <a:pt x="201" y="454"/>
                      </a:lnTo>
                      <a:lnTo>
                        <a:pt x="203" y="456"/>
                      </a:lnTo>
                      <a:lnTo>
                        <a:pt x="206" y="457"/>
                      </a:lnTo>
                      <a:lnTo>
                        <a:pt x="210" y="464"/>
                      </a:lnTo>
                      <a:lnTo>
                        <a:pt x="213" y="466"/>
                      </a:lnTo>
                      <a:lnTo>
                        <a:pt x="215" y="468"/>
                      </a:lnTo>
                      <a:lnTo>
                        <a:pt x="219" y="468"/>
                      </a:lnTo>
                      <a:lnTo>
                        <a:pt x="219" y="466"/>
                      </a:lnTo>
                      <a:lnTo>
                        <a:pt x="219" y="464"/>
                      </a:lnTo>
                      <a:lnTo>
                        <a:pt x="219" y="459"/>
                      </a:lnTo>
                      <a:lnTo>
                        <a:pt x="217" y="457"/>
                      </a:lnTo>
                      <a:lnTo>
                        <a:pt x="219" y="456"/>
                      </a:lnTo>
                      <a:lnTo>
                        <a:pt x="219" y="454"/>
                      </a:lnTo>
                      <a:lnTo>
                        <a:pt x="219" y="452"/>
                      </a:lnTo>
                      <a:lnTo>
                        <a:pt x="219" y="450"/>
                      </a:lnTo>
                      <a:lnTo>
                        <a:pt x="220" y="452"/>
                      </a:lnTo>
                      <a:lnTo>
                        <a:pt x="222" y="452"/>
                      </a:lnTo>
                      <a:lnTo>
                        <a:pt x="224" y="449"/>
                      </a:lnTo>
                      <a:lnTo>
                        <a:pt x="224" y="449"/>
                      </a:lnTo>
                      <a:lnTo>
                        <a:pt x="227" y="447"/>
                      </a:lnTo>
                      <a:lnTo>
                        <a:pt x="229" y="449"/>
                      </a:lnTo>
                      <a:lnTo>
                        <a:pt x="233" y="449"/>
                      </a:lnTo>
                      <a:lnTo>
                        <a:pt x="234" y="450"/>
                      </a:lnTo>
                      <a:lnTo>
                        <a:pt x="227" y="450"/>
                      </a:lnTo>
                      <a:lnTo>
                        <a:pt x="226" y="452"/>
                      </a:lnTo>
                      <a:lnTo>
                        <a:pt x="226" y="456"/>
                      </a:lnTo>
                      <a:lnTo>
                        <a:pt x="226" y="459"/>
                      </a:lnTo>
                      <a:lnTo>
                        <a:pt x="229" y="461"/>
                      </a:lnTo>
                      <a:lnTo>
                        <a:pt x="233" y="461"/>
                      </a:lnTo>
                      <a:lnTo>
                        <a:pt x="236" y="461"/>
                      </a:lnTo>
                      <a:lnTo>
                        <a:pt x="243" y="459"/>
                      </a:lnTo>
                      <a:lnTo>
                        <a:pt x="250" y="456"/>
                      </a:lnTo>
                      <a:lnTo>
                        <a:pt x="255" y="452"/>
                      </a:lnTo>
                      <a:lnTo>
                        <a:pt x="260" y="445"/>
                      </a:lnTo>
                      <a:lnTo>
                        <a:pt x="257" y="452"/>
                      </a:lnTo>
                      <a:lnTo>
                        <a:pt x="257" y="456"/>
                      </a:lnTo>
                      <a:lnTo>
                        <a:pt x="257" y="459"/>
                      </a:lnTo>
                      <a:lnTo>
                        <a:pt x="252" y="463"/>
                      </a:lnTo>
                      <a:lnTo>
                        <a:pt x="248" y="464"/>
                      </a:lnTo>
                      <a:lnTo>
                        <a:pt x="246" y="468"/>
                      </a:lnTo>
                      <a:lnTo>
                        <a:pt x="246" y="471"/>
                      </a:lnTo>
                      <a:lnTo>
                        <a:pt x="248" y="473"/>
                      </a:lnTo>
                      <a:lnTo>
                        <a:pt x="253" y="477"/>
                      </a:lnTo>
                      <a:lnTo>
                        <a:pt x="248" y="477"/>
                      </a:lnTo>
                      <a:lnTo>
                        <a:pt x="245" y="480"/>
                      </a:lnTo>
                      <a:lnTo>
                        <a:pt x="245" y="484"/>
                      </a:lnTo>
                      <a:lnTo>
                        <a:pt x="243" y="491"/>
                      </a:lnTo>
                      <a:lnTo>
                        <a:pt x="243" y="494"/>
                      </a:lnTo>
                      <a:lnTo>
                        <a:pt x="245" y="496"/>
                      </a:lnTo>
                      <a:lnTo>
                        <a:pt x="246" y="498"/>
                      </a:lnTo>
                      <a:lnTo>
                        <a:pt x="245" y="499"/>
                      </a:lnTo>
                      <a:lnTo>
                        <a:pt x="241" y="498"/>
                      </a:lnTo>
                      <a:lnTo>
                        <a:pt x="238" y="498"/>
                      </a:lnTo>
                      <a:lnTo>
                        <a:pt x="236" y="499"/>
                      </a:lnTo>
                      <a:lnTo>
                        <a:pt x="224" y="510"/>
                      </a:lnTo>
                      <a:lnTo>
                        <a:pt x="222" y="512"/>
                      </a:lnTo>
                      <a:lnTo>
                        <a:pt x="222" y="513"/>
                      </a:lnTo>
                      <a:lnTo>
                        <a:pt x="222" y="513"/>
                      </a:lnTo>
                      <a:lnTo>
                        <a:pt x="222" y="517"/>
                      </a:lnTo>
                      <a:lnTo>
                        <a:pt x="222" y="517"/>
                      </a:lnTo>
                      <a:lnTo>
                        <a:pt x="220" y="519"/>
                      </a:lnTo>
                      <a:lnTo>
                        <a:pt x="220" y="519"/>
                      </a:lnTo>
                      <a:lnTo>
                        <a:pt x="220" y="519"/>
                      </a:lnTo>
                      <a:lnTo>
                        <a:pt x="220" y="519"/>
                      </a:lnTo>
                      <a:lnTo>
                        <a:pt x="219" y="519"/>
                      </a:lnTo>
                      <a:lnTo>
                        <a:pt x="217" y="519"/>
                      </a:lnTo>
                      <a:lnTo>
                        <a:pt x="217" y="519"/>
                      </a:lnTo>
                      <a:lnTo>
                        <a:pt x="217" y="517"/>
                      </a:lnTo>
                      <a:lnTo>
                        <a:pt x="213" y="519"/>
                      </a:lnTo>
                      <a:lnTo>
                        <a:pt x="208" y="520"/>
                      </a:lnTo>
                      <a:lnTo>
                        <a:pt x="206" y="522"/>
                      </a:lnTo>
                      <a:lnTo>
                        <a:pt x="196" y="527"/>
                      </a:lnTo>
                      <a:lnTo>
                        <a:pt x="189" y="531"/>
                      </a:lnTo>
                      <a:lnTo>
                        <a:pt x="187" y="532"/>
                      </a:lnTo>
                      <a:lnTo>
                        <a:pt x="184" y="534"/>
                      </a:lnTo>
                      <a:lnTo>
                        <a:pt x="182" y="538"/>
                      </a:lnTo>
                      <a:lnTo>
                        <a:pt x="182" y="541"/>
                      </a:lnTo>
                      <a:lnTo>
                        <a:pt x="184" y="541"/>
                      </a:lnTo>
                      <a:lnTo>
                        <a:pt x="185" y="543"/>
                      </a:lnTo>
                      <a:lnTo>
                        <a:pt x="187" y="545"/>
                      </a:lnTo>
                      <a:lnTo>
                        <a:pt x="187" y="546"/>
                      </a:lnTo>
                      <a:lnTo>
                        <a:pt x="185" y="546"/>
                      </a:lnTo>
                      <a:lnTo>
                        <a:pt x="182" y="545"/>
                      </a:lnTo>
                      <a:lnTo>
                        <a:pt x="180" y="545"/>
                      </a:lnTo>
                      <a:lnTo>
                        <a:pt x="178" y="545"/>
                      </a:lnTo>
                      <a:lnTo>
                        <a:pt x="178" y="545"/>
                      </a:lnTo>
                      <a:lnTo>
                        <a:pt x="177" y="545"/>
                      </a:lnTo>
                      <a:lnTo>
                        <a:pt x="177" y="546"/>
                      </a:lnTo>
                      <a:lnTo>
                        <a:pt x="177" y="546"/>
                      </a:lnTo>
                      <a:lnTo>
                        <a:pt x="175" y="546"/>
                      </a:lnTo>
                      <a:lnTo>
                        <a:pt x="173" y="546"/>
                      </a:lnTo>
                      <a:lnTo>
                        <a:pt x="173" y="545"/>
                      </a:lnTo>
                      <a:lnTo>
                        <a:pt x="171" y="545"/>
                      </a:lnTo>
                      <a:lnTo>
                        <a:pt x="171" y="543"/>
                      </a:lnTo>
                      <a:lnTo>
                        <a:pt x="173" y="543"/>
                      </a:lnTo>
                      <a:lnTo>
                        <a:pt x="173" y="541"/>
                      </a:lnTo>
                      <a:lnTo>
                        <a:pt x="173" y="541"/>
                      </a:lnTo>
                      <a:lnTo>
                        <a:pt x="173" y="541"/>
                      </a:lnTo>
                      <a:lnTo>
                        <a:pt x="170" y="541"/>
                      </a:lnTo>
                      <a:lnTo>
                        <a:pt x="166" y="541"/>
                      </a:lnTo>
                      <a:lnTo>
                        <a:pt x="168" y="539"/>
                      </a:lnTo>
                      <a:lnTo>
                        <a:pt x="159" y="541"/>
                      </a:lnTo>
                      <a:lnTo>
                        <a:pt x="150" y="546"/>
                      </a:lnTo>
                      <a:lnTo>
                        <a:pt x="133" y="562"/>
                      </a:lnTo>
                      <a:lnTo>
                        <a:pt x="131" y="562"/>
                      </a:lnTo>
                      <a:lnTo>
                        <a:pt x="129" y="562"/>
                      </a:lnTo>
                      <a:lnTo>
                        <a:pt x="128" y="562"/>
                      </a:lnTo>
                      <a:lnTo>
                        <a:pt x="128" y="562"/>
                      </a:lnTo>
                      <a:lnTo>
                        <a:pt x="124" y="564"/>
                      </a:lnTo>
                      <a:lnTo>
                        <a:pt x="123" y="566"/>
                      </a:lnTo>
                      <a:lnTo>
                        <a:pt x="121" y="573"/>
                      </a:lnTo>
                      <a:lnTo>
                        <a:pt x="124" y="571"/>
                      </a:lnTo>
                      <a:lnTo>
                        <a:pt x="126" y="571"/>
                      </a:lnTo>
                      <a:lnTo>
                        <a:pt x="126" y="569"/>
                      </a:lnTo>
                      <a:lnTo>
                        <a:pt x="126" y="566"/>
                      </a:lnTo>
                      <a:lnTo>
                        <a:pt x="128" y="567"/>
                      </a:lnTo>
                      <a:lnTo>
                        <a:pt x="131" y="569"/>
                      </a:lnTo>
                      <a:lnTo>
                        <a:pt x="133" y="569"/>
                      </a:lnTo>
                      <a:lnTo>
                        <a:pt x="135" y="567"/>
                      </a:lnTo>
                      <a:lnTo>
                        <a:pt x="136" y="567"/>
                      </a:lnTo>
                      <a:lnTo>
                        <a:pt x="136" y="566"/>
                      </a:lnTo>
                      <a:lnTo>
                        <a:pt x="136" y="564"/>
                      </a:lnTo>
                      <a:lnTo>
                        <a:pt x="136" y="564"/>
                      </a:lnTo>
                      <a:lnTo>
                        <a:pt x="136" y="562"/>
                      </a:lnTo>
                      <a:lnTo>
                        <a:pt x="136" y="560"/>
                      </a:lnTo>
                      <a:lnTo>
                        <a:pt x="138" y="562"/>
                      </a:lnTo>
                      <a:lnTo>
                        <a:pt x="140" y="562"/>
                      </a:lnTo>
                      <a:lnTo>
                        <a:pt x="142" y="564"/>
                      </a:lnTo>
                      <a:lnTo>
                        <a:pt x="142" y="564"/>
                      </a:lnTo>
                      <a:lnTo>
                        <a:pt x="140" y="566"/>
                      </a:lnTo>
                      <a:lnTo>
                        <a:pt x="143" y="566"/>
                      </a:lnTo>
                      <a:lnTo>
                        <a:pt x="149" y="564"/>
                      </a:lnTo>
                      <a:lnTo>
                        <a:pt x="152" y="560"/>
                      </a:lnTo>
                      <a:lnTo>
                        <a:pt x="156" y="557"/>
                      </a:lnTo>
                      <a:lnTo>
                        <a:pt x="157" y="553"/>
                      </a:lnTo>
                      <a:lnTo>
                        <a:pt x="159" y="552"/>
                      </a:lnTo>
                      <a:lnTo>
                        <a:pt x="163" y="550"/>
                      </a:lnTo>
                      <a:lnTo>
                        <a:pt x="168" y="553"/>
                      </a:lnTo>
                      <a:lnTo>
                        <a:pt x="164" y="553"/>
                      </a:lnTo>
                      <a:lnTo>
                        <a:pt x="161" y="555"/>
                      </a:lnTo>
                      <a:lnTo>
                        <a:pt x="163" y="557"/>
                      </a:lnTo>
                      <a:lnTo>
                        <a:pt x="168" y="557"/>
                      </a:lnTo>
                      <a:lnTo>
                        <a:pt x="170" y="557"/>
                      </a:lnTo>
                      <a:lnTo>
                        <a:pt x="171" y="555"/>
                      </a:lnTo>
                      <a:lnTo>
                        <a:pt x="173" y="553"/>
                      </a:lnTo>
                      <a:lnTo>
                        <a:pt x="175" y="553"/>
                      </a:lnTo>
                      <a:lnTo>
                        <a:pt x="177" y="553"/>
                      </a:lnTo>
                      <a:lnTo>
                        <a:pt x="177" y="553"/>
                      </a:lnTo>
                      <a:lnTo>
                        <a:pt x="180" y="553"/>
                      </a:lnTo>
                      <a:lnTo>
                        <a:pt x="180" y="553"/>
                      </a:lnTo>
                      <a:lnTo>
                        <a:pt x="182" y="553"/>
                      </a:lnTo>
                      <a:lnTo>
                        <a:pt x="182" y="553"/>
                      </a:lnTo>
                      <a:lnTo>
                        <a:pt x="184" y="552"/>
                      </a:lnTo>
                      <a:lnTo>
                        <a:pt x="184" y="552"/>
                      </a:lnTo>
                      <a:lnTo>
                        <a:pt x="185" y="550"/>
                      </a:lnTo>
                      <a:lnTo>
                        <a:pt x="194" y="546"/>
                      </a:lnTo>
                      <a:lnTo>
                        <a:pt x="196" y="545"/>
                      </a:lnTo>
                      <a:lnTo>
                        <a:pt x="199" y="545"/>
                      </a:lnTo>
                      <a:lnTo>
                        <a:pt x="199" y="546"/>
                      </a:lnTo>
                      <a:lnTo>
                        <a:pt x="201" y="550"/>
                      </a:lnTo>
                      <a:lnTo>
                        <a:pt x="201" y="550"/>
                      </a:lnTo>
                      <a:lnTo>
                        <a:pt x="205" y="546"/>
                      </a:lnTo>
                      <a:lnTo>
                        <a:pt x="205" y="545"/>
                      </a:lnTo>
                      <a:lnTo>
                        <a:pt x="208" y="543"/>
                      </a:lnTo>
                      <a:lnTo>
                        <a:pt x="215" y="543"/>
                      </a:lnTo>
                      <a:lnTo>
                        <a:pt x="219" y="541"/>
                      </a:lnTo>
                      <a:lnTo>
                        <a:pt x="220" y="539"/>
                      </a:lnTo>
                      <a:lnTo>
                        <a:pt x="222" y="536"/>
                      </a:lnTo>
                      <a:lnTo>
                        <a:pt x="224" y="536"/>
                      </a:lnTo>
                      <a:lnTo>
                        <a:pt x="224" y="536"/>
                      </a:lnTo>
                      <a:lnTo>
                        <a:pt x="224" y="538"/>
                      </a:lnTo>
                      <a:lnTo>
                        <a:pt x="226" y="538"/>
                      </a:lnTo>
                      <a:lnTo>
                        <a:pt x="226" y="538"/>
                      </a:lnTo>
                      <a:lnTo>
                        <a:pt x="227" y="538"/>
                      </a:lnTo>
                      <a:lnTo>
                        <a:pt x="229" y="536"/>
                      </a:lnTo>
                      <a:lnTo>
                        <a:pt x="229" y="534"/>
                      </a:lnTo>
                      <a:lnTo>
                        <a:pt x="227" y="532"/>
                      </a:lnTo>
                      <a:lnTo>
                        <a:pt x="226" y="532"/>
                      </a:lnTo>
                      <a:lnTo>
                        <a:pt x="224" y="532"/>
                      </a:lnTo>
                      <a:lnTo>
                        <a:pt x="227" y="529"/>
                      </a:lnTo>
                      <a:lnTo>
                        <a:pt x="231" y="527"/>
                      </a:lnTo>
                      <a:lnTo>
                        <a:pt x="238" y="526"/>
                      </a:lnTo>
                      <a:lnTo>
                        <a:pt x="234" y="526"/>
                      </a:lnTo>
                      <a:lnTo>
                        <a:pt x="236" y="524"/>
                      </a:lnTo>
                      <a:lnTo>
                        <a:pt x="238" y="524"/>
                      </a:lnTo>
                      <a:lnTo>
                        <a:pt x="240" y="524"/>
                      </a:lnTo>
                      <a:lnTo>
                        <a:pt x="241" y="524"/>
                      </a:lnTo>
                      <a:lnTo>
                        <a:pt x="245" y="522"/>
                      </a:lnTo>
                      <a:lnTo>
                        <a:pt x="248" y="520"/>
                      </a:lnTo>
                      <a:lnTo>
                        <a:pt x="264" y="513"/>
                      </a:lnTo>
                      <a:lnTo>
                        <a:pt x="267" y="512"/>
                      </a:lnTo>
                      <a:lnTo>
                        <a:pt x="269" y="510"/>
                      </a:lnTo>
                      <a:lnTo>
                        <a:pt x="269" y="506"/>
                      </a:lnTo>
                      <a:lnTo>
                        <a:pt x="269" y="505"/>
                      </a:lnTo>
                      <a:lnTo>
                        <a:pt x="269" y="503"/>
                      </a:lnTo>
                      <a:lnTo>
                        <a:pt x="271" y="501"/>
                      </a:lnTo>
                      <a:lnTo>
                        <a:pt x="273" y="501"/>
                      </a:lnTo>
                      <a:lnTo>
                        <a:pt x="274" y="501"/>
                      </a:lnTo>
                      <a:lnTo>
                        <a:pt x="276" y="499"/>
                      </a:lnTo>
                      <a:lnTo>
                        <a:pt x="276" y="499"/>
                      </a:lnTo>
                      <a:lnTo>
                        <a:pt x="278" y="498"/>
                      </a:lnTo>
                      <a:lnTo>
                        <a:pt x="278" y="498"/>
                      </a:lnTo>
                      <a:lnTo>
                        <a:pt x="278" y="498"/>
                      </a:lnTo>
                      <a:lnTo>
                        <a:pt x="281" y="498"/>
                      </a:lnTo>
                      <a:lnTo>
                        <a:pt x="281" y="496"/>
                      </a:lnTo>
                      <a:lnTo>
                        <a:pt x="288" y="491"/>
                      </a:lnTo>
                      <a:lnTo>
                        <a:pt x="294" y="487"/>
                      </a:lnTo>
                      <a:lnTo>
                        <a:pt x="299" y="484"/>
                      </a:lnTo>
                      <a:lnTo>
                        <a:pt x="301" y="482"/>
                      </a:lnTo>
                      <a:lnTo>
                        <a:pt x="301" y="482"/>
                      </a:lnTo>
                      <a:lnTo>
                        <a:pt x="301" y="482"/>
                      </a:lnTo>
                      <a:lnTo>
                        <a:pt x="302" y="482"/>
                      </a:lnTo>
                      <a:lnTo>
                        <a:pt x="306" y="480"/>
                      </a:lnTo>
                      <a:lnTo>
                        <a:pt x="308" y="480"/>
                      </a:lnTo>
                      <a:lnTo>
                        <a:pt x="309" y="480"/>
                      </a:lnTo>
                      <a:lnTo>
                        <a:pt x="309" y="478"/>
                      </a:lnTo>
                      <a:lnTo>
                        <a:pt x="309" y="478"/>
                      </a:lnTo>
                      <a:lnTo>
                        <a:pt x="309" y="478"/>
                      </a:lnTo>
                      <a:lnTo>
                        <a:pt x="313" y="478"/>
                      </a:lnTo>
                      <a:lnTo>
                        <a:pt x="313" y="477"/>
                      </a:lnTo>
                      <a:lnTo>
                        <a:pt x="316" y="477"/>
                      </a:lnTo>
                      <a:lnTo>
                        <a:pt x="316" y="475"/>
                      </a:lnTo>
                      <a:lnTo>
                        <a:pt x="316" y="473"/>
                      </a:lnTo>
                      <a:lnTo>
                        <a:pt x="316" y="473"/>
                      </a:lnTo>
                      <a:lnTo>
                        <a:pt x="315" y="473"/>
                      </a:lnTo>
                      <a:lnTo>
                        <a:pt x="318" y="470"/>
                      </a:lnTo>
                      <a:lnTo>
                        <a:pt x="323" y="464"/>
                      </a:lnTo>
                      <a:lnTo>
                        <a:pt x="327" y="463"/>
                      </a:lnTo>
                      <a:lnTo>
                        <a:pt x="330" y="461"/>
                      </a:lnTo>
                      <a:lnTo>
                        <a:pt x="334" y="457"/>
                      </a:lnTo>
                      <a:lnTo>
                        <a:pt x="336" y="454"/>
                      </a:lnTo>
                      <a:lnTo>
                        <a:pt x="334" y="450"/>
                      </a:lnTo>
                      <a:lnTo>
                        <a:pt x="330" y="450"/>
                      </a:lnTo>
                      <a:lnTo>
                        <a:pt x="329" y="449"/>
                      </a:lnTo>
                      <a:lnTo>
                        <a:pt x="322" y="447"/>
                      </a:lnTo>
                      <a:lnTo>
                        <a:pt x="320" y="447"/>
                      </a:lnTo>
                      <a:lnTo>
                        <a:pt x="318" y="445"/>
                      </a:lnTo>
                      <a:lnTo>
                        <a:pt x="318" y="443"/>
                      </a:lnTo>
                      <a:lnTo>
                        <a:pt x="320" y="438"/>
                      </a:lnTo>
                      <a:lnTo>
                        <a:pt x="323" y="436"/>
                      </a:lnTo>
                      <a:lnTo>
                        <a:pt x="330" y="429"/>
                      </a:lnTo>
                      <a:lnTo>
                        <a:pt x="329" y="429"/>
                      </a:lnTo>
                      <a:lnTo>
                        <a:pt x="330" y="428"/>
                      </a:lnTo>
                      <a:lnTo>
                        <a:pt x="332" y="426"/>
                      </a:lnTo>
                      <a:lnTo>
                        <a:pt x="334" y="426"/>
                      </a:lnTo>
                      <a:lnTo>
                        <a:pt x="334" y="428"/>
                      </a:lnTo>
                      <a:lnTo>
                        <a:pt x="339" y="428"/>
                      </a:lnTo>
                      <a:lnTo>
                        <a:pt x="341" y="426"/>
                      </a:lnTo>
                      <a:lnTo>
                        <a:pt x="341" y="424"/>
                      </a:lnTo>
                      <a:lnTo>
                        <a:pt x="337" y="422"/>
                      </a:lnTo>
                      <a:lnTo>
                        <a:pt x="341" y="421"/>
                      </a:lnTo>
                      <a:lnTo>
                        <a:pt x="344" y="421"/>
                      </a:lnTo>
                      <a:lnTo>
                        <a:pt x="348" y="419"/>
                      </a:lnTo>
                      <a:lnTo>
                        <a:pt x="350" y="417"/>
                      </a:lnTo>
                      <a:lnTo>
                        <a:pt x="350" y="414"/>
                      </a:lnTo>
                      <a:lnTo>
                        <a:pt x="348" y="412"/>
                      </a:lnTo>
                      <a:lnTo>
                        <a:pt x="344" y="408"/>
                      </a:lnTo>
                      <a:lnTo>
                        <a:pt x="343" y="407"/>
                      </a:lnTo>
                      <a:lnTo>
                        <a:pt x="344" y="407"/>
                      </a:lnTo>
                      <a:lnTo>
                        <a:pt x="348" y="408"/>
                      </a:lnTo>
                      <a:lnTo>
                        <a:pt x="350" y="408"/>
                      </a:lnTo>
                      <a:lnTo>
                        <a:pt x="353" y="408"/>
                      </a:lnTo>
                      <a:lnTo>
                        <a:pt x="357" y="407"/>
                      </a:lnTo>
                      <a:lnTo>
                        <a:pt x="357" y="403"/>
                      </a:lnTo>
                      <a:lnTo>
                        <a:pt x="358" y="401"/>
                      </a:lnTo>
                      <a:lnTo>
                        <a:pt x="358" y="400"/>
                      </a:lnTo>
                      <a:lnTo>
                        <a:pt x="360" y="396"/>
                      </a:lnTo>
                      <a:lnTo>
                        <a:pt x="367" y="393"/>
                      </a:lnTo>
                      <a:lnTo>
                        <a:pt x="369" y="391"/>
                      </a:lnTo>
                      <a:lnTo>
                        <a:pt x="369" y="391"/>
                      </a:lnTo>
                      <a:lnTo>
                        <a:pt x="369" y="387"/>
                      </a:lnTo>
                      <a:lnTo>
                        <a:pt x="369" y="386"/>
                      </a:lnTo>
                      <a:lnTo>
                        <a:pt x="370" y="386"/>
                      </a:lnTo>
                      <a:lnTo>
                        <a:pt x="372" y="384"/>
                      </a:lnTo>
                      <a:lnTo>
                        <a:pt x="381" y="379"/>
                      </a:lnTo>
                      <a:lnTo>
                        <a:pt x="390" y="373"/>
                      </a:lnTo>
                      <a:lnTo>
                        <a:pt x="393" y="373"/>
                      </a:lnTo>
                      <a:lnTo>
                        <a:pt x="395" y="372"/>
                      </a:lnTo>
                      <a:lnTo>
                        <a:pt x="395" y="372"/>
                      </a:lnTo>
                      <a:lnTo>
                        <a:pt x="397" y="373"/>
                      </a:lnTo>
                      <a:lnTo>
                        <a:pt x="397" y="373"/>
                      </a:lnTo>
                      <a:lnTo>
                        <a:pt x="402" y="373"/>
                      </a:lnTo>
                      <a:lnTo>
                        <a:pt x="404" y="373"/>
                      </a:lnTo>
                      <a:lnTo>
                        <a:pt x="407" y="372"/>
                      </a:lnTo>
                      <a:lnTo>
                        <a:pt x="412" y="368"/>
                      </a:lnTo>
                      <a:lnTo>
                        <a:pt x="414" y="367"/>
                      </a:lnTo>
                      <a:lnTo>
                        <a:pt x="418" y="365"/>
                      </a:lnTo>
                      <a:lnTo>
                        <a:pt x="421" y="365"/>
                      </a:lnTo>
                      <a:lnTo>
                        <a:pt x="416" y="368"/>
                      </a:lnTo>
                      <a:lnTo>
                        <a:pt x="412" y="370"/>
                      </a:lnTo>
                      <a:lnTo>
                        <a:pt x="411" y="372"/>
                      </a:lnTo>
                      <a:lnTo>
                        <a:pt x="409" y="373"/>
                      </a:lnTo>
                      <a:lnTo>
                        <a:pt x="409" y="375"/>
                      </a:lnTo>
                      <a:lnTo>
                        <a:pt x="407" y="375"/>
                      </a:lnTo>
                      <a:lnTo>
                        <a:pt x="405" y="377"/>
                      </a:lnTo>
                      <a:lnTo>
                        <a:pt x="407" y="379"/>
                      </a:lnTo>
                      <a:lnTo>
                        <a:pt x="411" y="380"/>
                      </a:lnTo>
                      <a:lnTo>
                        <a:pt x="414" y="382"/>
                      </a:lnTo>
                      <a:lnTo>
                        <a:pt x="418" y="384"/>
                      </a:lnTo>
                      <a:lnTo>
                        <a:pt x="423" y="384"/>
                      </a:lnTo>
                      <a:lnTo>
                        <a:pt x="425" y="386"/>
                      </a:lnTo>
                      <a:lnTo>
                        <a:pt x="426" y="387"/>
                      </a:lnTo>
                      <a:lnTo>
                        <a:pt x="423" y="387"/>
                      </a:lnTo>
                      <a:lnTo>
                        <a:pt x="416" y="384"/>
                      </a:lnTo>
                      <a:lnTo>
                        <a:pt x="411" y="384"/>
                      </a:lnTo>
                      <a:lnTo>
                        <a:pt x="409" y="384"/>
                      </a:lnTo>
                      <a:lnTo>
                        <a:pt x="405" y="386"/>
                      </a:lnTo>
                      <a:lnTo>
                        <a:pt x="404" y="386"/>
                      </a:lnTo>
                      <a:lnTo>
                        <a:pt x="404" y="384"/>
                      </a:lnTo>
                      <a:lnTo>
                        <a:pt x="400" y="382"/>
                      </a:lnTo>
                      <a:lnTo>
                        <a:pt x="398" y="382"/>
                      </a:lnTo>
                      <a:lnTo>
                        <a:pt x="397" y="382"/>
                      </a:lnTo>
                      <a:lnTo>
                        <a:pt x="393" y="384"/>
                      </a:lnTo>
                      <a:lnTo>
                        <a:pt x="386" y="387"/>
                      </a:lnTo>
                      <a:lnTo>
                        <a:pt x="381" y="391"/>
                      </a:lnTo>
                      <a:lnTo>
                        <a:pt x="379" y="393"/>
                      </a:lnTo>
                      <a:lnTo>
                        <a:pt x="377" y="394"/>
                      </a:lnTo>
                      <a:lnTo>
                        <a:pt x="377" y="400"/>
                      </a:lnTo>
                      <a:lnTo>
                        <a:pt x="377" y="401"/>
                      </a:lnTo>
                      <a:lnTo>
                        <a:pt x="377" y="405"/>
                      </a:lnTo>
                      <a:lnTo>
                        <a:pt x="376" y="408"/>
                      </a:lnTo>
                      <a:lnTo>
                        <a:pt x="374" y="412"/>
                      </a:lnTo>
                      <a:lnTo>
                        <a:pt x="370" y="417"/>
                      </a:lnTo>
                      <a:lnTo>
                        <a:pt x="369" y="421"/>
                      </a:lnTo>
                      <a:lnTo>
                        <a:pt x="367" y="424"/>
                      </a:lnTo>
                      <a:lnTo>
                        <a:pt x="369" y="426"/>
                      </a:lnTo>
                      <a:lnTo>
                        <a:pt x="370" y="428"/>
                      </a:lnTo>
                      <a:lnTo>
                        <a:pt x="374" y="429"/>
                      </a:lnTo>
                      <a:lnTo>
                        <a:pt x="377" y="428"/>
                      </a:lnTo>
                      <a:lnTo>
                        <a:pt x="383" y="424"/>
                      </a:lnTo>
                      <a:lnTo>
                        <a:pt x="384" y="424"/>
                      </a:lnTo>
                      <a:lnTo>
                        <a:pt x="383" y="428"/>
                      </a:lnTo>
                      <a:lnTo>
                        <a:pt x="379" y="431"/>
                      </a:lnTo>
                      <a:lnTo>
                        <a:pt x="377" y="433"/>
                      </a:lnTo>
                      <a:lnTo>
                        <a:pt x="374" y="435"/>
                      </a:lnTo>
                      <a:lnTo>
                        <a:pt x="369" y="436"/>
                      </a:lnTo>
                      <a:lnTo>
                        <a:pt x="365" y="438"/>
                      </a:lnTo>
                      <a:lnTo>
                        <a:pt x="365" y="442"/>
                      </a:lnTo>
                      <a:lnTo>
                        <a:pt x="367" y="443"/>
                      </a:lnTo>
                      <a:lnTo>
                        <a:pt x="369" y="443"/>
                      </a:lnTo>
                      <a:lnTo>
                        <a:pt x="372" y="443"/>
                      </a:lnTo>
                      <a:lnTo>
                        <a:pt x="374" y="443"/>
                      </a:lnTo>
                      <a:lnTo>
                        <a:pt x="379" y="443"/>
                      </a:lnTo>
                      <a:lnTo>
                        <a:pt x="381" y="442"/>
                      </a:lnTo>
                      <a:lnTo>
                        <a:pt x="381" y="440"/>
                      </a:lnTo>
                      <a:lnTo>
                        <a:pt x="383" y="442"/>
                      </a:lnTo>
                      <a:lnTo>
                        <a:pt x="386" y="442"/>
                      </a:lnTo>
                      <a:lnTo>
                        <a:pt x="386" y="442"/>
                      </a:lnTo>
                      <a:lnTo>
                        <a:pt x="386" y="442"/>
                      </a:lnTo>
                      <a:lnTo>
                        <a:pt x="388" y="440"/>
                      </a:lnTo>
                      <a:lnTo>
                        <a:pt x="390" y="438"/>
                      </a:lnTo>
                      <a:lnTo>
                        <a:pt x="391" y="436"/>
                      </a:lnTo>
                      <a:lnTo>
                        <a:pt x="393" y="433"/>
                      </a:lnTo>
                      <a:lnTo>
                        <a:pt x="395" y="431"/>
                      </a:lnTo>
                      <a:lnTo>
                        <a:pt x="404" y="431"/>
                      </a:lnTo>
                      <a:lnTo>
                        <a:pt x="407" y="428"/>
                      </a:lnTo>
                      <a:lnTo>
                        <a:pt x="407" y="424"/>
                      </a:lnTo>
                      <a:lnTo>
                        <a:pt x="407" y="424"/>
                      </a:lnTo>
                      <a:lnTo>
                        <a:pt x="411" y="426"/>
                      </a:lnTo>
                      <a:lnTo>
                        <a:pt x="411" y="426"/>
                      </a:lnTo>
                      <a:lnTo>
                        <a:pt x="411" y="424"/>
                      </a:lnTo>
                      <a:lnTo>
                        <a:pt x="412" y="422"/>
                      </a:lnTo>
                      <a:lnTo>
                        <a:pt x="412" y="421"/>
                      </a:lnTo>
                      <a:lnTo>
                        <a:pt x="412" y="421"/>
                      </a:lnTo>
                      <a:lnTo>
                        <a:pt x="414" y="421"/>
                      </a:lnTo>
                      <a:lnTo>
                        <a:pt x="416" y="424"/>
                      </a:lnTo>
                      <a:lnTo>
                        <a:pt x="419" y="417"/>
                      </a:lnTo>
                      <a:lnTo>
                        <a:pt x="419" y="414"/>
                      </a:lnTo>
                      <a:lnTo>
                        <a:pt x="421" y="415"/>
                      </a:lnTo>
                      <a:lnTo>
                        <a:pt x="423" y="417"/>
                      </a:lnTo>
                      <a:lnTo>
                        <a:pt x="426" y="417"/>
                      </a:lnTo>
                      <a:lnTo>
                        <a:pt x="433" y="419"/>
                      </a:lnTo>
                      <a:lnTo>
                        <a:pt x="435" y="419"/>
                      </a:lnTo>
                      <a:lnTo>
                        <a:pt x="440" y="417"/>
                      </a:lnTo>
                      <a:lnTo>
                        <a:pt x="444" y="412"/>
                      </a:lnTo>
                      <a:lnTo>
                        <a:pt x="446" y="410"/>
                      </a:lnTo>
                      <a:lnTo>
                        <a:pt x="444" y="407"/>
                      </a:lnTo>
                      <a:lnTo>
                        <a:pt x="446" y="405"/>
                      </a:lnTo>
                      <a:lnTo>
                        <a:pt x="446" y="405"/>
                      </a:lnTo>
                      <a:lnTo>
                        <a:pt x="449" y="403"/>
                      </a:lnTo>
                      <a:lnTo>
                        <a:pt x="451" y="401"/>
                      </a:lnTo>
                      <a:lnTo>
                        <a:pt x="449" y="398"/>
                      </a:lnTo>
                      <a:lnTo>
                        <a:pt x="444" y="398"/>
                      </a:lnTo>
                      <a:lnTo>
                        <a:pt x="439" y="400"/>
                      </a:lnTo>
                      <a:lnTo>
                        <a:pt x="435" y="401"/>
                      </a:lnTo>
                      <a:lnTo>
                        <a:pt x="437" y="400"/>
                      </a:lnTo>
                      <a:lnTo>
                        <a:pt x="440" y="398"/>
                      </a:lnTo>
                      <a:lnTo>
                        <a:pt x="442" y="398"/>
                      </a:lnTo>
                      <a:lnTo>
                        <a:pt x="444" y="398"/>
                      </a:lnTo>
                      <a:lnTo>
                        <a:pt x="444" y="394"/>
                      </a:lnTo>
                      <a:lnTo>
                        <a:pt x="444" y="394"/>
                      </a:lnTo>
                      <a:lnTo>
                        <a:pt x="442" y="393"/>
                      </a:lnTo>
                      <a:lnTo>
                        <a:pt x="440" y="391"/>
                      </a:lnTo>
                      <a:lnTo>
                        <a:pt x="439" y="389"/>
                      </a:lnTo>
                      <a:lnTo>
                        <a:pt x="439" y="389"/>
                      </a:lnTo>
                      <a:lnTo>
                        <a:pt x="440" y="389"/>
                      </a:lnTo>
                      <a:lnTo>
                        <a:pt x="442" y="387"/>
                      </a:lnTo>
                      <a:lnTo>
                        <a:pt x="444" y="386"/>
                      </a:lnTo>
                      <a:lnTo>
                        <a:pt x="444" y="382"/>
                      </a:lnTo>
                      <a:lnTo>
                        <a:pt x="444" y="382"/>
                      </a:lnTo>
                      <a:lnTo>
                        <a:pt x="440" y="382"/>
                      </a:lnTo>
                      <a:lnTo>
                        <a:pt x="442" y="380"/>
                      </a:lnTo>
                      <a:lnTo>
                        <a:pt x="444" y="380"/>
                      </a:lnTo>
                      <a:lnTo>
                        <a:pt x="446" y="380"/>
                      </a:lnTo>
                      <a:lnTo>
                        <a:pt x="447" y="380"/>
                      </a:lnTo>
                      <a:lnTo>
                        <a:pt x="449" y="379"/>
                      </a:lnTo>
                      <a:lnTo>
                        <a:pt x="453" y="377"/>
                      </a:lnTo>
                      <a:lnTo>
                        <a:pt x="454" y="375"/>
                      </a:lnTo>
                      <a:lnTo>
                        <a:pt x="451" y="380"/>
                      </a:lnTo>
                      <a:lnTo>
                        <a:pt x="449" y="384"/>
                      </a:lnTo>
                      <a:lnTo>
                        <a:pt x="451" y="386"/>
                      </a:lnTo>
                      <a:lnTo>
                        <a:pt x="453" y="387"/>
                      </a:lnTo>
                      <a:lnTo>
                        <a:pt x="456" y="387"/>
                      </a:lnTo>
                      <a:lnTo>
                        <a:pt x="458" y="386"/>
                      </a:lnTo>
                      <a:lnTo>
                        <a:pt x="460" y="384"/>
                      </a:lnTo>
                      <a:lnTo>
                        <a:pt x="461" y="384"/>
                      </a:lnTo>
                      <a:lnTo>
                        <a:pt x="465" y="384"/>
                      </a:lnTo>
                      <a:lnTo>
                        <a:pt x="470" y="382"/>
                      </a:lnTo>
                      <a:lnTo>
                        <a:pt x="474" y="382"/>
                      </a:lnTo>
                      <a:lnTo>
                        <a:pt x="475" y="382"/>
                      </a:lnTo>
                      <a:lnTo>
                        <a:pt x="479" y="379"/>
                      </a:lnTo>
                      <a:lnTo>
                        <a:pt x="480" y="379"/>
                      </a:lnTo>
                      <a:lnTo>
                        <a:pt x="484" y="379"/>
                      </a:lnTo>
                      <a:lnTo>
                        <a:pt x="486" y="379"/>
                      </a:lnTo>
                      <a:lnTo>
                        <a:pt x="480" y="380"/>
                      </a:lnTo>
                      <a:lnTo>
                        <a:pt x="479" y="382"/>
                      </a:lnTo>
                      <a:lnTo>
                        <a:pt x="479" y="384"/>
                      </a:lnTo>
                      <a:lnTo>
                        <a:pt x="479" y="386"/>
                      </a:lnTo>
                      <a:lnTo>
                        <a:pt x="480" y="387"/>
                      </a:lnTo>
                      <a:lnTo>
                        <a:pt x="482" y="389"/>
                      </a:lnTo>
                      <a:lnTo>
                        <a:pt x="484" y="389"/>
                      </a:lnTo>
                      <a:lnTo>
                        <a:pt x="482" y="391"/>
                      </a:lnTo>
                      <a:lnTo>
                        <a:pt x="480" y="391"/>
                      </a:lnTo>
                      <a:lnTo>
                        <a:pt x="480" y="393"/>
                      </a:lnTo>
                      <a:lnTo>
                        <a:pt x="482" y="393"/>
                      </a:lnTo>
                      <a:lnTo>
                        <a:pt x="482" y="393"/>
                      </a:lnTo>
                      <a:lnTo>
                        <a:pt x="484" y="393"/>
                      </a:lnTo>
                      <a:lnTo>
                        <a:pt x="486" y="393"/>
                      </a:lnTo>
                      <a:lnTo>
                        <a:pt x="487" y="393"/>
                      </a:lnTo>
                      <a:lnTo>
                        <a:pt x="489" y="393"/>
                      </a:lnTo>
                      <a:lnTo>
                        <a:pt x="489" y="394"/>
                      </a:lnTo>
                      <a:lnTo>
                        <a:pt x="489" y="394"/>
                      </a:lnTo>
                      <a:lnTo>
                        <a:pt x="491" y="394"/>
                      </a:lnTo>
                      <a:lnTo>
                        <a:pt x="493" y="394"/>
                      </a:lnTo>
                      <a:lnTo>
                        <a:pt x="500" y="394"/>
                      </a:lnTo>
                      <a:lnTo>
                        <a:pt x="498" y="396"/>
                      </a:lnTo>
                      <a:lnTo>
                        <a:pt x="498" y="398"/>
                      </a:lnTo>
                      <a:lnTo>
                        <a:pt x="496" y="400"/>
                      </a:lnTo>
                      <a:lnTo>
                        <a:pt x="494" y="401"/>
                      </a:lnTo>
                      <a:lnTo>
                        <a:pt x="498" y="401"/>
                      </a:lnTo>
                      <a:lnTo>
                        <a:pt x="505" y="405"/>
                      </a:lnTo>
                      <a:lnTo>
                        <a:pt x="508" y="405"/>
                      </a:lnTo>
                      <a:lnTo>
                        <a:pt x="512" y="403"/>
                      </a:lnTo>
                      <a:lnTo>
                        <a:pt x="517" y="396"/>
                      </a:lnTo>
                      <a:lnTo>
                        <a:pt x="521" y="394"/>
                      </a:lnTo>
                      <a:lnTo>
                        <a:pt x="517" y="398"/>
                      </a:lnTo>
                      <a:lnTo>
                        <a:pt x="515" y="403"/>
                      </a:lnTo>
                      <a:lnTo>
                        <a:pt x="517" y="407"/>
                      </a:lnTo>
                      <a:lnTo>
                        <a:pt x="521" y="408"/>
                      </a:lnTo>
                      <a:lnTo>
                        <a:pt x="529" y="412"/>
                      </a:lnTo>
                      <a:lnTo>
                        <a:pt x="533" y="414"/>
                      </a:lnTo>
                      <a:lnTo>
                        <a:pt x="531" y="415"/>
                      </a:lnTo>
                      <a:lnTo>
                        <a:pt x="535" y="417"/>
                      </a:lnTo>
                      <a:lnTo>
                        <a:pt x="538" y="417"/>
                      </a:lnTo>
                      <a:lnTo>
                        <a:pt x="547" y="415"/>
                      </a:lnTo>
                      <a:lnTo>
                        <a:pt x="556" y="414"/>
                      </a:lnTo>
                      <a:lnTo>
                        <a:pt x="561" y="414"/>
                      </a:lnTo>
                      <a:lnTo>
                        <a:pt x="566" y="414"/>
                      </a:lnTo>
                      <a:lnTo>
                        <a:pt x="580" y="417"/>
                      </a:lnTo>
                      <a:lnTo>
                        <a:pt x="587" y="417"/>
                      </a:lnTo>
                      <a:lnTo>
                        <a:pt x="591" y="414"/>
                      </a:lnTo>
                      <a:lnTo>
                        <a:pt x="592" y="415"/>
                      </a:lnTo>
                      <a:lnTo>
                        <a:pt x="592" y="417"/>
                      </a:lnTo>
                      <a:lnTo>
                        <a:pt x="592" y="419"/>
                      </a:lnTo>
                      <a:lnTo>
                        <a:pt x="591" y="421"/>
                      </a:lnTo>
                      <a:lnTo>
                        <a:pt x="597" y="424"/>
                      </a:lnTo>
                      <a:lnTo>
                        <a:pt x="604" y="426"/>
                      </a:lnTo>
                      <a:lnTo>
                        <a:pt x="611" y="426"/>
                      </a:lnTo>
                      <a:lnTo>
                        <a:pt x="618" y="424"/>
                      </a:lnTo>
                      <a:lnTo>
                        <a:pt x="622" y="422"/>
                      </a:lnTo>
                      <a:lnTo>
                        <a:pt x="629" y="417"/>
                      </a:lnTo>
                      <a:lnTo>
                        <a:pt x="631" y="417"/>
                      </a:lnTo>
                      <a:lnTo>
                        <a:pt x="632" y="417"/>
                      </a:lnTo>
                      <a:lnTo>
                        <a:pt x="632" y="417"/>
                      </a:lnTo>
                      <a:lnTo>
                        <a:pt x="634" y="419"/>
                      </a:lnTo>
                      <a:lnTo>
                        <a:pt x="636" y="419"/>
                      </a:lnTo>
                      <a:lnTo>
                        <a:pt x="639" y="422"/>
                      </a:lnTo>
                      <a:lnTo>
                        <a:pt x="643" y="422"/>
                      </a:lnTo>
                      <a:lnTo>
                        <a:pt x="639" y="422"/>
                      </a:lnTo>
                      <a:lnTo>
                        <a:pt x="638" y="424"/>
                      </a:lnTo>
                      <a:lnTo>
                        <a:pt x="636" y="429"/>
                      </a:lnTo>
                      <a:lnTo>
                        <a:pt x="634" y="422"/>
                      </a:lnTo>
                      <a:lnTo>
                        <a:pt x="632" y="419"/>
                      </a:lnTo>
                      <a:lnTo>
                        <a:pt x="631" y="421"/>
                      </a:lnTo>
                      <a:lnTo>
                        <a:pt x="629" y="422"/>
                      </a:lnTo>
                      <a:lnTo>
                        <a:pt x="631" y="424"/>
                      </a:lnTo>
                      <a:lnTo>
                        <a:pt x="631" y="426"/>
                      </a:lnTo>
                      <a:lnTo>
                        <a:pt x="631" y="426"/>
                      </a:lnTo>
                      <a:lnTo>
                        <a:pt x="631" y="429"/>
                      </a:lnTo>
                      <a:lnTo>
                        <a:pt x="629" y="429"/>
                      </a:lnTo>
                      <a:lnTo>
                        <a:pt x="627" y="431"/>
                      </a:lnTo>
                      <a:lnTo>
                        <a:pt x="625" y="433"/>
                      </a:lnTo>
                      <a:lnTo>
                        <a:pt x="631" y="436"/>
                      </a:lnTo>
                      <a:lnTo>
                        <a:pt x="638" y="440"/>
                      </a:lnTo>
                      <a:lnTo>
                        <a:pt x="645" y="443"/>
                      </a:lnTo>
                      <a:lnTo>
                        <a:pt x="652" y="445"/>
                      </a:lnTo>
                      <a:lnTo>
                        <a:pt x="652" y="445"/>
                      </a:lnTo>
                      <a:lnTo>
                        <a:pt x="652" y="445"/>
                      </a:lnTo>
                      <a:lnTo>
                        <a:pt x="660" y="450"/>
                      </a:lnTo>
                      <a:lnTo>
                        <a:pt x="674" y="463"/>
                      </a:lnTo>
                      <a:lnTo>
                        <a:pt x="681" y="470"/>
                      </a:lnTo>
                      <a:lnTo>
                        <a:pt x="688" y="473"/>
                      </a:lnTo>
                      <a:lnTo>
                        <a:pt x="690" y="473"/>
                      </a:lnTo>
                      <a:lnTo>
                        <a:pt x="694" y="473"/>
                      </a:lnTo>
                      <a:lnTo>
                        <a:pt x="695" y="473"/>
                      </a:lnTo>
                      <a:lnTo>
                        <a:pt x="697" y="473"/>
                      </a:lnTo>
                      <a:lnTo>
                        <a:pt x="699" y="471"/>
                      </a:lnTo>
                      <a:lnTo>
                        <a:pt x="704" y="471"/>
                      </a:lnTo>
                      <a:lnTo>
                        <a:pt x="704" y="470"/>
                      </a:lnTo>
                      <a:lnTo>
                        <a:pt x="704" y="468"/>
                      </a:lnTo>
                      <a:lnTo>
                        <a:pt x="704" y="464"/>
                      </a:lnTo>
                      <a:lnTo>
                        <a:pt x="702" y="463"/>
                      </a:lnTo>
                      <a:lnTo>
                        <a:pt x="699" y="463"/>
                      </a:lnTo>
                      <a:lnTo>
                        <a:pt x="695" y="463"/>
                      </a:lnTo>
                      <a:lnTo>
                        <a:pt x="697" y="459"/>
                      </a:lnTo>
                      <a:lnTo>
                        <a:pt x="694" y="456"/>
                      </a:lnTo>
                      <a:lnTo>
                        <a:pt x="688" y="454"/>
                      </a:lnTo>
                      <a:lnTo>
                        <a:pt x="683" y="454"/>
                      </a:lnTo>
                      <a:lnTo>
                        <a:pt x="685" y="454"/>
                      </a:lnTo>
                      <a:lnTo>
                        <a:pt x="685" y="452"/>
                      </a:lnTo>
                      <a:lnTo>
                        <a:pt x="685" y="450"/>
                      </a:lnTo>
                      <a:lnTo>
                        <a:pt x="685" y="449"/>
                      </a:lnTo>
                      <a:lnTo>
                        <a:pt x="687" y="450"/>
                      </a:lnTo>
                      <a:lnTo>
                        <a:pt x="692" y="452"/>
                      </a:lnTo>
                      <a:lnTo>
                        <a:pt x="694" y="452"/>
                      </a:lnTo>
                      <a:lnTo>
                        <a:pt x="695" y="454"/>
                      </a:lnTo>
                      <a:lnTo>
                        <a:pt x="697" y="454"/>
                      </a:lnTo>
                      <a:lnTo>
                        <a:pt x="697" y="456"/>
                      </a:lnTo>
                      <a:lnTo>
                        <a:pt x="699" y="457"/>
                      </a:lnTo>
                      <a:lnTo>
                        <a:pt x="702" y="457"/>
                      </a:lnTo>
                      <a:lnTo>
                        <a:pt x="704" y="456"/>
                      </a:lnTo>
                      <a:lnTo>
                        <a:pt x="702" y="452"/>
                      </a:lnTo>
                      <a:lnTo>
                        <a:pt x="702" y="449"/>
                      </a:lnTo>
                      <a:lnTo>
                        <a:pt x="706" y="452"/>
                      </a:lnTo>
                      <a:lnTo>
                        <a:pt x="708" y="454"/>
                      </a:lnTo>
                      <a:lnTo>
                        <a:pt x="709" y="454"/>
                      </a:lnTo>
                      <a:lnTo>
                        <a:pt x="708" y="456"/>
                      </a:lnTo>
                      <a:lnTo>
                        <a:pt x="706" y="456"/>
                      </a:lnTo>
                      <a:lnTo>
                        <a:pt x="706" y="457"/>
                      </a:lnTo>
                      <a:lnTo>
                        <a:pt x="708" y="459"/>
                      </a:lnTo>
                      <a:lnTo>
                        <a:pt x="708" y="461"/>
                      </a:lnTo>
                      <a:lnTo>
                        <a:pt x="709" y="463"/>
                      </a:lnTo>
                      <a:lnTo>
                        <a:pt x="709" y="463"/>
                      </a:lnTo>
                      <a:lnTo>
                        <a:pt x="709" y="464"/>
                      </a:lnTo>
                      <a:lnTo>
                        <a:pt x="708" y="468"/>
                      </a:lnTo>
                      <a:lnTo>
                        <a:pt x="708" y="468"/>
                      </a:lnTo>
                      <a:lnTo>
                        <a:pt x="709" y="470"/>
                      </a:lnTo>
                      <a:lnTo>
                        <a:pt x="711" y="470"/>
                      </a:lnTo>
                      <a:lnTo>
                        <a:pt x="714" y="470"/>
                      </a:lnTo>
                      <a:lnTo>
                        <a:pt x="716" y="470"/>
                      </a:lnTo>
                      <a:lnTo>
                        <a:pt x="718" y="471"/>
                      </a:lnTo>
                      <a:lnTo>
                        <a:pt x="720" y="473"/>
                      </a:lnTo>
                      <a:lnTo>
                        <a:pt x="721" y="475"/>
                      </a:lnTo>
                      <a:lnTo>
                        <a:pt x="723" y="475"/>
                      </a:lnTo>
                      <a:lnTo>
                        <a:pt x="727" y="473"/>
                      </a:lnTo>
                      <a:lnTo>
                        <a:pt x="727" y="470"/>
                      </a:lnTo>
                      <a:lnTo>
                        <a:pt x="723" y="463"/>
                      </a:lnTo>
                      <a:lnTo>
                        <a:pt x="721" y="452"/>
                      </a:lnTo>
                      <a:lnTo>
                        <a:pt x="720" y="447"/>
                      </a:lnTo>
                      <a:lnTo>
                        <a:pt x="716" y="443"/>
                      </a:lnTo>
                      <a:lnTo>
                        <a:pt x="718" y="443"/>
                      </a:lnTo>
                      <a:lnTo>
                        <a:pt x="720" y="443"/>
                      </a:lnTo>
                      <a:lnTo>
                        <a:pt x="718" y="442"/>
                      </a:lnTo>
                      <a:lnTo>
                        <a:pt x="718" y="440"/>
                      </a:lnTo>
                      <a:lnTo>
                        <a:pt x="718" y="440"/>
                      </a:lnTo>
                      <a:lnTo>
                        <a:pt x="718" y="440"/>
                      </a:lnTo>
                      <a:lnTo>
                        <a:pt x="720" y="438"/>
                      </a:lnTo>
                      <a:lnTo>
                        <a:pt x="720" y="438"/>
                      </a:lnTo>
                      <a:lnTo>
                        <a:pt x="720" y="436"/>
                      </a:lnTo>
                      <a:lnTo>
                        <a:pt x="721" y="443"/>
                      </a:lnTo>
                      <a:lnTo>
                        <a:pt x="723" y="450"/>
                      </a:lnTo>
                      <a:lnTo>
                        <a:pt x="732" y="466"/>
                      </a:lnTo>
                      <a:lnTo>
                        <a:pt x="732" y="468"/>
                      </a:lnTo>
                      <a:lnTo>
                        <a:pt x="734" y="470"/>
                      </a:lnTo>
                      <a:lnTo>
                        <a:pt x="735" y="470"/>
                      </a:lnTo>
                      <a:lnTo>
                        <a:pt x="744" y="475"/>
                      </a:lnTo>
                      <a:lnTo>
                        <a:pt x="746" y="473"/>
                      </a:lnTo>
                      <a:lnTo>
                        <a:pt x="749" y="468"/>
                      </a:lnTo>
                      <a:lnTo>
                        <a:pt x="751" y="466"/>
                      </a:lnTo>
                      <a:lnTo>
                        <a:pt x="749" y="470"/>
                      </a:lnTo>
                      <a:lnTo>
                        <a:pt x="748" y="475"/>
                      </a:lnTo>
                      <a:lnTo>
                        <a:pt x="749" y="478"/>
                      </a:lnTo>
                      <a:lnTo>
                        <a:pt x="751" y="484"/>
                      </a:lnTo>
                      <a:lnTo>
                        <a:pt x="755" y="485"/>
                      </a:lnTo>
                      <a:lnTo>
                        <a:pt x="755" y="487"/>
                      </a:lnTo>
                      <a:lnTo>
                        <a:pt x="756" y="487"/>
                      </a:lnTo>
                      <a:lnTo>
                        <a:pt x="756" y="487"/>
                      </a:lnTo>
                      <a:lnTo>
                        <a:pt x="758" y="485"/>
                      </a:lnTo>
                      <a:lnTo>
                        <a:pt x="758" y="485"/>
                      </a:lnTo>
                      <a:lnTo>
                        <a:pt x="760" y="485"/>
                      </a:lnTo>
                      <a:lnTo>
                        <a:pt x="762" y="485"/>
                      </a:lnTo>
                      <a:lnTo>
                        <a:pt x="767" y="485"/>
                      </a:lnTo>
                      <a:lnTo>
                        <a:pt x="763" y="485"/>
                      </a:lnTo>
                      <a:lnTo>
                        <a:pt x="762" y="485"/>
                      </a:lnTo>
                      <a:lnTo>
                        <a:pt x="760" y="487"/>
                      </a:lnTo>
                      <a:lnTo>
                        <a:pt x="758" y="489"/>
                      </a:lnTo>
                      <a:lnTo>
                        <a:pt x="760" y="491"/>
                      </a:lnTo>
                      <a:lnTo>
                        <a:pt x="762" y="492"/>
                      </a:lnTo>
                      <a:lnTo>
                        <a:pt x="767" y="496"/>
                      </a:lnTo>
                      <a:lnTo>
                        <a:pt x="765" y="496"/>
                      </a:lnTo>
                      <a:lnTo>
                        <a:pt x="760" y="492"/>
                      </a:lnTo>
                      <a:lnTo>
                        <a:pt x="758" y="492"/>
                      </a:lnTo>
                      <a:lnTo>
                        <a:pt x="756" y="494"/>
                      </a:lnTo>
                      <a:lnTo>
                        <a:pt x="758" y="496"/>
                      </a:lnTo>
                      <a:lnTo>
                        <a:pt x="760" y="499"/>
                      </a:lnTo>
                      <a:lnTo>
                        <a:pt x="760" y="501"/>
                      </a:lnTo>
                      <a:lnTo>
                        <a:pt x="762" y="508"/>
                      </a:lnTo>
                      <a:lnTo>
                        <a:pt x="762" y="510"/>
                      </a:lnTo>
                      <a:lnTo>
                        <a:pt x="767" y="510"/>
                      </a:lnTo>
                      <a:lnTo>
                        <a:pt x="772" y="512"/>
                      </a:lnTo>
                      <a:lnTo>
                        <a:pt x="774" y="512"/>
                      </a:lnTo>
                      <a:lnTo>
                        <a:pt x="774" y="513"/>
                      </a:lnTo>
                      <a:lnTo>
                        <a:pt x="774" y="515"/>
                      </a:lnTo>
                      <a:lnTo>
                        <a:pt x="774" y="515"/>
                      </a:lnTo>
                      <a:lnTo>
                        <a:pt x="776" y="517"/>
                      </a:lnTo>
                      <a:lnTo>
                        <a:pt x="777" y="519"/>
                      </a:lnTo>
                      <a:lnTo>
                        <a:pt x="779" y="519"/>
                      </a:lnTo>
                      <a:lnTo>
                        <a:pt x="781" y="520"/>
                      </a:lnTo>
                      <a:lnTo>
                        <a:pt x="781" y="520"/>
                      </a:lnTo>
                      <a:lnTo>
                        <a:pt x="784" y="526"/>
                      </a:lnTo>
                      <a:lnTo>
                        <a:pt x="788" y="529"/>
                      </a:lnTo>
                      <a:lnTo>
                        <a:pt x="791" y="532"/>
                      </a:lnTo>
                      <a:lnTo>
                        <a:pt x="797" y="534"/>
                      </a:lnTo>
                      <a:lnTo>
                        <a:pt x="802" y="534"/>
                      </a:lnTo>
                      <a:lnTo>
                        <a:pt x="797" y="536"/>
                      </a:lnTo>
                      <a:lnTo>
                        <a:pt x="795" y="538"/>
                      </a:lnTo>
                      <a:lnTo>
                        <a:pt x="793" y="539"/>
                      </a:lnTo>
                      <a:lnTo>
                        <a:pt x="790" y="545"/>
                      </a:lnTo>
                      <a:lnTo>
                        <a:pt x="790" y="546"/>
                      </a:lnTo>
                      <a:lnTo>
                        <a:pt x="788" y="546"/>
                      </a:lnTo>
                      <a:lnTo>
                        <a:pt x="788" y="548"/>
                      </a:lnTo>
                      <a:lnTo>
                        <a:pt x="788" y="548"/>
                      </a:lnTo>
                      <a:lnTo>
                        <a:pt x="788" y="550"/>
                      </a:lnTo>
                      <a:lnTo>
                        <a:pt x="790" y="552"/>
                      </a:lnTo>
                      <a:lnTo>
                        <a:pt x="790" y="553"/>
                      </a:lnTo>
                      <a:lnTo>
                        <a:pt x="791" y="553"/>
                      </a:lnTo>
                      <a:lnTo>
                        <a:pt x="795" y="552"/>
                      </a:lnTo>
                      <a:lnTo>
                        <a:pt x="795" y="548"/>
                      </a:lnTo>
                      <a:lnTo>
                        <a:pt x="795" y="546"/>
                      </a:lnTo>
                      <a:lnTo>
                        <a:pt x="797" y="545"/>
                      </a:lnTo>
                      <a:lnTo>
                        <a:pt x="798" y="541"/>
                      </a:lnTo>
                      <a:lnTo>
                        <a:pt x="812" y="538"/>
                      </a:lnTo>
                      <a:lnTo>
                        <a:pt x="811" y="541"/>
                      </a:lnTo>
                      <a:lnTo>
                        <a:pt x="811" y="543"/>
                      </a:lnTo>
                      <a:lnTo>
                        <a:pt x="814" y="546"/>
                      </a:lnTo>
                      <a:lnTo>
                        <a:pt x="816" y="548"/>
                      </a:lnTo>
                      <a:lnTo>
                        <a:pt x="816" y="552"/>
                      </a:lnTo>
                      <a:lnTo>
                        <a:pt x="816" y="555"/>
                      </a:lnTo>
                      <a:lnTo>
                        <a:pt x="816" y="557"/>
                      </a:lnTo>
                      <a:lnTo>
                        <a:pt x="818" y="559"/>
                      </a:lnTo>
                      <a:lnTo>
                        <a:pt x="816" y="560"/>
                      </a:lnTo>
                      <a:lnTo>
                        <a:pt x="814" y="562"/>
                      </a:lnTo>
                      <a:lnTo>
                        <a:pt x="812" y="564"/>
                      </a:lnTo>
                      <a:lnTo>
                        <a:pt x="814" y="567"/>
                      </a:lnTo>
                      <a:lnTo>
                        <a:pt x="816" y="571"/>
                      </a:lnTo>
                      <a:lnTo>
                        <a:pt x="818" y="573"/>
                      </a:lnTo>
                      <a:lnTo>
                        <a:pt x="823" y="574"/>
                      </a:lnTo>
                      <a:lnTo>
                        <a:pt x="830" y="567"/>
                      </a:lnTo>
                      <a:lnTo>
                        <a:pt x="831" y="564"/>
                      </a:lnTo>
                      <a:lnTo>
                        <a:pt x="831" y="560"/>
                      </a:lnTo>
                      <a:lnTo>
                        <a:pt x="833" y="559"/>
                      </a:lnTo>
                      <a:lnTo>
                        <a:pt x="833" y="555"/>
                      </a:lnTo>
                      <a:lnTo>
                        <a:pt x="831" y="552"/>
                      </a:lnTo>
                      <a:lnTo>
                        <a:pt x="831" y="548"/>
                      </a:lnTo>
                      <a:lnTo>
                        <a:pt x="831" y="546"/>
                      </a:lnTo>
                      <a:lnTo>
                        <a:pt x="833" y="543"/>
                      </a:lnTo>
                      <a:lnTo>
                        <a:pt x="833" y="539"/>
                      </a:lnTo>
                      <a:lnTo>
                        <a:pt x="831" y="538"/>
                      </a:lnTo>
                      <a:lnTo>
                        <a:pt x="828" y="538"/>
                      </a:lnTo>
                      <a:close/>
                      <a:moveTo>
                        <a:pt x="2" y="311"/>
                      </a:moveTo>
                      <a:lnTo>
                        <a:pt x="4" y="309"/>
                      </a:lnTo>
                      <a:lnTo>
                        <a:pt x="6" y="307"/>
                      </a:lnTo>
                      <a:lnTo>
                        <a:pt x="7" y="304"/>
                      </a:lnTo>
                      <a:lnTo>
                        <a:pt x="0" y="304"/>
                      </a:lnTo>
                      <a:lnTo>
                        <a:pt x="0" y="309"/>
                      </a:lnTo>
                      <a:lnTo>
                        <a:pt x="2" y="311"/>
                      </a:lnTo>
                      <a:lnTo>
                        <a:pt x="2" y="311"/>
                      </a:lnTo>
                      <a:close/>
                      <a:moveTo>
                        <a:pt x="124" y="576"/>
                      </a:moveTo>
                      <a:lnTo>
                        <a:pt x="124" y="574"/>
                      </a:lnTo>
                      <a:lnTo>
                        <a:pt x="123" y="574"/>
                      </a:lnTo>
                      <a:lnTo>
                        <a:pt x="123" y="573"/>
                      </a:lnTo>
                      <a:lnTo>
                        <a:pt x="119" y="569"/>
                      </a:lnTo>
                      <a:lnTo>
                        <a:pt x="117" y="567"/>
                      </a:lnTo>
                      <a:lnTo>
                        <a:pt x="116" y="566"/>
                      </a:lnTo>
                      <a:lnTo>
                        <a:pt x="112" y="566"/>
                      </a:lnTo>
                      <a:lnTo>
                        <a:pt x="110" y="567"/>
                      </a:lnTo>
                      <a:lnTo>
                        <a:pt x="109" y="567"/>
                      </a:lnTo>
                      <a:lnTo>
                        <a:pt x="105" y="569"/>
                      </a:lnTo>
                      <a:lnTo>
                        <a:pt x="102" y="571"/>
                      </a:lnTo>
                      <a:lnTo>
                        <a:pt x="102" y="571"/>
                      </a:lnTo>
                      <a:lnTo>
                        <a:pt x="98" y="571"/>
                      </a:lnTo>
                      <a:lnTo>
                        <a:pt x="96" y="571"/>
                      </a:lnTo>
                      <a:lnTo>
                        <a:pt x="95" y="573"/>
                      </a:lnTo>
                      <a:lnTo>
                        <a:pt x="89" y="578"/>
                      </a:lnTo>
                      <a:lnTo>
                        <a:pt x="88" y="581"/>
                      </a:lnTo>
                      <a:lnTo>
                        <a:pt x="91" y="585"/>
                      </a:lnTo>
                      <a:lnTo>
                        <a:pt x="95" y="585"/>
                      </a:lnTo>
                      <a:lnTo>
                        <a:pt x="103" y="580"/>
                      </a:lnTo>
                      <a:lnTo>
                        <a:pt x="107" y="578"/>
                      </a:lnTo>
                      <a:lnTo>
                        <a:pt x="114" y="578"/>
                      </a:lnTo>
                      <a:lnTo>
                        <a:pt x="116" y="578"/>
                      </a:lnTo>
                      <a:lnTo>
                        <a:pt x="121" y="576"/>
                      </a:lnTo>
                      <a:lnTo>
                        <a:pt x="124" y="576"/>
                      </a:lnTo>
                      <a:lnTo>
                        <a:pt x="128" y="578"/>
                      </a:lnTo>
                      <a:lnTo>
                        <a:pt x="126" y="576"/>
                      </a:lnTo>
                      <a:lnTo>
                        <a:pt x="124" y="576"/>
                      </a:lnTo>
                      <a:close/>
                      <a:moveTo>
                        <a:pt x="65" y="590"/>
                      </a:moveTo>
                      <a:lnTo>
                        <a:pt x="63" y="592"/>
                      </a:lnTo>
                      <a:lnTo>
                        <a:pt x="63" y="595"/>
                      </a:lnTo>
                      <a:lnTo>
                        <a:pt x="65" y="595"/>
                      </a:lnTo>
                      <a:lnTo>
                        <a:pt x="67" y="594"/>
                      </a:lnTo>
                      <a:lnTo>
                        <a:pt x="72" y="594"/>
                      </a:lnTo>
                      <a:lnTo>
                        <a:pt x="68" y="592"/>
                      </a:lnTo>
                      <a:lnTo>
                        <a:pt x="65" y="590"/>
                      </a:lnTo>
                      <a:close/>
                      <a:moveTo>
                        <a:pt x="75" y="588"/>
                      </a:moveTo>
                      <a:lnTo>
                        <a:pt x="74" y="588"/>
                      </a:lnTo>
                      <a:lnTo>
                        <a:pt x="72" y="588"/>
                      </a:lnTo>
                      <a:lnTo>
                        <a:pt x="72" y="592"/>
                      </a:lnTo>
                      <a:lnTo>
                        <a:pt x="74" y="592"/>
                      </a:lnTo>
                      <a:lnTo>
                        <a:pt x="75" y="592"/>
                      </a:lnTo>
                      <a:lnTo>
                        <a:pt x="77" y="590"/>
                      </a:lnTo>
                      <a:lnTo>
                        <a:pt x="75" y="590"/>
                      </a:lnTo>
                      <a:lnTo>
                        <a:pt x="75" y="588"/>
                      </a:lnTo>
                      <a:close/>
                      <a:moveTo>
                        <a:pt x="143" y="569"/>
                      </a:moveTo>
                      <a:lnTo>
                        <a:pt x="142" y="569"/>
                      </a:lnTo>
                      <a:lnTo>
                        <a:pt x="142" y="571"/>
                      </a:lnTo>
                      <a:lnTo>
                        <a:pt x="142" y="573"/>
                      </a:lnTo>
                      <a:lnTo>
                        <a:pt x="143" y="573"/>
                      </a:lnTo>
                      <a:lnTo>
                        <a:pt x="145" y="571"/>
                      </a:lnTo>
                      <a:lnTo>
                        <a:pt x="145" y="569"/>
                      </a:lnTo>
                      <a:lnTo>
                        <a:pt x="143" y="569"/>
                      </a:lnTo>
                      <a:lnTo>
                        <a:pt x="143" y="569"/>
                      </a:lnTo>
                      <a:close/>
                      <a:moveTo>
                        <a:pt x="136" y="583"/>
                      </a:moveTo>
                      <a:lnTo>
                        <a:pt x="135" y="581"/>
                      </a:lnTo>
                      <a:lnTo>
                        <a:pt x="133" y="581"/>
                      </a:lnTo>
                      <a:lnTo>
                        <a:pt x="133" y="583"/>
                      </a:lnTo>
                      <a:lnTo>
                        <a:pt x="135" y="585"/>
                      </a:lnTo>
                      <a:lnTo>
                        <a:pt x="136" y="585"/>
                      </a:lnTo>
                      <a:lnTo>
                        <a:pt x="138" y="585"/>
                      </a:lnTo>
                      <a:lnTo>
                        <a:pt x="136" y="583"/>
                      </a:lnTo>
                      <a:lnTo>
                        <a:pt x="136" y="583"/>
                      </a:lnTo>
                      <a:close/>
                      <a:moveTo>
                        <a:pt x="353" y="466"/>
                      </a:moveTo>
                      <a:lnTo>
                        <a:pt x="355" y="464"/>
                      </a:lnTo>
                      <a:lnTo>
                        <a:pt x="357" y="463"/>
                      </a:lnTo>
                      <a:lnTo>
                        <a:pt x="355" y="463"/>
                      </a:lnTo>
                      <a:lnTo>
                        <a:pt x="353" y="463"/>
                      </a:lnTo>
                      <a:lnTo>
                        <a:pt x="351" y="464"/>
                      </a:lnTo>
                      <a:lnTo>
                        <a:pt x="351" y="466"/>
                      </a:lnTo>
                      <a:lnTo>
                        <a:pt x="351" y="466"/>
                      </a:lnTo>
                      <a:lnTo>
                        <a:pt x="353" y="466"/>
                      </a:lnTo>
                      <a:close/>
                      <a:moveTo>
                        <a:pt x="180" y="559"/>
                      </a:moveTo>
                      <a:lnTo>
                        <a:pt x="180" y="559"/>
                      </a:lnTo>
                      <a:lnTo>
                        <a:pt x="182" y="557"/>
                      </a:lnTo>
                      <a:lnTo>
                        <a:pt x="180" y="559"/>
                      </a:lnTo>
                      <a:lnTo>
                        <a:pt x="178" y="559"/>
                      </a:lnTo>
                      <a:lnTo>
                        <a:pt x="178" y="557"/>
                      </a:lnTo>
                      <a:lnTo>
                        <a:pt x="177" y="559"/>
                      </a:lnTo>
                      <a:lnTo>
                        <a:pt x="175" y="560"/>
                      </a:lnTo>
                      <a:lnTo>
                        <a:pt x="177" y="564"/>
                      </a:lnTo>
                      <a:lnTo>
                        <a:pt x="178" y="564"/>
                      </a:lnTo>
                      <a:lnTo>
                        <a:pt x="180" y="564"/>
                      </a:lnTo>
                      <a:lnTo>
                        <a:pt x="182" y="562"/>
                      </a:lnTo>
                      <a:lnTo>
                        <a:pt x="182" y="562"/>
                      </a:lnTo>
                      <a:lnTo>
                        <a:pt x="180" y="559"/>
                      </a:lnTo>
                      <a:close/>
                      <a:moveTo>
                        <a:pt x="184" y="559"/>
                      </a:moveTo>
                      <a:lnTo>
                        <a:pt x="184" y="559"/>
                      </a:lnTo>
                      <a:lnTo>
                        <a:pt x="182" y="559"/>
                      </a:lnTo>
                      <a:lnTo>
                        <a:pt x="182" y="559"/>
                      </a:lnTo>
                      <a:lnTo>
                        <a:pt x="184" y="560"/>
                      </a:lnTo>
                      <a:lnTo>
                        <a:pt x="185" y="560"/>
                      </a:lnTo>
                      <a:lnTo>
                        <a:pt x="185" y="560"/>
                      </a:lnTo>
                      <a:lnTo>
                        <a:pt x="185" y="559"/>
                      </a:lnTo>
                      <a:lnTo>
                        <a:pt x="185" y="559"/>
                      </a:lnTo>
                      <a:lnTo>
                        <a:pt x="184" y="559"/>
                      </a:lnTo>
                      <a:close/>
                      <a:moveTo>
                        <a:pt x="21" y="609"/>
                      </a:moveTo>
                      <a:lnTo>
                        <a:pt x="18" y="609"/>
                      </a:lnTo>
                      <a:lnTo>
                        <a:pt x="16" y="611"/>
                      </a:lnTo>
                      <a:lnTo>
                        <a:pt x="12" y="616"/>
                      </a:lnTo>
                      <a:lnTo>
                        <a:pt x="12" y="616"/>
                      </a:lnTo>
                      <a:lnTo>
                        <a:pt x="12" y="616"/>
                      </a:lnTo>
                      <a:lnTo>
                        <a:pt x="12" y="618"/>
                      </a:lnTo>
                      <a:lnTo>
                        <a:pt x="11" y="618"/>
                      </a:lnTo>
                      <a:lnTo>
                        <a:pt x="9" y="618"/>
                      </a:lnTo>
                      <a:lnTo>
                        <a:pt x="7" y="618"/>
                      </a:lnTo>
                      <a:lnTo>
                        <a:pt x="7" y="620"/>
                      </a:lnTo>
                      <a:lnTo>
                        <a:pt x="6" y="622"/>
                      </a:lnTo>
                      <a:lnTo>
                        <a:pt x="4" y="623"/>
                      </a:lnTo>
                      <a:lnTo>
                        <a:pt x="2" y="627"/>
                      </a:lnTo>
                      <a:lnTo>
                        <a:pt x="0" y="629"/>
                      </a:lnTo>
                      <a:lnTo>
                        <a:pt x="4" y="627"/>
                      </a:lnTo>
                      <a:lnTo>
                        <a:pt x="23" y="615"/>
                      </a:lnTo>
                      <a:lnTo>
                        <a:pt x="25" y="611"/>
                      </a:lnTo>
                      <a:lnTo>
                        <a:pt x="25" y="609"/>
                      </a:lnTo>
                      <a:lnTo>
                        <a:pt x="21" y="609"/>
                      </a:lnTo>
                      <a:close/>
                      <a:moveTo>
                        <a:pt x="987" y="765"/>
                      </a:moveTo>
                      <a:lnTo>
                        <a:pt x="985" y="765"/>
                      </a:lnTo>
                      <a:lnTo>
                        <a:pt x="985" y="765"/>
                      </a:lnTo>
                      <a:lnTo>
                        <a:pt x="985" y="767"/>
                      </a:lnTo>
                      <a:lnTo>
                        <a:pt x="987" y="767"/>
                      </a:lnTo>
                      <a:lnTo>
                        <a:pt x="987" y="767"/>
                      </a:lnTo>
                      <a:lnTo>
                        <a:pt x="987" y="767"/>
                      </a:lnTo>
                      <a:lnTo>
                        <a:pt x="987" y="763"/>
                      </a:lnTo>
                      <a:lnTo>
                        <a:pt x="987" y="765"/>
                      </a:lnTo>
                      <a:close/>
                      <a:moveTo>
                        <a:pt x="987" y="760"/>
                      </a:moveTo>
                      <a:lnTo>
                        <a:pt x="987" y="761"/>
                      </a:lnTo>
                      <a:lnTo>
                        <a:pt x="989" y="761"/>
                      </a:lnTo>
                      <a:lnTo>
                        <a:pt x="989" y="761"/>
                      </a:lnTo>
                      <a:lnTo>
                        <a:pt x="989" y="760"/>
                      </a:lnTo>
                      <a:lnTo>
                        <a:pt x="987" y="760"/>
                      </a:lnTo>
                      <a:lnTo>
                        <a:pt x="985" y="760"/>
                      </a:lnTo>
                      <a:lnTo>
                        <a:pt x="985" y="761"/>
                      </a:lnTo>
                      <a:lnTo>
                        <a:pt x="987" y="763"/>
                      </a:lnTo>
                      <a:lnTo>
                        <a:pt x="987" y="760"/>
                      </a:lnTo>
                      <a:close/>
                      <a:moveTo>
                        <a:pt x="1535" y="1298"/>
                      </a:moveTo>
                      <a:lnTo>
                        <a:pt x="1533" y="1301"/>
                      </a:lnTo>
                      <a:lnTo>
                        <a:pt x="1532" y="1305"/>
                      </a:lnTo>
                      <a:lnTo>
                        <a:pt x="1532" y="1308"/>
                      </a:lnTo>
                      <a:lnTo>
                        <a:pt x="1539" y="1294"/>
                      </a:lnTo>
                      <a:lnTo>
                        <a:pt x="1535" y="1298"/>
                      </a:lnTo>
                      <a:close/>
                      <a:moveTo>
                        <a:pt x="196" y="562"/>
                      </a:moveTo>
                      <a:lnTo>
                        <a:pt x="196" y="562"/>
                      </a:lnTo>
                      <a:lnTo>
                        <a:pt x="196" y="560"/>
                      </a:lnTo>
                      <a:lnTo>
                        <a:pt x="194" y="562"/>
                      </a:lnTo>
                      <a:lnTo>
                        <a:pt x="191" y="564"/>
                      </a:lnTo>
                      <a:lnTo>
                        <a:pt x="189" y="564"/>
                      </a:lnTo>
                      <a:lnTo>
                        <a:pt x="189" y="566"/>
                      </a:lnTo>
                      <a:lnTo>
                        <a:pt x="189" y="567"/>
                      </a:lnTo>
                      <a:lnTo>
                        <a:pt x="189" y="569"/>
                      </a:lnTo>
                      <a:lnTo>
                        <a:pt x="189" y="569"/>
                      </a:lnTo>
                      <a:lnTo>
                        <a:pt x="191" y="569"/>
                      </a:lnTo>
                      <a:lnTo>
                        <a:pt x="192" y="567"/>
                      </a:lnTo>
                      <a:lnTo>
                        <a:pt x="194" y="564"/>
                      </a:lnTo>
                      <a:lnTo>
                        <a:pt x="196" y="562"/>
                      </a:lnTo>
                      <a:lnTo>
                        <a:pt x="196" y="562"/>
                      </a:lnTo>
                      <a:lnTo>
                        <a:pt x="196" y="562"/>
                      </a:lnTo>
                      <a:close/>
                      <a:moveTo>
                        <a:pt x="61" y="601"/>
                      </a:moveTo>
                      <a:lnTo>
                        <a:pt x="60" y="602"/>
                      </a:lnTo>
                      <a:lnTo>
                        <a:pt x="60" y="602"/>
                      </a:lnTo>
                      <a:lnTo>
                        <a:pt x="60" y="602"/>
                      </a:lnTo>
                      <a:lnTo>
                        <a:pt x="60" y="604"/>
                      </a:lnTo>
                      <a:lnTo>
                        <a:pt x="60" y="604"/>
                      </a:lnTo>
                      <a:lnTo>
                        <a:pt x="60" y="604"/>
                      </a:lnTo>
                      <a:lnTo>
                        <a:pt x="61" y="604"/>
                      </a:lnTo>
                      <a:lnTo>
                        <a:pt x="61" y="602"/>
                      </a:lnTo>
                      <a:lnTo>
                        <a:pt x="61" y="602"/>
                      </a:lnTo>
                      <a:lnTo>
                        <a:pt x="61" y="601"/>
                      </a:lnTo>
                      <a:lnTo>
                        <a:pt x="61" y="601"/>
                      </a:lnTo>
                      <a:lnTo>
                        <a:pt x="61" y="601"/>
                      </a:lnTo>
                      <a:close/>
                      <a:moveTo>
                        <a:pt x="67" y="421"/>
                      </a:moveTo>
                      <a:lnTo>
                        <a:pt x="74" y="421"/>
                      </a:lnTo>
                      <a:lnTo>
                        <a:pt x="74" y="419"/>
                      </a:lnTo>
                      <a:lnTo>
                        <a:pt x="72" y="417"/>
                      </a:lnTo>
                      <a:lnTo>
                        <a:pt x="72" y="415"/>
                      </a:lnTo>
                      <a:lnTo>
                        <a:pt x="70" y="414"/>
                      </a:lnTo>
                      <a:lnTo>
                        <a:pt x="70" y="412"/>
                      </a:lnTo>
                      <a:lnTo>
                        <a:pt x="72" y="410"/>
                      </a:lnTo>
                      <a:lnTo>
                        <a:pt x="72" y="408"/>
                      </a:lnTo>
                      <a:lnTo>
                        <a:pt x="70" y="407"/>
                      </a:lnTo>
                      <a:lnTo>
                        <a:pt x="70" y="407"/>
                      </a:lnTo>
                      <a:lnTo>
                        <a:pt x="68" y="407"/>
                      </a:lnTo>
                      <a:lnTo>
                        <a:pt x="67" y="407"/>
                      </a:lnTo>
                      <a:lnTo>
                        <a:pt x="65" y="407"/>
                      </a:lnTo>
                      <a:lnTo>
                        <a:pt x="65" y="405"/>
                      </a:lnTo>
                      <a:lnTo>
                        <a:pt x="61" y="405"/>
                      </a:lnTo>
                      <a:lnTo>
                        <a:pt x="60" y="403"/>
                      </a:lnTo>
                      <a:lnTo>
                        <a:pt x="58" y="403"/>
                      </a:lnTo>
                      <a:lnTo>
                        <a:pt x="54" y="405"/>
                      </a:lnTo>
                      <a:lnTo>
                        <a:pt x="51" y="405"/>
                      </a:lnTo>
                      <a:lnTo>
                        <a:pt x="49" y="407"/>
                      </a:lnTo>
                      <a:lnTo>
                        <a:pt x="47" y="408"/>
                      </a:lnTo>
                      <a:lnTo>
                        <a:pt x="46" y="408"/>
                      </a:lnTo>
                      <a:lnTo>
                        <a:pt x="46" y="410"/>
                      </a:lnTo>
                      <a:lnTo>
                        <a:pt x="44" y="410"/>
                      </a:lnTo>
                      <a:lnTo>
                        <a:pt x="40" y="410"/>
                      </a:lnTo>
                      <a:lnTo>
                        <a:pt x="39" y="410"/>
                      </a:lnTo>
                      <a:lnTo>
                        <a:pt x="37" y="410"/>
                      </a:lnTo>
                      <a:lnTo>
                        <a:pt x="33" y="410"/>
                      </a:lnTo>
                      <a:lnTo>
                        <a:pt x="37" y="414"/>
                      </a:lnTo>
                      <a:lnTo>
                        <a:pt x="40" y="417"/>
                      </a:lnTo>
                      <a:lnTo>
                        <a:pt x="44" y="419"/>
                      </a:lnTo>
                      <a:lnTo>
                        <a:pt x="56" y="422"/>
                      </a:lnTo>
                      <a:lnTo>
                        <a:pt x="60" y="424"/>
                      </a:lnTo>
                      <a:lnTo>
                        <a:pt x="63" y="424"/>
                      </a:lnTo>
                      <a:lnTo>
                        <a:pt x="63" y="422"/>
                      </a:lnTo>
                      <a:lnTo>
                        <a:pt x="67" y="421"/>
                      </a:lnTo>
                      <a:close/>
                      <a:moveTo>
                        <a:pt x="56" y="604"/>
                      </a:moveTo>
                      <a:lnTo>
                        <a:pt x="54" y="604"/>
                      </a:lnTo>
                      <a:lnTo>
                        <a:pt x="53" y="604"/>
                      </a:lnTo>
                      <a:lnTo>
                        <a:pt x="54" y="602"/>
                      </a:lnTo>
                      <a:lnTo>
                        <a:pt x="56" y="601"/>
                      </a:lnTo>
                      <a:lnTo>
                        <a:pt x="60" y="599"/>
                      </a:lnTo>
                      <a:lnTo>
                        <a:pt x="58" y="597"/>
                      </a:lnTo>
                      <a:lnTo>
                        <a:pt x="56" y="597"/>
                      </a:lnTo>
                      <a:lnTo>
                        <a:pt x="54" y="599"/>
                      </a:lnTo>
                      <a:lnTo>
                        <a:pt x="53" y="601"/>
                      </a:lnTo>
                      <a:lnTo>
                        <a:pt x="51" y="599"/>
                      </a:lnTo>
                      <a:lnTo>
                        <a:pt x="51" y="597"/>
                      </a:lnTo>
                      <a:lnTo>
                        <a:pt x="49" y="597"/>
                      </a:lnTo>
                      <a:lnTo>
                        <a:pt x="46" y="597"/>
                      </a:lnTo>
                      <a:lnTo>
                        <a:pt x="44" y="597"/>
                      </a:lnTo>
                      <a:lnTo>
                        <a:pt x="42" y="599"/>
                      </a:lnTo>
                      <a:lnTo>
                        <a:pt x="40" y="599"/>
                      </a:lnTo>
                      <a:lnTo>
                        <a:pt x="40" y="601"/>
                      </a:lnTo>
                      <a:lnTo>
                        <a:pt x="42" y="602"/>
                      </a:lnTo>
                      <a:lnTo>
                        <a:pt x="44" y="604"/>
                      </a:lnTo>
                      <a:lnTo>
                        <a:pt x="47" y="604"/>
                      </a:lnTo>
                      <a:lnTo>
                        <a:pt x="49" y="604"/>
                      </a:lnTo>
                      <a:lnTo>
                        <a:pt x="47" y="606"/>
                      </a:lnTo>
                      <a:lnTo>
                        <a:pt x="44" y="604"/>
                      </a:lnTo>
                      <a:lnTo>
                        <a:pt x="42" y="606"/>
                      </a:lnTo>
                      <a:lnTo>
                        <a:pt x="40" y="609"/>
                      </a:lnTo>
                      <a:lnTo>
                        <a:pt x="39" y="611"/>
                      </a:lnTo>
                      <a:lnTo>
                        <a:pt x="35" y="613"/>
                      </a:lnTo>
                      <a:lnTo>
                        <a:pt x="32" y="615"/>
                      </a:lnTo>
                      <a:lnTo>
                        <a:pt x="28" y="615"/>
                      </a:lnTo>
                      <a:lnTo>
                        <a:pt x="26" y="616"/>
                      </a:lnTo>
                      <a:lnTo>
                        <a:pt x="32" y="616"/>
                      </a:lnTo>
                      <a:lnTo>
                        <a:pt x="42" y="613"/>
                      </a:lnTo>
                      <a:lnTo>
                        <a:pt x="58" y="604"/>
                      </a:lnTo>
                      <a:lnTo>
                        <a:pt x="56" y="604"/>
                      </a:lnTo>
                      <a:lnTo>
                        <a:pt x="56" y="604"/>
                      </a:lnTo>
                      <a:close/>
                      <a:moveTo>
                        <a:pt x="189" y="1432"/>
                      </a:moveTo>
                      <a:lnTo>
                        <a:pt x="189" y="1434"/>
                      </a:lnTo>
                      <a:lnTo>
                        <a:pt x="187" y="1436"/>
                      </a:lnTo>
                      <a:lnTo>
                        <a:pt x="189" y="1436"/>
                      </a:lnTo>
                      <a:lnTo>
                        <a:pt x="191" y="1436"/>
                      </a:lnTo>
                      <a:lnTo>
                        <a:pt x="191" y="1434"/>
                      </a:lnTo>
                      <a:lnTo>
                        <a:pt x="192" y="1432"/>
                      </a:lnTo>
                      <a:lnTo>
                        <a:pt x="191" y="1432"/>
                      </a:lnTo>
                      <a:lnTo>
                        <a:pt x="189" y="1432"/>
                      </a:lnTo>
                      <a:close/>
                      <a:moveTo>
                        <a:pt x="315" y="526"/>
                      </a:moveTo>
                      <a:lnTo>
                        <a:pt x="318" y="527"/>
                      </a:lnTo>
                      <a:lnTo>
                        <a:pt x="318" y="526"/>
                      </a:lnTo>
                      <a:lnTo>
                        <a:pt x="316" y="524"/>
                      </a:lnTo>
                      <a:lnTo>
                        <a:pt x="315" y="526"/>
                      </a:lnTo>
                      <a:close/>
                      <a:moveTo>
                        <a:pt x="339" y="508"/>
                      </a:moveTo>
                      <a:lnTo>
                        <a:pt x="336" y="510"/>
                      </a:lnTo>
                      <a:lnTo>
                        <a:pt x="334" y="512"/>
                      </a:lnTo>
                      <a:lnTo>
                        <a:pt x="337" y="513"/>
                      </a:lnTo>
                      <a:lnTo>
                        <a:pt x="339" y="512"/>
                      </a:lnTo>
                      <a:lnTo>
                        <a:pt x="343" y="512"/>
                      </a:lnTo>
                      <a:lnTo>
                        <a:pt x="344" y="510"/>
                      </a:lnTo>
                      <a:lnTo>
                        <a:pt x="343" y="508"/>
                      </a:lnTo>
                      <a:lnTo>
                        <a:pt x="339" y="508"/>
                      </a:lnTo>
                      <a:close/>
                      <a:moveTo>
                        <a:pt x="308" y="526"/>
                      </a:moveTo>
                      <a:lnTo>
                        <a:pt x="306" y="527"/>
                      </a:lnTo>
                      <a:lnTo>
                        <a:pt x="304" y="529"/>
                      </a:lnTo>
                      <a:lnTo>
                        <a:pt x="306" y="529"/>
                      </a:lnTo>
                      <a:lnTo>
                        <a:pt x="309" y="527"/>
                      </a:lnTo>
                      <a:lnTo>
                        <a:pt x="311" y="526"/>
                      </a:lnTo>
                      <a:lnTo>
                        <a:pt x="311" y="524"/>
                      </a:lnTo>
                      <a:lnTo>
                        <a:pt x="309" y="524"/>
                      </a:lnTo>
                      <a:lnTo>
                        <a:pt x="308" y="526"/>
                      </a:lnTo>
                      <a:close/>
                      <a:moveTo>
                        <a:pt x="357" y="494"/>
                      </a:moveTo>
                      <a:lnTo>
                        <a:pt x="355" y="492"/>
                      </a:lnTo>
                      <a:lnTo>
                        <a:pt x="353" y="491"/>
                      </a:lnTo>
                      <a:lnTo>
                        <a:pt x="353" y="491"/>
                      </a:lnTo>
                      <a:lnTo>
                        <a:pt x="355" y="491"/>
                      </a:lnTo>
                      <a:lnTo>
                        <a:pt x="355" y="489"/>
                      </a:lnTo>
                      <a:lnTo>
                        <a:pt x="355" y="489"/>
                      </a:lnTo>
                      <a:lnTo>
                        <a:pt x="353" y="487"/>
                      </a:lnTo>
                      <a:lnTo>
                        <a:pt x="350" y="487"/>
                      </a:lnTo>
                      <a:lnTo>
                        <a:pt x="344" y="489"/>
                      </a:lnTo>
                      <a:lnTo>
                        <a:pt x="346" y="487"/>
                      </a:lnTo>
                      <a:lnTo>
                        <a:pt x="344" y="485"/>
                      </a:lnTo>
                      <a:lnTo>
                        <a:pt x="344" y="484"/>
                      </a:lnTo>
                      <a:lnTo>
                        <a:pt x="343" y="484"/>
                      </a:lnTo>
                      <a:lnTo>
                        <a:pt x="341" y="484"/>
                      </a:lnTo>
                      <a:lnTo>
                        <a:pt x="339" y="484"/>
                      </a:lnTo>
                      <a:lnTo>
                        <a:pt x="337" y="484"/>
                      </a:lnTo>
                      <a:lnTo>
                        <a:pt x="339" y="485"/>
                      </a:lnTo>
                      <a:lnTo>
                        <a:pt x="339" y="487"/>
                      </a:lnTo>
                      <a:lnTo>
                        <a:pt x="337" y="487"/>
                      </a:lnTo>
                      <a:lnTo>
                        <a:pt x="337" y="489"/>
                      </a:lnTo>
                      <a:lnTo>
                        <a:pt x="336" y="489"/>
                      </a:lnTo>
                      <a:lnTo>
                        <a:pt x="332" y="491"/>
                      </a:lnTo>
                      <a:lnTo>
                        <a:pt x="330" y="491"/>
                      </a:lnTo>
                      <a:lnTo>
                        <a:pt x="330" y="489"/>
                      </a:lnTo>
                      <a:lnTo>
                        <a:pt x="329" y="487"/>
                      </a:lnTo>
                      <a:lnTo>
                        <a:pt x="327" y="485"/>
                      </a:lnTo>
                      <a:lnTo>
                        <a:pt x="325" y="487"/>
                      </a:lnTo>
                      <a:lnTo>
                        <a:pt x="323" y="489"/>
                      </a:lnTo>
                      <a:lnTo>
                        <a:pt x="325" y="491"/>
                      </a:lnTo>
                      <a:lnTo>
                        <a:pt x="329" y="494"/>
                      </a:lnTo>
                      <a:lnTo>
                        <a:pt x="327" y="494"/>
                      </a:lnTo>
                      <a:lnTo>
                        <a:pt x="327" y="494"/>
                      </a:lnTo>
                      <a:lnTo>
                        <a:pt x="325" y="494"/>
                      </a:lnTo>
                      <a:lnTo>
                        <a:pt x="325" y="494"/>
                      </a:lnTo>
                      <a:lnTo>
                        <a:pt x="325" y="499"/>
                      </a:lnTo>
                      <a:lnTo>
                        <a:pt x="327" y="503"/>
                      </a:lnTo>
                      <a:lnTo>
                        <a:pt x="329" y="505"/>
                      </a:lnTo>
                      <a:lnTo>
                        <a:pt x="323" y="501"/>
                      </a:lnTo>
                      <a:lnTo>
                        <a:pt x="322" y="498"/>
                      </a:lnTo>
                      <a:lnTo>
                        <a:pt x="320" y="494"/>
                      </a:lnTo>
                      <a:lnTo>
                        <a:pt x="313" y="494"/>
                      </a:lnTo>
                      <a:lnTo>
                        <a:pt x="311" y="496"/>
                      </a:lnTo>
                      <a:lnTo>
                        <a:pt x="308" y="498"/>
                      </a:lnTo>
                      <a:lnTo>
                        <a:pt x="306" y="499"/>
                      </a:lnTo>
                      <a:lnTo>
                        <a:pt x="306" y="503"/>
                      </a:lnTo>
                      <a:lnTo>
                        <a:pt x="308" y="506"/>
                      </a:lnTo>
                      <a:lnTo>
                        <a:pt x="309" y="510"/>
                      </a:lnTo>
                      <a:lnTo>
                        <a:pt x="311" y="513"/>
                      </a:lnTo>
                      <a:lnTo>
                        <a:pt x="315" y="515"/>
                      </a:lnTo>
                      <a:lnTo>
                        <a:pt x="316" y="515"/>
                      </a:lnTo>
                      <a:lnTo>
                        <a:pt x="316" y="513"/>
                      </a:lnTo>
                      <a:lnTo>
                        <a:pt x="316" y="512"/>
                      </a:lnTo>
                      <a:lnTo>
                        <a:pt x="313" y="512"/>
                      </a:lnTo>
                      <a:lnTo>
                        <a:pt x="315" y="510"/>
                      </a:lnTo>
                      <a:lnTo>
                        <a:pt x="316" y="510"/>
                      </a:lnTo>
                      <a:lnTo>
                        <a:pt x="318" y="510"/>
                      </a:lnTo>
                      <a:lnTo>
                        <a:pt x="320" y="510"/>
                      </a:lnTo>
                      <a:lnTo>
                        <a:pt x="320" y="512"/>
                      </a:lnTo>
                      <a:lnTo>
                        <a:pt x="320" y="513"/>
                      </a:lnTo>
                      <a:lnTo>
                        <a:pt x="320" y="513"/>
                      </a:lnTo>
                      <a:lnTo>
                        <a:pt x="320" y="513"/>
                      </a:lnTo>
                      <a:lnTo>
                        <a:pt x="322" y="513"/>
                      </a:lnTo>
                      <a:lnTo>
                        <a:pt x="325" y="513"/>
                      </a:lnTo>
                      <a:lnTo>
                        <a:pt x="320" y="519"/>
                      </a:lnTo>
                      <a:lnTo>
                        <a:pt x="323" y="519"/>
                      </a:lnTo>
                      <a:lnTo>
                        <a:pt x="329" y="515"/>
                      </a:lnTo>
                      <a:lnTo>
                        <a:pt x="327" y="512"/>
                      </a:lnTo>
                      <a:lnTo>
                        <a:pt x="330" y="512"/>
                      </a:lnTo>
                      <a:lnTo>
                        <a:pt x="343" y="505"/>
                      </a:lnTo>
                      <a:lnTo>
                        <a:pt x="346" y="505"/>
                      </a:lnTo>
                      <a:lnTo>
                        <a:pt x="348" y="503"/>
                      </a:lnTo>
                      <a:lnTo>
                        <a:pt x="350" y="503"/>
                      </a:lnTo>
                      <a:lnTo>
                        <a:pt x="350" y="501"/>
                      </a:lnTo>
                      <a:lnTo>
                        <a:pt x="346" y="499"/>
                      </a:lnTo>
                      <a:lnTo>
                        <a:pt x="344" y="499"/>
                      </a:lnTo>
                      <a:lnTo>
                        <a:pt x="343" y="499"/>
                      </a:lnTo>
                      <a:lnTo>
                        <a:pt x="346" y="499"/>
                      </a:lnTo>
                      <a:lnTo>
                        <a:pt x="353" y="499"/>
                      </a:lnTo>
                      <a:lnTo>
                        <a:pt x="358" y="498"/>
                      </a:lnTo>
                      <a:lnTo>
                        <a:pt x="358" y="494"/>
                      </a:lnTo>
                      <a:lnTo>
                        <a:pt x="358" y="494"/>
                      </a:lnTo>
                      <a:lnTo>
                        <a:pt x="357" y="494"/>
                      </a:lnTo>
                      <a:close/>
                      <a:moveTo>
                        <a:pt x="287" y="545"/>
                      </a:moveTo>
                      <a:lnTo>
                        <a:pt x="288" y="543"/>
                      </a:lnTo>
                      <a:lnTo>
                        <a:pt x="287" y="543"/>
                      </a:lnTo>
                      <a:lnTo>
                        <a:pt x="285" y="543"/>
                      </a:lnTo>
                      <a:lnTo>
                        <a:pt x="285" y="545"/>
                      </a:lnTo>
                      <a:lnTo>
                        <a:pt x="285" y="546"/>
                      </a:lnTo>
                      <a:lnTo>
                        <a:pt x="285" y="546"/>
                      </a:lnTo>
                      <a:lnTo>
                        <a:pt x="287" y="546"/>
                      </a:lnTo>
                      <a:lnTo>
                        <a:pt x="287" y="545"/>
                      </a:lnTo>
                      <a:close/>
                      <a:moveTo>
                        <a:pt x="360" y="470"/>
                      </a:moveTo>
                      <a:lnTo>
                        <a:pt x="357" y="470"/>
                      </a:lnTo>
                      <a:lnTo>
                        <a:pt x="357" y="471"/>
                      </a:lnTo>
                      <a:lnTo>
                        <a:pt x="353" y="470"/>
                      </a:lnTo>
                      <a:lnTo>
                        <a:pt x="353" y="468"/>
                      </a:lnTo>
                      <a:lnTo>
                        <a:pt x="351" y="468"/>
                      </a:lnTo>
                      <a:lnTo>
                        <a:pt x="348" y="468"/>
                      </a:lnTo>
                      <a:lnTo>
                        <a:pt x="348" y="470"/>
                      </a:lnTo>
                      <a:lnTo>
                        <a:pt x="348" y="471"/>
                      </a:lnTo>
                      <a:lnTo>
                        <a:pt x="348" y="471"/>
                      </a:lnTo>
                      <a:lnTo>
                        <a:pt x="346" y="473"/>
                      </a:lnTo>
                      <a:lnTo>
                        <a:pt x="346" y="473"/>
                      </a:lnTo>
                      <a:lnTo>
                        <a:pt x="344" y="473"/>
                      </a:lnTo>
                      <a:lnTo>
                        <a:pt x="343" y="473"/>
                      </a:lnTo>
                      <a:lnTo>
                        <a:pt x="341" y="475"/>
                      </a:lnTo>
                      <a:lnTo>
                        <a:pt x="339" y="477"/>
                      </a:lnTo>
                      <a:lnTo>
                        <a:pt x="334" y="480"/>
                      </a:lnTo>
                      <a:lnTo>
                        <a:pt x="339" y="482"/>
                      </a:lnTo>
                      <a:lnTo>
                        <a:pt x="344" y="482"/>
                      </a:lnTo>
                      <a:lnTo>
                        <a:pt x="348" y="480"/>
                      </a:lnTo>
                      <a:lnTo>
                        <a:pt x="351" y="477"/>
                      </a:lnTo>
                      <a:lnTo>
                        <a:pt x="353" y="478"/>
                      </a:lnTo>
                      <a:lnTo>
                        <a:pt x="355" y="478"/>
                      </a:lnTo>
                      <a:lnTo>
                        <a:pt x="357" y="478"/>
                      </a:lnTo>
                      <a:lnTo>
                        <a:pt x="358" y="477"/>
                      </a:lnTo>
                      <a:lnTo>
                        <a:pt x="358" y="477"/>
                      </a:lnTo>
                      <a:lnTo>
                        <a:pt x="358" y="475"/>
                      </a:lnTo>
                      <a:lnTo>
                        <a:pt x="358" y="475"/>
                      </a:lnTo>
                      <a:lnTo>
                        <a:pt x="360" y="477"/>
                      </a:lnTo>
                      <a:lnTo>
                        <a:pt x="362" y="477"/>
                      </a:lnTo>
                      <a:lnTo>
                        <a:pt x="363" y="477"/>
                      </a:lnTo>
                      <a:lnTo>
                        <a:pt x="363" y="475"/>
                      </a:lnTo>
                      <a:lnTo>
                        <a:pt x="365" y="473"/>
                      </a:lnTo>
                      <a:lnTo>
                        <a:pt x="362" y="471"/>
                      </a:lnTo>
                      <a:lnTo>
                        <a:pt x="360" y="470"/>
                      </a:lnTo>
                      <a:close/>
                      <a:moveTo>
                        <a:pt x="337" y="487"/>
                      </a:moveTo>
                      <a:lnTo>
                        <a:pt x="336" y="485"/>
                      </a:lnTo>
                      <a:lnTo>
                        <a:pt x="334" y="484"/>
                      </a:lnTo>
                      <a:lnTo>
                        <a:pt x="332" y="484"/>
                      </a:lnTo>
                      <a:lnTo>
                        <a:pt x="332" y="485"/>
                      </a:lnTo>
                      <a:lnTo>
                        <a:pt x="334" y="485"/>
                      </a:lnTo>
                      <a:lnTo>
                        <a:pt x="337" y="487"/>
                      </a:lnTo>
                      <a:lnTo>
                        <a:pt x="337" y="487"/>
                      </a:lnTo>
                      <a:close/>
                      <a:moveTo>
                        <a:pt x="255" y="1457"/>
                      </a:moveTo>
                      <a:lnTo>
                        <a:pt x="259" y="1460"/>
                      </a:lnTo>
                      <a:lnTo>
                        <a:pt x="260" y="1459"/>
                      </a:lnTo>
                      <a:lnTo>
                        <a:pt x="259" y="1457"/>
                      </a:lnTo>
                      <a:lnTo>
                        <a:pt x="255" y="1457"/>
                      </a:lnTo>
                      <a:close/>
                      <a:moveTo>
                        <a:pt x="299" y="1481"/>
                      </a:moveTo>
                      <a:lnTo>
                        <a:pt x="295" y="1480"/>
                      </a:lnTo>
                      <a:lnTo>
                        <a:pt x="294" y="1478"/>
                      </a:lnTo>
                      <a:lnTo>
                        <a:pt x="292" y="1476"/>
                      </a:lnTo>
                      <a:lnTo>
                        <a:pt x="288" y="1474"/>
                      </a:lnTo>
                      <a:lnTo>
                        <a:pt x="285" y="1473"/>
                      </a:lnTo>
                      <a:lnTo>
                        <a:pt x="283" y="1473"/>
                      </a:lnTo>
                      <a:lnTo>
                        <a:pt x="281" y="1474"/>
                      </a:lnTo>
                      <a:lnTo>
                        <a:pt x="281" y="1474"/>
                      </a:lnTo>
                      <a:lnTo>
                        <a:pt x="281" y="1478"/>
                      </a:lnTo>
                      <a:lnTo>
                        <a:pt x="281" y="1480"/>
                      </a:lnTo>
                      <a:lnTo>
                        <a:pt x="281" y="1480"/>
                      </a:lnTo>
                      <a:lnTo>
                        <a:pt x="278" y="1483"/>
                      </a:lnTo>
                      <a:lnTo>
                        <a:pt x="278" y="1487"/>
                      </a:lnTo>
                      <a:lnTo>
                        <a:pt x="281" y="1497"/>
                      </a:lnTo>
                      <a:lnTo>
                        <a:pt x="281" y="1500"/>
                      </a:lnTo>
                      <a:lnTo>
                        <a:pt x="283" y="1500"/>
                      </a:lnTo>
                      <a:lnTo>
                        <a:pt x="287" y="1500"/>
                      </a:lnTo>
                      <a:lnTo>
                        <a:pt x="288" y="1500"/>
                      </a:lnTo>
                      <a:lnTo>
                        <a:pt x="292" y="1495"/>
                      </a:lnTo>
                      <a:lnTo>
                        <a:pt x="294" y="1495"/>
                      </a:lnTo>
                      <a:lnTo>
                        <a:pt x="301" y="1492"/>
                      </a:lnTo>
                      <a:lnTo>
                        <a:pt x="302" y="1490"/>
                      </a:lnTo>
                      <a:lnTo>
                        <a:pt x="304" y="1488"/>
                      </a:lnTo>
                      <a:lnTo>
                        <a:pt x="302" y="1487"/>
                      </a:lnTo>
                      <a:lnTo>
                        <a:pt x="299" y="1481"/>
                      </a:lnTo>
                      <a:close/>
                      <a:moveTo>
                        <a:pt x="203" y="566"/>
                      </a:moveTo>
                      <a:lnTo>
                        <a:pt x="203" y="566"/>
                      </a:lnTo>
                      <a:lnTo>
                        <a:pt x="203" y="564"/>
                      </a:lnTo>
                      <a:lnTo>
                        <a:pt x="203" y="564"/>
                      </a:lnTo>
                      <a:lnTo>
                        <a:pt x="203" y="562"/>
                      </a:lnTo>
                      <a:lnTo>
                        <a:pt x="201" y="564"/>
                      </a:lnTo>
                      <a:lnTo>
                        <a:pt x="201" y="566"/>
                      </a:lnTo>
                      <a:lnTo>
                        <a:pt x="201" y="566"/>
                      </a:lnTo>
                      <a:lnTo>
                        <a:pt x="203" y="566"/>
                      </a:lnTo>
                      <a:lnTo>
                        <a:pt x="203" y="566"/>
                      </a:lnTo>
                      <a:close/>
                      <a:moveTo>
                        <a:pt x="241" y="1445"/>
                      </a:moveTo>
                      <a:lnTo>
                        <a:pt x="240" y="1445"/>
                      </a:lnTo>
                      <a:lnTo>
                        <a:pt x="240" y="1443"/>
                      </a:lnTo>
                      <a:lnTo>
                        <a:pt x="238" y="1443"/>
                      </a:lnTo>
                      <a:lnTo>
                        <a:pt x="238" y="1441"/>
                      </a:lnTo>
                      <a:lnTo>
                        <a:pt x="238" y="1439"/>
                      </a:lnTo>
                      <a:lnTo>
                        <a:pt x="236" y="1439"/>
                      </a:lnTo>
                      <a:lnTo>
                        <a:pt x="234" y="1439"/>
                      </a:lnTo>
                      <a:lnTo>
                        <a:pt x="231" y="1441"/>
                      </a:lnTo>
                      <a:lnTo>
                        <a:pt x="229" y="1441"/>
                      </a:lnTo>
                      <a:lnTo>
                        <a:pt x="231" y="1445"/>
                      </a:lnTo>
                      <a:lnTo>
                        <a:pt x="233" y="1446"/>
                      </a:lnTo>
                      <a:lnTo>
                        <a:pt x="234" y="1448"/>
                      </a:lnTo>
                      <a:lnTo>
                        <a:pt x="236" y="1448"/>
                      </a:lnTo>
                      <a:lnTo>
                        <a:pt x="236" y="1446"/>
                      </a:lnTo>
                      <a:lnTo>
                        <a:pt x="236" y="1446"/>
                      </a:lnTo>
                      <a:lnTo>
                        <a:pt x="238" y="1448"/>
                      </a:lnTo>
                      <a:lnTo>
                        <a:pt x="240" y="1448"/>
                      </a:lnTo>
                      <a:lnTo>
                        <a:pt x="241" y="1448"/>
                      </a:lnTo>
                      <a:lnTo>
                        <a:pt x="243" y="1448"/>
                      </a:lnTo>
                      <a:lnTo>
                        <a:pt x="243" y="1446"/>
                      </a:lnTo>
                      <a:lnTo>
                        <a:pt x="241" y="1445"/>
                      </a:lnTo>
                      <a:close/>
                      <a:moveTo>
                        <a:pt x="206" y="569"/>
                      </a:moveTo>
                      <a:lnTo>
                        <a:pt x="206" y="569"/>
                      </a:lnTo>
                      <a:lnTo>
                        <a:pt x="206" y="567"/>
                      </a:lnTo>
                      <a:lnTo>
                        <a:pt x="206" y="566"/>
                      </a:lnTo>
                      <a:lnTo>
                        <a:pt x="205" y="566"/>
                      </a:lnTo>
                      <a:lnTo>
                        <a:pt x="205" y="567"/>
                      </a:lnTo>
                      <a:lnTo>
                        <a:pt x="205" y="567"/>
                      </a:lnTo>
                      <a:lnTo>
                        <a:pt x="206" y="569"/>
                      </a:lnTo>
                      <a:close/>
                      <a:moveTo>
                        <a:pt x="278" y="1459"/>
                      </a:moveTo>
                      <a:lnTo>
                        <a:pt x="276" y="1459"/>
                      </a:lnTo>
                      <a:lnTo>
                        <a:pt x="271" y="1457"/>
                      </a:lnTo>
                      <a:lnTo>
                        <a:pt x="267" y="1455"/>
                      </a:lnTo>
                      <a:lnTo>
                        <a:pt x="266" y="1455"/>
                      </a:lnTo>
                      <a:lnTo>
                        <a:pt x="266" y="1455"/>
                      </a:lnTo>
                      <a:lnTo>
                        <a:pt x="264" y="1455"/>
                      </a:lnTo>
                      <a:lnTo>
                        <a:pt x="264" y="1457"/>
                      </a:lnTo>
                      <a:lnTo>
                        <a:pt x="264" y="1457"/>
                      </a:lnTo>
                      <a:lnTo>
                        <a:pt x="266" y="1459"/>
                      </a:lnTo>
                      <a:lnTo>
                        <a:pt x="266" y="1459"/>
                      </a:lnTo>
                      <a:lnTo>
                        <a:pt x="267" y="1460"/>
                      </a:lnTo>
                      <a:lnTo>
                        <a:pt x="267" y="1460"/>
                      </a:lnTo>
                      <a:lnTo>
                        <a:pt x="269" y="1460"/>
                      </a:lnTo>
                      <a:lnTo>
                        <a:pt x="269" y="1460"/>
                      </a:lnTo>
                      <a:lnTo>
                        <a:pt x="269" y="1462"/>
                      </a:lnTo>
                      <a:lnTo>
                        <a:pt x="269" y="1464"/>
                      </a:lnTo>
                      <a:lnTo>
                        <a:pt x="269" y="1464"/>
                      </a:lnTo>
                      <a:lnTo>
                        <a:pt x="271" y="1464"/>
                      </a:lnTo>
                      <a:lnTo>
                        <a:pt x="274" y="1464"/>
                      </a:lnTo>
                      <a:lnTo>
                        <a:pt x="276" y="1462"/>
                      </a:lnTo>
                      <a:lnTo>
                        <a:pt x="278" y="1460"/>
                      </a:lnTo>
                      <a:lnTo>
                        <a:pt x="278" y="1459"/>
                      </a:lnTo>
                      <a:close/>
                      <a:moveTo>
                        <a:pt x="252" y="1450"/>
                      </a:moveTo>
                      <a:lnTo>
                        <a:pt x="252" y="1450"/>
                      </a:lnTo>
                      <a:lnTo>
                        <a:pt x="252" y="1452"/>
                      </a:lnTo>
                      <a:lnTo>
                        <a:pt x="252" y="1452"/>
                      </a:lnTo>
                      <a:lnTo>
                        <a:pt x="257" y="1453"/>
                      </a:lnTo>
                      <a:lnTo>
                        <a:pt x="259" y="1453"/>
                      </a:lnTo>
                      <a:lnTo>
                        <a:pt x="260" y="1453"/>
                      </a:lnTo>
                      <a:lnTo>
                        <a:pt x="262" y="1453"/>
                      </a:lnTo>
                      <a:lnTo>
                        <a:pt x="264" y="1452"/>
                      </a:lnTo>
                      <a:lnTo>
                        <a:pt x="255" y="1450"/>
                      </a:lnTo>
                      <a:lnTo>
                        <a:pt x="252" y="1450"/>
                      </a:lnTo>
                      <a:close/>
                      <a:moveTo>
                        <a:pt x="201" y="1427"/>
                      </a:moveTo>
                      <a:lnTo>
                        <a:pt x="199" y="1429"/>
                      </a:lnTo>
                      <a:lnTo>
                        <a:pt x="199" y="1432"/>
                      </a:lnTo>
                      <a:lnTo>
                        <a:pt x="201" y="1434"/>
                      </a:lnTo>
                      <a:lnTo>
                        <a:pt x="205" y="1434"/>
                      </a:lnTo>
                      <a:lnTo>
                        <a:pt x="206" y="1432"/>
                      </a:lnTo>
                      <a:lnTo>
                        <a:pt x="208" y="1429"/>
                      </a:lnTo>
                      <a:lnTo>
                        <a:pt x="206" y="1427"/>
                      </a:lnTo>
                      <a:lnTo>
                        <a:pt x="201" y="1427"/>
                      </a:lnTo>
                      <a:close/>
                      <a:moveTo>
                        <a:pt x="982" y="767"/>
                      </a:moveTo>
                      <a:lnTo>
                        <a:pt x="983" y="767"/>
                      </a:lnTo>
                      <a:lnTo>
                        <a:pt x="983" y="765"/>
                      </a:lnTo>
                      <a:lnTo>
                        <a:pt x="983" y="763"/>
                      </a:lnTo>
                      <a:lnTo>
                        <a:pt x="982" y="763"/>
                      </a:lnTo>
                      <a:lnTo>
                        <a:pt x="980" y="761"/>
                      </a:lnTo>
                      <a:lnTo>
                        <a:pt x="980" y="763"/>
                      </a:lnTo>
                      <a:lnTo>
                        <a:pt x="982" y="765"/>
                      </a:lnTo>
                      <a:lnTo>
                        <a:pt x="982" y="767"/>
                      </a:lnTo>
                      <a:close/>
                      <a:moveTo>
                        <a:pt x="987" y="803"/>
                      </a:moveTo>
                      <a:lnTo>
                        <a:pt x="987" y="803"/>
                      </a:lnTo>
                      <a:lnTo>
                        <a:pt x="987" y="803"/>
                      </a:lnTo>
                      <a:lnTo>
                        <a:pt x="987" y="803"/>
                      </a:lnTo>
                      <a:lnTo>
                        <a:pt x="987" y="803"/>
                      </a:lnTo>
                      <a:lnTo>
                        <a:pt x="987" y="803"/>
                      </a:lnTo>
                      <a:lnTo>
                        <a:pt x="987" y="803"/>
                      </a:lnTo>
                      <a:lnTo>
                        <a:pt x="987" y="802"/>
                      </a:lnTo>
                      <a:lnTo>
                        <a:pt x="987" y="802"/>
                      </a:lnTo>
                      <a:lnTo>
                        <a:pt x="987" y="803"/>
                      </a:lnTo>
                      <a:close/>
                      <a:moveTo>
                        <a:pt x="2028" y="985"/>
                      </a:moveTo>
                      <a:lnTo>
                        <a:pt x="2026" y="987"/>
                      </a:lnTo>
                      <a:lnTo>
                        <a:pt x="2028" y="987"/>
                      </a:lnTo>
                      <a:lnTo>
                        <a:pt x="2029" y="987"/>
                      </a:lnTo>
                      <a:lnTo>
                        <a:pt x="2029" y="985"/>
                      </a:lnTo>
                      <a:lnTo>
                        <a:pt x="2029" y="985"/>
                      </a:lnTo>
                      <a:lnTo>
                        <a:pt x="2029" y="983"/>
                      </a:lnTo>
                      <a:lnTo>
                        <a:pt x="2028" y="983"/>
                      </a:lnTo>
                      <a:lnTo>
                        <a:pt x="2028" y="985"/>
                      </a:lnTo>
                      <a:close/>
                      <a:moveTo>
                        <a:pt x="2181" y="870"/>
                      </a:moveTo>
                      <a:lnTo>
                        <a:pt x="2180" y="870"/>
                      </a:lnTo>
                      <a:lnTo>
                        <a:pt x="2180" y="861"/>
                      </a:lnTo>
                      <a:lnTo>
                        <a:pt x="2176" y="861"/>
                      </a:lnTo>
                      <a:lnTo>
                        <a:pt x="2176" y="861"/>
                      </a:lnTo>
                      <a:lnTo>
                        <a:pt x="2174" y="861"/>
                      </a:lnTo>
                      <a:lnTo>
                        <a:pt x="2173" y="859"/>
                      </a:lnTo>
                      <a:lnTo>
                        <a:pt x="2173" y="857"/>
                      </a:lnTo>
                      <a:lnTo>
                        <a:pt x="2171" y="856"/>
                      </a:lnTo>
                      <a:lnTo>
                        <a:pt x="2171" y="854"/>
                      </a:lnTo>
                      <a:lnTo>
                        <a:pt x="2171" y="852"/>
                      </a:lnTo>
                      <a:lnTo>
                        <a:pt x="2171" y="850"/>
                      </a:lnTo>
                      <a:lnTo>
                        <a:pt x="2173" y="850"/>
                      </a:lnTo>
                      <a:lnTo>
                        <a:pt x="2171" y="849"/>
                      </a:lnTo>
                      <a:lnTo>
                        <a:pt x="2171" y="849"/>
                      </a:lnTo>
                      <a:lnTo>
                        <a:pt x="2169" y="847"/>
                      </a:lnTo>
                      <a:lnTo>
                        <a:pt x="2167" y="847"/>
                      </a:lnTo>
                      <a:lnTo>
                        <a:pt x="2166" y="845"/>
                      </a:lnTo>
                      <a:lnTo>
                        <a:pt x="2164" y="844"/>
                      </a:lnTo>
                      <a:lnTo>
                        <a:pt x="2164" y="842"/>
                      </a:lnTo>
                      <a:lnTo>
                        <a:pt x="2164" y="837"/>
                      </a:lnTo>
                      <a:lnTo>
                        <a:pt x="2164" y="812"/>
                      </a:lnTo>
                      <a:lnTo>
                        <a:pt x="2164" y="809"/>
                      </a:lnTo>
                      <a:lnTo>
                        <a:pt x="2162" y="805"/>
                      </a:lnTo>
                      <a:lnTo>
                        <a:pt x="2159" y="802"/>
                      </a:lnTo>
                      <a:lnTo>
                        <a:pt x="2157" y="800"/>
                      </a:lnTo>
                      <a:lnTo>
                        <a:pt x="2153" y="800"/>
                      </a:lnTo>
                      <a:lnTo>
                        <a:pt x="2152" y="800"/>
                      </a:lnTo>
                      <a:lnTo>
                        <a:pt x="2145" y="803"/>
                      </a:lnTo>
                      <a:lnTo>
                        <a:pt x="2141" y="803"/>
                      </a:lnTo>
                      <a:lnTo>
                        <a:pt x="2138" y="802"/>
                      </a:lnTo>
                      <a:lnTo>
                        <a:pt x="2138" y="800"/>
                      </a:lnTo>
                      <a:lnTo>
                        <a:pt x="2138" y="800"/>
                      </a:lnTo>
                      <a:lnTo>
                        <a:pt x="2138" y="798"/>
                      </a:lnTo>
                      <a:lnTo>
                        <a:pt x="2136" y="796"/>
                      </a:lnTo>
                      <a:lnTo>
                        <a:pt x="2134" y="796"/>
                      </a:lnTo>
                      <a:lnTo>
                        <a:pt x="2132" y="796"/>
                      </a:lnTo>
                      <a:lnTo>
                        <a:pt x="2118" y="816"/>
                      </a:lnTo>
                      <a:lnTo>
                        <a:pt x="2118" y="817"/>
                      </a:lnTo>
                      <a:lnTo>
                        <a:pt x="2117" y="821"/>
                      </a:lnTo>
                      <a:lnTo>
                        <a:pt x="2115" y="824"/>
                      </a:lnTo>
                      <a:lnTo>
                        <a:pt x="2113" y="830"/>
                      </a:lnTo>
                      <a:lnTo>
                        <a:pt x="2112" y="831"/>
                      </a:lnTo>
                      <a:lnTo>
                        <a:pt x="2112" y="838"/>
                      </a:lnTo>
                      <a:lnTo>
                        <a:pt x="2110" y="842"/>
                      </a:lnTo>
                      <a:lnTo>
                        <a:pt x="2110" y="842"/>
                      </a:lnTo>
                      <a:lnTo>
                        <a:pt x="2108" y="844"/>
                      </a:lnTo>
                      <a:lnTo>
                        <a:pt x="2105" y="847"/>
                      </a:lnTo>
                      <a:lnTo>
                        <a:pt x="2099" y="857"/>
                      </a:lnTo>
                      <a:lnTo>
                        <a:pt x="2099" y="857"/>
                      </a:lnTo>
                      <a:lnTo>
                        <a:pt x="2098" y="857"/>
                      </a:lnTo>
                      <a:lnTo>
                        <a:pt x="2098" y="857"/>
                      </a:lnTo>
                      <a:lnTo>
                        <a:pt x="2098" y="856"/>
                      </a:lnTo>
                      <a:lnTo>
                        <a:pt x="2096" y="856"/>
                      </a:lnTo>
                      <a:lnTo>
                        <a:pt x="2096" y="857"/>
                      </a:lnTo>
                      <a:lnTo>
                        <a:pt x="2092" y="857"/>
                      </a:lnTo>
                      <a:lnTo>
                        <a:pt x="2091" y="859"/>
                      </a:lnTo>
                      <a:lnTo>
                        <a:pt x="2089" y="857"/>
                      </a:lnTo>
                      <a:lnTo>
                        <a:pt x="2089" y="857"/>
                      </a:lnTo>
                      <a:lnTo>
                        <a:pt x="2087" y="859"/>
                      </a:lnTo>
                      <a:lnTo>
                        <a:pt x="2087" y="859"/>
                      </a:lnTo>
                      <a:lnTo>
                        <a:pt x="2087" y="861"/>
                      </a:lnTo>
                      <a:lnTo>
                        <a:pt x="2087" y="863"/>
                      </a:lnTo>
                      <a:lnTo>
                        <a:pt x="2084" y="864"/>
                      </a:lnTo>
                      <a:lnTo>
                        <a:pt x="2084" y="864"/>
                      </a:lnTo>
                      <a:lnTo>
                        <a:pt x="2080" y="866"/>
                      </a:lnTo>
                      <a:lnTo>
                        <a:pt x="2017" y="866"/>
                      </a:lnTo>
                      <a:lnTo>
                        <a:pt x="2010" y="866"/>
                      </a:lnTo>
                      <a:lnTo>
                        <a:pt x="2003" y="870"/>
                      </a:lnTo>
                      <a:lnTo>
                        <a:pt x="1979" y="892"/>
                      </a:lnTo>
                      <a:lnTo>
                        <a:pt x="1974" y="901"/>
                      </a:lnTo>
                      <a:lnTo>
                        <a:pt x="1972" y="903"/>
                      </a:lnTo>
                      <a:lnTo>
                        <a:pt x="1968" y="903"/>
                      </a:lnTo>
                      <a:lnTo>
                        <a:pt x="1935" y="905"/>
                      </a:lnTo>
                      <a:lnTo>
                        <a:pt x="1928" y="905"/>
                      </a:lnTo>
                      <a:lnTo>
                        <a:pt x="1921" y="908"/>
                      </a:lnTo>
                      <a:lnTo>
                        <a:pt x="1923" y="912"/>
                      </a:lnTo>
                      <a:lnTo>
                        <a:pt x="1925" y="919"/>
                      </a:lnTo>
                      <a:lnTo>
                        <a:pt x="1925" y="920"/>
                      </a:lnTo>
                      <a:lnTo>
                        <a:pt x="1926" y="922"/>
                      </a:lnTo>
                      <a:lnTo>
                        <a:pt x="1926" y="922"/>
                      </a:lnTo>
                      <a:lnTo>
                        <a:pt x="1926" y="924"/>
                      </a:lnTo>
                      <a:lnTo>
                        <a:pt x="1925" y="927"/>
                      </a:lnTo>
                      <a:lnTo>
                        <a:pt x="1898" y="938"/>
                      </a:lnTo>
                      <a:lnTo>
                        <a:pt x="1876" y="943"/>
                      </a:lnTo>
                      <a:lnTo>
                        <a:pt x="1869" y="947"/>
                      </a:lnTo>
                      <a:lnTo>
                        <a:pt x="1857" y="954"/>
                      </a:lnTo>
                      <a:lnTo>
                        <a:pt x="1850" y="955"/>
                      </a:lnTo>
                      <a:lnTo>
                        <a:pt x="1843" y="954"/>
                      </a:lnTo>
                      <a:lnTo>
                        <a:pt x="1839" y="952"/>
                      </a:lnTo>
                      <a:lnTo>
                        <a:pt x="1837" y="950"/>
                      </a:lnTo>
                      <a:lnTo>
                        <a:pt x="1836" y="947"/>
                      </a:lnTo>
                      <a:lnTo>
                        <a:pt x="1836" y="945"/>
                      </a:lnTo>
                      <a:lnTo>
                        <a:pt x="1837" y="941"/>
                      </a:lnTo>
                      <a:lnTo>
                        <a:pt x="1839" y="940"/>
                      </a:lnTo>
                      <a:lnTo>
                        <a:pt x="1843" y="936"/>
                      </a:lnTo>
                      <a:lnTo>
                        <a:pt x="1848" y="933"/>
                      </a:lnTo>
                      <a:lnTo>
                        <a:pt x="1850" y="926"/>
                      </a:lnTo>
                      <a:lnTo>
                        <a:pt x="1855" y="913"/>
                      </a:lnTo>
                      <a:lnTo>
                        <a:pt x="1857" y="908"/>
                      </a:lnTo>
                      <a:lnTo>
                        <a:pt x="1857" y="905"/>
                      </a:lnTo>
                      <a:lnTo>
                        <a:pt x="1857" y="901"/>
                      </a:lnTo>
                      <a:lnTo>
                        <a:pt x="1850" y="861"/>
                      </a:lnTo>
                      <a:lnTo>
                        <a:pt x="1850" y="857"/>
                      </a:lnTo>
                      <a:lnTo>
                        <a:pt x="1848" y="856"/>
                      </a:lnTo>
                      <a:lnTo>
                        <a:pt x="1844" y="854"/>
                      </a:lnTo>
                      <a:lnTo>
                        <a:pt x="1830" y="845"/>
                      </a:lnTo>
                      <a:lnTo>
                        <a:pt x="1829" y="842"/>
                      </a:lnTo>
                      <a:lnTo>
                        <a:pt x="1829" y="840"/>
                      </a:lnTo>
                      <a:lnTo>
                        <a:pt x="1829" y="838"/>
                      </a:lnTo>
                      <a:lnTo>
                        <a:pt x="1829" y="837"/>
                      </a:lnTo>
                      <a:lnTo>
                        <a:pt x="1827" y="835"/>
                      </a:lnTo>
                      <a:lnTo>
                        <a:pt x="1823" y="835"/>
                      </a:lnTo>
                      <a:lnTo>
                        <a:pt x="1822" y="835"/>
                      </a:lnTo>
                      <a:lnTo>
                        <a:pt x="1820" y="835"/>
                      </a:lnTo>
                      <a:lnTo>
                        <a:pt x="1816" y="831"/>
                      </a:lnTo>
                      <a:lnTo>
                        <a:pt x="1816" y="828"/>
                      </a:lnTo>
                      <a:lnTo>
                        <a:pt x="1815" y="824"/>
                      </a:lnTo>
                      <a:lnTo>
                        <a:pt x="1811" y="823"/>
                      </a:lnTo>
                      <a:lnTo>
                        <a:pt x="1806" y="824"/>
                      </a:lnTo>
                      <a:lnTo>
                        <a:pt x="1806" y="823"/>
                      </a:lnTo>
                      <a:lnTo>
                        <a:pt x="1802" y="821"/>
                      </a:lnTo>
                      <a:lnTo>
                        <a:pt x="1801" y="819"/>
                      </a:lnTo>
                      <a:lnTo>
                        <a:pt x="1799" y="814"/>
                      </a:lnTo>
                      <a:lnTo>
                        <a:pt x="1797" y="810"/>
                      </a:lnTo>
                      <a:lnTo>
                        <a:pt x="1792" y="807"/>
                      </a:lnTo>
                      <a:lnTo>
                        <a:pt x="1729" y="774"/>
                      </a:lnTo>
                      <a:lnTo>
                        <a:pt x="1722" y="772"/>
                      </a:lnTo>
                      <a:lnTo>
                        <a:pt x="1715" y="775"/>
                      </a:lnTo>
                      <a:lnTo>
                        <a:pt x="1710" y="777"/>
                      </a:lnTo>
                      <a:lnTo>
                        <a:pt x="1703" y="781"/>
                      </a:lnTo>
                      <a:lnTo>
                        <a:pt x="1696" y="781"/>
                      </a:lnTo>
                      <a:lnTo>
                        <a:pt x="1692" y="781"/>
                      </a:lnTo>
                      <a:lnTo>
                        <a:pt x="1691" y="781"/>
                      </a:lnTo>
                      <a:lnTo>
                        <a:pt x="1689" y="779"/>
                      </a:lnTo>
                      <a:lnTo>
                        <a:pt x="1687" y="777"/>
                      </a:lnTo>
                      <a:lnTo>
                        <a:pt x="1687" y="777"/>
                      </a:lnTo>
                      <a:lnTo>
                        <a:pt x="1685" y="777"/>
                      </a:lnTo>
                      <a:lnTo>
                        <a:pt x="1678" y="777"/>
                      </a:lnTo>
                      <a:lnTo>
                        <a:pt x="1675" y="777"/>
                      </a:lnTo>
                      <a:lnTo>
                        <a:pt x="1673" y="777"/>
                      </a:lnTo>
                      <a:lnTo>
                        <a:pt x="1671" y="775"/>
                      </a:lnTo>
                      <a:lnTo>
                        <a:pt x="1671" y="775"/>
                      </a:lnTo>
                      <a:lnTo>
                        <a:pt x="1671" y="775"/>
                      </a:lnTo>
                      <a:lnTo>
                        <a:pt x="1670" y="774"/>
                      </a:lnTo>
                      <a:lnTo>
                        <a:pt x="1668" y="775"/>
                      </a:lnTo>
                      <a:lnTo>
                        <a:pt x="1663" y="777"/>
                      </a:lnTo>
                      <a:lnTo>
                        <a:pt x="1659" y="779"/>
                      </a:lnTo>
                      <a:lnTo>
                        <a:pt x="1656" y="777"/>
                      </a:lnTo>
                      <a:lnTo>
                        <a:pt x="1652" y="775"/>
                      </a:lnTo>
                      <a:lnTo>
                        <a:pt x="1650" y="774"/>
                      </a:lnTo>
                      <a:lnTo>
                        <a:pt x="1647" y="772"/>
                      </a:lnTo>
                      <a:lnTo>
                        <a:pt x="1647" y="772"/>
                      </a:lnTo>
                      <a:lnTo>
                        <a:pt x="1645" y="770"/>
                      </a:lnTo>
                      <a:lnTo>
                        <a:pt x="1644" y="770"/>
                      </a:lnTo>
                      <a:lnTo>
                        <a:pt x="1642" y="770"/>
                      </a:lnTo>
                      <a:lnTo>
                        <a:pt x="1642" y="770"/>
                      </a:lnTo>
                      <a:lnTo>
                        <a:pt x="1638" y="772"/>
                      </a:lnTo>
                      <a:lnTo>
                        <a:pt x="1638" y="772"/>
                      </a:lnTo>
                      <a:lnTo>
                        <a:pt x="1638" y="772"/>
                      </a:lnTo>
                      <a:lnTo>
                        <a:pt x="1637" y="768"/>
                      </a:lnTo>
                      <a:lnTo>
                        <a:pt x="1635" y="767"/>
                      </a:lnTo>
                      <a:lnTo>
                        <a:pt x="1635" y="767"/>
                      </a:lnTo>
                      <a:lnTo>
                        <a:pt x="1633" y="765"/>
                      </a:lnTo>
                      <a:lnTo>
                        <a:pt x="1626" y="763"/>
                      </a:lnTo>
                      <a:lnTo>
                        <a:pt x="1623" y="761"/>
                      </a:lnTo>
                      <a:lnTo>
                        <a:pt x="1621" y="761"/>
                      </a:lnTo>
                      <a:lnTo>
                        <a:pt x="1617" y="761"/>
                      </a:lnTo>
                      <a:lnTo>
                        <a:pt x="1617" y="761"/>
                      </a:lnTo>
                      <a:lnTo>
                        <a:pt x="1614" y="765"/>
                      </a:lnTo>
                      <a:lnTo>
                        <a:pt x="1610" y="765"/>
                      </a:lnTo>
                      <a:lnTo>
                        <a:pt x="1609" y="763"/>
                      </a:lnTo>
                      <a:lnTo>
                        <a:pt x="1605" y="761"/>
                      </a:lnTo>
                      <a:lnTo>
                        <a:pt x="1602" y="760"/>
                      </a:lnTo>
                      <a:lnTo>
                        <a:pt x="1593" y="760"/>
                      </a:lnTo>
                      <a:lnTo>
                        <a:pt x="1591" y="758"/>
                      </a:lnTo>
                      <a:lnTo>
                        <a:pt x="1588" y="753"/>
                      </a:lnTo>
                      <a:lnTo>
                        <a:pt x="1586" y="746"/>
                      </a:lnTo>
                      <a:lnTo>
                        <a:pt x="1584" y="742"/>
                      </a:lnTo>
                      <a:lnTo>
                        <a:pt x="1579" y="739"/>
                      </a:lnTo>
                      <a:lnTo>
                        <a:pt x="1579" y="751"/>
                      </a:lnTo>
                      <a:lnTo>
                        <a:pt x="989" y="751"/>
                      </a:lnTo>
                      <a:lnTo>
                        <a:pt x="990" y="754"/>
                      </a:lnTo>
                      <a:lnTo>
                        <a:pt x="990" y="756"/>
                      </a:lnTo>
                      <a:lnTo>
                        <a:pt x="990" y="756"/>
                      </a:lnTo>
                      <a:lnTo>
                        <a:pt x="992" y="756"/>
                      </a:lnTo>
                      <a:lnTo>
                        <a:pt x="992" y="758"/>
                      </a:lnTo>
                      <a:lnTo>
                        <a:pt x="992" y="758"/>
                      </a:lnTo>
                      <a:lnTo>
                        <a:pt x="994" y="758"/>
                      </a:lnTo>
                      <a:lnTo>
                        <a:pt x="994" y="761"/>
                      </a:lnTo>
                      <a:lnTo>
                        <a:pt x="996" y="763"/>
                      </a:lnTo>
                      <a:lnTo>
                        <a:pt x="994" y="765"/>
                      </a:lnTo>
                      <a:lnTo>
                        <a:pt x="994" y="765"/>
                      </a:lnTo>
                      <a:lnTo>
                        <a:pt x="992" y="765"/>
                      </a:lnTo>
                      <a:lnTo>
                        <a:pt x="992" y="767"/>
                      </a:lnTo>
                      <a:lnTo>
                        <a:pt x="992" y="767"/>
                      </a:lnTo>
                      <a:lnTo>
                        <a:pt x="996" y="770"/>
                      </a:lnTo>
                      <a:lnTo>
                        <a:pt x="997" y="772"/>
                      </a:lnTo>
                      <a:lnTo>
                        <a:pt x="994" y="774"/>
                      </a:lnTo>
                      <a:lnTo>
                        <a:pt x="994" y="775"/>
                      </a:lnTo>
                      <a:lnTo>
                        <a:pt x="996" y="777"/>
                      </a:lnTo>
                      <a:lnTo>
                        <a:pt x="997" y="777"/>
                      </a:lnTo>
                      <a:lnTo>
                        <a:pt x="997" y="775"/>
                      </a:lnTo>
                      <a:lnTo>
                        <a:pt x="999" y="779"/>
                      </a:lnTo>
                      <a:lnTo>
                        <a:pt x="999" y="779"/>
                      </a:lnTo>
                      <a:lnTo>
                        <a:pt x="999" y="781"/>
                      </a:lnTo>
                      <a:lnTo>
                        <a:pt x="999" y="781"/>
                      </a:lnTo>
                      <a:lnTo>
                        <a:pt x="999" y="782"/>
                      </a:lnTo>
                      <a:lnTo>
                        <a:pt x="999" y="782"/>
                      </a:lnTo>
                      <a:lnTo>
                        <a:pt x="997" y="788"/>
                      </a:lnTo>
                      <a:lnTo>
                        <a:pt x="997" y="789"/>
                      </a:lnTo>
                      <a:lnTo>
                        <a:pt x="997" y="795"/>
                      </a:lnTo>
                      <a:lnTo>
                        <a:pt x="997" y="798"/>
                      </a:lnTo>
                      <a:lnTo>
                        <a:pt x="997" y="798"/>
                      </a:lnTo>
                      <a:lnTo>
                        <a:pt x="997" y="798"/>
                      </a:lnTo>
                      <a:lnTo>
                        <a:pt x="996" y="796"/>
                      </a:lnTo>
                      <a:lnTo>
                        <a:pt x="996" y="795"/>
                      </a:lnTo>
                      <a:lnTo>
                        <a:pt x="996" y="796"/>
                      </a:lnTo>
                      <a:lnTo>
                        <a:pt x="994" y="796"/>
                      </a:lnTo>
                      <a:lnTo>
                        <a:pt x="994" y="798"/>
                      </a:lnTo>
                      <a:lnTo>
                        <a:pt x="994" y="798"/>
                      </a:lnTo>
                      <a:lnTo>
                        <a:pt x="996" y="798"/>
                      </a:lnTo>
                      <a:lnTo>
                        <a:pt x="996" y="798"/>
                      </a:lnTo>
                      <a:lnTo>
                        <a:pt x="996" y="798"/>
                      </a:lnTo>
                      <a:lnTo>
                        <a:pt x="994" y="802"/>
                      </a:lnTo>
                      <a:lnTo>
                        <a:pt x="994" y="802"/>
                      </a:lnTo>
                      <a:lnTo>
                        <a:pt x="992" y="803"/>
                      </a:lnTo>
                      <a:lnTo>
                        <a:pt x="992" y="805"/>
                      </a:lnTo>
                      <a:lnTo>
                        <a:pt x="990" y="805"/>
                      </a:lnTo>
                      <a:lnTo>
                        <a:pt x="990" y="805"/>
                      </a:lnTo>
                      <a:lnTo>
                        <a:pt x="983" y="805"/>
                      </a:lnTo>
                      <a:lnTo>
                        <a:pt x="985" y="802"/>
                      </a:lnTo>
                      <a:lnTo>
                        <a:pt x="987" y="800"/>
                      </a:lnTo>
                      <a:lnTo>
                        <a:pt x="987" y="800"/>
                      </a:lnTo>
                      <a:lnTo>
                        <a:pt x="989" y="800"/>
                      </a:lnTo>
                      <a:lnTo>
                        <a:pt x="989" y="802"/>
                      </a:lnTo>
                      <a:lnTo>
                        <a:pt x="989" y="803"/>
                      </a:lnTo>
                      <a:lnTo>
                        <a:pt x="989" y="802"/>
                      </a:lnTo>
                      <a:lnTo>
                        <a:pt x="990" y="802"/>
                      </a:lnTo>
                      <a:lnTo>
                        <a:pt x="990" y="800"/>
                      </a:lnTo>
                      <a:lnTo>
                        <a:pt x="992" y="802"/>
                      </a:lnTo>
                      <a:lnTo>
                        <a:pt x="994" y="798"/>
                      </a:lnTo>
                      <a:lnTo>
                        <a:pt x="992" y="795"/>
                      </a:lnTo>
                      <a:lnTo>
                        <a:pt x="990" y="791"/>
                      </a:lnTo>
                      <a:lnTo>
                        <a:pt x="992" y="789"/>
                      </a:lnTo>
                      <a:lnTo>
                        <a:pt x="994" y="788"/>
                      </a:lnTo>
                      <a:lnTo>
                        <a:pt x="994" y="784"/>
                      </a:lnTo>
                      <a:lnTo>
                        <a:pt x="992" y="782"/>
                      </a:lnTo>
                      <a:lnTo>
                        <a:pt x="992" y="786"/>
                      </a:lnTo>
                      <a:lnTo>
                        <a:pt x="985" y="793"/>
                      </a:lnTo>
                      <a:lnTo>
                        <a:pt x="983" y="798"/>
                      </a:lnTo>
                      <a:lnTo>
                        <a:pt x="985" y="798"/>
                      </a:lnTo>
                      <a:lnTo>
                        <a:pt x="985" y="796"/>
                      </a:lnTo>
                      <a:lnTo>
                        <a:pt x="983" y="798"/>
                      </a:lnTo>
                      <a:lnTo>
                        <a:pt x="983" y="800"/>
                      </a:lnTo>
                      <a:lnTo>
                        <a:pt x="982" y="798"/>
                      </a:lnTo>
                      <a:lnTo>
                        <a:pt x="982" y="796"/>
                      </a:lnTo>
                      <a:lnTo>
                        <a:pt x="982" y="795"/>
                      </a:lnTo>
                      <a:lnTo>
                        <a:pt x="983" y="791"/>
                      </a:lnTo>
                      <a:lnTo>
                        <a:pt x="989" y="786"/>
                      </a:lnTo>
                      <a:lnTo>
                        <a:pt x="989" y="788"/>
                      </a:lnTo>
                      <a:lnTo>
                        <a:pt x="989" y="788"/>
                      </a:lnTo>
                      <a:lnTo>
                        <a:pt x="989" y="788"/>
                      </a:lnTo>
                      <a:lnTo>
                        <a:pt x="990" y="786"/>
                      </a:lnTo>
                      <a:lnTo>
                        <a:pt x="990" y="782"/>
                      </a:lnTo>
                      <a:lnTo>
                        <a:pt x="990" y="779"/>
                      </a:lnTo>
                      <a:lnTo>
                        <a:pt x="989" y="775"/>
                      </a:lnTo>
                      <a:lnTo>
                        <a:pt x="987" y="777"/>
                      </a:lnTo>
                      <a:lnTo>
                        <a:pt x="985" y="777"/>
                      </a:lnTo>
                      <a:lnTo>
                        <a:pt x="983" y="777"/>
                      </a:lnTo>
                      <a:lnTo>
                        <a:pt x="982" y="775"/>
                      </a:lnTo>
                      <a:lnTo>
                        <a:pt x="980" y="775"/>
                      </a:lnTo>
                      <a:lnTo>
                        <a:pt x="975" y="775"/>
                      </a:lnTo>
                      <a:lnTo>
                        <a:pt x="971" y="775"/>
                      </a:lnTo>
                      <a:lnTo>
                        <a:pt x="968" y="775"/>
                      </a:lnTo>
                      <a:lnTo>
                        <a:pt x="964" y="775"/>
                      </a:lnTo>
                      <a:lnTo>
                        <a:pt x="962" y="774"/>
                      </a:lnTo>
                      <a:lnTo>
                        <a:pt x="950" y="770"/>
                      </a:lnTo>
                      <a:lnTo>
                        <a:pt x="947" y="768"/>
                      </a:lnTo>
                      <a:lnTo>
                        <a:pt x="948" y="772"/>
                      </a:lnTo>
                      <a:lnTo>
                        <a:pt x="948" y="777"/>
                      </a:lnTo>
                      <a:lnTo>
                        <a:pt x="948" y="781"/>
                      </a:lnTo>
                      <a:lnTo>
                        <a:pt x="950" y="782"/>
                      </a:lnTo>
                      <a:lnTo>
                        <a:pt x="954" y="788"/>
                      </a:lnTo>
                      <a:lnTo>
                        <a:pt x="954" y="789"/>
                      </a:lnTo>
                      <a:lnTo>
                        <a:pt x="955" y="795"/>
                      </a:lnTo>
                      <a:lnTo>
                        <a:pt x="959" y="810"/>
                      </a:lnTo>
                      <a:lnTo>
                        <a:pt x="961" y="809"/>
                      </a:lnTo>
                      <a:lnTo>
                        <a:pt x="962" y="809"/>
                      </a:lnTo>
                      <a:lnTo>
                        <a:pt x="964" y="810"/>
                      </a:lnTo>
                      <a:lnTo>
                        <a:pt x="966" y="810"/>
                      </a:lnTo>
                      <a:lnTo>
                        <a:pt x="962" y="812"/>
                      </a:lnTo>
                      <a:lnTo>
                        <a:pt x="961" y="812"/>
                      </a:lnTo>
                      <a:lnTo>
                        <a:pt x="961" y="814"/>
                      </a:lnTo>
                      <a:lnTo>
                        <a:pt x="962" y="817"/>
                      </a:lnTo>
                      <a:lnTo>
                        <a:pt x="962" y="817"/>
                      </a:lnTo>
                      <a:lnTo>
                        <a:pt x="964" y="817"/>
                      </a:lnTo>
                      <a:lnTo>
                        <a:pt x="964" y="819"/>
                      </a:lnTo>
                      <a:lnTo>
                        <a:pt x="964" y="819"/>
                      </a:lnTo>
                      <a:lnTo>
                        <a:pt x="964" y="821"/>
                      </a:lnTo>
                      <a:lnTo>
                        <a:pt x="964" y="823"/>
                      </a:lnTo>
                      <a:lnTo>
                        <a:pt x="964" y="824"/>
                      </a:lnTo>
                      <a:lnTo>
                        <a:pt x="962" y="824"/>
                      </a:lnTo>
                      <a:lnTo>
                        <a:pt x="962" y="823"/>
                      </a:lnTo>
                      <a:lnTo>
                        <a:pt x="962" y="821"/>
                      </a:lnTo>
                      <a:lnTo>
                        <a:pt x="962" y="821"/>
                      </a:lnTo>
                      <a:lnTo>
                        <a:pt x="961" y="828"/>
                      </a:lnTo>
                      <a:lnTo>
                        <a:pt x="961" y="830"/>
                      </a:lnTo>
                      <a:lnTo>
                        <a:pt x="966" y="830"/>
                      </a:lnTo>
                      <a:lnTo>
                        <a:pt x="971" y="830"/>
                      </a:lnTo>
                      <a:lnTo>
                        <a:pt x="973" y="830"/>
                      </a:lnTo>
                      <a:lnTo>
                        <a:pt x="976" y="831"/>
                      </a:lnTo>
                      <a:lnTo>
                        <a:pt x="980" y="833"/>
                      </a:lnTo>
                      <a:lnTo>
                        <a:pt x="976" y="833"/>
                      </a:lnTo>
                      <a:lnTo>
                        <a:pt x="975" y="833"/>
                      </a:lnTo>
                      <a:lnTo>
                        <a:pt x="975" y="831"/>
                      </a:lnTo>
                      <a:lnTo>
                        <a:pt x="971" y="831"/>
                      </a:lnTo>
                      <a:lnTo>
                        <a:pt x="969" y="831"/>
                      </a:lnTo>
                      <a:lnTo>
                        <a:pt x="968" y="831"/>
                      </a:lnTo>
                      <a:lnTo>
                        <a:pt x="966" y="831"/>
                      </a:lnTo>
                      <a:lnTo>
                        <a:pt x="962" y="831"/>
                      </a:lnTo>
                      <a:lnTo>
                        <a:pt x="964" y="835"/>
                      </a:lnTo>
                      <a:lnTo>
                        <a:pt x="964" y="840"/>
                      </a:lnTo>
                      <a:lnTo>
                        <a:pt x="964" y="854"/>
                      </a:lnTo>
                      <a:lnTo>
                        <a:pt x="959" y="896"/>
                      </a:lnTo>
                      <a:lnTo>
                        <a:pt x="957" y="910"/>
                      </a:lnTo>
                      <a:lnTo>
                        <a:pt x="957" y="910"/>
                      </a:lnTo>
                      <a:lnTo>
                        <a:pt x="959" y="910"/>
                      </a:lnTo>
                      <a:lnTo>
                        <a:pt x="955" y="912"/>
                      </a:lnTo>
                      <a:lnTo>
                        <a:pt x="954" y="917"/>
                      </a:lnTo>
                      <a:lnTo>
                        <a:pt x="952" y="922"/>
                      </a:lnTo>
                      <a:lnTo>
                        <a:pt x="952" y="926"/>
                      </a:lnTo>
                      <a:lnTo>
                        <a:pt x="952" y="927"/>
                      </a:lnTo>
                      <a:lnTo>
                        <a:pt x="954" y="931"/>
                      </a:lnTo>
                      <a:lnTo>
                        <a:pt x="954" y="933"/>
                      </a:lnTo>
                      <a:lnTo>
                        <a:pt x="954" y="933"/>
                      </a:lnTo>
                      <a:lnTo>
                        <a:pt x="954" y="936"/>
                      </a:lnTo>
                      <a:lnTo>
                        <a:pt x="954" y="938"/>
                      </a:lnTo>
                      <a:lnTo>
                        <a:pt x="954" y="941"/>
                      </a:lnTo>
                      <a:lnTo>
                        <a:pt x="955" y="943"/>
                      </a:lnTo>
                      <a:lnTo>
                        <a:pt x="957" y="945"/>
                      </a:lnTo>
                      <a:lnTo>
                        <a:pt x="957" y="948"/>
                      </a:lnTo>
                      <a:lnTo>
                        <a:pt x="957" y="948"/>
                      </a:lnTo>
                      <a:lnTo>
                        <a:pt x="957" y="952"/>
                      </a:lnTo>
                      <a:lnTo>
                        <a:pt x="957" y="954"/>
                      </a:lnTo>
                      <a:lnTo>
                        <a:pt x="957" y="954"/>
                      </a:lnTo>
                      <a:lnTo>
                        <a:pt x="961" y="957"/>
                      </a:lnTo>
                      <a:lnTo>
                        <a:pt x="961" y="961"/>
                      </a:lnTo>
                      <a:lnTo>
                        <a:pt x="961" y="962"/>
                      </a:lnTo>
                      <a:lnTo>
                        <a:pt x="957" y="982"/>
                      </a:lnTo>
                      <a:lnTo>
                        <a:pt x="957" y="982"/>
                      </a:lnTo>
                      <a:lnTo>
                        <a:pt x="957" y="982"/>
                      </a:lnTo>
                      <a:lnTo>
                        <a:pt x="955" y="985"/>
                      </a:lnTo>
                      <a:lnTo>
                        <a:pt x="955" y="990"/>
                      </a:lnTo>
                      <a:lnTo>
                        <a:pt x="957" y="994"/>
                      </a:lnTo>
                      <a:lnTo>
                        <a:pt x="962" y="1001"/>
                      </a:lnTo>
                      <a:lnTo>
                        <a:pt x="966" y="1006"/>
                      </a:lnTo>
                      <a:lnTo>
                        <a:pt x="966" y="1009"/>
                      </a:lnTo>
                      <a:lnTo>
                        <a:pt x="968" y="1018"/>
                      </a:lnTo>
                      <a:lnTo>
                        <a:pt x="969" y="1029"/>
                      </a:lnTo>
                      <a:lnTo>
                        <a:pt x="971" y="1030"/>
                      </a:lnTo>
                      <a:lnTo>
                        <a:pt x="975" y="1034"/>
                      </a:lnTo>
                      <a:lnTo>
                        <a:pt x="982" y="1041"/>
                      </a:lnTo>
                      <a:lnTo>
                        <a:pt x="985" y="1044"/>
                      </a:lnTo>
                      <a:lnTo>
                        <a:pt x="987" y="1048"/>
                      </a:lnTo>
                      <a:lnTo>
                        <a:pt x="987" y="1048"/>
                      </a:lnTo>
                      <a:lnTo>
                        <a:pt x="985" y="1046"/>
                      </a:lnTo>
                      <a:lnTo>
                        <a:pt x="985" y="1048"/>
                      </a:lnTo>
                      <a:lnTo>
                        <a:pt x="985" y="1048"/>
                      </a:lnTo>
                      <a:lnTo>
                        <a:pt x="985" y="1050"/>
                      </a:lnTo>
                      <a:lnTo>
                        <a:pt x="983" y="1051"/>
                      </a:lnTo>
                      <a:lnTo>
                        <a:pt x="987" y="1051"/>
                      </a:lnTo>
                      <a:lnTo>
                        <a:pt x="989" y="1053"/>
                      </a:lnTo>
                      <a:lnTo>
                        <a:pt x="992" y="1055"/>
                      </a:lnTo>
                      <a:lnTo>
                        <a:pt x="996" y="1055"/>
                      </a:lnTo>
                      <a:lnTo>
                        <a:pt x="996" y="1051"/>
                      </a:lnTo>
                      <a:lnTo>
                        <a:pt x="996" y="1050"/>
                      </a:lnTo>
                      <a:lnTo>
                        <a:pt x="999" y="1048"/>
                      </a:lnTo>
                      <a:lnTo>
                        <a:pt x="1013" y="1050"/>
                      </a:lnTo>
                      <a:lnTo>
                        <a:pt x="1015" y="1050"/>
                      </a:lnTo>
                      <a:lnTo>
                        <a:pt x="1006" y="1050"/>
                      </a:lnTo>
                      <a:lnTo>
                        <a:pt x="1001" y="1050"/>
                      </a:lnTo>
                      <a:lnTo>
                        <a:pt x="997" y="1051"/>
                      </a:lnTo>
                      <a:lnTo>
                        <a:pt x="997" y="1055"/>
                      </a:lnTo>
                      <a:lnTo>
                        <a:pt x="999" y="1058"/>
                      </a:lnTo>
                      <a:lnTo>
                        <a:pt x="1004" y="1064"/>
                      </a:lnTo>
                      <a:lnTo>
                        <a:pt x="1001" y="1062"/>
                      </a:lnTo>
                      <a:lnTo>
                        <a:pt x="997" y="1058"/>
                      </a:lnTo>
                      <a:lnTo>
                        <a:pt x="996" y="1057"/>
                      </a:lnTo>
                      <a:lnTo>
                        <a:pt x="994" y="1058"/>
                      </a:lnTo>
                      <a:lnTo>
                        <a:pt x="994" y="1064"/>
                      </a:lnTo>
                      <a:lnTo>
                        <a:pt x="996" y="1069"/>
                      </a:lnTo>
                      <a:lnTo>
                        <a:pt x="999" y="1074"/>
                      </a:lnTo>
                      <a:lnTo>
                        <a:pt x="1003" y="1076"/>
                      </a:lnTo>
                      <a:lnTo>
                        <a:pt x="1008" y="1078"/>
                      </a:lnTo>
                      <a:lnTo>
                        <a:pt x="1010" y="1079"/>
                      </a:lnTo>
                      <a:lnTo>
                        <a:pt x="1010" y="1081"/>
                      </a:lnTo>
                      <a:lnTo>
                        <a:pt x="1010" y="1085"/>
                      </a:lnTo>
                      <a:lnTo>
                        <a:pt x="1008" y="1086"/>
                      </a:lnTo>
                      <a:lnTo>
                        <a:pt x="1008" y="1088"/>
                      </a:lnTo>
                      <a:lnTo>
                        <a:pt x="1008" y="1092"/>
                      </a:lnTo>
                      <a:lnTo>
                        <a:pt x="1010" y="1093"/>
                      </a:lnTo>
                      <a:lnTo>
                        <a:pt x="1017" y="1100"/>
                      </a:lnTo>
                      <a:lnTo>
                        <a:pt x="1020" y="1107"/>
                      </a:lnTo>
                      <a:lnTo>
                        <a:pt x="1022" y="1109"/>
                      </a:lnTo>
                      <a:lnTo>
                        <a:pt x="1024" y="1111"/>
                      </a:lnTo>
                      <a:lnTo>
                        <a:pt x="1027" y="1114"/>
                      </a:lnTo>
                      <a:lnTo>
                        <a:pt x="1029" y="1116"/>
                      </a:lnTo>
                      <a:lnTo>
                        <a:pt x="1029" y="1116"/>
                      </a:lnTo>
                      <a:lnTo>
                        <a:pt x="1029" y="1120"/>
                      </a:lnTo>
                      <a:lnTo>
                        <a:pt x="1031" y="1120"/>
                      </a:lnTo>
                      <a:lnTo>
                        <a:pt x="1031" y="1121"/>
                      </a:lnTo>
                      <a:lnTo>
                        <a:pt x="1034" y="1121"/>
                      </a:lnTo>
                      <a:lnTo>
                        <a:pt x="1034" y="1121"/>
                      </a:lnTo>
                      <a:lnTo>
                        <a:pt x="1036" y="1127"/>
                      </a:lnTo>
                      <a:lnTo>
                        <a:pt x="1034" y="1132"/>
                      </a:lnTo>
                      <a:lnTo>
                        <a:pt x="1036" y="1135"/>
                      </a:lnTo>
                      <a:lnTo>
                        <a:pt x="1039" y="1139"/>
                      </a:lnTo>
                      <a:lnTo>
                        <a:pt x="1045" y="1139"/>
                      </a:lnTo>
                      <a:lnTo>
                        <a:pt x="1050" y="1139"/>
                      </a:lnTo>
                      <a:lnTo>
                        <a:pt x="1055" y="1139"/>
                      </a:lnTo>
                      <a:lnTo>
                        <a:pt x="1060" y="1141"/>
                      </a:lnTo>
                      <a:lnTo>
                        <a:pt x="1062" y="1142"/>
                      </a:lnTo>
                      <a:lnTo>
                        <a:pt x="1065" y="1146"/>
                      </a:lnTo>
                      <a:lnTo>
                        <a:pt x="1069" y="1148"/>
                      </a:lnTo>
                      <a:lnTo>
                        <a:pt x="1071" y="1148"/>
                      </a:lnTo>
                      <a:lnTo>
                        <a:pt x="1078" y="1148"/>
                      </a:lnTo>
                      <a:lnTo>
                        <a:pt x="1079" y="1149"/>
                      </a:lnTo>
                      <a:lnTo>
                        <a:pt x="1081" y="1151"/>
                      </a:lnTo>
                      <a:lnTo>
                        <a:pt x="1081" y="1151"/>
                      </a:lnTo>
                      <a:lnTo>
                        <a:pt x="1081" y="1153"/>
                      </a:lnTo>
                      <a:lnTo>
                        <a:pt x="1083" y="1155"/>
                      </a:lnTo>
                      <a:lnTo>
                        <a:pt x="1083" y="1155"/>
                      </a:lnTo>
                      <a:lnTo>
                        <a:pt x="1085" y="1156"/>
                      </a:lnTo>
                      <a:lnTo>
                        <a:pt x="1085" y="1155"/>
                      </a:lnTo>
                      <a:lnTo>
                        <a:pt x="1085" y="1155"/>
                      </a:lnTo>
                      <a:lnTo>
                        <a:pt x="1088" y="1156"/>
                      </a:lnTo>
                      <a:lnTo>
                        <a:pt x="1090" y="1158"/>
                      </a:lnTo>
                      <a:lnTo>
                        <a:pt x="1093" y="1160"/>
                      </a:lnTo>
                      <a:lnTo>
                        <a:pt x="1099" y="1163"/>
                      </a:lnTo>
                      <a:lnTo>
                        <a:pt x="1102" y="1165"/>
                      </a:lnTo>
                      <a:lnTo>
                        <a:pt x="1104" y="1168"/>
                      </a:lnTo>
                      <a:lnTo>
                        <a:pt x="1106" y="1172"/>
                      </a:lnTo>
                      <a:lnTo>
                        <a:pt x="1106" y="1174"/>
                      </a:lnTo>
                      <a:lnTo>
                        <a:pt x="1107" y="1179"/>
                      </a:lnTo>
                      <a:lnTo>
                        <a:pt x="1107" y="1182"/>
                      </a:lnTo>
                      <a:lnTo>
                        <a:pt x="1109" y="1181"/>
                      </a:lnTo>
                      <a:lnTo>
                        <a:pt x="1109" y="1182"/>
                      </a:lnTo>
                      <a:lnTo>
                        <a:pt x="1109" y="1182"/>
                      </a:lnTo>
                      <a:lnTo>
                        <a:pt x="1109" y="1184"/>
                      </a:lnTo>
                      <a:lnTo>
                        <a:pt x="1162" y="1181"/>
                      </a:lnTo>
                      <a:lnTo>
                        <a:pt x="1160" y="1182"/>
                      </a:lnTo>
                      <a:lnTo>
                        <a:pt x="1160" y="1182"/>
                      </a:lnTo>
                      <a:lnTo>
                        <a:pt x="1160" y="1184"/>
                      </a:lnTo>
                      <a:lnTo>
                        <a:pt x="1158" y="1186"/>
                      </a:lnTo>
                      <a:lnTo>
                        <a:pt x="1235" y="1210"/>
                      </a:lnTo>
                      <a:lnTo>
                        <a:pt x="1240" y="1212"/>
                      </a:lnTo>
                      <a:lnTo>
                        <a:pt x="1299" y="1212"/>
                      </a:lnTo>
                      <a:lnTo>
                        <a:pt x="1299" y="1202"/>
                      </a:lnTo>
                      <a:lnTo>
                        <a:pt x="1334" y="1202"/>
                      </a:lnTo>
                      <a:lnTo>
                        <a:pt x="1338" y="1203"/>
                      </a:lnTo>
                      <a:lnTo>
                        <a:pt x="1340" y="1203"/>
                      </a:lnTo>
                      <a:lnTo>
                        <a:pt x="1343" y="1209"/>
                      </a:lnTo>
                      <a:lnTo>
                        <a:pt x="1345" y="1210"/>
                      </a:lnTo>
                      <a:lnTo>
                        <a:pt x="1350" y="1214"/>
                      </a:lnTo>
                      <a:lnTo>
                        <a:pt x="1369" y="1228"/>
                      </a:lnTo>
                      <a:lnTo>
                        <a:pt x="1371" y="1231"/>
                      </a:lnTo>
                      <a:lnTo>
                        <a:pt x="1373" y="1235"/>
                      </a:lnTo>
                      <a:lnTo>
                        <a:pt x="1376" y="1244"/>
                      </a:lnTo>
                      <a:lnTo>
                        <a:pt x="1378" y="1247"/>
                      </a:lnTo>
                      <a:lnTo>
                        <a:pt x="1380" y="1251"/>
                      </a:lnTo>
                      <a:lnTo>
                        <a:pt x="1383" y="1254"/>
                      </a:lnTo>
                      <a:lnTo>
                        <a:pt x="1394" y="1261"/>
                      </a:lnTo>
                      <a:lnTo>
                        <a:pt x="1401" y="1265"/>
                      </a:lnTo>
                      <a:lnTo>
                        <a:pt x="1408" y="1265"/>
                      </a:lnTo>
                      <a:lnTo>
                        <a:pt x="1415" y="1261"/>
                      </a:lnTo>
                      <a:lnTo>
                        <a:pt x="1416" y="1258"/>
                      </a:lnTo>
                      <a:lnTo>
                        <a:pt x="1416" y="1254"/>
                      </a:lnTo>
                      <a:lnTo>
                        <a:pt x="1418" y="1251"/>
                      </a:lnTo>
                      <a:lnTo>
                        <a:pt x="1422" y="1249"/>
                      </a:lnTo>
                      <a:lnTo>
                        <a:pt x="1425" y="1247"/>
                      </a:lnTo>
                      <a:lnTo>
                        <a:pt x="1430" y="1247"/>
                      </a:lnTo>
                      <a:lnTo>
                        <a:pt x="1434" y="1247"/>
                      </a:lnTo>
                      <a:lnTo>
                        <a:pt x="1437" y="1249"/>
                      </a:lnTo>
                      <a:lnTo>
                        <a:pt x="1441" y="1249"/>
                      </a:lnTo>
                      <a:lnTo>
                        <a:pt x="1443" y="1249"/>
                      </a:lnTo>
                      <a:lnTo>
                        <a:pt x="1444" y="1249"/>
                      </a:lnTo>
                      <a:lnTo>
                        <a:pt x="1448" y="1251"/>
                      </a:lnTo>
                      <a:lnTo>
                        <a:pt x="1450" y="1252"/>
                      </a:lnTo>
                      <a:lnTo>
                        <a:pt x="1460" y="1265"/>
                      </a:lnTo>
                      <a:lnTo>
                        <a:pt x="1464" y="1268"/>
                      </a:lnTo>
                      <a:lnTo>
                        <a:pt x="1467" y="1275"/>
                      </a:lnTo>
                      <a:lnTo>
                        <a:pt x="1467" y="1277"/>
                      </a:lnTo>
                      <a:lnTo>
                        <a:pt x="1469" y="1280"/>
                      </a:lnTo>
                      <a:lnTo>
                        <a:pt x="1469" y="1282"/>
                      </a:lnTo>
                      <a:lnTo>
                        <a:pt x="1471" y="1284"/>
                      </a:lnTo>
                      <a:lnTo>
                        <a:pt x="1474" y="1287"/>
                      </a:lnTo>
                      <a:lnTo>
                        <a:pt x="1476" y="1289"/>
                      </a:lnTo>
                      <a:lnTo>
                        <a:pt x="1479" y="1294"/>
                      </a:lnTo>
                      <a:lnTo>
                        <a:pt x="1481" y="1296"/>
                      </a:lnTo>
                      <a:lnTo>
                        <a:pt x="1483" y="1298"/>
                      </a:lnTo>
                      <a:lnTo>
                        <a:pt x="1483" y="1298"/>
                      </a:lnTo>
                      <a:lnTo>
                        <a:pt x="1485" y="1300"/>
                      </a:lnTo>
                      <a:lnTo>
                        <a:pt x="1486" y="1301"/>
                      </a:lnTo>
                      <a:lnTo>
                        <a:pt x="1486" y="1303"/>
                      </a:lnTo>
                      <a:lnTo>
                        <a:pt x="1486" y="1310"/>
                      </a:lnTo>
                      <a:lnTo>
                        <a:pt x="1488" y="1314"/>
                      </a:lnTo>
                      <a:lnTo>
                        <a:pt x="1488" y="1315"/>
                      </a:lnTo>
                      <a:lnTo>
                        <a:pt x="1492" y="1317"/>
                      </a:lnTo>
                      <a:lnTo>
                        <a:pt x="1492" y="1319"/>
                      </a:lnTo>
                      <a:lnTo>
                        <a:pt x="1492" y="1321"/>
                      </a:lnTo>
                      <a:lnTo>
                        <a:pt x="1493" y="1324"/>
                      </a:lnTo>
                      <a:lnTo>
                        <a:pt x="1493" y="1326"/>
                      </a:lnTo>
                      <a:lnTo>
                        <a:pt x="1497" y="1327"/>
                      </a:lnTo>
                      <a:lnTo>
                        <a:pt x="1500" y="1331"/>
                      </a:lnTo>
                      <a:lnTo>
                        <a:pt x="1513" y="1334"/>
                      </a:lnTo>
                      <a:lnTo>
                        <a:pt x="1525" y="1338"/>
                      </a:lnTo>
                      <a:lnTo>
                        <a:pt x="1527" y="1338"/>
                      </a:lnTo>
                      <a:lnTo>
                        <a:pt x="1530" y="1341"/>
                      </a:lnTo>
                      <a:lnTo>
                        <a:pt x="1532" y="1341"/>
                      </a:lnTo>
                      <a:lnTo>
                        <a:pt x="1533" y="1341"/>
                      </a:lnTo>
                      <a:lnTo>
                        <a:pt x="1533" y="1340"/>
                      </a:lnTo>
                      <a:lnTo>
                        <a:pt x="1535" y="1340"/>
                      </a:lnTo>
                      <a:lnTo>
                        <a:pt x="1537" y="1340"/>
                      </a:lnTo>
                      <a:lnTo>
                        <a:pt x="1537" y="1338"/>
                      </a:lnTo>
                      <a:lnTo>
                        <a:pt x="1535" y="1334"/>
                      </a:lnTo>
                      <a:lnTo>
                        <a:pt x="1533" y="1333"/>
                      </a:lnTo>
                      <a:lnTo>
                        <a:pt x="1532" y="1331"/>
                      </a:lnTo>
                      <a:lnTo>
                        <a:pt x="1532" y="1329"/>
                      </a:lnTo>
                      <a:lnTo>
                        <a:pt x="1528" y="1317"/>
                      </a:lnTo>
                      <a:lnTo>
                        <a:pt x="1528" y="1315"/>
                      </a:lnTo>
                      <a:lnTo>
                        <a:pt x="1528" y="1314"/>
                      </a:lnTo>
                      <a:lnTo>
                        <a:pt x="1530" y="1312"/>
                      </a:lnTo>
                      <a:lnTo>
                        <a:pt x="1530" y="1310"/>
                      </a:lnTo>
                      <a:lnTo>
                        <a:pt x="1528" y="1308"/>
                      </a:lnTo>
                      <a:lnTo>
                        <a:pt x="1525" y="1307"/>
                      </a:lnTo>
                      <a:lnTo>
                        <a:pt x="1523" y="1303"/>
                      </a:lnTo>
                      <a:lnTo>
                        <a:pt x="1528" y="1307"/>
                      </a:lnTo>
                      <a:lnTo>
                        <a:pt x="1530" y="1307"/>
                      </a:lnTo>
                      <a:lnTo>
                        <a:pt x="1532" y="1303"/>
                      </a:lnTo>
                      <a:lnTo>
                        <a:pt x="1533" y="1298"/>
                      </a:lnTo>
                      <a:lnTo>
                        <a:pt x="1533" y="1296"/>
                      </a:lnTo>
                      <a:lnTo>
                        <a:pt x="1532" y="1296"/>
                      </a:lnTo>
                      <a:lnTo>
                        <a:pt x="1532" y="1294"/>
                      </a:lnTo>
                      <a:lnTo>
                        <a:pt x="1532" y="1294"/>
                      </a:lnTo>
                      <a:lnTo>
                        <a:pt x="1532" y="1294"/>
                      </a:lnTo>
                      <a:lnTo>
                        <a:pt x="1532" y="1294"/>
                      </a:lnTo>
                      <a:lnTo>
                        <a:pt x="1533" y="1294"/>
                      </a:lnTo>
                      <a:lnTo>
                        <a:pt x="1533" y="1294"/>
                      </a:lnTo>
                      <a:lnTo>
                        <a:pt x="1535" y="1293"/>
                      </a:lnTo>
                      <a:lnTo>
                        <a:pt x="1537" y="1293"/>
                      </a:lnTo>
                      <a:lnTo>
                        <a:pt x="1539" y="1291"/>
                      </a:lnTo>
                      <a:lnTo>
                        <a:pt x="1539" y="1287"/>
                      </a:lnTo>
                      <a:lnTo>
                        <a:pt x="1537" y="1289"/>
                      </a:lnTo>
                      <a:lnTo>
                        <a:pt x="1537" y="1287"/>
                      </a:lnTo>
                      <a:lnTo>
                        <a:pt x="1539" y="1286"/>
                      </a:lnTo>
                      <a:lnTo>
                        <a:pt x="1540" y="1286"/>
                      </a:lnTo>
                      <a:lnTo>
                        <a:pt x="1542" y="1286"/>
                      </a:lnTo>
                      <a:lnTo>
                        <a:pt x="1542" y="1286"/>
                      </a:lnTo>
                      <a:lnTo>
                        <a:pt x="1544" y="1284"/>
                      </a:lnTo>
                      <a:lnTo>
                        <a:pt x="1544" y="1280"/>
                      </a:lnTo>
                      <a:lnTo>
                        <a:pt x="1546" y="1282"/>
                      </a:lnTo>
                      <a:lnTo>
                        <a:pt x="1549" y="1282"/>
                      </a:lnTo>
                      <a:lnTo>
                        <a:pt x="1551" y="1280"/>
                      </a:lnTo>
                      <a:lnTo>
                        <a:pt x="1553" y="1279"/>
                      </a:lnTo>
                      <a:lnTo>
                        <a:pt x="1551" y="1279"/>
                      </a:lnTo>
                      <a:lnTo>
                        <a:pt x="1549" y="1277"/>
                      </a:lnTo>
                      <a:lnTo>
                        <a:pt x="1547" y="1273"/>
                      </a:lnTo>
                      <a:lnTo>
                        <a:pt x="1549" y="1273"/>
                      </a:lnTo>
                      <a:lnTo>
                        <a:pt x="1551" y="1275"/>
                      </a:lnTo>
                      <a:lnTo>
                        <a:pt x="1551" y="1275"/>
                      </a:lnTo>
                      <a:lnTo>
                        <a:pt x="1553" y="1275"/>
                      </a:lnTo>
                      <a:lnTo>
                        <a:pt x="1554" y="1275"/>
                      </a:lnTo>
                      <a:lnTo>
                        <a:pt x="1554" y="1275"/>
                      </a:lnTo>
                      <a:lnTo>
                        <a:pt x="1556" y="1275"/>
                      </a:lnTo>
                      <a:lnTo>
                        <a:pt x="1560" y="1275"/>
                      </a:lnTo>
                      <a:lnTo>
                        <a:pt x="1561" y="1275"/>
                      </a:lnTo>
                      <a:lnTo>
                        <a:pt x="1558" y="1277"/>
                      </a:lnTo>
                      <a:lnTo>
                        <a:pt x="1556" y="1279"/>
                      </a:lnTo>
                      <a:lnTo>
                        <a:pt x="1561" y="1277"/>
                      </a:lnTo>
                      <a:lnTo>
                        <a:pt x="1567" y="1273"/>
                      </a:lnTo>
                      <a:lnTo>
                        <a:pt x="1575" y="1268"/>
                      </a:lnTo>
                      <a:lnTo>
                        <a:pt x="1577" y="1266"/>
                      </a:lnTo>
                      <a:lnTo>
                        <a:pt x="1579" y="1265"/>
                      </a:lnTo>
                      <a:lnTo>
                        <a:pt x="1582" y="1259"/>
                      </a:lnTo>
                      <a:lnTo>
                        <a:pt x="1584" y="1259"/>
                      </a:lnTo>
                      <a:lnTo>
                        <a:pt x="1584" y="1258"/>
                      </a:lnTo>
                      <a:lnTo>
                        <a:pt x="1584" y="1256"/>
                      </a:lnTo>
                      <a:lnTo>
                        <a:pt x="1584" y="1254"/>
                      </a:lnTo>
                      <a:lnTo>
                        <a:pt x="1582" y="1252"/>
                      </a:lnTo>
                      <a:lnTo>
                        <a:pt x="1582" y="1251"/>
                      </a:lnTo>
                      <a:lnTo>
                        <a:pt x="1584" y="1251"/>
                      </a:lnTo>
                      <a:lnTo>
                        <a:pt x="1588" y="1249"/>
                      </a:lnTo>
                      <a:lnTo>
                        <a:pt x="1589" y="1251"/>
                      </a:lnTo>
                      <a:lnTo>
                        <a:pt x="1588" y="1254"/>
                      </a:lnTo>
                      <a:lnTo>
                        <a:pt x="1589" y="1254"/>
                      </a:lnTo>
                      <a:lnTo>
                        <a:pt x="1591" y="1254"/>
                      </a:lnTo>
                      <a:lnTo>
                        <a:pt x="1593" y="1254"/>
                      </a:lnTo>
                      <a:lnTo>
                        <a:pt x="1589" y="1256"/>
                      </a:lnTo>
                      <a:lnTo>
                        <a:pt x="1589" y="1256"/>
                      </a:lnTo>
                      <a:lnTo>
                        <a:pt x="1588" y="1258"/>
                      </a:lnTo>
                      <a:lnTo>
                        <a:pt x="1593" y="1254"/>
                      </a:lnTo>
                      <a:lnTo>
                        <a:pt x="1598" y="1252"/>
                      </a:lnTo>
                      <a:lnTo>
                        <a:pt x="1605" y="1251"/>
                      </a:lnTo>
                      <a:lnTo>
                        <a:pt x="1607" y="1249"/>
                      </a:lnTo>
                      <a:lnTo>
                        <a:pt x="1607" y="1249"/>
                      </a:lnTo>
                      <a:lnTo>
                        <a:pt x="1607" y="1245"/>
                      </a:lnTo>
                      <a:lnTo>
                        <a:pt x="1607" y="1244"/>
                      </a:lnTo>
                      <a:lnTo>
                        <a:pt x="1609" y="1244"/>
                      </a:lnTo>
                      <a:lnTo>
                        <a:pt x="1609" y="1245"/>
                      </a:lnTo>
                      <a:lnTo>
                        <a:pt x="1609" y="1247"/>
                      </a:lnTo>
                      <a:lnTo>
                        <a:pt x="1607" y="1247"/>
                      </a:lnTo>
                      <a:lnTo>
                        <a:pt x="1607" y="1249"/>
                      </a:lnTo>
                      <a:lnTo>
                        <a:pt x="1609" y="1249"/>
                      </a:lnTo>
                      <a:lnTo>
                        <a:pt x="1621" y="1249"/>
                      </a:lnTo>
                      <a:lnTo>
                        <a:pt x="1624" y="1249"/>
                      </a:lnTo>
                      <a:lnTo>
                        <a:pt x="1635" y="1252"/>
                      </a:lnTo>
                      <a:lnTo>
                        <a:pt x="1640" y="1254"/>
                      </a:lnTo>
                      <a:lnTo>
                        <a:pt x="1645" y="1252"/>
                      </a:lnTo>
                      <a:lnTo>
                        <a:pt x="1645" y="1251"/>
                      </a:lnTo>
                      <a:lnTo>
                        <a:pt x="1644" y="1251"/>
                      </a:lnTo>
                      <a:lnTo>
                        <a:pt x="1645" y="1249"/>
                      </a:lnTo>
                      <a:lnTo>
                        <a:pt x="1645" y="1249"/>
                      </a:lnTo>
                      <a:lnTo>
                        <a:pt x="1647" y="1247"/>
                      </a:lnTo>
                      <a:lnTo>
                        <a:pt x="1649" y="1247"/>
                      </a:lnTo>
                      <a:lnTo>
                        <a:pt x="1650" y="1249"/>
                      </a:lnTo>
                      <a:lnTo>
                        <a:pt x="1652" y="1249"/>
                      </a:lnTo>
                      <a:lnTo>
                        <a:pt x="1654" y="1249"/>
                      </a:lnTo>
                      <a:lnTo>
                        <a:pt x="1654" y="1251"/>
                      </a:lnTo>
                      <a:lnTo>
                        <a:pt x="1656" y="1251"/>
                      </a:lnTo>
                      <a:lnTo>
                        <a:pt x="1656" y="1252"/>
                      </a:lnTo>
                      <a:lnTo>
                        <a:pt x="1657" y="1252"/>
                      </a:lnTo>
                      <a:lnTo>
                        <a:pt x="1657" y="1254"/>
                      </a:lnTo>
                      <a:lnTo>
                        <a:pt x="1659" y="1254"/>
                      </a:lnTo>
                      <a:lnTo>
                        <a:pt x="1661" y="1254"/>
                      </a:lnTo>
                      <a:lnTo>
                        <a:pt x="1663" y="1254"/>
                      </a:lnTo>
                      <a:lnTo>
                        <a:pt x="1663" y="1254"/>
                      </a:lnTo>
                      <a:lnTo>
                        <a:pt x="1663" y="1256"/>
                      </a:lnTo>
                      <a:lnTo>
                        <a:pt x="1664" y="1259"/>
                      </a:lnTo>
                      <a:lnTo>
                        <a:pt x="1664" y="1259"/>
                      </a:lnTo>
                      <a:lnTo>
                        <a:pt x="1663" y="1259"/>
                      </a:lnTo>
                      <a:lnTo>
                        <a:pt x="1663" y="1259"/>
                      </a:lnTo>
                      <a:lnTo>
                        <a:pt x="1663" y="1259"/>
                      </a:lnTo>
                      <a:lnTo>
                        <a:pt x="1668" y="1263"/>
                      </a:lnTo>
                      <a:lnTo>
                        <a:pt x="1671" y="1263"/>
                      </a:lnTo>
                      <a:lnTo>
                        <a:pt x="1675" y="1263"/>
                      </a:lnTo>
                      <a:lnTo>
                        <a:pt x="1677" y="1263"/>
                      </a:lnTo>
                      <a:lnTo>
                        <a:pt x="1677" y="1259"/>
                      </a:lnTo>
                      <a:lnTo>
                        <a:pt x="1678" y="1259"/>
                      </a:lnTo>
                      <a:lnTo>
                        <a:pt x="1680" y="1259"/>
                      </a:lnTo>
                      <a:lnTo>
                        <a:pt x="1682" y="1261"/>
                      </a:lnTo>
                      <a:lnTo>
                        <a:pt x="1684" y="1261"/>
                      </a:lnTo>
                      <a:lnTo>
                        <a:pt x="1684" y="1263"/>
                      </a:lnTo>
                      <a:lnTo>
                        <a:pt x="1687" y="1263"/>
                      </a:lnTo>
                      <a:lnTo>
                        <a:pt x="1689" y="1259"/>
                      </a:lnTo>
                      <a:lnTo>
                        <a:pt x="1687" y="1258"/>
                      </a:lnTo>
                      <a:lnTo>
                        <a:pt x="1685" y="1254"/>
                      </a:lnTo>
                      <a:lnTo>
                        <a:pt x="1689" y="1256"/>
                      </a:lnTo>
                      <a:lnTo>
                        <a:pt x="1692" y="1256"/>
                      </a:lnTo>
                      <a:lnTo>
                        <a:pt x="1701" y="1261"/>
                      </a:lnTo>
                      <a:lnTo>
                        <a:pt x="1703" y="1265"/>
                      </a:lnTo>
                      <a:lnTo>
                        <a:pt x="1703" y="1266"/>
                      </a:lnTo>
                      <a:lnTo>
                        <a:pt x="1705" y="1266"/>
                      </a:lnTo>
                      <a:lnTo>
                        <a:pt x="1705" y="1265"/>
                      </a:lnTo>
                      <a:lnTo>
                        <a:pt x="1706" y="1265"/>
                      </a:lnTo>
                      <a:lnTo>
                        <a:pt x="1708" y="1266"/>
                      </a:lnTo>
                      <a:lnTo>
                        <a:pt x="1708" y="1265"/>
                      </a:lnTo>
                      <a:lnTo>
                        <a:pt x="1710" y="1263"/>
                      </a:lnTo>
                      <a:lnTo>
                        <a:pt x="1710" y="1263"/>
                      </a:lnTo>
                      <a:lnTo>
                        <a:pt x="1710" y="1261"/>
                      </a:lnTo>
                      <a:lnTo>
                        <a:pt x="1710" y="1259"/>
                      </a:lnTo>
                      <a:lnTo>
                        <a:pt x="1708" y="1259"/>
                      </a:lnTo>
                      <a:lnTo>
                        <a:pt x="1703" y="1258"/>
                      </a:lnTo>
                      <a:lnTo>
                        <a:pt x="1701" y="1256"/>
                      </a:lnTo>
                      <a:lnTo>
                        <a:pt x="1698" y="1254"/>
                      </a:lnTo>
                      <a:lnTo>
                        <a:pt x="1696" y="1251"/>
                      </a:lnTo>
                      <a:lnTo>
                        <a:pt x="1699" y="1251"/>
                      </a:lnTo>
                      <a:lnTo>
                        <a:pt x="1699" y="1249"/>
                      </a:lnTo>
                      <a:lnTo>
                        <a:pt x="1701" y="1249"/>
                      </a:lnTo>
                      <a:lnTo>
                        <a:pt x="1703" y="1249"/>
                      </a:lnTo>
                      <a:lnTo>
                        <a:pt x="1703" y="1247"/>
                      </a:lnTo>
                      <a:lnTo>
                        <a:pt x="1703" y="1245"/>
                      </a:lnTo>
                      <a:lnTo>
                        <a:pt x="1703" y="1242"/>
                      </a:lnTo>
                      <a:lnTo>
                        <a:pt x="1701" y="1244"/>
                      </a:lnTo>
                      <a:lnTo>
                        <a:pt x="1698" y="1245"/>
                      </a:lnTo>
                      <a:lnTo>
                        <a:pt x="1696" y="1245"/>
                      </a:lnTo>
                      <a:lnTo>
                        <a:pt x="1694" y="1244"/>
                      </a:lnTo>
                      <a:lnTo>
                        <a:pt x="1694" y="1242"/>
                      </a:lnTo>
                      <a:lnTo>
                        <a:pt x="1696" y="1240"/>
                      </a:lnTo>
                      <a:lnTo>
                        <a:pt x="1696" y="1240"/>
                      </a:lnTo>
                      <a:lnTo>
                        <a:pt x="1694" y="1240"/>
                      </a:lnTo>
                      <a:lnTo>
                        <a:pt x="1687" y="1242"/>
                      </a:lnTo>
                      <a:lnTo>
                        <a:pt x="1684" y="1242"/>
                      </a:lnTo>
                      <a:lnTo>
                        <a:pt x="1680" y="1240"/>
                      </a:lnTo>
                      <a:lnTo>
                        <a:pt x="1682" y="1238"/>
                      </a:lnTo>
                      <a:lnTo>
                        <a:pt x="1682" y="1237"/>
                      </a:lnTo>
                      <a:lnTo>
                        <a:pt x="1684" y="1235"/>
                      </a:lnTo>
                      <a:lnTo>
                        <a:pt x="1685" y="1235"/>
                      </a:lnTo>
                      <a:lnTo>
                        <a:pt x="1687" y="1235"/>
                      </a:lnTo>
                      <a:lnTo>
                        <a:pt x="1687" y="1235"/>
                      </a:lnTo>
                      <a:lnTo>
                        <a:pt x="1689" y="1237"/>
                      </a:lnTo>
                      <a:lnTo>
                        <a:pt x="1691" y="1237"/>
                      </a:lnTo>
                      <a:lnTo>
                        <a:pt x="1694" y="1238"/>
                      </a:lnTo>
                      <a:lnTo>
                        <a:pt x="1698" y="1238"/>
                      </a:lnTo>
                      <a:lnTo>
                        <a:pt x="1699" y="1237"/>
                      </a:lnTo>
                      <a:lnTo>
                        <a:pt x="1703" y="1237"/>
                      </a:lnTo>
                      <a:lnTo>
                        <a:pt x="1708" y="1235"/>
                      </a:lnTo>
                      <a:lnTo>
                        <a:pt x="1712" y="1233"/>
                      </a:lnTo>
                      <a:lnTo>
                        <a:pt x="1713" y="1233"/>
                      </a:lnTo>
                      <a:lnTo>
                        <a:pt x="1722" y="1235"/>
                      </a:lnTo>
                      <a:lnTo>
                        <a:pt x="1727" y="1235"/>
                      </a:lnTo>
                      <a:lnTo>
                        <a:pt x="1729" y="1235"/>
                      </a:lnTo>
                      <a:lnTo>
                        <a:pt x="1729" y="1233"/>
                      </a:lnTo>
                      <a:lnTo>
                        <a:pt x="1731" y="1233"/>
                      </a:lnTo>
                      <a:lnTo>
                        <a:pt x="1731" y="1228"/>
                      </a:lnTo>
                      <a:lnTo>
                        <a:pt x="1733" y="1228"/>
                      </a:lnTo>
                      <a:lnTo>
                        <a:pt x="1733" y="1228"/>
                      </a:lnTo>
                      <a:lnTo>
                        <a:pt x="1734" y="1230"/>
                      </a:lnTo>
                      <a:lnTo>
                        <a:pt x="1734" y="1231"/>
                      </a:lnTo>
                      <a:lnTo>
                        <a:pt x="1734" y="1233"/>
                      </a:lnTo>
                      <a:lnTo>
                        <a:pt x="1734" y="1233"/>
                      </a:lnTo>
                      <a:lnTo>
                        <a:pt x="1736" y="1235"/>
                      </a:lnTo>
                      <a:lnTo>
                        <a:pt x="1736" y="1237"/>
                      </a:lnTo>
                      <a:lnTo>
                        <a:pt x="1734" y="1237"/>
                      </a:lnTo>
                      <a:lnTo>
                        <a:pt x="1733" y="1238"/>
                      </a:lnTo>
                      <a:lnTo>
                        <a:pt x="1738" y="1238"/>
                      </a:lnTo>
                      <a:lnTo>
                        <a:pt x="1740" y="1237"/>
                      </a:lnTo>
                      <a:lnTo>
                        <a:pt x="1741" y="1237"/>
                      </a:lnTo>
                      <a:lnTo>
                        <a:pt x="1743" y="1235"/>
                      </a:lnTo>
                      <a:lnTo>
                        <a:pt x="1745" y="1235"/>
                      </a:lnTo>
                      <a:lnTo>
                        <a:pt x="1743" y="1237"/>
                      </a:lnTo>
                      <a:lnTo>
                        <a:pt x="1747" y="1235"/>
                      </a:lnTo>
                      <a:lnTo>
                        <a:pt x="1750" y="1231"/>
                      </a:lnTo>
                      <a:lnTo>
                        <a:pt x="1752" y="1231"/>
                      </a:lnTo>
                      <a:lnTo>
                        <a:pt x="1754" y="1231"/>
                      </a:lnTo>
                      <a:lnTo>
                        <a:pt x="1754" y="1230"/>
                      </a:lnTo>
                      <a:lnTo>
                        <a:pt x="1754" y="1230"/>
                      </a:lnTo>
                      <a:lnTo>
                        <a:pt x="1754" y="1231"/>
                      </a:lnTo>
                      <a:lnTo>
                        <a:pt x="1754" y="1233"/>
                      </a:lnTo>
                      <a:lnTo>
                        <a:pt x="1752" y="1235"/>
                      </a:lnTo>
                      <a:lnTo>
                        <a:pt x="1750" y="1235"/>
                      </a:lnTo>
                      <a:lnTo>
                        <a:pt x="1762" y="1233"/>
                      </a:lnTo>
                      <a:lnTo>
                        <a:pt x="1769" y="1231"/>
                      </a:lnTo>
                      <a:lnTo>
                        <a:pt x="1773" y="1233"/>
                      </a:lnTo>
                      <a:lnTo>
                        <a:pt x="1771" y="1233"/>
                      </a:lnTo>
                      <a:lnTo>
                        <a:pt x="1769" y="1233"/>
                      </a:lnTo>
                      <a:lnTo>
                        <a:pt x="1767" y="1233"/>
                      </a:lnTo>
                      <a:lnTo>
                        <a:pt x="1766" y="1233"/>
                      </a:lnTo>
                      <a:lnTo>
                        <a:pt x="1776" y="1238"/>
                      </a:lnTo>
                      <a:lnTo>
                        <a:pt x="1778" y="1238"/>
                      </a:lnTo>
                      <a:lnTo>
                        <a:pt x="1781" y="1238"/>
                      </a:lnTo>
                      <a:lnTo>
                        <a:pt x="1781" y="1237"/>
                      </a:lnTo>
                      <a:lnTo>
                        <a:pt x="1783" y="1237"/>
                      </a:lnTo>
                      <a:lnTo>
                        <a:pt x="1783" y="1237"/>
                      </a:lnTo>
                      <a:lnTo>
                        <a:pt x="1783" y="1238"/>
                      </a:lnTo>
                      <a:lnTo>
                        <a:pt x="1783" y="1238"/>
                      </a:lnTo>
                      <a:lnTo>
                        <a:pt x="1783" y="1240"/>
                      </a:lnTo>
                      <a:lnTo>
                        <a:pt x="1781" y="1240"/>
                      </a:lnTo>
                      <a:lnTo>
                        <a:pt x="1787" y="1244"/>
                      </a:lnTo>
                      <a:lnTo>
                        <a:pt x="1788" y="1247"/>
                      </a:lnTo>
                      <a:lnTo>
                        <a:pt x="1788" y="1249"/>
                      </a:lnTo>
                      <a:lnTo>
                        <a:pt x="1790" y="1251"/>
                      </a:lnTo>
                      <a:lnTo>
                        <a:pt x="1797" y="1249"/>
                      </a:lnTo>
                      <a:lnTo>
                        <a:pt x="1806" y="1247"/>
                      </a:lnTo>
                      <a:lnTo>
                        <a:pt x="1809" y="1245"/>
                      </a:lnTo>
                      <a:lnTo>
                        <a:pt x="1809" y="1244"/>
                      </a:lnTo>
                      <a:lnTo>
                        <a:pt x="1811" y="1244"/>
                      </a:lnTo>
                      <a:lnTo>
                        <a:pt x="1811" y="1242"/>
                      </a:lnTo>
                      <a:lnTo>
                        <a:pt x="1811" y="1242"/>
                      </a:lnTo>
                      <a:lnTo>
                        <a:pt x="1815" y="1240"/>
                      </a:lnTo>
                      <a:lnTo>
                        <a:pt x="1816" y="1240"/>
                      </a:lnTo>
                      <a:lnTo>
                        <a:pt x="1818" y="1242"/>
                      </a:lnTo>
                      <a:lnTo>
                        <a:pt x="1820" y="1242"/>
                      </a:lnTo>
                      <a:lnTo>
                        <a:pt x="1823" y="1245"/>
                      </a:lnTo>
                      <a:lnTo>
                        <a:pt x="1827" y="1249"/>
                      </a:lnTo>
                      <a:lnTo>
                        <a:pt x="1834" y="1256"/>
                      </a:lnTo>
                      <a:lnTo>
                        <a:pt x="1836" y="1259"/>
                      </a:lnTo>
                      <a:lnTo>
                        <a:pt x="1841" y="1261"/>
                      </a:lnTo>
                      <a:lnTo>
                        <a:pt x="1844" y="1265"/>
                      </a:lnTo>
                      <a:lnTo>
                        <a:pt x="1846" y="1268"/>
                      </a:lnTo>
                      <a:lnTo>
                        <a:pt x="1848" y="1272"/>
                      </a:lnTo>
                      <a:lnTo>
                        <a:pt x="1846" y="1277"/>
                      </a:lnTo>
                      <a:lnTo>
                        <a:pt x="1843" y="1291"/>
                      </a:lnTo>
                      <a:lnTo>
                        <a:pt x="1843" y="1294"/>
                      </a:lnTo>
                      <a:lnTo>
                        <a:pt x="1844" y="1298"/>
                      </a:lnTo>
                      <a:lnTo>
                        <a:pt x="1846" y="1298"/>
                      </a:lnTo>
                      <a:lnTo>
                        <a:pt x="1848" y="1296"/>
                      </a:lnTo>
                      <a:lnTo>
                        <a:pt x="1848" y="1293"/>
                      </a:lnTo>
                      <a:lnTo>
                        <a:pt x="1846" y="1291"/>
                      </a:lnTo>
                      <a:lnTo>
                        <a:pt x="1848" y="1291"/>
                      </a:lnTo>
                      <a:lnTo>
                        <a:pt x="1850" y="1293"/>
                      </a:lnTo>
                      <a:lnTo>
                        <a:pt x="1851" y="1294"/>
                      </a:lnTo>
                      <a:lnTo>
                        <a:pt x="1851" y="1294"/>
                      </a:lnTo>
                      <a:lnTo>
                        <a:pt x="1851" y="1296"/>
                      </a:lnTo>
                      <a:lnTo>
                        <a:pt x="1850" y="1300"/>
                      </a:lnTo>
                      <a:lnTo>
                        <a:pt x="1848" y="1301"/>
                      </a:lnTo>
                      <a:lnTo>
                        <a:pt x="1846" y="1303"/>
                      </a:lnTo>
                      <a:lnTo>
                        <a:pt x="1848" y="1305"/>
                      </a:lnTo>
                      <a:lnTo>
                        <a:pt x="1851" y="1314"/>
                      </a:lnTo>
                      <a:lnTo>
                        <a:pt x="1853" y="1315"/>
                      </a:lnTo>
                      <a:lnTo>
                        <a:pt x="1855" y="1317"/>
                      </a:lnTo>
                      <a:lnTo>
                        <a:pt x="1857" y="1317"/>
                      </a:lnTo>
                      <a:lnTo>
                        <a:pt x="1858" y="1315"/>
                      </a:lnTo>
                      <a:lnTo>
                        <a:pt x="1860" y="1315"/>
                      </a:lnTo>
                      <a:lnTo>
                        <a:pt x="1860" y="1317"/>
                      </a:lnTo>
                      <a:lnTo>
                        <a:pt x="1858" y="1321"/>
                      </a:lnTo>
                      <a:lnTo>
                        <a:pt x="1858" y="1324"/>
                      </a:lnTo>
                      <a:lnTo>
                        <a:pt x="1860" y="1326"/>
                      </a:lnTo>
                      <a:lnTo>
                        <a:pt x="1862" y="1326"/>
                      </a:lnTo>
                      <a:lnTo>
                        <a:pt x="1862" y="1324"/>
                      </a:lnTo>
                      <a:lnTo>
                        <a:pt x="1864" y="1322"/>
                      </a:lnTo>
                      <a:lnTo>
                        <a:pt x="1864" y="1322"/>
                      </a:lnTo>
                      <a:lnTo>
                        <a:pt x="1864" y="1324"/>
                      </a:lnTo>
                      <a:lnTo>
                        <a:pt x="1862" y="1326"/>
                      </a:lnTo>
                      <a:lnTo>
                        <a:pt x="1864" y="1329"/>
                      </a:lnTo>
                      <a:lnTo>
                        <a:pt x="1865" y="1336"/>
                      </a:lnTo>
                      <a:lnTo>
                        <a:pt x="1867" y="1338"/>
                      </a:lnTo>
                      <a:lnTo>
                        <a:pt x="1871" y="1341"/>
                      </a:lnTo>
                      <a:lnTo>
                        <a:pt x="1872" y="1343"/>
                      </a:lnTo>
                      <a:lnTo>
                        <a:pt x="1874" y="1343"/>
                      </a:lnTo>
                      <a:lnTo>
                        <a:pt x="1876" y="1345"/>
                      </a:lnTo>
                      <a:lnTo>
                        <a:pt x="1878" y="1348"/>
                      </a:lnTo>
                      <a:lnTo>
                        <a:pt x="1883" y="1355"/>
                      </a:lnTo>
                      <a:lnTo>
                        <a:pt x="1883" y="1357"/>
                      </a:lnTo>
                      <a:lnTo>
                        <a:pt x="1881" y="1355"/>
                      </a:lnTo>
                      <a:lnTo>
                        <a:pt x="1879" y="1355"/>
                      </a:lnTo>
                      <a:lnTo>
                        <a:pt x="1879" y="1355"/>
                      </a:lnTo>
                      <a:lnTo>
                        <a:pt x="1879" y="1357"/>
                      </a:lnTo>
                      <a:lnTo>
                        <a:pt x="1881" y="1359"/>
                      </a:lnTo>
                      <a:lnTo>
                        <a:pt x="1883" y="1359"/>
                      </a:lnTo>
                      <a:lnTo>
                        <a:pt x="1886" y="1359"/>
                      </a:lnTo>
                      <a:lnTo>
                        <a:pt x="1888" y="1357"/>
                      </a:lnTo>
                      <a:lnTo>
                        <a:pt x="1893" y="1355"/>
                      </a:lnTo>
                      <a:lnTo>
                        <a:pt x="1897" y="1352"/>
                      </a:lnTo>
                      <a:lnTo>
                        <a:pt x="1898" y="1347"/>
                      </a:lnTo>
                      <a:lnTo>
                        <a:pt x="1900" y="1341"/>
                      </a:lnTo>
                      <a:lnTo>
                        <a:pt x="1900" y="1341"/>
                      </a:lnTo>
                      <a:lnTo>
                        <a:pt x="1902" y="1324"/>
                      </a:lnTo>
                      <a:lnTo>
                        <a:pt x="1902" y="1317"/>
                      </a:lnTo>
                      <a:lnTo>
                        <a:pt x="1898" y="1308"/>
                      </a:lnTo>
                      <a:lnTo>
                        <a:pt x="1890" y="1291"/>
                      </a:lnTo>
                      <a:lnTo>
                        <a:pt x="1888" y="1280"/>
                      </a:lnTo>
                      <a:lnTo>
                        <a:pt x="1886" y="1272"/>
                      </a:lnTo>
                      <a:lnTo>
                        <a:pt x="1888" y="1273"/>
                      </a:lnTo>
                      <a:lnTo>
                        <a:pt x="1888" y="1277"/>
                      </a:lnTo>
                      <a:lnTo>
                        <a:pt x="1888" y="1279"/>
                      </a:lnTo>
                      <a:lnTo>
                        <a:pt x="1888" y="1282"/>
                      </a:lnTo>
                      <a:lnTo>
                        <a:pt x="1890" y="1280"/>
                      </a:lnTo>
                      <a:lnTo>
                        <a:pt x="1890" y="1277"/>
                      </a:lnTo>
                      <a:lnTo>
                        <a:pt x="1890" y="1282"/>
                      </a:lnTo>
                      <a:lnTo>
                        <a:pt x="1890" y="1286"/>
                      </a:lnTo>
                      <a:lnTo>
                        <a:pt x="1891" y="1289"/>
                      </a:lnTo>
                      <a:lnTo>
                        <a:pt x="1893" y="1293"/>
                      </a:lnTo>
                      <a:lnTo>
                        <a:pt x="1893" y="1287"/>
                      </a:lnTo>
                      <a:lnTo>
                        <a:pt x="1891" y="1280"/>
                      </a:lnTo>
                      <a:lnTo>
                        <a:pt x="1891" y="1275"/>
                      </a:lnTo>
                      <a:lnTo>
                        <a:pt x="1888" y="1270"/>
                      </a:lnTo>
                      <a:lnTo>
                        <a:pt x="1879" y="1254"/>
                      </a:lnTo>
                      <a:lnTo>
                        <a:pt x="1876" y="1244"/>
                      </a:lnTo>
                      <a:lnTo>
                        <a:pt x="1872" y="1228"/>
                      </a:lnTo>
                      <a:lnTo>
                        <a:pt x="1871" y="1224"/>
                      </a:lnTo>
                      <a:lnTo>
                        <a:pt x="1872" y="1216"/>
                      </a:lnTo>
                      <a:lnTo>
                        <a:pt x="1874" y="1216"/>
                      </a:lnTo>
                      <a:lnTo>
                        <a:pt x="1876" y="1214"/>
                      </a:lnTo>
                      <a:lnTo>
                        <a:pt x="1876" y="1214"/>
                      </a:lnTo>
                      <a:lnTo>
                        <a:pt x="1874" y="1212"/>
                      </a:lnTo>
                      <a:lnTo>
                        <a:pt x="1876" y="1210"/>
                      </a:lnTo>
                      <a:lnTo>
                        <a:pt x="1876" y="1210"/>
                      </a:lnTo>
                      <a:lnTo>
                        <a:pt x="1878" y="1209"/>
                      </a:lnTo>
                      <a:lnTo>
                        <a:pt x="1878" y="1207"/>
                      </a:lnTo>
                      <a:lnTo>
                        <a:pt x="1876" y="1207"/>
                      </a:lnTo>
                      <a:lnTo>
                        <a:pt x="1878" y="1207"/>
                      </a:lnTo>
                      <a:lnTo>
                        <a:pt x="1878" y="1205"/>
                      </a:lnTo>
                      <a:lnTo>
                        <a:pt x="1878" y="1205"/>
                      </a:lnTo>
                      <a:lnTo>
                        <a:pt x="1878" y="1203"/>
                      </a:lnTo>
                      <a:lnTo>
                        <a:pt x="1879" y="1202"/>
                      </a:lnTo>
                      <a:lnTo>
                        <a:pt x="1879" y="1202"/>
                      </a:lnTo>
                      <a:lnTo>
                        <a:pt x="1881" y="1202"/>
                      </a:lnTo>
                      <a:lnTo>
                        <a:pt x="1879" y="1200"/>
                      </a:lnTo>
                      <a:lnTo>
                        <a:pt x="1883" y="1198"/>
                      </a:lnTo>
                      <a:lnTo>
                        <a:pt x="1884" y="1198"/>
                      </a:lnTo>
                      <a:lnTo>
                        <a:pt x="1884" y="1196"/>
                      </a:lnTo>
                      <a:lnTo>
                        <a:pt x="1886" y="1195"/>
                      </a:lnTo>
                      <a:lnTo>
                        <a:pt x="1886" y="1193"/>
                      </a:lnTo>
                      <a:lnTo>
                        <a:pt x="1888" y="1193"/>
                      </a:lnTo>
                      <a:lnTo>
                        <a:pt x="1888" y="1191"/>
                      </a:lnTo>
                      <a:lnTo>
                        <a:pt x="1888" y="1191"/>
                      </a:lnTo>
                      <a:lnTo>
                        <a:pt x="1888" y="1191"/>
                      </a:lnTo>
                      <a:lnTo>
                        <a:pt x="1888" y="1189"/>
                      </a:lnTo>
                      <a:lnTo>
                        <a:pt x="1886" y="1188"/>
                      </a:lnTo>
                      <a:lnTo>
                        <a:pt x="1886" y="1186"/>
                      </a:lnTo>
                      <a:lnTo>
                        <a:pt x="1886" y="1188"/>
                      </a:lnTo>
                      <a:lnTo>
                        <a:pt x="1888" y="1188"/>
                      </a:lnTo>
                      <a:lnTo>
                        <a:pt x="1888" y="1189"/>
                      </a:lnTo>
                      <a:lnTo>
                        <a:pt x="1888" y="1189"/>
                      </a:lnTo>
                      <a:lnTo>
                        <a:pt x="1890" y="1188"/>
                      </a:lnTo>
                      <a:lnTo>
                        <a:pt x="1890" y="1188"/>
                      </a:lnTo>
                      <a:lnTo>
                        <a:pt x="1891" y="1189"/>
                      </a:lnTo>
                      <a:lnTo>
                        <a:pt x="1893" y="1189"/>
                      </a:lnTo>
                      <a:lnTo>
                        <a:pt x="1893" y="1186"/>
                      </a:lnTo>
                      <a:lnTo>
                        <a:pt x="1890" y="1186"/>
                      </a:lnTo>
                      <a:lnTo>
                        <a:pt x="1900" y="1184"/>
                      </a:lnTo>
                      <a:lnTo>
                        <a:pt x="1904" y="1182"/>
                      </a:lnTo>
                      <a:lnTo>
                        <a:pt x="1905" y="1179"/>
                      </a:lnTo>
                      <a:lnTo>
                        <a:pt x="1907" y="1179"/>
                      </a:lnTo>
                      <a:lnTo>
                        <a:pt x="1911" y="1177"/>
                      </a:lnTo>
                      <a:lnTo>
                        <a:pt x="1914" y="1174"/>
                      </a:lnTo>
                      <a:lnTo>
                        <a:pt x="1916" y="1172"/>
                      </a:lnTo>
                      <a:lnTo>
                        <a:pt x="1918" y="1172"/>
                      </a:lnTo>
                      <a:lnTo>
                        <a:pt x="1918" y="1172"/>
                      </a:lnTo>
                      <a:lnTo>
                        <a:pt x="1919" y="1170"/>
                      </a:lnTo>
                      <a:lnTo>
                        <a:pt x="1919" y="1168"/>
                      </a:lnTo>
                      <a:lnTo>
                        <a:pt x="1919" y="1167"/>
                      </a:lnTo>
                      <a:lnTo>
                        <a:pt x="1919" y="1165"/>
                      </a:lnTo>
                      <a:lnTo>
                        <a:pt x="1919" y="1163"/>
                      </a:lnTo>
                      <a:lnTo>
                        <a:pt x="1919" y="1165"/>
                      </a:lnTo>
                      <a:lnTo>
                        <a:pt x="1919" y="1167"/>
                      </a:lnTo>
                      <a:lnTo>
                        <a:pt x="1921" y="1168"/>
                      </a:lnTo>
                      <a:lnTo>
                        <a:pt x="1923" y="1163"/>
                      </a:lnTo>
                      <a:lnTo>
                        <a:pt x="1925" y="1160"/>
                      </a:lnTo>
                      <a:lnTo>
                        <a:pt x="1930" y="1155"/>
                      </a:lnTo>
                      <a:lnTo>
                        <a:pt x="1933" y="1153"/>
                      </a:lnTo>
                      <a:lnTo>
                        <a:pt x="1939" y="1151"/>
                      </a:lnTo>
                      <a:lnTo>
                        <a:pt x="1942" y="1151"/>
                      </a:lnTo>
                      <a:lnTo>
                        <a:pt x="1946" y="1151"/>
                      </a:lnTo>
                      <a:lnTo>
                        <a:pt x="1947" y="1146"/>
                      </a:lnTo>
                      <a:lnTo>
                        <a:pt x="1947" y="1148"/>
                      </a:lnTo>
                      <a:lnTo>
                        <a:pt x="1947" y="1148"/>
                      </a:lnTo>
                      <a:lnTo>
                        <a:pt x="1947" y="1149"/>
                      </a:lnTo>
                      <a:lnTo>
                        <a:pt x="1947" y="1151"/>
                      </a:lnTo>
                      <a:lnTo>
                        <a:pt x="1949" y="1146"/>
                      </a:lnTo>
                      <a:lnTo>
                        <a:pt x="1953" y="1142"/>
                      </a:lnTo>
                      <a:lnTo>
                        <a:pt x="1956" y="1139"/>
                      </a:lnTo>
                      <a:lnTo>
                        <a:pt x="1960" y="1137"/>
                      </a:lnTo>
                      <a:lnTo>
                        <a:pt x="1960" y="1135"/>
                      </a:lnTo>
                      <a:lnTo>
                        <a:pt x="1958" y="1134"/>
                      </a:lnTo>
                      <a:lnTo>
                        <a:pt x="1958" y="1134"/>
                      </a:lnTo>
                      <a:lnTo>
                        <a:pt x="1960" y="1132"/>
                      </a:lnTo>
                      <a:lnTo>
                        <a:pt x="1960" y="1134"/>
                      </a:lnTo>
                      <a:lnTo>
                        <a:pt x="1960" y="1134"/>
                      </a:lnTo>
                      <a:lnTo>
                        <a:pt x="1961" y="1134"/>
                      </a:lnTo>
                      <a:lnTo>
                        <a:pt x="1963" y="1135"/>
                      </a:lnTo>
                      <a:lnTo>
                        <a:pt x="1963" y="1134"/>
                      </a:lnTo>
                      <a:lnTo>
                        <a:pt x="1965" y="1134"/>
                      </a:lnTo>
                      <a:lnTo>
                        <a:pt x="1965" y="1132"/>
                      </a:lnTo>
                      <a:lnTo>
                        <a:pt x="1967" y="1132"/>
                      </a:lnTo>
                      <a:lnTo>
                        <a:pt x="1968" y="1132"/>
                      </a:lnTo>
                      <a:lnTo>
                        <a:pt x="1970" y="1132"/>
                      </a:lnTo>
                      <a:lnTo>
                        <a:pt x="1974" y="1132"/>
                      </a:lnTo>
                      <a:lnTo>
                        <a:pt x="1975" y="1132"/>
                      </a:lnTo>
                      <a:lnTo>
                        <a:pt x="1979" y="1130"/>
                      </a:lnTo>
                      <a:lnTo>
                        <a:pt x="1981" y="1127"/>
                      </a:lnTo>
                      <a:lnTo>
                        <a:pt x="1977" y="1125"/>
                      </a:lnTo>
                      <a:lnTo>
                        <a:pt x="1974" y="1127"/>
                      </a:lnTo>
                      <a:lnTo>
                        <a:pt x="1970" y="1125"/>
                      </a:lnTo>
                      <a:lnTo>
                        <a:pt x="1967" y="1121"/>
                      </a:lnTo>
                      <a:lnTo>
                        <a:pt x="1970" y="1123"/>
                      </a:lnTo>
                      <a:lnTo>
                        <a:pt x="1972" y="1125"/>
                      </a:lnTo>
                      <a:lnTo>
                        <a:pt x="1975" y="1123"/>
                      </a:lnTo>
                      <a:lnTo>
                        <a:pt x="1977" y="1120"/>
                      </a:lnTo>
                      <a:lnTo>
                        <a:pt x="1977" y="1118"/>
                      </a:lnTo>
                      <a:lnTo>
                        <a:pt x="1975" y="1116"/>
                      </a:lnTo>
                      <a:lnTo>
                        <a:pt x="1974" y="1116"/>
                      </a:lnTo>
                      <a:lnTo>
                        <a:pt x="1968" y="1114"/>
                      </a:lnTo>
                      <a:lnTo>
                        <a:pt x="1967" y="1113"/>
                      </a:lnTo>
                      <a:lnTo>
                        <a:pt x="1968" y="1113"/>
                      </a:lnTo>
                      <a:lnTo>
                        <a:pt x="1970" y="1114"/>
                      </a:lnTo>
                      <a:lnTo>
                        <a:pt x="1974" y="1114"/>
                      </a:lnTo>
                      <a:lnTo>
                        <a:pt x="1975" y="1114"/>
                      </a:lnTo>
                      <a:lnTo>
                        <a:pt x="1975" y="1114"/>
                      </a:lnTo>
                      <a:lnTo>
                        <a:pt x="1975" y="1113"/>
                      </a:lnTo>
                      <a:lnTo>
                        <a:pt x="1977" y="1113"/>
                      </a:lnTo>
                      <a:lnTo>
                        <a:pt x="1977" y="1113"/>
                      </a:lnTo>
                      <a:lnTo>
                        <a:pt x="1977" y="1113"/>
                      </a:lnTo>
                      <a:lnTo>
                        <a:pt x="1977" y="1113"/>
                      </a:lnTo>
                      <a:lnTo>
                        <a:pt x="1977" y="1114"/>
                      </a:lnTo>
                      <a:lnTo>
                        <a:pt x="1979" y="1114"/>
                      </a:lnTo>
                      <a:lnTo>
                        <a:pt x="1981" y="1116"/>
                      </a:lnTo>
                      <a:lnTo>
                        <a:pt x="1982" y="1116"/>
                      </a:lnTo>
                      <a:lnTo>
                        <a:pt x="1984" y="1116"/>
                      </a:lnTo>
                      <a:lnTo>
                        <a:pt x="1986" y="1116"/>
                      </a:lnTo>
                      <a:lnTo>
                        <a:pt x="1988" y="1116"/>
                      </a:lnTo>
                      <a:lnTo>
                        <a:pt x="1989" y="1113"/>
                      </a:lnTo>
                      <a:lnTo>
                        <a:pt x="1993" y="1111"/>
                      </a:lnTo>
                      <a:lnTo>
                        <a:pt x="1995" y="1106"/>
                      </a:lnTo>
                      <a:lnTo>
                        <a:pt x="1995" y="1104"/>
                      </a:lnTo>
                      <a:lnTo>
                        <a:pt x="1991" y="1102"/>
                      </a:lnTo>
                      <a:lnTo>
                        <a:pt x="1989" y="1104"/>
                      </a:lnTo>
                      <a:lnTo>
                        <a:pt x="1989" y="1107"/>
                      </a:lnTo>
                      <a:lnTo>
                        <a:pt x="1988" y="1109"/>
                      </a:lnTo>
                      <a:lnTo>
                        <a:pt x="1988" y="1104"/>
                      </a:lnTo>
                      <a:lnTo>
                        <a:pt x="1988" y="1102"/>
                      </a:lnTo>
                      <a:lnTo>
                        <a:pt x="1986" y="1102"/>
                      </a:lnTo>
                      <a:lnTo>
                        <a:pt x="1977" y="1102"/>
                      </a:lnTo>
                      <a:lnTo>
                        <a:pt x="1975" y="1102"/>
                      </a:lnTo>
                      <a:lnTo>
                        <a:pt x="1974" y="1099"/>
                      </a:lnTo>
                      <a:lnTo>
                        <a:pt x="1974" y="1095"/>
                      </a:lnTo>
                      <a:lnTo>
                        <a:pt x="1975" y="1099"/>
                      </a:lnTo>
                      <a:lnTo>
                        <a:pt x="1977" y="1099"/>
                      </a:lnTo>
                      <a:lnTo>
                        <a:pt x="1981" y="1099"/>
                      </a:lnTo>
                      <a:lnTo>
                        <a:pt x="1984" y="1099"/>
                      </a:lnTo>
                      <a:lnTo>
                        <a:pt x="1984" y="1097"/>
                      </a:lnTo>
                      <a:lnTo>
                        <a:pt x="1984" y="1097"/>
                      </a:lnTo>
                      <a:lnTo>
                        <a:pt x="1986" y="1097"/>
                      </a:lnTo>
                      <a:lnTo>
                        <a:pt x="1986" y="1097"/>
                      </a:lnTo>
                      <a:lnTo>
                        <a:pt x="1986" y="1095"/>
                      </a:lnTo>
                      <a:lnTo>
                        <a:pt x="1986" y="1093"/>
                      </a:lnTo>
                      <a:lnTo>
                        <a:pt x="1989" y="1095"/>
                      </a:lnTo>
                      <a:lnTo>
                        <a:pt x="1991" y="1097"/>
                      </a:lnTo>
                      <a:lnTo>
                        <a:pt x="1993" y="1099"/>
                      </a:lnTo>
                      <a:lnTo>
                        <a:pt x="1991" y="1095"/>
                      </a:lnTo>
                      <a:lnTo>
                        <a:pt x="1991" y="1092"/>
                      </a:lnTo>
                      <a:lnTo>
                        <a:pt x="1989" y="1088"/>
                      </a:lnTo>
                      <a:lnTo>
                        <a:pt x="1989" y="1085"/>
                      </a:lnTo>
                      <a:lnTo>
                        <a:pt x="1993" y="1090"/>
                      </a:lnTo>
                      <a:lnTo>
                        <a:pt x="1996" y="1100"/>
                      </a:lnTo>
                      <a:lnTo>
                        <a:pt x="2000" y="1106"/>
                      </a:lnTo>
                      <a:lnTo>
                        <a:pt x="1995" y="1093"/>
                      </a:lnTo>
                      <a:lnTo>
                        <a:pt x="1991" y="1081"/>
                      </a:lnTo>
                      <a:lnTo>
                        <a:pt x="1989" y="1079"/>
                      </a:lnTo>
                      <a:lnTo>
                        <a:pt x="1986" y="1078"/>
                      </a:lnTo>
                      <a:lnTo>
                        <a:pt x="1984" y="1078"/>
                      </a:lnTo>
                      <a:lnTo>
                        <a:pt x="1982" y="1078"/>
                      </a:lnTo>
                      <a:lnTo>
                        <a:pt x="1981" y="1078"/>
                      </a:lnTo>
                      <a:lnTo>
                        <a:pt x="1979" y="1078"/>
                      </a:lnTo>
                      <a:lnTo>
                        <a:pt x="1977" y="1076"/>
                      </a:lnTo>
                      <a:lnTo>
                        <a:pt x="1975" y="1072"/>
                      </a:lnTo>
                      <a:lnTo>
                        <a:pt x="1975" y="1072"/>
                      </a:lnTo>
                      <a:lnTo>
                        <a:pt x="1972" y="1071"/>
                      </a:lnTo>
                      <a:lnTo>
                        <a:pt x="1965" y="1069"/>
                      </a:lnTo>
                      <a:lnTo>
                        <a:pt x="1963" y="1069"/>
                      </a:lnTo>
                      <a:lnTo>
                        <a:pt x="1968" y="1069"/>
                      </a:lnTo>
                      <a:lnTo>
                        <a:pt x="1972" y="1069"/>
                      </a:lnTo>
                      <a:lnTo>
                        <a:pt x="1974" y="1071"/>
                      </a:lnTo>
                      <a:lnTo>
                        <a:pt x="1977" y="1074"/>
                      </a:lnTo>
                      <a:lnTo>
                        <a:pt x="1979" y="1076"/>
                      </a:lnTo>
                      <a:lnTo>
                        <a:pt x="1981" y="1076"/>
                      </a:lnTo>
                      <a:lnTo>
                        <a:pt x="1982" y="1074"/>
                      </a:lnTo>
                      <a:lnTo>
                        <a:pt x="1979" y="1071"/>
                      </a:lnTo>
                      <a:lnTo>
                        <a:pt x="1975" y="1067"/>
                      </a:lnTo>
                      <a:lnTo>
                        <a:pt x="1974" y="1064"/>
                      </a:lnTo>
                      <a:lnTo>
                        <a:pt x="1975" y="1065"/>
                      </a:lnTo>
                      <a:lnTo>
                        <a:pt x="1977" y="1069"/>
                      </a:lnTo>
                      <a:lnTo>
                        <a:pt x="1981" y="1069"/>
                      </a:lnTo>
                      <a:lnTo>
                        <a:pt x="1981" y="1067"/>
                      </a:lnTo>
                      <a:lnTo>
                        <a:pt x="1981" y="1067"/>
                      </a:lnTo>
                      <a:lnTo>
                        <a:pt x="1982" y="1067"/>
                      </a:lnTo>
                      <a:lnTo>
                        <a:pt x="1984" y="1067"/>
                      </a:lnTo>
                      <a:lnTo>
                        <a:pt x="1984" y="1065"/>
                      </a:lnTo>
                      <a:lnTo>
                        <a:pt x="1984" y="1065"/>
                      </a:lnTo>
                      <a:lnTo>
                        <a:pt x="1982" y="1064"/>
                      </a:lnTo>
                      <a:lnTo>
                        <a:pt x="1981" y="1064"/>
                      </a:lnTo>
                      <a:lnTo>
                        <a:pt x="1982" y="1062"/>
                      </a:lnTo>
                      <a:lnTo>
                        <a:pt x="1977" y="1060"/>
                      </a:lnTo>
                      <a:lnTo>
                        <a:pt x="1974" y="1055"/>
                      </a:lnTo>
                      <a:lnTo>
                        <a:pt x="1965" y="1048"/>
                      </a:lnTo>
                      <a:lnTo>
                        <a:pt x="1968" y="1050"/>
                      </a:lnTo>
                      <a:lnTo>
                        <a:pt x="1975" y="1057"/>
                      </a:lnTo>
                      <a:lnTo>
                        <a:pt x="1979" y="1060"/>
                      </a:lnTo>
                      <a:lnTo>
                        <a:pt x="1981" y="1060"/>
                      </a:lnTo>
                      <a:lnTo>
                        <a:pt x="1982" y="1058"/>
                      </a:lnTo>
                      <a:lnTo>
                        <a:pt x="1982" y="1058"/>
                      </a:lnTo>
                      <a:lnTo>
                        <a:pt x="1982" y="1057"/>
                      </a:lnTo>
                      <a:lnTo>
                        <a:pt x="1982" y="1053"/>
                      </a:lnTo>
                      <a:lnTo>
                        <a:pt x="1982" y="1053"/>
                      </a:lnTo>
                      <a:lnTo>
                        <a:pt x="1981" y="1051"/>
                      </a:lnTo>
                      <a:lnTo>
                        <a:pt x="1979" y="1050"/>
                      </a:lnTo>
                      <a:lnTo>
                        <a:pt x="1975" y="1050"/>
                      </a:lnTo>
                      <a:lnTo>
                        <a:pt x="1972" y="1048"/>
                      </a:lnTo>
                      <a:lnTo>
                        <a:pt x="1970" y="1046"/>
                      </a:lnTo>
                      <a:lnTo>
                        <a:pt x="1968" y="1044"/>
                      </a:lnTo>
                      <a:lnTo>
                        <a:pt x="1967" y="1043"/>
                      </a:lnTo>
                      <a:lnTo>
                        <a:pt x="1967" y="1043"/>
                      </a:lnTo>
                      <a:lnTo>
                        <a:pt x="1965" y="1043"/>
                      </a:lnTo>
                      <a:lnTo>
                        <a:pt x="1963" y="1043"/>
                      </a:lnTo>
                      <a:lnTo>
                        <a:pt x="1963" y="1043"/>
                      </a:lnTo>
                      <a:lnTo>
                        <a:pt x="1961" y="1039"/>
                      </a:lnTo>
                      <a:lnTo>
                        <a:pt x="1963" y="1036"/>
                      </a:lnTo>
                      <a:lnTo>
                        <a:pt x="1965" y="1032"/>
                      </a:lnTo>
                      <a:lnTo>
                        <a:pt x="1967" y="1029"/>
                      </a:lnTo>
                      <a:lnTo>
                        <a:pt x="1967" y="1032"/>
                      </a:lnTo>
                      <a:lnTo>
                        <a:pt x="1963" y="1037"/>
                      </a:lnTo>
                      <a:lnTo>
                        <a:pt x="1963" y="1041"/>
                      </a:lnTo>
                      <a:lnTo>
                        <a:pt x="1963" y="1041"/>
                      </a:lnTo>
                      <a:lnTo>
                        <a:pt x="1965" y="1041"/>
                      </a:lnTo>
                      <a:lnTo>
                        <a:pt x="1965" y="1041"/>
                      </a:lnTo>
                      <a:lnTo>
                        <a:pt x="1967" y="1041"/>
                      </a:lnTo>
                      <a:lnTo>
                        <a:pt x="1968" y="1041"/>
                      </a:lnTo>
                      <a:lnTo>
                        <a:pt x="1970" y="1044"/>
                      </a:lnTo>
                      <a:lnTo>
                        <a:pt x="1970" y="1043"/>
                      </a:lnTo>
                      <a:lnTo>
                        <a:pt x="1970" y="1041"/>
                      </a:lnTo>
                      <a:lnTo>
                        <a:pt x="1972" y="1044"/>
                      </a:lnTo>
                      <a:lnTo>
                        <a:pt x="1975" y="1046"/>
                      </a:lnTo>
                      <a:lnTo>
                        <a:pt x="1979" y="1048"/>
                      </a:lnTo>
                      <a:lnTo>
                        <a:pt x="1982" y="1050"/>
                      </a:lnTo>
                      <a:lnTo>
                        <a:pt x="1981" y="1046"/>
                      </a:lnTo>
                      <a:lnTo>
                        <a:pt x="1975" y="1039"/>
                      </a:lnTo>
                      <a:lnTo>
                        <a:pt x="1975" y="1036"/>
                      </a:lnTo>
                      <a:lnTo>
                        <a:pt x="1975" y="1037"/>
                      </a:lnTo>
                      <a:lnTo>
                        <a:pt x="1977" y="1041"/>
                      </a:lnTo>
                      <a:lnTo>
                        <a:pt x="1979" y="1041"/>
                      </a:lnTo>
                      <a:lnTo>
                        <a:pt x="1981" y="1043"/>
                      </a:lnTo>
                      <a:lnTo>
                        <a:pt x="1979" y="1037"/>
                      </a:lnTo>
                      <a:lnTo>
                        <a:pt x="1977" y="1036"/>
                      </a:lnTo>
                      <a:lnTo>
                        <a:pt x="1977" y="1032"/>
                      </a:lnTo>
                      <a:lnTo>
                        <a:pt x="1979" y="1029"/>
                      </a:lnTo>
                      <a:lnTo>
                        <a:pt x="1979" y="1027"/>
                      </a:lnTo>
                      <a:lnTo>
                        <a:pt x="1977" y="1025"/>
                      </a:lnTo>
                      <a:lnTo>
                        <a:pt x="1979" y="1025"/>
                      </a:lnTo>
                      <a:lnTo>
                        <a:pt x="1979" y="1023"/>
                      </a:lnTo>
                      <a:lnTo>
                        <a:pt x="1977" y="1020"/>
                      </a:lnTo>
                      <a:lnTo>
                        <a:pt x="1979" y="1020"/>
                      </a:lnTo>
                      <a:lnTo>
                        <a:pt x="1981" y="1020"/>
                      </a:lnTo>
                      <a:lnTo>
                        <a:pt x="1982" y="1016"/>
                      </a:lnTo>
                      <a:lnTo>
                        <a:pt x="1982" y="1018"/>
                      </a:lnTo>
                      <a:lnTo>
                        <a:pt x="1984" y="1016"/>
                      </a:lnTo>
                      <a:lnTo>
                        <a:pt x="1984" y="1016"/>
                      </a:lnTo>
                      <a:lnTo>
                        <a:pt x="1984" y="1015"/>
                      </a:lnTo>
                      <a:lnTo>
                        <a:pt x="1984" y="1016"/>
                      </a:lnTo>
                      <a:lnTo>
                        <a:pt x="1984" y="1016"/>
                      </a:lnTo>
                      <a:lnTo>
                        <a:pt x="1986" y="1015"/>
                      </a:lnTo>
                      <a:lnTo>
                        <a:pt x="1988" y="1011"/>
                      </a:lnTo>
                      <a:lnTo>
                        <a:pt x="1989" y="1011"/>
                      </a:lnTo>
                      <a:lnTo>
                        <a:pt x="1989" y="1013"/>
                      </a:lnTo>
                      <a:lnTo>
                        <a:pt x="1991" y="1013"/>
                      </a:lnTo>
                      <a:lnTo>
                        <a:pt x="1991" y="1013"/>
                      </a:lnTo>
                      <a:lnTo>
                        <a:pt x="1989" y="1015"/>
                      </a:lnTo>
                      <a:lnTo>
                        <a:pt x="1989" y="1016"/>
                      </a:lnTo>
                      <a:lnTo>
                        <a:pt x="1989" y="1016"/>
                      </a:lnTo>
                      <a:lnTo>
                        <a:pt x="1991" y="1016"/>
                      </a:lnTo>
                      <a:lnTo>
                        <a:pt x="1991" y="1016"/>
                      </a:lnTo>
                      <a:lnTo>
                        <a:pt x="1988" y="1016"/>
                      </a:lnTo>
                      <a:lnTo>
                        <a:pt x="1986" y="1018"/>
                      </a:lnTo>
                      <a:lnTo>
                        <a:pt x="1984" y="1022"/>
                      </a:lnTo>
                      <a:lnTo>
                        <a:pt x="1984" y="1025"/>
                      </a:lnTo>
                      <a:lnTo>
                        <a:pt x="1986" y="1023"/>
                      </a:lnTo>
                      <a:lnTo>
                        <a:pt x="1986" y="1025"/>
                      </a:lnTo>
                      <a:lnTo>
                        <a:pt x="1982" y="1027"/>
                      </a:lnTo>
                      <a:lnTo>
                        <a:pt x="1982" y="1029"/>
                      </a:lnTo>
                      <a:lnTo>
                        <a:pt x="1984" y="1029"/>
                      </a:lnTo>
                      <a:lnTo>
                        <a:pt x="1984" y="1029"/>
                      </a:lnTo>
                      <a:lnTo>
                        <a:pt x="1984" y="1029"/>
                      </a:lnTo>
                      <a:lnTo>
                        <a:pt x="1986" y="1030"/>
                      </a:lnTo>
                      <a:lnTo>
                        <a:pt x="1984" y="1030"/>
                      </a:lnTo>
                      <a:lnTo>
                        <a:pt x="1984" y="1030"/>
                      </a:lnTo>
                      <a:lnTo>
                        <a:pt x="1982" y="1032"/>
                      </a:lnTo>
                      <a:lnTo>
                        <a:pt x="1982" y="1034"/>
                      </a:lnTo>
                      <a:lnTo>
                        <a:pt x="1984" y="1032"/>
                      </a:lnTo>
                      <a:lnTo>
                        <a:pt x="1986" y="1034"/>
                      </a:lnTo>
                      <a:lnTo>
                        <a:pt x="1989" y="1036"/>
                      </a:lnTo>
                      <a:lnTo>
                        <a:pt x="1984" y="1037"/>
                      </a:lnTo>
                      <a:lnTo>
                        <a:pt x="1984" y="1041"/>
                      </a:lnTo>
                      <a:lnTo>
                        <a:pt x="1986" y="1043"/>
                      </a:lnTo>
                      <a:lnTo>
                        <a:pt x="1989" y="1043"/>
                      </a:lnTo>
                      <a:lnTo>
                        <a:pt x="1989" y="1044"/>
                      </a:lnTo>
                      <a:lnTo>
                        <a:pt x="1991" y="1044"/>
                      </a:lnTo>
                      <a:lnTo>
                        <a:pt x="1993" y="1043"/>
                      </a:lnTo>
                      <a:lnTo>
                        <a:pt x="1993" y="1044"/>
                      </a:lnTo>
                      <a:lnTo>
                        <a:pt x="1991" y="1044"/>
                      </a:lnTo>
                      <a:lnTo>
                        <a:pt x="1991" y="1046"/>
                      </a:lnTo>
                      <a:lnTo>
                        <a:pt x="1991" y="1048"/>
                      </a:lnTo>
                      <a:lnTo>
                        <a:pt x="1993" y="1048"/>
                      </a:lnTo>
                      <a:lnTo>
                        <a:pt x="1993" y="1050"/>
                      </a:lnTo>
                      <a:lnTo>
                        <a:pt x="1993" y="1050"/>
                      </a:lnTo>
                      <a:lnTo>
                        <a:pt x="1993" y="1051"/>
                      </a:lnTo>
                      <a:lnTo>
                        <a:pt x="1993" y="1051"/>
                      </a:lnTo>
                      <a:lnTo>
                        <a:pt x="1996" y="1053"/>
                      </a:lnTo>
                      <a:lnTo>
                        <a:pt x="1995" y="1057"/>
                      </a:lnTo>
                      <a:lnTo>
                        <a:pt x="1991" y="1062"/>
                      </a:lnTo>
                      <a:lnTo>
                        <a:pt x="1989" y="1067"/>
                      </a:lnTo>
                      <a:lnTo>
                        <a:pt x="1991" y="1072"/>
                      </a:lnTo>
                      <a:lnTo>
                        <a:pt x="1995" y="1065"/>
                      </a:lnTo>
                      <a:lnTo>
                        <a:pt x="1996" y="1064"/>
                      </a:lnTo>
                      <a:lnTo>
                        <a:pt x="1996" y="1064"/>
                      </a:lnTo>
                      <a:lnTo>
                        <a:pt x="1998" y="1062"/>
                      </a:lnTo>
                      <a:lnTo>
                        <a:pt x="1998" y="1062"/>
                      </a:lnTo>
                      <a:lnTo>
                        <a:pt x="1998" y="1062"/>
                      </a:lnTo>
                      <a:lnTo>
                        <a:pt x="2000" y="1057"/>
                      </a:lnTo>
                      <a:lnTo>
                        <a:pt x="2001" y="1053"/>
                      </a:lnTo>
                      <a:lnTo>
                        <a:pt x="2008" y="1041"/>
                      </a:lnTo>
                      <a:lnTo>
                        <a:pt x="2008" y="1041"/>
                      </a:lnTo>
                      <a:lnTo>
                        <a:pt x="2008" y="1043"/>
                      </a:lnTo>
                      <a:lnTo>
                        <a:pt x="2008" y="1043"/>
                      </a:lnTo>
                      <a:lnTo>
                        <a:pt x="2010" y="1041"/>
                      </a:lnTo>
                      <a:lnTo>
                        <a:pt x="2010" y="1039"/>
                      </a:lnTo>
                      <a:lnTo>
                        <a:pt x="2008" y="1037"/>
                      </a:lnTo>
                      <a:lnTo>
                        <a:pt x="2007" y="1037"/>
                      </a:lnTo>
                      <a:lnTo>
                        <a:pt x="2008" y="1034"/>
                      </a:lnTo>
                      <a:lnTo>
                        <a:pt x="2008" y="1032"/>
                      </a:lnTo>
                      <a:lnTo>
                        <a:pt x="2005" y="1027"/>
                      </a:lnTo>
                      <a:lnTo>
                        <a:pt x="2003" y="1027"/>
                      </a:lnTo>
                      <a:lnTo>
                        <a:pt x="1998" y="1013"/>
                      </a:lnTo>
                      <a:lnTo>
                        <a:pt x="1998" y="1011"/>
                      </a:lnTo>
                      <a:lnTo>
                        <a:pt x="1998" y="1009"/>
                      </a:lnTo>
                      <a:lnTo>
                        <a:pt x="2000" y="1008"/>
                      </a:lnTo>
                      <a:lnTo>
                        <a:pt x="2001" y="1006"/>
                      </a:lnTo>
                      <a:lnTo>
                        <a:pt x="2007" y="1003"/>
                      </a:lnTo>
                      <a:lnTo>
                        <a:pt x="2008" y="1001"/>
                      </a:lnTo>
                      <a:lnTo>
                        <a:pt x="2007" y="1004"/>
                      </a:lnTo>
                      <a:lnTo>
                        <a:pt x="2001" y="1006"/>
                      </a:lnTo>
                      <a:lnTo>
                        <a:pt x="2000" y="1009"/>
                      </a:lnTo>
                      <a:lnTo>
                        <a:pt x="2000" y="1015"/>
                      </a:lnTo>
                      <a:lnTo>
                        <a:pt x="2003" y="1018"/>
                      </a:lnTo>
                      <a:lnTo>
                        <a:pt x="2008" y="1020"/>
                      </a:lnTo>
                      <a:lnTo>
                        <a:pt x="2012" y="1022"/>
                      </a:lnTo>
                      <a:lnTo>
                        <a:pt x="2012" y="1027"/>
                      </a:lnTo>
                      <a:lnTo>
                        <a:pt x="2014" y="1027"/>
                      </a:lnTo>
                      <a:lnTo>
                        <a:pt x="2015" y="1023"/>
                      </a:lnTo>
                      <a:lnTo>
                        <a:pt x="2017" y="1022"/>
                      </a:lnTo>
                      <a:lnTo>
                        <a:pt x="2019" y="1018"/>
                      </a:lnTo>
                      <a:lnTo>
                        <a:pt x="2021" y="1016"/>
                      </a:lnTo>
                      <a:lnTo>
                        <a:pt x="2022" y="1016"/>
                      </a:lnTo>
                      <a:lnTo>
                        <a:pt x="2022" y="1015"/>
                      </a:lnTo>
                      <a:lnTo>
                        <a:pt x="2022" y="1011"/>
                      </a:lnTo>
                      <a:lnTo>
                        <a:pt x="2026" y="1011"/>
                      </a:lnTo>
                      <a:lnTo>
                        <a:pt x="2028" y="1008"/>
                      </a:lnTo>
                      <a:lnTo>
                        <a:pt x="2029" y="1004"/>
                      </a:lnTo>
                      <a:lnTo>
                        <a:pt x="2031" y="1001"/>
                      </a:lnTo>
                      <a:lnTo>
                        <a:pt x="2029" y="1003"/>
                      </a:lnTo>
                      <a:lnTo>
                        <a:pt x="2029" y="1006"/>
                      </a:lnTo>
                      <a:lnTo>
                        <a:pt x="2033" y="997"/>
                      </a:lnTo>
                      <a:lnTo>
                        <a:pt x="2033" y="992"/>
                      </a:lnTo>
                      <a:lnTo>
                        <a:pt x="2031" y="989"/>
                      </a:lnTo>
                      <a:lnTo>
                        <a:pt x="2028" y="989"/>
                      </a:lnTo>
                      <a:lnTo>
                        <a:pt x="2026" y="989"/>
                      </a:lnTo>
                      <a:lnTo>
                        <a:pt x="2026" y="985"/>
                      </a:lnTo>
                      <a:lnTo>
                        <a:pt x="2031" y="980"/>
                      </a:lnTo>
                      <a:lnTo>
                        <a:pt x="2033" y="976"/>
                      </a:lnTo>
                      <a:lnTo>
                        <a:pt x="2033" y="971"/>
                      </a:lnTo>
                      <a:lnTo>
                        <a:pt x="2033" y="968"/>
                      </a:lnTo>
                      <a:lnTo>
                        <a:pt x="2035" y="971"/>
                      </a:lnTo>
                      <a:lnTo>
                        <a:pt x="2035" y="975"/>
                      </a:lnTo>
                      <a:lnTo>
                        <a:pt x="2033" y="978"/>
                      </a:lnTo>
                      <a:lnTo>
                        <a:pt x="2031" y="982"/>
                      </a:lnTo>
                      <a:lnTo>
                        <a:pt x="2038" y="976"/>
                      </a:lnTo>
                      <a:lnTo>
                        <a:pt x="2045" y="971"/>
                      </a:lnTo>
                      <a:lnTo>
                        <a:pt x="2052" y="969"/>
                      </a:lnTo>
                      <a:lnTo>
                        <a:pt x="2080" y="966"/>
                      </a:lnTo>
                      <a:lnTo>
                        <a:pt x="2084" y="964"/>
                      </a:lnTo>
                      <a:lnTo>
                        <a:pt x="2085" y="964"/>
                      </a:lnTo>
                      <a:lnTo>
                        <a:pt x="2087" y="962"/>
                      </a:lnTo>
                      <a:lnTo>
                        <a:pt x="2087" y="961"/>
                      </a:lnTo>
                      <a:lnTo>
                        <a:pt x="2087" y="957"/>
                      </a:lnTo>
                      <a:lnTo>
                        <a:pt x="2087" y="955"/>
                      </a:lnTo>
                      <a:lnTo>
                        <a:pt x="2087" y="954"/>
                      </a:lnTo>
                      <a:lnTo>
                        <a:pt x="2089" y="955"/>
                      </a:lnTo>
                      <a:lnTo>
                        <a:pt x="2091" y="957"/>
                      </a:lnTo>
                      <a:lnTo>
                        <a:pt x="2091" y="955"/>
                      </a:lnTo>
                      <a:lnTo>
                        <a:pt x="2092" y="955"/>
                      </a:lnTo>
                      <a:lnTo>
                        <a:pt x="2092" y="955"/>
                      </a:lnTo>
                      <a:lnTo>
                        <a:pt x="2092" y="957"/>
                      </a:lnTo>
                      <a:lnTo>
                        <a:pt x="2092" y="959"/>
                      </a:lnTo>
                      <a:lnTo>
                        <a:pt x="2092" y="961"/>
                      </a:lnTo>
                      <a:lnTo>
                        <a:pt x="2092" y="961"/>
                      </a:lnTo>
                      <a:lnTo>
                        <a:pt x="2103" y="955"/>
                      </a:lnTo>
                      <a:lnTo>
                        <a:pt x="2103" y="955"/>
                      </a:lnTo>
                      <a:lnTo>
                        <a:pt x="2103" y="957"/>
                      </a:lnTo>
                      <a:lnTo>
                        <a:pt x="2103" y="961"/>
                      </a:lnTo>
                      <a:lnTo>
                        <a:pt x="2117" y="957"/>
                      </a:lnTo>
                      <a:lnTo>
                        <a:pt x="2118" y="955"/>
                      </a:lnTo>
                      <a:lnTo>
                        <a:pt x="2118" y="952"/>
                      </a:lnTo>
                      <a:lnTo>
                        <a:pt x="2118" y="948"/>
                      </a:lnTo>
                      <a:lnTo>
                        <a:pt x="2115" y="947"/>
                      </a:lnTo>
                      <a:lnTo>
                        <a:pt x="2112" y="945"/>
                      </a:lnTo>
                      <a:lnTo>
                        <a:pt x="2113" y="947"/>
                      </a:lnTo>
                      <a:lnTo>
                        <a:pt x="2115" y="947"/>
                      </a:lnTo>
                      <a:lnTo>
                        <a:pt x="2117" y="948"/>
                      </a:lnTo>
                      <a:lnTo>
                        <a:pt x="2117" y="950"/>
                      </a:lnTo>
                      <a:lnTo>
                        <a:pt x="2117" y="952"/>
                      </a:lnTo>
                      <a:lnTo>
                        <a:pt x="2115" y="954"/>
                      </a:lnTo>
                      <a:lnTo>
                        <a:pt x="2112" y="955"/>
                      </a:lnTo>
                      <a:lnTo>
                        <a:pt x="2110" y="954"/>
                      </a:lnTo>
                      <a:lnTo>
                        <a:pt x="2106" y="954"/>
                      </a:lnTo>
                      <a:lnTo>
                        <a:pt x="2106" y="952"/>
                      </a:lnTo>
                      <a:lnTo>
                        <a:pt x="2105" y="950"/>
                      </a:lnTo>
                      <a:lnTo>
                        <a:pt x="2105" y="947"/>
                      </a:lnTo>
                      <a:lnTo>
                        <a:pt x="2101" y="943"/>
                      </a:lnTo>
                      <a:lnTo>
                        <a:pt x="2099" y="941"/>
                      </a:lnTo>
                      <a:lnTo>
                        <a:pt x="2098" y="941"/>
                      </a:lnTo>
                      <a:lnTo>
                        <a:pt x="2094" y="940"/>
                      </a:lnTo>
                      <a:lnTo>
                        <a:pt x="2096" y="938"/>
                      </a:lnTo>
                      <a:lnTo>
                        <a:pt x="2098" y="934"/>
                      </a:lnTo>
                      <a:lnTo>
                        <a:pt x="2099" y="933"/>
                      </a:lnTo>
                      <a:lnTo>
                        <a:pt x="2103" y="931"/>
                      </a:lnTo>
                      <a:lnTo>
                        <a:pt x="2105" y="931"/>
                      </a:lnTo>
                      <a:lnTo>
                        <a:pt x="2103" y="929"/>
                      </a:lnTo>
                      <a:lnTo>
                        <a:pt x="2101" y="927"/>
                      </a:lnTo>
                      <a:lnTo>
                        <a:pt x="2099" y="926"/>
                      </a:lnTo>
                      <a:lnTo>
                        <a:pt x="2099" y="922"/>
                      </a:lnTo>
                      <a:lnTo>
                        <a:pt x="2101" y="919"/>
                      </a:lnTo>
                      <a:lnTo>
                        <a:pt x="2105" y="913"/>
                      </a:lnTo>
                      <a:lnTo>
                        <a:pt x="2110" y="908"/>
                      </a:lnTo>
                      <a:lnTo>
                        <a:pt x="2112" y="905"/>
                      </a:lnTo>
                      <a:lnTo>
                        <a:pt x="2112" y="903"/>
                      </a:lnTo>
                      <a:lnTo>
                        <a:pt x="2113" y="901"/>
                      </a:lnTo>
                      <a:lnTo>
                        <a:pt x="2115" y="899"/>
                      </a:lnTo>
                      <a:lnTo>
                        <a:pt x="2117" y="898"/>
                      </a:lnTo>
                      <a:lnTo>
                        <a:pt x="2118" y="898"/>
                      </a:lnTo>
                      <a:lnTo>
                        <a:pt x="2118" y="898"/>
                      </a:lnTo>
                      <a:lnTo>
                        <a:pt x="2118" y="899"/>
                      </a:lnTo>
                      <a:lnTo>
                        <a:pt x="2118" y="899"/>
                      </a:lnTo>
                      <a:lnTo>
                        <a:pt x="2120" y="899"/>
                      </a:lnTo>
                      <a:lnTo>
                        <a:pt x="2120" y="899"/>
                      </a:lnTo>
                      <a:lnTo>
                        <a:pt x="2122" y="899"/>
                      </a:lnTo>
                      <a:lnTo>
                        <a:pt x="2122" y="898"/>
                      </a:lnTo>
                      <a:lnTo>
                        <a:pt x="2122" y="896"/>
                      </a:lnTo>
                      <a:lnTo>
                        <a:pt x="2122" y="896"/>
                      </a:lnTo>
                      <a:lnTo>
                        <a:pt x="2124" y="898"/>
                      </a:lnTo>
                      <a:lnTo>
                        <a:pt x="2124" y="896"/>
                      </a:lnTo>
                      <a:lnTo>
                        <a:pt x="2124" y="896"/>
                      </a:lnTo>
                      <a:lnTo>
                        <a:pt x="2125" y="894"/>
                      </a:lnTo>
                      <a:lnTo>
                        <a:pt x="2125" y="896"/>
                      </a:lnTo>
                      <a:lnTo>
                        <a:pt x="2125" y="898"/>
                      </a:lnTo>
                      <a:lnTo>
                        <a:pt x="2125" y="896"/>
                      </a:lnTo>
                      <a:lnTo>
                        <a:pt x="2127" y="894"/>
                      </a:lnTo>
                      <a:lnTo>
                        <a:pt x="2127" y="894"/>
                      </a:lnTo>
                      <a:lnTo>
                        <a:pt x="2127" y="894"/>
                      </a:lnTo>
                      <a:lnTo>
                        <a:pt x="2127" y="896"/>
                      </a:lnTo>
                      <a:lnTo>
                        <a:pt x="2127" y="896"/>
                      </a:lnTo>
                      <a:lnTo>
                        <a:pt x="2131" y="894"/>
                      </a:lnTo>
                      <a:lnTo>
                        <a:pt x="2132" y="894"/>
                      </a:lnTo>
                      <a:lnTo>
                        <a:pt x="2136" y="892"/>
                      </a:lnTo>
                      <a:lnTo>
                        <a:pt x="2138" y="889"/>
                      </a:lnTo>
                      <a:lnTo>
                        <a:pt x="2138" y="887"/>
                      </a:lnTo>
                      <a:lnTo>
                        <a:pt x="2139" y="884"/>
                      </a:lnTo>
                      <a:lnTo>
                        <a:pt x="2139" y="882"/>
                      </a:lnTo>
                      <a:lnTo>
                        <a:pt x="2139" y="880"/>
                      </a:lnTo>
                      <a:lnTo>
                        <a:pt x="2143" y="878"/>
                      </a:lnTo>
                      <a:lnTo>
                        <a:pt x="2143" y="878"/>
                      </a:lnTo>
                      <a:lnTo>
                        <a:pt x="2143" y="878"/>
                      </a:lnTo>
                      <a:lnTo>
                        <a:pt x="2143" y="880"/>
                      </a:lnTo>
                      <a:lnTo>
                        <a:pt x="2143" y="880"/>
                      </a:lnTo>
                      <a:lnTo>
                        <a:pt x="2143" y="880"/>
                      </a:lnTo>
                      <a:lnTo>
                        <a:pt x="2145" y="882"/>
                      </a:lnTo>
                      <a:lnTo>
                        <a:pt x="2145" y="882"/>
                      </a:lnTo>
                      <a:lnTo>
                        <a:pt x="2145" y="882"/>
                      </a:lnTo>
                      <a:lnTo>
                        <a:pt x="2143" y="882"/>
                      </a:lnTo>
                      <a:lnTo>
                        <a:pt x="2143" y="884"/>
                      </a:lnTo>
                      <a:lnTo>
                        <a:pt x="2143" y="884"/>
                      </a:lnTo>
                      <a:lnTo>
                        <a:pt x="2145" y="884"/>
                      </a:lnTo>
                      <a:lnTo>
                        <a:pt x="2146" y="885"/>
                      </a:lnTo>
                      <a:lnTo>
                        <a:pt x="2148" y="885"/>
                      </a:lnTo>
                      <a:lnTo>
                        <a:pt x="2148" y="887"/>
                      </a:lnTo>
                      <a:lnTo>
                        <a:pt x="2148" y="885"/>
                      </a:lnTo>
                      <a:lnTo>
                        <a:pt x="2150" y="884"/>
                      </a:lnTo>
                      <a:lnTo>
                        <a:pt x="2150" y="882"/>
                      </a:lnTo>
                      <a:lnTo>
                        <a:pt x="2150" y="880"/>
                      </a:lnTo>
                      <a:lnTo>
                        <a:pt x="2152" y="880"/>
                      </a:lnTo>
                      <a:lnTo>
                        <a:pt x="2155" y="880"/>
                      </a:lnTo>
                      <a:lnTo>
                        <a:pt x="2157" y="880"/>
                      </a:lnTo>
                      <a:lnTo>
                        <a:pt x="2159" y="884"/>
                      </a:lnTo>
                      <a:lnTo>
                        <a:pt x="2162" y="878"/>
                      </a:lnTo>
                      <a:lnTo>
                        <a:pt x="2164" y="877"/>
                      </a:lnTo>
                      <a:lnTo>
                        <a:pt x="2166" y="877"/>
                      </a:lnTo>
                      <a:lnTo>
                        <a:pt x="2167" y="878"/>
                      </a:lnTo>
                      <a:lnTo>
                        <a:pt x="2167" y="878"/>
                      </a:lnTo>
                      <a:lnTo>
                        <a:pt x="2169" y="877"/>
                      </a:lnTo>
                      <a:lnTo>
                        <a:pt x="2171" y="875"/>
                      </a:lnTo>
                      <a:lnTo>
                        <a:pt x="2173" y="875"/>
                      </a:lnTo>
                      <a:lnTo>
                        <a:pt x="2174" y="875"/>
                      </a:lnTo>
                      <a:lnTo>
                        <a:pt x="2176" y="875"/>
                      </a:lnTo>
                      <a:lnTo>
                        <a:pt x="2178" y="873"/>
                      </a:lnTo>
                      <a:lnTo>
                        <a:pt x="2180" y="873"/>
                      </a:lnTo>
                      <a:lnTo>
                        <a:pt x="2181" y="871"/>
                      </a:lnTo>
                      <a:lnTo>
                        <a:pt x="2181" y="870"/>
                      </a:lnTo>
                      <a:lnTo>
                        <a:pt x="2181" y="870"/>
                      </a:lnTo>
                      <a:lnTo>
                        <a:pt x="2181" y="870"/>
                      </a:lnTo>
                      <a:close/>
                      <a:moveTo>
                        <a:pt x="1898" y="1301"/>
                      </a:moveTo>
                      <a:lnTo>
                        <a:pt x="1897" y="1298"/>
                      </a:lnTo>
                      <a:lnTo>
                        <a:pt x="1895" y="1294"/>
                      </a:lnTo>
                      <a:lnTo>
                        <a:pt x="1897" y="1301"/>
                      </a:lnTo>
                      <a:lnTo>
                        <a:pt x="1900" y="1310"/>
                      </a:lnTo>
                      <a:lnTo>
                        <a:pt x="1898" y="1305"/>
                      </a:lnTo>
                      <a:lnTo>
                        <a:pt x="1898" y="1301"/>
                      </a:lnTo>
                      <a:close/>
                      <a:moveTo>
                        <a:pt x="1872" y="1223"/>
                      </a:moveTo>
                      <a:lnTo>
                        <a:pt x="1872" y="1224"/>
                      </a:lnTo>
                      <a:lnTo>
                        <a:pt x="1872" y="1226"/>
                      </a:lnTo>
                      <a:lnTo>
                        <a:pt x="1872" y="1221"/>
                      </a:lnTo>
                      <a:lnTo>
                        <a:pt x="1872" y="1223"/>
                      </a:lnTo>
                      <a:lnTo>
                        <a:pt x="1872" y="1223"/>
                      </a:lnTo>
                      <a:close/>
                      <a:moveTo>
                        <a:pt x="994" y="770"/>
                      </a:moveTo>
                      <a:lnTo>
                        <a:pt x="992" y="770"/>
                      </a:lnTo>
                      <a:lnTo>
                        <a:pt x="989" y="774"/>
                      </a:lnTo>
                      <a:lnTo>
                        <a:pt x="990" y="775"/>
                      </a:lnTo>
                      <a:lnTo>
                        <a:pt x="992" y="779"/>
                      </a:lnTo>
                      <a:lnTo>
                        <a:pt x="994" y="781"/>
                      </a:lnTo>
                      <a:lnTo>
                        <a:pt x="996" y="782"/>
                      </a:lnTo>
                      <a:lnTo>
                        <a:pt x="997" y="782"/>
                      </a:lnTo>
                      <a:lnTo>
                        <a:pt x="997" y="781"/>
                      </a:lnTo>
                      <a:lnTo>
                        <a:pt x="994" y="777"/>
                      </a:lnTo>
                      <a:lnTo>
                        <a:pt x="994" y="779"/>
                      </a:lnTo>
                      <a:lnTo>
                        <a:pt x="994" y="777"/>
                      </a:lnTo>
                      <a:lnTo>
                        <a:pt x="994" y="775"/>
                      </a:lnTo>
                      <a:lnTo>
                        <a:pt x="992" y="774"/>
                      </a:lnTo>
                      <a:lnTo>
                        <a:pt x="990" y="774"/>
                      </a:lnTo>
                      <a:lnTo>
                        <a:pt x="994" y="772"/>
                      </a:lnTo>
                      <a:lnTo>
                        <a:pt x="994" y="770"/>
                      </a:lnTo>
                      <a:close/>
                      <a:moveTo>
                        <a:pt x="994" y="789"/>
                      </a:moveTo>
                      <a:lnTo>
                        <a:pt x="994" y="791"/>
                      </a:lnTo>
                      <a:lnTo>
                        <a:pt x="994" y="791"/>
                      </a:lnTo>
                      <a:lnTo>
                        <a:pt x="994" y="793"/>
                      </a:lnTo>
                      <a:lnTo>
                        <a:pt x="994" y="791"/>
                      </a:lnTo>
                      <a:lnTo>
                        <a:pt x="994" y="791"/>
                      </a:lnTo>
                      <a:lnTo>
                        <a:pt x="994" y="789"/>
                      </a:lnTo>
                      <a:lnTo>
                        <a:pt x="994" y="789"/>
                      </a:lnTo>
                      <a:close/>
                      <a:moveTo>
                        <a:pt x="1706" y="1242"/>
                      </a:moveTo>
                      <a:lnTo>
                        <a:pt x="1706" y="1242"/>
                      </a:lnTo>
                      <a:lnTo>
                        <a:pt x="1706" y="1240"/>
                      </a:lnTo>
                      <a:lnTo>
                        <a:pt x="1706" y="1240"/>
                      </a:lnTo>
                      <a:lnTo>
                        <a:pt x="1706" y="1238"/>
                      </a:lnTo>
                      <a:lnTo>
                        <a:pt x="1703" y="1242"/>
                      </a:lnTo>
                      <a:lnTo>
                        <a:pt x="1705" y="1242"/>
                      </a:lnTo>
                      <a:lnTo>
                        <a:pt x="1706" y="1242"/>
                      </a:lnTo>
                      <a:close/>
                      <a:moveTo>
                        <a:pt x="1790" y="1249"/>
                      </a:moveTo>
                      <a:lnTo>
                        <a:pt x="1788" y="1249"/>
                      </a:lnTo>
                      <a:lnTo>
                        <a:pt x="1788" y="1247"/>
                      </a:lnTo>
                      <a:lnTo>
                        <a:pt x="1790" y="1249"/>
                      </a:lnTo>
                      <a:close/>
                      <a:moveTo>
                        <a:pt x="1996" y="1104"/>
                      </a:moveTo>
                      <a:lnTo>
                        <a:pt x="1996" y="1104"/>
                      </a:lnTo>
                      <a:lnTo>
                        <a:pt x="1996" y="1102"/>
                      </a:lnTo>
                      <a:lnTo>
                        <a:pt x="1996" y="1102"/>
                      </a:lnTo>
                      <a:lnTo>
                        <a:pt x="1995" y="1102"/>
                      </a:lnTo>
                      <a:lnTo>
                        <a:pt x="1996" y="1104"/>
                      </a:lnTo>
                      <a:lnTo>
                        <a:pt x="1996" y="1104"/>
                      </a:lnTo>
                      <a:lnTo>
                        <a:pt x="1996" y="1104"/>
                      </a:lnTo>
                      <a:close/>
                      <a:moveTo>
                        <a:pt x="1858" y="1326"/>
                      </a:moveTo>
                      <a:lnTo>
                        <a:pt x="1858" y="1326"/>
                      </a:lnTo>
                      <a:lnTo>
                        <a:pt x="1858" y="1322"/>
                      </a:lnTo>
                      <a:lnTo>
                        <a:pt x="1858" y="1322"/>
                      </a:lnTo>
                      <a:lnTo>
                        <a:pt x="1857" y="1322"/>
                      </a:lnTo>
                      <a:lnTo>
                        <a:pt x="1858" y="1324"/>
                      </a:lnTo>
                      <a:lnTo>
                        <a:pt x="1858" y="1326"/>
                      </a:lnTo>
                      <a:close/>
                      <a:moveTo>
                        <a:pt x="1865" y="1373"/>
                      </a:moveTo>
                      <a:lnTo>
                        <a:pt x="1865" y="1373"/>
                      </a:lnTo>
                      <a:lnTo>
                        <a:pt x="1865" y="1373"/>
                      </a:lnTo>
                      <a:lnTo>
                        <a:pt x="1865" y="1373"/>
                      </a:lnTo>
                      <a:lnTo>
                        <a:pt x="1865" y="1373"/>
                      </a:lnTo>
                      <a:lnTo>
                        <a:pt x="1865" y="1373"/>
                      </a:lnTo>
                      <a:lnTo>
                        <a:pt x="1867" y="1371"/>
                      </a:lnTo>
                      <a:lnTo>
                        <a:pt x="1865" y="1373"/>
                      </a:lnTo>
                      <a:lnTo>
                        <a:pt x="1865" y="1373"/>
                      </a:lnTo>
                      <a:close/>
                      <a:moveTo>
                        <a:pt x="1857" y="1326"/>
                      </a:moveTo>
                      <a:lnTo>
                        <a:pt x="1857" y="1326"/>
                      </a:lnTo>
                      <a:lnTo>
                        <a:pt x="1857" y="1326"/>
                      </a:lnTo>
                      <a:lnTo>
                        <a:pt x="1858" y="1327"/>
                      </a:lnTo>
                      <a:lnTo>
                        <a:pt x="1858" y="1327"/>
                      </a:lnTo>
                      <a:lnTo>
                        <a:pt x="1860" y="1327"/>
                      </a:lnTo>
                      <a:lnTo>
                        <a:pt x="1858" y="1327"/>
                      </a:lnTo>
                      <a:lnTo>
                        <a:pt x="1857" y="1326"/>
                      </a:lnTo>
                      <a:close/>
                      <a:moveTo>
                        <a:pt x="2152" y="882"/>
                      </a:moveTo>
                      <a:lnTo>
                        <a:pt x="2152" y="884"/>
                      </a:lnTo>
                      <a:lnTo>
                        <a:pt x="2153" y="887"/>
                      </a:lnTo>
                      <a:lnTo>
                        <a:pt x="2153" y="885"/>
                      </a:lnTo>
                      <a:lnTo>
                        <a:pt x="2153" y="885"/>
                      </a:lnTo>
                      <a:lnTo>
                        <a:pt x="2155" y="885"/>
                      </a:lnTo>
                      <a:lnTo>
                        <a:pt x="2155" y="884"/>
                      </a:lnTo>
                      <a:lnTo>
                        <a:pt x="2155" y="882"/>
                      </a:lnTo>
                      <a:lnTo>
                        <a:pt x="2152" y="882"/>
                      </a:lnTo>
                      <a:close/>
                      <a:moveTo>
                        <a:pt x="1795" y="1252"/>
                      </a:moveTo>
                      <a:lnTo>
                        <a:pt x="1794" y="1252"/>
                      </a:lnTo>
                      <a:lnTo>
                        <a:pt x="1795" y="1252"/>
                      </a:lnTo>
                      <a:lnTo>
                        <a:pt x="1799" y="1252"/>
                      </a:lnTo>
                      <a:lnTo>
                        <a:pt x="1801" y="1251"/>
                      </a:lnTo>
                      <a:lnTo>
                        <a:pt x="1802" y="1249"/>
                      </a:lnTo>
                      <a:lnTo>
                        <a:pt x="1799" y="1251"/>
                      </a:lnTo>
                      <a:lnTo>
                        <a:pt x="1795" y="1252"/>
                      </a:lnTo>
                      <a:close/>
                      <a:moveTo>
                        <a:pt x="1886" y="1366"/>
                      </a:moveTo>
                      <a:lnTo>
                        <a:pt x="1884" y="1366"/>
                      </a:lnTo>
                      <a:lnTo>
                        <a:pt x="1886" y="1366"/>
                      </a:lnTo>
                      <a:lnTo>
                        <a:pt x="1886" y="1366"/>
                      </a:lnTo>
                      <a:lnTo>
                        <a:pt x="1886" y="1366"/>
                      </a:lnTo>
                      <a:lnTo>
                        <a:pt x="1886" y="1366"/>
                      </a:lnTo>
                      <a:lnTo>
                        <a:pt x="1886" y="1366"/>
                      </a:lnTo>
                      <a:lnTo>
                        <a:pt x="1886" y="1366"/>
                      </a:lnTo>
                      <a:close/>
                      <a:moveTo>
                        <a:pt x="1869" y="1371"/>
                      </a:moveTo>
                      <a:lnTo>
                        <a:pt x="1869" y="1371"/>
                      </a:lnTo>
                      <a:lnTo>
                        <a:pt x="1871" y="1371"/>
                      </a:lnTo>
                      <a:lnTo>
                        <a:pt x="1871" y="1371"/>
                      </a:lnTo>
                      <a:lnTo>
                        <a:pt x="1871" y="1369"/>
                      </a:lnTo>
                      <a:lnTo>
                        <a:pt x="1869" y="1371"/>
                      </a:lnTo>
                      <a:close/>
                      <a:moveTo>
                        <a:pt x="1874" y="1368"/>
                      </a:moveTo>
                      <a:lnTo>
                        <a:pt x="1872" y="1368"/>
                      </a:lnTo>
                      <a:lnTo>
                        <a:pt x="1874" y="1369"/>
                      </a:lnTo>
                      <a:lnTo>
                        <a:pt x="1874" y="1369"/>
                      </a:lnTo>
                      <a:lnTo>
                        <a:pt x="1874" y="1371"/>
                      </a:lnTo>
                      <a:lnTo>
                        <a:pt x="1876" y="1369"/>
                      </a:lnTo>
                      <a:lnTo>
                        <a:pt x="1874" y="1369"/>
                      </a:lnTo>
                      <a:lnTo>
                        <a:pt x="1874" y="1368"/>
                      </a:lnTo>
                      <a:close/>
                      <a:moveTo>
                        <a:pt x="1881" y="1368"/>
                      </a:moveTo>
                      <a:lnTo>
                        <a:pt x="1881" y="1368"/>
                      </a:lnTo>
                      <a:lnTo>
                        <a:pt x="1879" y="1369"/>
                      </a:lnTo>
                      <a:lnTo>
                        <a:pt x="1881" y="1369"/>
                      </a:lnTo>
                      <a:lnTo>
                        <a:pt x="1881" y="1369"/>
                      </a:lnTo>
                      <a:lnTo>
                        <a:pt x="1883" y="1368"/>
                      </a:lnTo>
                      <a:lnTo>
                        <a:pt x="1883" y="1368"/>
                      </a:lnTo>
                      <a:lnTo>
                        <a:pt x="1883" y="1368"/>
                      </a:lnTo>
                      <a:lnTo>
                        <a:pt x="1881" y="1368"/>
                      </a:lnTo>
                      <a:close/>
                      <a:moveTo>
                        <a:pt x="1544" y="1287"/>
                      </a:moveTo>
                      <a:lnTo>
                        <a:pt x="1546" y="1286"/>
                      </a:lnTo>
                      <a:lnTo>
                        <a:pt x="1549" y="1284"/>
                      </a:lnTo>
                      <a:lnTo>
                        <a:pt x="1551" y="1282"/>
                      </a:lnTo>
                      <a:lnTo>
                        <a:pt x="1553" y="1280"/>
                      </a:lnTo>
                      <a:lnTo>
                        <a:pt x="1546" y="1286"/>
                      </a:lnTo>
                      <a:lnTo>
                        <a:pt x="1544" y="1287"/>
                      </a:lnTo>
                      <a:close/>
                      <a:moveTo>
                        <a:pt x="1584" y="1261"/>
                      </a:moveTo>
                      <a:lnTo>
                        <a:pt x="1581" y="1263"/>
                      </a:lnTo>
                      <a:lnTo>
                        <a:pt x="1582" y="1263"/>
                      </a:lnTo>
                      <a:lnTo>
                        <a:pt x="1584" y="1261"/>
                      </a:lnTo>
                      <a:lnTo>
                        <a:pt x="1586" y="1259"/>
                      </a:lnTo>
                      <a:lnTo>
                        <a:pt x="1588" y="1259"/>
                      </a:lnTo>
                      <a:lnTo>
                        <a:pt x="1586" y="1259"/>
                      </a:lnTo>
                      <a:lnTo>
                        <a:pt x="1584" y="1261"/>
                      </a:lnTo>
                      <a:close/>
                      <a:moveTo>
                        <a:pt x="1540" y="1289"/>
                      </a:moveTo>
                      <a:lnTo>
                        <a:pt x="1539" y="1293"/>
                      </a:lnTo>
                      <a:lnTo>
                        <a:pt x="1540" y="1291"/>
                      </a:lnTo>
                      <a:lnTo>
                        <a:pt x="1542" y="1291"/>
                      </a:lnTo>
                      <a:lnTo>
                        <a:pt x="1542" y="1289"/>
                      </a:lnTo>
                      <a:lnTo>
                        <a:pt x="1542" y="1287"/>
                      </a:lnTo>
                      <a:lnTo>
                        <a:pt x="1542" y="1287"/>
                      </a:lnTo>
                      <a:lnTo>
                        <a:pt x="1540" y="1289"/>
                      </a:lnTo>
                      <a:close/>
                      <a:moveTo>
                        <a:pt x="1713" y="1251"/>
                      </a:moveTo>
                      <a:lnTo>
                        <a:pt x="1712" y="1251"/>
                      </a:lnTo>
                      <a:lnTo>
                        <a:pt x="1713" y="1251"/>
                      </a:lnTo>
                      <a:lnTo>
                        <a:pt x="1713" y="1249"/>
                      </a:lnTo>
                      <a:lnTo>
                        <a:pt x="1713" y="1249"/>
                      </a:lnTo>
                      <a:lnTo>
                        <a:pt x="1713" y="1249"/>
                      </a:lnTo>
                      <a:lnTo>
                        <a:pt x="1713" y="1251"/>
                      </a:lnTo>
                      <a:close/>
                      <a:moveTo>
                        <a:pt x="1713" y="1242"/>
                      </a:moveTo>
                      <a:lnTo>
                        <a:pt x="1715" y="1244"/>
                      </a:lnTo>
                      <a:lnTo>
                        <a:pt x="1715" y="1245"/>
                      </a:lnTo>
                      <a:lnTo>
                        <a:pt x="1715" y="1247"/>
                      </a:lnTo>
                      <a:lnTo>
                        <a:pt x="1713" y="1249"/>
                      </a:lnTo>
                      <a:lnTo>
                        <a:pt x="1715" y="1247"/>
                      </a:lnTo>
                      <a:lnTo>
                        <a:pt x="1715" y="1245"/>
                      </a:lnTo>
                      <a:lnTo>
                        <a:pt x="1715" y="1244"/>
                      </a:lnTo>
                      <a:lnTo>
                        <a:pt x="1713" y="1242"/>
                      </a:lnTo>
                      <a:close/>
                      <a:moveTo>
                        <a:pt x="1719" y="1237"/>
                      </a:moveTo>
                      <a:lnTo>
                        <a:pt x="1717" y="1237"/>
                      </a:lnTo>
                      <a:lnTo>
                        <a:pt x="1719" y="1238"/>
                      </a:lnTo>
                      <a:lnTo>
                        <a:pt x="1719" y="1238"/>
                      </a:lnTo>
                      <a:lnTo>
                        <a:pt x="1720" y="1238"/>
                      </a:lnTo>
                      <a:lnTo>
                        <a:pt x="1720" y="1238"/>
                      </a:lnTo>
                      <a:lnTo>
                        <a:pt x="1719" y="1237"/>
                      </a:lnTo>
                      <a:close/>
                      <a:moveTo>
                        <a:pt x="1647" y="1252"/>
                      </a:moveTo>
                      <a:lnTo>
                        <a:pt x="1650" y="1256"/>
                      </a:lnTo>
                      <a:lnTo>
                        <a:pt x="1650" y="1254"/>
                      </a:lnTo>
                      <a:lnTo>
                        <a:pt x="1650" y="1251"/>
                      </a:lnTo>
                      <a:lnTo>
                        <a:pt x="1647" y="1252"/>
                      </a:lnTo>
                      <a:close/>
                      <a:moveTo>
                        <a:pt x="1729" y="1237"/>
                      </a:moveTo>
                      <a:lnTo>
                        <a:pt x="1727" y="1237"/>
                      </a:lnTo>
                      <a:lnTo>
                        <a:pt x="1726" y="1238"/>
                      </a:lnTo>
                      <a:lnTo>
                        <a:pt x="1727" y="1238"/>
                      </a:lnTo>
                      <a:lnTo>
                        <a:pt x="1729" y="1238"/>
                      </a:lnTo>
                      <a:lnTo>
                        <a:pt x="1729" y="1238"/>
                      </a:lnTo>
                      <a:lnTo>
                        <a:pt x="1731" y="1237"/>
                      </a:lnTo>
                      <a:lnTo>
                        <a:pt x="1729" y="1237"/>
                      </a:lnTo>
                      <a:lnTo>
                        <a:pt x="1729" y="1237"/>
                      </a:lnTo>
                      <a:close/>
                      <a:moveTo>
                        <a:pt x="2087" y="959"/>
                      </a:moveTo>
                      <a:lnTo>
                        <a:pt x="2087" y="959"/>
                      </a:lnTo>
                      <a:lnTo>
                        <a:pt x="2087" y="961"/>
                      </a:lnTo>
                      <a:lnTo>
                        <a:pt x="2087" y="961"/>
                      </a:lnTo>
                      <a:lnTo>
                        <a:pt x="2087" y="962"/>
                      </a:lnTo>
                      <a:lnTo>
                        <a:pt x="2087" y="962"/>
                      </a:lnTo>
                      <a:lnTo>
                        <a:pt x="2089" y="961"/>
                      </a:lnTo>
                      <a:lnTo>
                        <a:pt x="2089" y="961"/>
                      </a:lnTo>
                      <a:lnTo>
                        <a:pt x="2089" y="961"/>
                      </a:lnTo>
                      <a:lnTo>
                        <a:pt x="2089" y="961"/>
                      </a:lnTo>
                      <a:lnTo>
                        <a:pt x="2089" y="959"/>
                      </a:lnTo>
                      <a:lnTo>
                        <a:pt x="2087" y="959"/>
                      </a:lnTo>
                      <a:close/>
                      <a:moveTo>
                        <a:pt x="2091" y="959"/>
                      </a:moveTo>
                      <a:lnTo>
                        <a:pt x="2089" y="959"/>
                      </a:lnTo>
                      <a:lnTo>
                        <a:pt x="2089" y="962"/>
                      </a:lnTo>
                      <a:lnTo>
                        <a:pt x="2091" y="962"/>
                      </a:lnTo>
                      <a:lnTo>
                        <a:pt x="2091" y="961"/>
                      </a:lnTo>
                      <a:lnTo>
                        <a:pt x="2091" y="959"/>
                      </a:lnTo>
                      <a:lnTo>
                        <a:pt x="2091" y="957"/>
                      </a:lnTo>
                      <a:lnTo>
                        <a:pt x="2091" y="959"/>
                      </a:lnTo>
                      <a:close/>
                      <a:moveTo>
                        <a:pt x="2071" y="973"/>
                      </a:moveTo>
                      <a:lnTo>
                        <a:pt x="2070" y="973"/>
                      </a:lnTo>
                      <a:lnTo>
                        <a:pt x="2068" y="975"/>
                      </a:lnTo>
                      <a:lnTo>
                        <a:pt x="2066" y="975"/>
                      </a:lnTo>
                      <a:lnTo>
                        <a:pt x="2064" y="976"/>
                      </a:lnTo>
                      <a:lnTo>
                        <a:pt x="2063" y="976"/>
                      </a:lnTo>
                      <a:lnTo>
                        <a:pt x="2064" y="975"/>
                      </a:lnTo>
                      <a:lnTo>
                        <a:pt x="2068" y="971"/>
                      </a:lnTo>
                      <a:lnTo>
                        <a:pt x="2066" y="971"/>
                      </a:lnTo>
                      <a:lnTo>
                        <a:pt x="2063" y="975"/>
                      </a:lnTo>
                      <a:lnTo>
                        <a:pt x="2059" y="975"/>
                      </a:lnTo>
                      <a:lnTo>
                        <a:pt x="2057" y="975"/>
                      </a:lnTo>
                      <a:lnTo>
                        <a:pt x="2043" y="976"/>
                      </a:lnTo>
                      <a:lnTo>
                        <a:pt x="2042" y="976"/>
                      </a:lnTo>
                      <a:lnTo>
                        <a:pt x="2040" y="978"/>
                      </a:lnTo>
                      <a:lnTo>
                        <a:pt x="2036" y="978"/>
                      </a:lnTo>
                      <a:lnTo>
                        <a:pt x="2035" y="980"/>
                      </a:lnTo>
                      <a:lnTo>
                        <a:pt x="2031" y="983"/>
                      </a:lnTo>
                      <a:lnTo>
                        <a:pt x="2031" y="985"/>
                      </a:lnTo>
                      <a:lnTo>
                        <a:pt x="2033" y="985"/>
                      </a:lnTo>
                      <a:lnTo>
                        <a:pt x="2033" y="983"/>
                      </a:lnTo>
                      <a:lnTo>
                        <a:pt x="2035" y="983"/>
                      </a:lnTo>
                      <a:lnTo>
                        <a:pt x="2036" y="983"/>
                      </a:lnTo>
                      <a:lnTo>
                        <a:pt x="2035" y="985"/>
                      </a:lnTo>
                      <a:lnTo>
                        <a:pt x="2035" y="985"/>
                      </a:lnTo>
                      <a:lnTo>
                        <a:pt x="2056" y="982"/>
                      </a:lnTo>
                      <a:lnTo>
                        <a:pt x="2077" y="973"/>
                      </a:lnTo>
                      <a:lnTo>
                        <a:pt x="2075" y="973"/>
                      </a:lnTo>
                      <a:lnTo>
                        <a:pt x="2071" y="973"/>
                      </a:lnTo>
                      <a:close/>
                      <a:moveTo>
                        <a:pt x="2103" y="962"/>
                      </a:moveTo>
                      <a:lnTo>
                        <a:pt x="2099" y="964"/>
                      </a:lnTo>
                      <a:lnTo>
                        <a:pt x="2101" y="966"/>
                      </a:lnTo>
                      <a:lnTo>
                        <a:pt x="2103" y="966"/>
                      </a:lnTo>
                      <a:lnTo>
                        <a:pt x="2106" y="964"/>
                      </a:lnTo>
                      <a:lnTo>
                        <a:pt x="2105" y="962"/>
                      </a:lnTo>
                      <a:lnTo>
                        <a:pt x="2103" y="962"/>
                      </a:lnTo>
                      <a:close/>
                      <a:moveTo>
                        <a:pt x="2146" y="887"/>
                      </a:moveTo>
                      <a:lnTo>
                        <a:pt x="2146" y="887"/>
                      </a:lnTo>
                      <a:lnTo>
                        <a:pt x="2145" y="887"/>
                      </a:lnTo>
                      <a:lnTo>
                        <a:pt x="2145" y="889"/>
                      </a:lnTo>
                      <a:lnTo>
                        <a:pt x="2146" y="889"/>
                      </a:lnTo>
                      <a:lnTo>
                        <a:pt x="2146" y="887"/>
                      </a:lnTo>
                      <a:lnTo>
                        <a:pt x="2146" y="887"/>
                      </a:lnTo>
                      <a:close/>
                      <a:moveTo>
                        <a:pt x="2028" y="1011"/>
                      </a:moveTo>
                      <a:lnTo>
                        <a:pt x="2026" y="1013"/>
                      </a:lnTo>
                      <a:lnTo>
                        <a:pt x="2028" y="1009"/>
                      </a:lnTo>
                      <a:lnTo>
                        <a:pt x="2029" y="1008"/>
                      </a:lnTo>
                      <a:lnTo>
                        <a:pt x="2029" y="1008"/>
                      </a:lnTo>
                      <a:lnTo>
                        <a:pt x="2028" y="1009"/>
                      </a:lnTo>
                      <a:lnTo>
                        <a:pt x="2028" y="1011"/>
                      </a:lnTo>
                      <a:close/>
                      <a:moveTo>
                        <a:pt x="2117" y="966"/>
                      </a:moveTo>
                      <a:lnTo>
                        <a:pt x="2117" y="964"/>
                      </a:lnTo>
                      <a:lnTo>
                        <a:pt x="2117" y="966"/>
                      </a:lnTo>
                      <a:lnTo>
                        <a:pt x="2115" y="966"/>
                      </a:lnTo>
                      <a:lnTo>
                        <a:pt x="2113" y="966"/>
                      </a:lnTo>
                      <a:lnTo>
                        <a:pt x="2112" y="968"/>
                      </a:lnTo>
                      <a:lnTo>
                        <a:pt x="2113" y="968"/>
                      </a:lnTo>
                      <a:lnTo>
                        <a:pt x="2115" y="968"/>
                      </a:lnTo>
                      <a:lnTo>
                        <a:pt x="2117" y="968"/>
                      </a:lnTo>
                      <a:lnTo>
                        <a:pt x="2118" y="968"/>
                      </a:lnTo>
                      <a:lnTo>
                        <a:pt x="2117" y="966"/>
                      </a:lnTo>
                      <a:lnTo>
                        <a:pt x="2117" y="966"/>
                      </a:lnTo>
                      <a:close/>
                      <a:moveTo>
                        <a:pt x="2000" y="1109"/>
                      </a:moveTo>
                      <a:lnTo>
                        <a:pt x="2000" y="1107"/>
                      </a:lnTo>
                      <a:lnTo>
                        <a:pt x="2000" y="1106"/>
                      </a:lnTo>
                      <a:lnTo>
                        <a:pt x="2000" y="1111"/>
                      </a:lnTo>
                      <a:lnTo>
                        <a:pt x="2000" y="1114"/>
                      </a:lnTo>
                      <a:lnTo>
                        <a:pt x="1998" y="1118"/>
                      </a:lnTo>
                      <a:lnTo>
                        <a:pt x="1996" y="1120"/>
                      </a:lnTo>
                      <a:lnTo>
                        <a:pt x="1998" y="1120"/>
                      </a:lnTo>
                      <a:lnTo>
                        <a:pt x="2000" y="1118"/>
                      </a:lnTo>
                      <a:lnTo>
                        <a:pt x="2000" y="1114"/>
                      </a:lnTo>
                      <a:lnTo>
                        <a:pt x="2000" y="1111"/>
                      </a:lnTo>
                      <a:lnTo>
                        <a:pt x="2000" y="1111"/>
                      </a:lnTo>
                      <a:lnTo>
                        <a:pt x="2000" y="1109"/>
                      </a:lnTo>
                      <a:close/>
                      <a:moveTo>
                        <a:pt x="2005" y="1053"/>
                      </a:moveTo>
                      <a:lnTo>
                        <a:pt x="2007" y="1050"/>
                      </a:lnTo>
                      <a:lnTo>
                        <a:pt x="2007" y="1046"/>
                      </a:lnTo>
                      <a:lnTo>
                        <a:pt x="2008" y="1044"/>
                      </a:lnTo>
                      <a:lnTo>
                        <a:pt x="2001" y="1055"/>
                      </a:lnTo>
                      <a:lnTo>
                        <a:pt x="2005" y="1053"/>
                      </a:lnTo>
                      <a:close/>
                      <a:moveTo>
                        <a:pt x="1975" y="1132"/>
                      </a:moveTo>
                      <a:lnTo>
                        <a:pt x="1975" y="1132"/>
                      </a:lnTo>
                      <a:lnTo>
                        <a:pt x="1975" y="1134"/>
                      </a:lnTo>
                      <a:lnTo>
                        <a:pt x="1975" y="1134"/>
                      </a:lnTo>
                      <a:lnTo>
                        <a:pt x="1977" y="1134"/>
                      </a:lnTo>
                      <a:lnTo>
                        <a:pt x="1975" y="1134"/>
                      </a:lnTo>
                      <a:lnTo>
                        <a:pt x="1975" y="1132"/>
                      </a:lnTo>
                      <a:close/>
                      <a:moveTo>
                        <a:pt x="1895" y="1357"/>
                      </a:moveTo>
                      <a:lnTo>
                        <a:pt x="1891" y="1362"/>
                      </a:lnTo>
                      <a:lnTo>
                        <a:pt x="1895" y="1359"/>
                      </a:lnTo>
                      <a:lnTo>
                        <a:pt x="1897" y="1355"/>
                      </a:lnTo>
                      <a:lnTo>
                        <a:pt x="1898" y="1354"/>
                      </a:lnTo>
                      <a:lnTo>
                        <a:pt x="1897" y="1355"/>
                      </a:lnTo>
                      <a:lnTo>
                        <a:pt x="1895" y="1357"/>
                      </a:lnTo>
                      <a:close/>
                      <a:moveTo>
                        <a:pt x="1981" y="1130"/>
                      </a:moveTo>
                      <a:lnTo>
                        <a:pt x="1979" y="1132"/>
                      </a:lnTo>
                      <a:lnTo>
                        <a:pt x="1977" y="1134"/>
                      </a:lnTo>
                      <a:lnTo>
                        <a:pt x="1979" y="1132"/>
                      </a:lnTo>
                      <a:lnTo>
                        <a:pt x="1984" y="1127"/>
                      </a:lnTo>
                      <a:lnTo>
                        <a:pt x="1982" y="1128"/>
                      </a:lnTo>
                      <a:lnTo>
                        <a:pt x="1981" y="1130"/>
                      </a:lnTo>
                      <a:close/>
                      <a:moveTo>
                        <a:pt x="1991" y="1121"/>
                      </a:moveTo>
                      <a:lnTo>
                        <a:pt x="1991" y="1121"/>
                      </a:lnTo>
                      <a:lnTo>
                        <a:pt x="1989" y="1121"/>
                      </a:lnTo>
                      <a:lnTo>
                        <a:pt x="1991" y="1121"/>
                      </a:lnTo>
                      <a:lnTo>
                        <a:pt x="1993" y="1121"/>
                      </a:lnTo>
                      <a:lnTo>
                        <a:pt x="1995" y="1121"/>
                      </a:lnTo>
                      <a:lnTo>
                        <a:pt x="1993" y="1121"/>
                      </a:lnTo>
                      <a:lnTo>
                        <a:pt x="1991" y="1121"/>
                      </a:lnTo>
                      <a:close/>
                      <a:moveTo>
                        <a:pt x="1890" y="1364"/>
                      </a:moveTo>
                      <a:lnTo>
                        <a:pt x="1890" y="1364"/>
                      </a:lnTo>
                      <a:lnTo>
                        <a:pt x="1890" y="1364"/>
                      </a:lnTo>
                      <a:lnTo>
                        <a:pt x="1890" y="1364"/>
                      </a:lnTo>
                      <a:lnTo>
                        <a:pt x="1890" y="1364"/>
                      </a:lnTo>
                      <a:lnTo>
                        <a:pt x="1890" y="1364"/>
                      </a:lnTo>
                      <a:lnTo>
                        <a:pt x="1890" y="1364"/>
                      </a:lnTo>
                      <a:lnTo>
                        <a:pt x="1890" y="1364"/>
                      </a:lnTo>
                      <a:lnTo>
                        <a:pt x="1890" y="1364"/>
                      </a:lnTo>
                      <a:close/>
                      <a:moveTo>
                        <a:pt x="1532" y="1315"/>
                      </a:moveTo>
                      <a:lnTo>
                        <a:pt x="1532" y="1310"/>
                      </a:lnTo>
                      <a:lnTo>
                        <a:pt x="1532" y="1315"/>
                      </a:lnTo>
                      <a:lnTo>
                        <a:pt x="1532" y="1322"/>
                      </a:lnTo>
                      <a:lnTo>
                        <a:pt x="1535" y="1336"/>
                      </a:lnTo>
                      <a:lnTo>
                        <a:pt x="1535" y="1333"/>
                      </a:lnTo>
                      <a:lnTo>
                        <a:pt x="1535" y="1329"/>
                      </a:lnTo>
                      <a:lnTo>
                        <a:pt x="1533" y="1322"/>
                      </a:lnTo>
                      <a:lnTo>
                        <a:pt x="1532" y="131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36" name="Freeform 319">
                  <a:extLst>
                    <a:ext uri="{FF2B5EF4-FFF2-40B4-BE49-F238E27FC236}">
                      <a16:creationId xmlns:a16="http://schemas.microsoft.com/office/drawing/2014/main" id="{53FF5B40-386B-FF44-8744-69ECCF4A124B}"/>
                    </a:ext>
                  </a:extLst>
                </p:cNvPr>
                <p:cNvSpPr>
                  <a:spLocks noEditPoints="1"/>
                </p:cNvSpPr>
                <p:nvPr/>
              </p:nvSpPr>
              <p:spPr bwMode="auto">
                <a:xfrm>
                  <a:off x="-1908" y="-3110"/>
                  <a:ext cx="14" cy="4"/>
                </a:xfrm>
                <a:custGeom>
                  <a:avLst/>
                  <a:gdLst>
                    <a:gd name="T0" fmla="*/ 0 w 14"/>
                    <a:gd name="T1" fmla="*/ 2 h 4"/>
                    <a:gd name="T2" fmla="*/ 0 w 14"/>
                    <a:gd name="T3" fmla="*/ 2 h 4"/>
                    <a:gd name="T4" fmla="*/ 3 w 14"/>
                    <a:gd name="T5" fmla="*/ 4 h 4"/>
                    <a:gd name="T6" fmla="*/ 2 w 14"/>
                    <a:gd name="T7" fmla="*/ 4 h 4"/>
                    <a:gd name="T8" fmla="*/ 2 w 14"/>
                    <a:gd name="T9" fmla="*/ 4 h 4"/>
                    <a:gd name="T10" fmla="*/ 0 w 14"/>
                    <a:gd name="T11" fmla="*/ 4 h 4"/>
                    <a:gd name="T12" fmla="*/ 0 w 14"/>
                    <a:gd name="T13" fmla="*/ 2 h 4"/>
                    <a:gd name="T14" fmla="*/ 7 w 14"/>
                    <a:gd name="T15" fmla="*/ 0 h 4"/>
                    <a:gd name="T16" fmla="*/ 9 w 14"/>
                    <a:gd name="T17" fmla="*/ 2 h 4"/>
                    <a:gd name="T18" fmla="*/ 9 w 14"/>
                    <a:gd name="T19" fmla="*/ 0 h 4"/>
                    <a:gd name="T20" fmla="*/ 7 w 14"/>
                    <a:gd name="T21" fmla="*/ 0 h 4"/>
                    <a:gd name="T22" fmla="*/ 7 w 14"/>
                    <a:gd name="T23" fmla="*/ 0 h 4"/>
                    <a:gd name="T24" fmla="*/ 14 w 14"/>
                    <a:gd name="T25" fmla="*/ 4 h 4"/>
                    <a:gd name="T26" fmla="*/ 14 w 14"/>
                    <a:gd name="T27" fmla="*/ 4 h 4"/>
                    <a:gd name="T28" fmla="*/ 14 w 14"/>
                    <a:gd name="T29" fmla="*/ 2 h 4"/>
                    <a:gd name="T30" fmla="*/ 12 w 14"/>
                    <a:gd name="T31" fmla="*/ 2 h 4"/>
                    <a:gd name="T32" fmla="*/ 10 w 14"/>
                    <a:gd name="T33" fmla="*/ 2 h 4"/>
                    <a:gd name="T34" fmla="*/ 10 w 14"/>
                    <a:gd name="T35" fmla="*/ 2 h 4"/>
                    <a:gd name="T36" fmla="*/ 10 w 14"/>
                    <a:gd name="T37" fmla="*/ 2 h 4"/>
                    <a:gd name="T38" fmla="*/ 12 w 14"/>
                    <a:gd name="T39" fmla="*/ 4 h 4"/>
                    <a:gd name="T40" fmla="*/ 14 w 14"/>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4">
                      <a:moveTo>
                        <a:pt x="0" y="2"/>
                      </a:moveTo>
                      <a:lnTo>
                        <a:pt x="0" y="2"/>
                      </a:lnTo>
                      <a:lnTo>
                        <a:pt x="3" y="4"/>
                      </a:lnTo>
                      <a:lnTo>
                        <a:pt x="2" y="4"/>
                      </a:lnTo>
                      <a:lnTo>
                        <a:pt x="2" y="4"/>
                      </a:lnTo>
                      <a:lnTo>
                        <a:pt x="0" y="4"/>
                      </a:lnTo>
                      <a:lnTo>
                        <a:pt x="0" y="2"/>
                      </a:lnTo>
                      <a:close/>
                      <a:moveTo>
                        <a:pt x="7" y="0"/>
                      </a:moveTo>
                      <a:lnTo>
                        <a:pt x="9" y="2"/>
                      </a:lnTo>
                      <a:lnTo>
                        <a:pt x="9" y="0"/>
                      </a:lnTo>
                      <a:lnTo>
                        <a:pt x="7" y="0"/>
                      </a:lnTo>
                      <a:lnTo>
                        <a:pt x="7" y="0"/>
                      </a:lnTo>
                      <a:close/>
                      <a:moveTo>
                        <a:pt x="14" y="4"/>
                      </a:moveTo>
                      <a:lnTo>
                        <a:pt x="14" y="4"/>
                      </a:lnTo>
                      <a:lnTo>
                        <a:pt x="14" y="2"/>
                      </a:lnTo>
                      <a:lnTo>
                        <a:pt x="12" y="2"/>
                      </a:lnTo>
                      <a:lnTo>
                        <a:pt x="10" y="2"/>
                      </a:lnTo>
                      <a:lnTo>
                        <a:pt x="10" y="2"/>
                      </a:lnTo>
                      <a:lnTo>
                        <a:pt x="10" y="2"/>
                      </a:lnTo>
                      <a:lnTo>
                        <a:pt x="12" y="4"/>
                      </a:lnTo>
                      <a:lnTo>
                        <a:pt x="14" y="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37" name="Freeform 320">
                  <a:extLst>
                    <a:ext uri="{FF2B5EF4-FFF2-40B4-BE49-F238E27FC236}">
                      <a16:creationId xmlns:a16="http://schemas.microsoft.com/office/drawing/2014/main" id="{A4E7A511-6A84-1574-D9A9-05071D072E36}"/>
                    </a:ext>
                  </a:extLst>
                </p:cNvPr>
                <p:cNvSpPr>
                  <a:spLocks noEditPoints="1"/>
                </p:cNvSpPr>
                <p:nvPr/>
              </p:nvSpPr>
              <p:spPr bwMode="auto">
                <a:xfrm>
                  <a:off x="-2893" y="-3363"/>
                  <a:ext cx="678" cy="419"/>
                </a:xfrm>
                <a:custGeom>
                  <a:avLst/>
                  <a:gdLst>
                    <a:gd name="T0" fmla="*/ 157 w 678"/>
                    <a:gd name="T1" fmla="*/ 325 h 419"/>
                    <a:gd name="T2" fmla="*/ 671 w 678"/>
                    <a:gd name="T3" fmla="*/ 288 h 419"/>
                    <a:gd name="T4" fmla="*/ 559 w 678"/>
                    <a:gd name="T5" fmla="*/ 403 h 419"/>
                    <a:gd name="T6" fmla="*/ 594 w 678"/>
                    <a:gd name="T7" fmla="*/ 375 h 419"/>
                    <a:gd name="T8" fmla="*/ 588 w 678"/>
                    <a:gd name="T9" fmla="*/ 346 h 419"/>
                    <a:gd name="T10" fmla="*/ 644 w 678"/>
                    <a:gd name="T11" fmla="*/ 328 h 419"/>
                    <a:gd name="T12" fmla="*/ 658 w 678"/>
                    <a:gd name="T13" fmla="*/ 312 h 419"/>
                    <a:gd name="T14" fmla="*/ 662 w 678"/>
                    <a:gd name="T15" fmla="*/ 295 h 419"/>
                    <a:gd name="T16" fmla="*/ 665 w 678"/>
                    <a:gd name="T17" fmla="*/ 264 h 419"/>
                    <a:gd name="T18" fmla="*/ 597 w 678"/>
                    <a:gd name="T19" fmla="*/ 295 h 419"/>
                    <a:gd name="T20" fmla="*/ 580 w 678"/>
                    <a:gd name="T21" fmla="*/ 319 h 419"/>
                    <a:gd name="T22" fmla="*/ 564 w 678"/>
                    <a:gd name="T23" fmla="*/ 326 h 419"/>
                    <a:gd name="T24" fmla="*/ 513 w 678"/>
                    <a:gd name="T25" fmla="*/ 339 h 419"/>
                    <a:gd name="T26" fmla="*/ 485 w 678"/>
                    <a:gd name="T27" fmla="*/ 326 h 419"/>
                    <a:gd name="T28" fmla="*/ 457 w 678"/>
                    <a:gd name="T29" fmla="*/ 286 h 419"/>
                    <a:gd name="T30" fmla="*/ 444 w 678"/>
                    <a:gd name="T31" fmla="*/ 253 h 419"/>
                    <a:gd name="T32" fmla="*/ 452 w 678"/>
                    <a:gd name="T33" fmla="*/ 159 h 419"/>
                    <a:gd name="T34" fmla="*/ 409 w 678"/>
                    <a:gd name="T35" fmla="*/ 138 h 419"/>
                    <a:gd name="T36" fmla="*/ 391 w 678"/>
                    <a:gd name="T37" fmla="*/ 106 h 419"/>
                    <a:gd name="T38" fmla="*/ 354 w 678"/>
                    <a:gd name="T39" fmla="*/ 68 h 419"/>
                    <a:gd name="T40" fmla="*/ 297 w 678"/>
                    <a:gd name="T41" fmla="*/ 70 h 419"/>
                    <a:gd name="T42" fmla="*/ 216 w 678"/>
                    <a:gd name="T43" fmla="*/ 31 h 419"/>
                    <a:gd name="T44" fmla="*/ 37 w 678"/>
                    <a:gd name="T45" fmla="*/ 19 h 419"/>
                    <a:gd name="T46" fmla="*/ 49 w 678"/>
                    <a:gd name="T47" fmla="*/ 43 h 419"/>
                    <a:gd name="T48" fmla="*/ 58 w 678"/>
                    <a:gd name="T49" fmla="*/ 68 h 419"/>
                    <a:gd name="T50" fmla="*/ 89 w 678"/>
                    <a:gd name="T51" fmla="*/ 110 h 419"/>
                    <a:gd name="T52" fmla="*/ 80 w 678"/>
                    <a:gd name="T53" fmla="*/ 113 h 419"/>
                    <a:gd name="T54" fmla="*/ 94 w 678"/>
                    <a:gd name="T55" fmla="*/ 134 h 419"/>
                    <a:gd name="T56" fmla="*/ 134 w 678"/>
                    <a:gd name="T57" fmla="*/ 180 h 419"/>
                    <a:gd name="T58" fmla="*/ 190 w 678"/>
                    <a:gd name="T59" fmla="*/ 223 h 419"/>
                    <a:gd name="T60" fmla="*/ 175 w 678"/>
                    <a:gd name="T61" fmla="*/ 197 h 419"/>
                    <a:gd name="T62" fmla="*/ 164 w 678"/>
                    <a:gd name="T63" fmla="*/ 195 h 419"/>
                    <a:gd name="T64" fmla="*/ 155 w 678"/>
                    <a:gd name="T65" fmla="*/ 167 h 419"/>
                    <a:gd name="T66" fmla="*/ 141 w 678"/>
                    <a:gd name="T67" fmla="*/ 141 h 419"/>
                    <a:gd name="T68" fmla="*/ 127 w 678"/>
                    <a:gd name="T69" fmla="*/ 120 h 419"/>
                    <a:gd name="T70" fmla="*/ 113 w 678"/>
                    <a:gd name="T71" fmla="*/ 98 h 419"/>
                    <a:gd name="T72" fmla="*/ 80 w 678"/>
                    <a:gd name="T73" fmla="*/ 59 h 419"/>
                    <a:gd name="T74" fmla="*/ 94 w 678"/>
                    <a:gd name="T75" fmla="*/ 26 h 419"/>
                    <a:gd name="T76" fmla="*/ 112 w 678"/>
                    <a:gd name="T77" fmla="*/ 36 h 419"/>
                    <a:gd name="T78" fmla="*/ 134 w 678"/>
                    <a:gd name="T79" fmla="*/ 87 h 419"/>
                    <a:gd name="T80" fmla="*/ 166 w 678"/>
                    <a:gd name="T81" fmla="*/ 120 h 419"/>
                    <a:gd name="T82" fmla="*/ 194 w 678"/>
                    <a:gd name="T83" fmla="*/ 143 h 419"/>
                    <a:gd name="T84" fmla="*/ 203 w 678"/>
                    <a:gd name="T85" fmla="*/ 166 h 419"/>
                    <a:gd name="T86" fmla="*/ 220 w 678"/>
                    <a:gd name="T87" fmla="*/ 178 h 419"/>
                    <a:gd name="T88" fmla="*/ 232 w 678"/>
                    <a:gd name="T89" fmla="*/ 195 h 419"/>
                    <a:gd name="T90" fmla="*/ 281 w 678"/>
                    <a:gd name="T91" fmla="*/ 264 h 419"/>
                    <a:gd name="T92" fmla="*/ 276 w 678"/>
                    <a:gd name="T93" fmla="*/ 285 h 419"/>
                    <a:gd name="T94" fmla="*/ 320 w 678"/>
                    <a:gd name="T95" fmla="*/ 333 h 419"/>
                    <a:gd name="T96" fmla="*/ 416 w 678"/>
                    <a:gd name="T97" fmla="*/ 375 h 419"/>
                    <a:gd name="T98" fmla="*/ 496 w 678"/>
                    <a:gd name="T99" fmla="*/ 384 h 419"/>
                    <a:gd name="T100" fmla="*/ 510 w 678"/>
                    <a:gd name="T101" fmla="*/ 382 h 419"/>
                    <a:gd name="T102" fmla="*/ 131 w 678"/>
                    <a:gd name="T103" fmla="*/ 187 h 419"/>
                    <a:gd name="T104" fmla="*/ 182 w 678"/>
                    <a:gd name="T105" fmla="*/ 201 h 419"/>
                    <a:gd name="T106" fmla="*/ 127 w 678"/>
                    <a:gd name="T107" fmla="*/ 82 h 419"/>
                    <a:gd name="T108" fmla="*/ 154 w 678"/>
                    <a:gd name="T109" fmla="*/ 157 h 419"/>
                    <a:gd name="T110" fmla="*/ 106 w 678"/>
                    <a:gd name="T111" fmla="*/ 78 h 419"/>
                    <a:gd name="T112" fmla="*/ 141 w 678"/>
                    <a:gd name="T113" fmla="*/ 194 h 419"/>
                    <a:gd name="T114" fmla="*/ 166 w 678"/>
                    <a:gd name="T115" fmla="*/ 181 h 419"/>
                    <a:gd name="T116" fmla="*/ 2 w 678"/>
                    <a:gd name="T117" fmla="*/ 84 h 419"/>
                    <a:gd name="T118" fmla="*/ 678 w 678"/>
                    <a:gd name="T119" fmla="*/ 26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78" h="419">
                      <a:moveTo>
                        <a:pt x="77" y="21"/>
                      </a:moveTo>
                      <a:lnTo>
                        <a:pt x="79" y="21"/>
                      </a:lnTo>
                      <a:lnTo>
                        <a:pt x="79" y="22"/>
                      </a:lnTo>
                      <a:lnTo>
                        <a:pt x="79" y="22"/>
                      </a:lnTo>
                      <a:lnTo>
                        <a:pt x="77" y="22"/>
                      </a:lnTo>
                      <a:lnTo>
                        <a:pt x="77" y="22"/>
                      </a:lnTo>
                      <a:lnTo>
                        <a:pt x="77" y="21"/>
                      </a:lnTo>
                      <a:lnTo>
                        <a:pt x="77" y="21"/>
                      </a:lnTo>
                      <a:close/>
                      <a:moveTo>
                        <a:pt x="159" y="323"/>
                      </a:moveTo>
                      <a:lnTo>
                        <a:pt x="157" y="323"/>
                      </a:lnTo>
                      <a:lnTo>
                        <a:pt x="157" y="325"/>
                      </a:lnTo>
                      <a:lnTo>
                        <a:pt x="157" y="325"/>
                      </a:lnTo>
                      <a:lnTo>
                        <a:pt x="157" y="325"/>
                      </a:lnTo>
                      <a:lnTo>
                        <a:pt x="159" y="326"/>
                      </a:lnTo>
                      <a:lnTo>
                        <a:pt x="159" y="325"/>
                      </a:lnTo>
                      <a:lnTo>
                        <a:pt x="159" y="323"/>
                      </a:lnTo>
                      <a:lnTo>
                        <a:pt x="159" y="323"/>
                      </a:lnTo>
                      <a:close/>
                      <a:moveTo>
                        <a:pt x="569" y="326"/>
                      </a:moveTo>
                      <a:lnTo>
                        <a:pt x="567" y="326"/>
                      </a:lnTo>
                      <a:lnTo>
                        <a:pt x="571" y="325"/>
                      </a:lnTo>
                      <a:lnTo>
                        <a:pt x="573" y="325"/>
                      </a:lnTo>
                      <a:lnTo>
                        <a:pt x="574" y="325"/>
                      </a:lnTo>
                      <a:lnTo>
                        <a:pt x="571" y="326"/>
                      </a:lnTo>
                      <a:lnTo>
                        <a:pt x="569" y="326"/>
                      </a:lnTo>
                      <a:close/>
                      <a:moveTo>
                        <a:pt x="671" y="286"/>
                      </a:moveTo>
                      <a:lnTo>
                        <a:pt x="671" y="288"/>
                      </a:lnTo>
                      <a:lnTo>
                        <a:pt x="671" y="290"/>
                      </a:lnTo>
                      <a:lnTo>
                        <a:pt x="672" y="290"/>
                      </a:lnTo>
                      <a:lnTo>
                        <a:pt x="674" y="288"/>
                      </a:lnTo>
                      <a:lnTo>
                        <a:pt x="676" y="286"/>
                      </a:lnTo>
                      <a:lnTo>
                        <a:pt x="676" y="283"/>
                      </a:lnTo>
                      <a:lnTo>
                        <a:pt x="674" y="285"/>
                      </a:lnTo>
                      <a:lnTo>
                        <a:pt x="671" y="286"/>
                      </a:lnTo>
                      <a:close/>
                      <a:moveTo>
                        <a:pt x="561" y="414"/>
                      </a:moveTo>
                      <a:lnTo>
                        <a:pt x="561" y="410"/>
                      </a:lnTo>
                      <a:lnTo>
                        <a:pt x="562" y="409"/>
                      </a:lnTo>
                      <a:lnTo>
                        <a:pt x="561" y="407"/>
                      </a:lnTo>
                      <a:lnTo>
                        <a:pt x="561" y="405"/>
                      </a:lnTo>
                      <a:lnTo>
                        <a:pt x="559" y="403"/>
                      </a:lnTo>
                      <a:lnTo>
                        <a:pt x="561" y="402"/>
                      </a:lnTo>
                      <a:lnTo>
                        <a:pt x="561" y="400"/>
                      </a:lnTo>
                      <a:lnTo>
                        <a:pt x="564" y="396"/>
                      </a:lnTo>
                      <a:lnTo>
                        <a:pt x="567" y="389"/>
                      </a:lnTo>
                      <a:lnTo>
                        <a:pt x="569" y="388"/>
                      </a:lnTo>
                      <a:lnTo>
                        <a:pt x="571" y="386"/>
                      </a:lnTo>
                      <a:lnTo>
                        <a:pt x="573" y="386"/>
                      </a:lnTo>
                      <a:lnTo>
                        <a:pt x="597" y="386"/>
                      </a:lnTo>
                      <a:lnTo>
                        <a:pt x="597" y="382"/>
                      </a:lnTo>
                      <a:lnTo>
                        <a:pt x="597" y="379"/>
                      </a:lnTo>
                      <a:lnTo>
                        <a:pt x="597" y="377"/>
                      </a:lnTo>
                      <a:lnTo>
                        <a:pt x="595" y="377"/>
                      </a:lnTo>
                      <a:lnTo>
                        <a:pt x="594" y="375"/>
                      </a:lnTo>
                      <a:lnTo>
                        <a:pt x="594" y="375"/>
                      </a:lnTo>
                      <a:lnTo>
                        <a:pt x="592" y="374"/>
                      </a:lnTo>
                      <a:lnTo>
                        <a:pt x="592" y="372"/>
                      </a:lnTo>
                      <a:lnTo>
                        <a:pt x="592" y="372"/>
                      </a:lnTo>
                      <a:lnTo>
                        <a:pt x="590" y="370"/>
                      </a:lnTo>
                      <a:lnTo>
                        <a:pt x="585" y="367"/>
                      </a:lnTo>
                      <a:lnTo>
                        <a:pt x="583" y="365"/>
                      </a:lnTo>
                      <a:lnTo>
                        <a:pt x="578" y="360"/>
                      </a:lnTo>
                      <a:lnTo>
                        <a:pt x="576" y="358"/>
                      </a:lnTo>
                      <a:lnTo>
                        <a:pt x="585" y="360"/>
                      </a:lnTo>
                      <a:lnTo>
                        <a:pt x="585" y="349"/>
                      </a:lnTo>
                      <a:lnTo>
                        <a:pt x="585" y="346"/>
                      </a:lnTo>
                      <a:lnTo>
                        <a:pt x="588" y="346"/>
                      </a:lnTo>
                      <a:lnTo>
                        <a:pt x="625" y="346"/>
                      </a:lnTo>
                      <a:lnTo>
                        <a:pt x="625" y="344"/>
                      </a:lnTo>
                      <a:lnTo>
                        <a:pt x="625" y="342"/>
                      </a:lnTo>
                      <a:lnTo>
                        <a:pt x="627" y="344"/>
                      </a:lnTo>
                      <a:lnTo>
                        <a:pt x="629" y="344"/>
                      </a:lnTo>
                      <a:lnTo>
                        <a:pt x="630" y="342"/>
                      </a:lnTo>
                      <a:lnTo>
                        <a:pt x="632" y="342"/>
                      </a:lnTo>
                      <a:lnTo>
                        <a:pt x="632" y="342"/>
                      </a:lnTo>
                      <a:lnTo>
                        <a:pt x="636" y="339"/>
                      </a:lnTo>
                      <a:lnTo>
                        <a:pt x="637" y="335"/>
                      </a:lnTo>
                      <a:lnTo>
                        <a:pt x="639" y="332"/>
                      </a:lnTo>
                      <a:lnTo>
                        <a:pt x="643" y="332"/>
                      </a:lnTo>
                      <a:lnTo>
                        <a:pt x="644" y="328"/>
                      </a:lnTo>
                      <a:lnTo>
                        <a:pt x="646" y="326"/>
                      </a:lnTo>
                      <a:lnTo>
                        <a:pt x="646" y="325"/>
                      </a:lnTo>
                      <a:lnTo>
                        <a:pt x="650" y="323"/>
                      </a:lnTo>
                      <a:lnTo>
                        <a:pt x="650" y="330"/>
                      </a:lnTo>
                      <a:lnTo>
                        <a:pt x="650" y="335"/>
                      </a:lnTo>
                      <a:lnTo>
                        <a:pt x="653" y="335"/>
                      </a:lnTo>
                      <a:lnTo>
                        <a:pt x="655" y="333"/>
                      </a:lnTo>
                      <a:lnTo>
                        <a:pt x="658" y="321"/>
                      </a:lnTo>
                      <a:lnTo>
                        <a:pt x="660" y="314"/>
                      </a:lnTo>
                      <a:lnTo>
                        <a:pt x="660" y="312"/>
                      </a:lnTo>
                      <a:lnTo>
                        <a:pt x="660" y="312"/>
                      </a:lnTo>
                      <a:lnTo>
                        <a:pt x="658" y="312"/>
                      </a:lnTo>
                      <a:lnTo>
                        <a:pt x="658" y="312"/>
                      </a:lnTo>
                      <a:lnTo>
                        <a:pt x="657" y="314"/>
                      </a:lnTo>
                      <a:lnTo>
                        <a:pt x="658" y="311"/>
                      </a:lnTo>
                      <a:lnTo>
                        <a:pt x="662" y="309"/>
                      </a:lnTo>
                      <a:lnTo>
                        <a:pt x="662" y="306"/>
                      </a:lnTo>
                      <a:lnTo>
                        <a:pt x="658" y="307"/>
                      </a:lnTo>
                      <a:lnTo>
                        <a:pt x="657" y="307"/>
                      </a:lnTo>
                      <a:lnTo>
                        <a:pt x="657" y="306"/>
                      </a:lnTo>
                      <a:lnTo>
                        <a:pt x="657" y="304"/>
                      </a:lnTo>
                      <a:lnTo>
                        <a:pt x="658" y="302"/>
                      </a:lnTo>
                      <a:lnTo>
                        <a:pt x="660" y="302"/>
                      </a:lnTo>
                      <a:lnTo>
                        <a:pt x="660" y="300"/>
                      </a:lnTo>
                      <a:lnTo>
                        <a:pt x="662" y="299"/>
                      </a:lnTo>
                      <a:lnTo>
                        <a:pt x="662" y="295"/>
                      </a:lnTo>
                      <a:lnTo>
                        <a:pt x="662" y="293"/>
                      </a:lnTo>
                      <a:lnTo>
                        <a:pt x="662" y="292"/>
                      </a:lnTo>
                      <a:lnTo>
                        <a:pt x="664" y="290"/>
                      </a:lnTo>
                      <a:lnTo>
                        <a:pt x="672" y="278"/>
                      </a:lnTo>
                      <a:lnTo>
                        <a:pt x="674" y="274"/>
                      </a:lnTo>
                      <a:lnTo>
                        <a:pt x="674" y="269"/>
                      </a:lnTo>
                      <a:lnTo>
                        <a:pt x="674" y="264"/>
                      </a:lnTo>
                      <a:lnTo>
                        <a:pt x="671" y="262"/>
                      </a:lnTo>
                      <a:lnTo>
                        <a:pt x="667" y="260"/>
                      </a:lnTo>
                      <a:lnTo>
                        <a:pt x="662" y="262"/>
                      </a:lnTo>
                      <a:lnTo>
                        <a:pt x="667" y="262"/>
                      </a:lnTo>
                      <a:lnTo>
                        <a:pt x="667" y="264"/>
                      </a:lnTo>
                      <a:lnTo>
                        <a:pt x="665" y="264"/>
                      </a:lnTo>
                      <a:lnTo>
                        <a:pt x="662" y="264"/>
                      </a:lnTo>
                      <a:lnTo>
                        <a:pt x="653" y="260"/>
                      </a:lnTo>
                      <a:lnTo>
                        <a:pt x="648" y="260"/>
                      </a:lnTo>
                      <a:lnTo>
                        <a:pt x="643" y="260"/>
                      </a:lnTo>
                      <a:lnTo>
                        <a:pt x="625" y="265"/>
                      </a:lnTo>
                      <a:lnTo>
                        <a:pt x="616" y="267"/>
                      </a:lnTo>
                      <a:lnTo>
                        <a:pt x="609" y="269"/>
                      </a:lnTo>
                      <a:lnTo>
                        <a:pt x="602" y="272"/>
                      </a:lnTo>
                      <a:lnTo>
                        <a:pt x="597" y="278"/>
                      </a:lnTo>
                      <a:lnTo>
                        <a:pt x="597" y="281"/>
                      </a:lnTo>
                      <a:lnTo>
                        <a:pt x="597" y="285"/>
                      </a:lnTo>
                      <a:lnTo>
                        <a:pt x="595" y="292"/>
                      </a:lnTo>
                      <a:lnTo>
                        <a:pt x="597" y="295"/>
                      </a:lnTo>
                      <a:lnTo>
                        <a:pt x="597" y="297"/>
                      </a:lnTo>
                      <a:lnTo>
                        <a:pt x="595" y="299"/>
                      </a:lnTo>
                      <a:lnTo>
                        <a:pt x="595" y="300"/>
                      </a:lnTo>
                      <a:lnTo>
                        <a:pt x="592" y="302"/>
                      </a:lnTo>
                      <a:lnTo>
                        <a:pt x="592" y="304"/>
                      </a:lnTo>
                      <a:lnTo>
                        <a:pt x="592" y="306"/>
                      </a:lnTo>
                      <a:lnTo>
                        <a:pt x="592" y="309"/>
                      </a:lnTo>
                      <a:lnTo>
                        <a:pt x="590" y="311"/>
                      </a:lnTo>
                      <a:lnTo>
                        <a:pt x="590" y="312"/>
                      </a:lnTo>
                      <a:lnTo>
                        <a:pt x="588" y="314"/>
                      </a:lnTo>
                      <a:lnTo>
                        <a:pt x="585" y="316"/>
                      </a:lnTo>
                      <a:lnTo>
                        <a:pt x="583" y="318"/>
                      </a:lnTo>
                      <a:lnTo>
                        <a:pt x="580" y="319"/>
                      </a:lnTo>
                      <a:lnTo>
                        <a:pt x="576" y="321"/>
                      </a:lnTo>
                      <a:lnTo>
                        <a:pt x="574" y="323"/>
                      </a:lnTo>
                      <a:lnTo>
                        <a:pt x="578" y="321"/>
                      </a:lnTo>
                      <a:lnTo>
                        <a:pt x="578" y="325"/>
                      </a:lnTo>
                      <a:lnTo>
                        <a:pt x="578" y="326"/>
                      </a:lnTo>
                      <a:lnTo>
                        <a:pt x="578" y="326"/>
                      </a:lnTo>
                      <a:lnTo>
                        <a:pt x="576" y="330"/>
                      </a:lnTo>
                      <a:lnTo>
                        <a:pt x="573" y="332"/>
                      </a:lnTo>
                      <a:lnTo>
                        <a:pt x="571" y="332"/>
                      </a:lnTo>
                      <a:lnTo>
                        <a:pt x="567" y="332"/>
                      </a:lnTo>
                      <a:lnTo>
                        <a:pt x="566" y="330"/>
                      </a:lnTo>
                      <a:lnTo>
                        <a:pt x="566" y="328"/>
                      </a:lnTo>
                      <a:lnTo>
                        <a:pt x="564" y="326"/>
                      </a:lnTo>
                      <a:lnTo>
                        <a:pt x="562" y="326"/>
                      </a:lnTo>
                      <a:lnTo>
                        <a:pt x="559" y="326"/>
                      </a:lnTo>
                      <a:lnTo>
                        <a:pt x="554" y="326"/>
                      </a:lnTo>
                      <a:lnTo>
                        <a:pt x="552" y="328"/>
                      </a:lnTo>
                      <a:lnTo>
                        <a:pt x="548" y="328"/>
                      </a:lnTo>
                      <a:lnTo>
                        <a:pt x="545" y="332"/>
                      </a:lnTo>
                      <a:lnTo>
                        <a:pt x="541" y="332"/>
                      </a:lnTo>
                      <a:lnTo>
                        <a:pt x="540" y="332"/>
                      </a:lnTo>
                      <a:lnTo>
                        <a:pt x="533" y="332"/>
                      </a:lnTo>
                      <a:lnTo>
                        <a:pt x="529" y="333"/>
                      </a:lnTo>
                      <a:lnTo>
                        <a:pt x="527" y="333"/>
                      </a:lnTo>
                      <a:lnTo>
                        <a:pt x="517" y="337"/>
                      </a:lnTo>
                      <a:lnTo>
                        <a:pt x="513" y="339"/>
                      </a:lnTo>
                      <a:lnTo>
                        <a:pt x="512" y="339"/>
                      </a:lnTo>
                      <a:lnTo>
                        <a:pt x="510" y="337"/>
                      </a:lnTo>
                      <a:lnTo>
                        <a:pt x="508" y="335"/>
                      </a:lnTo>
                      <a:lnTo>
                        <a:pt x="506" y="333"/>
                      </a:lnTo>
                      <a:lnTo>
                        <a:pt x="505" y="332"/>
                      </a:lnTo>
                      <a:lnTo>
                        <a:pt x="501" y="330"/>
                      </a:lnTo>
                      <a:lnTo>
                        <a:pt x="499" y="328"/>
                      </a:lnTo>
                      <a:lnTo>
                        <a:pt x="496" y="326"/>
                      </a:lnTo>
                      <a:lnTo>
                        <a:pt x="492" y="326"/>
                      </a:lnTo>
                      <a:lnTo>
                        <a:pt x="487" y="325"/>
                      </a:lnTo>
                      <a:lnTo>
                        <a:pt x="484" y="325"/>
                      </a:lnTo>
                      <a:lnTo>
                        <a:pt x="487" y="326"/>
                      </a:lnTo>
                      <a:lnTo>
                        <a:pt x="485" y="326"/>
                      </a:lnTo>
                      <a:lnTo>
                        <a:pt x="484" y="325"/>
                      </a:lnTo>
                      <a:lnTo>
                        <a:pt x="482" y="325"/>
                      </a:lnTo>
                      <a:lnTo>
                        <a:pt x="480" y="323"/>
                      </a:lnTo>
                      <a:lnTo>
                        <a:pt x="480" y="323"/>
                      </a:lnTo>
                      <a:lnTo>
                        <a:pt x="484" y="325"/>
                      </a:lnTo>
                      <a:lnTo>
                        <a:pt x="480" y="323"/>
                      </a:lnTo>
                      <a:lnTo>
                        <a:pt x="478" y="319"/>
                      </a:lnTo>
                      <a:lnTo>
                        <a:pt x="475" y="314"/>
                      </a:lnTo>
                      <a:lnTo>
                        <a:pt x="473" y="311"/>
                      </a:lnTo>
                      <a:lnTo>
                        <a:pt x="471" y="309"/>
                      </a:lnTo>
                      <a:lnTo>
                        <a:pt x="468" y="300"/>
                      </a:lnTo>
                      <a:lnTo>
                        <a:pt x="464" y="295"/>
                      </a:lnTo>
                      <a:lnTo>
                        <a:pt x="457" y="286"/>
                      </a:lnTo>
                      <a:lnTo>
                        <a:pt x="452" y="278"/>
                      </a:lnTo>
                      <a:lnTo>
                        <a:pt x="447" y="269"/>
                      </a:lnTo>
                      <a:lnTo>
                        <a:pt x="444" y="260"/>
                      </a:lnTo>
                      <a:lnTo>
                        <a:pt x="440" y="250"/>
                      </a:lnTo>
                      <a:lnTo>
                        <a:pt x="445" y="258"/>
                      </a:lnTo>
                      <a:lnTo>
                        <a:pt x="447" y="260"/>
                      </a:lnTo>
                      <a:lnTo>
                        <a:pt x="447" y="262"/>
                      </a:lnTo>
                      <a:lnTo>
                        <a:pt x="447" y="265"/>
                      </a:lnTo>
                      <a:lnTo>
                        <a:pt x="449" y="267"/>
                      </a:lnTo>
                      <a:lnTo>
                        <a:pt x="449" y="264"/>
                      </a:lnTo>
                      <a:lnTo>
                        <a:pt x="449" y="262"/>
                      </a:lnTo>
                      <a:lnTo>
                        <a:pt x="449" y="260"/>
                      </a:lnTo>
                      <a:lnTo>
                        <a:pt x="444" y="253"/>
                      </a:lnTo>
                      <a:lnTo>
                        <a:pt x="442" y="250"/>
                      </a:lnTo>
                      <a:lnTo>
                        <a:pt x="440" y="246"/>
                      </a:lnTo>
                      <a:lnTo>
                        <a:pt x="440" y="243"/>
                      </a:lnTo>
                      <a:lnTo>
                        <a:pt x="440" y="239"/>
                      </a:lnTo>
                      <a:lnTo>
                        <a:pt x="440" y="236"/>
                      </a:lnTo>
                      <a:lnTo>
                        <a:pt x="440" y="230"/>
                      </a:lnTo>
                      <a:lnTo>
                        <a:pt x="442" y="227"/>
                      </a:lnTo>
                      <a:lnTo>
                        <a:pt x="442" y="216"/>
                      </a:lnTo>
                      <a:lnTo>
                        <a:pt x="442" y="202"/>
                      </a:lnTo>
                      <a:lnTo>
                        <a:pt x="445" y="188"/>
                      </a:lnTo>
                      <a:lnTo>
                        <a:pt x="452" y="166"/>
                      </a:lnTo>
                      <a:lnTo>
                        <a:pt x="454" y="159"/>
                      </a:lnTo>
                      <a:lnTo>
                        <a:pt x="452" y="159"/>
                      </a:lnTo>
                      <a:lnTo>
                        <a:pt x="450" y="159"/>
                      </a:lnTo>
                      <a:lnTo>
                        <a:pt x="450" y="160"/>
                      </a:lnTo>
                      <a:lnTo>
                        <a:pt x="449" y="160"/>
                      </a:lnTo>
                      <a:lnTo>
                        <a:pt x="447" y="160"/>
                      </a:lnTo>
                      <a:lnTo>
                        <a:pt x="444" y="157"/>
                      </a:lnTo>
                      <a:lnTo>
                        <a:pt x="442" y="157"/>
                      </a:lnTo>
                      <a:lnTo>
                        <a:pt x="430" y="153"/>
                      </a:lnTo>
                      <a:lnTo>
                        <a:pt x="417" y="150"/>
                      </a:lnTo>
                      <a:lnTo>
                        <a:pt x="414" y="146"/>
                      </a:lnTo>
                      <a:lnTo>
                        <a:pt x="410" y="145"/>
                      </a:lnTo>
                      <a:lnTo>
                        <a:pt x="410" y="143"/>
                      </a:lnTo>
                      <a:lnTo>
                        <a:pt x="409" y="140"/>
                      </a:lnTo>
                      <a:lnTo>
                        <a:pt x="409" y="138"/>
                      </a:lnTo>
                      <a:lnTo>
                        <a:pt x="409" y="136"/>
                      </a:lnTo>
                      <a:lnTo>
                        <a:pt x="405" y="134"/>
                      </a:lnTo>
                      <a:lnTo>
                        <a:pt x="405" y="133"/>
                      </a:lnTo>
                      <a:lnTo>
                        <a:pt x="403" y="129"/>
                      </a:lnTo>
                      <a:lnTo>
                        <a:pt x="403" y="122"/>
                      </a:lnTo>
                      <a:lnTo>
                        <a:pt x="403" y="120"/>
                      </a:lnTo>
                      <a:lnTo>
                        <a:pt x="402" y="119"/>
                      </a:lnTo>
                      <a:lnTo>
                        <a:pt x="400" y="117"/>
                      </a:lnTo>
                      <a:lnTo>
                        <a:pt x="400" y="117"/>
                      </a:lnTo>
                      <a:lnTo>
                        <a:pt x="398" y="115"/>
                      </a:lnTo>
                      <a:lnTo>
                        <a:pt x="396" y="113"/>
                      </a:lnTo>
                      <a:lnTo>
                        <a:pt x="393" y="108"/>
                      </a:lnTo>
                      <a:lnTo>
                        <a:pt x="391" y="106"/>
                      </a:lnTo>
                      <a:lnTo>
                        <a:pt x="388" y="103"/>
                      </a:lnTo>
                      <a:lnTo>
                        <a:pt x="386" y="101"/>
                      </a:lnTo>
                      <a:lnTo>
                        <a:pt x="386" y="99"/>
                      </a:lnTo>
                      <a:lnTo>
                        <a:pt x="384" y="96"/>
                      </a:lnTo>
                      <a:lnTo>
                        <a:pt x="384" y="94"/>
                      </a:lnTo>
                      <a:lnTo>
                        <a:pt x="381" y="87"/>
                      </a:lnTo>
                      <a:lnTo>
                        <a:pt x="377" y="84"/>
                      </a:lnTo>
                      <a:lnTo>
                        <a:pt x="367" y="71"/>
                      </a:lnTo>
                      <a:lnTo>
                        <a:pt x="365" y="70"/>
                      </a:lnTo>
                      <a:lnTo>
                        <a:pt x="361" y="68"/>
                      </a:lnTo>
                      <a:lnTo>
                        <a:pt x="360" y="68"/>
                      </a:lnTo>
                      <a:lnTo>
                        <a:pt x="358" y="68"/>
                      </a:lnTo>
                      <a:lnTo>
                        <a:pt x="354" y="68"/>
                      </a:lnTo>
                      <a:lnTo>
                        <a:pt x="351" y="66"/>
                      </a:lnTo>
                      <a:lnTo>
                        <a:pt x="347" y="66"/>
                      </a:lnTo>
                      <a:lnTo>
                        <a:pt x="342" y="66"/>
                      </a:lnTo>
                      <a:lnTo>
                        <a:pt x="339" y="68"/>
                      </a:lnTo>
                      <a:lnTo>
                        <a:pt x="335" y="70"/>
                      </a:lnTo>
                      <a:lnTo>
                        <a:pt x="333" y="73"/>
                      </a:lnTo>
                      <a:lnTo>
                        <a:pt x="333" y="77"/>
                      </a:lnTo>
                      <a:lnTo>
                        <a:pt x="332" y="80"/>
                      </a:lnTo>
                      <a:lnTo>
                        <a:pt x="325" y="84"/>
                      </a:lnTo>
                      <a:lnTo>
                        <a:pt x="318" y="84"/>
                      </a:lnTo>
                      <a:lnTo>
                        <a:pt x="311" y="80"/>
                      </a:lnTo>
                      <a:lnTo>
                        <a:pt x="300" y="73"/>
                      </a:lnTo>
                      <a:lnTo>
                        <a:pt x="297" y="70"/>
                      </a:lnTo>
                      <a:lnTo>
                        <a:pt x="295" y="66"/>
                      </a:lnTo>
                      <a:lnTo>
                        <a:pt x="293" y="63"/>
                      </a:lnTo>
                      <a:lnTo>
                        <a:pt x="290" y="54"/>
                      </a:lnTo>
                      <a:lnTo>
                        <a:pt x="288" y="50"/>
                      </a:lnTo>
                      <a:lnTo>
                        <a:pt x="286" y="47"/>
                      </a:lnTo>
                      <a:lnTo>
                        <a:pt x="267" y="33"/>
                      </a:lnTo>
                      <a:lnTo>
                        <a:pt x="262" y="29"/>
                      </a:lnTo>
                      <a:lnTo>
                        <a:pt x="260" y="28"/>
                      </a:lnTo>
                      <a:lnTo>
                        <a:pt x="257" y="22"/>
                      </a:lnTo>
                      <a:lnTo>
                        <a:pt x="255" y="22"/>
                      </a:lnTo>
                      <a:lnTo>
                        <a:pt x="251" y="21"/>
                      </a:lnTo>
                      <a:lnTo>
                        <a:pt x="216" y="21"/>
                      </a:lnTo>
                      <a:lnTo>
                        <a:pt x="216" y="31"/>
                      </a:lnTo>
                      <a:lnTo>
                        <a:pt x="157" y="31"/>
                      </a:lnTo>
                      <a:lnTo>
                        <a:pt x="152" y="29"/>
                      </a:lnTo>
                      <a:lnTo>
                        <a:pt x="75" y="5"/>
                      </a:lnTo>
                      <a:lnTo>
                        <a:pt x="77" y="3"/>
                      </a:lnTo>
                      <a:lnTo>
                        <a:pt x="77" y="1"/>
                      </a:lnTo>
                      <a:lnTo>
                        <a:pt x="77" y="1"/>
                      </a:lnTo>
                      <a:lnTo>
                        <a:pt x="79" y="0"/>
                      </a:lnTo>
                      <a:lnTo>
                        <a:pt x="26" y="3"/>
                      </a:lnTo>
                      <a:lnTo>
                        <a:pt x="28" y="7"/>
                      </a:lnTo>
                      <a:lnTo>
                        <a:pt x="30" y="10"/>
                      </a:lnTo>
                      <a:lnTo>
                        <a:pt x="31" y="14"/>
                      </a:lnTo>
                      <a:lnTo>
                        <a:pt x="33" y="15"/>
                      </a:lnTo>
                      <a:lnTo>
                        <a:pt x="37" y="19"/>
                      </a:lnTo>
                      <a:lnTo>
                        <a:pt x="38" y="21"/>
                      </a:lnTo>
                      <a:lnTo>
                        <a:pt x="35" y="22"/>
                      </a:lnTo>
                      <a:lnTo>
                        <a:pt x="37" y="24"/>
                      </a:lnTo>
                      <a:lnTo>
                        <a:pt x="37" y="26"/>
                      </a:lnTo>
                      <a:lnTo>
                        <a:pt x="38" y="28"/>
                      </a:lnTo>
                      <a:lnTo>
                        <a:pt x="38" y="29"/>
                      </a:lnTo>
                      <a:lnTo>
                        <a:pt x="42" y="31"/>
                      </a:lnTo>
                      <a:lnTo>
                        <a:pt x="44" y="33"/>
                      </a:lnTo>
                      <a:lnTo>
                        <a:pt x="44" y="35"/>
                      </a:lnTo>
                      <a:lnTo>
                        <a:pt x="44" y="38"/>
                      </a:lnTo>
                      <a:lnTo>
                        <a:pt x="44" y="38"/>
                      </a:lnTo>
                      <a:lnTo>
                        <a:pt x="45" y="40"/>
                      </a:lnTo>
                      <a:lnTo>
                        <a:pt x="49" y="43"/>
                      </a:lnTo>
                      <a:lnTo>
                        <a:pt x="49" y="45"/>
                      </a:lnTo>
                      <a:lnTo>
                        <a:pt x="51" y="47"/>
                      </a:lnTo>
                      <a:lnTo>
                        <a:pt x="51" y="50"/>
                      </a:lnTo>
                      <a:lnTo>
                        <a:pt x="51" y="52"/>
                      </a:lnTo>
                      <a:lnTo>
                        <a:pt x="52" y="54"/>
                      </a:lnTo>
                      <a:lnTo>
                        <a:pt x="54" y="54"/>
                      </a:lnTo>
                      <a:lnTo>
                        <a:pt x="54" y="56"/>
                      </a:lnTo>
                      <a:lnTo>
                        <a:pt x="56" y="57"/>
                      </a:lnTo>
                      <a:lnTo>
                        <a:pt x="56" y="63"/>
                      </a:lnTo>
                      <a:lnTo>
                        <a:pt x="56" y="63"/>
                      </a:lnTo>
                      <a:lnTo>
                        <a:pt x="56" y="64"/>
                      </a:lnTo>
                      <a:lnTo>
                        <a:pt x="58" y="66"/>
                      </a:lnTo>
                      <a:lnTo>
                        <a:pt x="58" y="68"/>
                      </a:lnTo>
                      <a:lnTo>
                        <a:pt x="59" y="68"/>
                      </a:lnTo>
                      <a:lnTo>
                        <a:pt x="63" y="71"/>
                      </a:lnTo>
                      <a:lnTo>
                        <a:pt x="73" y="77"/>
                      </a:lnTo>
                      <a:lnTo>
                        <a:pt x="75" y="78"/>
                      </a:lnTo>
                      <a:lnTo>
                        <a:pt x="84" y="89"/>
                      </a:lnTo>
                      <a:lnTo>
                        <a:pt x="89" y="94"/>
                      </a:lnTo>
                      <a:lnTo>
                        <a:pt x="91" y="96"/>
                      </a:lnTo>
                      <a:lnTo>
                        <a:pt x="93" y="99"/>
                      </a:lnTo>
                      <a:lnTo>
                        <a:pt x="93" y="103"/>
                      </a:lnTo>
                      <a:lnTo>
                        <a:pt x="91" y="105"/>
                      </a:lnTo>
                      <a:lnTo>
                        <a:pt x="91" y="106"/>
                      </a:lnTo>
                      <a:lnTo>
                        <a:pt x="89" y="108"/>
                      </a:lnTo>
                      <a:lnTo>
                        <a:pt x="89" y="110"/>
                      </a:lnTo>
                      <a:lnTo>
                        <a:pt x="89" y="112"/>
                      </a:lnTo>
                      <a:lnTo>
                        <a:pt x="89" y="112"/>
                      </a:lnTo>
                      <a:lnTo>
                        <a:pt x="91" y="112"/>
                      </a:lnTo>
                      <a:lnTo>
                        <a:pt x="91" y="113"/>
                      </a:lnTo>
                      <a:lnTo>
                        <a:pt x="91" y="115"/>
                      </a:lnTo>
                      <a:lnTo>
                        <a:pt x="91" y="115"/>
                      </a:lnTo>
                      <a:lnTo>
                        <a:pt x="93" y="117"/>
                      </a:lnTo>
                      <a:lnTo>
                        <a:pt x="91" y="117"/>
                      </a:lnTo>
                      <a:lnTo>
                        <a:pt x="89" y="115"/>
                      </a:lnTo>
                      <a:lnTo>
                        <a:pt x="87" y="115"/>
                      </a:lnTo>
                      <a:lnTo>
                        <a:pt x="87" y="112"/>
                      </a:lnTo>
                      <a:lnTo>
                        <a:pt x="84" y="113"/>
                      </a:lnTo>
                      <a:lnTo>
                        <a:pt x="80" y="113"/>
                      </a:lnTo>
                      <a:lnTo>
                        <a:pt x="72" y="113"/>
                      </a:lnTo>
                      <a:lnTo>
                        <a:pt x="73" y="117"/>
                      </a:lnTo>
                      <a:lnTo>
                        <a:pt x="75" y="119"/>
                      </a:lnTo>
                      <a:lnTo>
                        <a:pt x="79" y="120"/>
                      </a:lnTo>
                      <a:lnTo>
                        <a:pt x="82" y="122"/>
                      </a:lnTo>
                      <a:lnTo>
                        <a:pt x="82" y="124"/>
                      </a:lnTo>
                      <a:lnTo>
                        <a:pt x="84" y="127"/>
                      </a:lnTo>
                      <a:lnTo>
                        <a:pt x="84" y="127"/>
                      </a:lnTo>
                      <a:lnTo>
                        <a:pt x="86" y="129"/>
                      </a:lnTo>
                      <a:lnTo>
                        <a:pt x="87" y="129"/>
                      </a:lnTo>
                      <a:lnTo>
                        <a:pt x="89" y="129"/>
                      </a:lnTo>
                      <a:lnTo>
                        <a:pt x="89" y="131"/>
                      </a:lnTo>
                      <a:lnTo>
                        <a:pt x="94" y="134"/>
                      </a:lnTo>
                      <a:lnTo>
                        <a:pt x="99" y="138"/>
                      </a:lnTo>
                      <a:lnTo>
                        <a:pt x="99" y="138"/>
                      </a:lnTo>
                      <a:lnTo>
                        <a:pt x="103" y="140"/>
                      </a:lnTo>
                      <a:lnTo>
                        <a:pt x="106" y="140"/>
                      </a:lnTo>
                      <a:lnTo>
                        <a:pt x="110" y="138"/>
                      </a:lnTo>
                      <a:lnTo>
                        <a:pt x="112" y="134"/>
                      </a:lnTo>
                      <a:lnTo>
                        <a:pt x="113" y="141"/>
                      </a:lnTo>
                      <a:lnTo>
                        <a:pt x="119" y="146"/>
                      </a:lnTo>
                      <a:lnTo>
                        <a:pt x="124" y="150"/>
                      </a:lnTo>
                      <a:lnTo>
                        <a:pt x="129" y="153"/>
                      </a:lnTo>
                      <a:lnTo>
                        <a:pt x="133" y="160"/>
                      </a:lnTo>
                      <a:lnTo>
                        <a:pt x="134" y="166"/>
                      </a:lnTo>
                      <a:lnTo>
                        <a:pt x="134" y="180"/>
                      </a:lnTo>
                      <a:lnTo>
                        <a:pt x="134" y="185"/>
                      </a:lnTo>
                      <a:lnTo>
                        <a:pt x="138" y="188"/>
                      </a:lnTo>
                      <a:lnTo>
                        <a:pt x="157" y="202"/>
                      </a:lnTo>
                      <a:lnTo>
                        <a:pt x="166" y="211"/>
                      </a:lnTo>
                      <a:lnTo>
                        <a:pt x="171" y="215"/>
                      </a:lnTo>
                      <a:lnTo>
                        <a:pt x="173" y="216"/>
                      </a:lnTo>
                      <a:lnTo>
                        <a:pt x="175" y="220"/>
                      </a:lnTo>
                      <a:lnTo>
                        <a:pt x="178" y="229"/>
                      </a:lnTo>
                      <a:lnTo>
                        <a:pt x="180" y="230"/>
                      </a:lnTo>
                      <a:lnTo>
                        <a:pt x="183" y="229"/>
                      </a:lnTo>
                      <a:lnTo>
                        <a:pt x="187" y="227"/>
                      </a:lnTo>
                      <a:lnTo>
                        <a:pt x="189" y="225"/>
                      </a:lnTo>
                      <a:lnTo>
                        <a:pt x="190" y="223"/>
                      </a:lnTo>
                      <a:lnTo>
                        <a:pt x="190" y="220"/>
                      </a:lnTo>
                      <a:lnTo>
                        <a:pt x="192" y="218"/>
                      </a:lnTo>
                      <a:lnTo>
                        <a:pt x="192" y="218"/>
                      </a:lnTo>
                      <a:lnTo>
                        <a:pt x="190" y="216"/>
                      </a:lnTo>
                      <a:lnTo>
                        <a:pt x="190" y="215"/>
                      </a:lnTo>
                      <a:lnTo>
                        <a:pt x="190" y="215"/>
                      </a:lnTo>
                      <a:lnTo>
                        <a:pt x="189" y="215"/>
                      </a:lnTo>
                      <a:lnTo>
                        <a:pt x="189" y="213"/>
                      </a:lnTo>
                      <a:lnTo>
                        <a:pt x="185" y="213"/>
                      </a:lnTo>
                      <a:lnTo>
                        <a:pt x="185" y="209"/>
                      </a:lnTo>
                      <a:lnTo>
                        <a:pt x="182" y="202"/>
                      </a:lnTo>
                      <a:lnTo>
                        <a:pt x="176" y="199"/>
                      </a:lnTo>
                      <a:lnTo>
                        <a:pt x="175" y="197"/>
                      </a:lnTo>
                      <a:lnTo>
                        <a:pt x="173" y="197"/>
                      </a:lnTo>
                      <a:lnTo>
                        <a:pt x="173" y="197"/>
                      </a:lnTo>
                      <a:lnTo>
                        <a:pt x="173" y="197"/>
                      </a:lnTo>
                      <a:lnTo>
                        <a:pt x="173" y="199"/>
                      </a:lnTo>
                      <a:lnTo>
                        <a:pt x="173" y="199"/>
                      </a:lnTo>
                      <a:lnTo>
                        <a:pt x="173" y="201"/>
                      </a:lnTo>
                      <a:lnTo>
                        <a:pt x="171" y="201"/>
                      </a:lnTo>
                      <a:lnTo>
                        <a:pt x="171" y="202"/>
                      </a:lnTo>
                      <a:lnTo>
                        <a:pt x="171" y="202"/>
                      </a:lnTo>
                      <a:lnTo>
                        <a:pt x="169" y="201"/>
                      </a:lnTo>
                      <a:lnTo>
                        <a:pt x="169" y="201"/>
                      </a:lnTo>
                      <a:lnTo>
                        <a:pt x="166" y="197"/>
                      </a:lnTo>
                      <a:lnTo>
                        <a:pt x="164" y="195"/>
                      </a:lnTo>
                      <a:lnTo>
                        <a:pt x="164" y="192"/>
                      </a:lnTo>
                      <a:lnTo>
                        <a:pt x="164" y="188"/>
                      </a:lnTo>
                      <a:lnTo>
                        <a:pt x="164" y="187"/>
                      </a:lnTo>
                      <a:lnTo>
                        <a:pt x="164" y="185"/>
                      </a:lnTo>
                      <a:lnTo>
                        <a:pt x="164" y="183"/>
                      </a:lnTo>
                      <a:lnTo>
                        <a:pt x="164" y="181"/>
                      </a:lnTo>
                      <a:lnTo>
                        <a:pt x="162" y="181"/>
                      </a:lnTo>
                      <a:lnTo>
                        <a:pt x="161" y="178"/>
                      </a:lnTo>
                      <a:lnTo>
                        <a:pt x="159" y="176"/>
                      </a:lnTo>
                      <a:lnTo>
                        <a:pt x="159" y="174"/>
                      </a:lnTo>
                      <a:lnTo>
                        <a:pt x="157" y="171"/>
                      </a:lnTo>
                      <a:lnTo>
                        <a:pt x="157" y="169"/>
                      </a:lnTo>
                      <a:lnTo>
                        <a:pt x="155" y="167"/>
                      </a:lnTo>
                      <a:lnTo>
                        <a:pt x="154" y="166"/>
                      </a:lnTo>
                      <a:lnTo>
                        <a:pt x="154" y="164"/>
                      </a:lnTo>
                      <a:lnTo>
                        <a:pt x="152" y="162"/>
                      </a:lnTo>
                      <a:lnTo>
                        <a:pt x="150" y="159"/>
                      </a:lnTo>
                      <a:lnTo>
                        <a:pt x="150" y="152"/>
                      </a:lnTo>
                      <a:lnTo>
                        <a:pt x="148" y="148"/>
                      </a:lnTo>
                      <a:lnTo>
                        <a:pt x="147" y="145"/>
                      </a:lnTo>
                      <a:lnTo>
                        <a:pt x="145" y="141"/>
                      </a:lnTo>
                      <a:lnTo>
                        <a:pt x="143" y="140"/>
                      </a:lnTo>
                      <a:lnTo>
                        <a:pt x="141" y="136"/>
                      </a:lnTo>
                      <a:lnTo>
                        <a:pt x="140" y="138"/>
                      </a:lnTo>
                      <a:lnTo>
                        <a:pt x="140" y="140"/>
                      </a:lnTo>
                      <a:lnTo>
                        <a:pt x="141" y="141"/>
                      </a:lnTo>
                      <a:lnTo>
                        <a:pt x="143" y="143"/>
                      </a:lnTo>
                      <a:lnTo>
                        <a:pt x="140" y="143"/>
                      </a:lnTo>
                      <a:lnTo>
                        <a:pt x="138" y="140"/>
                      </a:lnTo>
                      <a:lnTo>
                        <a:pt x="136" y="133"/>
                      </a:lnTo>
                      <a:lnTo>
                        <a:pt x="136" y="131"/>
                      </a:lnTo>
                      <a:lnTo>
                        <a:pt x="134" y="131"/>
                      </a:lnTo>
                      <a:lnTo>
                        <a:pt x="134" y="131"/>
                      </a:lnTo>
                      <a:lnTo>
                        <a:pt x="133" y="129"/>
                      </a:lnTo>
                      <a:lnTo>
                        <a:pt x="133" y="129"/>
                      </a:lnTo>
                      <a:lnTo>
                        <a:pt x="131" y="127"/>
                      </a:lnTo>
                      <a:lnTo>
                        <a:pt x="129" y="122"/>
                      </a:lnTo>
                      <a:lnTo>
                        <a:pt x="129" y="120"/>
                      </a:lnTo>
                      <a:lnTo>
                        <a:pt x="127" y="120"/>
                      </a:lnTo>
                      <a:lnTo>
                        <a:pt x="124" y="117"/>
                      </a:lnTo>
                      <a:lnTo>
                        <a:pt x="124" y="117"/>
                      </a:lnTo>
                      <a:lnTo>
                        <a:pt x="122" y="113"/>
                      </a:lnTo>
                      <a:lnTo>
                        <a:pt x="120" y="112"/>
                      </a:lnTo>
                      <a:lnTo>
                        <a:pt x="119" y="103"/>
                      </a:lnTo>
                      <a:lnTo>
                        <a:pt x="117" y="101"/>
                      </a:lnTo>
                      <a:lnTo>
                        <a:pt x="117" y="101"/>
                      </a:lnTo>
                      <a:lnTo>
                        <a:pt x="117" y="99"/>
                      </a:lnTo>
                      <a:lnTo>
                        <a:pt x="117" y="99"/>
                      </a:lnTo>
                      <a:lnTo>
                        <a:pt x="117" y="99"/>
                      </a:lnTo>
                      <a:lnTo>
                        <a:pt x="117" y="98"/>
                      </a:lnTo>
                      <a:lnTo>
                        <a:pt x="115" y="98"/>
                      </a:lnTo>
                      <a:lnTo>
                        <a:pt x="113" y="98"/>
                      </a:lnTo>
                      <a:lnTo>
                        <a:pt x="112" y="96"/>
                      </a:lnTo>
                      <a:lnTo>
                        <a:pt x="110" y="91"/>
                      </a:lnTo>
                      <a:lnTo>
                        <a:pt x="108" y="89"/>
                      </a:lnTo>
                      <a:lnTo>
                        <a:pt x="106" y="87"/>
                      </a:lnTo>
                      <a:lnTo>
                        <a:pt x="105" y="87"/>
                      </a:lnTo>
                      <a:lnTo>
                        <a:pt x="103" y="85"/>
                      </a:lnTo>
                      <a:lnTo>
                        <a:pt x="103" y="84"/>
                      </a:lnTo>
                      <a:lnTo>
                        <a:pt x="99" y="78"/>
                      </a:lnTo>
                      <a:lnTo>
                        <a:pt x="99" y="77"/>
                      </a:lnTo>
                      <a:lnTo>
                        <a:pt x="96" y="75"/>
                      </a:lnTo>
                      <a:lnTo>
                        <a:pt x="86" y="66"/>
                      </a:lnTo>
                      <a:lnTo>
                        <a:pt x="82" y="63"/>
                      </a:lnTo>
                      <a:lnTo>
                        <a:pt x="80" y="59"/>
                      </a:lnTo>
                      <a:lnTo>
                        <a:pt x="80" y="56"/>
                      </a:lnTo>
                      <a:lnTo>
                        <a:pt x="80" y="50"/>
                      </a:lnTo>
                      <a:lnTo>
                        <a:pt x="79" y="47"/>
                      </a:lnTo>
                      <a:lnTo>
                        <a:pt x="75" y="40"/>
                      </a:lnTo>
                      <a:lnTo>
                        <a:pt x="75" y="35"/>
                      </a:lnTo>
                      <a:lnTo>
                        <a:pt x="75" y="31"/>
                      </a:lnTo>
                      <a:lnTo>
                        <a:pt x="75" y="26"/>
                      </a:lnTo>
                      <a:lnTo>
                        <a:pt x="75" y="22"/>
                      </a:lnTo>
                      <a:lnTo>
                        <a:pt x="73" y="19"/>
                      </a:lnTo>
                      <a:lnTo>
                        <a:pt x="86" y="26"/>
                      </a:lnTo>
                      <a:lnTo>
                        <a:pt x="91" y="26"/>
                      </a:lnTo>
                      <a:lnTo>
                        <a:pt x="93" y="26"/>
                      </a:lnTo>
                      <a:lnTo>
                        <a:pt x="94" y="26"/>
                      </a:lnTo>
                      <a:lnTo>
                        <a:pt x="98" y="26"/>
                      </a:lnTo>
                      <a:lnTo>
                        <a:pt x="99" y="26"/>
                      </a:lnTo>
                      <a:lnTo>
                        <a:pt x="99" y="28"/>
                      </a:lnTo>
                      <a:lnTo>
                        <a:pt x="101" y="29"/>
                      </a:lnTo>
                      <a:lnTo>
                        <a:pt x="101" y="29"/>
                      </a:lnTo>
                      <a:lnTo>
                        <a:pt x="103" y="31"/>
                      </a:lnTo>
                      <a:lnTo>
                        <a:pt x="105" y="31"/>
                      </a:lnTo>
                      <a:lnTo>
                        <a:pt x="105" y="33"/>
                      </a:lnTo>
                      <a:lnTo>
                        <a:pt x="106" y="33"/>
                      </a:lnTo>
                      <a:lnTo>
                        <a:pt x="110" y="33"/>
                      </a:lnTo>
                      <a:lnTo>
                        <a:pt x="112" y="35"/>
                      </a:lnTo>
                      <a:lnTo>
                        <a:pt x="113" y="36"/>
                      </a:lnTo>
                      <a:lnTo>
                        <a:pt x="112" y="36"/>
                      </a:lnTo>
                      <a:lnTo>
                        <a:pt x="113" y="45"/>
                      </a:lnTo>
                      <a:lnTo>
                        <a:pt x="113" y="49"/>
                      </a:lnTo>
                      <a:lnTo>
                        <a:pt x="119" y="57"/>
                      </a:lnTo>
                      <a:lnTo>
                        <a:pt x="122" y="63"/>
                      </a:lnTo>
                      <a:lnTo>
                        <a:pt x="126" y="71"/>
                      </a:lnTo>
                      <a:lnTo>
                        <a:pt x="127" y="75"/>
                      </a:lnTo>
                      <a:lnTo>
                        <a:pt x="127" y="75"/>
                      </a:lnTo>
                      <a:lnTo>
                        <a:pt x="129" y="77"/>
                      </a:lnTo>
                      <a:lnTo>
                        <a:pt x="131" y="78"/>
                      </a:lnTo>
                      <a:lnTo>
                        <a:pt x="131" y="80"/>
                      </a:lnTo>
                      <a:lnTo>
                        <a:pt x="133" y="82"/>
                      </a:lnTo>
                      <a:lnTo>
                        <a:pt x="133" y="85"/>
                      </a:lnTo>
                      <a:lnTo>
                        <a:pt x="134" y="87"/>
                      </a:lnTo>
                      <a:lnTo>
                        <a:pt x="134" y="87"/>
                      </a:lnTo>
                      <a:lnTo>
                        <a:pt x="136" y="89"/>
                      </a:lnTo>
                      <a:lnTo>
                        <a:pt x="138" y="91"/>
                      </a:lnTo>
                      <a:lnTo>
                        <a:pt x="138" y="91"/>
                      </a:lnTo>
                      <a:lnTo>
                        <a:pt x="140" y="94"/>
                      </a:lnTo>
                      <a:lnTo>
                        <a:pt x="141" y="96"/>
                      </a:lnTo>
                      <a:lnTo>
                        <a:pt x="147" y="99"/>
                      </a:lnTo>
                      <a:lnTo>
                        <a:pt x="152" y="108"/>
                      </a:lnTo>
                      <a:lnTo>
                        <a:pt x="155" y="110"/>
                      </a:lnTo>
                      <a:lnTo>
                        <a:pt x="159" y="112"/>
                      </a:lnTo>
                      <a:lnTo>
                        <a:pt x="168" y="113"/>
                      </a:lnTo>
                      <a:lnTo>
                        <a:pt x="166" y="117"/>
                      </a:lnTo>
                      <a:lnTo>
                        <a:pt x="166" y="120"/>
                      </a:lnTo>
                      <a:lnTo>
                        <a:pt x="168" y="124"/>
                      </a:lnTo>
                      <a:lnTo>
                        <a:pt x="169" y="126"/>
                      </a:lnTo>
                      <a:lnTo>
                        <a:pt x="173" y="129"/>
                      </a:lnTo>
                      <a:lnTo>
                        <a:pt x="178" y="131"/>
                      </a:lnTo>
                      <a:lnTo>
                        <a:pt x="180" y="134"/>
                      </a:lnTo>
                      <a:lnTo>
                        <a:pt x="182" y="136"/>
                      </a:lnTo>
                      <a:lnTo>
                        <a:pt x="182" y="138"/>
                      </a:lnTo>
                      <a:lnTo>
                        <a:pt x="183" y="140"/>
                      </a:lnTo>
                      <a:lnTo>
                        <a:pt x="183" y="140"/>
                      </a:lnTo>
                      <a:lnTo>
                        <a:pt x="185" y="141"/>
                      </a:lnTo>
                      <a:lnTo>
                        <a:pt x="189" y="140"/>
                      </a:lnTo>
                      <a:lnTo>
                        <a:pt x="190" y="141"/>
                      </a:lnTo>
                      <a:lnTo>
                        <a:pt x="194" y="143"/>
                      </a:lnTo>
                      <a:lnTo>
                        <a:pt x="196" y="145"/>
                      </a:lnTo>
                      <a:lnTo>
                        <a:pt x="196" y="148"/>
                      </a:lnTo>
                      <a:lnTo>
                        <a:pt x="197" y="152"/>
                      </a:lnTo>
                      <a:lnTo>
                        <a:pt x="196" y="150"/>
                      </a:lnTo>
                      <a:lnTo>
                        <a:pt x="194" y="153"/>
                      </a:lnTo>
                      <a:lnTo>
                        <a:pt x="192" y="157"/>
                      </a:lnTo>
                      <a:lnTo>
                        <a:pt x="190" y="160"/>
                      </a:lnTo>
                      <a:lnTo>
                        <a:pt x="192" y="164"/>
                      </a:lnTo>
                      <a:lnTo>
                        <a:pt x="196" y="166"/>
                      </a:lnTo>
                      <a:lnTo>
                        <a:pt x="197" y="167"/>
                      </a:lnTo>
                      <a:lnTo>
                        <a:pt x="201" y="166"/>
                      </a:lnTo>
                      <a:lnTo>
                        <a:pt x="203" y="164"/>
                      </a:lnTo>
                      <a:lnTo>
                        <a:pt x="203" y="166"/>
                      </a:lnTo>
                      <a:lnTo>
                        <a:pt x="199" y="167"/>
                      </a:lnTo>
                      <a:lnTo>
                        <a:pt x="199" y="169"/>
                      </a:lnTo>
                      <a:lnTo>
                        <a:pt x="201" y="169"/>
                      </a:lnTo>
                      <a:lnTo>
                        <a:pt x="201" y="169"/>
                      </a:lnTo>
                      <a:lnTo>
                        <a:pt x="203" y="169"/>
                      </a:lnTo>
                      <a:lnTo>
                        <a:pt x="203" y="169"/>
                      </a:lnTo>
                      <a:lnTo>
                        <a:pt x="204" y="169"/>
                      </a:lnTo>
                      <a:lnTo>
                        <a:pt x="206" y="169"/>
                      </a:lnTo>
                      <a:lnTo>
                        <a:pt x="208" y="171"/>
                      </a:lnTo>
                      <a:lnTo>
                        <a:pt x="211" y="174"/>
                      </a:lnTo>
                      <a:lnTo>
                        <a:pt x="213" y="176"/>
                      </a:lnTo>
                      <a:lnTo>
                        <a:pt x="216" y="178"/>
                      </a:lnTo>
                      <a:lnTo>
                        <a:pt x="220" y="178"/>
                      </a:lnTo>
                      <a:lnTo>
                        <a:pt x="222" y="180"/>
                      </a:lnTo>
                      <a:lnTo>
                        <a:pt x="220" y="180"/>
                      </a:lnTo>
                      <a:lnTo>
                        <a:pt x="218" y="180"/>
                      </a:lnTo>
                      <a:lnTo>
                        <a:pt x="216" y="180"/>
                      </a:lnTo>
                      <a:lnTo>
                        <a:pt x="216" y="180"/>
                      </a:lnTo>
                      <a:lnTo>
                        <a:pt x="218" y="183"/>
                      </a:lnTo>
                      <a:lnTo>
                        <a:pt x="222" y="187"/>
                      </a:lnTo>
                      <a:lnTo>
                        <a:pt x="225" y="190"/>
                      </a:lnTo>
                      <a:lnTo>
                        <a:pt x="229" y="192"/>
                      </a:lnTo>
                      <a:lnTo>
                        <a:pt x="230" y="192"/>
                      </a:lnTo>
                      <a:lnTo>
                        <a:pt x="232" y="194"/>
                      </a:lnTo>
                      <a:lnTo>
                        <a:pt x="232" y="194"/>
                      </a:lnTo>
                      <a:lnTo>
                        <a:pt x="232" y="195"/>
                      </a:lnTo>
                      <a:lnTo>
                        <a:pt x="232" y="195"/>
                      </a:lnTo>
                      <a:lnTo>
                        <a:pt x="230" y="195"/>
                      </a:lnTo>
                      <a:lnTo>
                        <a:pt x="229" y="194"/>
                      </a:lnTo>
                      <a:lnTo>
                        <a:pt x="227" y="194"/>
                      </a:lnTo>
                      <a:lnTo>
                        <a:pt x="239" y="202"/>
                      </a:lnTo>
                      <a:lnTo>
                        <a:pt x="244" y="208"/>
                      </a:lnTo>
                      <a:lnTo>
                        <a:pt x="269" y="236"/>
                      </a:lnTo>
                      <a:lnTo>
                        <a:pt x="271" y="239"/>
                      </a:lnTo>
                      <a:lnTo>
                        <a:pt x="271" y="243"/>
                      </a:lnTo>
                      <a:lnTo>
                        <a:pt x="272" y="253"/>
                      </a:lnTo>
                      <a:lnTo>
                        <a:pt x="274" y="255"/>
                      </a:lnTo>
                      <a:lnTo>
                        <a:pt x="276" y="258"/>
                      </a:lnTo>
                      <a:lnTo>
                        <a:pt x="281" y="264"/>
                      </a:lnTo>
                      <a:lnTo>
                        <a:pt x="281" y="265"/>
                      </a:lnTo>
                      <a:lnTo>
                        <a:pt x="281" y="269"/>
                      </a:lnTo>
                      <a:lnTo>
                        <a:pt x="281" y="271"/>
                      </a:lnTo>
                      <a:lnTo>
                        <a:pt x="279" y="274"/>
                      </a:lnTo>
                      <a:lnTo>
                        <a:pt x="278" y="276"/>
                      </a:lnTo>
                      <a:lnTo>
                        <a:pt x="276" y="278"/>
                      </a:lnTo>
                      <a:lnTo>
                        <a:pt x="278" y="279"/>
                      </a:lnTo>
                      <a:lnTo>
                        <a:pt x="279" y="279"/>
                      </a:lnTo>
                      <a:lnTo>
                        <a:pt x="281" y="281"/>
                      </a:lnTo>
                      <a:lnTo>
                        <a:pt x="281" y="283"/>
                      </a:lnTo>
                      <a:lnTo>
                        <a:pt x="279" y="285"/>
                      </a:lnTo>
                      <a:lnTo>
                        <a:pt x="278" y="285"/>
                      </a:lnTo>
                      <a:lnTo>
                        <a:pt x="276" y="285"/>
                      </a:lnTo>
                      <a:lnTo>
                        <a:pt x="274" y="286"/>
                      </a:lnTo>
                      <a:lnTo>
                        <a:pt x="272" y="286"/>
                      </a:lnTo>
                      <a:lnTo>
                        <a:pt x="272" y="288"/>
                      </a:lnTo>
                      <a:lnTo>
                        <a:pt x="272" y="288"/>
                      </a:lnTo>
                      <a:lnTo>
                        <a:pt x="274" y="293"/>
                      </a:lnTo>
                      <a:lnTo>
                        <a:pt x="276" y="297"/>
                      </a:lnTo>
                      <a:lnTo>
                        <a:pt x="278" y="300"/>
                      </a:lnTo>
                      <a:lnTo>
                        <a:pt x="286" y="312"/>
                      </a:lnTo>
                      <a:lnTo>
                        <a:pt x="290" y="314"/>
                      </a:lnTo>
                      <a:lnTo>
                        <a:pt x="309" y="323"/>
                      </a:lnTo>
                      <a:lnTo>
                        <a:pt x="314" y="328"/>
                      </a:lnTo>
                      <a:lnTo>
                        <a:pt x="316" y="332"/>
                      </a:lnTo>
                      <a:lnTo>
                        <a:pt x="320" y="333"/>
                      </a:lnTo>
                      <a:lnTo>
                        <a:pt x="321" y="335"/>
                      </a:lnTo>
                      <a:lnTo>
                        <a:pt x="335" y="340"/>
                      </a:lnTo>
                      <a:lnTo>
                        <a:pt x="339" y="340"/>
                      </a:lnTo>
                      <a:lnTo>
                        <a:pt x="342" y="342"/>
                      </a:lnTo>
                      <a:lnTo>
                        <a:pt x="349" y="342"/>
                      </a:lnTo>
                      <a:lnTo>
                        <a:pt x="351" y="342"/>
                      </a:lnTo>
                      <a:lnTo>
                        <a:pt x="354" y="344"/>
                      </a:lnTo>
                      <a:lnTo>
                        <a:pt x="360" y="351"/>
                      </a:lnTo>
                      <a:lnTo>
                        <a:pt x="363" y="353"/>
                      </a:lnTo>
                      <a:lnTo>
                        <a:pt x="400" y="370"/>
                      </a:lnTo>
                      <a:lnTo>
                        <a:pt x="403" y="372"/>
                      </a:lnTo>
                      <a:lnTo>
                        <a:pt x="412" y="374"/>
                      </a:lnTo>
                      <a:lnTo>
                        <a:pt x="416" y="375"/>
                      </a:lnTo>
                      <a:lnTo>
                        <a:pt x="419" y="375"/>
                      </a:lnTo>
                      <a:lnTo>
                        <a:pt x="424" y="379"/>
                      </a:lnTo>
                      <a:lnTo>
                        <a:pt x="431" y="382"/>
                      </a:lnTo>
                      <a:lnTo>
                        <a:pt x="438" y="386"/>
                      </a:lnTo>
                      <a:lnTo>
                        <a:pt x="442" y="388"/>
                      </a:lnTo>
                      <a:lnTo>
                        <a:pt x="445" y="389"/>
                      </a:lnTo>
                      <a:lnTo>
                        <a:pt x="454" y="389"/>
                      </a:lnTo>
                      <a:lnTo>
                        <a:pt x="461" y="393"/>
                      </a:lnTo>
                      <a:lnTo>
                        <a:pt x="466" y="395"/>
                      </a:lnTo>
                      <a:lnTo>
                        <a:pt x="470" y="395"/>
                      </a:lnTo>
                      <a:lnTo>
                        <a:pt x="473" y="393"/>
                      </a:lnTo>
                      <a:lnTo>
                        <a:pt x="482" y="391"/>
                      </a:lnTo>
                      <a:lnTo>
                        <a:pt x="496" y="384"/>
                      </a:lnTo>
                      <a:lnTo>
                        <a:pt x="505" y="382"/>
                      </a:lnTo>
                      <a:lnTo>
                        <a:pt x="499" y="381"/>
                      </a:lnTo>
                      <a:lnTo>
                        <a:pt x="501" y="379"/>
                      </a:lnTo>
                      <a:lnTo>
                        <a:pt x="503" y="377"/>
                      </a:lnTo>
                      <a:lnTo>
                        <a:pt x="503" y="379"/>
                      </a:lnTo>
                      <a:lnTo>
                        <a:pt x="505" y="381"/>
                      </a:lnTo>
                      <a:lnTo>
                        <a:pt x="505" y="379"/>
                      </a:lnTo>
                      <a:lnTo>
                        <a:pt x="506" y="379"/>
                      </a:lnTo>
                      <a:lnTo>
                        <a:pt x="508" y="379"/>
                      </a:lnTo>
                      <a:lnTo>
                        <a:pt x="508" y="379"/>
                      </a:lnTo>
                      <a:lnTo>
                        <a:pt x="508" y="381"/>
                      </a:lnTo>
                      <a:lnTo>
                        <a:pt x="506" y="382"/>
                      </a:lnTo>
                      <a:lnTo>
                        <a:pt x="510" y="382"/>
                      </a:lnTo>
                      <a:lnTo>
                        <a:pt x="520" y="386"/>
                      </a:lnTo>
                      <a:lnTo>
                        <a:pt x="513" y="381"/>
                      </a:lnTo>
                      <a:lnTo>
                        <a:pt x="513" y="381"/>
                      </a:lnTo>
                      <a:lnTo>
                        <a:pt x="517" y="382"/>
                      </a:lnTo>
                      <a:lnTo>
                        <a:pt x="522" y="384"/>
                      </a:lnTo>
                      <a:lnTo>
                        <a:pt x="559" y="419"/>
                      </a:lnTo>
                      <a:lnTo>
                        <a:pt x="561" y="417"/>
                      </a:lnTo>
                      <a:lnTo>
                        <a:pt x="561" y="414"/>
                      </a:lnTo>
                      <a:close/>
                      <a:moveTo>
                        <a:pt x="134" y="190"/>
                      </a:moveTo>
                      <a:lnTo>
                        <a:pt x="134" y="192"/>
                      </a:lnTo>
                      <a:lnTo>
                        <a:pt x="133" y="190"/>
                      </a:lnTo>
                      <a:lnTo>
                        <a:pt x="133" y="188"/>
                      </a:lnTo>
                      <a:lnTo>
                        <a:pt x="131" y="187"/>
                      </a:lnTo>
                      <a:lnTo>
                        <a:pt x="129" y="187"/>
                      </a:lnTo>
                      <a:lnTo>
                        <a:pt x="131" y="183"/>
                      </a:lnTo>
                      <a:lnTo>
                        <a:pt x="133" y="180"/>
                      </a:lnTo>
                      <a:lnTo>
                        <a:pt x="133" y="174"/>
                      </a:lnTo>
                      <a:lnTo>
                        <a:pt x="133" y="176"/>
                      </a:lnTo>
                      <a:lnTo>
                        <a:pt x="133" y="181"/>
                      </a:lnTo>
                      <a:lnTo>
                        <a:pt x="133" y="185"/>
                      </a:lnTo>
                      <a:lnTo>
                        <a:pt x="133" y="187"/>
                      </a:lnTo>
                      <a:lnTo>
                        <a:pt x="134" y="190"/>
                      </a:lnTo>
                      <a:close/>
                      <a:moveTo>
                        <a:pt x="182" y="197"/>
                      </a:moveTo>
                      <a:lnTo>
                        <a:pt x="183" y="199"/>
                      </a:lnTo>
                      <a:lnTo>
                        <a:pt x="183" y="201"/>
                      </a:lnTo>
                      <a:lnTo>
                        <a:pt x="182" y="201"/>
                      </a:lnTo>
                      <a:lnTo>
                        <a:pt x="182" y="199"/>
                      </a:lnTo>
                      <a:lnTo>
                        <a:pt x="182" y="197"/>
                      </a:lnTo>
                      <a:lnTo>
                        <a:pt x="182" y="197"/>
                      </a:lnTo>
                      <a:close/>
                      <a:moveTo>
                        <a:pt x="131" y="80"/>
                      </a:moveTo>
                      <a:lnTo>
                        <a:pt x="133" y="85"/>
                      </a:lnTo>
                      <a:lnTo>
                        <a:pt x="131" y="89"/>
                      </a:lnTo>
                      <a:lnTo>
                        <a:pt x="129" y="91"/>
                      </a:lnTo>
                      <a:lnTo>
                        <a:pt x="127" y="91"/>
                      </a:lnTo>
                      <a:lnTo>
                        <a:pt x="126" y="91"/>
                      </a:lnTo>
                      <a:lnTo>
                        <a:pt x="126" y="89"/>
                      </a:lnTo>
                      <a:lnTo>
                        <a:pt x="126" y="87"/>
                      </a:lnTo>
                      <a:lnTo>
                        <a:pt x="126" y="84"/>
                      </a:lnTo>
                      <a:lnTo>
                        <a:pt x="127" y="82"/>
                      </a:lnTo>
                      <a:lnTo>
                        <a:pt x="127" y="80"/>
                      </a:lnTo>
                      <a:lnTo>
                        <a:pt x="131" y="80"/>
                      </a:lnTo>
                      <a:lnTo>
                        <a:pt x="131" y="80"/>
                      </a:lnTo>
                      <a:close/>
                      <a:moveTo>
                        <a:pt x="155" y="155"/>
                      </a:moveTo>
                      <a:lnTo>
                        <a:pt x="155" y="155"/>
                      </a:lnTo>
                      <a:lnTo>
                        <a:pt x="155" y="157"/>
                      </a:lnTo>
                      <a:lnTo>
                        <a:pt x="155" y="157"/>
                      </a:lnTo>
                      <a:lnTo>
                        <a:pt x="155" y="157"/>
                      </a:lnTo>
                      <a:lnTo>
                        <a:pt x="155" y="157"/>
                      </a:lnTo>
                      <a:lnTo>
                        <a:pt x="155" y="157"/>
                      </a:lnTo>
                      <a:lnTo>
                        <a:pt x="154" y="159"/>
                      </a:lnTo>
                      <a:lnTo>
                        <a:pt x="154" y="160"/>
                      </a:lnTo>
                      <a:lnTo>
                        <a:pt x="154" y="157"/>
                      </a:lnTo>
                      <a:lnTo>
                        <a:pt x="154" y="157"/>
                      </a:lnTo>
                      <a:lnTo>
                        <a:pt x="155" y="155"/>
                      </a:lnTo>
                      <a:close/>
                      <a:moveTo>
                        <a:pt x="110" y="80"/>
                      </a:moveTo>
                      <a:lnTo>
                        <a:pt x="112" y="80"/>
                      </a:lnTo>
                      <a:lnTo>
                        <a:pt x="112" y="84"/>
                      </a:lnTo>
                      <a:lnTo>
                        <a:pt x="108" y="82"/>
                      </a:lnTo>
                      <a:lnTo>
                        <a:pt x="105" y="80"/>
                      </a:lnTo>
                      <a:lnTo>
                        <a:pt x="103" y="77"/>
                      </a:lnTo>
                      <a:lnTo>
                        <a:pt x="103" y="71"/>
                      </a:lnTo>
                      <a:lnTo>
                        <a:pt x="105" y="73"/>
                      </a:lnTo>
                      <a:lnTo>
                        <a:pt x="105" y="75"/>
                      </a:lnTo>
                      <a:lnTo>
                        <a:pt x="106" y="77"/>
                      </a:lnTo>
                      <a:lnTo>
                        <a:pt x="106" y="78"/>
                      </a:lnTo>
                      <a:lnTo>
                        <a:pt x="108" y="78"/>
                      </a:lnTo>
                      <a:lnTo>
                        <a:pt x="110" y="78"/>
                      </a:lnTo>
                      <a:lnTo>
                        <a:pt x="110" y="80"/>
                      </a:lnTo>
                      <a:close/>
                      <a:moveTo>
                        <a:pt x="253" y="258"/>
                      </a:moveTo>
                      <a:lnTo>
                        <a:pt x="253" y="260"/>
                      </a:lnTo>
                      <a:lnTo>
                        <a:pt x="253" y="262"/>
                      </a:lnTo>
                      <a:lnTo>
                        <a:pt x="251" y="262"/>
                      </a:lnTo>
                      <a:lnTo>
                        <a:pt x="251" y="260"/>
                      </a:lnTo>
                      <a:lnTo>
                        <a:pt x="251" y="260"/>
                      </a:lnTo>
                      <a:lnTo>
                        <a:pt x="251" y="258"/>
                      </a:lnTo>
                      <a:lnTo>
                        <a:pt x="253" y="258"/>
                      </a:lnTo>
                      <a:lnTo>
                        <a:pt x="253" y="258"/>
                      </a:lnTo>
                      <a:close/>
                      <a:moveTo>
                        <a:pt x="141" y="194"/>
                      </a:moveTo>
                      <a:lnTo>
                        <a:pt x="143" y="197"/>
                      </a:lnTo>
                      <a:lnTo>
                        <a:pt x="136" y="192"/>
                      </a:lnTo>
                      <a:lnTo>
                        <a:pt x="138" y="192"/>
                      </a:lnTo>
                      <a:lnTo>
                        <a:pt x="140" y="192"/>
                      </a:lnTo>
                      <a:lnTo>
                        <a:pt x="141" y="194"/>
                      </a:lnTo>
                      <a:close/>
                      <a:moveTo>
                        <a:pt x="168" y="181"/>
                      </a:moveTo>
                      <a:lnTo>
                        <a:pt x="168" y="183"/>
                      </a:lnTo>
                      <a:lnTo>
                        <a:pt x="166" y="183"/>
                      </a:lnTo>
                      <a:lnTo>
                        <a:pt x="166" y="181"/>
                      </a:lnTo>
                      <a:lnTo>
                        <a:pt x="164" y="180"/>
                      </a:lnTo>
                      <a:lnTo>
                        <a:pt x="164" y="180"/>
                      </a:lnTo>
                      <a:lnTo>
                        <a:pt x="166" y="180"/>
                      </a:lnTo>
                      <a:lnTo>
                        <a:pt x="166" y="181"/>
                      </a:lnTo>
                      <a:lnTo>
                        <a:pt x="168" y="181"/>
                      </a:lnTo>
                      <a:close/>
                      <a:moveTo>
                        <a:pt x="68" y="105"/>
                      </a:moveTo>
                      <a:lnTo>
                        <a:pt x="68" y="106"/>
                      </a:lnTo>
                      <a:lnTo>
                        <a:pt x="68" y="108"/>
                      </a:lnTo>
                      <a:lnTo>
                        <a:pt x="65" y="108"/>
                      </a:lnTo>
                      <a:lnTo>
                        <a:pt x="65" y="106"/>
                      </a:lnTo>
                      <a:lnTo>
                        <a:pt x="66" y="105"/>
                      </a:lnTo>
                      <a:lnTo>
                        <a:pt x="66" y="103"/>
                      </a:lnTo>
                      <a:lnTo>
                        <a:pt x="66" y="101"/>
                      </a:lnTo>
                      <a:lnTo>
                        <a:pt x="66" y="101"/>
                      </a:lnTo>
                      <a:lnTo>
                        <a:pt x="68" y="103"/>
                      </a:lnTo>
                      <a:lnTo>
                        <a:pt x="68" y="105"/>
                      </a:lnTo>
                      <a:close/>
                      <a:moveTo>
                        <a:pt x="2" y="84"/>
                      </a:moveTo>
                      <a:lnTo>
                        <a:pt x="3" y="85"/>
                      </a:lnTo>
                      <a:lnTo>
                        <a:pt x="2" y="87"/>
                      </a:lnTo>
                      <a:lnTo>
                        <a:pt x="0" y="85"/>
                      </a:lnTo>
                      <a:lnTo>
                        <a:pt x="0" y="84"/>
                      </a:lnTo>
                      <a:lnTo>
                        <a:pt x="0" y="82"/>
                      </a:lnTo>
                      <a:lnTo>
                        <a:pt x="2" y="82"/>
                      </a:lnTo>
                      <a:lnTo>
                        <a:pt x="2" y="84"/>
                      </a:lnTo>
                      <a:close/>
                      <a:moveTo>
                        <a:pt x="676" y="267"/>
                      </a:moveTo>
                      <a:lnTo>
                        <a:pt x="676" y="267"/>
                      </a:lnTo>
                      <a:lnTo>
                        <a:pt x="676" y="269"/>
                      </a:lnTo>
                      <a:lnTo>
                        <a:pt x="676" y="269"/>
                      </a:lnTo>
                      <a:lnTo>
                        <a:pt x="678" y="269"/>
                      </a:lnTo>
                      <a:lnTo>
                        <a:pt x="678" y="269"/>
                      </a:lnTo>
                      <a:lnTo>
                        <a:pt x="678" y="269"/>
                      </a:lnTo>
                      <a:lnTo>
                        <a:pt x="678" y="269"/>
                      </a:lnTo>
                      <a:lnTo>
                        <a:pt x="676" y="26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38" name="Freeform 321">
                  <a:extLst>
                    <a:ext uri="{FF2B5EF4-FFF2-40B4-BE49-F238E27FC236}">
                      <a16:creationId xmlns:a16="http://schemas.microsoft.com/office/drawing/2014/main" id="{C5EE58F3-CF4C-53F6-D2BB-24FDFA49D130}"/>
                    </a:ext>
                  </a:extLst>
                </p:cNvPr>
                <p:cNvSpPr>
                  <a:spLocks noEditPoints="1"/>
                </p:cNvSpPr>
                <p:nvPr/>
              </p:nvSpPr>
              <p:spPr bwMode="auto">
                <a:xfrm>
                  <a:off x="-3377" y="-5130"/>
                  <a:ext cx="1890" cy="1541"/>
                </a:xfrm>
                <a:custGeom>
                  <a:avLst/>
                  <a:gdLst>
                    <a:gd name="T0" fmla="*/ 940 w 1890"/>
                    <a:gd name="T1" fmla="*/ 491 h 1541"/>
                    <a:gd name="T2" fmla="*/ 969 w 1890"/>
                    <a:gd name="T3" fmla="*/ 657 h 1541"/>
                    <a:gd name="T4" fmla="*/ 1355 w 1890"/>
                    <a:gd name="T5" fmla="*/ 865 h 1541"/>
                    <a:gd name="T6" fmla="*/ 791 w 1890"/>
                    <a:gd name="T7" fmla="*/ 428 h 1541"/>
                    <a:gd name="T8" fmla="*/ 817 w 1890"/>
                    <a:gd name="T9" fmla="*/ 617 h 1541"/>
                    <a:gd name="T10" fmla="*/ 480 w 1890"/>
                    <a:gd name="T11" fmla="*/ 575 h 1541"/>
                    <a:gd name="T12" fmla="*/ 681 w 1890"/>
                    <a:gd name="T13" fmla="*/ 703 h 1541"/>
                    <a:gd name="T14" fmla="*/ 1628 w 1890"/>
                    <a:gd name="T15" fmla="*/ 942 h 1541"/>
                    <a:gd name="T16" fmla="*/ 1712 w 1890"/>
                    <a:gd name="T17" fmla="*/ 1125 h 1541"/>
                    <a:gd name="T18" fmla="*/ 1369 w 1890"/>
                    <a:gd name="T19" fmla="*/ 140 h 1541"/>
                    <a:gd name="T20" fmla="*/ 1167 w 1890"/>
                    <a:gd name="T21" fmla="*/ 296 h 1541"/>
                    <a:gd name="T22" fmla="*/ 1382 w 1890"/>
                    <a:gd name="T23" fmla="*/ 287 h 1541"/>
                    <a:gd name="T24" fmla="*/ 1638 w 1890"/>
                    <a:gd name="T25" fmla="*/ 75 h 1541"/>
                    <a:gd name="T26" fmla="*/ 1252 w 1890"/>
                    <a:gd name="T27" fmla="*/ 40 h 1541"/>
                    <a:gd name="T28" fmla="*/ 1596 w 1890"/>
                    <a:gd name="T29" fmla="*/ 706 h 1541"/>
                    <a:gd name="T30" fmla="*/ 1478 w 1890"/>
                    <a:gd name="T31" fmla="*/ 621 h 1541"/>
                    <a:gd name="T32" fmla="*/ 1313 w 1890"/>
                    <a:gd name="T33" fmla="*/ 549 h 1541"/>
                    <a:gd name="T34" fmla="*/ 1163 w 1890"/>
                    <a:gd name="T35" fmla="*/ 526 h 1541"/>
                    <a:gd name="T36" fmla="*/ 1373 w 1890"/>
                    <a:gd name="T37" fmla="*/ 652 h 1541"/>
                    <a:gd name="T38" fmla="*/ 1396 w 1890"/>
                    <a:gd name="T39" fmla="*/ 849 h 1541"/>
                    <a:gd name="T40" fmla="*/ 1593 w 1890"/>
                    <a:gd name="T41" fmla="*/ 897 h 1541"/>
                    <a:gd name="T42" fmla="*/ 1574 w 1890"/>
                    <a:gd name="T43" fmla="*/ 785 h 1541"/>
                    <a:gd name="T44" fmla="*/ 1224 w 1890"/>
                    <a:gd name="T45" fmla="*/ 925 h 1541"/>
                    <a:gd name="T46" fmla="*/ 1170 w 1890"/>
                    <a:gd name="T47" fmla="*/ 862 h 1541"/>
                    <a:gd name="T48" fmla="*/ 1341 w 1890"/>
                    <a:gd name="T49" fmla="*/ 650 h 1541"/>
                    <a:gd name="T50" fmla="*/ 1623 w 1890"/>
                    <a:gd name="T51" fmla="*/ 1363 h 1541"/>
                    <a:gd name="T52" fmla="*/ 1640 w 1890"/>
                    <a:gd name="T53" fmla="*/ 1447 h 1541"/>
                    <a:gd name="T54" fmla="*/ 1554 w 1890"/>
                    <a:gd name="T55" fmla="*/ 1330 h 1541"/>
                    <a:gd name="T56" fmla="*/ 1760 w 1890"/>
                    <a:gd name="T57" fmla="*/ 1181 h 1541"/>
                    <a:gd name="T58" fmla="*/ 1673 w 1890"/>
                    <a:gd name="T59" fmla="*/ 1052 h 1541"/>
                    <a:gd name="T60" fmla="*/ 1519 w 1890"/>
                    <a:gd name="T61" fmla="*/ 1045 h 1541"/>
                    <a:gd name="T62" fmla="*/ 1355 w 1890"/>
                    <a:gd name="T63" fmla="*/ 989 h 1541"/>
                    <a:gd name="T64" fmla="*/ 1242 w 1890"/>
                    <a:gd name="T65" fmla="*/ 1148 h 1541"/>
                    <a:gd name="T66" fmla="*/ 1069 w 1890"/>
                    <a:gd name="T67" fmla="*/ 886 h 1541"/>
                    <a:gd name="T68" fmla="*/ 1188 w 1890"/>
                    <a:gd name="T69" fmla="*/ 757 h 1541"/>
                    <a:gd name="T70" fmla="*/ 1182 w 1890"/>
                    <a:gd name="T71" fmla="*/ 682 h 1541"/>
                    <a:gd name="T72" fmla="*/ 966 w 1890"/>
                    <a:gd name="T73" fmla="*/ 580 h 1541"/>
                    <a:gd name="T74" fmla="*/ 968 w 1890"/>
                    <a:gd name="T75" fmla="*/ 727 h 1541"/>
                    <a:gd name="T76" fmla="*/ 737 w 1890"/>
                    <a:gd name="T77" fmla="*/ 685 h 1541"/>
                    <a:gd name="T78" fmla="*/ 355 w 1890"/>
                    <a:gd name="T79" fmla="*/ 643 h 1541"/>
                    <a:gd name="T80" fmla="*/ 177 w 1890"/>
                    <a:gd name="T81" fmla="*/ 650 h 1541"/>
                    <a:gd name="T82" fmla="*/ 229 w 1890"/>
                    <a:gd name="T83" fmla="*/ 1124 h 1541"/>
                    <a:gd name="T84" fmla="*/ 281 w 1890"/>
                    <a:gd name="T85" fmla="*/ 1246 h 1541"/>
                    <a:gd name="T86" fmla="*/ 1048 w 1890"/>
                    <a:gd name="T87" fmla="*/ 1358 h 1541"/>
                    <a:gd name="T88" fmla="*/ 257 w 1890"/>
                    <a:gd name="T89" fmla="*/ 1204 h 1541"/>
                    <a:gd name="T90" fmla="*/ 1633 w 1890"/>
                    <a:gd name="T91" fmla="*/ 1372 h 1541"/>
                    <a:gd name="T92" fmla="*/ 1825 w 1890"/>
                    <a:gd name="T93" fmla="*/ 1255 h 1541"/>
                    <a:gd name="T94" fmla="*/ 1877 w 1890"/>
                    <a:gd name="T95" fmla="*/ 1405 h 1541"/>
                    <a:gd name="T96" fmla="*/ 1436 w 1890"/>
                    <a:gd name="T97" fmla="*/ 1435 h 1541"/>
                    <a:gd name="T98" fmla="*/ 343 w 1890"/>
                    <a:gd name="T99" fmla="*/ 1346 h 1541"/>
                    <a:gd name="T100" fmla="*/ 1015 w 1890"/>
                    <a:gd name="T101" fmla="*/ 254 h 1541"/>
                    <a:gd name="T102" fmla="*/ 1078 w 1890"/>
                    <a:gd name="T103" fmla="*/ 154 h 1541"/>
                    <a:gd name="T104" fmla="*/ 833 w 1890"/>
                    <a:gd name="T105" fmla="*/ 360 h 1541"/>
                    <a:gd name="T106" fmla="*/ 886 w 1890"/>
                    <a:gd name="T107" fmla="*/ 180 h 1541"/>
                    <a:gd name="T108" fmla="*/ 1188 w 1890"/>
                    <a:gd name="T109" fmla="*/ 453 h 1541"/>
                    <a:gd name="T110" fmla="*/ 1099 w 1890"/>
                    <a:gd name="T111" fmla="*/ 379 h 1541"/>
                    <a:gd name="T112" fmla="*/ 966 w 1890"/>
                    <a:gd name="T113" fmla="*/ 299 h 1541"/>
                    <a:gd name="T114" fmla="*/ 772 w 1890"/>
                    <a:gd name="T115" fmla="*/ 268 h 1541"/>
                    <a:gd name="T116" fmla="*/ 196 w 1890"/>
                    <a:gd name="T117" fmla="*/ 1187 h 1541"/>
                    <a:gd name="T118" fmla="*/ 395 w 1890"/>
                    <a:gd name="T119" fmla="*/ 593 h 1541"/>
                    <a:gd name="T120" fmla="*/ 505 w 1890"/>
                    <a:gd name="T121" fmla="*/ 407 h 1541"/>
                    <a:gd name="T122" fmla="*/ 727 w 1890"/>
                    <a:gd name="T123" fmla="*/ 383 h 1541"/>
                    <a:gd name="T124" fmla="*/ 477 w 1890"/>
                    <a:gd name="T125" fmla="*/ 400 h 1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90" h="1541">
                      <a:moveTo>
                        <a:pt x="950" y="547"/>
                      </a:moveTo>
                      <a:lnTo>
                        <a:pt x="945" y="551"/>
                      </a:lnTo>
                      <a:lnTo>
                        <a:pt x="948" y="552"/>
                      </a:lnTo>
                      <a:lnTo>
                        <a:pt x="948" y="554"/>
                      </a:lnTo>
                      <a:lnTo>
                        <a:pt x="950" y="554"/>
                      </a:lnTo>
                      <a:lnTo>
                        <a:pt x="948" y="556"/>
                      </a:lnTo>
                      <a:lnTo>
                        <a:pt x="947" y="559"/>
                      </a:lnTo>
                      <a:lnTo>
                        <a:pt x="947" y="561"/>
                      </a:lnTo>
                      <a:lnTo>
                        <a:pt x="947" y="563"/>
                      </a:lnTo>
                      <a:lnTo>
                        <a:pt x="948" y="565"/>
                      </a:lnTo>
                      <a:lnTo>
                        <a:pt x="950" y="566"/>
                      </a:lnTo>
                      <a:lnTo>
                        <a:pt x="948" y="568"/>
                      </a:lnTo>
                      <a:lnTo>
                        <a:pt x="948" y="570"/>
                      </a:lnTo>
                      <a:lnTo>
                        <a:pt x="945" y="570"/>
                      </a:lnTo>
                      <a:lnTo>
                        <a:pt x="943" y="570"/>
                      </a:lnTo>
                      <a:lnTo>
                        <a:pt x="941" y="572"/>
                      </a:lnTo>
                      <a:lnTo>
                        <a:pt x="936" y="573"/>
                      </a:lnTo>
                      <a:lnTo>
                        <a:pt x="931" y="575"/>
                      </a:lnTo>
                      <a:lnTo>
                        <a:pt x="928" y="575"/>
                      </a:lnTo>
                      <a:lnTo>
                        <a:pt x="921" y="575"/>
                      </a:lnTo>
                      <a:lnTo>
                        <a:pt x="917" y="575"/>
                      </a:lnTo>
                      <a:lnTo>
                        <a:pt x="915" y="573"/>
                      </a:lnTo>
                      <a:lnTo>
                        <a:pt x="914" y="572"/>
                      </a:lnTo>
                      <a:lnTo>
                        <a:pt x="914" y="568"/>
                      </a:lnTo>
                      <a:lnTo>
                        <a:pt x="910" y="572"/>
                      </a:lnTo>
                      <a:lnTo>
                        <a:pt x="914" y="577"/>
                      </a:lnTo>
                      <a:lnTo>
                        <a:pt x="915" y="582"/>
                      </a:lnTo>
                      <a:lnTo>
                        <a:pt x="912" y="586"/>
                      </a:lnTo>
                      <a:lnTo>
                        <a:pt x="907" y="587"/>
                      </a:lnTo>
                      <a:lnTo>
                        <a:pt x="901" y="587"/>
                      </a:lnTo>
                      <a:lnTo>
                        <a:pt x="896" y="586"/>
                      </a:lnTo>
                      <a:lnTo>
                        <a:pt x="893" y="584"/>
                      </a:lnTo>
                      <a:lnTo>
                        <a:pt x="891" y="582"/>
                      </a:lnTo>
                      <a:lnTo>
                        <a:pt x="887" y="577"/>
                      </a:lnTo>
                      <a:lnTo>
                        <a:pt x="886" y="575"/>
                      </a:lnTo>
                      <a:lnTo>
                        <a:pt x="882" y="573"/>
                      </a:lnTo>
                      <a:lnTo>
                        <a:pt x="863" y="558"/>
                      </a:lnTo>
                      <a:lnTo>
                        <a:pt x="859" y="554"/>
                      </a:lnTo>
                      <a:lnTo>
                        <a:pt x="856" y="554"/>
                      </a:lnTo>
                      <a:lnTo>
                        <a:pt x="854" y="552"/>
                      </a:lnTo>
                      <a:lnTo>
                        <a:pt x="854" y="552"/>
                      </a:lnTo>
                      <a:lnTo>
                        <a:pt x="852" y="551"/>
                      </a:lnTo>
                      <a:lnTo>
                        <a:pt x="852" y="551"/>
                      </a:lnTo>
                      <a:lnTo>
                        <a:pt x="851" y="551"/>
                      </a:lnTo>
                      <a:lnTo>
                        <a:pt x="849" y="551"/>
                      </a:lnTo>
                      <a:lnTo>
                        <a:pt x="845" y="551"/>
                      </a:lnTo>
                      <a:lnTo>
                        <a:pt x="842" y="551"/>
                      </a:lnTo>
                      <a:lnTo>
                        <a:pt x="840" y="551"/>
                      </a:lnTo>
                      <a:lnTo>
                        <a:pt x="838" y="549"/>
                      </a:lnTo>
                      <a:lnTo>
                        <a:pt x="837" y="545"/>
                      </a:lnTo>
                      <a:lnTo>
                        <a:pt x="833" y="544"/>
                      </a:lnTo>
                      <a:lnTo>
                        <a:pt x="826" y="538"/>
                      </a:lnTo>
                      <a:lnTo>
                        <a:pt x="821" y="535"/>
                      </a:lnTo>
                      <a:lnTo>
                        <a:pt x="819" y="531"/>
                      </a:lnTo>
                      <a:lnTo>
                        <a:pt x="819" y="528"/>
                      </a:lnTo>
                      <a:lnTo>
                        <a:pt x="821" y="523"/>
                      </a:lnTo>
                      <a:lnTo>
                        <a:pt x="823" y="521"/>
                      </a:lnTo>
                      <a:lnTo>
                        <a:pt x="824" y="519"/>
                      </a:lnTo>
                      <a:lnTo>
                        <a:pt x="828" y="517"/>
                      </a:lnTo>
                      <a:lnTo>
                        <a:pt x="830" y="517"/>
                      </a:lnTo>
                      <a:lnTo>
                        <a:pt x="833" y="517"/>
                      </a:lnTo>
                      <a:lnTo>
                        <a:pt x="835" y="517"/>
                      </a:lnTo>
                      <a:lnTo>
                        <a:pt x="838" y="521"/>
                      </a:lnTo>
                      <a:lnTo>
                        <a:pt x="844" y="526"/>
                      </a:lnTo>
                      <a:lnTo>
                        <a:pt x="845" y="528"/>
                      </a:lnTo>
                      <a:lnTo>
                        <a:pt x="847" y="531"/>
                      </a:lnTo>
                      <a:lnTo>
                        <a:pt x="849" y="533"/>
                      </a:lnTo>
                      <a:lnTo>
                        <a:pt x="851" y="533"/>
                      </a:lnTo>
                      <a:lnTo>
                        <a:pt x="854" y="533"/>
                      </a:lnTo>
                      <a:lnTo>
                        <a:pt x="861" y="533"/>
                      </a:lnTo>
                      <a:lnTo>
                        <a:pt x="865" y="531"/>
                      </a:lnTo>
                      <a:lnTo>
                        <a:pt x="866" y="531"/>
                      </a:lnTo>
                      <a:lnTo>
                        <a:pt x="868" y="530"/>
                      </a:lnTo>
                      <a:lnTo>
                        <a:pt x="868" y="526"/>
                      </a:lnTo>
                      <a:lnTo>
                        <a:pt x="868" y="521"/>
                      </a:lnTo>
                      <a:lnTo>
                        <a:pt x="872" y="524"/>
                      </a:lnTo>
                      <a:lnTo>
                        <a:pt x="873" y="524"/>
                      </a:lnTo>
                      <a:lnTo>
                        <a:pt x="875" y="523"/>
                      </a:lnTo>
                      <a:lnTo>
                        <a:pt x="875" y="519"/>
                      </a:lnTo>
                      <a:lnTo>
                        <a:pt x="873" y="517"/>
                      </a:lnTo>
                      <a:lnTo>
                        <a:pt x="868" y="514"/>
                      </a:lnTo>
                      <a:lnTo>
                        <a:pt x="868" y="514"/>
                      </a:lnTo>
                      <a:lnTo>
                        <a:pt x="866" y="514"/>
                      </a:lnTo>
                      <a:lnTo>
                        <a:pt x="866" y="512"/>
                      </a:lnTo>
                      <a:lnTo>
                        <a:pt x="865" y="512"/>
                      </a:lnTo>
                      <a:lnTo>
                        <a:pt x="865" y="510"/>
                      </a:lnTo>
                      <a:lnTo>
                        <a:pt x="866" y="509"/>
                      </a:lnTo>
                      <a:lnTo>
                        <a:pt x="868" y="509"/>
                      </a:lnTo>
                      <a:lnTo>
                        <a:pt x="868" y="507"/>
                      </a:lnTo>
                      <a:lnTo>
                        <a:pt x="872" y="507"/>
                      </a:lnTo>
                      <a:lnTo>
                        <a:pt x="877" y="510"/>
                      </a:lnTo>
                      <a:lnTo>
                        <a:pt x="880" y="510"/>
                      </a:lnTo>
                      <a:lnTo>
                        <a:pt x="879" y="509"/>
                      </a:lnTo>
                      <a:lnTo>
                        <a:pt x="877" y="507"/>
                      </a:lnTo>
                      <a:lnTo>
                        <a:pt x="875" y="505"/>
                      </a:lnTo>
                      <a:lnTo>
                        <a:pt x="873" y="505"/>
                      </a:lnTo>
                      <a:lnTo>
                        <a:pt x="870" y="503"/>
                      </a:lnTo>
                      <a:lnTo>
                        <a:pt x="870" y="503"/>
                      </a:lnTo>
                      <a:lnTo>
                        <a:pt x="866" y="505"/>
                      </a:lnTo>
                      <a:lnTo>
                        <a:pt x="861" y="505"/>
                      </a:lnTo>
                      <a:lnTo>
                        <a:pt x="858" y="505"/>
                      </a:lnTo>
                      <a:lnTo>
                        <a:pt x="852" y="503"/>
                      </a:lnTo>
                      <a:lnTo>
                        <a:pt x="849" y="500"/>
                      </a:lnTo>
                      <a:lnTo>
                        <a:pt x="845" y="498"/>
                      </a:lnTo>
                      <a:lnTo>
                        <a:pt x="845" y="496"/>
                      </a:lnTo>
                      <a:lnTo>
                        <a:pt x="847" y="495"/>
                      </a:lnTo>
                      <a:lnTo>
                        <a:pt x="851" y="493"/>
                      </a:lnTo>
                      <a:lnTo>
                        <a:pt x="856" y="493"/>
                      </a:lnTo>
                      <a:lnTo>
                        <a:pt x="859" y="495"/>
                      </a:lnTo>
                      <a:lnTo>
                        <a:pt x="866" y="498"/>
                      </a:lnTo>
                      <a:lnTo>
                        <a:pt x="865" y="495"/>
                      </a:lnTo>
                      <a:lnTo>
                        <a:pt x="856" y="489"/>
                      </a:lnTo>
                      <a:lnTo>
                        <a:pt x="856" y="486"/>
                      </a:lnTo>
                      <a:lnTo>
                        <a:pt x="858" y="486"/>
                      </a:lnTo>
                      <a:lnTo>
                        <a:pt x="861" y="484"/>
                      </a:lnTo>
                      <a:lnTo>
                        <a:pt x="865" y="484"/>
                      </a:lnTo>
                      <a:lnTo>
                        <a:pt x="866" y="484"/>
                      </a:lnTo>
                      <a:lnTo>
                        <a:pt x="873" y="486"/>
                      </a:lnTo>
                      <a:lnTo>
                        <a:pt x="877" y="486"/>
                      </a:lnTo>
                      <a:lnTo>
                        <a:pt x="879" y="484"/>
                      </a:lnTo>
                      <a:lnTo>
                        <a:pt x="875" y="484"/>
                      </a:lnTo>
                      <a:lnTo>
                        <a:pt x="873" y="484"/>
                      </a:lnTo>
                      <a:lnTo>
                        <a:pt x="872" y="482"/>
                      </a:lnTo>
                      <a:lnTo>
                        <a:pt x="873" y="481"/>
                      </a:lnTo>
                      <a:lnTo>
                        <a:pt x="875" y="481"/>
                      </a:lnTo>
                      <a:lnTo>
                        <a:pt x="877" y="481"/>
                      </a:lnTo>
                      <a:lnTo>
                        <a:pt x="879" y="481"/>
                      </a:lnTo>
                      <a:lnTo>
                        <a:pt x="882" y="482"/>
                      </a:lnTo>
                      <a:lnTo>
                        <a:pt x="889" y="486"/>
                      </a:lnTo>
                      <a:lnTo>
                        <a:pt x="893" y="488"/>
                      </a:lnTo>
                      <a:lnTo>
                        <a:pt x="894" y="488"/>
                      </a:lnTo>
                      <a:lnTo>
                        <a:pt x="898" y="488"/>
                      </a:lnTo>
                      <a:lnTo>
                        <a:pt x="901" y="488"/>
                      </a:lnTo>
                      <a:lnTo>
                        <a:pt x="922" y="482"/>
                      </a:lnTo>
                      <a:lnTo>
                        <a:pt x="926" y="482"/>
                      </a:lnTo>
                      <a:lnTo>
                        <a:pt x="931" y="482"/>
                      </a:lnTo>
                      <a:lnTo>
                        <a:pt x="934" y="484"/>
                      </a:lnTo>
                      <a:lnTo>
                        <a:pt x="938" y="486"/>
                      </a:lnTo>
                      <a:lnTo>
                        <a:pt x="940" y="489"/>
                      </a:lnTo>
                      <a:lnTo>
                        <a:pt x="940" y="491"/>
                      </a:lnTo>
                      <a:lnTo>
                        <a:pt x="938" y="493"/>
                      </a:lnTo>
                      <a:lnTo>
                        <a:pt x="936" y="495"/>
                      </a:lnTo>
                      <a:lnTo>
                        <a:pt x="931" y="495"/>
                      </a:lnTo>
                      <a:lnTo>
                        <a:pt x="928" y="496"/>
                      </a:lnTo>
                      <a:lnTo>
                        <a:pt x="929" y="498"/>
                      </a:lnTo>
                      <a:lnTo>
                        <a:pt x="931" y="498"/>
                      </a:lnTo>
                      <a:lnTo>
                        <a:pt x="933" y="498"/>
                      </a:lnTo>
                      <a:lnTo>
                        <a:pt x="934" y="498"/>
                      </a:lnTo>
                      <a:lnTo>
                        <a:pt x="934" y="500"/>
                      </a:lnTo>
                      <a:lnTo>
                        <a:pt x="933" y="503"/>
                      </a:lnTo>
                      <a:lnTo>
                        <a:pt x="924" y="507"/>
                      </a:lnTo>
                      <a:lnTo>
                        <a:pt x="922" y="509"/>
                      </a:lnTo>
                      <a:lnTo>
                        <a:pt x="912" y="517"/>
                      </a:lnTo>
                      <a:lnTo>
                        <a:pt x="910" y="519"/>
                      </a:lnTo>
                      <a:lnTo>
                        <a:pt x="910" y="523"/>
                      </a:lnTo>
                      <a:lnTo>
                        <a:pt x="912" y="523"/>
                      </a:lnTo>
                      <a:lnTo>
                        <a:pt x="914" y="523"/>
                      </a:lnTo>
                      <a:lnTo>
                        <a:pt x="915" y="521"/>
                      </a:lnTo>
                      <a:lnTo>
                        <a:pt x="919" y="519"/>
                      </a:lnTo>
                      <a:lnTo>
                        <a:pt x="922" y="519"/>
                      </a:lnTo>
                      <a:lnTo>
                        <a:pt x="926" y="519"/>
                      </a:lnTo>
                      <a:lnTo>
                        <a:pt x="928" y="519"/>
                      </a:lnTo>
                      <a:lnTo>
                        <a:pt x="931" y="521"/>
                      </a:lnTo>
                      <a:lnTo>
                        <a:pt x="933" y="523"/>
                      </a:lnTo>
                      <a:lnTo>
                        <a:pt x="934" y="524"/>
                      </a:lnTo>
                      <a:lnTo>
                        <a:pt x="933" y="526"/>
                      </a:lnTo>
                      <a:lnTo>
                        <a:pt x="934" y="528"/>
                      </a:lnTo>
                      <a:lnTo>
                        <a:pt x="936" y="528"/>
                      </a:lnTo>
                      <a:lnTo>
                        <a:pt x="938" y="530"/>
                      </a:lnTo>
                      <a:lnTo>
                        <a:pt x="940" y="531"/>
                      </a:lnTo>
                      <a:lnTo>
                        <a:pt x="940" y="533"/>
                      </a:lnTo>
                      <a:lnTo>
                        <a:pt x="938" y="537"/>
                      </a:lnTo>
                      <a:lnTo>
                        <a:pt x="940" y="537"/>
                      </a:lnTo>
                      <a:lnTo>
                        <a:pt x="941" y="537"/>
                      </a:lnTo>
                      <a:lnTo>
                        <a:pt x="945" y="535"/>
                      </a:lnTo>
                      <a:lnTo>
                        <a:pt x="948" y="533"/>
                      </a:lnTo>
                      <a:lnTo>
                        <a:pt x="952" y="537"/>
                      </a:lnTo>
                      <a:lnTo>
                        <a:pt x="954" y="542"/>
                      </a:lnTo>
                      <a:lnTo>
                        <a:pt x="950" y="547"/>
                      </a:lnTo>
                      <a:close/>
                      <a:moveTo>
                        <a:pt x="955" y="434"/>
                      </a:moveTo>
                      <a:lnTo>
                        <a:pt x="955" y="434"/>
                      </a:lnTo>
                      <a:lnTo>
                        <a:pt x="957" y="435"/>
                      </a:lnTo>
                      <a:lnTo>
                        <a:pt x="957" y="435"/>
                      </a:lnTo>
                      <a:lnTo>
                        <a:pt x="957" y="434"/>
                      </a:lnTo>
                      <a:lnTo>
                        <a:pt x="957" y="434"/>
                      </a:lnTo>
                      <a:lnTo>
                        <a:pt x="964" y="439"/>
                      </a:lnTo>
                      <a:lnTo>
                        <a:pt x="966" y="441"/>
                      </a:lnTo>
                      <a:lnTo>
                        <a:pt x="968" y="441"/>
                      </a:lnTo>
                      <a:lnTo>
                        <a:pt x="975" y="442"/>
                      </a:lnTo>
                      <a:lnTo>
                        <a:pt x="976" y="442"/>
                      </a:lnTo>
                      <a:lnTo>
                        <a:pt x="978" y="444"/>
                      </a:lnTo>
                      <a:lnTo>
                        <a:pt x="985" y="448"/>
                      </a:lnTo>
                      <a:lnTo>
                        <a:pt x="990" y="449"/>
                      </a:lnTo>
                      <a:lnTo>
                        <a:pt x="996" y="449"/>
                      </a:lnTo>
                      <a:lnTo>
                        <a:pt x="1010" y="449"/>
                      </a:lnTo>
                      <a:lnTo>
                        <a:pt x="1013" y="448"/>
                      </a:lnTo>
                      <a:lnTo>
                        <a:pt x="1015" y="446"/>
                      </a:lnTo>
                      <a:lnTo>
                        <a:pt x="1017" y="442"/>
                      </a:lnTo>
                      <a:lnTo>
                        <a:pt x="1017" y="439"/>
                      </a:lnTo>
                      <a:lnTo>
                        <a:pt x="1015" y="421"/>
                      </a:lnTo>
                      <a:lnTo>
                        <a:pt x="1013" y="416"/>
                      </a:lnTo>
                      <a:lnTo>
                        <a:pt x="1010" y="411"/>
                      </a:lnTo>
                      <a:lnTo>
                        <a:pt x="1008" y="407"/>
                      </a:lnTo>
                      <a:lnTo>
                        <a:pt x="999" y="399"/>
                      </a:lnTo>
                      <a:lnTo>
                        <a:pt x="990" y="395"/>
                      </a:lnTo>
                      <a:lnTo>
                        <a:pt x="980" y="395"/>
                      </a:lnTo>
                      <a:lnTo>
                        <a:pt x="969" y="400"/>
                      </a:lnTo>
                      <a:lnTo>
                        <a:pt x="968" y="402"/>
                      </a:lnTo>
                      <a:lnTo>
                        <a:pt x="966" y="404"/>
                      </a:lnTo>
                      <a:lnTo>
                        <a:pt x="964" y="406"/>
                      </a:lnTo>
                      <a:lnTo>
                        <a:pt x="962" y="407"/>
                      </a:lnTo>
                      <a:lnTo>
                        <a:pt x="961" y="411"/>
                      </a:lnTo>
                      <a:lnTo>
                        <a:pt x="959" y="416"/>
                      </a:lnTo>
                      <a:lnTo>
                        <a:pt x="957" y="418"/>
                      </a:lnTo>
                      <a:lnTo>
                        <a:pt x="955" y="420"/>
                      </a:lnTo>
                      <a:lnTo>
                        <a:pt x="954" y="420"/>
                      </a:lnTo>
                      <a:lnTo>
                        <a:pt x="954" y="421"/>
                      </a:lnTo>
                      <a:lnTo>
                        <a:pt x="952" y="423"/>
                      </a:lnTo>
                      <a:lnTo>
                        <a:pt x="952" y="423"/>
                      </a:lnTo>
                      <a:lnTo>
                        <a:pt x="950" y="425"/>
                      </a:lnTo>
                      <a:lnTo>
                        <a:pt x="950" y="427"/>
                      </a:lnTo>
                      <a:lnTo>
                        <a:pt x="950" y="430"/>
                      </a:lnTo>
                      <a:lnTo>
                        <a:pt x="950" y="432"/>
                      </a:lnTo>
                      <a:lnTo>
                        <a:pt x="952" y="432"/>
                      </a:lnTo>
                      <a:lnTo>
                        <a:pt x="954" y="432"/>
                      </a:lnTo>
                      <a:lnTo>
                        <a:pt x="955" y="434"/>
                      </a:lnTo>
                      <a:close/>
                      <a:moveTo>
                        <a:pt x="1165" y="636"/>
                      </a:moveTo>
                      <a:lnTo>
                        <a:pt x="1162" y="634"/>
                      </a:lnTo>
                      <a:lnTo>
                        <a:pt x="1156" y="633"/>
                      </a:lnTo>
                      <a:lnTo>
                        <a:pt x="1151" y="633"/>
                      </a:lnTo>
                      <a:lnTo>
                        <a:pt x="1148" y="634"/>
                      </a:lnTo>
                      <a:lnTo>
                        <a:pt x="1151" y="638"/>
                      </a:lnTo>
                      <a:lnTo>
                        <a:pt x="1158" y="640"/>
                      </a:lnTo>
                      <a:lnTo>
                        <a:pt x="1163" y="640"/>
                      </a:lnTo>
                      <a:lnTo>
                        <a:pt x="1165" y="636"/>
                      </a:lnTo>
                      <a:close/>
                      <a:moveTo>
                        <a:pt x="870" y="676"/>
                      </a:moveTo>
                      <a:lnTo>
                        <a:pt x="872" y="676"/>
                      </a:lnTo>
                      <a:lnTo>
                        <a:pt x="873" y="673"/>
                      </a:lnTo>
                      <a:lnTo>
                        <a:pt x="872" y="671"/>
                      </a:lnTo>
                      <a:lnTo>
                        <a:pt x="870" y="669"/>
                      </a:lnTo>
                      <a:lnTo>
                        <a:pt x="866" y="669"/>
                      </a:lnTo>
                      <a:lnTo>
                        <a:pt x="865" y="669"/>
                      </a:lnTo>
                      <a:lnTo>
                        <a:pt x="865" y="669"/>
                      </a:lnTo>
                      <a:lnTo>
                        <a:pt x="863" y="671"/>
                      </a:lnTo>
                      <a:lnTo>
                        <a:pt x="863" y="675"/>
                      </a:lnTo>
                      <a:lnTo>
                        <a:pt x="866" y="676"/>
                      </a:lnTo>
                      <a:lnTo>
                        <a:pt x="870" y="676"/>
                      </a:lnTo>
                      <a:close/>
                      <a:moveTo>
                        <a:pt x="1156" y="706"/>
                      </a:moveTo>
                      <a:lnTo>
                        <a:pt x="1158" y="708"/>
                      </a:lnTo>
                      <a:lnTo>
                        <a:pt x="1160" y="710"/>
                      </a:lnTo>
                      <a:lnTo>
                        <a:pt x="1163" y="710"/>
                      </a:lnTo>
                      <a:lnTo>
                        <a:pt x="1165" y="708"/>
                      </a:lnTo>
                      <a:lnTo>
                        <a:pt x="1167" y="706"/>
                      </a:lnTo>
                      <a:lnTo>
                        <a:pt x="1168" y="699"/>
                      </a:lnTo>
                      <a:lnTo>
                        <a:pt x="1165" y="694"/>
                      </a:lnTo>
                      <a:lnTo>
                        <a:pt x="1160" y="692"/>
                      </a:lnTo>
                      <a:lnTo>
                        <a:pt x="1156" y="697"/>
                      </a:lnTo>
                      <a:lnTo>
                        <a:pt x="1156" y="701"/>
                      </a:lnTo>
                      <a:lnTo>
                        <a:pt x="1156" y="703"/>
                      </a:lnTo>
                      <a:lnTo>
                        <a:pt x="1156" y="706"/>
                      </a:lnTo>
                      <a:close/>
                      <a:moveTo>
                        <a:pt x="968" y="659"/>
                      </a:moveTo>
                      <a:lnTo>
                        <a:pt x="971" y="659"/>
                      </a:lnTo>
                      <a:lnTo>
                        <a:pt x="973" y="659"/>
                      </a:lnTo>
                      <a:lnTo>
                        <a:pt x="975" y="657"/>
                      </a:lnTo>
                      <a:lnTo>
                        <a:pt x="976" y="655"/>
                      </a:lnTo>
                      <a:lnTo>
                        <a:pt x="973" y="654"/>
                      </a:lnTo>
                      <a:lnTo>
                        <a:pt x="969" y="652"/>
                      </a:lnTo>
                      <a:lnTo>
                        <a:pt x="968" y="652"/>
                      </a:lnTo>
                      <a:lnTo>
                        <a:pt x="964" y="652"/>
                      </a:lnTo>
                      <a:lnTo>
                        <a:pt x="964" y="654"/>
                      </a:lnTo>
                      <a:lnTo>
                        <a:pt x="962" y="655"/>
                      </a:lnTo>
                      <a:lnTo>
                        <a:pt x="962" y="657"/>
                      </a:lnTo>
                      <a:lnTo>
                        <a:pt x="964" y="659"/>
                      </a:lnTo>
                      <a:lnTo>
                        <a:pt x="966" y="659"/>
                      </a:lnTo>
                      <a:lnTo>
                        <a:pt x="966" y="657"/>
                      </a:lnTo>
                      <a:lnTo>
                        <a:pt x="966" y="654"/>
                      </a:lnTo>
                      <a:lnTo>
                        <a:pt x="968" y="654"/>
                      </a:lnTo>
                      <a:lnTo>
                        <a:pt x="969" y="654"/>
                      </a:lnTo>
                      <a:lnTo>
                        <a:pt x="969" y="655"/>
                      </a:lnTo>
                      <a:lnTo>
                        <a:pt x="969" y="657"/>
                      </a:lnTo>
                      <a:lnTo>
                        <a:pt x="968" y="659"/>
                      </a:lnTo>
                      <a:close/>
                      <a:moveTo>
                        <a:pt x="865" y="617"/>
                      </a:moveTo>
                      <a:lnTo>
                        <a:pt x="868" y="619"/>
                      </a:lnTo>
                      <a:lnTo>
                        <a:pt x="870" y="619"/>
                      </a:lnTo>
                      <a:lnTo>
                        <a:pt x="870" y="617"/>
                      </a:lnTo>
                      <a:lnTo>
                        <a:pt x="870" y="617"/>
                      </a:lnTo>
                      <a:lnTo>
                        <a:pt x="872" y="615"/>
                      </a:lnTo>
                      <a:lnTo>
                        <a:pt x="868" y="614"/>
                      </a:lnTo>
                      <a:lnTo>
                        <a:pt x="866" y="612"/>
                      </a:lnTo>
                      <a:lnTo>
                        <a:pt x="865" y="612"/>
                      </a:lnTo>
                      <a:lnTo>
                        <a:pt x="863" y="614"/>
                      </a:lnTo>
                      <a:lnTo>
                        <a:pt x="863" y="615"/>
                      </a:lnTo>
                      <a:lnTo>
                        <a:pt x="863" y="617"/>
                      </a:lnTo>
                      <a:lnTo>
                        <a:pt x="865" y="617"/>
                      </a:lnTo>
                      <a:close/>
                      <a:moveTo>
                        <a:pt x="959" y="662"/>
                      </a:moveTo>
                      <a:lnTo>
                        <a:pt x="954" y="659"/>
                      </a:lnTo>
                      <a:lnTo>
                        <a:pt x="950" y="657"/>
                      </a:lnTo>
                      <a:lnTo>
                        <a:pt x="934" y="650"/>
                      </a:lnTo>
                      <a:lnTo>
                        <a:pt x="933" y="650"/>
                      </a:lnTo>
                      <a:lnTo>
                        <a:pt x="933" y="650"/>
                      </a:lnTo>
                      <a:lnTo>
                        <a:pt x="933" y="652"/>
                      </a:lnTo>
                      <a:lnTo>
                        <a:pt x="931" y="652"/>
                      </a:lnTo>
                      <a:lnTo>
                        <a:pt x="931" y="650"/>
                      </a:lnTo>
                      <a:lnTo>
                        <a:pt x="931" y="650"/>
                      </a:lnTo>
                      <a:lnTo>
                        <a:pt x="933" y="650"/>
                      </a:lnTo>
                      <a:lnTo>
                        <a:pt x="933" y="650"/>
                      </a:lnTo>
                      <a:lnTo>
                        <a:pt x="931" y="648"/>
                      </a:lnTo>
                      <a:lnTo>
                        <a:pt x="928" y="647"/>
                      </a:lnTo>
                      <a:lnTo>
                        <a:pt x="924" y="645"/>
                      </a:lnTo>
                      <a:lnTo>
                        <a:pt x="922" y="645"/>
                      </a:lnTo>
                      <a:lnTo>
                        <a:pt x="917" y="647"/>
                      </a:lnTo>
                      <a:lnTo>
                        <a:pt x="914" y="648"/>
                      </a:lnTo>
                      <a:lnTo>
                        <a:pt x="914" y="654"/>
                      </a:lnTo>
                      <a:lnTo>
                        <a:pt x="919" y="657"/>
                      </a:lnTo>
                      <a:lnTo>
                        <a:pt x="917" y="655"/>
                      </a:lnTo>
                      <a:lnTo>
                        <a:pt x="912" y="654"/>
                      </a:lnTo>
                      <a:lnTo>
                        <a:pt x="910" y="654"/>
                      </a:lnTo>
                      <a:lnTo>
                        <a:pt x="908" y="654"/>
                      </a:lnTo>
                      <a:lnTo>
                        <a:pt x="908" y="654"/>
                      </a:lnTo>
                      <a:lnTo>
                        <a:pt x="908" y="655"/>
                      </a:lnTo>
                      <a:lnTo>
                        <a:pt x="910" y="655"/>
                      </a:lnTo>
                      <a:lnTo>
                        <a:pt x="908" y="655"/>
                      </a:lnTo>
                      <a:lnTo>
                        <a:pt x="908" y="657"/>
                      </a:lnTo>
                      <a:lnTo>
                        <a:pt x="910" y="657"/>
                      </a:lnTo>
                      <a:lnTo>
                        <a:pt x="910" y="659"/>
                      </a:lnTo>
                      <a:lnTo>
                        <a:pt x="908" y="661"/>
                      </a:lnTo>
                      <a:lnTo>
                        <a:pt x="907" y="662"/>
                      </a:lnTo>
                      <a:lnTo>
                        <a:pt x="905" y="662"/>
                      </a:lnTo>
                      <a:lnTo>
                        <a:pt x="903" y="664"/>
                      </a:lnTo>
                      <a:lnTo>
                        <a:pt x="900" y="664"/>
                      </a:lnTo>
                      <a:lnTo>
                        <a:pt x="894" y="664"/>
                      </a:lnTo>
                      <a:lnTo>
                        <a:pt x="889" y="666"/>
                      </a:lnTo>
                      <a:lnTo>
                        <a:pt x="886" y="668"/>
                      </a:lnTo>
                      <a:lnTo>
                        <a:pt x="887" y="671"/>
                      </a:lnTo>
                      <a:lnTo>
                        <a:pt x="889" y="673"/>
                      </a:lnTo>
                      <a:lnTo>
                        <a:pt x="891" y="673"/>
                      </a:lnTo>
                      <a:lnTo>
                        <a:pt x="894" y="673"/>
                      </a:lnTo>
                      <a:lnTo>
                        <a:pt x="896" y="673"/>
                      </a:lnTo>
                      <a:lnTo>
                        <a:pt x="896" y="673"/>
                      </a:lnTo>
                      <a:lnTo>
                        <a:pt x="898" y="671"/>
                      </a:lnTo>
                      <a:lnTo>
                        <a:pt x="900" y="671"/>
                      </a:lnTo>
                      <a:lnTo>
                        <a:pt x="901" y="673"/>
                      </a:lnTo>
                      <a:lnTo>
                        <a:pt x="901" y="675"/>
                      </a:lnTo>
                      <a:lnTo>
                        <a:pt x="903" y="675"/>
                      </a:lnTo>
                      <a:lnTo>
                        <a:pt x="905" y="675"/>
                      </a:lnTo>
                      <a:lnTo>
                        <a:pt x="908" y="675"/>
                      </a:lnTo>
                      <a:lnTo>
                        <a:pt x="910" y="675"/>
                      </a:lnTo>
                      <a:lnTo>
                        <a:pt x="912" y="675"/>
                      </a:lnTo>
                      <a:lnTo>
                        <a:pt x="914" y="675"/>
                      </a:lnTo>
                      <a:lnTo>
                        <a:pt x="914" y="676"/>
                      </a:lnTo>
                      <a:lnTo>
                        <a:pt x="914" y="676"/>
                      </a:lnTo>
                      <a:lnTo>
                        <a:pt x="915" y="678"/>
                      </a:lnTo>
                      <a:lnTo>
                        <a:pt x="919" y="678"/>
                      </a:lnTo>
                      <a:lnTo>
                        <a:pt x="933" y="683"/>
                      </a:lnTo>
                      <a:lnTo>
                        <a:pt x="940" y="685"/>
                      </a:lnTo>
                      <a:lnTo>
                        <a:pt x="947" y="685"/>
                      </a:lnTo>
                      <a:lnTo>
                        <a:pt x="950" y="687"/>
                      </a:lnTo>
                      <a:lnTo>
                        <a:pt x="955" y="685"/>
                      </a:lnTo>
                      <a:lnTo>
                        <a:pt x="961" y="683"/>
                      </a:lnTo>
                      <a:lnTo>
                        <a:pt x="964" y="680"/>
                      </a:lnTo>
                      <a:lnTo>
                        <a:pt x="969" y="678"/>
                      </a:lnTo>
                      <a:lnTo>
                        <a:pt x="971" y="676"/>
                      </a:lnTo>
                      <a:lnTo>
                        <a:pt x="975" y="676"/>
                      </a:lnTo>
                      <a:lnTo>
                        <a:pt x="976" y="676"/>
                      </a:lnTo>
                      <a:lnTo>
                        <a:pt x="978" y="675"/>
                      </a:lnTo>
                      <a:lnTo>
                        <a:pt x="976" y="673"/>
                      </a:lnTo>
                      <a:lnTo>
                        <a:pt x="975" y="673"/>
                      </a:lnTo>
                      <a:lnTo>
                        <a:pt x="971" y="675"/>
                      </a:lnTo>
                      <a:lnTo>
                        <a:pt x="966" y="671"/>
                      </a:lnTo>
                      <a:lnTo>
                        <a:pt x="962" y="668"/>
                      </a:lnTo>
                      <a:lnTo>
                        <a:pt x="959" y="662"/>
                      </a:lnTo>
                      <a:close/>
                      <a:moveTo>
                        <a:pt x="1333" y="1118"/>
                      </a:moveTo>
                      <a:lnTo>
                        <a:pt x="1334" y="1117"/>
                      </a:lnTo>
                      <a:lnTo>
                        <a:pt x="1333" y="1115"/>
                      </a:lnTo>
                      <a:lnTo>
                        <a:pt x="1331" y="1115"/>
                      </a:lnTo>
                      <a:lnTo>
                        <a:pt x="1329" y="1118"/>
                      </a:lnTo>
                      <a:lnTo>
                        <a:pt x="1327" y="1122"/>
                      </a:lnTo>
                      <a:lnTo>
                        <a:pt x="1331" y="1122"/>
                      </a:lnTo>
                      <a:lnTo>
                        <a:pt x="1333" y="1118"/>
                      </a:lnTo>
                      <a:close/>
                      <a:moveTo>
                        <a:pt x="1336" y="979"/>
                      </a:moveTo>
                      <a:lnTo>
                        <a:pt x="1338" y="979"/>
                      </a:lnTo>
                      <a:lnTo>
                        <a:pt x="1340" y="977"/>
                      </a:lnTo>
                      <a:lnTo>
                        <a:pt x="1341" y="977"/>
                      </a:lnTo>
                      <a:lnTo>
                        <a:pt x="1341" y="975"/>
                      </a:lnTo>
                      <a:lnTo>
                        <a:pt x="1340" y="975"/>
                      </a:lnTo>
                      <a:lnTo>
                        <a:pt x="1336" y="975"/>
                      </a:lnTo>
                      <a:lnTo>
                        <a:pt x="1334" y="977"/>
                      </a:lnTo>
                      <a:lnTo>
                        <a:pt x="1333" y="979"/>
                      </a:lnTo>
                      <a:lnTo>
                        <a:pt x="1334" y="979"/>
                      </a:lnTo>
                      <a:lnTo>
                        <a:pt x="1336" y="979"/>
                      </a:lnTo>
                      <a:close/>
                      <a:moveTo>
                        <a:pt x="1350" y="897"/>
                      </a:moveTo>
                      <a:lnTo>
                        <a:pt x="1354" y="897"/>
                      </a:lnTo>
                      <a:lnTo>
                        <a:pt x="1355" y="895"/>
                      </a:lnTo>
                      <a:lnTo>
                        <a:pt x="1357" y="893"/>
                      </a:lnTo>
                      <a:lnTo>
                        <a:pt x="1357" y="890"/>
                      </a:lnTo>
                      <a:lnTo>
                        <a:pt x="1355" y="888"/>
                      </a:lnTo>
                      <a:lnTo>
                        <a:pt x="1352" y="886"/>
                      </a:lnTo>
                      <a:lnTo>
                        <a:pt x="1350" y="884"/>
                      </a:lnTo>
                      <a:lnTo>
                        <a:pt x="1347" y="884"/>
                      </a:lnTo>
                      <a:lnTo>
                        <a:pt x="1341" y="884"/>
                      </a:lnTo>
                      <a:lnTo>
                        <a:pt x="1338" y="884"/>
                      </a:lnTo>
                      <a:lnTo>
                        <a:pt x="1336" y="886"/>
                      </a:lnTo>
                      <a:lnTo>
                        <a:pt x="1336" y="890"/>
                      </a:lnTo>
                      <a:lnTo>
                        <a:pt x="1340" y="891"/>
                      </a:lnTo>
                      <a:lnTo>
                        <a:pt x="1347" y="897"/>
                      </a:lnTo>
                      <a:lnTo>
                        <a:pt x="1350" y="897"/>
                      </a:lnTo>
                      <a:close/>
                      <a:moveTo>
                        <a:pt x="1422" y="708"/>
                      </a:moveTo>
                      <a:lnTo>
                        <a:pt x="1425" y="708"/>
                      </a:lnTo>
                      <a:lnTo>
                        <a:pt x="1439" y="710"/>
                      </a:lnTo>
                      <a:lnTo>
                        <a:pt x="1444" y="708"/>
                      </a:lnTo>
                      <a:lnTo>
                        <a:pt x="1446" y="706"/>
                      </a:lnTo>
                      <a:lnTo>
                        <a:pt x="1444" y="703"/>
                      </a:lnTo>
                      <a:lnTo>
                        <a:pt x="1441" y="701"/>
                      </a:lnTo>
                      <a:lnTo>
                        <a:pt x="1432" y="699"/>
                      </a:lnTo>
                      <a:lnTo>
                        <a:pt x="1423" y="697"/>
                      </a:lnTo>
                      <a:lnTo>
                        <a:pt x="1420" y="699"/>
                      </a:lnTo>
                      <a:lnTo>
                        <a:pt x="1416" y="701"/>
                      </a:lnTo>
                      <a:lnTo>
                        <a:pt x="1418" y="704"/>
                      </a:lnTo>
                      <a:lnTo>
                        <a:pt x="1422" y="708"/>
                      </a:lnTo>
                      <a:close/>
                      <a:moveTo>
                        <a:pt x="1355" y="865"/>
                      </a:moveTo>
                      <a:lnTo>
                        <a:pt x="1357" y="865"/>
                      </a:lnTo>
                      <a:lnTo>
                        <a:pt x="1355" y="865"/>
                      </a:lnTo>
                      <a:lnTo>
                        <a:pt x="1352" y="865"/>
                      </a:lnTo>
                      <a:lnTo>
                        <a:pt x="1350" y="865"/>
                      </a:lnTo>
                      <a:lnTo>
                        <a:pt x="1348" y="865"/>
                      </a:lnTo>
                      <a:lnTo>
                        <a:pt x="1348" y="867"/>
                      </a:lnTo>
                      <a:lnTo>
                        <a:pt x="1352" y="867"/>
                      </a:lnTo>
                      <a:lnTo>
                        <a:pt x="1355" y="865"/>
                      </a:lnTo>
                      <a:close/>
                      <a:moveTo>
                        <a:pt x="877" y="671"/>
                      </a:moveTo>
                      <a:lnTo>
                        <a:pt x="877" y="669"/>
                      </a:lnTo>
                      <a:lnTo>
                        <a:pt x="877" y="668"/>
                      </a:lnTo>
                      <a:lnTo>
                        <a:pt x="875" y="666"/>
                      </a:lnTo>
                      <a:lnTo>
                        <a:pt x="873" y="666"/>
                      </a:lnTo>
                      <a:lnTo>
                        <a:pt x="872" y="668"/>
                      </a:lnTo>
                      <a:lnTo>
                        <a:pt x="872" y="669"/>
                      </a:lnTo>
                      <a:lnTo>
                        <a:pt x="873" y="671"/>
                      </a:lnTo>
                      <a:lnTo>
                        <a:pt x="877" y="671"/>
                      </a:lnTo>
                      <a:close/>
                      <a:moveTo>
                        <a:pt x="1389" y="690"/>
                      </a:moveTo>
                      <a:lnTo>
                        <a:pt x="1382" y="690"/>
                      </a:lnTo>
                      <a:lnTo>
                        <a:pt x="1378" y="692"/>
                      </a:lnTo>
                      <a:lnTo>
                        <a:pt x="1375" y="694"/>
                      </a:lnTo>
                      <a:lnTo>
                        <a:pt x="1369" y="697"/>
                      </a:lnTo>
                      <a:lnTo>
                        <a:pt x="1366" y="703"/>
                      </a:lnTo>
                      <a:lnTo>
                        <a:pt x="1364" y="706"/>
                      </a:lnTo>
                      <a:lnTo>
                        <a:pt x="1362" y="711"/>
                      </a:lnTo>
                      <a:lnTo>
                        <a:pt x="1362" y="715"/>
                      </a:lnTo>
                      <a:lnTo>
                        <a:pt x="1364" y="720"/>
                      </a:lnTo>
                      <a:lnTo>
                        <a:pt x="1366" y="725"/>
                      </a:lnTo>
                      <a:lnTo>
                        <a:pt x="1369" y="727"/>
                      </a:lnTo>
                      <a:lnTo>
                        <a:pt x="1373" y="729"/>
                      </a:lnTo>
                      <a:lnTo>
                        <a:pt x="1378" y="729"/>
                      </a:lnTo>
                      <a:lnTo>
                        <a:pt x="1392" y="727"/>
                      </a:lnTo>
                      <a:lnTo>
                        <a:pt x="1397" y="727"/>
                      </a:lnTo>
                      <a:lnTo>
                        <a:pt x="1401" y="725"/>
                      </a:lnTo>
                      <a:lnTo>
                        <a:pt x="1406" y="722"/>
                      </a:lnTo>
                      <a:lnTo>
                        <a:pt x="1408" y="718"/>
                      </a:lnTo>
                      <a:lnTo>
                        <a:pt x="1409" y="713"/>
                      </a:lnTo>
                      <a:lnTo>
                        <a:pt x="1409" y="704"/>
                      </a:lnTo>
                      <a:lnTo>
                        <a:pt x="1409" y="699"/>
                      </a:lnTo>
                      <a:lnTo>
                        <a:pt x="1409" y="696"/>
                      </a:lnTo>
                      <a:lnTo>
                        <a:pt x="1408" y="694"/>
                      </a:lnTo>
                      <a:lnTo>
                        <a:pt x="1404" y="692"/>
                      </a:lnTo>
                      <a:lnTo>
                        <a:pt x="1399" y="690"/>
                      </a:lnTo>
                      <a:lnTo>
                        <a:pt x="1389" y="690"/>
                      </a:lnTo>
                      <a:close/>
                      <a:moveTo>
                        <a:pt x="1368" y="657"/>
                      </a:moveTo>
                      <a:lnTo>
                        <a:pt x="1362" y="657"/>
                      </a:lnTo>
                      <a:lnTo>
                        <a:pt x="1361" y="662"/>
                      </a:lnTo>
                      <a:lnTo>
                        <a:pt x="1362" y="664"/>
                      </a:lnTo>
                      <a:lnTo>
                        <a:pt x="1364" y="666"/>
                      </a:lnTo>
                      <a:lnTo>
                        <a:pt x="1366" y="666"/>
                      </a:lnTo>
                      <a:lnTo>
                        <a:pt x="1369" y="666"/>
                      </a:lnTo>
                      <a:lnTo>
                        <a:pt x="1369" y="664"/>
                      </a:lnTo>
                      <a:lnTo>
                        <a:pt x="1375" y="661"/>
                      </a:lnTo>
                      <a:lnTo>
                        <a:pt x="1376" y="659"/>
                      </a:lnTo>
                      <a:lnTo>
                        <a:pt x="1373" y="657"/>
                      </a:lnTo>
                      <a:lnTo>
                        <a:pt x="1368" y="657"/>
                      </a:lnTo>
                      <a:close/>
                      <a:moveTo>
                        <a:pt x="1408" y="687"/>
                      </a:moveTo>
                      <a:lnTo>
                        <a:pt x="1409" y="689"/>
                      </a:lnTo>
                      <a:lnTo>
                        <a:pt x="1413" y="690"/>
                      </a:lnTo>
                      <a:lnTo>
                        <a:pt x="1415" y="689"/>
                      </a:lnTo>
                      <a:lnTo>
                        <a:pt x="1415" y="685"/>
                      </a:lnTo>
                      <a:lnTo>
                        <a:pt x="1411" y="682"/>
                      </a:lnTo>
                      <a:lnTo>
                        <a:pt x="1408" y="678"/>
                      </a:lnTo>
                      <a:lnTo>
                        <a:pt x="1406" y="680"/>
                      </a:lnTo>
                      <a:lnTo>
                        <a:pt x="1404" y="680"/>
                      </a:lnTo>
                      <a:lnTo>
                        <a:pt x="1402" y="682"/>
                      </a:lnTo>
                      <a:lnTo>
                        <a:pt x="1402" y="683"/>
                      </a:lnTo>
                      <a:lnTo>
                        <a:pt x="1404" y="685"/>
                      </a:lnTo>
                      <a:lnTo>
                        <a:pt x="1408" y="687"/>
                      </a:lnTo>
                      <a:close/>
                      <a:moveTo>
                        <a:pt x="952" y="404"/>
                      </a:moveTo>
                      <a:lnTo>
                        <a:pt x="952" y="402"/>
                      </a:lnTo>
                      <a:lnTo>
                        <a:pt x="955" y="402"/>
                      </a:lnTo>
                      <a:lnTo>
                        <a:pt x="957" y="402"/>
                      </a:lnTo>
                      <a:lnTo>
                        <a:pt x="957" y="402"/>
                      </a:lnTo>
                      <a:lnTo>
                        <a:pt x="959" y="402"/>
                      </a:lnTo>
                      <a:lnTo>
                        <a:pt x="961" y="400"/>
                      </a:lnTo>
                      <a:lnTo>
                        <a:pt x="962" y="399"/>
                      </a:lnTo>
                      <a:lnTo>
                        <a:pt x="962" y="397"/>
                      </a:lnTo>
                      <a:lnTo>
                        <a:pt x="962" y="397"/>
                      </a:lnTo>
                      <a:lnTo>
                        <a:pt x="959" y="393"/>
                      </a:lnTo>
                      <a:lnTo>
                        <a:pt x="957" y="393"/>
                      </a:lnTo>
                      <a:lnTo>
                        <a:pt x="955" y="392"/>
                      </a:lnTo>
                      <a:lnTo>
                        <a:pt x="954" y="392"/>
                      </a:lnTo>
                      <a:lnTo>
                        <a:pt x="954" y="393"/>
                      </a:lnTo>
                      <a:lnTo>
                        <a:pt x="952" y="395"/>
                      </a:lnTo>
                      <a:lnTo>
                        <a:pt x="950" y="397"/>
                      </a:lnTo>
                      <a:lnTo>
                        <a:pt x="948" y="399"/>
                      </a:lnTo>
                      <a:lnTo>
                        <a:pt x="943" y="400"/>
                      </a:lnTo>
                      <a:lnTo>
                        <a:pt x="941" y="400"/>
                      </a:lnTo>
                      <a:lnTo>
                        <a:pt x="940" y="406"/>
                      </a:lnTo>
                      <a:lnTo>
                        <a:pt x="941" y="407"/>
                      </a:lnTo>
                      <a:lnTo>
                        <a:pt x="945" y="409"/>
                      </a:lnTo>
                      <a:lnTo>
                        <a:pt x="948" y="407"/>
                      </a:lnTo>
                      <a:lnTo>
                        <a:pt x="950" y="406"/>
                      </a:lnTo>
                      <a:lnTo>
                        <a:pt x="952" y="404"/>
                      </a:lnTo>
                      <a:close/>
                      <a:moveTo>
                        <a:pt x="763" y="488"/>
                      </a:moveTo>
                      <a:lnTo>
                        <a:pt x="758" y="488"/>
                      </a:lnTo>
                      <a:lnTo>
                        <a:pt x="741" y="489"/>
                      </a:lnTo>
                      <a:lnTo>
                        <a:pt x="737" y="489"/>
                      </a:lnTo>
                      <a:lnTo>
                        <a:pt x="734" y="491"/>
                      </a:lnTo>
                      <a:lnTo>
                        <a:pt x="728" y="495"/>
                      </a:lnTo>
                      <a:lnTo>
                        <a:pt x="730" y="496"/>
                      </a:lnTo>
                      <a:lnTo>
                        <a:pt x="737" y="500"/>
                      </a:lnTo>
                      <a:lnTo>
                        <a:pt x="742" y="503"/>
                      </a:lnTo>
                      <a:lnTo>
                        <a:pt x="744" y="505"/>
                      </a:lnTo>
                      <a:lnTo>
                        <a:pt x="749" y="512"/>
                      </a:lnTo>
                      <a:lnTo>
                        <a:pt x="755" y="519"/>
                      </a:lnTo>
                      <a:lnTo>
                        <a:pt x="760" y="523"/>
                      </a:lnTo>
                      <a:lnTo>
                        <a:pt x="763" y="524"/>
                      </a:lnTo>
                      <a:lnTo>
                        <a:pt x="767" y="523"/>
                      </a:lnTo>
                      <a:lnTo>
                        <a:pt x="769" y="519"/>
                      </a:lnTo>
                      <a:lnTo>
                        <a:pt x="776" y="509"/>
                      </a:lnTo>
                      <a:lnTo>
                        <a:pt x="777" y="505"/>
                      </a:lnTo>
                      <a:lnTo>
                        <a:pt x="779" y="500"/>
                      </a:lnTo>
                      <a:lnTo>
                        <a:pt x="779" y="496"/>
                      </a:lnTo>
                      <a:lnTo>
                        <a:pt x="777" y="493"/>
                      </a:lnTo>
                      <a:lnTo>
                        <a:pt x="774" y="491"/>
                      </a:lnTo>
                      <a:lnTo>
                        <a:pt x="767" y="488"/>
                      </a:lnTo>
                      <a:lnTo>
                        <a:pt x="763" y="488"/>
                      </a:lnTo>
                      <a:close/>
                      <a:moveTo>
                        <a:pt x="912" y="475"/>
                      </a:moveTo>
                      <a:lnTo>
                        <a:pt x="896" y="479"/>
                      </a:lnTo>
                      <a:lnTo>
                        <a:pt x="891" y="481"/>
                      </a:lnTo>
                      <a:lnTo>
                        <a:pt x="891" y="482"/>
                      </a:lnTo>
                      <a:lnTo>
                        <a:pt x="896" y="484"/>
                      </a:lnTo>
                      <a:lnTo>
                        <a:pt x="900" y="484"/>
                      </a:lnTo>
                      <a:lnTo>
                        <a:pt x="905" y="484"/>
                      </a:lnTo>
                      <a:lnTo>
                        <a:pt x="910" y="484"/>
                      </a:lnTo>
                      <a:lnTo>
                        <a:pt x="915" y="482"/>
                      </a:lnTo>
                      <a:lnTo>
                        <a:pt x="919" y="481"/>
                      </a:lnTo>
                      <a:lnTo>
                        <a:pt x="924" y="477"/>
                      </a:lnTo>
                      <a:lnTo>
                        <a:pt x="926" y="475"/>
                      </a:lnTo>
                      <a:lnTo>
                        <a:pt x="924" y="474"/>
                      </a:lnTo>
                      <a:lnTo>
                        <a:pt x="912" y="475"/>
                      </a:lnTo>
                      <a:close/>
                      <a:moveTo>
                        <a:pt x="776" y="416"/>
                      </a:moveTo>
                      <a:lnTo>
                        <a:pt x="774" y="420"/>
                      </a:lnTo>
                      <a:lnTo>
                        <a:pt x="774" y="423"/>
                      </a:lnTo>
                      <a:lnTo>
                        <a:pt x="776" y="427"/>
                      </a:lnTo>
                      <a:lnTo>
                        <a:pt x="781" y="428"/>
                      </a:lnTo>
                      <a:lnTo>
                        <a:pt x="786" y="430"/>
                      </a:lnTo>
                      <a:lnTo>
                        <a:pt x="791" y="428"/>
                      </a:lnTo>
                      <a:lnTo>
                        <a:pt x="797" y="427"/>
                      </a:lnTo>
                      <a:lnTo>
                        <a:pt x="798" y="423"/>
                      </a:lnTo>
                      <a:lnTo>
                        <a:pt x="798" y="418"/>
                      </a:lnTo>
                      <a:lnTo>
                        <a:pt x="797" y="414"/>
                      </a:lnTo>
                      <a:lnTo>
                        <a:pt x="795" y="411"/>
                      </a:lnTo>
                      <a:lnTo>
                        <a:pt x="791" y="407"/>
                      </a:lnTo>
                      <a:lnTo>
                        <a:pt x="786" y="406"/>
                      </a:lnTo>
                      <a:lnTo>
                        <a:pt x="781" y="407"/>
                      </a:lnTo>
                      <a:lnTo>
                        <a:pt x="777" y="411"/>
                      </a:lnTo>
                      <a:lnTo>
                        <a:pt x="776" y="416"/>
                      </a:lnTo>
                      <a:close/>
                      <a:moveTo>
                        <a:pt x="812" y="275"/>
                      </a:moveTo>
                      <a:lnTo>
                        <a:pt x="809" y="276"/>
                      </a:lnTo>
                      <a:lnTo>
                        <a:pt x="807" y="278"/>
                      </a:lnTo>
                      <a:lnTo>
                        <a:pt x="809" y="280"/>
                      </a:lnTo>
                      <a:lnTo>
                        <a:pt x="812" y="280"/>
                      </a:lnTo>
                      <a:lnTo>
                        <a:pt x="816" y="278"/>
                      </a:lnTo>
                      <a:lnTo>
                        <a:pt x="817" y="276"/>
                      </a:lnTo>
                      <a:lnTo>
                        <a:pt x="816" y="275"/>
                      </a:lnTo>
                      <a:lnTo>
                        <a:pt x="812" y="275"/>
                      </a:lnTo>
                      <a:close/>
                      <a:moveTo>
                        <a:pt x="931" y="456"/>
                      </a:moveTo>
                      <a:lnTo>
                        <a:pt x="933" y="455"/>
                      </a:lnTo>
                      <a:lnTo>
                        <a:pt x="934" y="453"/>
                      </a:lnTo>
                      <a:lnTo>
                        <a:pt x="933" y="451"/>
                      </a:lnTo>
                      <a:lnTo>
                        <a:pt x="929" y="453"/>
                      </a:lnTo>
                      <a:lnTo>
                        <a:pt x="926" y="455"/>
                      </a:lnTo>
                      <a:lnTo>
                        <a:pt x="926" y="456"/>
                      </a:lnTo>
                      <a:lnTo>
                        <a:pt x="928" y="458"/>
                      </a:lnTo>
                      <a:lnTo>
                        <a:pt x="931" y="456"/>
                      </a:lnTo>
                      <a:close/>
                      <a:moveTo>
                        <a:pt x="851" y="657"/>
                      </a:moveTo>
                      <a:lnTo>
                        <a:pt x="852" y="657"/>
                      </a:lnTo>
                      <a:lnTo>
                        <a:pt x="856" y="655"/>
                      </a:lnTo>
                      <a:lnTo>
                        <a:pt x="854" y="655"/>
                      </a:lnTo>
                      <a:lnTo>
                        <a:pt x="852" y="654"/>
                      </a:lnTo>
                      <a:lnTo>
                        <a:pt x="849" y="654"/>
                      </a:lnTo>
                      <a:lnTo>
                        <a:pt x="847" y="654"/>
                      </a:lnTo>
                      <a:lnTo>
                        <a:pt x="849" y="654"/>
                      </a:lnTo>
                      <a:lnTo>
                        <a:pt x="851" y="655"/>
                      </a:lnTo>
                      <a:lnTo>
                        <a:pt x="851" y="655"/>
                      </a:lnTo>
                      <a:lnTo>
                        <a:pt x="851" y="655"/>
                      </a:lnTo>
                      <a:lnTo>
                        <a:pt x="851" y="657"/>
                      </a:lnTo>
                      <a:lnTo>
                        <a:pt x="849" y="657"/>
                      </a:lnTo>
                      <a:lnTo>
                        <a:pt x="849" y="657"/>
                      </a:lnTo>
                      <a:lnTo>
                        <a:pt x="849" y="657"/>
                      </a:lnTo>
                      <a:lnTo>
                        <a:pt x="851" y="657"/>
                      </a:lnTo>
                      <a:lnTo>
                        <a:pt x="849" y="659"/>
                      </a:lnTo>
                      <a:lnTo>
                        <a:pt x="851" y="657"/>
                      </a:lnTo>
                      <a:close/>
                      <a:moveTo>
                        <a:pt x="1329" y="692"/>
                      </a:moveTo>
                      <a:lnTo>
                        <a:pt x="1329" y="690"/>
                      </a:lnTo>
                      <a:lnTo>
                        <a:pt x="1326" y="690"/>
                      </a:lnTo>
                      <a:lnTo>
                        <a:pt x="1324" y="690"/>
                      </a:lnTo>
                      <a:lnTo>
                        <a:pt x="1322" y="692"/>
                      </a:lnTo>
                      <a:lnTo>
                        <a:pt x="1324" y="694"/>
                      </a:lnTo>
                      <a:lnTo>
                        <a:pt x="1326" y="696"/>
                      </a:lnTo>
                      <a:lnTo>
                        <a:pt x="1327" y="694"/>
                      </a:lnTo>
                      <a:lnTo>
                        <a:pt x="1329" y="692"/>
                      </a:lnTo>
                      <a:close/>
                      <a:moveTo>
                        <a:pt x="823" y="362"/>
                      </a:moveTo>
                      <a:lnTo>
                        <a:pt x="821" y="358"/>
                      </a:lnTo>
                      <a:lnTo>
                        <a:pt x="819" y="357"/>
                      </a:lnTo>
                      <a:lnTo>
                        <a:pt x="812" y="355"/>
                      </a:lnTo>
                      <a:lnTo>
                        <a:pt x="805" y="357"/>
                      </a:lnTo>
                      <a:lnTo>
                        <a:pt x="786" y="362"/>
                      </a:lnTo>
                      <a:lnTo>
                        <a:pt x="783" y="364"/>
                      </a:lnTo>
                      <a:lnTo>
                        <a:pt x="783" y="367"/>
                      </a:lnTo>
                      <a:lnTo>
                        <a:pt x="784" y="369"/>
                      </a:lnTo>
                      <a:lnTo>
                        <a:pt x="788" y="369"/>
                      </a:lnTo>
                      <a:lnTo>
                        <a:pt x="795" y="369"/>
                      </a:lnTo>
                      <a:lnTo>
                        <a:pt x="791" y="376"/>
                      </a:lnTo>
                      <a:lnTo>
                        <a:pt x="795" y="376"/>
                      </a:lnTo>
                      <a:lnTo>
                        <a:pt x="797" y="378"/>
                      </a:lnTo>
                      <a:lnTo>
                        <a:pt x="798" y="378"/>
                      </a:lnTo>
                      <a:lnTo>
                        <a:pt x="807" y="374"/>
                      </a:lnTo>
                      <a:lnTo>
                        <a:pt x="809" y="374"/>
                      </a:lnTo>
                      <a:lnTo>
                        <a:pt x="812" y="376"/>
                      </a:lnTo>
                      <a:lnTo>
                        <a:pt x="809" y="379"/>
                      </a:lnTo>
                      <a:lnTo>
                        <a:pt x="807" y="383"/>
                      </a:lnTo>
                      <a:lnTo>
                        <a:pt x="805" y="385"/>
                      </a:lnTo>
                      <a:lnTo>
                        <a:pt x="814" y="385"/>
                      </a:lnTo>
                      <a:lnTo>
                        <a:pt x="819" y="385"/>
                      </a:lnTo>
                      <a:lnTo>
                        <a:pt x="821" y="385"/>
                      </a:lnTo>
                      <a:lnTo>
                        <a:pt x="823" y="383"/>
                      </a:lnTo>
                      <a:lnTo>
                        <a:pt x="824" y="379"/>
                      </a:lnTo>
                      <a:lnTo>
                        <a:pt x="824" y="379"/>
                      </a:lnTo>
                      <a:lnTo>
                        <a:pt x="828" y="378"/>
                      </a:lnTo>
                      <a:lnTo>
                        <a:pt x="830" y="378"/>
                      </a:lnTo>
                      <a:lnTo>
                        <a:pt x="833" y="376"/>
                      </a:lnTo>
                      <a:lnTo>
                        <a:pt x="833" y="374"/>
                      </a:lnTo>
                      <a:lnTo>
                        <a:pt x="831" y="372"/>
                      </a:lnTo>
                      <a:lnTo>
                        <a:pt x="826" y="369"/>
                      </a:lnTo>
                      <a:lnTo>
                        <a:pt x="824" y="367"/>
                      </a:lnTo>
                      <a:lnTo>
                        <a:pt x="823" y="364"/>
                      </a:lnTo>
                      <a:lnTo>
                        <a:pt x="823" y="362"/>
                      </a:lnTo>
                      <a:close/>
                      <a:moveTo>
                        <a:pt x="945" y="512"/>
                      </a:moveTo>
                      <a:lnTo>
                        <a:pt x="943" y="512"/>
                      </a:lnTo>
                      <a:lnTo>
                        <a:pt x="941" y="512"/>
                      </a:lnTo>
                      <a:lnTo>
                        <a:pt x="940" y="514"/>
                      </a:lnTo>
                      <a:lnTo>
                        <a:pt x="940" y="516"/>
                      </a:lnTo>
                      <a:lnTo>
                        <a:pt x="938" y="517"/>
                      </a:lnTo>
                      <a:lnTo>
                        <a:pt x="940" y="521"/>
                      </a:lnTo>
                      <a:lnTo>
                        <a:pt x="941" y="523"/>
                      </a:lnTo>
                      <a:lnTo>
                        <a:pt x="947" y="523"/>
                      </a:lnTo>
                      <a:lnTo>
                        <a:pt x="948" y="519"/>
                      </a:lnTo>
                      <a:lnTo>
                        <a:pt x="948" y="516"/>
                      </a:lnTo>
                      <a:lnTo>
                        <a:pt x="947" y="514"/>
                      </a:lnTo>
                      <a:lnTo>
                        <a:pt x="945" y="512"/>
                      </a:lnTo>
                      <a:close/>
                      <a:moveTo>
                        <a:pt x="835" y="675"/>
                      </a:moveTo>
                      <a:lnTo>
                        <a:pt x="830" y="676"/>
                      </a:lnTo>
                      <a:lnTo>
                        <a:pt x="828" y="680"/>
                      </a:lnTo>
                      <a:lnTo>
                        <a:pt x="831" y="680"/>
                      </a:lnTo>
                      <a:lnTo>
                        <a:pt x="835" y="682"/>
                      </a:lnTo>
                      <a:lnTo>
                        <a:pt x="838" y="682"/>
                      </a:lnTo>
                      <a:lnTo>
                        <a:pt x="840" y="678"/>
                      </a:lnTo>
                      <a:lnTo>
                        <a:pt x="838" y="675"/>
                      </a:lnTo>
                      <a:lnTo>
                        <a:pt x="835" y="675"/>
                      </a:lnTo>
                      <a:close/>
                      <a:moveTo>
                        <a:pt x="772" y="682"/>
                      </a:moveTo>
                      <a:lnTo>
                        <a:pt x="769" y="683"/>
                      </a:lnTo>
                      <a:lnTo>
                        <a:pt x="770" y="685"/>
                      </a:lnTo>
                      <a:lnTo>
                        <a:pt x="776" y="687"/>
                      </a:lnTo>
                      <a:lnTo>
                        <a:pt x="779" y="689"/>
                      </a:lnTo>
                      <a:lnTo>
                        <a:pt x="783" y="687"/>
                      </a:lnTo>
                      <a:lnTo>
                        <a:pt x="781" y="683"/>
                      </a:lnTo>
                      <a:lnTo>
                        <a:pt x="777" y="683"/>
                      </a:lnTo>
                      <a:lnTo>
                        <a:pt x="772" y="682"/>
                      </a:lnTo>
                      <a:close/>
                      <a:moveTo>
                        <a:pt x="858" y="643"/>
                      </a:moveTo>
                      <a:lnTo>
                        <a:pt x="856" y="638"/>
                      </a:lnTo>
                      <a:lnTo>
                        <a:pt x="854" y="634"/>
                      </a:lnTo>
                      <a:lnTo>
                        <a:pt x="851" y="633"/>
                      </a:lnTo>
                      <a:lnTo>
                        <a:pt x="849" y="633"/>
                      </a:lnTo>
                      <a:lnTo>
                        <a:pt x="845" y="633"/>
                      </a:lnTo>
                      <a:lnTo>
                        <a:pt x="844" y="633"/>
                      </a:lnTo>
                      <a:lnTo>
                        <a:pt x="844" y="633"/>
                      </a:lnTo>
                      <a:lnTo>
                        <a:pt x="842" y="631"/>
                      </a:lnTo>
                      <a:lnTo>
                        <a:pt x="842" y="631"/>
                      </a:lnTo>
                      <a:lnTo>
                        <a:pt x="842" y="629"/>
                      </a:lnTo>
                      <a:lnTo>
                        <a:pt x="840" y="629"/>
                      </a:lnTo>
                      <a:lnTo>
                        <a:pt x="840" y="628"/>
                      </a:lnTo>
                      <a:lnTo>
                        <a:pt x="840" y="628"/>
                      </a:lnTo>
                      <a:lnTo>
                        <a:pt x="838" y="628"/>
                      </a:lnTo>
                      <a:lnTo>
                        <a:pt x="833" y="626"/>
                      </a:lnTo>
                      <a:lnTo>
                        <a:pt x="828" y="624"/>
                      </a:lnTo>
                      <a:lnTo>
                        <a:pt x="817" y="617"/>
                      </a:lnTo>
                      <a:lnTo>
                        <a:pt x="814" y="615"/>
                      </a:lnTo>
                      <a:lnTo>
                        <a:pt x="812" y="614"/>
                      </a:lnTo>
                      <a:lnTo>
                        <a:pt x="811" y="612"/>
                      </a:lnTo>
                      <a:lnTo>
                        <a:pt x="812" y="615"/>
                      </a:lnTo>
                      <a:lnTo>
                        <a:pt x="812" y="617"/>
                      </a:lnTo>
                      <a:lnTo>
                        <a:pt x="811" y="619"/>
                      </a:lnTo>
                      <a:lnTo>
                        <a:pt x="809" y="617"/>
                      </a:lnTo>
                      <a:lnTo>
                        <a:pt x="802" y="614"/>
                      </a:lnTo>
                      <a:lnTo>
                        <a:pt x="797" y="612"/>
                      </a:lnTo>
                      <a:lnTo>
                        <a:pt x="786" y="601"/>
                      </a:lnTo>
                      <a:lnTo>
                        <a:pt x="783" y="598"/>
                      </a:lnTo>
                      <a:lnTo>
                        <a:pt x="781" y="596"/>
                      </a:lnTo>
                      <a:lnTo>
                        <a:pt x="779" y="594"/>
                      </a:lnTo>
                      <a:lnTo>
                        <a:pt x="779" y="593"/>
                      </a:lnTo>
                      <a:lnTo>
                        <a:pt x="781" y="591"/>
                      </a:lnTo>
                      <a:lnTo>
                        <a:pt x="783" y="589"/>
                      </a:lnTo>
                      <a:lnTo>
                        <a:pt x="783" y="587"/>
                      </a:lnTo>
                      <a:lnTo>
                        <a:pt x="784" y="582"/>
                      </a:lnTo>
                      <a:lnTo>
                        <a:pt x="783" y="579"/>
                      </a:lnTo>
                      <a:lnTo>
                        <a:pt x="781" y="575"/>
                      </a:lnTo>
                      <a:lnTo>
                        <a:pt x="772" y="563"/>
                      </a:lnTo>
                      <a:lnTo>
                        <a:pt x="769" y="554"/>
                      </a:lnTo>
                      <a:lnTo>
                        <a:pt x="762" y="535"/>
                      </a:lnTo>
                      <a:lnTo>
                        <a:pt x="758" y="526"/>
                      </a:lnTo>
                      <a:lnTo>
                        <a:pt x="751" y="519"/>
                      </a:lnTo>
                      <a:lnTo>
                        <a:pt x="744" y="514"/>
                      </a:lnTo>
                      <a:lnTo>
                        <a:pt x="734" y="509"/>
                      </a:lnTo>
                      <a:lnTo>
                        <a:pt x="732" y="507"/>
                      </a:lnTo>
                      <a:lnTo>
                        <a:pt x="730" y="507"/>
                      </a:lnTo>
                      <a:lnTo>
                        <a:pt x="728" y="507"/>
                      </a:lnTo>
                      <a:lnTo>
                        <a:pt x="728" y="507"/>
                      </a:lnTo>
                      <a:lnTo>
                        <a:pt x="727" y="509"/>
                      </a:lnTo>
                      <a:lnTo>
                        <a:pt x="727" y="509"/>
                      </a:lnTo>
                      <a:lnTo>
                        <a:pt x="723" y="510"/>
                      </a:lnTo>
                      <a:lnTo>
                        <a:pt x="721" y="509"/>
                      </a:lnTo>
                      <a:lnTo>
                        <a:pt x="716" y="505"/>
                      </a:lnTo>
                      <a:lnTo>
                        <a:pt x="711" y="503"/>
                      </a:lnTo>
                      <a:lnTo>
                        <a:pt x="707" y="502"/>
                      </a:lnTo>
                      <a:lnTo>
                        <a:pt x="706" y="502"/>
                      </a:lnTo>
                      <a:lnTo>
                        <a:pt x="704" y="503"/>
                      </a:lnTo>
                      <a:lnTo>
                        <a:pt x="704" y="507"/>
                      </a:lnTo>
                      <a:lnTo>
                        <a:pt x="706" y="509"/>
                      </a:lnTo>
                      <a:lnTo>
                        <a:pt x="707" y="509"/>
                      </a:lnTo>
                      <a:lnTo>
                        <a:pt x="704" y="510"/>
                      </a:lnTo>
                      <a:lnTo>
                        <a:pt x="702" y="512"/>
                      </a:lnTo>
                      <a:lnTo>
                        <a:pt x="700" y="516"/>
                      </a:lnTo>
                      <a:lnTo>
                        <a:pt x="702" y="524"/>
                      </a:lnTo>
                      <a:lnTo>
                        <a:pt x="713" y="554"/>
                      </a:lnTo>
                      <a:lnTo>
                        <a:pt x="716" y="559"/>
                      </a:lnTo>
                      <a:lnTo>
                        <a:pt x="721" y="566"/>
                      </a:lnTo>
                      <a:lnTo>
                        <a:pt x="720" y="568"/>
                      </a:lnTo>
                      <a:lnTo>
                        <a:pt x="720" y="568"/>
                      </a:lnTo>
                      <a:lnTo>
                        <a:pt x="720" y="568"/>
                      </a:lnTo>
                      <a:lnTo>
                        <a:pt x="720" y="570"/>
                      </a:lnTo>
                      <a:lnTo>
                        <a:pt x="718" y="570"/>
                      </a:lnTo>
                      <a:lnTo>
                        <a:pt x="713" y="573"/>
                      </a:lnTo>
                      <a:lnTo>
                        <a:pt x="711" y="575"/>
                      </a:lnTo>
                      <a:lnTo>
                        <a:pt x="709" y="575"/>
                      </a:lnTo>
                      <a:lnTo>
                        <a:pt x="709" y="575"/>
                      </a:lnTo>
                      <a:lnTo>
                        <a:pt x="706" y="575"/>
                      </a:lnTo>
                      <a:lnTo>
                        <a:pt x="706" y="575"/>
                      </a:lnTo>
                      <a:lnTo>
                        <a:pt x="704" y="573"/>
                      </a:lnTo>
                      <a:lnTo>
                        <a:pt x="702" y="573"/>
                      </a:lnTo>
                      <a:lnTo>
                        <a:pt x="700" y="572"/>
                      </a:lnTo>
                      <a:lnTo>
                        <a:pt x="699" y="568"/>
                      </a:lnTo>
                      <a:lnTo>
                        <a:pt x="692" y="545"/>
                      </a:lnTo>
                      <a:lnTo>
                        <a:pt x="692" y="544"/>
                      </a:lnTo>
                      <a:lnTo>
                        <a:pt x="690" y="542"/>
                      </a:lnTo>
                      <a:lnTo>
                        <a:pt x="687" y="540"/>
                      </a:lnTo>
                      <a:lnTo>
                        <a:pt x="687" y="538"/>
                      </a:lnTo>
                      <a:lnTo>
                        <a:pt x="685" y="538"/>
                      </a:lnTo>
                      <a:lnTo>
                        <a:pt x="685" y="538"/>
                      </a:lnTo>
                      <a:lnTo>
                        <a:pt x="685" y="538"/>
                      </a:lnTo>
                      <a:lnTo>
                        <a:pt x="685" y="537"/>
                      </a:lnTo>
                      <a:lnTo>
                        <a:pt x="685" y="537"/>
                      </a:lnTo>
                      <a:lnTo>
                        <a:pt x="685" y="537"/>
                      </a:lnTo>
                      <a:lnTo>
                        <a:pt x="685" y="535"/>
                      </a:lnTo>
                      <a:lnTo>
                        <a:pt x="683" y="533"/>
                      </a:lnTo>
                      <a:lnTo>
                        <a:pt x="669" y="524"/>
                      </a:lnTo>
                      <a:lnTo>
                        <a:pt x="666" y="523"/>
                      </a:lnTo>
                      <a:lnTo>
                        <a:pt x="662" y="521"/>
                      </a:lnTo>
                      <a:lnTo>
                        <a:pt x="657" y="521"/>
                      </a:lnTo>
                      <a:lnTo>
                        <a:pt x="652" y="519"/>
                      </a:lnTo>
                      <a:lnTo>
                        <a:pt x="648" y="521"/>
                      </a:lnTo>
                      <a:lnTo>
                        <a:pt x="648" y="524"/>
                      </a:lnTo>
                      <a:lnTo>
                        <a:pt x="657" y="530"/>
                      </a:lnTo>
                      <a:lnTo>
                        <a:pt x="659" y="535"/>
                      </a:lnTo>
                      <a:lnTo>
                        <a:pt x="657" y="537"/>
                      </a:lnTo>
                      <a:lnTo>
                        <a:pt x="648" y="542"/>
                      </a:lnTo>
                      <a:lnTo>
                        <a:pt x="641" y="545"/>
                      </a:lnTo>
                      <a:lnTo>
                        <a:pt x="638" y="547"/>
                      </a:lnTo>
                      <a:lnTo>
                        <a:pt x="636" y="547"/>
                      </a:lnTo>
                      <a:lnTo>
                        <a:pt x="636" y="544"/>
                      </a:lnTo>
                      <a:lnTo>
                        <a:pt x="634" y="545"/>
                      </a:lnTo>
                      <a:lnTo>
                        <a:pt x="632" y="547"/>
                      </a:lnTo>
                      <a:lnTo>
                        <a:pt x="631" y="547"/>
                      </a:lnTo>
                      <a:lnTo>
                        <a:pt x="631" y="549"/>
                      </a:lnTo>
                      <a:lnTo>
                        <a:pt x="627" y="551"/>
                      </a:lnTo>
                      <a:lnTo>
                        <a:pt x="627" y="549"/>
                      </a:lnTo>
                      <a:lnTo>
                        <a:pt x="625" y="549"/>
                      </a:lnTo>
                      <a:lnTo>
                        <a:pt x="622" y="549"/>
                      </a:lnTo>
                      <a:lnTo>
                        <a:pt x="629" y="544"/>
                      </a:lnTo>
                      <a:lnTo>
                        <a:pt x="632" y="542"/>
                      </a:lnTo>
                      <a:lnTo>
                        <a:pt x="634" y="538"/>
                      </a:lnTo>
                      <a:lnTo>
                        <a:pt x="636" y="535"/>
                      </a:lnTo>
                      <a:lnTo>
                        <a:pt x="634" y="533"/>
                      </a:lnTo>
                      <a:lnTo>
                        <a:pt x="632" y="531"/>
                      </a:lnTo>
                      <a:lnTo>
                        <a:pt x="613" y="523"/>
                      </a:lnTo>
                      <a:lnTo>
                        <a:pt x="604" y="521"/>
                      </a:lnTo>
                      <a:lnTo>
                        <a:pt x="597" y="521"/>
                      </a:lnTo>
                      <a:lnTo>
                        <a:pt x="594" y="523"/>
                      </a:lnTo>
                      <a:lnTo>
                        <a:pt x="590" y="524"/>
                      </a:lnTo>
                      <a:lnTo>
                        <a:pt x="589" y="528"/>
                      </a:lnTo>
                      <a:lnTo>
                        <a:pt x="587" y="535"/>
                      </a:lnTo>
                      <a:lnTo>
                        <a:pt x="587" y="535"/>
                      </a:lnTo>
                      <a:lnTo>
                        <a:pt x="583" y="537"/>
                      </a:lnTo>
                      <a:lnTo>
                        <a:pt x="582" y="537"/>
                      </a:lnTo>
                      <a:lnTo>
                        <a:pt x="570" y="538"/>
                      </a:lnTo>
                      <a:lnTo>
                        <a:pt x="566" y="538"/>
                      </a:lnTo>
                      <a:lnTo>
                        <a:pt x="568" y="537"/>
                      </a:lnTo>
                      <a:lnTo>
                        <a:pt x="575" y="528"/>
                      </a:lnTo>
                      <a:lnTo>
                        <a:pt x="577" y="521"/>
                      </a:lnTo>
                      <a:lnTo>
                        <a:pt x="577" y="514"/>
                      </a:lnTo>
                      <a:lnTo>
                        <a:pt x="573" y="507"/>
                      </a:lnTo>
                      <a:lnTo>
                        <a:pt x="570" y="503"/>
                      </a:lnTo>
                      <a:lnTo>
                        <a:pt x="563" y="502"/>
                      </a:lnTo>
                      <a:lnTo>
                        <a:pt x="554" y="505"/>
                      </a:lnTo>
                      <a:lnTo>
                        <a:pt x="507" y="524"/>
                      </a:lnTo>
                      <a:lnTo>
                        <a:pt x="493" y="533"/>
                      </a:lnTo>
                      <a:lnTo>
                        <a:pt x="484" y="540"/>
                      </a:lnTo>
                      <a:lnTo>
                        <a:pt x="482" y="545"/>
                      </a:lnTo>
                      <a:lnTo>
                        <a:pt x="484" y="549"/>
                      </a:lnTo>
                      <a:lnTo>
                        <a:pt x="486" y="551"/>
                      </a:lnTo>
                      <a:lnTo>
                        <a:pt x="487" y="552"/>
                      </a:lnTo>
                      <a:lnTo>
                        <a:pt x="484" y="554"/>
                      </a:lnTo>
                      <a:lnTo>
                        <a:pt x="475" y="559"/>
                      </a:lnTo>
                      <a:lnTo>
                        <a:pt x="473" y="561"/>
                      </a:lnTo>
                      <a:lnTo>
                        <a:pt x="472" y="566"/>
                      </a:lnTo>
                      <a:lnTo>
                        <a:pt x="472" y="573"/>
                      </a:lnTo>
                      <a:lnTo>
                        <a:pt x="480" y="575"/>
                      </a:lnTo>
                      <a:lnTo>
                        <a:pt x="498" y="575"/>
                      </a:lnTo>
                      <a:lnTo>
                        <a:pt x="494" y="577"/>
                      </a:lnTo>
                      <a:lnTo>
                        <a:pt x="491" y="579"/>
                      </a:lnTo>
                      <a:lnTo>
                        <a:pt x="487" y="580"/>
                      </a:lnTo>
                      <a:lnTo>
                        <a:pt x="489" y="584"/>
                      </a:lnTo>
                      <a:lnTo>
                        <a:pt x="493" y="586"/>
                      </a:lnTo>
                      <a:lnTo>
                        <a:pt x="498" y="586"/>
                      </a:lnTo>
                      <a:lnTo>
                        <a:pt x="508" y="584"/>
                      </a:lnTo>
                      <a:lnTo>
                        <a:pt x="529" y="582"/>
                      </a:lnTo>
                      <a:lnTo>
                        <a:pt x="540" y="580"/>
                      </a:lnTo>
                      <a:lnTo>
                        <a:pt x="545" y="580"/>
                      </a:lnTo>
                      <a:lnTo>
                        <a:pt x="550" y="580"/>
                      </a:lnTo>
                      <a:lnTo>
                        <a:pt x="545" y="582"/>
                      </a:lnTo>
                      <a:lnTo>
                        <a:pt x="538" y="582"/>
                      </a:lnTo>
                      <a:lnTo>
                        <a:pt x="535" y="584"/>
                      </a:lnTo>
                      <a:lnTo>
                        <a:pt x="536" y="586"/>
                      </a:lnTo>
                      <a:lnTo>
                        <a:pt x="498" y="593"/>
                      </a:lnTo>
                      <a:lnTo>
                        <a:pt x="493" y="594"/>
                      </a:lnTo>
                      <a:lnTo>
                        <a:pt x="489" y="596"/>
                      </a:lnTo>
                      <a:lnTo>
                        <a:pt x="486" y="600"/>
                      </a:lnTo>
                      <a:lnTo>
                        <a:pt x="486" y="601"/>
                      </a:lnTo>
                      <a:lnTo>
                        <a:pt x="487" y="605"/>
                      </a:lnTo>
                      <a:lnTo>
                        <a:pt x="493" y="608"/>
                      </a:lnTo>
                      <a:lnTo>
                        <a:pt x="498" y="612"/>
                      </a:lnTo>
                      <a:lnTo>
                        <a:pt x="501" y="614"/>
                      </a:lnTo>
                      <a:lnTo>
                        <a:pt x="508" y="614"/>
                      </a:lnTo>
                      <a:lnTo>
                        <a:pt x="526" y="614"/>
                      </a:lnTo>
                      <a:lnTo>
                        <a:pt x="545" y="615"/>
                      </a:lnTo>
                      <a:lnTo>
                        <a:pt x="573" y="612"/>
                      </a:lnTo>
                      <a:lnTo>
                        <a:pt x="583" y="612"/>
                      </a:lnTo>
                      <a:lnTo>
                        <a:pt x="589" y="612"/>
                      </a:lnTo>
                      <a:lnTo>
                        <a:pt x="617" y="621"/>
                      </a:lnTo>
                      <a:lnTo>
                        <a:pt x="624" y="622"/>
                      </a:lnTo>
                      <a:lnTo>
                        <a:pt x="629" y="626"/>
                      </a:lnTo>
                      <a:lnTo>
                        <a:pt x="625" y="628"/>
                      </a:lnTo>
                      <a:lnTo>
                        <a:pt x="622" y="628"/>
                      </a:lnTo>
                      <a:lnTo>
                        <a:pt x="618" y="628"/>
                      </a:lnTo>
                      <a:lnTo>
                        <a:pt x="615" y="628"/>
                      </a:lnTo>
                      <a:lnTo>
                        <a:pt x="606" y="629"/>
                      </a:lnTo>
                      <a:lnTo>
                        <a:pt x="566" y="626"/>
                      </a:lnTo>
                      <a:lnTo>
                        <a:pt x="521" y="631"/>
                      </a:lnTo>
                      <a:lnTo>
                        <a:pt x="514" y="634"/>
                      </a:lnTo>
                      <a:lnTo>
                        <a:pt x="510" y="638"/>
                      </a:lnTo>
                      <a:lnTo>
                        <a:pt x="510" y="641"/>
                      </a:lnTo>
                      <a:lnTo>
                        <a:pt x="512" y="647"/>
                      </a:lnTo>
                      <a:lnTo>
                        <a:pt x="522" y="655"/>
                      </a:lnTo>
                      <a:lnTo>
                        <a:pt x="524" y="657"/>
                      </a:lnTo>
                      <a:lnTo>
                        <a:pt x="528" y="659"/>
                      </a:lnTo>
                      <a:lnTo>
                        <a:pt x="531" y="659"/>
                      </a:lnTo>
                      <a:lnTo>
                        <a:pt x="538" y="661"/>
                      </a:lnTo>
                      <a:lnTo>
                        <a:pt x="575" y="662"/>
                      </a:lnTo>
                      <a:lnTo>
                        <a:pt x="580" y="662"/>
                      </a:lnTo>
                      <a:lnTo>
                        <a:pt x="582" y="664"/>
                      </a:lnTo>
                      <a:lnTo>
                        <a:pt x="585" y="666"/>
                      </a:lnTo>
                      <a:lnTo>
                        <a:pt x="585" y="668"/>
                      </a:lnTo>
                      <a:lnTo>
                        <a:pt x="585" y="671"/>
                      </a:lnTo>
                      <a:lnTo>
                        <a:pt x="585" y="675"/>
                      </a:lnTo>
                      <a:lnTo>
                        <a:pt x="589" y="680"/>
                      </a:lnTo>
                      <a:lnTo>
                        <a:pt x="594" y="683"/>
                      </a:lnTo>
                      <a:lnTo>
                        <a:pt x="601" y="685"/>
                      </a:lnTo>
                      <a:lnTo>
                        <a:pt x="664" y="680"/>
                      </a:lnTo>
                      <a:lnTo>
                        <a:pt x="678" y="678"/>
                      </a:lnTo>
                      <a:lnTo>
                        <a:pt x="697" y="673"/>
                      </a:lnTo>
                      <a:lnTo>
                        <a:pt x="711" y="671"/>
                      </a:lnTo>
                      <a:lnTo>
                        <a:pt x="718" y="669"/>
                      </a:lnTo>
                      <a:lnTo>
                        <a:pt x="723" y="666"/>
                      </a:lnTo>
                      <a:lnTo>
                        <a:pt x="730" y="661"/>
                      </a:lnTo>
                      <a:lnTo>
                        <a:pt x="735" y="657"/>
                      </a:lnTo>
                      <a:lnTo>
                        <a:pt x="741" y="659"/>
                      </a:lnTo>
                      <a:lnTo>
                        <a:pt x="742" y="661"/>
                      </a:lnTo>
                      <a:lnTo>
                        <a:pt x="742" y="661"/>
                      </a:lnTo>
                      <a:lnTo>
                        <a:pt x="742" y="662"/>
                      </a:lnTo>
                      <a:lnTo>
                        <a:pt x="744" y="664"/>
                      </a:lnTo>
                      <a:lnTo>
                        <a:pt x="746" y="666"/>
                      </a:lnTo>
                      <a:lnTo>
                        <a:pt x="749" y="666"/>
                      </a:lnTo>
                      <a:lnTo>
                        <a:pt x="756" y="666"/>
                      </a:lnTo>
                      <a:lnTo>
                        <a:pt x="767" y="666"/>
                      </a:lnTo>
                      <a:lnTo>
                        <a:pt x="770" y="668"/>
                      </a:lnTo>
                      <a:lnTo>
                        <a:pt x="769" y="669"/>
                      </a:lnTo>
                      <a:lnTo>
                        <a:pt x="767" y="669"/>
                      </a:lnTo>
                      <a:lnTo>
                        <a:pt x="767" y="671"/>
                      </a:lnTo>
                      <a:lnTo>
                        <a:pt x="770" y="673"/>
                      </a:lnTo>
                      <a:lnTo>
                        <a:pt x="776" y="673"/>
                      </a:lnTo>
                      <a:lnTo>
                        <a:pt x="783" y="673"/>
                      </a:lnTo>
                      <a:lnTo>
                        <a:pt x="788" y="673"/>
                      </a:lnTo>
                      <a:lnTo>
                        <a:pt x="800" y="675"/>
                      </a:lnTo>
                      <a:lnTo>
                        <a:pt x="804" y="675"/>
                      </a:lnTo>
                      <a:lnTo>
                        <a:pt x="811" y="675"/>
                      </a:lnTo>
                      <a:lnTo>
                        <a:pt x="819" y="675"/>
                      </a:lnTo>
                      <a:lnTo>
                        <a:pt x="826" y="673"/>
                      </a:lnTo>
                      <a:lnTo>
                        <a:pt x="833" y="669"/>
                      </a:lnTo>
                      <a:lnTo>
                        <a:pt x="837" y="668"/>
                      </a:lnTo>
                      <a:lnTo>
                        <a:pt x="838" y="668"/>
                      </a:lnTo>
                      <a:lnTo>
                        <a:pt x="838" y="664"/>
                      </a:lnTo>
                      <a:lnTo>
                        <a:pt x="837" y="662"/>
                      </a:lnTo>
                      <a:lnTo>
                        <a:pt x="837" y="662"/>
                      </a:lnTo>
                      <a:lnTo>
                        <a:pt x="835" y="662"/>
                      </a:lnTo>
                      <a:lnTo>
                        <a:pt x="833" y="662"/>
                      </a:lnTo>
                      <a:lnTo>
                        <a:pt x="833" y="662"/>
                      </a:lnTo>
                      <a:lnTo>
                        <a:pt x="833" y="661"/>
                      </a:lnTo>
                      <a:lnTo>
                        <a:pt x="833" y="661"/>
                      </a:lnTo>
                      <a:lnTo>
                        <a:pt x="833" y="659"/>
                      </a:lnTo>
                      <a:lnTo>
                        <a:pt x="833" y="659"/>
                      </a:lnTo>
                      <a:lnTo>
                        <a:pt x="833" y="659"/>
                      </a:lnTo>
                      <a:lnTo>
                        <a:pt x="833" y="657"/>
                      </a:lnTo>
                      <a:lnTo>
                        <a:pt x="833" y="657"/>
                      </a:lnTo>
                      <a:lnTo>
                        <a:pt x="831" y="655"/>
                      </a:lnTo>
                      <a:lnTo>
                        <a:pt x="830" y="655"/>
                      </a:lnTo>
                      <a:lnTo>
                        <a:pt x="828" y="655"/>
                      </a:lnTo>
                      <a:lnTo>
                        <a:pt x="823" y="657"/>
                      </a:lnTo>
                      <a:lnTo>
                        <a:pt x="819" y="657"/>
                      </a:lnTo>
                      <a:lnTo>
                        <a:pt x="816" y="659"/>
                      </a:lnTo>
                      <a:lnTo>
                        <a:pt x="811" y="664"/>
                      </a:lnTo>
                      <a:lnTo>
                        <a:pt x="811" y="659"/>
                      </a:lnTo>
                      <a:lnTo>
                        <a:pt x="811" y="655"/>
                      </a:lnTo>
                      <a:lnTo>
                        <a:pt x="804" y="652"/>
                      </a:lnTo>
                      <a:lnTo>
                        <a:pt x="805" y="650"/>
                      </a:lnTo>
                      <a:lnTo>
                        <a:pt x="809" y="652"/>
                      </a:lnTo>
                      <a:lnTo>
                        <a:pt x="812" y="652"/>
                      </a:lnTo>
                      <a:lnTo>
                        <a:pt x="816" y="654"/>
                      </a:lnTo>
                      <a:lnTo>
                        <a:pt x="819" y="654"/>
                      </a:lnTo>
                      <a:lnTo>
                        <a:pt x="821" y="654"/>
                      </a:lnTo>
                      <a:lnTo>
                        <a:pt x="823" y="652"/>
                      </a:lnTo>
                      <a:lnTo>
                        <a:pt x="821" y="648"/>
                      </a:lnTo>
                      <a:lnTo>
                        <a:pt x="824" y="647"/>
                      </a:lnTo>
                      <a:lnTo>
                        <a:pt x="828" y="647"/>
                      </a:lnTo>
                      <a:lnTo>
                        <a:pt x="831" y="647"/>
                      </a:lnTo>
                      <a:lnTo>
                        <a:pt x="838" y="648"/>
                      </a:lnTo>
                      <a:lnTo>
                        <a:pt x="842" y="648"/>
                      </a:lnTo>
                      <a:lnTo>
                        <a:pt x="844" y="648"/>
                      </a:lnTo>
                      <a:lnTo>
                        <a:pt x="845" y="645"/>
                      </a:lnTo>
                      <a:lnTo>
                        <a:pt x="847" y="648"/>
                      </a:lnTo>
                      <a:lnTo>
                        <a:pt x="851" y="650"/>
                      </a:lnTo>
                      <a:lnTo>
                        <a:pt x="854" y="650"/>
                      </a:lnTo>
                      <a:lnTo>
                        <a:pt x="858" y="648"/>
                      </a:lnTo>
                      <a:lnTo>
                        <a:pt x="858" y="643"/>
                      </a:lnTo>
                      <a:close/>
                      <a:moveTo>
                        <a:pt x="685" y="704"/>
                      </a:moveTo>
                      <a:lnTo>
                        <a:pt x="687" y="704"/>
                      </a:lnTo>
                      <a:lnTo>
                        <a:pt x="685" y="703"/>
                      </a:lnTo>
                      <a:lnTo>
                        <a:pt x="681" y="703"/>
                      </a:lnTo>
                      <a:lnTo>
                        <a:pt x="685" y="704"/>
                      </a:lnTo>
                      <a:close/>
                      <a:moveTo>
                        <a:pt x="847" y="294"/>
                      </a:moveTo>
                      <a:lnTo>
                        <a:pt x="840" y="292"/>
                      </a:lnTo>
                      <a:lnTo>
                        <a:pt x="833" y="292"/>
                      </a:lnTo>
                      <a:lnTo>
                        <a:pt x="828" y="292"/>
                      </a:lnTo>
                      <a:lnTo>
                        <a:pt x="826" y="292"/>
                      </a:lnTo>
                      <a:lnTo>
                        <a:pt x="824" y="294"/>
                      </a:lnTo>
                      <a:lnTo>
                        <a:pt x="824" y="299"/>
                      </a:lnTo>
                      <a:lnTo>
                        <a:pt x="826" y="301"/>
                      </a:lnTo>
                      <a:lnTo>
                        <a:pt x="830" y="303"/>
                      </a:lnTo>
                      <a:lnTo>
                        <a:pt x="833" y="303"/>
                      </a:lnTo>
                      <a:lnTo>
                        <a:pt x="838" y="303"/>
                      </a:lnTo>
                      <a:lnTo>
                        <a:pt x="856" y="301"/>
                      </a:lnTo>
                      <a:lnTo>
                        <a:pt x="852" y="296"/>
                      </a:lnTo>
                      <a:lnTo>
                        <a:pt x="847" y="294"/>
                      </a:lnTo>
                      <a:close/>
                      <a:moveTo>
                        <a:pt x="849" y="341"/>
                      </a:moveTo>
                      <a:lnTo>
                        <a:pt x="844" y="341"/>
                      </a:lnTo>
                      <a:lnTo>
                        <a:pt x="842" y="343"/>
                      </a:lnTo>
                      <a:lnTo>
                        <a:pt x="849" y="344"/>
                      </a:lnTo>
                      <a:lnTo>
                        <a:pt x="856" y="343"/>
                      </a:lnTo>
                      <a:lnTo>
                        <a:pt x="872" y="337"/>
                      </a:lnTo>
                      <a:lnTo>
                        <a:pt x="868" y="336"/>
                      </a:lnTo>
                      <a:lnTo>
                        <a:pt x="865" y="336"/>
                      </a:lnTo>
                      <a:lnTo>
                        <a:pt x="861" y="336"/>
                      </a:lnTo>
                      <a:lnTo>
                        <a:pt x="858" y="337"/>
                      </a:lnTo>
                      <a:lnTo>
                        <a:pt x="856" y="337"/>
                      </a:lnTo>
                      <a:lnTo>
                        <a:pt x="852" y="339"/>
                      </a:lnTo>
                      <a:lnTo>
                        <a:pt x="851" y="339"/>
                      </a:lnTo>
                      <a:lnTo>
                        <a:pt x="849" y="341"/>
                      </a:lnTo>
                      <a:close/>
                      <a:moveTo>
                        <a:pt x="676" y="699"/>
                      </a:moveTo>
                      <a:lnTo>
                        <a:pt x="676" y="699"/>
                      </a:lnTo>
                      <a:lnTo>
                        <a:pt x="674" y="697"/>
                      </a:lnTo>
                      <a:lnTo>
                        <a:pt x="674" y="699"/>
                      </a:lnTo>
                      <a:lnTo>
                        <a:pt x="674" y="701"/>
                      </a:lnTo>
                      <a:lnTo>
                        <a:pt x="676" y="701"/>
                      </a:lnTo>
                      <a:lnTo>
                        <a:pt x="676" y="701"/>
                      </a:lnTo>
                      <a:lnTo>
                        <a:pt x="678" y="701"/>
                      </a:lnTo>
                      <a:lnTo>
                        <a:pt x="678" y="701"/>
                      </a:lnTo>
                      <a:lnTo>
                        <a:pt x="676" y="699"/>
                      </a:lnTo>
                      <a:close/>
                      <a:moveTo>
                        <a:pt x="788" y="339"/>
                      </a:moveTo>
                      <a:lnTo>
                        <a:pt x="783" y="341"/>
                      </a:lnTo>
                      <a:lnTo>
                        <a:pt x="779" y="343"/>
                      </a:lnTo>
                      <a:lnTo>
                        <a:pt x="779" y="344"/>
                      </a:lnTo>
                      <a:lnTo>
                        <a:pt x="781" y="350"/>
                      </a:lnTo>
                      <a:lnTo>
                        <a:pt x="783" y="353"/>
                      </a:lnTo>
                      <a:lnTo>
                        <a:pt x="786" y="355"/>
                      </a:lnTo>
                      <a:lnTo>
                        <a:pt x="791" y="357"/>
                      </a:lnTo>
                      <a:lnTo>
                        <a:pt x="797" y="357"/>
                      </a:lnTo>
                      <a:lnTo>
                        <a:pt x="804" y="355"/>
                      </a:lnTo>
                      <a:lnTo>
                        <a:pt x="807" y="353"/>
                      </a:lnTo>
                      <a:lnTo>
                        <a:pt x="811" y="350"/>
                      </a:lnTo>
                      <a:lnTo>
                        <a:pt x="809" y="348"/>
                      </a:lnTo>
                      <a:lnTo>
                        <a:pt x="800" y="346"/>
                      </a:lnTo>
                      <a:lnTo>
                        <a:pt x="798" y="343"/>
                      </a:lnTo>
                      <a:lnTo>
                        <a:pt x="797" y="343"/>
                      </a:lnTo>
                      <a:lnTo>
                        <a:pt x="793" y="343"/>
                      </a:lnTo>
                      <a:lnTo>
                        <a:pt x="791" y="343"/>
                      </a:lnTo>
                      <a:lnTo>
                        <a:pt x="791" y="341"/>
                      </a:lnTo>
                      <a:lnTo>
                        <a:pt x="788" y="339"/>
                      </a:lnTo>
                      <a:close/>
                      <a:moveTo>
                        <a:pt x="1064" y="503"/>
                      </a:moveTo>
                      <a:lnTo>
                        <a:pt x="1069" y="498"/>
                      </a:lnTo>
                      <a:lnTo>
                        <a:pt x="1071" y="496"/>
                      </a:lnTo>
                      <a:lnTo>
                        <a:pt x="1076" y="491"/>
                      </a:lnTo>
                      <a:lnTo>
                        <a:pt x="1079" y="489"/>
                      </a:lnTo>
                      <a:lnTo>
                        <a:pt x="1081" y="486"/>
                      </a:lnTo>
                      <a:lnTo>
                        <a:pt x="1083" y="484"/>
                      </a:lnTo>
                      <a:lnTo>
                        <a:pt x="1081" y="481"/>
                      </a:lnTo>
                      <a:lnTo>
                        <a:pt x="1076" y="479"/>
                      </a:lnTo>
                      <a:lnTo>
                        <a:pt x="1071" y="479"/>
                      </a:lnTo>
                      <a:lnTo>
                        <a:pt x="1067" y="477"/>
                      </a:lnTo>
                      <a:lnTo>
                        <a:pt x="1057" y="477"/>
                      </a:lnTo>
                      <a:lnTo>
                        <a:pt x="1045" y="479"/>
                      </a:lnTo>
                      <a:lnTo>
                        <a:pt x="1041" y="479"/>
                      </a:lnTo>
                      <a:lnTo>
                        <a:pt x="1031" y="474"/>
                      </a:lnTo>
                      <a:lnTo>
                        <a:pt x="1025" y="472"/>
                      </a:lnTo>
                      <a:lnTo>
                        <a:pt x="1022" y="472"/>
                      </a:lnTo>
                      <a:lnTo>
                        <a:pt x="1018" y="472"/>
                      </a:lnTo>
                      <a:lnTo>
                        <a:pt x="1010" y="474"/>
                      </a:lnTo>
                      <a:lnTo>
                        <a:pt x="1006" y="474"/>
                      </a:lnTo>
                      <a:lnTo>
                        <a:pt x="999" y="474"/>
                      </a:lnTo>
                      <a:lnTo>
                        <a:pt x="994" y="474"/>
                      </a:lnTo>
                      <a:lnTo>
                        <a:pt x="990" y="474"/>
                      </a:lnTo>
                      <a:lnTo>
                        <a:pt x="987" y="475"/>
                      </a:lnTo>
                      <a:lnTo>
                        <a:pt x="983" y="477"/>
                      </a:lnTo>
                      <a:lnTo>
                        <a:pt x="980" y="481"/>
                      </a:lnTo>
                      <a:lnTo>
                        <a:pt x="982" y="484"/>
                      </a:lnTo>
                      <a:lnTo>
                        <a:pt x="983" y="488"/>
                      </a:lnTo>
                      <a:lnTo>
                        <a:pt x="987" y="489"/>
                      </a:lnTo>
                      <a:lnTo>
                        <a:pt x="990" y="491"/>
                      </a:lnTo>
                      <a:lnTo>
                        <a:pt x="985" y="489"/>
                      </a:lnTo>
                      <a:lnTo>
                        <a:pt x="978" y="488"/>
                      </a:lnTo>
                      <a:lnTo>
                        <a:pt x="973" y="488"/>
                      </a:lnTo>
                      <a:lnTo>
                        <a:pt x="969" y="491"/>
                      </a:lnTo>
                      <a:lnTo>
                        <a:pt x="971" y="510"/>
                      </a:lnTo>
                      <a:lnTo>
                        <a:pt x="971" y="523"/>
                      </a:lnTo>
                      <a:lnTo>
                        <a:pt x="971" y="526"/>
                      </a:lnTo>
                      <a:lnTo>
                        <a:pt x="973" y="530"/>
                      </a:lnTo>
                      <a:lnTo>
                        <a:pt x="978" y="542"/>
                      </a:lnTo>
                      <a:lnTo>
                        <a:pt x="978" y="545"/>
                      </a:lnTo>
                      <a:lnTo>
                        <a:pt x="980" y="551"/>
                      </a:lnTo>
                      <a:lnTo>
                        <a:pt x="980" y="559"/>
                      </a:lnTo>
                      <a:lnTo>
                        <a:pt x="980" y="561"/>
                      </a:lnTo>
                      <a:lnTo>
                        <a:pt x="982" y="563"/>
                      </a:lnTo>
                      <a:lnTo>
                        <a:pt x="987" y="561"/>
                      </a:lnTo>
                      <a:lnTo>
                        <a:pt x="992" y="561"/>
                      </a:lnTo>
                      <a:lnTo>
                        <a:pt x="996" y="561"/>
                      </a:lnTo>
                      <a:lnTo>
                        <a:pt x="1001" y="561"/>
                      </a:lnTo>
                      <a:lnTo>
                        <a:pt x="1004" y="559"/>
                      </a:lnTo>
                      <a:lnTo>
                        <a:pt x="1008" y="552"/>
                      </a:lnTo>
                      <a:lnTo>
                        <a:pt x="1011" y="551"/>
                      </a:lnTo>
                      <a:lnTo>
                        <a:pt x="1013" y="547"/>
                      </a:lnTo>
                      <a:lnTo>
                        <a:pt x="1015" y="545"/>
                      </a:lnTo>
                      <a:lnTo>
                        <a:pt x="1015" y="540"/>
                      </a:lnTo>
                      <a:lnTo>
                        <a:pt x="1011" y="537"/>
                      </a:lnTo>
                      <a:lnTo>
                        <a:pt x="1008" y="535"/>
                      </a:lnTo>
                      <a:lnTo>
                        <a:pt x="1004" y="533"/>
                      </a:lnTo>
                      <a:lnTo>
                        <a:pt x="1001" y="531"/>
                      </a:lnTo>
                      <a:lnTo>
                        <a:pt x="1015" y="530"/>
                      </a:lnTo>
                      <a:lnTo>
                        <a:pt x="1020" y="530"/>
                      </a:lnTo>
                      <a:lnTo>
                        <a:pt x="1034" y="533"/>
                      </a:lnTo>
                      <a:lnTo>
                        <a:pt x="1039" y="533"/>
                      </a:lnTo>
                      <a:lnTo>
                        <a:pt x="1046" y="530"/>
                      </a:lnTo>
                      <a:lnTo>
                        <a:pt x="1055" y="523"/>
                      </a:lnTo>
                      <a:lnTo>
                        <a:pt x="1058" y="514"/>
                      </a:lnTo>
                      <a:lnTo>
                        <a:pt x="1057" y="509"/>
                      </a:lnTo>
                      <a:lnTo>
                        <a:pt x="1062" y="507"/>
                      </a:lnTo>
                      <a:lnTo>
                        <a:pt x="1064" y="503"/>
                      </a:lnTo>
                      <a:close/>
                      <a:moveTo>
                        <a:pt x="1554" y="989"/>
                      </a:moveTo>
                      <a:lnTo>
                        <a:pt x="1553" y="993"/>
                      </a:lnTo>
                      <a:lnTo>
                        <a:pt x="1554" y="994"/>
                      </a:lnTo>
                      <a:lnTo>
                        <a:pt x="1560" y="994"/>
                      </a:lnTo>
                      <a:lnTo>
                        <a:pt x="1563" y="991"/>
                      </a:lnTo>
                      <a:lnTo>
                        <a:pt x="1565" y="987"/>
                      </a:lnTo>
                      <a:lnTo>
                        <a:pt x="1561" y="984"/>
                      </a:lnTo>
                      <a:lnTo>
                        <a:pt x="1558" y="986"/>
                      </a:lnTo>
                      <a:lnTo>
                        <a:pt x="1554" y="989"/>
                      </a:lnTo>
                      <a:close/>
                      <a:moveTo>
                        <a:pt x="1624" y="942"/>
                      </a:moveTo>
                      <a:lnTo>
                        <a:pt x="1626" y="944"/>
                      </a:lnTo>
                      <a:lnTo>
                        <a:pt x="1628" y="942"/>
                      </a:lnTo>
                      <a:lnTo>
                        <a:pt x="1628" y="942"/>
                      </a:lnTo>
                      <a:lnTo>
                        <a:pt x="1628" y="940"/>
                      </a:lnTo>
                      <a:lnTo>
                        <a:pt x="1626" y="939"/>
                      </a:lnTo>
                      <a:lnTo>
                        <a:pt x="1624" y="937"/>
                      </a:lnTo>
                      <a:lnTo>
                        <a:pt x="1621" y="937"/>
                      </a:lnTo>
                      <a:lnTo>
                        <a:pt x="1621" y="937"/>
                      </a:lnTo>
                      <a:lnTo>
                        <a:pt x="1621" y="940"/>
                      </a:lnTo>
                      <a:lnTo>
                        <a:pt x="1623" y="942"/>
                      </a:lnTo>
                      <a:lnTo>
                        <a:pt x="1624" y="942"/>
                      </a:lnTo>
                      <a:close/>
                      <a:moveTo>
                        <a:pt x="1636" y="918"/>
                      </a:moveTo>
                      <a:lnTo>
                        <a:pt x="1635" y="916"/>
                      </a:lnTo>
                      <a:lnTo>
                        <a:pt x="1633" y="916"/>
                      </a:lnTo>
                      <a:lnTo>
                        <a:pt x="1631" y="916"/>
                      </a:lnTo>
                      <a:lnTo>
                        <a:pt x="1630" y="916"/>
                      </a:lnTo>
                      <a:lnTo>
                        <a:pt x="1630" y="918"/>
                      </a:lnTo>
                      <a:lnTo>
                        <a:pt x="1628" y="918"/>
                      </a:lnTo>
                      <a:lnTo>
                        <a:pt x="1626" y="919"/>
                      </a:lnTo>
                      <a:lnTo>
                        <a:pt x="1628" y="921"/>
                      </a:lnTo>
                      <a:lnTo>
                        <a:pt x="1630" y="921"/>
                      </a:lnTo>
                      <a:lnTo>
                        <a:pt x="1631" y="921"/>
                      </a:lnTo>
                      <a:lnTo>
                        <a:pt x="1635" y="921"/>
                      </a:lnTo>
                      <a:lnTo>
                        <a:pt x="1636" y="921"/>
                      </a:lnTo>
                      <a:lnTo>
                        <a:pt x="1638" y="919"/>
                      </a:lnTo>
                      <a:lnTo>
                        <a:pt x="1636" y="918"/>
                      </a:lnTo>
                      <a:close/>
                      <a:moveTo>
                        <a:pt x="1631" y="991"/>
                      </a:moveTo>
                      <a:lnTo>
                        <a:pt x="1635" y="993"/>
                      </a:lnTo>
                      <a:lnTo>
                        <a:pt x="1636" y="993"/>
                      </a:lnTo>
                      <a:lnTo>
                        <a:pt x="1636" y="991"/>
                      </a:lnTo>
                      <a:lnTo>
                        <a:pt x="1635" y="987"/>
                      </a:lnTo>
                      <a:lnTo>
                        <a:pt x="1631" y="986"/>
                      </a:lnTo>
                      <a:lnTo>
                        <a:pt x="1630" y="986"/>
                      </a:lnTo>
                      <a:lnTo>
                        <a:pt x="1630" y="989"/>
                      </a:lnTo>
                      <a:lnTo>
                        <a:pt x="1631" y="991"/>
                      </a:lnTo>
                      <a:close/>
                      <a:moveTo>
                        <a:pt x="1532" y="1038"/>
                      </a:moveTo>
                      <a:lnTo>
                        <a:pt x="1535" y="1036"/>
                      </a:lnTo>
                      <a:lnTo>
                        <a:pt x="1535" y="1036"/>
                      </a:lnTo>
                      <a:lnTo>
                        <a:pt x="1535" y="1033"/>
                      </a:lnTo>
                      <a:lnTo>
                        <a:pt x="1535" y="1031"/>
                      </a:lnTo>
                      <a:lnTo>
                        <a:pt x="1535" y="1031"/>
                      </a:lnTo>
                      <a:lnTo>
                        <a:pt x="1533" y="1031"/>
                      </a:lnTo>
                      <a:lnTo>
                        <a:pt x="1533" y="1031"/>
                      </a:lnTo>
                      <a:lnTo>
                        <a:pt x="1533" y="1033"/>
                      </a:lnTo>
                      <a:lnTo>
                        <a:pt x="1533" y="1033"/>
                      </a:lnTo>
                      <a:lnTo>
                        <a:pt x="1533" y="1035"/>
                      </a:lnTo>
                      <a:lnTo>
                        <a:pt x="1533" y="1036"/>
                      </a:lnTo>
                      <a:lnTo>
                        <a:pt x="1532" y="1038"/>
                      </a:lnTo>
                      <a:close/>
                      <a:moveTo>
                        <a:pt x="1371" y="881"/>
                      </a:moveTo>
                      <a:lnTo>
                        <a:pt x="1368" y="879"/>
                      </a:lnTo>
                      <a:lnTo>
                        <a:pt x="1366" y="877"/>
                      </a:lnTo>
                      <a:lnTo>
                        <a:pt x="1364" y="879"/>
                      </a:lnTo>
                      <a:lnTo>
                        <a:pt x="1361" y="881"/>
                      </a:lnTo>
                      <a:lnTo>
                        <a:pt x="1364" y="883"/>
                      </a:lnTo>
                      <a:lnTo>
                        <a:pt x="1369" y="886"/>
                      </a:lnTo>
                      <a:lnTo>
                        <a:pt x="1373" y="888"/>
                      </a:lnTo>
                      <a:lnTo>
                        <a:pt x="1376" y="886"/>
                      </a:lnTo>
                      <a:lnTo>
                        <a:pt x="1376" y="884"/>
                      </a:lnTo>
                      <a:lnTo>
                        <a:pt x="1375" y="883"/>
                      </a:lnTo>
                      <a:lnTo>
                        <a:pt x="1371" y="881"/>
                      </a:lnTo>
                      <a:close/>
                      <a:moveTo>
                        <a:pt x="1427" y="911"/>
                      </a:moveTo>
                      <a:lnTo>
                        <a:pt x="1422" y="911"/>
                      </a:lnTo>
                      <a:lnTo>
                        <a:pt x="1420" y="911"/>
                      </a:lnTo>
                      <a:lnTo>
                        <a:pt x="1422" y="912"/>
                      </a:lnTo>
                      <a:lnTo>
                        <a:pt x="1427" y="914"/>
                      </a:lnTo>
                      <a:lnTo>
                        <a:pt x="1432" y="914"/>
                      </a:lnTo>
                      <a:lnTo>
                        <a:pt x="1432" y="914"/>
                      </a:lnTo>
                      <a:lnTo>
                        <a:pt x="1430" y="912"/>
                      </a:lnTo>
                      <a:lnTo>
                        <a:pt x="1427" y="911"/>
                      </a:lnTo>
                      <a:close/>
                      <a:moveTo>
                        <a:pt x="1506" y="909"/>
                      </a:moveTo>
                      <a:lnTo>
                        <a:pt x="1497" y="907"/>
                      </a:lnTo>
                      <a:lnTo>
                        <a:pt x="1492" y="905"/>
                      </a:lnTo>
                      <a:lnTo>
                        <a:pt x="1493" y="907"/>
                      </a:lnTo>
                      <a:lnTo>
                        <a:pt x="1495" y="907"/>
                      </a:lnTo>
                      <a:lnTo>
                        <a:pt x="1497" y="909"/>
                      </a:lnTo>
                      <a:lnTo>
                        <a:pt x="1499" y="909"/>
                      </a:lnTo>
                      <a:lnTo>
                        <a:pt x="1499" y="911"/>
                      </a:lnTo>
                      <a:lnTo>
                        <a:pt x="1500" y="914"/>
                      </a:lnTo>
                      <a:lnTo>
                        <a:pt x="1502" y="914"/>
                      </a:lnTo>
                      <a:lnTo>
                        <a:pt x="1504" y="916"/>
                      </a:lnTo>
                      <a:lnTo>
                        <a:pt x="1507" y="916"/>
                      </a:lnTo>
                      <a:lnTo>
                        <a:pt x="1511" y="918"/>
                      </a:lnTo>
                      <a:lnTo>
                        <a:pt x="1513" y="916"/>
                      </a:lnTo>
                      <a:lnTo>
                        <a:pt x="1511" y="912"/>
                      </a:lnTo>
                      <a:lnTo>
                        <a:pt x="1506" y="909"/>
                      </a:lnTo>
                      <a:close/>
                      <a:moveTo>
                        <a:pt x="1617" y="949"/>
                      </a:moveTo>
                      <a:lnTo>
                        <a:pt x="1619" y="951"/>
                      </a:lnTo>
                      <a:lnTo>
                        <a:pt x="1624" y="954"/>
                      </a:lnTo>
                      <a:lnTo>
                        <a:pt x="1626" y="954"/>
                      </a:lnTo>
                      <a:lnTo>
                        <a:pt x="1628" y="956"/>
                      </a:lnTo>
                      <a:lnTo>
                        <a:pt x="1630" y="956"/>
                      </a:lnTo>
                      <a:lnTo>
                        <a:pt x="1631" y="954"/>
                      </a:lnTo>
                      <a:lnTo>
                        <a:pt x="1631" y="949"/>
                      </a:lnTo>
                      <a:lnTo>
                        <a:pt x="1628" y="946"/>
                      </a:lnTo>
                      <a:lnTo>
                        <a:pt x="1621" y="946"/>
                      </a:lnTo>
                      <a:lnTo>
                        <a:pt x="1616" y="946"/>
                      </a:lnTo>
                      <a:lnTo>
                        <a:pt x="1617" y="949"/>
                      </a:lnTo>
                      <a:close/>
                      <a:moveTo>
                        <a:pt x="1322" y="1129"/>
                      </a:moveTo>
                      <a:lnTo>
                        <a:pt x="1322" y="1127"/>
                      </a:lnTo>
                      <a:lnTo>
                        <a:pt x="1327" y="1120"/>
                      </a:lnTo>
                      <a:lnTo>
                        <a:pt x="1327" y="1118"/>
                      </a:lnTo>
                      <a:lnTo>
                        <a:pt x="1327" y="1117"/>
                      </a:lnTo>
                      <a:lnTo>
                        <a:pt x="1326" y="1113"/>
                      </a:lnTo>
                      <a:lnTo>
                        <a:pt x="1322" y="1112"/>
                      </a:lnTo>
                      <a:lnTo>
                        <a:pt x="1320" y="1110"/>
                      </a:lnTo>
                      <a:lnTo>
                        <a:pt x="1319" y="1113"/>
                      </a:lnTo>
                      <a:lnTo>
                        <a:pt x="1319" y="1117"/>
                      </a:lnTo>
                      <a:lnTo>
                        <a:pt x="1317" y="1120"/>
                      </a:lnTo>
                      <a:lnTo>
                        <a:pt x="1313" y="1122"/>
                      </a:lnTo>
                      <a:lnTo>
                        <a:pt x="1315" y="1118"/>
                      </a:lnTo>
                      <a:lnTo>
                        <a:pt x="1317" y="1117"/>
                      </a:lnTo>
                      <a:lnTo>
                        <a:pt x="1317" y="1113"/>
                      </a:lnTo>
                      <a:lnTo>
                        <a:pt x="1315" y="1112"/>
                      </a:lnTo>
                      <a:lnTo>
                        <a:pt x="1315" y="1115"/>
                      </a:lnTo>
                      <a:lnTo>
                        <a:pt x="1315" y="1117"/>
                      </a:lnTo>
                      <a:lnTo>
                        <a:pt x="1313" y="1120"/>
                      </a:lnTo>
                      <a:lnTo>
                        <a:pt x="1312" y="1122"/>
                      </a:lnTo>
                      <a:lnTo>
                        <a:pt x="1306" y="1125"/>
                      </a:lnTo>
                      <a:lnTo>
                        <a:pt x="1305" y="1129"/>
                      </a:lnTo>
                      <a:lnTo>
                        <a:pt x="1306" y="1131"/>
                      </a:lnTo>
                      <a:lnTo>
                        <a:pt x="1308" y="1129"/>
                      </a:lnTo>
                      <a:lnTo>
                        <a:pt x="1310" y="1125"/>
                      </a:lnTo>
                      <a:lnTo>
                        <a:pt x="1313" y="1124"/>
                      </a:lnTo>
                      <a:lnTo>
                        <a:pt x="1315" y="1124"/>
                      </a:lnTo>
                      <a:lnTo>
                        <a:pt x="1313" y="1125"/>
                      </a:lnTo>
                      <a:lnTo>
                        <a:pt x="1310" y="1132"/>
                      </a:lnTo>
                      <a:lnTo>
                        <a:pt x="1312" y="1131"/>
                      </a:lnTo>
                      <a:lnTo>
                        <a:pt x="1315" y="1131"/>
                      </a:lnTo>
                      <a:lnTo>
                        <a:pt x="1317" y="1129"/>
                      </a:lnTo>
                      <a:lnTo>
                        <a:pt x="1319" y="1127"/>
                      </a:lnTo>
                      <a:lnTo>
                        <a:pt x="1320" y="1122"/>
                      </a:lnTo>
                      <a:lnTo>
                        <a:pt x="1322" y="1120"/>
                      </a:lnTo>
                      <a:lnTo>
                        <a:pt x="1322" y="1124"/>
                      </a:lnTo>
                      <a:lnTo>
                        <a:pt x="1320" y="1129"/>
                      </a:lnTo>
                      <a:lnTo>
                        <a:pt x="1322" y="1129"/>
                      </a:lnTo>
                      <a:close/>
                      <a:moveTo>
                        <a:pt x="1832" y="1244"/>
                      </a:moveTo>
                      <a:lnTo>
                        <a:pt x="1834" y="1241"/>
                      </a:lnTo>
                      <a:lnTo>
                        <a:pt x="1830" y="1243"/>
                      </a:lnTo>
                      <a:lnTo>
                        <a:pt x="1830" y="1244"/>
                      </a:lnTo>
                      <a:lnTo>
                        <a:pt x="1832" y="1244"/>
                      </a:lnTo>
                      <a:close/>
                      <a:moveTo>
                        <a:pt x="1712" y="1125"/>
                      </a:moveTo>
                      <a:lnTo>
                        <a:pt x="1712" y="1125"/>
                      </a:lnTo>
                      <a:lnTo>
                        <a:pt x="1712" y="1125"/>
                      </a:lnTo>
                      <a:lnTo>
                        <a:pt x="1712" y="1125"/>
                      </a:lnTo>
                      <a:lnTo>
                        <a:pt x="1712" y="1124"/>
                      </a:lnTo>
                      <a:lnTo>
                        <a:pt x="1710" y="1124"/>
                      </a:lnTo>
                      <a:lnTo>
                        <a:pt x="1706" y="1124"/>
                      </a:lnTo>
                      <a:lnTo>
                        <a:pt x="1708" y="1125"/>
                      </a:lnTo>
                      <a:lnTo>
                        <a:pt x="1712" y="1125"/>
                      </a:lnTo>
                      <a:close/>
                      <a:moveTo>
                        <a:pt x="1857" y="1318"/>
                      </a:moveTo>
                      <a:lnTo>
                        <a:pt x="1860" y="1316"/>
                      </a:lnTo>
                      <a:lnTo>
                        <a:pt x="1860" y="1314"/>
                      </a:lnTo>
                      <a:lnTo>
                        <a:pt x="1858" y="1314"/>
                      </a:lnTo>
                      <a:lnTo>
                        <a:pt x="1857" y="1314"/>
                      </a:lnTo>
                      <a:lnTo>
                        <a:pt x="1857" y="1314"/>
                      </a:lnTo>
                      <a:lnTo>
                        <a:pt x="1855" y="1314"/>
                      </a:lnTo>
                      <a:lnTo>
                        <a:pt x="1855" y="1314"/>
                      </a:lnTo>
                      <a:lnTo>
                        <a:pt x="1855" y="1316"/>
                      </a:lnTo>
                      <a:lnTo>
                        <a:pt x="1855" y="1318"/>
                      </a:lnTo>
                      <a:lnTo>
                        <a:pt x="1857" y="1318"/>
                      </a:lnTo>
                      <a:close/>
                      <a:moveTo>
                        <a:pt x="1846" y="1321"/>
                      </a:moveTo>
                      <a:lnTo>
                        <a:pt x="1848" y="1319"/>
                      </a:lnTo>
                      <a:lnTo>
                        <a:pt x="1850" y="1318"/>
                      </a:lnTo>
                      <a:lnTo>
                        <a:pt x="1848" y="1318"/>
                      </a:lnTo>
                      <a:lnTo>
                        <a:pt x="1843" y="1318"/>
                      </a:lnTo>
                      <a:lnTo>
                        <a:pt x="1843" y="1318"/>
                      </a:lnTo>
                      <a:lnTo>
                        <a:pt x="1843" y="1321"/>
                      </a:lnTo>
                      <a:lnTo>
                        <a:pt x="1846" y="1321"/>
                      </a:lnTo>
                      <a:close/>
                      <a:moveTo>
                        <a:pt x="1064" y="88"/>
                      </a:moveTo>
                      <a:lnTo>
                        <a:pt x="1069" y="86"/>
                      </a:lnTo>
                      <a:lnTo>
                        <a:pt x="1072" y="84"/>
                      </a:lnTo>
                      <a:lnTo>
                        <a:pt x="1076" y="82"/>
                      </a:lnTo>
                      <a:lnTo>
                        <a:pt x="1095" y="84"/>
                      </a:lnTo>
                      <a:lnTo>
                        <a:pt x="1092" y="88"/>
                      </a:lnTo>
                      <a:lnTo>
                        <a:pt x="1081" y="93"/>
                      </a:lnTo>
                      <a:lnTo>
                        <a:pt x="1078" y="96"/>
                      </a:lnTo>
                      <a:lnTo>
                        <a:pt x="1079" y="100"/>
                      </a:lnTo>
                      <a:lnTo>
                        <a:pt x="1086" y="100"/>
                      </a:lnTo>
                      <a:lnTo>
                        <a:pt x="1107" y="93"/>
                      </a:lnTo>
                      <a:lnTo>
                        <a:pt x="1120" y="89"/>
                      </a:lnTo>
                      <a:lnTo>
                        <a:pt x="1130" y="89"/>
                      </a:lnTo>
                      <a:lnTo>
                        <a:pt x="1142" y="91"/>
                      </a:lnTo>
                      <a:lnTo>
                        <a:pt x="1141" y="93"/>
                      </a:lnTo>
                      <a:lnTo>
                        <a:pt x="1137" y="93"/>
                      </a:lnTo>
                      <a:lnTo>
                        <a:pt x="1128" y="91"/>
                      </a:lnTo>
                      <a:lnTo>
                        <a:pt x="1121" y="93"/>
                      </a:lnTo>
                      <a:lnTo>
                        <a:pt x="1118" y="93"/>
                      </a:lnTo>
                      <a:lnTo>
                        <a:pt x="1114" y="95"/>
                      </a:lnTo>
                      <a:lnTo>
                        <a:pt x="1107" y="100"/>
                      </a:lnTo>
                      <a:lnTo>
                        <a:pt x="1104" y="102"/>
                      </a:lnTo>
                      <a:lnTo>
                        <a:pt x="1100" y="105"/>
                      </a:lnTo>
                      <a:lnTo>
                        <a:pt x="1099" y="109"/>
                      </a:lnTo>
                      <a:lnTo>
                        <a:pt x="1100" y="110"/>
                      </a:lnTo>
                      <a:lnTo>
                        <a:pt x="1107" y="114"/>
                      </a:lnTo>
                      <a:lnTo>
                        <a:pt x="1104" y="114"/>
                      </a:lnTo>
                      <a:lnTo>
                        <a:pt x="1099" y="116"/>
                      </a:lnTo>
                      <a:lnTo>
                        <a:pt x="1095" y="117"/>
                      </a:lnTo>
                      <a:lnTo>
                        <a:pt x="1092" y="119"/>
                      </a:lnTo>
                      <a:lnTo>
                        <a:pt x="1092" y="123"/>
                      </a:lnTo>
                      <a:lnTo>
                        <a:pt x="1093" y="126"/>
                      </a:lnTo>
                      <a:lnTo>
                        <a:pt x="1097" y="128"/>
                      </a:lnTo>
                      <a:lnTo>
                        <a:pt x="1099" y="130"/>
                      </a:lnTo>
                      <a:lnTo>
                        <a:pt x="1104" y="130"/>
                      </a:lnTo>
                      <a:lnTo>
                        <a:pt x="1114" y="128"/>
                      </a:lnTo>
                      <a:lnTo>
                        <a:pt x="1151" y="126"/>
                      </a:lnTo>
                      <a:lnTo>
                        <a:pt x="1158" y="124"/>
                      </a:lnTo>
                      <a:lnTo>
                        <a:pt x="1167" y="121"/>
                      </a:lnTo>
                      <a:lnTo>
                        <a:pt x="1182" y="114"/>
                      </a:lnTo>
                      <a:lnTo>
                        <a:pt x="1189" y="110"/>
                      </a:lnTo>
                      <a:lnTo>
                        <a:pt x="1198" y="110"/>
                      </a:lnTo>
                      <a:lnTo>
                        <a:pt x="1191" y="117"/>
                      </a:lnTo>
                      <a:lnTo>
                        <a:pt x="1179" y="124"/>
                      </a:lnTo>
                      <a:lnTo>
                        <a:pt x="1167" y="128"/>
                      </a:lnTo>
                      <a:lnTo>
                        <a:pt x="1156" y="131"/>
                      </a:lnTo>
                      <a:lnTo>
                        <a:pt x="1121" y="131"/>
                      </a:lnTo>
                      <a:lnTo>
                        <a:pt x="1111" y="135"/>
                      </a:lnTo>
                      <a:lnTo>
                        <a:pt x="1107" y="138"/>
                      </a:lnTo>
                      <a:lnTo>
                        <a:pt x="1111" y="140"/>
                      </a:lnTo>
                      <a:lnTo>
                        <a:pt x="1116" y="144"/>
                      </a:lnTo>
                      <a:lnTo>
                        <a:pt x="1130" y="149"/>
                      </a:lnTo>
                      <a:lnTo>
                        <a:pt x="1135" y="151"/>
                      </a:lnTo>
                      <a:lnTo>
                        <a:pt x="1141" y="151"/>
                      </a:lnTo>
                      <a:lnTo>
                        <a:pt x="1153" y="149"/>
                      </a:lnTo>
                      <a:lnTo>
                        <a:pt x="1162" y="142"/>
                      </a:lnTo>
                      <a:lnTo>
                        <a:pt x="1170" y="135"/>
                      </a:lnTo>
                      <a:lnTo>
                        <a:pt x="1181" y="130"/>
                      </a:lnTo>
                      <a:lnTo>
                        <a:pt x="1193" y="126"/>
                      </a:lnTo>
                      <a:lnTo>
                        <a:pt x="1235" y="121"/>
                      </a:lnTo>
                      <a:lnTo>
                        <a:pt x="1230" y="124"/>
                      </a:lnTo>
                      <a:lnTo>
                        <a:pt x="1221" y="128"/>
                      </a:lnTo>
                      <a:lnTo>
                        <a:pt x="1202" y="130"/>
                      </a:lnTo>
                      <a:lnTo>
                        <a:pt x="1193" y="131"/>
                      </a:lnTo>
                      <a:lnTo>
                        <a:pt x="1184" y="135"/>
                      </a:lnTo>
                      <a:lnTo>
                        <a:pt x="1177" y="140"/>
                      </a:lnTo>
                      <a:lnTo>
                        <a:pt x="1170" y="145"/>
                      </a:lnTo>
                      <a:lnTo>
                        <a:pt x="1165" y="149"/>
                      </a:lnTo>
                      <a:lnTo>
                        <a:pt x="1163" y="151"/>
                      </a:lnTo>
                      <a:lnTo>
                        <a:pt x="1165" y="154"/>
                      </a:lnTo>
                      <a:lnTo>
                        <a:pt x="1170" y="156"/>
                      </a:lnTo>
                      <a:lnTo>
                        <a:pt x="1174" y="156"/>
                      </a:lnTo>
                      <a:lnTo>
                        <a:pt x="1182" y="156"/>
                      </a:lnTo>
                      <a:lnTo>
                        <a:pt x="1195" y="157"/>
                      </a:lnTo>
                      <a:lnTo>
                        <a:pt x="1203" y="159"/>
                      </a:lnTo>
                      <a:lnTo>
                        <a:pt x="1212" y="157"/>
                      </a:lnTo>
                      <a:lnTo>
                        <a:pt x="1221" y="154"/>
                      </a:lnTo>
                      <a:lnTo>
                        <a:pt x="1228" y="151"/>
                      </a:lnTo>
                      <a:lnTo>
                        <a:pt x="1231" y="149"/>
                      </a:lnTo>
                      <a:lnTo>
                        <a:pt x="1258" y="145"/>
                      </a:lnTo>
                      <a:lnTo>
                        <a:pt x="1254" y="147"/>
                      </a:lnTo>
                      <a:lnTo>
                        <a:pt x="1245" y="152"/>
                      </a:lnTo>
                      <a:lnTo>
                        <a:pt x="1244" y="156"/>
                      </a:lnTo>
                      <a:lnTo>
                        <a:pt x="1252" y="156"/>
                      </a:lnTo>
                      <a:lnTo>
                        <a:pt x="1261" y="156"/>
                      </a:lnTo>
                      <a:lnTo>
                        <a:pt x="1280" y="152"/>
                      </a:lnTo>
                      <a:lnTo>
                        <a:pt x="1299" y="147"/>
                      </a:lnTo>
                      <a:lnTo>
                        <a:pt x="1308" y="144"/>
                      </a:lnTo>
                      <a:lnTo>
                        <a:pt x="1313" y="137"/>
                      </a:lnTo>
                      <a:lnTo>
                        <a:pt x="1315" y="133"/>
                      </a:lnTo>
                      <a:lnTo>
                        <a:pt x="1317" y="130"/>
                      </a:lnTo>
                      <a:lnTo>
                        <a:pt x="1319" y="126"/>
                      </a:lnTo>
                      <a:lnTo>
                        <a:pt x="1322" y="123"/>
                      </a:lnTo>
                      <a:lnTo>
                        <a:pt x="1324" y="123"/>
                      </a:lnTo>
                      <a:lnTo>
                        <a:pt x="1327" y="123"/>
                      </a:lnTo>
                      <a:lnTo>
                        <a:pt x="1329" y="123"/>
                      </a:lnTo>
                      <a:lnTo>
                        <a:pt x="1331" y="121"/>
                      </a:lnTo>
                      <a:lnTo>
                        <a:pt x="1334" y="119"/>
                      </a:lnTo>
                      <a:lnTo>
                        <a:pt x="1338" y="116"/>
                      </a:lnTo>
                      <a:lnTo>
                        <a:pt x="1345" y="109"/>
                      </a:lnTo>
                      <a:lnTo>
                        <a:pt x="1354" y="105"/>
                      </a:lnTo>
                      <a:lnTo>
                        <a:pt x="1371" y="98"/>
                      </a:lnTo>
                      <a:lnTo>
                        <a:pt x="1368" y="102"/>
                      </a:lnTo>
                      <a:lnTo>
                        <a:pt x="1347" y="116"/>
                      </a:lnTo>
                      <a:lnTo>
                        <a:pt x="1341" y="119"/>
                      </a:lnTo>
                      <a:lnTo>
                        <a:pt x="1338" y="123"/>
                      </a:lnTo>
                      <a:lnTo>
                        <a:pt x="1334" y="128"/>
                      </a:lnTo>
                      <a:lnTo>
                        <a:pt x="1333" y="131"/>
                      </a:lnTo>
                      <a:lnTo>
                        <a:pt x="1333" y="133"/>
                      </a:lnTo>
                      <a:lnTo>
                        <a:pt x="1333" y="135"/>
                      </a:lnTo>
                      <a:lnTo>
                        <a:pt x="1336" y="137"/>
                      </a:lnTo>
                      <a:lnTo>
                        <a:pt x="1338" y="137"/>
                      </a:lnTo>
                      <a:lnTo>
                        <a:pt x="1366" y="138"/>
                      </a:lnTo>
                      <a:lnTo>
                        <a:pt x="1371" y="138"/>
                      </a:lnTo>
                      <a:lnTo>
                        <a:pt x="1369" y="140"/>
                      </a:lnTo>
                      <a:lnTo>
                        <a:pt x="1364" y="142"/>
                      </a:lnTo>
                      <a:lnTo>
                        <a:pt x="1355" y="142"/>
                      </a:lnTo>
                      <a:lnTo>
                        <a:pt x="1317" y="149"/>
                      </a:lnTo>
                      <a:lnTo>
                        <a:pt x="1312" y="152"/>
                      </a:lnTo>
                      <a:lnTo>
                        <a:pt x="1310" y="152"/>
                      </a:lnTo>
                      <a:lnTo>
                        <a:pt x="1306" y="156"/>
                      </a:lnTo>
                      <a:lnTo>
                        <a:pt x="1303" y="157"/>
                      </a:lnTo>
                      <a:lnTo>
                        <a:pt x="1301" y="157"/>
                      </a:lnTo>
                      <a:lnTo>
                        <a:pt x="1245" y="164"/>
                      </a:lnTo>
                      <a:lnTo>
                        <a:pt x="1242" y="166"/>
                      </a:lnTo>
                      <a:lnTo>
                        <a:pt x="1240" y="166"/>
                      </a:lnTo>
                      <a:lnTo>
                        <a:pt x="1240" y="170"/>
                      </a:lnTo>
                      <a:lnTo>
                        <a:pt x="1242" y="171"/>
                      </a:lnTo>
                      <a:lnTo>
                        <a:pt x="1249" y="178"/>
                      </a:lnTo>
                      <a:lnTo>
                        <a:pt x="1275" y="199"/>
                      </a:lnTo>
                      <a:lnTo>
                        <a:pt x="1279" y="203"/>
                      </a:lnTo>
                      <a:lnTo>
                        <a:pt x="1285" y="205"/>
                      </a:lnTo>
                      <a:lnTo>
                        <a:pt x="1291" y="205"/>
                      </a:lnTo>
                      <a:lnTo>
                        <a:pt x="1296" y="205"/>
                      </a:lnTo>
                      <a:lnTo>
                        <a:pt x="1301" y="205"/>
                      </a:lnTo>
                      <a:lnTo>
                        <a:pt x="1291" y="208"/>
                      </a:lnTo>
                      <a:lnTo>
                        <a:pt x="1279" y="208"/>
                      </a:lnTo>
                      <a:lnTo>
                        <a:pt x="1266" y="203"/>
                      </a:lnTo>
                      <a:lnTo>
                        <a:pt x="1226" y="175"/>
                      </a:lnTo>
                      <a:lnTo>
                        <a:pt x="1221" y="171"/>
                      </a:lnTo>
                      <a:lnTo>
                        <a:pt x="1216" y="171"/>
                      </a:lnTo>
                      <a:lnTo>
                        <a:pt x="1209" y="170"/>
                      </a:lnTo>
                      <a:lnTo>
                        <a:pt x="1191" y="170"/>
                      </a:lnTo>
                      <a:lnTo>
                        <a:pt x="1177" y="168"/>
                      </a:lnTo>
                      <a:lnTo>
                        <a:pt x="1170" y="168"/>
                      </a:lnTo>
                      <a:lnTo>
                        <a:pt x="1165" y="171"/>
                      </a:lnTo>
                      <a:lnTo>
                        <a:pt x="1163" y="177"/>
                      </a:lnTo>
                      <a:lnTo>
                        <a:pt x="1163" y="184"/>
                      </a:lnTo>
                      <a:lnTo>
                        <a:pt x="1165" y="189"/>
                      </a:lnTo>
                      <a:lnTo>
                        <a:pt x="1167" y="196"/>
                      </a:lnTo>
                      <a:lnTo>
                        <a:pt x="1170" y="201"/>
                      </a:lnTo>
                      <a:lnTo>
                        <a:pt x="1175" y="203"/>
                      </a:lnTo>
                      <a:lnTo>
                        <a:pt x="1188" y="205"/>
                      </a:lnTo>
                      <a:lnTo>
                        <a:pt x="1193" y="206"/>
                      </a:lnTo>
                      <a:lnTo>
                        <a:pt x="1198" y="210"/>
                      </a:lnTo>
                      <a:lnTo>
                        <a:pt x="1203" y="215"/>
                      </a:lnTo>
                      <a:lnTo>
                        <a:pt x="1214" y="227"/>
                      </a:lnTo>
                      <a:lnTo>
                        <a:pt x="1216" y="229"/>
                      </a:lnTo>
                      <a:lnTo>
                        <a:pt x="1226" y="234"/>
                      </a:lnTo>
                      <a:lnTo>
                        <a:pt x="1228" y="238"/>
                      </a:lnTo>
                      <a:lnTo>
                        <a:pt x="1217" y="234"/>
                      </a:lnTo>
                      <a:lnTo>
                        <a:pt x="1212" y="233"/>
                      </a:lnTo>
                      <a:lnTo>
                        <a:pt x="1207" y="234"/>
                      </a:lnTo>
                      <a:lnTo>
                        <a:pt x="1209" y="238"/>
                      </a:lnTo>
                      <a:lnTo>
                        <a:pt x="1214" y="241"/>
                      </a:lnTo>
                      <a:lnTo>
                        <a:pt x="1219" y="241"/>
                      </a:lnTo>
                      <a:lnTo>
                        <a:pt x="1247" y="245"/>
                      </a:lnTo>
                      <a:lnTo>
                        <a:pt x="1252" y="245"/>
                      </a:lnTo>
                      <a:lnTo>
                        <a:pt x="1263" y="241"/>
                      </a:lnTo>
                      <a:lnTo>
                        <a:pt x="1266" y="241"/>
                      </a:lnTo>
                      <a:lnTo>
                        <a:pt x="1265" y="243"/>
                      </a:lnTo>
                      <a:lnTo>
                        <a:pt x="1261" y="245"/>
                      </a:lnTo>
                      <a:lnTo>
                        <a:pt x="1256" y="247"/>
                      </a:lnTo>
                      <a:lnTo>
                        <a:pt x="1252" y="248"/>
                      </a:lnTo>
                      <a:lnTo>
                        <a:pt x="1251" y="248"/>
                      </a:lnTo>
                      <a:lnTo>
                        <a:pt x="1245" y="247"/>
                      </a:lnTo>
                      <a:lnTo>
                        <a:pt x="1244" y="247"/>
                      </a:lnTo>
                      <a:lnTo>
                        <a:pt x="1240" y="248"/>
                      </a:lnTo>
                      <a:lnTo>
                        <a:pt x="1237" y="250"/>
                      </a:lnTo>
                      <a:lnTo>
                        <a:pt x="1235" y="250"/>
                      </a:lnTo>
                      <a:lnTo>
                        <a:pt x="1231" y="250"/>
                      </a:lnTo>
                      <a:lnTo>
                        <a:pt x="1219" y="247"/>
                      </a:lnTo>
                      <a:lnTo>
                        <a:pt x="1198" y="245"/>
                      </a:lnTo>
                      <a:lnTo>
                        <a:pt x="1195" y="245"/>
                      </a:lnTo>
                      <a:lnTo>
                        <a:pt x="1182" y="247"/>
                      </a:lnTo>
                      <a:lnTo>
                        <a:pt x="1167" y="248"/>
                      </a:lnTo>
                      <a:lnTo>
                        <a:pt x="1162" y="250"/>
                      </a:lnTo>
                      <a:lnTo>
                        <a:pt x="1158" y="252"/>
                      </a:lnTo>
                      <a:lnTo>
                        <a:pt x="1156" y="255"/>
                      </a:lnTo>
                      <a:lnTo>
                        <a:pt x="1155" y="259"/>
                      </a:lnTo>
                      <a:lnTo>
                        <a:pt x="1151" y="262"/>
                      </a:lnTo>
                      <a:lnTo>
                        <a:pt x="1148" y="264"/>
                      </a:lnTo>
                      <a:lnTo>
                        <a:pt x="1146" y="268"/>
                      </a:lnTo>
                      <a:lnTo>
                        <a:pt x="1144" y="271"/>
                      </a:lnTo>
                      <a:lnTo>
                        <a:pt x="1144" y="278"/>
                      </a:lnTo>
                      <a:lnTo>
                        <a:pt x="1144" y="278"/>
                      </a:lnTo>
                      <a:lnTo>
                        <a:pt x="1144" y="278"/>
                      </a:lnTo>
                      <a:lnTo>
                        <a:pt x="1146" y="280"/>
                      </a:lnTo>
                      <a:lnTo>
                        <a:pt x="1146" y="280"/>
                      </a:lnTo>
                      <a:lnTo>
                        <a:pt x="1148" y="280"/>
                      </a:lnTo>
                      <a:lnTo>
                        <a:pt x="1153" y="280"/>
                      </a:lnTo>
                      <a:lnTo>
                        <a:pt x="1155" y="280"/>
                      </a:lnTo>
                      <a:lnTo>
                        <a:pt x="1158" y="280"/>
                      </a:lnTo>
                      <a:lnTo>
                        <a:pt x="1160" y="280"/>
                      </a:lnTo>
                      <a:lnTo>
                        <a:pt x="1165" y="278"/>
                      </a:lnTo>
                      <a:lnTo>
                        <a:pt x="1170" y="276"/>
                      </a:lnTo>
                      <a:lnTo>
                        <a:pt x="1174" y="275"/>
                      </a:lnTo>
                      <a:lnTo>
                        <a:pt x="1177" y="271"/>
                      </a:lnTo>
                      <a:lnTo>
                        <a:pt x="1175" y="276"/>
                      </a:lnTo>
                      <a:lnTo>
                        <a:pt x="1172" y="283"/>
                      </a:lnTo>
                      <a:lnTo>
                        <a:pt x="1181" y="282"/>
                      </a:lnTo>
                      <a:lnTo>
                        <a:pt x="1186" y="282"/>
                      </a:lnTo>
                      <a:lnTo>
                        <a:pt x="1189" y="278"/>
                      </a:lnTo>
                      <a:lnTo>
                        <a:pt x="1195" y="275"/>
                      </a:lnTo>
                      <a:lnTo>
                        <a:pt x="1196" y="271"/>
                      </a:lnTo>
                      <a:lnTo>
                        <a:pt x="1202" y="262"/>
                      </a:lnTo>
                      <a:lnTo>
                        <a:pt x="1200" y="275"/>
                      </a:lnTo>
                      <a:lnTo>
                        <a:pt x="1203" y="275"/>
                      </a:lnTo>
                      <a:lnTo>
                        <a:pt x="1207" y="276"/>
                      </a:lnTo>
                      <a:lnTo>
                        <a:pt x="1214" y="278"/>
                      </a:lnTo>
                      <a:lnTo>
                        <a:pt x="1210" y="278"/>
                      </a:lnTo>
                      <a:lnTo>
                        <a:pt x="1207" y="278"/>
                      </a:lnTo>
                      <a:lnTo>
                        <a:pt x="1203" y="278"/>
                      </a:lnTo>
                      <a:lnTo>
                        <a:pt x="1191" y="287"/>
                      </a:lnTo>
                      <a:lnTo>
                        <a:pt x="1188" y="290"/>
                      </a:lnTo>
                      <a:lnTo>
                        <a:pt x="1186" y="290"/>
                      </a:lnTo>
                      <a:lnTo>
                        <a:pt x="1188" y="294"/>
                      </a:lnTo>
                      <a:lnTo>
                        <a:pt x="1188" y="296"/>
                      </a:lnTo>
                      <a:lnTo>
                        <a:pt x="1191" y="297"/>
                      </a:lnTo>
                      <a:lnTo>
                        <a:pt x="1191" y="299"/>
                      </a:lnTo>
                      <a:lnTo>
                        <a:pt x="1191" y="303"/>
                      </a:lnTo>
                      <a:lnTo>
                        <a:pt x="1191" y="304"/>
                      </a:lnTo>
                      <a:lnTo>
                        <a:pt x="1191" y="306"/>
                      </a:lnTo>
                      <a:lnTo>
                        <a:pt x="1191" y="308"/>
                      </a:lnTo>
                      <a:lnTo>
                        <a:pt x="1193" y="308"/>
                      </a:lnTo>
                      <a:lnTo>
                        <a:pt x="1196" y="310"/>
                      </a:lnTo>
                      <a:lnTo>
                        <a:pt x="1198" y="310"/>
                      </a:lnTo>
                      <a:lnTo>
                        <a:pt x="1200" y="310"/>
                      </a:lnTo>
                      <a:lnTo>
                        <a:pt x="1210" y="308"/>
                      </a:lnTo>
                      <a:lnTo>
                        <a:pt x="1217" y="308"/>
                      </a:lnTo>
                      <a:lnTo>
                        <a:pt x="1221" y="308"/>
                      </a:lnTo>
                      <a:lnTo>
                        <a:pt x="1224" y="308"/>
                      </a:lnTo>
                      <a:lnTo>
                        <a:pt x="1228" y="306"/>
                      </a:lnTo>
                      <a:lnTo>
                        <a:pt x="1233" y="303"/>
                      </a:lnTo>
                      <a:lnTo>
                        <a:pt x="1244" y="292"/>
                      </a:lnTo>
                      <a:lnTo>
                        <a:pt x="1249" y="287"/>
                      </a:lnTo>
                      <a:lnTo>
                        <a:pt x="1242" y="303"/>
                      </a:lnTo>
                      <a:lnTo>
                        <a:pt x="1226" y="311"/>
                      </a:lnTo>
                      <a:lnTo>
                        <a:pt x="1210" y="313"/>
                      </a:lnTo>
                      <a:lnTo>
                        <a:pt x="1193" y="311"/>
                      </a:lnTo>
                      <a:lnTo>
                        <a:pt x="1188" y="311"/>
                      </a:lnTo>
                      <a:lnTo>
                        <a:pt x="1184" y="310"/>
                      </a:lnTo>
                      <a:lnTo>
                        <a:pt x="1181" y="308"/>
                      </a:lnTo>
                      <a:lnTo>
                        <a:pt x="1170" y="299"/>
                      </a:lnTo>
                      <a:lnTo>
                        <a:pt x="1167" y="296"/>
                      </a:lnTo>
                      <a:lnTo>
                        <a:pt x="1162" y="294"/>
                      </a:lnTo>
                      <a:lnTo>
                        <a:pt x="1155" y="292"/>
                      </a:lnTo>
                      <a:lnTo>
                        <a:pt x="1146" y="292"/>
                      </a:lnTo>
                      <a:lnTo>
                        <a:pt x="1137" y="296"/>
                      </a:lnTo>
                      <a:lnTo>
                        <a:pt x="1132" y="301"/>
                      </a:lnTo>
                      <a:lnTo>
                        <a:pt x="1134" y="304"/>
                      </a:lnTo>
                      <a:lnTo>
                        <a:pt x="1135" y="308"/>
                      </a:lnTo>
                      <a:lnTo>
                        <a:pt x="1139" y="311"/>
                      </a:lnTo>
                      <a:lnTo>
                        <a:pt x="1142" y="313"/>
                      </a:lnTo>
                      <a:lnTo>
                        <a:pt x="1144" y="313"/>
                      </a:lnTo>
                      <a:lnTo>
                        <a:pt x="1149" y="315"/>
                      </a:lnTo>
                      <a:lnTo>
                        <a:pt x="1151" y="315"/>
                      </a:lnTo>
                      <a:lnTo>
                        <a:pt x="1153" y="316"/>
                      </a:lnTo>
                      <a:lnTo>
                        <a:pt x="1156" y="318"/>
                      </a:lnTo>
                      <a:lnTo>
                        <a:pt x="1158" y="320"/>
                      </a:lnTo>
                      <a:lnTo>
                        <a:pt x="1153" y="322"/>
                      </a:lnTo>
                      <a:lnTo>
                        <a:pt x="1148" y="322"/>
                      </a:lnTo>
                      <a:lnTo>
                        <a:pt x="1137" y="322"/>
                      </a:lnTo>
                      <a:lnTo>
                        <a:pt x="1130" y="322"/>
                      </a:lnTo>
                      <a:lnTo>
                        <a:pt x="1125" y="323"/>
                      </a:lnTo>
                      <a:lnTo>
                        <a:pt x="1104" y="332"/>
                      </a:lnTo>
                      <a:lnTo>
                        <a:pt x="1102" y="334"/>
                      </a:lnTo>
                      <a:lnTo>
                        <a:pt x="1100" y="336"/>
                      </a:lnTo>
                      <a:lnTo>
                        <a:pt x="1100" y="339"/>
                      </a:lnTo>
                      <a:lnTo>
                        <a:pt x="1100" y="343"/>
                      </a:lnTo>
                      <a:lnTo>
                        <a:pt x="1100" y="344"/>
                      </a:lnTo>
                      <a:lnTo>
                        <a:pt x="1100" y="348"/>
                      </a:lnTo>
                      <a:lnTo>
                        <a:pt x="1104" y="348"/>
                      </a:lnTo>
                      <a:lnTo>
                        <a:pt x="1114" y="350"/>
                      </a:lnTo>
                      <a:lnTo>
                        <a:pt x="1118" y="350"/>
                      </a:lnTo>
                      <a:lnTo>
                        <a:pt x="1121" y="351"/>
                      </a:lnTo>
                      <a:lnTo>
                        <a:pt x="1121" y="343"/>
                      </a:lnTo>
                      <a:lnTo>
                        <a:pt x="1121" y="339"/>
                      </a:lnTo>
                      <a:lnTo>
                        <a:pt x="1123" y="336"/>
                      </a:lnTo>
                      <a:lnTo>
                        <a:pt x="1123" y="344"/>
                      </a:lnTo>
                      <a:lnTo>
                        <a:pt x="1123" y="348"/>
                      </a:lnTo>
                      <a:lnTo>
                        <a:pt x="1125" y="351"/>
                      </a:lnTo>
                      <a:lnTo>
                        <a:pt x="1127" y="351"/>
                      </a:lnTo>
                      <a:lnTo>
                        <a:pt x="1134" y="351"/>
                      </a:lnTo>
                      <a:lnTo>
                        <a:pt x="1144" y="353"/>
                      </a:lnTo>
                      <a:lnTo>
                        <a:pt x="1144" y="343"/>
                      </a:lnTo>
                      <a:lnTo>
                        <a:pt x="1146" y="346"/>
                      </a:lnTo>
                      <a:lnTo>
                        <a:pt x="1148" y="348"/>
                      </a:lnTo>
                      <a:lnTo>
                        <a:pt x="1149" y="350"/>
                      </a:lnTo>
                      <a:lnTo>
                        <a:pt x="1158" y="351"/>
                      </a:lnTo>
                      <a:lnTo>
                        <a:pt x="1160" y="351"/>
                      </a:lnTo>
                      <a:lnTo>
                        <a:pt x="1162" y="351"/>
                      </a:lnTo>
                      <a:lnTo>
                        <a:pt x="1163" y="350"/>
                      </a:lnTo>
                      <a:lnTo>
                        <a:pt x="1165" y="346"/>
                      </a:lnTo>
                      <a:lnTo>
                        <a:pt x="1165" y="344"/>
                      </a:lnTo>
                      <a:lnTo>
                        <a:pt x="1168" y="344"/>
                      </a:lnTo>
                      <a:lnTo>
                        <a:pt x="1168" y="344"/>
                      </a:lnTo>
                      <a:lnTo>
                        <a:pt x="1170" y="348"/>
                      </a:lnTo>
                      <a:lnTo>
                        <a:pt x="1170" y="348"/>
                      </a:lnTo>
                      <a:lnTo>
                        <a:pt x="1172" y="350"/>
                      </a:lnTo>
                      <a:lnTo>
                        <a:pt x="1174" y="350"/>
                      </a:lnTo>
                      <a:lnTo>
                        <a:pt x="1181" y="353"/>
                      </a:lnTo>
                      <a:lnTo>
                        <a:pt x="1188" y="355"/>
                      </a:lnTo>
                      <a:lnTo>
                        <a:pt x="1193" y="357"/>
                      </a:lnTo>
                      <a:lnTo>
                        <a:pt x="1207" y="355"/>
                      </a:lnTo>
                      <a:lnTo>
                        <a:pt x="1210" y="355"/>
                      </a:lnTo>
                      <a:lnTo>
                        <a:pt x="1214" y="353"/>
                      </a:lnTo>
                      <a:lnTo>
                        <a:pt x="1214" y="351"/>
                      </a:lnTo>
                      <a:lnTo>
                        <a:pt x="1214" y="339"/>
                      </a:lnTo>
                      <a:lnTo>
                        <a:pt x="1217" y="346"/>
                      </a:lnTo>
                      <a:lnTo>
                        <a:pt x="1221" y="348"/>
                      </a:lnTo>
                      <a:lnTo>
                        <a:pt x="1224" y="350"/>
                      </a:lnTo>
                      <a:lnTo>
                        <a:pt x="1228" y="350"/>
                      </a:lnTo>
                      <a:lnTo>
                        <a:pt x="1254" y="350"/>
                      </a:lnTo>
                      <a:lnTo>
                        <a:pt x="1258" y="348"/>
                      </a:lnTo>
                      <a:lnTo>
                        <a:pt x="1258" y="346"/>
                      </a:lnTo>
                      <a:lnTo>
                        <a:pt x="1256" y="343"/>
                      </a:lnTo>
                      <a:lnTo>
                        <a:pt x="1251" y="337"/>
                      </a:lnTo>
                      <a:lnTo>
                        <a:pt x="1252" y="337"/>
                      </a:lnTo>
                      <a:lnTo>
                        <a:pt x="1254" y="339"/>
                      </a:lnTo>
                      <a:lnTo>
                        <a:pt x="1256" y="341"/>
                      </a:lnTo>
                      <a:lnTo>
                        <a:pt x="1256" y="341"/>
                      </a:lnTo>
                      <a:lnTo>
                        <a:pt x="1259" y="341"/>
                      </a:lnTo>
                      <a:lnTo>
                        <a:pt x="1259" y="341"/>
                      </a:lnTo>
                      <a:lnTo>
                        <a:pt x="1263" y="343"/>
                      </a:lnTo>
                      <a:lnTo>
                        <a:pt x="1265" y="344"/>
                      </a:lnTo>
                      <a:lnTo>
                        <a:pt x="1266" y="346"/>
                      </a:lnTo>
                      <a:lnTo>
                        <a:pt x="1270" y="348"/>
                      </a:lnTo>
                      <a:lnTo>
                        <a:pt x="1280" y="348"/>
                      </a:lnTo>
                      <a:lnTo>
                        <a:pt x="1284" y="348"/>
                      </a:lnTo>
                      <a:lnTo>
                        <a:pt x="1287" y="353"/>
                      </a:lnTo>
                      <a:lnTo>
                        <a:pt x="1285" y="355"/>
                      </a:lnTo>
                      <a:lnTo>
                        <a:pt x="1284" y="357"/>
                      </a:lnTo>
                      <a:lnTo>
                        <a:pt x="1284" y="358"/>
                      </a:lnTo>
                      <a:lnTo>
                        <a:pt x="1284" y="362"/>
                      </a:lnTo>
                      <a:lnTo>
                        <a:pt x="1285" y="362"/>
                      </a:lnTo>
                      <a:lnTo>
                        <a:pt x="1289" y="362"/>
                      </a:lnTo>
                      <a:lnTo>
                        <a:pt x="1312" y="357"/>
                      </a:lnTo>
                      <a:lnTo>
                        <a:pt x="1326" y="351"/>
                      </a:lnTo>
                      <a:lnTo>
                        <a:pt x="1340" y="344"/>
                      </a:lnTo>
                      <a:lnTo>
                        <a:pt x="1347" y="336"/>
                      </a:lnTo>
                      <a:lnTo>
                        <a:pt x="1343" y="329"/>
                      </a:lnTo>
                      <a:lnTo>
                        <a:pt x="1338" y="329"/>
                      </a:lnTo>
                      <a:lnTo>
                        <a:pt x="1327" y="330"/>
                      </a:lnTo>
                      <a:lnTo>
                        <a:pt x="1322" y="329"/>
                      </a:lnTo>
                      <a:lnTo>
                        <a:pt x="1320" y="327"/>
                      </a:lnTo>
                      <a:lnTo>
                        <a:pt x="1320" y="327"/>
                      </a:lnTo>
                      <a:lnTo>
                        <a:pt x="1320" y="325"/>
                      </a:lnTo>
                      <a:lnTo>
                        <a:pt x="1319" y="322"/>
                      </a:lnTo>
                      <a:lnTo>
                        <a:pt x="1317" y="320"/>
                      </a:lnTo>
                      <a:lnTo>
                        <a:pt x="1313" y="320"/>
                      </a:lnTo>
                      <a:lnTo>
                        <a:pt x="1310" y="320"/>
                      </a:lnTo>
                      <a:lnTo>
                        <a:pt x="1299" y="320"/>
                      </a:lnTo>
                      <a:lnTo>
                        <a:pt x="1298" y="320"/>
                      </a:lnTo>
                      <a:lnTo>
                        <a:pt x="1287" y="318"/>
                      </a:lnTo>
                      <a:lnTo>
                        <a:pt x="1284" y="316"/>
                      </a:lnTo>
                      <a:lnTo>
                        <a:pt x="1279" y="318"/>
                      </a:lnTo>
                      <a:lnTo>
                        <a:pt x="1272" y="318"/>
                      </a:lnTo>
                      <a:lnTo>
                        <a:pt x="1266" y="318"/>
                      </a:lnTo>
                      <a:lnTo>
                        <a:pt x="1261" y="316"/>
                      </a:lnTo>
                      <a:lnTo>
                        <a:pt x="1265" y="316"/>
                      </a:lnTo>
                      <a:lnTo>
                        <a:pt x="1268" y="316"/>
                      </a:lnTo>
                      <a:lnTo>
                        <a:pt x="1273" y="315"/>
                      </a:lnTo>
                      <a:lnTo>
                        <a:pt x="1277" y="313"/>
                      </a:lnTo>
                      <a:lnTo>
                        <a:pt x="1275" y="313"/>
                      </a:lnTo>
                      <a:lnTo>
                        <a:pt x="1273" y="311"/>
                      </a:lnTo>
                      <a:lnTo>
                        <a:pt x="1270" y="310"/>
                      </a:lnTo>
                      <a:lnTo>
                        <a:pt x="1270" y="308"/>
                      </a:lnTo>
                      <a:lnTo>
                        <a:pt x="1277" y="310"/>
                      </a:lnTo>
                      <a:lnTo>
                        <a:pt x="1292" y="315"/>
                      </a:lnTo>
                      <a:lnTo>
                        <a:pt x="1299" y="316"/>
                      </a:lnTo>
                      <a:lnTo>
                        <a:pt x="1326" y="315"/>
                      </a:lnTo>
                      <a:lnTo>
                        <a:pt x="1336" y="313"/>
                      </a:lnTo>
                      <a:lnTo>
                        <a:pt x="1340" y="313"/>
                      </a:lnTo>
                      <a:lnTo>
                        <a:pt x="1343" y="311"/>
                      </a:lnTo>
                      <a:lnTo>
                        <a:pt x="1345" y="308"/>
                      </a:lnTo>
                      <a:lnTo>
                        <a:pt x="1347" y="304"/>
                      </a:lnTo>
                      <a:lnTo>
                        <a:pt x="1345" y="297"/>
                      </a:lnTo>
                      <a:lnTo>
                        <a:pt x="1345" y="294"/>
                      </a:lnTo>
                      <a:lnTo>
                        <a:pt x="1347" y="290"/>
                      </a:lnTo>
                      <a:lnTo>
                        <a:pt x="1350" y="289"/>
                      </a:lnTo>
                      <a:lnTo>
                        <a:pt x="1355" y="289"/>
                      </a:lnTo>
                      <a:lnTo>
                        <a:pt x="1371" y="290"/>
                      </a:lnTo>
                      <a:lnTo>
                        <a:pt x="1375" y="290"/>
                      </a:lnTo>
                      <a:lnTo>
                        <a:pt x="1382" y="287"/>
                      </a:lnTo>
                      <a:lnTo>
                        <a:pt x="1385" y="287"/>
                      </a:lnTo>
                      <a:lnTo>
                        <a:pt x="1389" y="287"/>
                      </a:lnTo>
                      <a:lnTo>
                        <a:pt x="1390" y="287"/>
                      </a:lnTo>
                      <a:lnTo>
                        <a:pt x="1394" y="287"/>
                      </a:lnTo>
                      <a:lnTo>
                        <a:pt x="1396" y="283"/>
                      </a:lnTo>
                      <a:lnTo>
                        <a:pt x="1397" y="278"/>
                      </a:lnTo>
                      <a:lnTo>
                        <a:pt x="1399" y="276"/>
                      </a:lnTo>
                      <a:lnTo>
                        <a:pt x="1401" y="275"/>
                      </a:lnTo>
                      <a:lnTo>
                        <a:pt x="1408" y="271"/>
                      </a:lnTo>
                      <a:lnTo>
                        <a:pt x="1402" y="268"/>
                      </a:lnTo>
                      <a:lnTo>
                        <a:pt x="1396" y="266"/>
                      </a:lnTo>
                      <a:lnTo>
                        <a:pt x="1382" y="264"/>
                      </a:lnTo>
                      <a:lnTo>
                        <a:pt x="1390" y="262"/>
                      </a:lnTo>
                      <a:lnTo>
                        <a:pt x="1408" y="262"/>
                      </a:lnTo>
                      <a:lnTo>
                        <a:pt x="1416" y="261"/>
                      </a:lnTo>
                      <a:lnTo>
                        <a:pt x="1418" y="261"/>
                      </a:lnTo>
                      <a:lnTo>
                        <a:pt x="1420" y="259"/>
                      </a:lnTo>
                      <a:lnTo>
                        <a:pt x="1422" y="257"/>
                      </a:lnTo>
                      <a:lnTo>
                        <a:pt x="1422" y="255"/>
                      </a:lnTo>
                      <a:lnTo>
                        <a:pt x="1423" y="254"/>
                      </a:lnTo>
                      <a:lnTo>
                        <a:pt x="1422" y="252"/>
                      </a:lnTo>
                      <a:lnTo>
                        <a:pt x="1420" y="252"/>
                      </a:lnTo>
                      <a:lnTo>
                        <a:pt x="1411" y="248"/>
                      </a:lnTo>
                      <a:lnTo>
                        <a:pt x="1406" y="247"/>
                      </a:lnTo>
                      <a:lnTo>
                        <a:pt x="1397" y="245"/>
                      </a:lnTo>
                      <a:lnTo>
                        <a:pt x="1396" y="245"/>
                      </a:lnTo>
                      <a:lnTo>
                        <a:pt x="1392" y="243"/>
                      </a:lnTo>
                      <a:lnTo>
                        <a:pt x="1387" y="241"/>
                      </a:lnTo>
                      <a:lnTo>
                        <a:pt x="1385" y="240"/>
                      </a:lnTo>
                      <a:lnTo>
                        <a:pt x="1382" y="240"/>
                      </a:lnTo>
                      <a:lnTo>
                        <a:pt x="1376" y="240"/>
                      </a:lnTo>
                      <a:lnTo>
                        <a:pt x="1368" y="240"/>
                      </a:lnTo>
                      <a:lnTo>
                        <a:pt x="1354" y="243"/>
                      </a:lnTo>
                      <a:lnTo>
                        <a:pt x="1348" y="243"/>
                      </a:lnTo>
                      <a:lnTo>
                        <a:pt x="1345" y="241"/>
                      </a:lnTo>
                      <a:lnTo>
                        <a:pt x="1338" y="238"/>
                      </a:lnTo>
                      <a:lnTo>
                        <a:pt x="1334" y="236"/>
                      </a:lnTo>
                      <a:lnTo>
                        <a:pt x="1359" y="236"/>
                      </a:lnTo>
                      <a:lnTo>
                        <a:pt x="1383" y="234"/>
                      </a:lnTo>
                      <a:lnTo>
                        <a:pt x="1389" y="234"/>
                      </a:lnTo>
                      <a:lnTo>
                        <a:pt x="1409" y="238"/>
                      </a:lnTo>
                      <a:lnTo>
                        <a:pt x="1413" y="238"/>
                      </a:lnTo>
                      <a:lnTo>
                        <a:pt x="1416" y="238"/>
                      </a:lnTo>
                      <a:lnTo>
                        <a:pt x="1418" y="238"/>
                      </a:lnTo>
                      <a:lnTo>
                        <a:pt x="1422" y="236"/>
                      </a:lnTo>
                      <a:lnTo>
                        <a:pt x="1422" y="234"/>
                      </a:lnTo>
                      <a:lnTo>
                        <a:pt x="1422" y="227"/>
                      </a:lnTo>
                      <a:lnTo>
                        <a:pt x="1418" y="229"/>
                      </a:lnTo>
                      <a:lnTo>
                        <a:pt x="1411" y="229"/>
                      </a:lnTo>
                      <a:lnTo>
                        <a:pt x="1408" y="229"/>
                      </a:lnTo>
                      <a:lnTo>
                        <a:pt x="1404" y="229"/>
                      </a:lnTo>
                      <a:lnTo>
                        <a:pt x="1401" y="227"/>
                      </a:lnTo>
                      <a:lnTo>
                        <a:pt x="1389" y="224"/>
                      </a:lnTo>
                      <a:lnTo>
                        <a:pt x="1389" y="224"/>
                      </a:lnTo>
                      <a:lnTo>
                        <a:pt x="1387" y="222"/>
                      </a:lnTo>
                      <a:lnTo>
                        <a:pt x="1385" y="219"/>
                      </a:lnTo>
                      <a:lnTo>
                        <a:pt x="1383" y="219"/>
                      </a:lnTo>
                      <a:lnTo>
                        <a:pt x="1380" y="217"/>
                      </a:lnTo>
                      <a:lnTo>
                        <a:pt x="1373" y="213"/>
                      </a:lnTo>
                      <a:lnTo>
                        <a:pt x="1371" y="212"/>
                      </a:lnTo>
                      <a:lnTo>
                        <a:pt x="1383" y="213"/>
                      </a:lnTo>
                      <a:lnTo>
                        <a:pt x="1387" y="213"/>
                      </a:lnTo>
                      <a:lnTo>
                        <a:pt x="1397" y="217"/>
                      </a:lnTo>
                      <a:lnTo>
                        <a:pt x="1401" y="219"/>
                      </a:lnTo>
                      <a:lnTo>
                        <a:pt x="1404" y="217"/>
                      </a:lnTo>
                      <a:lnTo>
                        <a:pt x="1416" y="215"/>
                      </a:lnTo>
                      <a:lnTo>
                        <a:pt x="1444" y="212"/>
                      </a:lnTo>
                      <a:lnTo>
                        <a:pt x="1450" y="210"/>
                      </a:lnTo>
                      <a:lnTo>
                        <a:pt x="1446" y="205"/>
                      </a:lnTo>
                      <a:lnTo>
                        <a:pt x="1441" y="201"/>
                      </a:lnTo>
                      <a:lnTo>
                        <a:pt x="1434" y="199"/>
                      </a:lnTo>
                      <a:lnTo>
                        <a:pt x="1425" y="199"/>
                      </a:lnTo>
                      <a:lnTo>
                        <a:pt x="1418" y="198"/>
                      </a:lnTo>
                      <a:lnTo>
                        <a:pt x="1430" y="196"/>
                      </a:lnTo>
                      <a:lnTo>
                        <a:pt x="1441" y="198"/>
                      </a:lnTo>
                      <a:lnTo>
                        <a:pt x="1464" y="205"/>
                      </a:lnTo>
                      <a:lnTo>
                        <a:pt x="1469" y="205"/>
                      </a:lnTo>
                      <a:lnTo>
                        <a:pt x="1474" y="205"/>
                      </a:lnTo>
                      <a:lnTo>
                        <a:pt x="1483" y="203"/>
                      </a:lnTo>
                      <a:lnTo>
                        <a:pt x="1488" y="201"/>
                      </a:lnTo>
                      <a:lnTo>
                        <a:pt x="1492" y="198"/>
                      </a:lnTo>
                      <a:lnTo>
                        <a:pt x="1495" y="196"/>
                      </a:lnTo>
                      <a:lnTo>
                        <a:pt x="1490" y="194"/>
                      </a:lnTo>
                      <a:lnTo>
                        <a:pt x="1500" y="189"/>
                      </a:lnTo>
                      <a:lnTo>
                        <a:pt x="1502" y="187"/>
                      </a:lnTo>
                      <a:lnTo>
                        <a:pt x="1506" y="185"/>
                      </a:lnTo>
                      <a:lnTo>
                        <a:pt x="1506" y="182"/>
                      </a:lnTo>
                      <a:lnTo>
                        <a:pt x="1504" y="182"/>
                      </a:lnTo>
                      <a:lnTo>
                        <a:pt x="1500" y="180"/>
                      </a:lnTo>
                      <a:lnTo>
                        <a:pt x="1495" y="182"/>
                      </a:lnTo>
                      <a:lnTo>
                        <a:pt x="1488" y="184"/>
                      </a:lnTo>
                      <a:lnTo>
                        <a:pt x="1485" y="184"/>
                      </a:lnTo>
                      <a:lnTo>
                        <a:pt x="1481" y="184"/>
                      </a:lnTo>
                      <a:lnTo>
                        <a:pt x="1478" y="184"/>
                      </a:lnTo>
                      <a:lnTo>
                        <a:pt x="1474" y="182"/>
                      </a:lnTo>
                      <a:lnTo>
                        <a:pt x="1476" y="180"/>
                      </a:lnTo>
                      <a:lnTo>
                        <a:pt x="1478" y="178"/>
                      </a:lnTo>
                      <a:lnTo>
                        <a:pt x="1481" y="178"/>
                      </a:lnTo>
                      <a:lnTo>
                        <a:pt x="1485" y="178"/>
                      </a:lnTo>
                      <a:lnTo>
                        <a:pt x="1486" y="178"/>
                      </a:lnTo>
                      <a:lnTo>
                        <a:pt x="1500" y="175"/>
                      </a:lnTo>
                      <a:lnTo>
                        <a:pt x="1509" y="175"/>
                      </a:lnTo>
                      <a:lnTo>
                        <a:pt x="1513" y="173"/>
                      </a:lnTo>
                      <a:lnTo>
                        <a:pt x="1514" y="170"/>
                      </a:lnTo>
                      <a:lnTo>
                        <a:pt x="1513" y="166"/>
                      </a:lnTo>
                      <a:lnTo>
                        <a:pt x="1506" y="159"/>
                      </a:lnTo>
                      <a:lnTo>
                        <a:pt x="1504" y="157"/>
                      </a:lnTo>
                      <a:lnTo>
                        <a:pt x="1507" y="159"/>
                      </a:lnTo>
                      <a:lnTo>
                        <a:pt x="1514" y="163"/>
                      </a:lnTo>
                      <a:lnTo>
                        <a:pt x="1519" y="164"/>
                      </a:lnTo>
                      <a:lnTo>
                        <a:pt x="1525" y="164"/>
                      </a:lnTo>
                      <a:lnTo>
                        <a:pt x="1528" y="164"/>
                      </a:lnTo>
                      <a:lnTo>
                        <a:pt x="1532" y="161"/>
                      </a:lnTo>
                      <a:lnTo>
                        <a:pt x="1542" y="154"/>
                      </a:lnTo>
                      <a:lnTo>
                        <a:pt x="1588" y="130"/>
                      </a:lnTo>
                      <a:lnTo>
                        <a:pt x="1600" y="119"/>
                      </a:lnTo>
                      <a:lnTo>
                        <a:pt x="1612" y="112"/>
                      </a:lnTo>
                      <a:lnTo>
                        <a:pt x="1621" y="107"/>
                      </a:lnTo>
                      <a:lnTo>
                        <a:pt x="1624" y="102"/>
                      </a:lnTo>
                      <a:lnTo>
                        <a:pt x="1628" y="98"/>
                      </a:lnTo>
                      <a:lnTo>
                        <a:pt x="1630" y="93"/>
                      </a:lnTo>
                      <a:lnTo>
                        <a:pt x="1619" y="93"/>
                      </a:lnTo>
                      <a:lnTo>
                        <a:pt x="1610" y="95"/>
                      </a:lnTo>
                      <a:lnTo>
                        <a:pt x="1554" y="112"/>
                      </a:lnTo>
                      <a:lnTo>
                        <a:pt x="1549" y="114"/>
                      </a:lnTo>
                      <a:lnTo>
                        <a:pt x="1546" y="112"/>
                      </a:lnTo>
                      <a:lnTo>
                        <a:pt x="1547" y="109"/>
                      </a:lnTo>
                      <a:lnTo>
                        <a:pt x="1551" y="107"/>
                      </a:lnTo>
                      <a:lnTo>
                        <a:pt x="1582" y="95"/>
                      </a:lnTo>
                      <a:lnTo>
                        <a:pt x="1584" y="93"/>
                      </a:lnTo>
                      <a:lnTo>
                        <a:pt x="1588" y="88"/>
                      </a:lnTo>
                      <a:lnTo>
                        <a:pt x="1589" y="86"/>
                      </a:lnTo>
                      <a:lnTo>
                        <a:pt x="1595" y="84"/>
                      </a:lnTo>
                      <a:lnTo>
                        <a:pt x="1609" y="82"/>
                      </a:lnTo>
                      <a:lnTo>
                        <a:pt x="1612" y="82"/>
                      </a:lnTo>
                      <a:lnTo>
                        <a:pt x="1617" y="77"/>
                      </a:lnTo>
                      <a:lnTo>
                        <a:pt x="1621" y="77"/>
                      </a:lnTo>
                      <a:lnTo>
                        <a:pt x="1626" y="75"/>
                      </a:lnTo>
                      <a:lnTo>
                        <a:pt x="1635" y="77"/>
                      </a:lnTo>
                      <a:lnTo>
                        <a:pt x="1638" y="75"/>
                      </a:lnTo>
                      <a:lnTo>
                        <a:pt x="1684" y="58"/>
                      </a:lnTo>
                      <a:lnTo>
                        <a:pt x="1699" y="49"/>
                      </a:lnTo>
                      <a:lnTo>
                        <a:pt x="1705" y="47"/>
                      </a:lnTo>
                      <a:lnTo>
                        <a:pt x="1706" y="42"/>
                      </a:lnTo>
                      <a:lnTo>
                        <a:pt x="1698" y="37"/>
                      </a:lnTo>
                      <a:lnTo>
                        <a:pt x="1685" y="35"/>
                      </a:lnTo>
                      <a:lnTo>
                        <a:pt x="1673" y="37"/>
                      </a:lnTo>
                      <a:lnTo>
                        <a:pt x="1663" y="39"/>
                      </a:lnTo>
                      <a:lnTo>
                        <a:pt x="1664" y="35"/>
                      </a:lnTo>
                      <a:lnTo>
                        <a:pt x="1666" y="33"/>
                      </a:lnTo>
                      <a:lnTo>
                        <a:pt x="1664" y="32"/>
                      </a:lnTo>
                      <a:lnTo>
                        <a:pt x="1663" y="30"/>
                      </a:lnTo>
                      <a:lnTo>
                        <a:pt x="1657" y="26"/>
                      </a:lnTo>
                      <a:lnTo>
                        <a:pt x="1656" y="23"/>
                      </a:lnTo>
                      <a:lnTo>
                        <a:pt x="1656" y="23"/>
                      </a:lnTo>
                      <a:lnTo>
                        <a:pt x="1656" y="23"/>
                      </a:lnTo>
                      <a:lnTo>
                        <a:pt x="1656" y="21"/>
                      </a:lnTo>
                      <a:lnTo>
                        <a:pt x="1656" y="19"/>
                      </a:lnTo>
                      <a:lnTo>
                        <a:pt x="1657" y="19"/>
                      </a:lnTo>
                      <a:lnTo>
                        <a:pt x="1657" y="19"/>
                      </a:lnTo>
                      <a:lnTo>
                        <a:pt x="1656" y="18"/>
                      </a:lnTo>
                      <a:lnTo>
                        <a:pt x="1656" y="16"/>
                      </a:lnTo>
                      <a:lnTo>
                        <a:pt x="1652" y="16"/>
                      </a:lnTo>
                      <a:lnTo>
                        <a:pt x="1649" y="16"/>
                      </a:lnTo>
                      <a:lnTo>
                        <a:pt x="1645" y="16"/>
                      </a:lnTo>
                      <a:lnTo>
                        <a:pt x="1638" y="18"/>
                      </a:lnTo>
                      <a:lnTo>
                        <a:pt x="1636" y="18"/>
                      </a:lnTo>
                      <a:lnTo>
                        <a:pt x="1633" y="18"/>
                      </a:lnTo>
                      <a:lnTo>
                        <a:pt x="1631" y="14"/>
                      </a:lnTo>
                      <a:lnTo>
                        <a:pt x="1628" y="12"/>
                      </a:lnTo>
                      <a:lnTo>
                        <a:pt x="1626" y="12"/>
                      </a:lnTo>
                      <a:lnTo>
                        <a:pt x="1623" y="12"/>
                      </a:lnTo>
                      <a:lnTo>
                        <a:pt x="1621" y="14"/>
                      </a:lnTo>
                      <a:lnTo>
                        <a:pt x="1619" y="16"/>
                      </a:lnTo>
                      <a:lnTo>
                        <a:pt x="1616" y="16"/>
                      </a:lnTo>
                      <a:lnTo>
                        <a:pt x="1612" y="16"/>
                      </a:lnTo>
                      <a:lnTo>
                        <a:pt x="1609" y="16"/>
                      </a:lnTo>
                      <a:lnTo>
                        <a:pt x="1605" y="16"/>
                      </a:lnTo>
                      <a:lnTo>
                        <a:pt x="1602" y="18"/>
                      </a:lnTo>
                      <a:lnTo>
                        <a:pt x="1586" y="21"/>
                      </a:lnTo>
                      <a:lnTo>
                        <a:pt x="1568" y="26"/>
                      </a:lnTo>
                      <a:lnTo>
                        <a:pt x="1560" y="26"/>
                      </a:lnTo>
                      <a:lnTo>
                        <a:pt x="1551" y="26"/>
                      </a:lnTo>
                      <a:lnTo>
                        <a:pt x="1554" y="25"/>
                      </a:lnTo>
                      <a:lnTo>
                        <a:pt x="1560" y="23"/>
                      </a:lnTo>
                      <a:lnTo>
                        <a:pt x="1581" y="18"/>
                      </a:lnTo>
                      <a:lnTo>
                        <a:pt x="1586" y="16"/>
                      </a:lnTo>
                      <a:lnTo>
                        <a:pt x="1591" y="14"/>
                      </a:lnTo>
                      <a:lnTo>
                        <a:pt x="1595" y="11"/>
                      </a:lnTo>
                      <a:lnTo>
                        <a:pt x="1593" y="11"/>
                      </a:lnTo>
                      <a:lnTo>
                        <a:pt x="1588" y="9"/>
                      </a:lnTo>
                      <a:lnTo>
                        <a:pt x="1563" y="9"/>
                      </a:lnTo>
                      <a:lnTo>
                        <a:pt x="1558" y="9"/>
                      </a:lnTo>
                      <a:lnTo>
                        <a:pt x="1551" y="7"/>
                      </a:lnTo>
                      <a:lnTo>
                        <a:pt x="1535" y="7"/>
                      </a:lnTo>
                      <a:lnTo>
                        <a:pt x="1530" y="5"/>
                      </a:lnTo>
                      <a:lnTo>
                        <a:pt x="1521" y="2"/>
                      </a:lnTo>
                      <a:lnTo>
                        <a:pt x="1516" y="2"/>
                      </a:lnTo>
                      <a:lnTo>
                        <a:pt x="1513" y="0"/>
                      </a:lnTo>
                      <a:lnTo>
                        <a:pt x="1502" y="2"/>
                      </a:lnTo>
                      <a:lnTo>
                        <a:pt x="1497" y="2"/>
                      </a:lnTo>
                      <a:lnTo>
                        <a:pt x="1493" y="4"/>
                      </a:lnTo>
                      <a:lnTo>
                        <a:pt x="1488" y="5"/>
                      </a:lnTo>
                      <a:lnTo>
                        <a:pt x="1490" y="7"/>
                      </a:lnTo>
                      <a:lnTo>
                        <a:pt x="1495" y="11"/>
                      </a:lnTo>
                      <a:lnTo>
                        <a:pt x="1499" y="12"/>
                      </a:lnTo>
                      <a:lnTo>
                        <a:pt x="1493" y="11"/>
                      </a:lnTo>
                      <a:lnTo>
                        <a:pt x="1479" y="4"/>
                      </a:lnTo>
                      <a:lnTo>
                        <a:pt x="1474" y="2"/>
                      </a:lnTo>
                      <a:lnTo>
                        <a:pt x="1469" y="2"/>
                      </a:lnTo>
                      <a:lnTo>
                        <a:pt x="1464" y="2"/>
                      </a:lnTo>
                      <a:lnTo>
                        <a:pt x="1458" y="2"/>
                      </a:lnTo>
                      <a:lnTo>
                        <a:pt x="1455" y="4"/>
                      </a:lnTo>
                      <a:lnTo>
                        <a:pt x="1450" y="5"/>
                      </a:lnTo>
                      <a:lnTo>
                        <a:pt x="1446" y="7"/>
                      </a:lnTo>
                      <a:lnTo>
                        <a:pt x="1444" y="11"/>
                      </a:lnTo>
                      <a:lnTo>
                        <a:pt x="1448" y="14"/>
                      </a:lnTo>
                      <a:lnTo>
                        <a:pt x="1458" y="19"/>
                      </a:lnTo>
                      <a:lnTo>
                        <a:pt x="1462" y="21"/>
                      </a:lnTo>
                      <a:lnTo>
                        <a:pt x="1450" y="19"/>
                      </a:lnTo>
                      <a:lnTo>
                        <a:pt x="1444" y="16"/>
                      </a:lnTo>
                      <a:lnTo>
                        <a:pt x="1439" y="14"/>
                      </a:lnTo>
                      <a:lnTo>
                        <a:pt x="1429" y="9"/>
                      </a:lnTo>
                      <a:lnTo>
                        <a:pt x="1425" y="7"/>
                      </a:lnTo>
                      <a:lnTo>
                        <a:pt x="1418" y="5"/>
                      </a:lnTo>
                      <a:lnTo>
                        <a:pt x="1366" y="5"/>
                      </a:lnTo>
                      <a:lnTo>
                        <a:pt x="1369" y="9"/>
                      </a:lnTo>
                      <a:lnTo>
                        <a:pt x="1373" y="12"/>
                      </a:lnTo>
                      <a:lnTo>
                        <a:pt x="1390" y="21"/>
                      </a:lnTo>
                      <a:lnTo>
                        <a:pt x="1394" y="25"/>
                      </a:lnTo>
                      <a:lnTo>
                        <a:pt x="1397" y="26"/>
                      </a:lnTo>
                      <a:lnTo>
                        <a:pt x="1399" y="28"/>
                      </a:lnTo>
                      <a:lnTo>
                        <a:pt x="1399" y="30"/>
                      </a:lnTo>
                      <a:lnTo>
                        <a:pt x="1397" y="32"/>
                      </a:lnTo>
                      <a:lnTo>
                        <a:pt x="1396" y="32"/>
                      </a:lnTo>
                      <a:lnTo>
                        <a:pt x="1394" y="33"/>
                      </a:lnTo>
                      <a:lnTo>
                        <a:pt x="1392" y="33"/>
                      </a:lnTo>
                      <a:lnTo>
                        <a:pt x="1390" y="35"/>
                      </a:lnTo>
                      <a:lnTo>
                        <a:pt x="1387" y="33"/>
                      </a:lnTo>
                      <a:lnTo>
                        <a:pt x="1387" y="33"/>
                      </a:lnTo>
                      <a:lnTo>
                        <a:pt x="1385" y="32"/>
                      </a:lnTo>
                      <a:lnTo>
                        <a:pt x="1385" y="30"/>
                      </a:lnTo>
                      <a:lnTo>
                        <a:pt x="1383" y="28"/>
                      </a:lnTo>
                      <a:lnTo>
                        <a:pt x="1382" y="26"/>
                      </a:lnTo>
                      <a:lnTo>
                        <a:pt x="1380" y="25"/>
                      </a:lnTo>
                      <a:lnTo>
                        <a:pt x="1362" y="14"/>
                      </a:lnTo>
                      <a:lnTo>
                        <a:pt x="1359" y="12"/>
                      </a:lnTo>
                      <a:lnTo>
                        <a:pt x="1354" y="12"/>
                      </a:lnTo>
                      <a:lnTo>
                        <a:pt x="1340" y="12"/>
                      </a:lnTo>
                      <a:lnTo>
                        <a:pt x="1310" y="11"/>
                      </a:lnTo>
                      <a:lnTo>
                        <a:pt x="1301" y="12"/>
                      </a:lnTo>
                      <a:lnTo>
                        <a:pt x="1305" y="14"/>
                      </a:lnTo>
                      <a:lnTo>
                        <a:pt x="1306" y="16"/>
                      </a:lnTo>
                      <a:lnTo>
                        <a:pt x="1315" y="19"/>
                      </a:lnTo>
                      <a:lnTo>
                        <a:pt x="1327" y="23"/>
                      </a:lnTo>
                      <a:lnTo>
                        <a:pt x="1331" y="25"/>
                      </a:lnTo>
                      <a:lnTo>
                        <a:pt x="1317" y="25"/>
                      </a:lnTo>
                      <a:lnTo>
                        <a:pt x="1310" y="25"/>
                      </a:lnTo>
                      <a:lnTo>
                        <a:pt x="1303" y="23"/>
                      </a:lnTo>
                      <a:lnTo>
                        <a:pt x="1289" y="19"/>
                      </a:lnTo>
                      <a:lnTo>
                        <a:pt x="1282" y="18"/>
                      </a:lnTo>
                      <a:lnTo>
                        <a:pt x="1280" y="23"/>
                      </a:lnTo>
                      <a:lnTo>
                        <a:pt x="1282" y="25"/>
                      </a:lnTo>
                      <a:lnTo>
                        <a:pt x="1284" y="28"/>
                      </a:lnTo>
                      <a:lnTo>
                        <a:pt x="1287" y="30"/>
                      </a:lnTo>
                      <a:lnTo>
                        <a:pt x="1285" y="33"/>
                      </a:lnTo>
                      <a:lnTo>
                        <a:pt x="1284" y="33"/>
                      </a:lnTo>
                      <a:lnTo>
                        <a:pt x="1279" y="32"/>
                      </a:lnTo>
                      <a:lnTo>
                        <a:pt x="1272" y="28"/>
                      </a:lnTo>
                      <a:lnTo>
                        <a:pt x="1270" y="26"/>
                      </a:lnTo>
                      <a:lnTo>
                        <a:pt x="1266" y="26"/>
                      </a:lnTo>
                      <a:lnTo>
                        <a:pt x="1263" y="26"/>
                      </a:lnTo>
                      <a:lnTo>
                        <a:pt x="1259" y="28"/>
                      </a:lnTo>
                      <a:lnTo>
                        <a:pt x="1259" y="32"/>
                      </a:lnTo>
                      <a:lnTo>
                        <a:pt x="1263" y="33"/>
                      </a:lnTo>
                      <a:lnTo>
                        <a:pt x="1266" y="35"/>
                      </a:lnTo>
                      <a:lnTo>
                        <a:pt x="1268" y="35"/>
                      </a:lnTo>
                      <a:lnTo>
                        <a:pt x="1259" y="37"/>
                      </a:lnTo>
                      <a:lnTo>
                        <a:pt x="1254" y="39"/>
                      </a:lnTo>
                      <a:lnTo>
                        <a:pt x="1252" y="40"/>
                      </a:lnTo>
                      <a:lnTo>
                        <a:pt x="1256" y="44"/>
                      </a:lnTo>
                      <a:lnTo>
                        <a:pt x="1263" y="46"/>
                      </a:lnTo>
                      <a:lnTo>
                        <a:pt x="1296" y="58"/>
                      </a:lnTo>
                      <a:lnTo>
                        <a:pt x="1308" y="61"/>
                      </a:lnTo>
                      <a:lnTo>
                        <a:pt x="1317" y="70"/>
                      </a:lnTo>
                      <a:lnTo>
                        <a:pt x="1313" y="68"/>
                      </a:lnTo>
                      <a:lnTo>
                        <a:pt x="1308" y="67"/>
                      </a:lnTo>
                      <a:lnTo>
                        <a:pt x="1305" y="63"/>
                      </a:lnTo>
                      <a:lnTo>
                        <a:pt x="1301" y="61"/>
                      </a:lnTo>
                      <a:lnTo>
                        <a:pt x="1265" y="53"/>
                      </a:lnTo>
                      <a:lnTo>
                        <a:pt x="1256" y="49"/>
                      </a:lnTo>
                      <a:lnTo>
                        <a:pt x="1251" y="47"/>
                      </a:lnTo>
                      <a:lnTo>
                        <a:pt x="1247" y="47"/>
                      </a:lnTo>
                      <a:lnTo>
                        <a:pt x="1247" y="51"/>
                      </a:lnTo>
                      <a:lnTo>
                        <a:pt x="1251" y="53"/>
                      </a:lnTo>
                      <a:lnTo>
                        <a:pt x="1254" y="54"/>
                      </a:lnTo>
                      <a:lnTo>
                        <a:pt x="1252" y="56"/>
                      </a:lnTo>
                      <a:lnTo>
                        <a:pt x="1249" y="56"/>
                      </a:lnTo>
                      <a:lnTo>
                        <a:pt x="1244" y="54"/>
                      </a:lnTo>
                      <a:lnTo>
                        <a:pt x="1240" y="53"/>
                      </a:lnTo>
                      <a:lnTo>
                        <a:pt x="1230" y="46"/>
                      </a:lnTo>
                      <a:lnTo>
                        <a:pt x="1226" y="44"/>
                      </a:lnTo>
                      <a:lnTo>
                        <a:pt x="1203" y="39"/>
                      </a:lnTo>
                      <a:lnTo>
                        <a:pt x="1198" y="39"/>
                      </a:lnTo>
                      <a:lnTo>
                        <a:pt x="1193" y="40"/>
                      </a:lnTo>
                      <a:lnTo>
                        <a:pt x="1179" y="46"/>
                      </a:lnTo>
                      <a:lnTo>
                        <a:pt x="1163" y="49"/>
                      </a:lnTo>
                      <a:lnTo>
                        <a:pt x="1167" y="51"/>
                      </a:lnTo>
                      <a:lnTo>
                        <a:pt x="1172" y="53"/>
                      </a:lnTo>
                      <a:lnTo>
                        <a:pt x="1191" y="58"/>
                      </a:lnTo>
                      <a:lnTo>
                        <a:pt x="1195" y="60"/>
                      </a:lnTo>
                      <a:lnTo>
                        <a:pt x="1196" y="61"/>
                      </a:lnTo>
                      <a:lnTo>
                        <a:pt x="1193" y="61"/>
                      </a:lnTo>
                      <a:lnTo>
                        <a:pt x="1186" y="63"/>
                      </a:lnTo>
                      <a:lnTo>
                        <a:pt x="1182" y="63"/>
                      </a:lnTo>
                      <a:lnTo>
                        <a:pt x="1179" y="61"/>
                      </a:lnTo>
                      <a:lnTo>
                        <a:pt x="1174" y="60"/>
                      </a:lnTo>
                      <a:lnTo>
                        <a:pt x="1168" y="58"/>
                      </a:lnTo>
                      <a:lnTo>
                        <a:pt x="1163" y="58"/>
                      </a:lnTo>
                      <a:lnTo>
                        <a:pt x="1158" y="60"/>
                      </a:lnTo>
                      <a:lnTo>
                        <a:pt x="1155" y="63"/>
                      </a:lnTo>
                      <a:lnTo>
                        <a:pt x="1146" y="58"/>
                      </a:lnTo>
                      <a:lnTo>
                        <a:pt x="1141" y="56"/>
                      </a:lnTo>
                      <a:lnTo>
                        <a:pt x="1135" y="56"/>
                      </a:lnTo>
                      <a:lnTo>
                        <a:pt x="1132" y="56"/>
                      </a:lnTo>
                      <a:lnTo>
                        <a:pt x="1127" y="56"/>
                      </a:lnTo>
                      <a:lnTo>
                        <a:pt x="1123" y="56"/>
                      </a:lnTo>
                      <a:lnTo>
                        <a:pt x="1118" y="58"/>
                      </a:lnTo>
                      <a:lnTo>
                        <a:pt x="1106" y="65"/>
                      </a:lnTo>
                      <a:lnTo>
                        <a:pt x="1100" y="67"/>
                      </a:lnTo>
                      <a:lnTo>
                        <a:pt x="1095" y="67"/>
                      </a:lnTo>
                      <a:lnTo>
                        <a:pt x="1086" y="67"/>
                      </a:lnTo>
                      <a:lnTo>
                        <a:pt x="1081" y="68"/>
                      </a:lnTo>
                      <a:lnTo>
                        <a:pt x="1074" y="70"/>
                      </a:lnTo>
                      <a:lnTo>
                        <a:pt x="1062" y="75"/>
                      </a:lnTo>
                      <a:lnTo>
                        <a:pt x="1055" y="82"/>
                      </a:lnTo>
                      <a:lnTo>
                        <a:pt x="1060" y="88"/>
                      </a:lnTo>
                      <a:lnTo>
                        <a:pt x="1064" y="88"/>
                      </a:lnTo>
                      <a:close/>
                      <a:moveTo>
                        <a:pt x="1694" y="1082"/>
                      </a:moveTo>
                      <a:lnTo>
                        <a:pt x="1692" y="1082"/>
                      </a:lnTo>
                      <a:lnTo>
                        <a:pt x="1689" y="1084"/>
                      </a:lnTo>
                      <a:lnTo>
                        <a:pt x="1691" y="1085"/>
                      </a:lnTo>
                      <a:lnTo>
                        <a:pt x="1694" y="1087"/>
                      </a:lnTo>
                      <a:lnTo>
                        <a:pt x="1698" y="1087"/>
                      </a:lnTo>
                      <a:lnTo>
                        <a:pt x="1698" y="1085"/>
                      </a:lnTo>
                      <a:lnTo>
                        <a:pt x="1696" y="1084"/>
                      </a:lnTo>
                      <a:lnTo>
                        <a:pt x="1694" y="1082"/>
                      </a:lnTo>
                      <a:close/>
                      <a:moveTo>
                        <a:pt x="1698" y="753"/>
                      </a:moveTo>
                      <a:lnTo>
                        <a:pt x="1701" y="755"/>
                      </a:lnTo>
                      <a:lnTo>
                        <a:pt x="1705" y="752"/>
                      </a:lnTo>
                      <a:lnTo>
                        <a:pt x="1701" y="748"/>
                      </a:lnTo>
                      <a:lnTo>
                        <a:pt x="1692" y="741"/>
                      </a:lnTo>
                      <a:lnTo>
                        <a:pt x="1691" y="738"/>
                      </a:lnTo>
                      <a:lnTo>
                        <a:pt x="1689" y="736"/>
                      </a:lnTo>
                      <a:lnTo>
                        <a:pt x="1687" y="736"/>
                      </a:lnTo>
                      <a:lnTo>
                        <a:pt x="1685" y="738"/>
                      </a:lnTo>
                      <a:lnTo>
                        <a:pt x="1682" y="741"/>
                      </a:lnTo>
                      <a:lnTo>
                        <a:pt x="1680" y="741"/>
                      </a:lnTo>
                      <a:lnTo>
                        <a:pt x="1678" y="741"/>
                      </a:lnTo>
                      <a:lnTo>
                        <a:pt x="1671" y="739"/>
                      </a:lnTo>
                      <a:lnTo>
                        <a:pt x="1668" y="739"/>
                      </a:lnTo>
                      <a:lnTo>
                        <a:pt x="1664" y="741"/>
                      </a:lnTo>
                      <a:lnTo>
                        <a:pt x="1657" y="745"/>
                      </a:lnTo>
                      <a:lnTo>
                        <a:pt x="1652" y="745"/>
                      </a:lnTo>
                      <a:lnTo>
                        <a:pt x="1659" y="739"/>
                      </a:lnTo>
                      <a:lnTo>
                        <a:pt x="1663" y="738"/>
                      </a:lnTo>
                      <a:lnTo>
                        <a:pt x="1663" y="736"/>
                      </a:lnTo>
                      <a:lnTo>
                        <a:pt x="1664" y="732"/>
                      </a:lnTo>
                      <a:lnTo>
                        <a:pt x="1664" y="731"/>
                      </a:lnTo>
                      <a:lnTo>
                        <a:pt x="1668" y="729"/>
                      </a:lnTo>
                      <a:lnTo>
                        <a:pt x="1663" y="725"/>
                      </a:lnTo>
                      <a:lnTo>
                        <a:pt x="1659" y="725"/>
                      </a:lnTo>
                      <a:lnTo>
                        <a:pt x="1657" y="724"/>
                      </a:lnTo>
                      <a:lnTo>
                        <a:pt x="1656" y="724"/>
                      </a:lnTo>
                      <a:lnTo>
                        <a:pt x="1654" y="724"/>
                      </a:lnTo>
                      <a:lnTo>
                        <a:pt x="1654" y="725"/>
                      </a:lnTo>
                      <a:lnTo>
                        <a:pt x="1652" y="725"/>
                      </a:lnTo>
                      <a:lnTo>
                        <a:pt x="1650" y="727"/>
                      </a:lnTo>
                      <a:lnTo>
                        <a:pt x="1645" y="729"/>
                      </a:lnTo>
                      <a:lnTo>
                        <a:pt x="1640" y="727"/>
                      </a:lnTo>
                      <a:lnTo>
                        <a:pt x="1635" y="727"/>
                      </a:lnTo>
                      <a:lnTo>
                        <a:pt x="1631" y="725"/>
                      </a:lnTo>
                      <a:lnTo>
                        <a:pt x="1635" y="724"/>
                      </a:lnTo>
                      <a:lnTo>
                        <a:pt x="1647" y="725"/>
                      </a:lnTo>
                      <a:lnTo>
                        <a:pt x="1645" y="722"/>
                      </a:lnTo>
                      <a:lnTo>
                        <a:pt x="1645" y="720"/>
                      </a:lnTo>
                      <a:lnTo>
                        <a:pt x="1647" y="718"/>
                      </a:lnTo>
                      <a:lnTo>
                        <a:pt x="1650" y="717"/>
                      </a:lnTo>
                      <a:lnTo>
                        <a:pt x="1647" y="715"/>
                      </a:lnTo>
                      <a:lnTo>
                        <a:pt x="1645" y="715"/>
                      </a:lnTo>
                      <a:lnTo>
                        <a:pt x="1643" y="715"/>
                      </a:lnTo>
                      <a:lnTo>
                        <a:pt x="1642" y="713"/>
                      </a:lnTo>
                      <a:lnTo>
                        <a:pt x="1640" y="711"/>
                      </a:lnTo>
                      <a:lnTo>
                        <a:pt x="1635" y="708"/>
                      </a:lnTo>
                      <a:lnTo>
                        <a:pt x="1633" y="708"/>
                      </a:lnTo>
                      <a:lnTo>
                        <a:pt x="1631" y="708"/>
                      </a:lnTo>
                      <a:lnTo>
                        <a:pt x="1628" y="708"/>
                      </a:lnTo>
                      <a:lnTo>
                        <a:pt x="1626" y="710"/>
                      </a:lnTo>
                      <a:lnTo>
                        <a:pt x="1624" y="708"/>
                      </a:lnTo>
                      <a:lnTo>
                        <a:pt x="1624" y="706"/>
                      </a:lnTo>
                      <a:lnTo>
                        <a:pt x="1626" y="704"/>
                      </a:lnTo>
                      <a:lnTo>
                        <a:pt x="1630" y="701"/>
                      </a:lnTo>
                      <a:lnTo>
                        <a:pt x="1626" y="701"/>
                      </a:lnTo>
                      <a:lnTo>
                        <a:pt x="1624" y="701"/>
                      </a:lnTo>
                      <a:lnTo>
                        <a:pt x="1621" y="701"/>
                      </a:lnTo>
                      <a:lnTo>
                        <a:pt x="1619" y="703"/>
                      </a:lnTo>
                      <a:lnTo>
                        <a:pt x="1617" y="706"/>
                      </a:lnTo>
                      <a:lnTo>
                        <a:pt x="1616" y="708"/>
                      </a:lnTo>
                      <a:lnTo>
                        <a:pt x="1617" y="713"/>
                      </a:lnTo>
                      <a:lnTo>
                        <a:pt x="1616" y="710"/>
                      </a:lnTo>
                      <a:lnTo>
                        <a:pt x="1614" y="706"/>
                      </a:lnTo>
                      <a:lnTo>
                        <a:pt x="1614" y="704"/>
                      </a:lnTo>
                      <a:lnTo>
                        <a:pt x="1614" y="703"/>
                      </a:lnTo>
                      <a:lnTo>
                        <a:pt x="1610" y="703"/>
                      </a:lnTo>
                      <a:lnTo>
                        <a:pt x="1607" y="703"/>
                      </a:lnTo>
                      <a:lnTo>
                        <a:pt x="1605" y="703"/>
                      </a:lnTo>
                      <a:lnTo>
                        <a:pt x="1605" y="699"/>
                      </a:lnTo>
                      <a:lnTo>
                        <a:pt x="1602" y="701"/>
                      </a:lnTo>
                      <a:lnTo>
                        <a:pt x="1598" y="704"/>
                      </a:lnTo>
                      <a:lnTo>
                        <a:pt x="1596" y="706"/>
                      </a:lnTo>
                      <a:lnTo>
                        <a:pt x="1593" y="706"/>
                      </a:lnTo>
                      <a:lnTo>
                        <a:pt x="1596" y="704"/>
                      </a:lnTo>
                      <a:lnTo>
                        <a:pt x="1598" y="701"/>
                      </a:lnTo>
                      <a:lnTo>
                        <a:pt x="1600" y="692"/>
                      </a:lnTo>
                      <a:lnTo>
                        <a:pt x="1595" y="692"/>
                      </a:lnTo>
                      <a:lnTo>
                        <a:pt x="1593" y="692"/>
                      </a:lnTo>
                      <a:lnTo>
                        <a:pt x="1591" y="694"/>
                      </a:lnTo>
                      <a:lnTo>
                        <a:pt x="1591" y="696"/>
                      </a:lnTo>
                      <a:lnTo>
                        <a:pt x="1591" y="697"/>
                      </a:lnTo>
                      <a:lnTo>
                        <a:pt x="1589" y="699"/>
                      </a:lnTo>
                      <a:lnTo>
                        <a:pt x="1589" y="701"/>
                      </a:lnTo>
                      <a:lnTo>
                        <a:pt x="1589" y="697"/>
                      </a:lnTo>
                      <a:lnTo>
                        <a:pt x="1588" y="697"/>
                      </a:lnTo>
                      <a:lnTo>
                        <a:pt x="1586" y="697"/>
                      </a:lnTo>
                      <a:lnTo>
                        <a:pt x="1584" y="699"/>
                      </a:lnTo>
                      <a:lnTo>
                        <a:pt x="1586" y="697"/>
                      </a:lnTo>
                      <a:lnTo>
                        <a:pt x="1586" y="696"/>
                      </a:lnTo>
                      <a:lnTo>
                        <a:pt x="1584" y="692"/>
                      </a:lnTo>
                      <a:lnTo>
                        <a:pt x="1582" y="690"/>
                      </a:lnTo>
                      <a:lnTo>
                        <a:pt x="1582" y="690"/>
                      </a:lnTo>
                      <a:lnTo>
                        <a:pt x="1582" y="690"/>
                      </a:lnTo>
                      <a:lnTo>
                        <a:pt x="1582" y="689"/>
                      </a:lnTo>
                      <a:lnTo>
                        <a:pt x="1584" y="689"/>
                      </a:lnTo>
                      <a:lnTo>
                        <a:pt x="1588" y="687"/>
                      </a:lnTo>
                      <a:lnTo>
                        <a:pt x="1589" y="687"/>
                      </a:lnTo>
                      <a:lnTo>
                        <a:pt x="1586" y="685"/>
                      </a:lnTo>
                      <a:lnTo>
                        <a:pt x="1579" y="685"/>
                      </a:lnTo>
                      <a:lnTo>
                        <a:pt x="1575" y="685"/>
                      </a:lnTo>
                      <a:lnTo>
                        <a:pt x="1568" y="683"/>
                      </a:lnTo>
                      <a:lnTo>
                        <a:pt x="1567" y="683"/>
                      </a:lnTo>
                      <a:lnTo>
                        <a:pt x="1565" y="683"/>
                      </a:lnTo>
                      <a:lnTo>
                        <a:pt x="1563" y="683"/>
                      </a:lnTo>
                      <a:lnTo>
                        <a:pt x="1561" y="683"/>
                      </a:lnTo>
                      <a:lnTo>
                        <a:pt x="1560" y="683"/>
                      </a:lnTo>
                      <a:lnTo>
                        <a:pt x="1558" y="682"/>
                      </a:lnTo>
                      <a:lnTo>
                        <a:pt x="1558" y="680"/>
                      </a:lnTo>
                      <a:lnTo>
                        <a:pt x="1556" y="678"/>
                      </a:lnTo>
                      <a:lnTo>
                        <a:pt x="1554" y="678"/>
                      </a:lnTo>
                      <a:lnTo>
                        <a:pt x="1553" y="678"/>
                      </a:lnTo>
                      <a:lnTo>
                        <a:pt x="1540" y="676"/>
                      </a:lnTo>
                      <a:lnTo>
                        <a:pt x="1537" y="675"/>
                      </a:lnTo>
                      <a:lnTo>
                        <a:pt x="1532" y="673"/>
                      </a:lnTo>
                      <a:lnTo>
                        <a:pt x="1537" y="673"/>
                      </a:lnTo>
                      <a:lnTo>
                        <a:pt x="1546" y="675"/>
                      </a:lnTo>
                      <a:lnTo>
                        <a:pt x="1549" y="675"/>
                      </a:lnTo>
                      <a:lnTo>
                        <a:pt x="1553" y="675"/>
                      </a:lnTo>
                      <a:lnTo>
                        <a:pt x="1561" y="676"/>
                      </a:lnTo>
                      <a:lnTo>
                        <a:pt x="1563" y="675"/>
                      </a:lnTo>
                      <a:lnTo>
                        <a:pt x="1567" y="671"/>
                      </a:lnTo>
                      <a:lnTo>
                        <a:pt x="1565" y="669"/>
                      </a:lnTo>
                      <a:lnTo>
                        <a:pt x="1561" y="666"/>
                      </a:lnTo>
                      <a:lnTo>
                        <a:pt x="1558" y="666"/>
                      </a:lnTo>
                      <a:lnTo>
                        <a:pt x="1553" y="666"/>
                      </a:lnTo>
                      <a:lnTo>
                        <a:pt x="1542" y="668"/>
                      </a:lnTo>
                      <a:lnTo>
                        <a:pt x="1539" y="666"/>
                      </a:lnTo>
                      <a:lnTo>
                        <a:pt x="1546" y="664"/>
                      </a:lnTo>
                      <a:lnTo>
                        <a:pt x="1553" y="662"/>
                      </a:lnTo>
                      <a:lnTo>
                        <a:pt x="1560" y="662"/>
                      </a:lnTo>
                      <a:lnTo>
                        <a:pt x="1581" y="666"/>
                      </a:lnTo>
                      <a:lnTo>
                        <a:pt x="1588" y="664"/>
                      </a:lnTo>
                      <a:lnTo>
                        <a:pt x="1589" y="661"/>
                      </a:lnTo>
                      <a:lnTo>
                        <a:pt x="1584" y="657"/>
                      </a:lnTo>
                      <a:lnTo>
                        <a:pt x="1577" y="655"/>
                      </a:lnTo>
                      <a:lnTo>
                        <a:pt x="1563" y="655"/>
                      </a:lnTo>
                      <a:lnTo>
                        <a:pt x="1560" y="655"/>
                      </a:lnTo>
                      <a:lnTo>
                        <a:pt x="1554" y="654"/>
                      </a:lnTo>
                      <a:lnTo>
                        <a:pt x="1551" y="654"/>
                      </a:lnTo>
                      <a:lnTo>
                        <a:pt x="1546" y="654"/>
                      </a:lnTo>
                      <a:lnTo>
                        <a:pt x="1539" y="654"/>
                      </a:lnTo>
                      <a:lnTo>
                        <a:pt x="1533" y="655"/>
                      </a:lnTo>
                      <a:lnTo>
                        <a:pt x="1539" y="652"/>
                      </a:lnTo>
                      <a:lnTo>
                        <a:pt x="1544" y="652"/>
                      </a:lnTo>
                      <a:lnTo>
                        <a:pt x="1551" y="650"/>
                      </a:lnTo>
                      <a:lnTo>
                        <a:pt x="1556" y="650"/>
                      </a:lnTo>
                      <a:lnTo>
                        <a:pt x="1560" y="648"/>
                      </a:lnTo>
                      <a:lnTo>
                        <a:pt x="1563" y="648"/>
                      </a:lnTo>
                      <a:lnTo>
                        <a:pt x="1565" y="648"/>
                      </a:lnTo>
                      <a:lnTo>
                        <a:pt x="1575" y="650"/>
                      </a:lnTo>
                      <a:lnTo>
                        <a:pt x="1577" y="648"/>
                      </a:lnTo>
                      <a:lnTo>
                        <a:pt x="1579" y="645"/>
                      </a:lnTo>
                      <a:lnTo>
                        <a:pt x="1575" y="640"/>
                      </a:lnTo>
                      <a:lnTo>
                        <a:pt x="1572" y="634"/>
                      </a:lnTo>
                      <a:lnTo>
                        <a:pt x="1567" y="629"/>
                      </a:lnTo>
                      <a:lnTo>
                        <a:pt x="1563" y="628"/>
                      </a:lnTo>
                      <a:lnTo>
                        <a:pt x="1561" y="626"/>
                      </a:lnTo>
                      <a:lnTo>
                        <a:pt x="1558" y="626"/>
                      </a:lnTo>
                      <a:lnTo>
                        <a:pt x="1556" y="628"/>
                      </a:lnTo>
                      <a:lnTo>
                        <a:pt x="1554" y="629"/>
                      </a:lnTo>
                      <a:lnTo>
                        <a:pt x="1554" y="631"/>
                      </a:lnTo>
                      <a:lnTo>
                        <a:pt x="1556" y="633"/>
                      </a:lnTo>
                      <a:lnTo>
                        <a:pt x="1554" y="634"/>
                      </a:lnTo>
                      <a:lnTo>
                        <a:pt x="1553" y="636"/>
                      </a:lnTo>
                      <a:lnTo>
                        <a:pt x="1551" y="636"/>
                      </a:lnTo>
                      <a:lnTo>
                        <a:pt x="1549" y="638"/>
                      </a:lnTo>
                      <a:lnTo>
                        <a:pt x="1544" y="640"/>
                      </a:lnTo>
                      <a:lnTo>
                        <a:pt x="1542" y="641"/>
                      </a:lnTo>
                      <a:lnTo>
                        <a:pt x="1539" y="640"/>
                      </a:lnTo>
                      <a:lnTo>
                        <a:pt x="1544" y="634"/>
                      </a:lnTo>
                      <a:lnTo>
                        <a:pt x="1546" y="633"/>
                      </a:lnTo>
                      <a:lnTo>
                        <a:pt x="1544" y="629"/>
                      </a:lnTo>
                      <a:lnTo>
                        <a:pt x="1540" y="629"/>
                      </a:lnTo>
                      <a:lnTo>
                        <a:pt x="1535" y="631"/>
                      </a:lnTo>
                      <a:lnTo>
                        <a:pt x="1530" y="631"/>
                      </a:lnTo>
                      <a:lnTo>
                        <a:pt x="1526" y="633"/>
                      </a:lnTo>
                      <a:lnTo>
                        <a:pt x="1525" y="634"/>
                      </a:lnTo>
                      <a:lnTo>
                        <a:pt x="1523" y="636"/>
                      </a:lnTo>
                      <a:lnTo>
                        <a:pt x="1521" y="636"/>
                      </a:lnTo>
                      <a:lnTo>
                        <a:pt x="1519" y="638"/>
                      </a:lnTo>
                      <a:lnTo>
                        <a:pt x="1518" y="636"/>
                      </a:lnTo>
                      <a:lnTo>
                        <a:pt x="1518" y="636"/>
                      </a:lnTo>
                      <a:lnTo>
                        <a:pt x="1519" y="634"/>
                      </a:lnTo>
                      <a:lnTo>
                        <a:pt x="1525" y="631"/>
                      </a:lnTo>
                      <a:lnTo>
                        <a:pt x="1528" y="629"/>
                      </a:lnTo>
                      <a:lnTo>
                        <a:pt x="1533" y="628"/>
                      </a:lnTo>
                      <a:lnTo>
                        <a:pt x="1540" y="626"/>
                      </a:lnTo>
                      <a:lnTo>
                        <a:pt x="1544" y="626"/>
                      </a:lnTo>
                      <a:lnTo>
                        <a:pt x="1549" y="624"/>
                      </a:lnTo>
                      <a:lnTo>
                        <a:pt x="1551" y="621"/>
                      </a:lnTo>
                      <a:lnTo>
                        <a:pt x="1553" y="617"/>
                      </a:lnTo>
                      <a:lnTo>
                        <a:pt x="1553" y="615"/>
                      </a:lnTo>
                      <a:lnTo>
                        <a:pt x="1549" y="614"/>
                      </a:lnTo>
                      <a:lnTo>
                        <a:pt x="1540" y="610"/>
                      </a:lnTo>
                      <a:lnTo>
                        <a:pt x="1533" y="608"/>
                      </a:lnTo>
                      <a:lnTo>
                        <a:pt x="1521" y="607"/>
                      </a:lnTo>
                      <a:lnTo>
                        <a:pt x="1518" y="607"/>
                      </a:lnTo>
                      <a:lnTo>
                        <a:pt x="1514" y="607"/>
                      </a:lnTo>
                      <a:lnTo>
                        <a:pt x="1509" y="608"/>
                      </a:lnTo>
                      <a:lnTo>
                        <a:pt x="1504" y="610"/>
                      </a:lnTo>
                      <a:lnTo>
                        <a:pt x="1500" y="612"/>
                      </a:lnTo>
                      <a:lnTo>
                        <a:pt x="1497" y="615"/>
                      </a:lnTo>
                      <a:lnTo>
                        <a:pt x="1495" y="621"/>
                      </a:lnTo>
                      <a:lnTo>
                        <a:pt x="1490" y="629"/>
                      </a:lnTo>
                      <a:lnTo>
                        <a:pt x="1488" y="633"/>
                      </a:lnTo>
                      <a:lnTo>
                        <a:pt x="1490" y="624"/>
                      </a:lnTo>
                      <a:lnTo>
                        <a:pt x="1492" y="619"/>
                      </a:lnTo>
                      <a:lnTo>
                        <a:pt x="1488" y="617"/>
                      </a:lnTo>
                      <a:lnTo>
                        <a:pt x="1486" y="617"/>
                      </a:lnTo>
                      <a:lnTo>
                        <a:pt x="1483" y="621"/>
                      </a:lnTo>
                      <a:lnTo>
                        <a:pt x="1481" y="622"/>
                      </a:lnTo>
                      <a:lnTo>
                        <a:pt x="1478" y="621"/>
                      </a:lnTo>
                      <a:lnTo>
                        <a:pt x="1479" y="621"/>
                      </a:lnTo>
                      <a:lnTo>
                        <a:pt x="1485" y="617"/>
                      </a:lnTo>
                      <a:lnTo>
                        <a:pt x="1486" y="615"/>
                      </a:lnTo>
                      <a:lnTo>
                        <a:pt x="1488" y="614"/>
                      </a:lnTo>
                      <a:lnTo>
                        <a:pt x="1493" y="614"/>
                      </a:lnTo>
                      <a:lnTo>
                        <a:pt x="1497" y="612"/>
                      </a:lnTo>
                      <a:lnTo>
                        <a:pt x="1500" y="608"/>
                      </a:lnTo>
                      <a:lnTo>
                        <a:pt x="1504" y="603"/>
                      </a:lnTo>
                      <a:lnTo>
                        <a:pt x="1506" y="600"/>
                      </a:lnTo>
                      <a:lnTo>
                        <a:pt x="1500" y="596"/>
                      </a:lnTo>
                      <a:lnTo>
                        <a:pt x="1499" y="596"/>
                      </a:lnTo>
                      <a:lnTo>
                        <a:pt x="1497" y="598"/>
                      </a:lnTo>
                      <a:lnTo>
                        <a:pt x="1495" y="600"/>
                      </a:lnTo>
                      <a:lnTo>
                        <a:pt x="1493" y="600"/>
                      </a:lnTo>
                      <a:lnTo>
                        <a:pt x="1490" y="601"/>
                      </a:lnTo>
                      <a:lnTo>
                        <a:pt x="1486" y="600"/>
                      </a:lnTo>
                      <a:lnTo>
                        <a:pt x="1485" y="598"/>
                      </a:lnTo>
                      <a:lnTo>
                        <a:pt x="1481" y="598"/>
                      </a:lnTo>
                      <a:lnTo>
                        <a:pt x="1478" y="598"/>
                      </a:lnTo>
                      <a:lnTo>
                        <a:pt x="1476" y="600"/>
                      </a:lnTo>
                      <a:lnTo>
                        <a:pt x="1474" y="601"/>
                      </a:lnTo>
                      <a:lnTo>
                        <a:pt x="1469" y="605"/>
                      </a:lnTo>
                      <a:lnTo>
                        <a:pt x="1467" y="605"/>
                      </a:lnTo>
                      <a:lnTo>
                        <a:pt x="1465" y="607"/>
                      </a:lnTo>
                      <a:lnTo>
                        <a:pt x="1462" y="607"/>
                      </a:lnTo>
                      <a:lnTo>
                        <a:pt x="1476" y="598"/>
                      </a:lnTo>
                      <a:lnTo>
                        <a:pt x="1478" y="596"/>
                      </a:lnTo>
                      <a:lnTo>
                        <a:pt x="1483" y="596"/>
                      </a:lnTo>
                      <a:lnTo>
                        <a:pt x="1486" y="596"/>
                      </a:lnTo>
                      <a:lnTo>
                        <a:pt x="1490" y="594"/>
                      </a:lnTo>
                      <a:lnTo>
                        <a:pt x="1492" y="593"/>
                      </a:lnTo>
                      <a:lnTo>
                        <a:pt x="1493" y="589"/>
                      </a:lnTo>
                      <a:lnTo>
                        <a:pt x="1492" y="587"/>
                      </a:lnTo>
                      <a:lnTo>
                        <a:pt x="1490" y="586"/>
                      </a:lnTo>
                      <a:lnTo>
                        <a:pt x="1488" y="584"/>
                      </a:lnTo>
                      <a:lnTo>
                        <a:pt x="1486" y="582"/>
                      </a:lnTo>
                      <a:lnTo>
                        <a:pt x="1479" y="579"/>
                      </a:lnTo>
                      <a:lnTo>
                        <a:pt x="1458" y="575"/>
                      </a:lnTo>
                      <a:lnTo>
                        <a:pt x="1455" y="575"/>
                      </a:lnTo>
                      <a:lnTo>
                        <a:pt x="1453" y="577"/>
                      </a:lnTo>
                      <a:lnTo>
                        <a:pt x="1450" y="579"/>
                      </a:lnTo>
                      <a:lnTo>
                        <a:pt x="1448" y="582"/>
                      </a:lnTo>
                      <a:lnTo>
                        <a:pt x="1448" y="584"/>
                      </a:lnTo>
                      <a:lnTo>
                        <a:pt x="1450" y="586"/>
                      </a:lnTo>
                      <a:lnTo>
                        <a:pt x="1450" y="589"/>
                      </a:lnTo>
                      <a:lnTo>
                        <a:pt x="1444" y="584"/>
                      </a:lnTo>
                      <a:lnTo>
                        <a:pt x="1444" y="584"/>
                      </a:lnTo>
                      <a:lnTo>
                        <a:pt x="1443" y="582"/>
                      </a:lnTo>
                      <a:lnTo>
                        <a:pt x="1443" y="580"/>
                      </a:lnTo>
                      <a:lnTo>
                        <a:pt x="1441" y="579"/>
                      </a:lnTo>
                      <a:lnTo>
                        <a:pt x="1439" y="579"/>
                      </a:lnTo>
                      <a:lnTo>
                        <a:pt x="1437" y="579"/>
                      </a:lnTo>
                      <a:lnTo>
                        <a:pt x="1437" y="579"/>
                      </a:lnTo>
                      <a:lnTo>
                        <a:pt x="1432" y="584"/>
                      </a:lnTo>
                      <a:lnTo>
                        <a:pt x="1430" y="584"/>
                      </a:lnTo>
                      <a:lnTo>
                        <a:pt x="1429" y="584"/>
                      </a:lnTo>
                      <a:lnTo>
                        <a:pt x="1434" y="579"/>
                      </a:lnTo>
                      <a:lnTo>
                        <a:pt x="1437" y="575"/>
                      </a:lnTo>
                      <a:lnTo>
                        <a:pt x="1439" y="573"/>
                      </a:lnTo>
                      <a:lnTo>
                        <a:pt x="1437" y="572"/>
                      </a:lnTo>
                      <a:lnTo>
                        <a:pt x="1436" y="572"/>
                      </a:lnTo>
                      <a:lnTo>
                        <a:pt x="1430" y="575"/>
                      </a:lnTo>
                      <a:lnTo>
                        <a:pt x="1423" y="575"/>
                      </a:lnTo>
                      <a:lnTo>
                        <a:pt x="1422" y="577"/>
                      </a:lnTo>
                      <a:lnTo>
                        <a:pt x="1418" y="580"/>
                      </a:lnTo>
                      <a:lnTo>
                        <a:pt x="1416" y="587"/>
                      </a:lnTo>
                      <a:lnTo>
                        <a:pt x="1415" y="591"/>
                      </a:lnTo>
                      <a:lnTo>
                        <a:pt x="1411" y="591"/>
                      </a:lnTo>
                      <a:lnTo>
                        <a:pt x="1413" y="589"/>
                      </a:lnTo>
                      <a:lnTo>
                        <a:pt x="1413" y="587"/>
                      </a:lnTo>
                      <a:lnTo>
                        <a:pt x="1415" y="584"/>
                      </a:lnTo>
                      <a:lnTo>
                        <a:pt x="1415" y="580"/>
                      </a:lnTo>
                      <a:lnTo>
                        <a:pt x="1418" y="575"/>
                      </a:lnTo>
                      <a:lnTo>
                        <a:pt x="1411" y="575"/>
                      </a:lnTo>
                      <a:lnTo>
                        <a:pt x="1409" y="575"/>
                      </a:lnTo>
                      <a:lnTo>
                        <a:pt x="1408" y="573"/>
                      </a:lnTo>
                      <a:lnTo>
                        <a:pt x="1416" y="572"/>
                      </a:lnTo>
                      <a:lnTo>
                        <a:pt x="1422" y="570"/>
                      </a:lnTo>
                      <a:lnTo>
                        <a:pt x="1425" y="568"/>
                      </a:lnTo>
                      <a:lnTo>
                        <a:pt x="1429" y="565"/>
                      </a:lnTo>
                      <a:lnTo>
                        <a:pt x="1427" y="563"/>
                      </a:lnTo>
                      <a:lnTo>
                        <a:pt x="1425" y="561"/>
                      </a:lnTo>
                      <a:lnTo>
                        <a:pt x="1422" y="559"/>
                      </a:lnTo>
                      <a:lnTo>
                        <a:pt x="1416" y="559"/>
                      </a:lnTo>
                      <a:lnTo>
                        <a:pt x="1413" y="559"/>
                      </a:lnTo>
                      <a:lnTo>
                        <a:pt x="1408" y="559"/>
                      </a:lnTo>
                      <a:lnTo>
                        <a:pt x="1404" y="563"/>
                      </a:lnTo>
                      <a:lnTo>
                        <a:pt x="1401" y="565"/>
                      </a:lnTo>
                      <a:lnTo>
                        <a:pt x="1396" y="572"/>
                      </a:lnTo>
                      <a:lnTo>
                        <a:pt x="1392" y="573"/>
                      </a:lnTo>
                      <a:lnTo>
                        <a:pt x="1397" y="566"/>
                      </a:lnTo>
                      <a:lnTo>
                        <a:pt x="1408" y="558"/>
                      </a:lnTo>
                      <a:lnTo>
                        <a:pt x="1409" y="554"/>
                      </a:lnTo>
                      <a:lnTo>
                        <a:pt x="1409" y="551"/>
                      </a:lnTo>
                      <a:lnTo>
                        <a:pt x="1408" y="545"/>
                      </a:lnTo>
                      <a:lnTo>
                        <a:pt x="1404" y="544"/>
                      </a:lnTo>
                      <a:lnTo>
                        <a:pt x="1401" y="542"/>
                      </a:lnTo>
                      <a:lnTo>
                        <a:pt x="1397" y="540"/>
                      </a:lnTo>
                      <a:lnTo>
                        <a:pt x="1389" y="538"/>
                      </a:lnTo>
                      <a:lnTo>
                        <a:pt x="1383" y="538"/>
                      </a:lnTo>
                      <a:lnTo>
                        <a:pt x="1375" y="535"/>
                      </a:lnTo>
                      <a:lnTo>
                        <a:pt x="1368" y="533"/>
                      </a:lnTo>
                      <a:lnTo>
                        <a:pt x="1357" y="531"/>
                      </a:lnTo>
                      <a:lnTo>
                        <a:pt x="1348" y="535"/>
                      </a:lnTo>
                      <a:lnTo>
                        <a:pt x="1340" y="538"/>
                      </a:lnTo>
                      <a:lnTo>
                        <a:pt x="1338" y="545"/>
                      </a:lnTo>
                      <a:lnTo>
                        <a:pt x="1343" y="549"/>
                      </a:lnTo>
                      <a:lnTo>
                        <a:pt x="1352" y="552"/>
                      </a:lnTo>
                      <a:lnTo>
                        <a:pt x="1357" y="556"/>
                      </a:lnTo>
                      <a:lnTo>
                        <a:pt x="1354" y="556"/>
                      </a:lnTo>
                      <a:lnTo>
                        <a:pt x="1352" y="554"/>
                      </a:lnTo>
                      <a:lnTo>
                        <a:pt x="1348" y="552"/>
                      </a:lnTo>
                      <a:lnTo>
                        <a:pt x="1345" y="552"/>
                      </a:lnTo>
                      <a:lnTo>
                        <a:pt x="1343" y="552"/>
                      </a:lnTo>
                      <a:lnTo>
                        <a:pt x="1341" y="552"/>
                      </a:lnTo>
                      <a:lnTo>
                        <a:pt x="1340" y="552"/>
                      </a:lnTo>
                      <a:lnTo>
                        <a:pt x="1338" y="551"/>
                      </a:lnTo>
                      <a:lnTo>
                        <a:pt x="1334" y="549"/>
                      </a:lnTo>
                      <a:lnTo>
                        <a:pt x="1334" y="549"/>
                      </a:lnTo>
                      <a:lnTo>
                        <a:pt x="1331" y="551"/>
                      </a:lnTo>
                      <a:lnTo>
                        <a:pt x="1329" y="552"/>
                      </a:lnTo>
                      <a:lnTo>
                        <a:pt x="1329" y="556"/>
                      </a:lnTo>
                      <a:lnTo>
                        <a:pt x="1329" y="559"/>
                      </a:lnTo>
                      <a:lnTo>
                        <a:pt x="1329" y="561"/>
                      </a:lnTo>
                      <a:lnTo>
                        <a:pt x="1334" y="565"/>
                      </a:lnTo>
                      <a:lnTo>
                        <a:pt x="1334" y="566"/>
                      </a:lnTo>
                      <a:lnTo>
                        <a:pt x="1333" y="566"/>
                      </a:lnTo>
                      <a:lnTo>
                        <a:pt x="1331" y="565"/>
                      </a:lnTo>
                      <a:lnTo>
                        <a:pt x="1329" y="565"/>
                      </a:lnTo>
                      <a:lnTo>
                        <a:pt x="1327" y="563"/>
                      </a:lnTo>
                      <a:lnTo>
                        <a:pt x="1326" y="561"/>
                      </a:lnTo>
                      <a:lnTo>
                        <a:pt x="1326" y="559"/>
                      </a:lnTo>
                      <a:lnTo>
                        <a:pt x="1326" y="551"/>
                      </a:lnTo>
                      <a:lnTo>
                        <a:pt x="1324" y="551"/>
                      </a:lnTo>
                      <a:lnTo>
                        <a:pt x="1322" y="549"/>
                      </a:lnTo>
                      <a:lnTo>
                        <a:pt x="1320" y="549"/>
                      </a:lnTo>
                      <a:lnTo>
                        <a:pt x="1319" y="549"/>
                      </a:lnTo>
                      <a:lnTo>
                        <a:pt x="1319" y="549"/>
                      </a:lnTo>
                      <a:lnTo>
                        <a:pt x="1317" y="549"/>
                      </a:lnTo>
                      <a:lnTo>
                        <a:pt x="1313" y="549"/>
                      </a:lnTo>
                      <a:lnTo>
                        <a:pt x="1308" y="545"/>
                      </a:lnTo>
                      <a:lnTo>
                        <a:pt x="1306" y="545"/>
                      </a:lnTo>
                      <a:lnTo>
                        <a:pt x="1303" y="547"/>
                      </a:lnTo>
                      <a:lnTo>
                        <a:pt x="1303" y="551"/>
                      </a:lnTo>
                      <a:lnTo>
                        <a:pt x="1305" y="552"/>
                      </a:lnTo>
                      <a:lnTo>
                        <a:pt x="1306" y="556"/>
                      </a:lnTo>
                      <a:lnTo>
                        <a:pt x="1301" y="556"/>
                      </a:lnTo>
                      <a:lnTo>
                        <a:pt x="1298" y="556"/>
                      </a:lnTo>
                      <a:lnTo>
                        <a:pt x="1296" y="558"/>
                      </a:lnTo>
                      <a:lnTo>
                        <a:pt x="1291" y="563"/>
                      </a:lnTo>
                      <a:lnTo>
                        <a:pt x="1287" y="565"/>
                      </a:lnTo>
                      <a:lnTo>
                        <a:pt x="1284" y="566"/>
                      </a:lnTo>
                      <a:lnTo>
                        <a:pt x="1285" y="561"/>
                      </a:lnTo>
                      <a:lnTo>
                        <a:pt x="1285" y="559"/>
                      </a:lnTo>
                      <a:lnTo>
                        <a:pt x="1289" y="559"/>
                      </a:lnTo>
                      <a:lnTo>
                        <a:pt x="1287" y="556"/>
                      </a:lnTo>
                      <a:lnTo>
                        <a:pt x="1285" y="556"/>
                      </a:lnTo>
                      <a:lnTo>
                        <a:pt x="1285" y="554"/>
                      </a:lnTo>
                      <a:lnTo>
                        <a:pt x="1285" y="552"/>
                      </a:lnTo>
                      <a:lnTo>
                        <a:pt x="1289" y="551"/>
                      </a:lnTo>
                      <a:lnTo>
                        <a:pt x="1291" y="549"/>
                      </a:lnTo>
                      <a:lnTo>
                        <a:pt x="1291" y="547"/>
                      </a:lnTo>
                      <a:lnTo>
                        <a:pt x="1289" y="545"/>
                      </a:lnTo>
                      <a:lnTo>
                        <a:pt x="1285" y="547"/>
                      </a:lnTo>
                      <a:lnTo>
                        <a:pt x="1279" y="552"/>
                      </a:lnTo>
                      <a:lnTo>
                        <a:pt x="1280" y="549"/>
                      </a:lnTo>
                      <a:lnTo>
                        <a:pt x="1284" y="545"/>
                      </a:lnTo>
                      <a:lnTo>
                        <a:pt x="1296" y="535"/>
                      </a:lnTo>
                      <a:lnTo>
                        <a:pt x="1298" y="533"/>
                      </a:lnTo>
                      <a:lnTo>
                        <a:pt x="1298" y="531"/>
                      </a:lnTo>
                      <a:lnTo>
                        <a:pt x="1298" y="531"/>
                      </a:lnTo>
                      <a:lnTo>
                        <a:pt x="1298" y="530"/>
                      </a:lnTo>
                      <a:lnTo>
                        <a:pt x="1296" y="530"/>
                      </a:lnTo>
                      <a:lnTo>
                        <a:pt x="1292" y="524"/>
                      </a:lnTo>
                      <a:lnTo>
                        <a:pt x="1292" y="516"/>
                      </a:lnTo>
                      <a:lnTo>
                        <a:pt x="1291" y="512"/>
                      </a:lnTo>
                      <a:lnTo>
                        <a:pt x="1289" y="510"/>
                      </a:lnTo>
                      <a:lnTo>
                        <a:pt x="1287" y="510"/>
                      </a:lnTo>
                      <a:lnTo>
                        <a:pt x="1285" y="509"/>
                      </a:lnTo>
                      <a:lnTo>
                        <a:pt x="1284" y="509"/>
                      </a:lnTo>
                      <a:lnTo>
                        <a:pt x="1282" y="507"/>
                      </a:lnTo>
                      <a:lnTo>
                        <a:pt x="1280" y="505"/>
                      </a:lnTo>
                      <a:lnTo>
                        <a:pt x="1277" y="496"/>
                      </a:lnTo>
                      <a:lnTo>
                        <a:pt x="1275" y="493"/>
                      </a:lnTo>
                      <a:lnTo>
                        <a:pt x="1273" y="491"/>
                      </a:lnTo>
                      <a:lnTo>
                        <a:pt x="1268" y="489"/>
                      </a:lnTo>
                      <a:lnTo>
                        <a:pt x="1263" y="488"/>
                      </a:lnTo>
                      <a:lnTo>
                        <a:pt x="1258" y="488"/>
                      </a:lnTo>
                      <a:lnTo>
                        <a:pt x="1249" y="488"/>
                      </a:lnTo>
                      <a:lnTo>
                        <a:pt x="1244" y="489"/>
                      </a:lnTo>
                      <a:lnTo>
                        <a:pt x="1228" y="493"/>
                      </a:lnTo>
                      <a:lnTo>
                        <a:pt x="1223" y="495"/>
                      </a:lnTo>
                      <a:lnTo>
                        <a:pt x="1221" y="496"/>
                      </a:lnTo>
                      <a:lnTo>
                        <a:pt x="1224" y="500"/>
                      </a:lnTo>
                      <a:lnTo>
                        <a:pt x="1214" y="498"/>
                      </a:lnTo>
                      <a:lnTo>
                        <a:pt x="1205" y="500"/>
                      </a:lnTo>
                      <a:lnTo>
                        <a:pt x="1196" y="503"/>
                      </a:lnTo>
                      <a:lnTo>
                        <a:pt x="1191" y="512"/>
                      </a:lnTo>
                      <a:lnTo>
                        <a:pt x="1189" y="516"/>
                      </a:lnTo>
                      <a:lnTo>
                        <a:pt x="1189" y="517"/>
                      </a:lnTo>
                      <a:lnTo>
                        <a:pt x="1193" y="519"/>
                      </a:lnTo>
                      <a:lnTo>
                        <a:pt x="1207" y="524"/>
                      </a:lnTo>
                      <a:lnTo>
                        <a:pt x="1210" y="526"/>
                      </a:lnTo>
                      <a:lnTo>
                        <a:pt x="1214" y="530"/>
                      </a:lnTo>
                      <a:lnTo>
                        <a:pt x="1205" y="526"/>
                      </a:lnTo>
                      <a:lnTo>
                        <a:pt x="1196" y="523"/>
                      </a:lnTo>
                      <a:lnTo>
                        <a:pt x="1188" y="524"/>
                      </a:lnTo>
                      <a:lnTo>
                        <a:pt x="1184" y="531"/>
                      </a:lnTo>
                      <a:lnTo>
                        <a:pt x="1184" y="535"/>
                      </a:lnTo>
                      <a:lnTo>
                        <a:pt x="1184" y="538"/>
                      </a:lnTo>
                      <a:lnTo>
                        <a:pt x="1186" y="542"/>
                      </a:lnTo>
                      <a:lnTo>
                        <a:pt x="1189" y="545"/>
                      </a:lnTo>
                      <a:lnTo>
                        <a:pt x="1193" y="547"/>
                      </a:lnTo>
                      <a:lnTo>
                        <a:pt x="1196" y="547"/>
                      </a:lnTo>
                      <a:lnTo>
                        <a:pt x="1202" y="547"/>
                      </a:lnTo>
                      <a:lnTo>
                        <a:pt x="1205" y="547"/>
                      </a:lnTo>
                      <a:lnTo>
                        <a:pt x="1203" y="549"/>
                      </a:lnTo>
                      <a:lnTo>
                        <a:pt x="1202" y="551"/>
                      </a:lnTo>
                      <a:lnTo>
                        <a:pt x="1202" y="551"/>
                      </a:lnTo>
                      <a:lnTo>
                        <a:pt x="1203" y="554"/>
                      </a:lnTo>
                      <a:lnTo>
                        <a:pt x="1207" y="556"/>
                      </a:lnTo>
                      <a:lnTo>
                        <a:pt x="1209" y="558"/>
                      </a:lnTo>
                      <a:lnTo>
                        <a:pt x="1210" y="559"/>
                      </a:lnTo>
                      <a:lnTo>
                        <a:pt x="1212" y="561"/>
                      </a:lnTo>
                      <a:lnTo>
                        <a:pt x="1209" y="559"/>
                      </a:lnTo>
                      <a:lnTo>
                        <a:pt x="1203" y="556"/>
                      </a:lnTo>
                      <a:lnTo>
                        <a:pt x="1198" y="554"/>
                      </a:lnTo>
                      <a:lnTo>
                        <a:pt x="1193" y="554"/>
                      </a:lnTo>
                      <a:lnTo>
                        <a:pt x="1189" y="554"/>
                      </a:lnTo>
                      <a:lnTo>
                        <a:pt x="1189" y="556"/>
                      </a:lnTo>
                      <a:lnTo>
                        <a:pt x="1188" y="556"/>
                      </a:lnTo>
                      <a:lnTo>
                        <a:pt x="1186" y="559"/>
                      </a:lnTo>
                      <a:lnTo>
                        <a:pt x="1184" y="559"/>
                      </a:lnTo>
                      <a:lnTo>
                        <a:pt x="1179" y="561"/>
                      </a:lnTo>
                      <a:lnTo>
                        <a:pt x="1177" y="563"/>
                      </a:lnTo>
                      <a:lnTo>
                        <a:pt x="1181" y="565"/>
                      </a:lnTo>
                      <a:lnTo>
                        <a:pt x="1188" y="572"/>
                      </a:lnTo>
                      <a:lnTo>
                        <a:pt x="1189" y="573"/>
                      </a:lnTo>
                      <a:lnTo>
                        <a:pt x="1195" y="575"/>
                      </a:lnTo>
                      <a:lnTo>
                        <a:pt x="1198" y="575"/>
                      </a:lnTo>
                      <a:lnTo>
                        <a:pt x="1202" y="575"/>
                      </a:lnTo>
                      <a:lnTo>
                        <a:pt x="1205" y="579"/>
                      </a:lnTo>
                      <a:lnTo>
                        <a:pt x="1205" y="582"/>
                      </a:lnTo>
                      <a:lnTo>
                        <a:pt x="1205" y="587"/>
                      </a:lnTo>
                      <a:lnTo>
                        <a:pt x="1203" y="593"/>
                      </a:lnTo>
                      <a:lnTo>
                        <a:pt x="1202" y="596"/>
                      </a:lnTo>
                      <a:lnTo>
                        <a:pt x="1200" y="600"/>
                      </a:lnTo>
                      <a:lnTo>
                        <a:pt x="1200" y="600"/>
                      </a:lnTo>
                      <a:lnTo>
                        <a:pt x="1198" y="598"/>
                      </a:lnTo>
                      <a:lnTo>
                        <a:pt x="1196" y="598"/>
                      </a:lnTo>
                      <a:lnTo>
                        <a:pt x="1196" y="596"/>
                      </a:lnTo>
                      <a:lnTo>
                        <a:pt x="1196" y="596"/>
                      </a:lnTo>
                      <a:lnTo>
                        <a:pt x="1198" y="594"/>
                      </a:lnTo>
                      <a:lnTo>
                        <a:pt x="1193" y="594"/>
                      </a:lnTo>
                      <a:lnTo>
                        <a:pt x="1188" y="593"/>
                      </a:lnTo>
                      <a:lnTo>
                        <a:pt x="1184" y="594"/>
                      </a:lnTo>
                      <a:lnTo>
                        <a:pt x="1179" y="594"/>
                      </a:lnTo>
                      <a:lnTo>
                        <a:pt x="1172" y="598"/>
                      </a:lnTo>
                      <a:lnTo>
                        <a:pt x="1167" y="600"/>
                      </a:lnTo>
                      <a:lnTo>
                        <a:pt x="1163" y="600"/>
                      </a:lnTo>
                      <a:lnTo>
                        <a:pt x="1177" y="593"/>
                      </a:lnTo>
                      <a:lnTo>
                        <a:pt x="1189" y="591"/>
                      </a:lnTo>
                      <a:lnTo>
                        <a:pt x="1193" y="589"/>
                      </a:lnTo>
                      <a:lnTo>
                        <a:pt x="1196" y="586"/>
                      </a:lnTo>
                      <a:lnTo>
                        <a:pt x="1195" y="584"/>
                      </a:lnTo>
                      <a:lnTo>
                        <a:pt x="1179" y="573"/>
                      </a:lnTo>
                      <a:lnTo>
                        <a:pt x="1175" y="572"/>
                      </a:lnTo>
                      <a:lnTo>
                        <a:pt x="1172" y="568"/>
                      </a:lnTo>
                      <a:lnTo>
                        <a:pt x="1170" y="565"/>
                      </a:lnTo>
                      <a:lnTo>
                        <a:pt x="1170" y="561"/>
                      </a:lnTo>
                      <a:lnTo>
                        <a:pt x="1168" y="556"/>
                      </a:lnTo>
                      <a:lnTo>
                        <a:pt x="1168" y="552"/>
                      </a:lnTo>
                      <a:lnTo>
                        <a:pt x="1168" y="549"/>
                      </a:lnTo>
                      <a:lnTo>
                        <a:pt x="1168" y="545"/>
                      </a:lnTo>
                      <a:lnTo>
                        <a:pt x="1168" y="542"/>
                      </a:lnTo>
                      <a:lnTo>
                        <a:pt x="1167" y="538"/>
                      </a:lnTo>
                      <a:lnTo>
                        <a:pt x="1165" y="537"/>
                      </a:lnTo>
                      <a:lnTo>
                        <a:pt x="1163" y="533"/>
                      </a:lnTo>
                      <a:lnTo>
                        <a:pt x="1162" y="530"/>
                      </a:lnTo>
                      <a:lnTo>
                        <a:pt x="1163" y="526"/>
                      </a:lnTo>
                      <a:lnTo>
                        <a:pt x="1175" y="505"/>
                      </a:lnTo>
                      <a:lnTo>
                        <a:pt x="1179" y="502"/>
                      </a:lnTo>
                      <a:lnTo>
                        <a:pt x="1182" y="498"/>
                      </a:lnTo>
                      <a:lnTo>
                        <a:pt x="1186" y="496"/>
                      </a:lnTo>
                      <a:lnTo>
                        <a:pt x="1193" y="493"/>
                      </a:lnTo>
                      <a:lnTo>
                        <a:pt x="1198" y="488"/>
                      </a:lnTo>
                      <a:lnTo>
                        <a:pt x="1193" y="486"/>
                      </a:lnTo>
                      <a:lnTo>
                        <a:pt x="1184" y="484"/>
                      </a:lnTo>
                      <a:lnTo>
                        <a:pt x="1168" y="484"/>
                      </a:lnTo>
                      <a:lnTo>
                        <a:pt x="1153" y="486"/>
                      </a:lnTo>
                      <a:lnTo>
                        <a:pt x="1144" y="488"/>
                      </a:lnTo>
                      <a:lnTo>
                        <a:pt x="1137" y="489"/>
                      </a:lnTo>
                      <a:lnTo>
                        <a:pt x="1130" y="493"/>
                      </a:lnTo>
                      <a:lnTo>
                        <a:pt x="1123" y="496"/>
                      </a:lnTo>
                      <a:lnTo>
                        <a:pt x="1118" y="500"/>
                      </a:lnTo>
                      <a:lnTo>
                        <a:pt x="1118" y="502"/>
                      </a:lnTo>
                      <a:lnTo>
                        <a:pt x="1116" y="503"/>
                      </a:lnTo>
                      <a:lnTo>
                        <a:pt x="1116" y="505"/>
                      </a:lnTo>
                      <a:lnTo>
                        <a:pt x="1114" y="507"/>
                      </a:lnTo>
                      <a:lnTo>
                        <a:pt x="1111" y="510"/>
                      </a:lnTo>
                      <a:lnTo>
                        <a:pt x="1109" y="510"/>
                      </a:lnTo>
                      <a:lnTo>
                        <a:pt x="1107" y="516"/>
                      </a:lnTo>
                      <a:lnTo>
                        <a:pt x="1107" y="519"/>
                      </a:lnTo>
                      <a:lnTo>
                        <a:pt x="1106" y="523"/>
                      </a:lnTo>
                      <a:lnTo>
                        <a:pt x="1106" y="528"/>
                      </a:lnTo>
                      <a:lnTo>
                        <a:pt x="1095" y="544"/>
                      </a:lnTo>
                      <a:lnTo>
                        <a:pt x="1093" y="552"/>
                      </a:lnTo>
                      <a:lnTo>
                        <a:pt x="1099" y="556"/>
                      </a:lnTo>
                      <a:lnTo>
                        <a:pt x="1097" y="558"/>
                      </a:lnTo>
                      <a:lnTo>
                        <a:pt x="1093" y="561"/>
                      </a:lnTo>
                      <a:lnTo>
                        <a:pt x="1092" y="563"/>
                      </a:lnTo>
                      <a:lnTo>
                        <a:pt x="1090" y="565"/>
                      </a:lnTo>
                      <a:lnTo>
                        <a:pt x="1090" y="568"/>
                      </a:lnTo>
                      <a:lnTo>
                        <a:pt x="1093" y="579"/>
                      </a:lnTo>
                      <a:lnTo>
                        <a:pt x="1095" y="582"/>
                      </a:lnTo>
                      <a:lnTo>
                        <a:pt x="1099" y="584"/>
                      </a:lnTo>
                      <a:lnTo>
                        <a:pt x="1106" y="587"/>
                      </a:lnTo>
                      <a:lnTo>
                        <a:pt x="1111" y="589"/>
                      </a:lnTo>
                      <a:lnTo>
                        <a:pt x="1130" y="591"/>
                      </a:lnTo>
                      <a:lnTo>
                        <a:pt x="1137" y="593"/>
                      </a:lnTo>
                      <a:lnTo>
                        <a:pt x="1151" y="600"/>
                      </a:lnTo>
                      <a:lnTo>
                        <a:pt x="1148" y="601"/>
                      </a:lnTo>
                      <a:lnTo>
                        <a:pt x="1141" y="601"/>
                      </a:lnTo>
                      <a:lnTo>
                        <a:pt x="1134" y="601"/>
                      </a:lnTo>
                      <a:lnTo>
                        <a:pt x="1114" y="598"/>
                      </a:lnTo>
                      <a:lnTo>
                        <a:pt x="1109" y="596"/>
                      </a:lnTo>
                      <a:lnTo>
                        <a:pt x="1102" y="598"/>
                      </a:lnTo>
                      <a:lnTo>
                        <a:pt x="1104" y="600"/>
                      </a:lnTo>
                      <a:lnTo>
                        <a:pt x="1107" y="608"/>
                      </a:lnTo>
                      <a:lnTo>
                        <a:pt x="1109" y="610"/>
                      </a:lnTo>
                      <a:lnTo>
                        <a:pt x="1113" y="615"/>
                      </a:lnTo>
                      <a:lnTo>
                        <a:pt x="1116" y="617"/>
                      </a:lnTo>
                      <a:lnTo>
                        <a:pt x="1120" y="619"/>
                      </a:lnTo>
                      <a:lnTo>
                        <a:pt x="1125" y="621"/>
                      </a:lnTo>
                      <a:lnTo>
                        <a:pt x="1128" y="622"/>
                      </a:lnTo>
                      <a:lnTo>
                        <a:pt x="1132" y="626"/>
                      </a:lnTo>
                      <a:lnTo>
                        <a:pt x="1134" y="628"/>
                      </a:lnTo>
                      <a:lnTo>
                        <a:pt x="1137" y="628"/>
                      </a:lnTo>
                      <a:lnTo>
                        <a:pt x="1139" y="628"/>
                      </a:lnTo>
                      <a:lnTo>
                        <a:pt x="1142" y="626"/>
                      </a:lnTo>
                      <a:lnTo>
                        <a:pt x="1144" y="626"/>
                      </a:lnTo>
                      <a:lnTo>
                        <a:pt x="1146" y="626"/>
                      </a:lnTo>
                      <a:lnTo>
                        <a:pt x="1151" y="626"/>
                      </a:lnTo>
                      <a:lnTo>
                        <a:pt x="1153" y="626"/>
                      </a:lnTo>
                      <a:lnTo>
                        <a:pt x="1153" y="624"/>
                      </a:lnTo>
                      <a:lnTo>
                        <a:pt x="1151" y="622"/>
                      </a:lnTo>
                      <a:lnTo>
                        <a:pt x="1151" y="622"/>
                      </a:lnTo>
                      <a:lnTo>
                        <a:pt x="1153" y="622"/>
                      </a:lnTo>
                      <a:lnTo>
                        <a:pt x="1158" y="622"/>
                      </a:lnTo>
                      <a:lnTo>
                        <a:pt x="1160" y="622"/>
                      </a:lnTo>
                      <a:lnTo>
                        <a:pt x="1162" y="622"/>
                      </a:lnTo>
                      <a:lnTo>
                        <a:pt x="1163" y="622"/>
                      </a:lnTo>
                      <a:lnTo>
                        <a:pt x="1168" y="621"/>
                      </a:lnTo>
                      <a:lnTo>
                        <a:pt x="1165" y="628"/>
                      </a:lnTo>
                      <a:lnTo>
                        <a:pt x="1170" y="633"/>
                      </a:lnTo>
                      <a:lnTo>
                        <a:pt x="1177" y="636"/>
                      </a:lnTo>
                      <a:lnTo>
                        <a:pt x="1184" y="636"/>
                      </a:lnTo>
                      <a:lnTo>
                        <a:pt x="1191" y="634"/>
                      </a:lnTo>
                      <a:lnTo>
                        <a:pt x="1200" y="636"/>
                      </a:lnTo>
                      <a:lnTo>
                        <a:pt x="1216" y="640"/>
                      </a:lnTo>
                      <a:lnTo>
                        <a:pt x="1223" y="640"/>
                      </a:lnTo>
                      <a:lnTo>
                        <a:pt x="1230" y="640"/>
                      </a:lnTo>
                      <a:lnTo>
                        <a:pt x="1238" y="640"/>
                      </a:lnTo>
                      <a:lnTo>
                        <a:pt x="1245" y="641"/>
                      </a:lnTo>
                      <a:lnTo>
                        <a:pt x="1252" y="645"/>
                      </a:lnTo>
                      <a:lnTo>
                        <a:pt x="1256" y="645"/>
                      </a:lnTo>
                      <a:lnTo>
                        <a:pt x="1261" y="645"/>
                      </a:lnTo>
                      <a:lnTo>
                        <a:pt x="1268" y="641"/>
                      </a:lnTo>
                      <a:lnTo>
                        <a:pt x="1272" y="641"/>
                      </a:lnTo>
                      <a:lnTo>
                        <a:pt x="1275" y="643"/>
                      </a:lnTo>
                      <a:lnTo>
                        <a:pt x="1279" y="645"/>
                      </a:lnTo>
                      <a:lnTo>
                        <a:pt x="1284" y="647"/>
                      </a:lnTo>
                      <a:lnTo>
                        <a:pt x="1285" y="648"/>
                      </a:lnTo>
                      <a:lnTo>
                        <a:pt x="1284" y="643"/>
                      </a:lnTo>
                      <a:lnTo>
                        <a:pt x="1280" y="641"/>
                      </a:lnTo>
                      <a:lnTo>
                        <a:pt x="1273" y="636"/>
                      </a:lnTo>
                      <a:lnTo>
                        <a:pt x="1270" y="634"/>
                      </a:lnTo>
                      <a:lnTo>
                        <a:pt x="1273" y="634"/>
                      </a:lnTo>
                      <a:lnTo>
                        <a:pt x="1279" y="634"/>
                      </a:lnTo>
                      <a:lnTo>
                        <a:pt x="1313" y="643"/>
                      </a:lnTo>
                      <a:lnTo>
                        <a:pt x="1319" y="643"/>
                      </a:lnTo>
                      <a:lnTo>
                        <a:pt x="1324" y="641"/>
                      </a:lnTo>
                      <a:lnTo>
                        <a:pt x="1327" y="640"/>
                      </a:lnTo>
                      <a:lnTo>
                        <a:pt x="1329" y="636"/>
                      </a:lnTo>
                      <a:lnTo>
                        <a:pt x="1331" y="633"/>
                      </a:lnTo>
                      <a:lnTo>
                        <a:pt x="1329" y="629"/>
                      </a:lnTo>
                      <a:lnTo>
                        <a:pt x="1326" y="626"/>
                      </a:lnTo>
                      <a:lnTo>
                        <a:pt x="1322" y="624"/>
                      </a:lnTo>
                      <a:lnTo>
                        <a:pt x="1319" y="622"/>
                      </a:lnTo>
                      <a:lnTo>
                        <a:pt x="1319" y="621"/>
                      </a:lnTo>
                      <a:lnTo>
                        <a:pt x="1319" y="619"/>
                      </a:lnTo>
                      <a:lnTo>
                        <a:pt x="1320" y="617"/>
                      </a:lnTo>
                      <a:lnTo>
                        <a:pt x="1322" y="615"/>
                      </a:lnTo>
                      <a:lnTo>
                        <a:pt x="1324" y="615"/>
                      </a:lnTo>
                      <a:lnTo>
                        <a:pt x="1326" y="615"/>
                      </a:lnTo>
                      <a:lnTo>
                        <a:pt x="1327" y="617"/>
                      </a:lnTo>
                      <a:lnTo>
                        <a:pt x="1329" y="621"/>
                      </a:lnTo>
                      <a:lnTo>
                        <a:pt x="1333" y="622"/>
                      </a:lnTo>
                      <a:lnTo>
                        <a:pt x="1336" y="626"/>
                      </a:lnTo>
                      <a:lnTo>
                        <a:pt x="1340" y="628"/>
                      </a:lnTo>
                      <a:lnTo>
                        <a:pt x="1341" y="629"/>
                      </a:lnTo>
                      <a:lnTo>
                        <a:pt x="1347" y="629"/>
                      </a:lnTo>
                      <a:lnTo>
                        <a:pt x="1350" y="629"/>
                      </a:lnTo>
                      <a:lnTo>
                        <a:pt x="1352" y="629"/>
                      </a:lnTo>
                      <a:lnTo>
                        <a:pt x="1354" y="633"/>
                      </a:lnTo>
                      <a:lnTo>
                        <a:pt x="1354" y="641"/>
                      </a:lnTo>
                      <a:lnTo>
                        <a:pt x="1355" y="643"/>
                      </a:lnTo>
                      <a:lnTo>
                        <a:pt x="1357" y="645"/>
                      </a:lnTo>
                      <a:lnTo>
                        <a:pt x="1359" y="645"/>
                      </a:lnTo>
                      <a:lnTo>
                        <a:pt x="1364" y="645"/>
                      </a:lnTo>
                      <a:lnTo>
                        <a:pt x="1366" y="645"/>
                      </a:lnTo>
                      <a:lnTo>
                        <a:pt x="1368" y="645"/>
                      </a:lnTo>
                      <a:lnTo>
                        <a:pt x="1369" y="647"/>
                      </a:lnTo>
                      <a:lnTo>
                        <a:pt x="1371" y="647"/>
                      </a:lnTo>
                      <a:lnTo>
                        <a:pt x="1371" y="648"/>
                      </a:lnTo>
                      <a:lnTo>
                        <a:pt x="1369" y="650"/>
                      </a:lnTo>
                      <a:lnTo>
                        <a:pt x="1366" y="650"/>
                      </a:lnTo>
                      <a:lnTo>
                        <a:pt x="1368" y="652"/>
                      </a:lnTo>
                      <a:lnTo>
                        <a:pt x="1371" y="652"/>
                      </a:lnTo>
                      <a:lnTo>
                        <a:pt x="1373" y="652"/>
                      </a:lnTo>
                      <a:lnTo>
                        <a:pt x="1376" y="652"/>
                      </a:lnTo>
                      <a:lnTo>
                        <a:pt x="1378" y="652"/>
                      </a:lnTo>
                      <a:lnTo>
                        <a:pt x="1380" y="650"/>
                      </a:lnTo>
                      <a:lnTo>
                        <a:pt x="1382" y="650"/>
                      </a:lnTo>
                      <a:lnTo>
                        <a:pt x="1385" y="650"/>
                      </a:lnTo>
                      <a:lnTo>
                        <a:pt x="1382" y="652"/>
                      </a:lnTo>
                      <a:lnTo>
                        <a:pt x="1380" y="652"/>
                      </a:lnTo>
                      <a:lnTo>
                        <a:pt x="1378" y="654"/>
                      </a:lnTo>
                      <a:lnTo>
                        <a:pt x="1382" y="657"/>
                      </a:lnTo>
                      <a:lnTo>
                        <a:pt x="1383" y="657"/>
                      </a:lnTo>
                      <a:lnTo>
                        <a:pt x="1392" y="659"/>
                      </a:lnTo>
                      <a:lnTo>
                        <a:pt x="1394" y="661"/>
                      </a:lnTo>
                      <a:lnTo>
                        <a:pt x="1397" y="666"/>
                      </a:lnTo>
                      <a:lnTo>
                        <a:pt x="1390" y="668"/>
                      </a:lnTo>
                      <a:lnTo>
                        <a:pt x="1383" y="669"/>
                      </a:lnTo>
                      <a:lnTo>
                        <a:pt x="1378" y="669"/>
                      </a:lnTo>
                      <a:lnTo>
                        <a:pt x="1376" y="675"/>
                      </a:lnTo>
                      <a:lnTo>
                        <a:pt x="1376" y="676"/>
                      </a:lnTo>
                      <a:lnTo>
                        <a:pt x="1376" y="678"/>
                      </a:lnTo>
                      <a:lnTo>
                        <a:pt x="1380" y="680"/>
                      </a:lnTo>
                      <a:lnTo>
                        <a:pt x="1385" y="678"/>
                      </a:lnTo>
                      <a:lnTo>
                        <a:pt x="1399" y="673"/>
                      </a:lnTo>
                      <a:lnTo>
                        <a:pt x="1401" y="671"/>
                      </a:lnTo>
                      <a:lnTo>
                        <a:pt x="1406" y="671"/>
                      </a:lnTo>
                      <a:lnTo>
                        <a:pt x="1408" y="671"/>
                      </a:lnTo>
                      <a:lnTo>
                        <a:pt x="1415" y="668"/>
                      </a:lnTo>
                      <a:lnTo>
                        <a:pt x="1416" y="668"/>
                      </a:lnTo>
                      <a:lnTo>
                        <a:pt x="1418" y="668"/>
                      </a:lnTo>
                      <a:lnTo>
                        <a:pt x="1413" y="671"/>
                      </a:lnTo>
                      <a:lnTo>
                        <a:pt x="1416" y="673"/>
                      </a:lnTo>
                      <a:lnTo>
                        <a:pt x="1415" y="673"/>
                      </a:lnTo>
                      <a:lnTo>
                        <a:pt x="1415" y="675"/>
                      </a:lnTo>
                      <a:lnTo>
                        <a:pt x="1413" y="675"/>
                      </a:lnTo>
                      <a:lnTo>
                        <a:pt x="1415" y="675"/>
                      </a:lnTo>
                      <a:lnTo>
                        <a:pt x="1416" y="675"/>
                      </a:lnTo>
                      <a:lnTo>
                        <a:pt x="1418" y="676"/>
                      </a:lnTo>
                      <a:lnTo>
                        <a:pt x="1418" y="676"/>
                      </a:lnTo>
                      <a:lnTo>
                        <a:pt x="1422" y="680"/>
                      </a:lnTo>
                      <a:lnTo>
                        <a:pt x="1423" y="682"/>
                      </a:lnTo>
                      <a:lnTo>
                        <a:pt x="1427" y="683"/>
                      </a:lnTo>
                      <a:lnTo>
                        <a:pt x="1430" y="683"/>
                      </a:lnTo>
                      <a:lnTo>
                        <a:pt x="1432" y="682"/>
                      </a:lnTo>
                      <a:lnTo>
                        <a:pt x="1430" y="678"/>
                      </a:lnTo>
                      <a:lnTo>
                        <a:pt x="1434" y="678"/>
                      </a:lnTo>
                      <a:lnTo>
                        <a:pt x="1436" y="680"/>
                      </a:lnTo>
                      <a:lnTo>
                        <a:pt x="1436" y="682"/>
                      </a:lnTo>
                      <a:lnTo>
                        <a:pt x="1436" y="685"/>
                      </a:lnTo>
                      <a:lnTo>
                        <a:pt x="1437" y="690"/>
                      </a:lnTo>
                      <a:lnTo>
                        <a:pt x="1439" y="690"/>
                      </a:lnTo>
                      <a:lnTo>
                        <a:pt x="1444" y="690"/>
                      </a:lnTo>
                      <a:lnTo>
                        <a:pt x="1448" y="689"/>
                      </a:lnTo>
                      <a:lnTo>
                        <a:pt x="1450" y="694"/>
                      </a:lnTo>
                      <a:lnTo>
                        <a:pt x="1464" y="713"/>
                      </a:lnTo>
                      <a:lnTo>
                        <a:pt x="1469" y="724"/>
                      </a:lnTo>
                      <a:lnTo>
                        <a:pt x="1471" y="727"/>
                      </a:lnTo>
                      <a:lnTo>
                        <a:pt x="1471" y="731"/>
                      </a:lnTo>
                      <a:lnTo>
                        <a:pt x="1469" y="732"/>
                      </a:lnTo>
                      <a:lnTo>
                        <a:pt x="1465" y="734"/>
                      </a:lnTo>
                      <a:lnTo>
                        <a:pt x="1462" y="734"/>
                      </a:lnTo>
                      <a:lnTo>
                        <a:pt x="1458" y="738"/>
                      </a:lnTo>
                      <a:lnTo>
                        <a:pt x="1457" y="739"/>
                      </a:lnTo>
                      <a:lnTo>
                        <a:pt x="1457" y="743"/>
                      </a:lnTo>
                      <a:lnTo>
                        <a:pt x="1455" y="746"/>
                      </a:lnTo>
                      <a:lnTo>
                        <a:pt x="1453" y="748"/>
                      </a:lnTo>
                      <a:lnTo>
                        <a:pt x="1432" y="766"/>
                      </a:lnTo>
                      <a:lnTo>
                        <a:pt x="1425" y="771"/>
                      </a:lnTo>
                      <a:lnTo>
                        <a:pt x="1423" y="776"/>
                      </a:lnTo>
                      <a:lnTo>
                        <a:pt x="1429" y="783"/>
                      </a:lnTo>
                      <a:lnTo>
                        <a:pt x="1434" y="790"/>
                      </a:lnTo>
                      <a:lnTo>
                        <a:pt x="1439" y="795"/>
                      </a:lnTo>
                      <a:lnTo>
                        <a:pt x="1443" y="804"/>
                      </a:lnTo>
                      <a:lnTo>
                        <a:pt x="1439" y="804"/>
                      </a:lnTo>
                      <a:lnTo>
                        <a:pt x="1434" y="804"/>
                      </a:lnTo>
                      <a:lnTo>
                        <a:pt x="1432" y="804"/>
                      </a:lnTo>
                      <a:lnTo>
                        <a:pt x="1429" y="804"/>
                      </a:lnTo>
                      <a:lnTo>
                        <a:pt x="1427" y="806"/>
                      </a:lnTo>
                      <a:lnTo>
                        <a:pt x="1425" y="807"/>
                      </a:lnTo>
                      <a:lnTo>
                        <a:pt x="1423" y="809"/>
                      </a:lnTo>
                      <a:lnTo>
                        <a:pt x="1422" y="809"/>
                      </a:lnTo>
                      <a:lnTo>
                        <a:pt x="1418" y="809"/>
                      </a:lnTo>
                      <a:lnTo>
                        <a:pt x="1416" y="809"/>
                      </a:lnTo>
                      <a:lnTo>
                        <a:pt x="1415" y="809"/>
                      </a:lnTo>
                      <a:lnTo>
                        <a:pt x="1411" y="809"/>
                      </a:lnTo>
                      <a:lnTo>
                        <a:pt x="1411" y="811"/>
                      </a:lnTo>
                      <a:lnTo>
                        <a:pt x="1409" y="813"/>
                      </a:lnTo>
                      <a:lnTo>
                        <a:pt x="1408" y="813"/>
                      </a:lnTo>
                      <a:lnTo>
                        <a:pt x="1402" y="814"/>
                      </a:lnTo>
                      <a:lnTo>
                        <a:pt x="1397" y="813"/>
                      </a:lnTo>
                      <a:lnTo>
                        <a:pt x="1396" y="813"/>
                      </a:lnTo>
                      <a:lnTo>
                        <a:pt x="1399" y="818"/>
                      </a:lnTo>
                      <a:lnTo>
                        <a:pt x="1402" y="821"/>
                      </a:lnTo>
                      <a:lnTo>
                        <a:pt x="1402" y="823"/>
                      </a:lnTo>
                      <a:lnTo>
                        <a:pt x="1404" y="825"/>
                      </a:lnTo>
                      <a:lnTo>
                        <a:pt x="1404" y="827"/>
                      </a:lnTo>
                      <a:lnTo>
                        <a:pt x="1402" y="830"/>
                      </a:lnTo>
                      <a:lnTo>
                        <a:pt x="1402" y="832"/>
                      </a:lnTo>
                      <a:lnTo>
                        <a:pt x="1399" y="830"/>
                      </a:lnTo>
                      <a:lnTo>
                        <a:pt x="1399" y="828"/>
                      </a:lnTo>
                      <a:lnTo>
                        <a:pt x="1401" y="827"/>
                      </a:lnTo>
                      <a:lnTo>
                        <a:pt x="1401" y="825"/>
                      </a:lnTo>
                      <a:lnTo>
                        <a:pt x="1399" y="821"/>
                      </a:lnTo>
                      <a:lnTo>
                        <a:pt x="1397" y="818"/>
                      </a:lnTo>
                      <a:lnTo>
                        <a:pt x="1394" y="816"/>
                      </a:lnTo>
                      <a:lnTo>
                        <a:pt x="1390" y="814"/>
                      </a:lnTo>
                      <a:lnTo>
                        <a:pt x="1383" y="811"/>
                      </a:lnTo>
                      <a:lnTo>
                        <a:pt x="1371" y="807"/>
                      </a:lnTo>
                      <a:lnTo>
                        <a:pt x="1366" y="806"/>
                      </a:lnTo>
                      <a:lnTo>
                        <a:pt x="1364" y="806"/>
                      </a:lnTo>
                      <a:lnTo>
                        <a:pt x="1361" y="806"/>
                      </a:lnTo>
                      <a:lnTo>
                        <a:pt x="1361" y="807"/>
                      </a:lnTo>
                      <a:lnTo>
                        <a:pt x="1359" y="811"/>
                      </a:lnTo>
                      <a:lnTo>
                        <a:pt x="1359" y="813"/>
                      </a:lnTo>
                      <a:lnTo>
                        <a:pt x="1359" y="814"/>
                      </a:lnTo>
                      <a:lnTo>
                        <a:pt x="1361" y="816"/>
                      </a:lnTo>
                      <a:lnTo>
                        <a:pt x="1361" y="816"/>
                      </a:lnTo>
                      <a:lnTo>
                        <a:pt x="1361" y="818"/>
                      </a:lnTo>
                      <a:lnTo>
                        <a:pt x="1359" y="820"/>
                      </a:lnTo>
                      <a:lnTo>
                        <a:pt x="1355" y="820"/>
                      </a:lnTo>
                      <a:lnTo>
                        <a:pt x="1354" y="821"/>
                      </a:lnTo>
                      <a:lnTo>
                        <a:pt x="1352" y="821"/>
                      </a:lnTo>
                      <a:lnTo>
                        <a:pt x="1347" y="827"/>
                      </a:lnTo>
                      <a:lnTo>
                        <a:pt x="1345" y="832"/>
                      </a:lnTo>
                      <a:lnTo>
                        <a:pt x="1343" y="837"/>
                      </a:lnTo>
                      <a:lnTo>
                        <a:pt x="1345" y="842"/>
                      </a:lnTo>
                      <a:lnTo>
                        <a:pt x="1348" y="849"/>
                      </a:lnTo>
                      <a:lnTo>
                        <a:pt x="1354" y="851"/>
                      </a:lnTo>
                      <a:lnTo>
                        <a:pt x="1359" y="853"/>
                      </a:lnTo>
                      <a:lnTo>
                        <a:pt x="1366" y="855"/>
                      </a:lnTo>
                      <a:lnTo>
                        <a:pt x="1371" y="856"/>
                      </a:lnTo>
                      <a:lnTo>
                        <a:pt x="1371" y="856"/>
                      </a:lnTo>
                      <a:lnTo>
                        <a:pt x="1373" y="856"/>
                      </a:lnTo>
                      <a:lnTo>
                        <a:pt x="1375" y="856"/>
                      </a:lnTo>
                      <a:lnTo>
                        <a:pt x="1376" y="855"/>
                      </a:lnTo>
                      <a:lnTo>
                        <a:pt x="1378" y="855"/>
                      </a:lnTo>
                      <a:lnTo>
                        <a:pt x="1389" y="851"/>
                      </a:lnTo>
                      <a:lnTo>
                        <a:pt x="1390" y="851"/>
                      </a:lnTo>
                      <a:lnTo>
                        <a:pt x="1392" y="851"/>
                      </a:lnTo>
                      <a:lnTo>
                        <a:pt x="1394" y="851"/>
                      </a:lnTo>
                      <a:lnTo>
                        <a:pt x="1396" y="851"/>
                      </a:lnTo>
                      <a:lnTo>
                        <a:pt x="1396" y="849"/>
                      </a:lnTo>
                      <a:lnTo>
                        <a:pt x="1396" y="848"/>
                      </a:lnTo>
                      <a:lnTo>
                        <a:pt x="1397" y="846"/>
                      </a:lnTo>
                      <a:lnTo>
                        <a:pt x="1399" y="844"/>
                      </a:lnTo>
                      <a:lnTo>
                        <a:pt x="1402" y="844"/>
                      </a:lnTo>
                      <a:lnTo>
                        <a:pt x="1409" y="848"/>
                      </a:lnTo>
                      <a:lnTo>
                        <a:pt x="1413" y="848"/>
                      </a:lnTo>
                      <a:lnTo>
                        <a:pt x="1416" y="848"/>
                      </a:lnTo>
                      <a:lnTo>
                        <a:pt x="1418" y="846"/>
                      </a:lnTo>
                      <a:lnTo>
                        <a:pt x="1418" y="842"/>
                      </a:lnTo>
                      <a:lnTo>
                        <a:pt x="1416" y="839"/>
                      </a:lnTo>
                      <a:lnTo>
                        <a:pt x="1413" y="835"/>
                      </a:lnTo>
                      <a:lnTo>
                        <a:pt x="1413" y="835"/>
                      </a:lnTo>
                      <a:lnTo>
                        <a:pt x="1413" y="835"/>
                      </a:lnTo>
                      <a:lnTo>
                        <a:pt x="1416" y="834"/>
                      </a:lnTo>
                      <a:lnTo>
                        <a:pt x="1418" y="834"/>
                      </a:lnTo>
                      <a:lnTo>
                        <a:pt x="1420" y="834"/>
                      </a:lnTo>
                      <a:lnTo>
                        <a:pt x="1420" y="835"/>
                      </a:lnTo>
                      <a:lnTo>
                        <a:pt x="1422" y="839"/>
                      </a:lnTo>
                      <a:lnTo>
                        <a:pt x="1423" y="841"/>
                      </a:lnTo>
                      <a:lnTo>
                        <a:pt x="1425" y="841"/>
                      </a:lnTo>
                      <a:lnTo>
                        <a:pt x="1427" y="841"/>
                      </a:lnTo>
                      <a:lnTo>
                        <a:pt x="1429" y="841"/>
                      </a:lnTo>
                      <a:lnTo>
                        <a:pt x="1430" y="842"/>
                      </a:lnTo>
                      <a:lnTo>
                        <a:pt x="1430" y="846"/>
                      </a:lnTo>
                      <a:lnTo>
                        <a:pt x="1430" y="848"/>
                      </a:lnTo>
                      <a:lnTo>
                        <a:pt x="1432" y="849"/>
                      </a:lnTo>
                      <a:lnTo>
                        <a:pt x="1434" y="848"/>
                      </a:lnTo>
                      <a:lnTo>
                        <a:pt x="1434" y="844"/>
                      </a:lnTo>
                      <a:lnTo>
                        <a:pt x="1436" y="842"/>
                      </a:lnTo>
                      <a:lnTo>
                        <a:pt x="1436" y="842"/>
                      </a:lnTo>
                      <a:lnTo>
                        <a:pt x="1441" y="842"/>
                      </a:lnTo>
                      <a:lnTo>
                        <a:pt x="1441" y="842"/>
                      </a:lnTo>
                      <a:lnTo>
                        <a:pt x="1443" y="842"/>
                      </a:lnTo>
                      <a:lnTo>
                        <a:pt x="1444" y="842"/>
                      </a:lnTo>
                      <a:lnTo>
                        <a:pt x="1446" y="842"/>
                      </a:lnTo>
                      <a:lnTo>
                        <a:pt x="1448" y="842"/>
                      </a:lnTo>
                      <a:lnTo>
                        <a:pt x="1448" y="844"/>
                      </a:lnTo>
                      <a:lnTo>
                        <a:pt x="1446" y="848"/>
                      </a:lnTo>
                      <a:lnTo>
                        <a:pt x="1444" y="849"/>
                      </a:lnTo>
                      <a:lnTo>
                        <a:pt x="1444" y="849"/>
                      </a:lnTo>
                      <a:lnTo>
                        <a:pt x="1444" y="851"/>
                      </a:lnTo>
                      <a:lnTo>
                        <a:pt x="1446" y="851"/>
                      </a:lnTo>
                      <a:lnTo>
                        <a:pt x="1446" y="851"/>
                      </a:lnTo>
                      <a:lnTo>
                        <a:pt x="1448" y="855"/>
                      </a:lnTo>
                      <a:lnTo>
                        <a:pt x="1457" y="862"/>
                      </a:lnTo>
                      <a:lnTo>
                        <a:pt x="1457" y="862"/>
                      </a:lnTo>
                      <a:lnTo>
                        <a:pt x="1460" y="863"/>
                      </a:lnTo>
                      <a:lnTo>
                        <a:pt x="1462" y="865"/>
                      </a:lnTo>
                      <a:lnTo>
                        <a:pt x="1462" y="867"/>
                      </a:lnTo>
                      <a:lnTo>
                        <a:pt x="1462" y="869"/>
                      </a:lnTo>
                      <a:lnTo>
                        <a:pt x="1464" y="870"/>
                      </a:lnTo>
                      <a:lnTo>
                        <a:pt x="1465" y="872"/>
                      </a:lnTo>
                      <a:lnTo>
                        <a:pt x="1467" y="872"/>
                      </a:lnTo>
                      <a:lnTo>
                        <a:pt x="1469" y="870"/>
                      </a:lnTo>
                      <a:lnTo>
                        <a:pt x="1472" y="870"/>
                      </a:lnTo>
                      <a:lnTo>
                        <a:pt x="1471" y="874"/>
                      </a:lnTo>
                      <a:lnTo>
                        <a:pt x="1471" y="876"/>
                      </a:lnTo>
                      <a:lnTo>
                        <a:pt x="1472" y="876"/>
                      </a:lnTo>
                      <a:lnTo>
                        <a:pt x="1476" y="876"/>
                      </a:lnTo>
                      <a:lnTo>
                        <a:pt x="1479" y="877"/>
                      </a:lnTo>
                      <a:lnTo>
                        <a:pt x="1486" y="881"/>
                      </a:lnTo>
                      <a:lnTo>
                        <a:pt x="1488" y="881"/>
                      </a:lnTo>
                      <a:lnTo>
                        <a:pt x="1486" y="884"/>
                      </a:lnTo>
                      <a:lnTo>
                        <a:pt x="1483" y="886"/>
                      </a:lnTo>
                      <a:lnTo>
                        <a:pt x="1479" y="886"/>
                      </a:lnTo>
                      <a:lnTo>
                        <a:pt x="1476" y="888"/>
                      </a:lnTo>
                      <a:lnTo>
                        <a:pt x="1479" y="890"/>
                      </a:lnTo>
                      <a:lnTo>
                        <a:pt x="1483" y="895"/>
                      </a:lnTo>
                      <a:lnTo>
                        <a:pt x="1486" y="897"/>
                      </a:lnTo>
                      <a:lnTo>
                        <a:pt x="1490" y="898"/>
                      </a:lnTo>
                      <a:lnTo>
                        <a:pt x="1492" y="898"/>
                      </a:lnTo>
                      <a:lnTo>
                        <a:pt x="1499" y="897"/>
                      </a:lnTo>
                      <a:lnTo>
                        <a:pt x="1497" y="900"/>
                      </a:lnTo>
                      <a:lnTo>
                        <a:pt x="1495" y="900"/>
                      </a:lnTo>
                      <a:lnTo>
                        <a:pt x="1495" y="902"/>
                      </a:lnTo>
                      <a:lnTo>
                        <a:pt x="1507" y="907"/>
                      </a:lnTo>
                      <a:lnTo>
                        <a:pt x="1513" y="909"/>
                      </a:lnTo>
                      <a:lnTo>
                        <a:pt x="1516" y="909"/>
                      </a:lnTo>
                      <a:lnTo>
                        <a:pt x="1521" y="909"/>
                      </a:lnTo>
                      <a:lnTo>
                        <a:pt x="1525" y="909"/>
                      </a:lnTo>
                      <a:lnTo>
                        <a:pt x="1528" y="911"/>
                      </a:lnTo>
                      <a:lnTo>
                        <a:pt x="1532" y="914"/>
                      </a:lnTo>
                      <a:lnTo>
                        <a:pt x="1533" y="918"/>
                      </a:lnTo>
                      <a:lnTo>
                        <a:pt x="1537" y="919"/>
                      </a:lnTo>
                      <a:lnTo>
                        <a:pt x="1540" y="923"/>
                      </a:lnTo>
                      <a:lnTo>
                        <a:pt x="1549" y="925"/>
                      </a:lnTo>
                      <a:lnTo>
                        <a:pt x="1553" y="926"/>
                      </a:lnTo>
                      <a:lnTo>
                        <a:pt x="1572" y="930"/>
                      </a:lnTo>
                      <a:lnTo>
                        <a:pt x="1596" y="939"/>
                      </a:lnTo>
                      <a:lnTo>
                        <a:pt x="1598" y="939"/>
                      </a:lnTo>
                      <a:lnTo>
                        <a:pt x="1600" y="939"/>
                      </a:lnTo>
                      <a:lnTo>
                        <a:pt x="1602" y="937"/>
                      </a:lnTo>
                      <a:lnTo>
                        <a:pt x="1602" y="935"/>
                      </a:lnTo>
                      <a:lnTo>
                        <a:pt x="1602" y="935"/>
                      </a:lnTo>
                      <a:lnTo>
                        <a:pt x="1602" y="933"/>
                      </a:lnTo>
                      <a:lnTo>
                        <a:pt x="1602" y="932"/>
                      </a:lnTo>
                      <a:lnTo>
                        <a:pt x="1602" y="930"/>
                      </a:lnTo>
                      <a:lnTo>
                        <a:pt x="1603" y="930"/>
                      </a:lnTo>
                      <a:lnTo>
                        <a:pt x="1603" y="928"/>
                      </a:lnTo>
                      <a:lnTo>
                        <a:pt x="1603" y="926"/>
                      </a:lnTo>
                      <a:lnTo>
                        <a:pt x="1603" y="926"/>
                      </a:lnTo>
                      <a:lnTo>
                        <a:pt x="1598" y="925"/>
                      </a:lnTo>
                      <a:lnTo>
                        <a:pt x="1596" y="923"/>
                      </a:lnTo>
                      <a:lnTo>
                        <a:pt x="1595" y="921"/>
                      </a:lnTo>
                      <a:lnTo>
                        <a:pt x="1593" y="918"/>
                      </a:lnTo>
                      <a:lnTo>
                        <a:pt x="1591" y="916"/>
                      </a:lnTo>
                      <a:lnTo>
                        <a:pt x="1589" y="914"/>
                      </a:lnTo>
                      <a:lnTo>
                        <a:pt x="1584" y="912"/>
                      </a:lnTo>
                      <a:lnTo>
                        <a:pt x="1582" y="912"/>
                      </a:lnTo>
                      <a:lnTo>
                        <a:pt x="1572" y="904"/>
                      </a:lnTo>
                      <a:lnTo>
                        <a:pt x="1567" y="902"/>
                      </a:lnTo>
                      <a:lnTo>
                        <a:pt x="1567" y="898"/>
                      </a:lnTo>
                      <a:lnTo>
                        <a:pt x="1565" y="897"/>
                      </a:lnTo>
                      <a:lnTo>
                        <a:pt x="1560" y="897"/>
                      </a:lnTo>
                      <a:lnTo>
                        <a:pt x="1556" y="895"/>
                      </a:lnTo>
                      <a:lnTo>
                        <a:pt x="1544" y="881"/>
                      </a:lnTo>
                      <a:lnTo>
                        <a:pt x="1542" y="877"/>
                      </a:lnTo>
                      <a:lnTo>
                        <a:pt x="1544" y="876"/>
                      </a:lnTo>
                      <a:lnTo>
                        <a:pt x="1547" y="876"/>
                      </a:lnTo>
                      <a:lnTo>
                        <a:pt x="1553" y="877"/>
                      </a:lnTo>
                      <a:lnTo>
                        <a:pt x="1556" y="879"/>
                      </a:lnTo>
                      <a:lnTo>
                        <a:pt x="1563" y="884"/>
                      </a:lnTo>
                      <a:lnTo>
                        <a:pt x="1567" y="886"/>
                      </a:lnTo>
                      <a:lnTo>
                        <a:pt x="1567" y="884"/>
                      </a:lnTo>
                      <a:lnTo>
                        <a:pt x="1565" y="881"/>
                      </a:lnTo>
                      <a:lnTo>
                        <a:pt x="1563" y="876"/>
                      </a:lnTo>
                      <a:lnTo>
                        <a:pt x="1565" y="877"/>
                      </a:lnTo>
                      <a:lnTo>
                        <a:pt x="1575" y="888"/>
                      </a:lnTo>
                      <a:lnTo>
                        <a:pt x="1577" y="890"/>
                      </a:lnTo>
                      <a:lnTo>
                        <a:pt x="1579" y="890"/>
                      </a:lnTo>
                      <a:lnTo>
                        <a:pt x="1581" y="890"/>
                      </a:lnTo>
                      <a:lnTo>
                        <a:pt x="1582" y="891"/>
                      </a:lnTo>
                      <a:lnTo>
                        <a:pt x="1584" y="891"/>
                      </a:lnTo>
                      <a:lnTo>
                        <a:pt x="1588" y="897"/>
                      </a:lnTo>
                      <a:lnTo>
                        <a:pt x="1588" y="898"/>
                      </a:lnTo>
                      <a:lnTo>
                        <a:pt x="1589" y="898"/>
                      </a:lnTo>
                      <a:lnTo>
                        <a:pt x="1591" y="897"/>
                      </a:lnTo>
                      <a:lnTo>
                        <a:pt x="1589" y="893"/>
                      </a:lnTo>
                      <a:lnTo>
                        <a:pt x="1591" y="895"/>
                      </a:lnTo>
                      <a:lnTo>
                        <a:pt x="1593" y="897"/>
                      </a:lnTo>
                      <a:lnTo>
                        <a:pt x="1595" y="898"/>
                      </a:lnTo>
                      <a:lnTo>
                        <a:pt x="1596" y="900"/>
                      </a:lnTo>
                      <a:lnTo>
                        <a:pt x="1598" y="902"/>
                      </a:lnTo>
                      <a:lnTo>
                        <a:pt x="1600" y="902"/>
                      </a:lnTo>
                      <a:lnTo>
                        <a:pt x="1600" y="900"/>
                      </a:lnTo>
                      <a:lnTo>
                        <a:pt x="1598" y="898"/>
                      </a:lnTo>
                      <a:lnTo>
                        <a:pt x="1602" y="900"/>
                      </a:lnTo>
                      <a:lnTo>
                        <a:pt x="1605" y="904"/>
                      </a:lnTo>
                      <a:lnTo>
                        <a:pt x="1607" y="905"/>
                      </a:lnTo>
                      <a:lnTo>
                        <a:pt x="1609" y="905"/>
                      </a:lnTo>
                      <a:lnTo>
                        <a:pt x="1609" y="904"/>
                      </a:lnTo>
                      <a:lnTo>
                        <a:pt x="1609" y="904"/>
                      </a:lnTo>
                      <a:lnTo>
                        <a:pt x="1610" y="904"/>
                      </a:lnTo>
                      <a:lnTo>
                        <a:pt x="1612" y="905"/>
                      </a:lnTo>
                      <a:lnTo>
                        <a:pt x="1616" y="907"/>
                      </a:lnTo>
                      <a:lnTo>
                        <a:pt x="1619" y="912"/>
                      </a:lnTo>
                      <a:lnTo>
                        <a:pt x="1623" y="914"/>
                      </a:lnTo>
                      <a:lnTo>
                        <a:pt x="1624" y="914"/>
                      </a:lnTo>
                      <a:lnTo>
                        <a:pt x="1624" y="911"/>
                      </a:lnTo>
                      <a:lnTo>
                        <a:pt x="1623" y="905"/>
                      </a:lnTo>
                      <a:lnTo>
                        <a:pt x="1623" y="904"/>
                      </a:lnTo>
                      <a:lnTo>
                        <a:pt x="1624" y="904"/>
                      </a:lnTo>
                      <a:lnTo>
                        <a:pt x="1628" y="905"/>
                      </a:lnTo>
                      <a:lnTo>
                        <a:pt x="1630" y="905"/>
                      </a:lnTo>
                      <a:lnTo>
                        <a:pt x="1631" y="904"/>
                      </a:lnTo>
                      <a:lnTo>
                        <a:pt x="1631" y="902"/>
                      </a:lnTo>
                      <a:lnTo>
                        <a:pt x="1626" y="897"/>
                      </a:lnTo>
                      <a:lnTo>
                        <a:pt x="1624" y="895"/>
                      </a:lnTo>
                      <a:lnTo>
                        <a:pt x="1624" y="891"/>
                      </a:lnTo>
                      <a:lnTo>
                        <a:pt x="1624" y="888"/>
                      </a:lnTo>
                      <a:lnTo>
                        <a:pt x="1624" y="886"/>
                      </a:lnTo>
                      <a:lnTo>
                        <a:pt x="1624" y="883"/>
                      </a:lnTo>
                      <a:lnTo>
                        <a:pt x="1623" y="881"/>
                      </a:lnTo>
                      <a:lnTo>
                        <a:pt x="1623" y="877"/>
                      </a:lnTo>
                      <a:lnTo>
                        <a:pt x="1621" y="874"/>
                      </a:lnTo>
                      <a:lnTo>
                        <a:pt x="1624" y="879"/>
                      </a:lnTo>
                      <a:lnTo>
                        <a:pt x="1626" y="881"/>
                      </a:lnTo>
                      <a:lnTo>
                        <a:pt x="1628" y="883"/>
                      </a:lnTo>
                      <a:lnTo>
                        <a:pt x="1630" y="888"/>
                      </a:lnTo>
                      <a:lnTo>
                        <a:pt x="1631" y="891"/>
                      </a:lnTo>
                      <a:lnTo>
                        <a:pt x="1633" y="893"/>
                      </a:lnTo>
                      <a:lnTo>
                        <a:pt x="1636" y="891"/>
                      </a:lnTo>
                      <a:lnTo>
                        <a:pt x="1635" y="879"/>
                      </a:lnTo>
                      <a:lnTo>
                        <a:pt x="1638" y="877"/>
                      </a:lnTo>
                      <a:lnTo>
                        <a:pt x="1635" y="870"/>
                      </a:lnTo>
                      <a:lnTo>
                        <a:pt x="1633" y="869"/>
                      </a:lnTo>
                      <a:lnTo>
                        <a:pt x="1630" y="869"/>
                      </a:lnTo>
                      <a:lnTo>
                        <a:pt x="1631" y="867"/>
                      </a:lnTo>
                      <a:lnTo>
                        <a:pt x="1631" y="867"/>
                      </a:lnTo>
                      <a:lnTo>
                        <a:pt x="1631" y="865"/>
                      </a:lnTo>
                      <a:lnTo>
                        <a:pt x="1630" y="865"/>
                      </a:lnTo>
                      <a:lnTo>
                        <a:pt x="1628" y="863"/>
                      </a:lnTo>
                      <a:lnTo>
                        <a:pt x="1626" y="865"/>
                      </a:lnTo>
                      <a:lnTo>
                        <a:pt x="1624" y="865"/>
                      </a:lnTo>
                      <a:lnTo>
                        <a:pt x="1621" y="863"/>
                      </a:lnTo>
                      <a:lnTo>
                        <a:pt x="1621" y="862"/>
                      </a:lnTo>
                      <a:lnTo>
                        <a:pt x="1619" y="858"/>
                      </a:lnTo>
                      <a:lnTo>
                        <a:pt x="1612" y="853"/>
                      </a:lnTo>
                      <a:lnTo>
                        <a:pt x="1619" y="853"/>
                      </a:lnTo>
                      <a:lnTo>
                        <a:pt x="1623" y="853"/>
                      </a:lnTo>
                      <a:lnTo>
                        <a:pt x="1623" y="849"/>
                      </a:lnTo>
                      <a:lnTo>
                        <a:pt x="1623" y="846"/>
                      </a:lnTo>
                      <a:lnTo>
                        <a:pt x="1621" y="846"/>
                      </a:lnTo>
                      <a:lnTo>
                        <a:pt x="1617" y="846"/>
                      </a:lnTo>
                      <a:lnTo>
                        <a:pt x="1614" y="846"/>
                      </a:lnTo>
                      <a:lnTo>
                        <a:pt x="1616" y="844"/>
                      </a:lnTo>
                      <a:lnTo>
                        <a:pt x="1619" y="842"/>
                      </a:lnTo>
                      <a:lnTo>
                        <a:pt x="1619" y="841"/>
                      </a:lnTo>
                      <a:lnTo>
                        <a:pt x="1619" y="839"/>
                      </a:lnTo>
                      <a:lnTo>
                        <a:pt x="1617" y="837"/>
                      </a:lnTo>
                      <a:lnTo>
                        <a:pt x="1614" y="837"/>
                      </a:lnTo>
                      <a:lnTo>
                        <a:pt x="1614" y="837"/>
                      </a:lnTo>
                      <a:lnTo>
                        <a:pt x="1612" y="835"/>
                      </a:lnTo>
                      <a:lnTo>
                        <a:pt x="1610" y="834"/>
                      </a:lnTo>
                      <a:lnTo>
                        <a:pt x="1610" y="832"/>
                      </a:lnTo>
                      <a:lnTo>
                        <a:pt x="1609" y="832"/>
                      </a:lnTo>
                      <a:lnTo>
                        <a:pt x="1605" y="832"/>
                      </a:lnTo>
                      <a:lnTo>
                        <a:pt x="1603" y="832"/>
                      </a:lnTo>
                      <a:lnTo>
                        <a:pt x="1602" y="834"/>
                      </a:lnTo>
                      <a:lnTo>
                        <a:pt x="1600" y="837"/>
                      </a:lnTo>
                      <a:lnTo>
                        <a:pt x="1598" y="837"/>
                      </a:lnTo>
                      <a:lnTo>
                        <a:pt x="1598" y="835"/>
                      </a:lnTo>
                      <a:lnTo>
                        <a:pt x="1598" y="835"/>
                      </a:lnTo>
                      <a:lnTo>
                        <a:pt x="1598" y="834"/>
                      </a:lnTo>
                      <a:lnTo>
                        <a:pt x="1600" y="834"/>
                      </a:lnTo>
                      <a:lnTo>
                        <a:pt x="1600" y="834"/>
                      </a:lnTo>
                      <a:lnTo>
                        <a:pt x="1598" y="832"/>
                      </a:lnTo>
                      <a:lnTo>
                        <a:pt x="1598" y="832"/>
                      </a:lnTo>
                      <a:lnTo>
                        <a:pt x="1598" y="830"/>
                      </a:lnTo>
                      <a:lnTo>
                        <a:pt x="1596" y="830"/>
                      </a:lnTo>
                      <a:lnTo>
                        <a:pt x="1596" y="828"/>
                      </a:lnTo>
                      <a:lnTo>
                        <a:pt x="1595" y="828"/>
                      </a:lnTo>
                      <a:lnTo>
                        <a:pt x="1593" y="827"/>
                      </a:lnTo>
                      <a:lnTo>
                        <a:pt x="1591" y="827"/>
                      </a:lnTo>
                      <a:lnTo>
                        <a:pt x="1589" y="827"/>
                      </a:lnTo>
                      <a:lnTo>
                        <a:pt x="1589" y="828"/>
                      </a:lnTo>
                      <a:lnTo>
                        <a:pt x="1589" y="834"/>
                      </a:lnTo>
                      <a:lnTo>
                        <a:pt x="1588" y="832"/>
                      </a:lnTo>
                      <a:lnTo>
                        <a:pt x="1588" y="827"/>
                      </a:lnTo>
                      <a:lnTo>
                        <a:pt x="1586" y="823"/>
                      </a:lnTo>
                      <a:lnTo>
                        <a:pt x="1586" y="821"/>
                      </a:lnTo>
                      <a:lnTo>
                        <a:pt x="1584" y="821"/>
                      </a:lnTo>
                      <a:lnTo>
                        <a:pt x="1584" y="821"/>
                      </a:lnTo>
                      <a:lnTo>
                        <a:pt x="1584" y="823"/>
                      </a:lnTo>
                      <a:lnTo>
                        <a:pt x="1584" y="821"/>
                      </a:lnTo>
                      <a:lnTo>
                        <a:pt x="1581" y="816"/>
                      </a:lnTo>
                      <a:lnTo>
                        <a:pt x="1579" y="813"/>
                      </a:lnTo>
                      <a:lnTo>
                        <a:pt x="1575" y="811"/>
                      </a:lnTo>
                      <a:lnTo>
                        <a:pt x="1579" y="807"/>
                      </a:lnTo>
                      <a:lnTo>
                        <a:pt x="1581" y="806"/>
                      </a:lnTo>
                      <a:lnTo>
                        <a:pt x="1577" y="804"/>
                      </a:lnTo>
                      <a:lnTo>
                        <a:pt x="1575" y="800"/>
                      </a:lnTo>
                      <a:lnTo>
                        <a:pt x="1572" y="799"/>
                      </a:lnTo>
                      <a:lnTo>
                        <a:pt x="1568" y="797"/>
                      </a:lnTo>
                      <a:lnTo>
                        <a:pt x="1567" y="799"/>
                      </a:lnTo>
                      <a:lnTo>
                        <a:pt x="1565" y="800"/>
                      </a:lnTo>
                      <a:lnTo>
                        <a:pt x="1563" y="800"/>
                      </a:lnTo>
                      <a:lnTo>
                        <a:pt x="1561" y="800"/>
                      </a:lnTo>
                      <a:lnTo>
                        <a:pt x="1561" y="799"/>
                      </a:lnTo>
                      <a:lnTo>
                        <a:pt x="1563" y="797"/>
                      </a:lnTo>
                      <a:lnTo>
                        <a:pt x="1563" y="794"/>
                      </a:lnTo>
                      <a:lnTo>
                        <a:pt x="1563" y="792"/>
                      </a:lnTo>
                      <a:lnTo>
                        <a:pt x="1563" y="790"/>
                      </a:lnTo>
                      <a:lnTo>
                        <a:pt x="1561" y="790"/>
                      </a:lnTo>
                      <a:lnTo>
                        <a:pt x="1560" y="790"/>
                      </a:lnTo>
                      <a:lnTo>
                        <a:pt x="1558" y="788"/>
                      </a:lnTo>
                      <a:lnTo>
                        <a:pt x="1556" y="787"/>
                      </a:lnTo>
                      <a:lnTo>
                        <a:pt x="1556" y="785"/>
                      </a:lnTo>
                      <a:lnTo>
                        <a:pt x="1556" y="780"/>
                      </a:lnTo>
                      <a:lnTo>
                        <a:pt x="1554" y="776"/>
                      </a:lnTo>
                      <a:lnTo>
                        <a:pt x="1553" y="774"/>
                      </a:lnTo>
                      <a:lnTo>
                        <a:pt x="1549" y="773"/>
                      </a:lnTo>
                      <a:lnTo>
                        <a:pt x="1546" y="771"/>
                      </a:lnTo>
                      <a:lnTo>
                        <a:pt x="1549" y="769"/>
                      </a:lnTo>
                      <a:lnTo>
                        <a:pt x="1553" y="771"/>
                      </a:lnTo>
                      <a:lnTo>
                        <a:pt x="1556" y="773"/>
                      </a:lnTo>
                      <a:lnTo>
                        <a:pt x="1561" y="780"/>
                      </a:lnTo>
                      <a:lnTo>
                        <a:pt x="1565" y="783"/>
                      </a:lnTo>
                      <a:lnTo>
                        <a:pt x="1570" y="785"/>
                      </a:lnTo>
                      <a:lnTo>
                        <a:pt x="1574" y="785"/>
                      </a:lnTo>
                      <a:lnTo>
                        <a:pt x="1577" y="781"/>
                      </a:lnTo>
                      <a:lnTo>
                        <a:pt x="1577" y="778"/>
                      </a:lnTo>
                      <a:lnTo>
                        <a:pt x="1575" y="774"/>
                      </a:lnTo>
                      <a:lnTo>
                        <a:pt x="1568" y="769"/>
                      </a:lnTo>
                      <a:lnTo>
                        <a:pt x="1567" y="766"/>
                      </a:lnTo>
                      <a:lnTo>
                        <a:pt x="1565" y="762"/>
                      </a:lnTo>
                      <a:lnTo>
                        <a:pt x="1563" y="759"/>
                      </a:lnTo>
                      <a:lnTo>
                        <a:pt x="1574" y="766"/>
                      </a:lnTo>
                      <a:lnTo>
                        <a:pt x="1575" y="766"/>
                      </a:lnTo>
                      <a:lnTo>
                        <a:pt x="1579" y="766"/>
                      </a:lnTo>
                      <a:lnTo>
                        <a:pt x="1579" y="762"/>
                      </a:lnTo>
                      <a:lnTo>
                        <a:pt x="1577" y="759"/>
                      </a:lnTo>
                      <a:lnTo>
                        <a:pt x="1575" y="755"/>
                      </a:lnTo>
                      <a:lnTo>
                        <a:pt x="1579" y="757"/>
                      </a:lnTo>
                      <a:lnTo>
                        <a:pt x="1581" y="757"/>
                      </a:lnTo>
                      <a:lnTo>
                        <a:pt x="1582" y="755"/>
                      </a:lnTo>
                      <a:lnTo>
                        <a:pt x="1582" y="753"/>
                      </a:lnTo>
                      <a:lnTo>
                        <a:pt x="1586" y="755"/>
                      </a:lnTo>
                      <a:lnTo>
                        <a:pt x="1589" y="759"/>
                      </a:lnTo>
                      <a:lnTo>
                        <a:pt x="1591" y="764"/>
                      </a:lnTo>
                      <a:lnTo>
                        <a:pt x="1595" y="767"/>
                      </a:lnTo>
                      <a:lnTo>
                        <a:pt x="1598" y="771"/>
                      </a:lnTo>
                      <a:lnTo>
                        <a:pt x="1602" y="773"/>
                      </a:lnTo>
                      <a:lnTo>
                        <a:pt x="1607" y="774"/>
                      </a:lnTo>
                      <a:lnTo>
                        <a:pt x="1610" y="771"/>
                      </a:lnTo>
                      <a:lnTo>
                        <a:pt x="1610" y="771"/>
                      </a:lnTo>
                      <a:lnTo>
                        <a:pt x="1607" y="776"/>
                      </a:lnTo>
                      <a:lnTo>
                        <a:pt x="1607" y="778"/>
                      </a:lnTo>
                      <a:lnTo>
                        <a:pt x="1607" y="781"/>
                      </a:lnTo>
                      <a:lnTo>
                        <a:pt x="1610" y="781"/>
                      </a:lnTo>
                      <a:lnTo>
                        <a:pt x="1612" y="781"/>
                      </a:lnTo>
                      <a:lnTo>
                        <a:pt x="1616" y="781"/>
                      </a:lnTo>
                      <a:lnTo>
                        <a:pt x="1619" y="780"/>
                      </a:lnTo>
                      <a:lnTo>
                        <a:pt x="1621" y="780"/>
                      </a:lnTo>
                      <a:lnTo>
                        <a:pt x="1624" y="778"/>
                      </a:lnTo>
                      <a:lnTo>
                        <a:pt x="1626" y="776"/>
                      </a:lnTo>
                      <a:lnTo>
                        <a:pt x="1628" y="773"/>
                      </a:lnTo>
                      <a:lnTo>
                        <a:pt x="1631" y="767"/>
                      </a:lnTo>
                      <a:lnTo>
                        <a:pt x="1635" y="766"/>
                      </a:lnTo>
                      <a:lnTo>
                        <a:pt x="1636" y="766"/>
                      </a:lnTo>
                      <a:lnTo>
                        <a:pt x="1633" y="769"/>
                      </a:lnTo>
                      <a:lnTo>
                        <a:pt x="1630" y="776"/>
                      </a:lnTo>
                      <a:lnTo>
                        <a:pt x="1628" y="780"/>
                      </a:lnTo>
                      <a:lnTo>
                        <a:pt x="1621" y="785"/>
                      </a:lnTo>
                      <a:lnTo>
                        <a:pt x="1617" y="788"/>
                      </a:lnTo>
                      <a:lnTo>
                        <a:pt x="1617" y="794"/>
                      </a:lnTo>
                      <a:lnTo>
                        <a:pt x="1619" y="795"/>
                      </a:lnTo>
                      <a:lnTo>
                        <a:pt x="1626" y="809"/>
                      </a:lnTo>
                      <a:lnTo>
                        <a:pt x="1628" y="814"/>
                      </a:lnTo>
                      <a:lnTo>
                        <a:pt x="1631" y="818"/>
                      </a:lnTo>
                      <a:lnTo>
                        <a:pt x="1635" y="821"/>
                      </a:lnTo>
                      <a:lnTo>
                        <a:pt x="1636" y="814"/>
                      </a:lnTo>
                      <a:lnTo>
                        <a:pt x="1638" y="811"/>
                      </a:lnTo>
                      <a:lnTo>
                        <a:pt x="1640" y="807"/>
                      </a:lnTo>
                      <a:lnTo>
                        <a:pt x="1640" y="813"/>
                      </a:lnTo>
                      <a:lnTo>
                        <a:pt x="1640" y="816"/>
                      </a:lnTo>
                      <a:lnTo>
                        <a:pt x="1640" y="820"/>
                      </a:lnTo>
                      <a:lnTo>
                        <a:pt x="1643" y="823"/>
                      </a:lnTo>
                      <a:lnTo>
                        <a:pt x="1647" y="820"/>
                      </a:lnTo>
                      <a:lnTo>
                        <a:pt x="1649" y="821"/>
                      </a:lnTo>
                      <a:lnTo>
                        <a:pt x="1656" y="828"/>
                      </a:lnTo>
                      <a:lnTo>
                        <a:pt x="1657" y="825"/>
                      </a:lnTo>
                      <a:lnTo>
                        <a:pt x="1659" y="820"/>
                      </a:lnTo>
                      <a:lnTo>
                        <a:pt x="1659" y="816"/>
                      </a:lnTo>
                      <a:lnTo>
                        <a:pt x="1661" y="802"/>
                      </a:lnTo>
                      <a:lnTo>
                        <a:pt x="1661" y="800"/>
                      </a:lnTo>
                      <a:lnTo>
                        <a:pt x="1659" y="799"/>
                      </a:lnTo>
                      <a:lnTo>
                        <a:pt x="1657" y="799"/>
                      </a:lnTo>
                      <a:lnTo>
                        <a:pt x="1656" y="797"/>
                      </a:lnTo>
                      <a:lnTo>
                        <a:pt x="1654" y="795"/>
                      </a:lnTo>
                      <a:lnTo>
                        <a:pt x="1657" y="795"/>
                      </a:lnTo>
                      <a:lnTo>
                        <a:pt x="1659" y="794"/>
                      </a:lnTo>
                      <a:lnTo>
                        <a:pt x="1659" y="792"/>
                      </a:lnTo>
                      <a:lnTo>
                        <a:pt x="1657" y="788"/>
                      </a:lnTo>
                      <a:lnTo>
                        <a:pt x="1661" y="794"/>
                      </a:lnTo>
                      <a:lnTo>
                        <a:pt x="1663" y="795"/>
                      </a:lnTo>
                      <a:lnTo>
                        <a:pt x="1664" y="797"/>
                      </a:lnTo>
                      <a:lnTo>
                        <a:pt x="1668" y="797"/>
                      </a:lnTo>
                      <a:lnTo>
                        <a:pt x="1670" y="799"/>
                      </a:lnTo>
                      <a:lnTo>
                        <a:pt x="1673" y="799"/>
                      </a:lnTo>
                      <a:lnTo>
                        <a:pt x="1675" y="797"/>
                      </a:lnTo>
                      <a:lnTo>
                        <a:pt x="1682" y="788"/>
                      </a:lnTo>
                      <a:lnTo>
                        <a:pt x="1680" y="787"/>
                      </a:lnTo>
                      <a:lnTo>
                        <a:pt x="1680" y="783"/>
                      </a:lnTo>
                      <a:lnTo>
                        <a:pt x="1678" y="781"/>
                      </a:lnTo>
                      <a:lnTo>
                        <a:pt x="1677" y="780"/>
                      </a:lnTo>
                      <a:lnTo>
                        <a:pt x="1678" y="780"/>
                      </a:lnTo>
                      <a:lnTo>
                        <a:pt x="1685" y="780"/>
                      </a:lnTo>
                      <a:lnTo>
                        <a:pt x="1689" y="780"/>
                      </a:lnTo>
                      <a:lnTo>
                        <a:pt x="1687" y="776"/>
                      </a:lnTo>
                      <a:lnTo>
                        <a:pt x="1680" y="773"/>
                      </a:lnTo>
                      <a:lnTo>
                        <a:pt x="1678" y="771"/>
                      </a:lnTo>
                      <a:lnTo>
                        <a:pt x="1678" y="769"/>
                      </a:lnTo>
                      <a:lnTo>
                        <a:pt x="1678" y="767"/>
                      </a:lnTo>
                      <a:lnTo>
                        <a:pt x="1680" y="766"/>
                      </a:lnTo>
                      <a:lnTo>
                        <a:pt x="1677" y="762"/>
                      </a:lnTo>
                      <a:lnTo>
                        <a:pt x="1682" y="762"/>
                      </a:lnTo>
                      <a:lnTo>
                        <a:pt x="1685" y="764"/>
                      </a:lnTo>
                      <a:lnTo>
                        <a:pt x="1691" y="766"/>
                      </a:lnTo>
                      <a:lnTo>
                        <a:pt x="1696" y="766"/>
                      </a:lnTo>
                      <a:lnTo>
                        <a:pt x="1698" y="762"/>
                      </a:lnTo>
                      <a:lnTo>
                        <a:pt x="1696" y="759"/>
                      </a:lnTo>
                      <a:lnTo>
                        <a:pt x="1687" y="752"/>
                      </a:lnTo>
                      <a:lnTo>
                        <a:pt x="1691" y="752"/>
                      </a:lnTo>
                      <a:lnTo>
                        <a:pt x="1698" y="753"/>
                      </a:lnTo>
                      <a:close/>
                      <a:moveTo>
                        <a:pt x="1268" y="1215"/>
                      </a:moveTo>
                      <a:lnTo>
                        <a:pt x="1277" y="1216"/>
                      </a:lnTo>
                      <a:lnTo>
                        <a:pt x="1280" y="1218"/>
                      </a:lnTo>
                      <a:lnTo>
                        <a:pt x="1285" y="1218"/>
                      </a:lnTo>
                      <a:lnTo>
                        <a:pt x="1287" y="1218"/>
                      </a:lnTo>
                      <a:lnTo>
                        <a:pt x="1289" y="1216"/>
                      </a:lnTo>
                      <a:lnTo>
                        <a:pt x="1285" y="1208"/>
                      </a:lnTo>
                      <a:lnTo>
                        <a:pt x="1277" y="1204"/>
                      </a:lnTo>
                      <a:lnTo>
                        <a:pt x="1268" y="1206"/>
                      </a:lnTo>
                      <a:lnTo>
                        <a:pt x="1261" y="1209"/>
                      </a:lnTo>
                      <a:lnTo>
                        <a:pt x="1265" y="1213"/>
                      </a:lnTo>
                      <a:lnTo>
                        <a:pt x="1268" y="1215"/>
                      </a:lnTo>
                      <a:close/>
                      <a:moveTo>
                        <a:pt x="1226" y="928"/>
                      </a:moveTo>
                      <a:lnTo>
                        <a:pt x="1228" y="928"/>
                      </a:lnTo>
                      <a:lnTo>
                        <a:pt x="1230" y="928"/>
                      </a:lnTo>
                      <a:lnTo>
                        <a:pt x="1233" y="926"/>
                      </a:lnTo>
                      <a:lnTo>
                        <a:pt x="1235" y="926"/>
                      </a:lnTo>
                      <a:lnTo>
                        <a:pt x="1237" y="926"/>
                      </a:lnTo>
                      <a:lnTo>
                        <a:pt x="1238" y="928"/>
                      </a:lnTo>
                      <a:lnTo>
                        <a:pt x="1238" y="928"/>
                      </a:lnTo>
                      <a:lnTo>
                        <a:pt x="1240" y="928"/>
                      </a:lnTo>
                      <a:lnTo>
                        <a:pt x="1245" y="925"/>
                      </a:lnTo>
                      <a:lnTo>
                        <a:pt x="1254" y="919"/>
                      </a:lnTo>
                      <a:lnTo>
                        <a:pt x="1259" y="912"/>
                      </a:lnTo>
                      <a:lnTo>
                        <a:pt x="1263" y="907"/>
                      </a:lnTo>
                      <a:lnTo>
                        <a:pt x="1261" y="902"/>
                      </a:lnTo>
                      <a:lnTo>
                        <a:pt x="1254" y="902"/>
                      </a:lnTo>
                      <a:lnTo>
                        <a:pt x="1240" y="905"/>
                      </a:lnTo>
                      <a:lnTo>
                        <a:pt x="1237" y="905"/>
                      </a:lnTo>
                      <a:lnTo>
                        <a:pt x="1233" y="905"/>
                      </a:lnTo>
                      <a:lnTo>
                        <a:pt x="1231" y="905"/>
                      </a:lnTo>
                      <a:lnTo>
                        <a:pt x="1223" y="918"/>
                      </a:lnTo>
                      <a:lnTo>
                        <a:pt x="1221" y="921"/>
                      </a:lnTo>
                      <a:lnTo>
                        <a:pt x="1221" y="921"/>
                      </a:lnTo>
                      <a:lnTo>
                        <a:pt x="1224" y="925"/>
                      </a:lnTo>
                      <a:lnTo>
                        <a:pt x="1226" y="926"/>
                      </a:lnTo>
                      <a:lnTo>
                        <a:pt x="1226" y="928"/>
                      </a:lnTo>
                      <a:lnTo>
                        <a:pt x="1226" y="928"/>
                      </a:lnTo>
                      <a:close/>
                      <a:moveTo>
                        <a:pt x="1313" y="1106"/>
                      </a:moveTo>
                      <a:lnTo>
                        <a:pt x="1313" y="1110"/>
                      </a:lnTo>
                      <a:lnTo>
                        <a:pt x="1315" y="1110"/>
                      </a:lnTo>
                      <a:lnTo>
                        <a:pt x="1315" y="1108"/>
                      </a:lnTo>
                      <a:lnTo>
                        <a:pt x="1315" y="1108"/>
                      </a:lnTo>
                      <a:lnTo>
                        <a:pt x="1315" y="1106"/>
                      </a:lnTo>
                      <a:lnTo>
                        <a:pt x="1313" y="1106"/>
                      </a:lnTo>
                      <a:lnTo>
                        <a:pt x="1313" y="1106"/>
                      </a:lnTo>
                      <a:close/>
                      <a:moveTo>
                        <a:pt x="1308" y="1084"/>
                      </a:moveTo>
                      <a:lnTo>
                        <a:pt x="1308" y="1085"/>
                      </a:lnTo>
                      <a:lnTo>
                        <a:pt x="1310" y="1084"/>
                      </a:lnTo>
                      <a:lnTo>
                        <a:pt x="1310" y="1082"/>
                      </a:lnTo>
                      <a:lnTo>
                        <a:pt x="1310" y="1082"/>
                      </a:lnTo>
                      <a:lnTo>
                        <a:pt x="1308" y="1082"/>
                      </a:lnTo>
                      <a:lnTo>
                        <a:pt x="1308" y="1084"/>
                      </a:lnTo>
                      <a:close/>
                      <a:moveTo>
                        <a:pt x="1299" y="1015"/>
                      </a:moveTo>
                      <a:lnTo>
                        <a:pt x="1299" y="1014"/>
                      </a:lnTo>
                      <a:lnTo>
                        <a:pt x="1301" y="1014"/>
                      </a:lnTo>
                      <a:lnTo>
                        <a:pt x="1299" y="1012"/>
                      </a:lnTo>
                      <a:lnTo>
                        <a:pt x="1298" y="1014"/>
                      </a:lnTo>
                      <a:lnTo>
                        <a:pt x="1298" y="1014"/>
                      </a:lnTo>
                      <a:lnTo>
                        <a:pt x="1298" y="1015"/>
                      </a:lnTo>
                      <a:lnTo>
                        <a:pt x="1298" y="1015"/>
                      </a:lnTo>
                      <a:lnTo>
                        <a:pt x="1299" y="1015"/>
                      </a:lnTo>
                      <a:close/>
                      <a:moveTo>
                        <a:pt x="1306" y="946"/>
                      </a:moveTo>
                      <a:lnTo>
                        <a:pt x="1310" y="947"/>
                      </a:lnTo>
                      <a:lnTo>
                        <a:pt x="1312" y="946"/>
                      </a:lnTo>
                      <a:lnTo>
                        <a:pt x="1317" y="935"/>
                      </a:lnTo>
                      <a:lnTo>
                        <a:pt x="1319" y="930"/>
                      </a:lnTo>
                      <a:lnTo>
                        <a:pt x="1320" y="926"/>
                      </a:lnTo>
                      <a:lnTo>
                        <a:pt x="1315" y="921"/>
                      </a:lnTo>
                      <a:lnTo>
                        <a:pt x="1306" y="921"/>
                      </a:lnTo>
                      <a:lnTo>
                        <a:pt x="1299" y="928"/>
                      </a:lnTo>
                      <a:lnTo>
                        <a:pt x="1298" y="937"/>
                      </a:lnTo>
                      <a:lnTo>
                        <a:pt x="1303" y="942"/>
                      </a:lnTo>
                      <a:lnTo>
                        <a:pt x="1306" y="946"/>
                      </a:lnTo>
                      <a:close/>
                      <a:moveTo>
                        <a:pt x="1308" y="1118"/>
                      </a:moveTo>
                      <a:lnTo>
                        <a:pt x="1312" y="1117"/>
                      </a:lnTo>
                      <a:lnTo>
                        <a:pt x="1313" y="1113"/>
                      </a:lnTo>
                      <a:lnTo>
                        <a:pt x="1310" y="1115"/>
                      </a:lnTo>
                      <a:lnTo>
                        <a:pt x="1306" y="1117"/>
                      </a:lnTo>
                      <a:lnTo>
                        <a:pt x="1305" y="1118"/>
                      </a:lnTo>
                      <a:lnTo>
                        <a:pt x="1303" y="1120"/>
                      </a:lnTo>
                      <a:lnTo>
                        <a:pt x="1306" y="1120"/>
                      </a:lnTo>
                      <a:lnTo>
                        <a:pt x="1308" y="1118"/>
                      </a:lnTo>
                      <a:close/>
                      <a:moveTo>
                        <a:pt x="1305" y="1010"/>
                      </a:moveTo>
                      <a:lnTo>
                        <a:pt x="1305" y="1010"/>
                      </a:lnTo>
                      <a:lnTo>
                        <a:pt x="1306" y="1008"/>
                      </a:lnTo>
                      <a:lnTo>
                        <a:pt x="1305" y="1007"/>
                      </a:lnTo>
                      <a:lnTo>
                        <a:pt x="1303" y="1008"/>
                      </a:lnTo>
                      <a:lnTo>
                        <a:pt x="1301" y="1008"/>
                      </a:lnTo>
                      <a:lnTo>
                        <a:pt x="1301" y="1012"/>
                      </a:lnTo>
                      <a:lnTo>
                        <a:pt x="1303" y="1010"/>
                      </a:lnTo>
                      <a:lnTo>
                        <a:pt x="1305" y="1010"/>
                      </a:lnTo>
                      <a:close/>
                      <a:moveTo>
                        <a:pt x="1306" y="1106"/>
                      </a:moveTo>
                      <a:lnTo>
                        <a:pt x="1308" y="1105"/>
                      </a:lnTo>
                      <a:lnTo>
                        <a:pt x="1308" y="1103"/>
                      </a:lnTo>
                      <a:lnTo>
                        <a:pt x="1306" y="1105"/>
                      </a:lnTo>
                      <a:lnTo>
                        <a:pt x="1306" y="1106"/>
                      </a:lnTo>
                      <a:close/>
                      <a:moveTo>
                        <a:pt x="1315" y="647"/>
                      </a:moveTo>
                      <a:lnTo>
                        <a:pt x="1312" y="647"/>
                      </a:lnTo>
                      <a:lnTo>
                        <a:pt x="1306" y="648"/>
                      </a:lnTo>
                      <a:lnTo>
                        <a:pt x="1305" y="648"/>
                      </a:lnTo>
                      <a:lnTo>
                        <a:pt x="1303" y="648"/>
                      </a:lnTo>
                      <a:lnTo>
                        <a:pt x="1301" y="647"/>
                      </a:lnTo>
                      <a:lnTo>
                        <a:pt x="1299" y="647"/>
                      </a:lnTo>
                      <a:lnTo>
                        <a:pt x="1298" y="648"/>
                      </a:lnTo>
                      <a:lnTo>
                        <a:pt x="1294" y="648"/>
                      </a:lnTo>
                      <a:lnTo>
                        <a:pt x="1291" y="648"/>
                      </a:lnTo>
                      <a:lnTo>
                        <a:pt x="1289" y="648"/>
                      </a:lnTo>
                      <a:lnTo>
                        <a:pt x="1287" y="650"/>
                      </a:lnTo>
                      <a:lnTo>
                        <a:pt x="1291" y="650"/>
                      </a:lnTo>
                      <a:lnTo>
                        <a:pt x="1296" y="652"/>
                      </a:lnTo>
                      <a:lnTo>
                        <a:pt x="1299" y="652"/>
                      </a:lnTo>
                      <a:lnTo>
                        <a:pt x="1301" y="654"/>
                      </a:lnTo>
                      <a:lnTo>
                        <a:pt x="1305" y="654"/>
                      </a:lnTo>
                      <a:lnTo>
                        <a:pt x="1305" y="654"/>
                      </a:lnTo>
                      <a:lnTo>
                        <a:pt x="1303" y="652"/>
                      </a:lnTo>
                      <a:lnTo>
                        <a:pt x="1306" y="652"/>
                      </a:lnTo>
                      <a:lnTo>
                        <a:pt x="1312" y="652"/>
                      </a:lnTo>
                      <a:lnTo>
                        <a:pt x="1315" y="652"/>
                      </a:lnTo>
                      <a:lnTo>
                        <a:pt x="1319" y="650"/>
                      </a:lnTo>
                      <a:lnTo>
                        <a:pt x="1317" y="647"/>
                      </a:lnTo>
                      <a:lnTo>
                        <a:pt x="1315" y="647"/>
                      </a:lnTo>
                      <a:close/>
                      <a:moveTo>
                        <a:pt x="1296" y="877"/>
                      </a:moveTo>
                      <a:lnTo>
                        <a:pt x="1299" y="874"/>
                      </a:lnTo>
                      <a:lnTo>
                        <a:pt x="1296" y="872"/>
                      </a:lnTo>
                      <a:lnTo>
                        <a:pt x="1294" y="870"/>
                      </a:lnTo>
                      <a:lnTo>
                        <a:pt x="1291" y="869"/>
                      </a:lnTo>
                      <a:lnTo>
                        <a:pt x="1292" y="869"/>
                      </a:lnTo>
                      <a:lnTo>
                        <a:pt x="1292" y="867"/>
                      </a:lnTo>
                      <a:lnTo>
                        <a:pt x="1291" y="865"/>
                      </a:lnTo>
                      <a:lnTo>
                        <a:pt x="1289" y="863"/>
                      </a:lnTo>
                      <a:lnTo>
                        <a:pt x="1285" y="863"/>
                      </a:lnTo>
                      <a:lnTo>
                        <a:pt x="1284" y="863"/>
                      </a:lnTo>
                      <a:lnTo>
                        <a:pt x="1284" y="863"/>
                      </a:lnTo>
                      <a:lnTo>
                        <a:pt x="1280" y="865"/>
                      </a:lnTo>
                      <a:lnTo>
                        <a:pt x="1277" y="863"/>
                      </a:lnTo>
                      <a:lnTo>
                        <a:pt x="1268" y="865"/>
                      </a:lnTo>
                      <a:lnTo>
                        <a:pt x="1265" y="865"/>
                      </a:lnTo>
                      <a:lnTo>
                        <a:pt x="1268" y="860"/>
                      </a:lnTo>
                      <a:lnTo>
                        <a:pt x="1268" y="856"/>
                      </a:lnTo>
                      <a:lnTo>
                        <a:pt x="1266" y="851"/>
                      </a:lnTo>
                      <a:lnTo>
                        <a:pt x="1265" y="846"/>
                      </a:lnTo>
                      <a:lnTo>
                        <a:pt x="1261" y="841"/>
                      </a:lnTo>
                      <a:lnTo>
                        <a:pt x="1258" y="839"/>
                      </a:lnTo>
                      <a:lnTo>
                        <a:pt x="1247" y="835"/>
                      </a:lnTo>
                      <a:lnTo>
                        <a:pt x="1242" y="832"/>
                      </a:lnTo>
                      <a:lnTo>
                        <a:pt x="1237" y="828"/>
                      </a:lnTo>
                      <a:lnTo>
                        <a:pt x="1235" y="827"/>
                      </a:lnTo>
                      <a:lnTo>
                        <a:pt x="1231" y="821"/>
                      </a:lnTo>
                      <a:lnTo>
                        <a:pt x="1230" y="820"/>
                      </a:lnTo>
                      <a:lnTo>
                        <a:pt x="1228" y="820"/>
                      </a:lnTo>
                      <a:lnTo>
                        <a:pt x="1221" y="818"/>
                      </a:lnTo>
                      <a:lnTo>
                        <a:pt x="1219" y="816"/>
                      </a:lnTo>
                      <a:lnTo>
                        <a:pt x="1217" y="814"/>
                      </a:lnTo>
                      <a:lnTo>
                        <a:pt x="1214" y="811"/>
                      </a:lnTo>
                      <a:lnTo>
                        <a:pt x="1212" y="809"/>
                      </a:lnTo>
                      <a:lnTo>
                        <a:pt x="1207" y="806"/>
                      </a:lnTo>
                      <a:lnTo>
                        <a:pt x="1205" y="809"/>
                      </a:lnTo>
                      <a:lnTo>
                        <a:pt x="1203" y="813"/>
                      </a:lnTo>
                      <a:lnTo>
                        <a:pt x="1200" y="814"/>
                      </a:lnTo>
                      <a:lnTo>
                        <a:pt x="1193" y="802"/>
                      </a:lnTo>
                      <a:lnTo>
                        <a:pt x="1193" y="802"/>
                      </a:lnTo>
                      <a:lnTo>
                        <a:pt x="1195" y="800"/>
                      </a:lnTo>
                      <a:lnTo>
                        <a:pt x="1195" y="799"/>
                      </a:lnTo>
                      <a:lnTo>
                        <a:pt x="1195" y="794"/>
                      </a:lnTo>
                      <a:lnTo>
                        <a:pt x="1191" y="790"/>
                      </a:lnTo>
                      <a:lnTo>
                        <a:pt x="1188" y="787"/>
                      </a:lnTo>
                      <a:lnTo>
                        <a:pt x="1184" y="785"/>
                      </a:lnTo>
                      <a:lnTo>
                        <a:pt x="1179" y="788"/>
                      </a:lnTo>
                      <a:lnTo>
                        <a:pt x="1177" y="795"/>
                      </a:lnTo>
                      <a:lnTo>
                        <a:pt x="1175" y="800"/>
                      </a:lnTo>
                      <a:lnTo>
                        <a:pt x="1168" y="842"/>
                      </a:lnTo>
                      <a:lnTo>
                        <a:pt x="1168" y="849"/>
                      </a:lnTo>
                      <a:lnTo>
                        <a:pt x="1170" y="856"/>
                      </a:lnTo>
                      <a:lnTo>
                        <a:pt x="1170" y="862"/>
                      </a:lnTo>
                      <a:lnTo>
                        <a:pt x="1167" y="863"/>
                      </a:lnTo>
                      <a:lnTo>
                        <a:pt x="1162" y="867"/>
                      </a:lnTo>
                      <a:lnTo>
                        <a:pt x="1156" y="869"/>
                      </a:lnTo>
                      <a:lnTo>
                        <a:pt x="1153" y="872"/>
                      </a:lnTo>
                      <a:lnTo>
                        <a:pt x="1151" y="877"/>
                      </a:lnTo>
                      <a:lnTo>
                        <a:pt x="1151" y="881"/>
                      </a:lnTo>
                      <a:lnTo>
                        <a:pt x="1156" y="881"/>
                      </a:lnTo>
                      <a:lnTo>
                        <a:pt x="1160" y="881"/>
                      </a:lnTo>
                      <a:lnTo>
                        <a:pt x="1165" y="879"/>
                      </a:lnTo>
                      <a:lnTo>
                        <a:pt x="1177" y="876"/>
                      </a:lnTo>
                      <a:lnTo>
                        <a:pt x="1181" y="877"/>
                      </a:lnTo>
                      <a:lnTo>
                        <a:pt x="1182" y="881"/>
                      </a:lnTo>
                      <a:lnTo>
                        <a:pt x="1184" y="891"/>
                      </a:lnTo>
                      <a:lnTo>
                        <a:pt x="1186" y="897"/>
                      </a:lnTo>
                      <a:lnTo>
                        <a:pt x="1191" y="897"/>
                      </a:lnTo>
                      <a:lnTo>
                        <a:pt x="1196" y="895"/>
                      </a:lnTo>
                      <a:lnTo>
                        <a:pt x="1203" y="893"/>
                      </a:lnTo>
                      <a:lnTo>
                        <a:pt x="1207" y="890"/>
                      </a:lnTo>
                      <a:lnTo>
                        <a:pt x="1209" y="888"/>
                      </a:lnTo>
                      <a:lnTo>
                        <a:pt x="1210" y="883"/>
                      </a:lnTo>
                      <a:lnTo>
                        <a:pt x="1212" y="881"/>
                      </a:lnTo>
                      <a:lnTo>
                        <a:pt x="1214" y="879"/>
                      </a:lnTo>
                      <a:lnTo>
                        <a:pt x="1219" y="877"/>
                      </a:lnTo>
                      <a:lnTo>
                        <a:pt x="1221" y="876"/>
                      </a:lnTo>
                      <a:lnTo>
                        <a:pt x="1224" y="872"/>
                      </a:lnTo>
                      <a:lnTo>
                        <a:pt x="1224" y="870"/>
                      </a:lnTo>
                      <a:lnTo>
                        <a:pt x="1226" y="869"/>
                      </a:lnTo>
                      <a:lnTo>
                        <a:pt x="1228" y="865"/>
                      </a:lnTo>
                      <a:lnTo>
                        <a:pt x="1230" y="863"/>
                      </a:lnTo>
                      <a:lnTo>
                        <a:pt x="1233" y="860"/>
                      </a:lnTo>
                      <a:lnTo>
                        <a:pt x="1237" y="860"/>
                      </a:lnTo>
                      <a:lnTo>
                        <a:pt x="1238" y="860"/>
                      </a:lnTo>
                      <a:lnTo>
                        <a:pt x="1240" y="860"/>
                      </a:lnTo>
                      <a:lnTo>
                        <a:pt x="1240" y="862"/>
                      </a:lnTo>
                      <a:lnTo>
                        <a:pt x="1240" y="863"/>
                      </a:lnTo>
                      <a:lnTo>
                        <a:pt x="1240" y="863"/>
                      </a:lnTo>
                      <a:lnTo>
                        <a:pt x="1240" y="865"/>
                      </a:lnTo>
                      <a:lnTo>
                        <a:pt x="1242" y="865"/>
                      </a:lnTo>
                      <a:lnTo>
                        <a:pt x="1249" y="867"/>
                      </a:lnTo>
                      <a:lnTo>
                        <a:pt x="1251" y="867"/>
                      </a:lnTo>
                      <a:lnTo>
                        <a:pt x="1252" y="869"/>
                      </a:lnTo>
                      <a:lnTo>
                        <a:pt x="1252" y="870"/>
                      </a:lnTo>
                      <a:lnTo>
                        <a:pt x="1252" y="874"/>
                      </a:lnTo>
                      <a:lnTo>
                        <a:pt x="1252" y="876"/>
                      </a:lnTo>
                      <a:lnTo>
                        <a:pt x="1254" y="877"/>
                      </a:lnTo>
                      <a:lnTo>
                        <a:pt x="1265" y="879"/>
                      </a:lnTo>
                      <a:lnTo>
                        <a:pt x="1279" y="884"/>
                      </a:lnTo>
                      <a:lnTo>
                        <a:pt x="1284" y="884"/>
                      </a:lnTo>
                      <a:lnTo>
                        <a:pt x="1289" y="881"/>
                      </a:lnTo>
                      <a:lnTo>
                        <a:pt x="1296" y="877"/>
                      </a:lnTo>
                      <a:close/>
                      <a:moveTo>
                        <a:pt x="1198" y="795"/>
                      </a:moveTo>
                      <a:lnTo>
                        <a:pt x="1203" y="800"/>
                      </a:lnTo>
                      <a:lnTo>
                        <a:pt x="1207" y="799"/>
                      </a:lnTo>
                      <a:lnTo>
                        <a:pt x="1205" y="792"/>
                      </a:lnTo>
                      <a:lnTo>
                        <a:pt x="1200" y="785"/>
                      </a:lnTo>
                      <a:lnTo>
                        <a:pt x="1196" y="780"/>
                      </a:lnTo>
                      <a:lnTo>
                        <a:pt x="1195" y="783"/>
                      </a:lnTo>
                      <a:lnTo>
                        <a:pt x="1195" y="788"/>
                      </a:lnTo>
                      <a:lnTo>
                        <a:pt x="1198" y="795"/>
                      </a:lnTo>
                      <a:close/>
                      <a:moveTo>
                        <a:pt x="1305" y="1202"/>
                      </a:moveTo>
                      <a:lnTo>
                        <a:pt x="1305" y="1202"/>
                      </a:lnTo>
                      <a:lnTo>
                        <a:pt x="1306" y="1202"/>
                      </a:lnTo>
                      <a:lnTo>
                        <a:pt x="1305" y="1202"/>
                      </a:lnTo>
                      <a:lnTo>
                        <a:pt x="1305" y="1201"/>
                      </a:lnTo>
                      <a:lnTo>
                        <a:pt x="1305" y="1201"/>
                      </a:lnTo>
                      <a:lnTo>
                        <a:pt x="1303" y="1201"/>
                      </a:lnTo>
                      <a:lnTo>
                        <a:pt x="1303" y="1202"/>
                      </a:lnTo>
                      <a:lnTo>
                        <a:pt x="1305" y="1202"/>
                      </a:lnTo>
                      <a:close/>
                      <a:moveTo>
                        <a:pt x="1226" y="787"/>
                      </a:moveTo>
                      <a:lnTo>
                        <a:pt x="1226" y="785"/>
                      </a:lnTo>
                      <a:lnTo>
                        <a:pt x="1223" y="781"/>
                      </a:lnTo>
                      <a:lnTo>
                        <a:pt x="1219" y="778"/>
                      </a:lnTo>
                      <a:lnTo>
                        <a:pt x="1214" y="774"/>
                      </a:lnTo>
                      <a:lnTo>
                        <a:pt x="1210" y="774"/>
                      </a:lnTo>
                      <a:lnTo>
                        <a:pt x="1209" y="776"/>
                      </a:lnTo>
                      <a:lnTo>
                        <a:pt x="1210" y="780"/>
                      </a:lnTo>
                      <a:lnTo>
                        <a:pt x="1216" y="785"/>
                      </a:lnTo>
                      <a:lnTo>
                        <a:pt x="1216" y="787"/>
                      </a:lnTo>
                      <a:lnTo>
                        <a:pt x="1216" y="788"/>
                      </a:lnTo>
                      <a:lnTo>
                        <a:pt x="1217" y="792"/>
                      </a:lnTo>
                      <a:lnTo>
                        <a:pt x="1219" y="792"/>
                      </a:lnTo>
                      <a:lnTo>
                        <a:pt x="1221" y="792"/>
                      </a:lnTo>
                      <a:lnTo>
                        <a:pt x="1223" y="792"/>
                      </a:lnTo>
                      <a:lnTo>
                        <a:pt x="1223" y="792"/>
                      </a:lnTo>
                      <a:lnTo>
                        <a:pt x="1226" y="792"/>
                      </a:lnTo>
                      <a:lnTo>
                        <a:pt x="1224" y="794"/>
                      </a:lnTo>
                      <a:lnTo>
                        <a:pt x="1223" y="795"/>
                      </a:lnTo>
                      <a:lnTo>
                        <a:pt x="1224" y="797"/>
                      </a:lnTo>
                      <a:lnTo>
                        <a:pt x="1226" y="797"/>
                      </a:lnTo>
                      <a:lnTo>
                        <a:pt x="1228" y="795"/>
                      </a:lnTo>
                      <a:lnTo>
                        <a:pt x="1228" y="795"/>
                      </a:lnTo>
                      <a:lnTo>
                        <a:pt x="1230" y="797"/>
                      </a:lnTo>
                      <a:lnTo>
                        <a:pt x="1231" y="797"/>
                      </a:lnTo>
                      <a:lnTo>
                        <a:pt x="1233" y="797"/>
                      </a:lnTo>
                      <a:lnTo>
                        <a:pt x="1235" y="797"/>
                      </a:lnTo>
                      <a:lnTo>
                        <a:pt x="1235" y="795"/>
                      </a:lnTo>
                      <a:lnTo>
                        <a:pt x="1235" y="794"/>
                      </a:lnTo>
                      <a:lnTo>
                        <a:pt x="1233" y="794"/>
                      </a:lnTo>
                      <a:lnTo>
                        <a:pt x="1230" y="794"/>
                      </a:lnTo>
                      <a:lnTo>
                        <a:pt x="1228" y="792"/>
                      </a:lnTo>
                      <a:lnTo>
                        <a:pt x="1226" y="792"/>
                      </a:lnTo>
                      <a:lnTo>
                        <a:pt x="1224" y="790"/>
                      </a:lnTo>
                      <a:lnTo>
                        <a:pt x="1224" y="788"/>
                      </a:lnTo>
                      <a:lnTo>
                        <a:pt x="1226" y="787"/>
                      </a:lnTo>
                      <a:close/>
                      <a:moveTo>
                        <a:pt x="1327" y="666"/>
                      </a:moveTo>
                      <a:lnTo>
                        <a:pt x="1324" y="666"/>
                      </a:lnTo>
                      <a:lnTo>
                        <a:pt x="1322" y="668"/>
                      </a:lnTo>
                      <a:lnTo>
                        <a:pt x="1320" y="668"/>
                      </a:lnTo>
                      <a:lnTo>
                        <a:pt x="1319" y="671"/>
                      </a:lnTo>
                      <a:lnTo>
                        <a:pt x="1317" y="673"/>
                      </a:lnTo>
                      <a:lnTo>
                        <a:pt x="1319" y="675"/>
                      </a:lnTo>
                      <a:lnTo>
                        <a:pt x="1326" y="675"/>
                      </a:lnTo>
                      <a:lnTo>
                        <a:pt x="1331" y="669"/>
                      </a:lnTo>
                      <a:lnTo>
                        <a:pt x="1343" y="661"/>
                      </a:lnTo>
                      <a:lnTo>
                        <a:pt x="1340" y="659"/>
                      </a:lnTo>
                      <a:lnTo>
                        <a:pt x="1336" y="659"/>
                      </a:lnTo>
                      <a:lnTo>
                        <a:pt x="1333" y="659"/>
                      </a:lnTo>
                      <a:lnTo>
                        <a:pt x="1333" y="661"/>
                      </a:lnTo>
                      <a:lnTo>
                        <a:pt x="1331" y="662"/>
                      </a:lnTo>
                      <a:lnTo>
                        <a:pt x="1331" y="662"/>
                      </a:lnTo>
                      <a:lnTo>
                        <a:pt x="1329" y="664"/>
                      </a:lnTo>
                      <a:lnTo>
                        <a:pt x="1329" y="664"/>
                      </a:lnTo>
                      <a:lnTo>
                        <a:pt x="1327" y="666"/>
                      </a:lnTo>
                      <a:close/>
                      <a:moveTo>
                        <a:pt x="1240" y="771"/>
                      </a:moveTo>
                      <a:lnTo>
                        <a:pt x="1242" y="769"/>
                      </a:lnTo>
                      <a:lnTo>
                        <a:pt x="1238" y="767"/>
                      </a:lnTo>
                      <a:lnTo>
                        <a:pt x="1237" y="767"/>
                      </a:lnTo>
                      <a:lnTo>
                        <a:pt x="1235" y="766"/>
                      </a:lnTo>
                      <a:lnTo>
                        <a:pt x="1237" y="767"/>
                      </a:lnTo>
                      <a:lnTo>
                        <a:pt x="1237" y="769"/>
                      </a:lnTo>
                      <a:lnTo>
                        <a:pt x="1240" y="771"/>
                      </a:lnTo>
                      <a:close/>
                      <a:moveTo>
                        <a:pt x="1347" y="652"/>
                      </a:moveTo>
                      <a:lnTo>
                        <a:pt x="1348" y="650"/>
                      </a:lnTo>
                      <a:lnTo>
                        <a:pt x="1347" y="650"/>
                      </a:lnTo>
                      <a:lnTo>
                        <a:pt x="1347" y="648"/>
                      </a:lnTo>
                      <a:lnTo>
                        <a:pt x="1345" y="648"/>
                      </a:lnTo>
                      <a:lnTo>
                        <a:pt x="1343" y="648"/>
                      </a:lnTo>
                      <a:lnTo>
                        <a:pt x="1343" y="648"/>
                      </a:lnTo>
                      <a:lnTo>
                        <a:pt x="1341" y="650"/>
                      </a:lnTo>
                      <a:lnTo>
                        <a:pt x="1341" y="650"/>
                      </a:lnTo>
                      <a:lnTo>
                        <a:pt x="1334" y="652"/>
                      </a:lnTo>
                      <a:lnTo>
                        <a:pt x="1333" y="654"/>
                      </a:lnTo>
                      <a:lnTo>
                        <a:pt x="1329" y="655"/>
                      </a:lnTo>
                      <a:lnTo>
                        <a:pt x="1338" y="654"/>
                      </a:lnTo>
                      <a:lnTo>
                        <a:pt x="1347" y="652"/>
                      </a:lnTo>
                      <a:close/>
                      <a:moveTo>
                        <a:pt x="316" y="1326"/>
                      </a:moveTo>
                      <a:lnTo>
                        <a:pt x="316" y="1328"/>
                      </a:lnTo>
                      <a:lnTo>
                        <a:pt x="320" y="1328"/>
                      </a:lnTo>
                      <a:lnTo>
                        <a:pt x="318" y="1325"/>
                      </a:lnTo>
                      <a:lnTo>
                        <a:pt x="316" y="1326"/>
                      </a:lnTo>
                      <a:close/>
                      <a:moveTo>
                        <a:pt x="374" y="1339"/>
                      </a:moveTo>
                      <a:lnTo>
                        <a:pt x="372" y="1339"/>
                      </a:lnTo>
                      <a:lnTo>
                        <a:pt x="374" y="1342"/>
                      </a:lnTo>
                      <a:lnTo>
                        <a:pt x="374" y="1344"/>
                      </a:lnTo>
                      <a:lnTo>
                        <a:pt x="376" y="1344"/>
                      </a:lnTo>
                      <a:lnTo>
                        <a:pt x="376" y="1342"/>
                      </a:lnTo>
                      <a:lnTo>
                        <a:pt x="376" y="1340"/>
                      </a:lnTo>
                      <a:lnTo>
                        <a:pt x="374" y="1339"/>
                      </a:lnTo>
                      <a:close/>
                      <a:moveTo>
                        <a:pt x="1586" y="1457"/>
                      </a:moveTo>
                      <a:lnTo>
                        <a:pt x="1586" y="1459"/>
                      </a:lnTo>
                      <a:lnTo>
                        <a:pt x="1584" y="1461"/>
                      </a:lnTo>
                      <a:lnTo>
                        <a:pt x="1584" y="1463"/>
                      </a:lnTo>
                      <a:lnTo>
                        <a:pt x="1586" y="1461"/>
                      </a:lnTo>
                      <a:lnTo>
                        <a:pt x="1588" y="1461"/>
                      </a:lnTo>
                      <a:lnTo>
                        <a:pt x="1588" y="1459"/>
                      </a:lnTo>
                      <a:lnTo>
                        <a:pt x="1588" y="1457"/>
                      </a:lnTo>
                      <a:lnTo>
                        <a:pt x="1586" y="1457"/>
                      </a:lnTo>
                      <a:close/>
                      <a:moveTo>
                        <a:pt x="1598" y="1470"/>
                      </a:moveTo>
                      <a:lnTo>
                        <a:pt x="1598" y="1471"/>
                      </a:lnTo>
                      <a:lnTo>
                        <a:pt x="1596" y="1473"/>
                      </a:lnTo>
                      <a:lnTo>
                        <a:pt x="1598" y="1471"/>
                      </a:lnTo>
                      <a:lnTo>
                        <a:pt x="1598" y="1471"/>
                      </a:lnTo>
                      <a:lnTo>
                        <a:pt x="1598" y="1470"/>
                      </a:lnTo>
                      <a:lnTo>
                        <a:pt x="1600" y="1468"/>
                      </a:lnTo>
                      <a:lnTo>
                        <a:pt x="1598" y="1470"/>
                      </a:lnTo>
                      <a:lnTo>
                        <a:pt x="1598" y="1470"/>
                      </a:lnTo>
                      <a:close/>
                      <a:moveTo>
                        <a:pt x="370" y="1333"/>
                      </a:moveTo>
                      <a:lnTo>
                        <a:pt x="372" y="1335"/>
                      </a:lnTo>
                      <a:lnTo>
                        <a:pt x="374" y="1337"/>
                      </a:lnTo>
                      <a:lnTo>
                        <a:pt x="376" y="1339"/>
                      </a:lnTo>
                      <a:lnTo>
                        <a:pt x="377" y="1340"/>
                      </a:lnTo>
                      <a:lnTo>
                        <a:pt x="370" y="1333"/>
                      </a:lnTo>
                      <a:close/>
                      <a:moveTo>
                        <a:pt x="1708" y="1442"/>
                      </a:moveTo>
                      <a:lnTo>
                        <a:pt x="1706" y="1442"/>
                      </a:lnTo>
                      <a:lnTo>
                        <a:pt x="1701" y="1442"/>
                      </a:lnTo>
                      <a:lnTo>
                        <a:pt x="1703" y="1440"/>
                      </a:lnTo>
                      <a:lnTo>
                        <a:pt x="1705" y="1436"/>
                      </a:lnTo>
                      <a:lnTo>
                        <a:pt x="1705" y="1435"/>
                      </a:lnTo>
                      <a:lnTo>
                        <a:pt x="1701" y="1433"/>
                      </a:lnTo>
                      <a:lnTo>
                        <a:pt x="1699" y="1433"/>
                      </a:lnTo>
                      <a:lnTo>
                        <a:pt x="1698" y="1433"/>
                      </a:lnTo>
                      <a:lnTo>
                        <a:pt x="1696" y="1433"/>
                      </a:lnTo>
                      <a:lnTo>
                        <a:pt x="1694" y="1433"/>
                      </a:lnTo>
                      <a:lnTo>
                        <a:pt x="1692" y="1431"/>
                      </a:lnTo>
                      <a:lnTo>
                        <a:pt x="1692" y="1430"/>
                      </a:lnTo>
                      <a:lnTo>
                        <a:pt x="1691" y="1428"/>
                      </a:lnTo>
                      <a:lnTo>
                        <a:pt x="1691" y="1428"/>
                      </a:lnTo>
                      <a:lnTo>
                        <a:pt x="1691" y="1428"/>
                      </a:lnTo>
                      <a:lnTo>
                        <a:pt x="1689" y="1428"/>
                      </a:lnTo>
                      <a:lnTo>
                        <a:pt x="1689" y="1428"/>
                      </a:lnTo>
                      <a:lnTo>
                        <a:pt x="1684" y="1431"/>
                      </a:lnTo>
                      <a:lnTo>
                        <a:pt x="1680" y="1433"/>
                      </a:lnTo>
                      <a:lnTo>
                        <a:pt x="1680" y="1433"/>
                      </a:lnTo>
                      <a:lnTo>
                        <a:pt x="1678" y="1433"/>
                      </a:lnTo>
                      <a:lnTo>
                        <a:pt x="1675" y="1433"/>
                      </a:lnTo>
                      <a:lnTo>
                        <a:pt x="1673" y="1433"/>
                      </a:lnTo>
                      <a:lnTo>
                        <a:pt x="1673" y="1433"/>
                      </a:lnTo>
                      <a:lnTo>
                        <a:pt x="1675" y="1431"/>
                      </a:lnTo>
                      <a:lnTo>
                        <a:pt x="1675" y="1431"/>
                      </a:lnTo>
                      <a:lnTo>
                        <a:pt x="1670" y="1430"/>
                      </a:lnTo>
                      <a:lnTo>
                        <a:pt x="1663" y="1430"/>
                      </a:lnTo>
                      <a:lnTo>
                        <a:pt x="1661" y="1430"/>
                      </a:lnTo>
                      <a:lnTo>
                        <a:pt x="1661" y="1428"/>
                      </a:lnTo>
                      <a:lnTo>
                        <a:pt x="1659" y="1428"/>
                      </a:lnTo>
                      <a:lnTo>
                        <a:pt x="1657" y="1428"/>
                      </a:lnTo>
                      <a:lnTo>
                        <a:pt x="1656" y="1426"/>
                      </a:lnTo>
                      <a:lnTo>
                        <a:pt x="1656" y="1426"/>
                      </a:lnTo>
                      <a:lnTo>
                        <a:pt x="1654" y="1428"/>
                      </a:lnTo>
                      <a:lnTo>
                        <a:pt x="1652" y="1428"/>
                      </a:lnTo>
                      <a:lnTo>
                        <a:pt x="1650" y="1426"/>
                      </a:lnTo>
                      <a:lnTo>
                        <a:pt x="1647" y="1424"/>
                      </a:lnTo>
                      <a:lnTo>
                        <a:pt x="1645" y="1423"/>
                      </a:lnTo>
                      <a:lnTo>
                        <a:pt x="1650" y="1421"/>
                      </a:lnTo>
                      <a:lnTo>
                        <a:pt x="1649" y="1419"/>
                      </a:lnTo>
                      <a:lnTo>
                        <a:pt x="1645" y="1417"/>
                      </a:lnTo>
                      <a:lnTo>
                        <a:pt x="1642" y="1417"/>
                      </a:lnTo>
                      <a:lnTo>
                        <a:pt x="1638" y="1417"/>
                      </a:lnTo>
                      <a:lnTo>
                        <a:pt x="1635" y="1416"/>
                      </a:lnTo>
                      <a:lnTo>
                        <a:pt x="1633" y="1414"/>
                      </a:lnTo>
                      <a:lnTo>
                        <a:pt x="1631" y="1407"/>
                      </a:lnTo>
                      <a:lnTo>
                        <a:pt x="1631" y="1405"/>
                      </a:lnTo>
                      <a:lnTo>
                        <a:pt x="1630" y="1403"/>
                      </a:lnTo>
                      <a:lnTo>
                        <a:pt x="1628" y="1402"/>
                      </a:lnTo>
                      <a:lnTo>
                        <a:pt x="1628" y="1400"/>
                      </a:lnTo>
                      <a:lnTo>
                        <a:pt x="1628" y="1396"/>
                      </a:lnTo>
                      <a:lnTo>
                        <a:pt x="1628" y="1396"/>
                      </a:lnTo>
                      <a:lnTo>
                        <a:pt x="1628" y="1395"/>
                      </a:lnTo>
                      <a:lnTo>
                        <a:pt x="1628" y="1393"/>
                      </a:lnTo>
                      <a:lnTo>
                        <a:pt x="1626" y="1393"/>
                      </a:lnTo>
                      <a:lnTo>
                        <a:pt x="1624" y="1393"/>
                      </a:lnTo>
                      <a:lnTo>
                        <a:pt x="1623" y="1393"/>
                      </a:lnTo>
                      <a:lnTo>
                        <a:pt x="1621" y="1393"/>
                      </a:lnTo>
                      <a:lnTo>
                        <a:pt x="1621" y="1393"/>
                      </a:lnTo>
                      <a:lnTo>
                        <a:pt x="1619" y="1393"/>
                      </a:lnTo>
                      <a:lnTo>
                        <a:pt x="1623" y="1389"/>
                      </a:lnTo>
                      <a:lnTo>
                        <a:pt x="1626" y="1386"/>
                      </a:lnTo>
                      <a:lnTo>
                        <a:pt x="1628" y="1384"/>
                      </a:lnTo>
                      <a:lnTo>
                        <a:pt x="1628" y="1382"/>
                      </a:lnTo>
                      <a:lnTo>
                        <a:pt x="1630" y="1379"/>
                      </a:lnTo>
                      <a:lnTo>
                        <a:pt x="1630" y="1377"/>
                      </a:lnTo>
                      <a:lnTo>
                        <a:pt x="1631" y="1374"/>
                      </a:lnTo>
                      <a:lnTo>
                        <a:pt x="1630" y="1374"/>
                      </a:lnTo>
                      <a:lnTo>
                        <a:pt x="1628" y="1372"/>
                      </a:lnTo>
                      <a:lnTo>
                        <a:pt x="1626" y="1372"/>
                      </a:lnTo>
                      <a:lnTo>
                        <a:pt x="1624" y="1372"/>
                      </a:lnTo>
                      <a:lnTo>
                        <a:pt x="1624" y="1370"/>
                      </a:lnTo>
                      <a:lnTo>
                        <a:pt x="1623" y="1372"/>
                      </a:lnTo>
                      <a:lnTo>
                        <a:pt x="1616" y="1375"/>
                      </a:lnTo>
                      <a:lnTo>
                        <a:pt x="1612" y="1375"/>
                      </a:lnTo>
                      <a:lnTo>
                        <a:pt x="1610" y="1374"/>
                      </a:lnTo>
                      <a:lnTo>
                        <a:pt x="1610" y="1372"/>
                      </a:lnTo>
                      <a:lnTo>
                        <a:pt x="1609" y="1370"/>
                      </a:lnTo>
                      <a:lnTo>
                        <a:pt x="1607" y="1368"/>
                      </a:lnTo>
                      <a:lnTo>
                        <a:pt x="1603" y="1367"/>
                      </a:lnTo>
                      <a:lnTo>
                        <a:pt x="1598" y="1365"/>
                      </a:lnTo>
                      <a:lnTo>
                        <a:pt x="1595" y="1365"/>
                      </a:lnTo>
                      <a:lnTo>
                        <a:pt x="1591" y="1365"/>
                      </a:lnTo>
                      <a:lnTo>
                        <a:pt x="1589" y="1365"/>
                      </a:lnTo>
                      <a:lnTo>
                        <a:pt x="1591" y="1365"/>
                      </a:lnTo>
                      <a:lnTo>
                        <a:pt x="1593" y="1363"/>
                      </a:lnTo>
                      <a:lnTo>
                        <a:pt x="1595" y="1363"/>
                      </a:lnTo>
                      <a:lnTo>
                        <a:pt x="1600" y="1363"/>
                      </a:lnTo>
                      <a:lnTo>
                        <a:pt x="1602" y="1363"/>
                      </a:lnTo>
                      <a:lnTo>
                        <a:pt x="1602" y="1363"/>
                      </a:lnTo>
                      <a:lnTo>
                        <a:pt x="1603" y="1361"/>
                      </a:lnTo>
                      <a:lnTo>
                        <a:pt x="1605" y="1361"/>
                      </a:lnTo>
                      <a:lnTo>
                        <a:pt x="1609" y="1361"/>
                      </a:lnTo>
                      <a:lnTo>
                        <a:pt x="1614" y="1363"/>
                      </a:lnTo>
                      <a:lnTo>
                        <a:pt x="1617" y="1365"/>
                      </a:lnTo>
                      <a:lnTo>
                        <a:pt x="1623" y="1363"/>
                      </a:lnTo>
                      <a:lnTo>
                        <a:pt x="1626" y="1361"/>
                      </a:lnTo>
                      <a:lnTo>
                        <a:pt x="1636" y="1354"/>
                      </a:lnTo>
                      <a:lnTo>
                        <a:pt x="1640" y="1351"/>
                      </a:lnTo>
                      <a:lnTo>
                        <a:pt x="1642" y="1347"/>
                      </a:lnTo>
                      <a:lnTo>
                        <a:pt x="1640" y="1344"/>
                      </a:lnTo>
                      <a:lnTo>
                        <a:pt x="1635" y="1340"/>
                      </a:lnTo>
                      <a:lnTo>
                        <a:pt x="1636" y="1340"/>
                      </a:lnTo>
                      <a:lnTo>
                        <a:pt x="1638" y="1342"/>
                      </a:lnTo>
                      <a:lnTo>
                        <a:pt x="1640" y="1342"/>
                      </a:lnTo>
                      <a:lnTo>
                        <a:pt x="1642" y="1342"/>
                      </a:lnTo>
                      <a:lnTo>
                        <a:pt x="1640" y="1337"/>
                      </a:lnTo>
                      <a:lnTo>
                        <a:pt x="1633" y="1332"/>
                      </a:lnTo>
                      <a:lnTo>
                        <a:pt x="1626" y="1330"/>
                      </a:lnTo>
                      <a:lnTo>
                        <a:pt x="1619" y="1328"/>
                      </a:lnTo>
                      <a:lnTo>
                        <a:pt x="1612" y="1328"/>
                      </a:lnTo>
                      <a:lnTo>
                        <a:pt x="1605" y="1328"/>
                      </a:lnTo>
                      <a:lnTo>
                        <a:pt x="1598" y="1330"/>
                      </a:lnTo>
                      <a:lnTo>
                        <a:pt x="1593" y="1332"/>
                      </a:lnTo>
                      <a:lnTo>
                        <a:pt x="1567" y="1342"/>
                      </a:lnTo>
                      <a:lnTo>
                        <a:pt x="1542" y="1356"/>
                      </a:lnTo>
                      <a:lnTo>
                        <a:pt x="1537" y="1360"/>
                      </a:lnTo>
                      <a:lnTo>
                        <a:pt x="1533" y="1365"/>
                      </a:lnTo>
                      <a:lnTo>
                        <a:pt x="1513" y="1389"/>
                      </a:lnTo>
                      <a:lnTo>
                        <a:pt x="1507" y="1395"/>
                      </a:lnTo>
                      <a:lnTo>
                        <a:pt x="1502" y="1398"/>
                      </a:lnTo>
                      <a:lnTo>
                        <a:pt x="1495" y="1400"/>
                      </a:lnTo>
                      <a:lnTo>
                        <a:pt x="1476" y="1407"/>
                      </a:lnTo>
                      <a:lnTo>
                        <a:pt x="1471" y="1410"/>
                      </a:lnTo>
                      <a:lnTo>
                        <a:pt x="1460" y="1417"/>
                      </a:lnTo>
                      <a:lnTo>
                        <a:pt x="1455" y="1421"/>
                      </a:lnTo>
                      <a:lnTo>
                        <a:pt x="1451" y="1423"/>
                      </a:lnTo>
                      <a:lnTo>
                        <a:pt x="1450" y="1426"/>
                      </a:lnTo>
                      <a:lnTo>
                        <a:pt x="1448" y="1430"/>
                      </a:lnTo>
                      <a:lnTo>
                        <a:pt x="1444" y="1435"/>
                      </a:lnTo>
                      <a:lnTo>
                        <a:pt x="1443" y="1438"/>
                      </a:lnTo>
                      <a:lnTo>
                        <a:pt x="1441" y="1440"/>
                      </a:lnTo>
                      <a:lnTo>
                        <a:pt x="1422" y="1450"/>
                      </a:lnTo>
                      <a:lnTo>
                        <a:pt x="1418" y="1452"/>
                      </a:lnTo>
                      <a:lnTo>
                        <a:pt x="1481" y="1452"/>
                      </a:lnTo>
                      <a:lnTo>
                        <a:pt x="1485" y="1450"/>
                      </a:lnTo>
                      <a:lnTo>
                        <a:pt x="1485" y="1450"/>
                      </a:lnTo>
                      <a:lnTo>
                        <a:pt x="1488" y="1449"/>
                      </a:lnTo>
                      <a:lnTo>
                        <a:pt x="1488" y="1447"/>
                      </a:lnTo>
                      <a:lnTo>
                        <a:pt x="1488" y="1445"/>
                      </a:lnTo>
                      <a:lnTo>
                        <a:pt x="1488" y="1445"/>
                      </a:lnTo>
                      <a:lnTo>
                        <a:pt x="1490" y="1443"/>
                      </a:lnTo>
                      <a:lnTo>
                        <a:pt x="1490" y="1443"/>
                      </a:lnTo>
                      <a:lnTo>
                        <a:pt x="1492" y="1445"/>
                      </a:lnTo>
                      <a:lnTo>
                        <a:pt x="1493" y="1443"/>
                      </a:lnTo>
                      <a:lnTo>
                        <a:pt x="1497" y="1443"/>
                      </a:lnTo>
                      <a:lnTo>
                        <a:pt x="1497" y="1442"/>
                      </a:lnTo>
                      <a:lnTo>
                        <a:pt x="1499" y="1442"/>
                      </a:lnTo>
                      <a:lnTo>
                        <a:pt x="1499" y="1443"/>
                      </a:lnTo>
                      <a:lnTo>
                        <a:pt x="1499" y="1443"/>
                      </a:lnTo>
                      <a:lnTo>
                        <a:pt x="1500" y="1443"/>
                      </a:lnTo>
                      <a:lnTo>
                        <a:pt x="1500" y="1443"/>
                      </a:lnTo>
                      <a:lnTo>
                        <a:pt x="1506" y="1433"/>
                      </a:lnTo>
                      <a:lnTo>
                        <a:pt x="1509" y="1430"/>
                      </a:lnTo>
                      <a:lnTo>
                        <a:pt x="1511" y="1428"/>
                      </a:lnTo>
                      <a:lnTo>
                        <a:pt x="1511" y="1428"/>
                      </a:lnTo>
                      <a:lnTo>
                        <a:pt x="1513" y="1424"/>
                      </a:lnTo>
                      <a:lnTo>
                        <a:pt x="1513" y="1417"/>
                      </a:lnTo>
                      <a:lnTo>
                        <a:pt x="1514" y="1416"/>
                      </a:lnTo>
                      <a:lnTo>
                        <a:pt x="1516" y="1410"/>
                      </a:lnTo>
                      <a:lnTo>
                        <a:pt x="1518" y="1407"/>
                      </a:lnTo>
                      <a:lnTo>
                        <a:pt x="1519" y="1403"/>
                      </a:lnTo>
                      <a:lnTo>
                        <a:pt x="1519" y="1402"/>
                      </a:lnTo>
                      <a:lnTo>
                        <a:pt x="1533" y="1382"/>
                      </a:lnTo>
                      <a:lnTo>
                        <a:pt x="1535" y="1382"/>
                      </a:lnTo>
                      <a:lnTo>
                        <a:pt x="1537" y="1382"/>
                      </a:lnTo>
                      <a:lnTo>
                        <a:pt x="1539" y="1384"/>
                      </a:lnTo>
                      <a:lnTo>
                        <a:pt x="1539" y="1386"/>
                      </a:lnTo>
                      <a:lnTo>
                        <a:pt x="1539" y="1386"/>
                      </a:lnTo>
                      <a:lnTo>
                        <a:pt x="1539" y="1388"/>
                      </a:lnTo>
                      <a:lnTo>
                        <a:pt x="1542" y="1389"/>
                      </a:lnTo>
                      <a:lnTo>
                        <a:pt x="1546" y="1389"/>
                      </a:lnTo>
                      <a:lnTo>
                        <a:pt x="1553" y="1386"/>
                      </a:lnTo>
                      <a:lnTo>
                        <a:pt x="1554" y="1386"/>
                      </a:lnTo>
                      <a:lnTo>
                        <a:pt x="1558" y="1386"/>
                      </a:lnTo>
                      <a:lnTo>
                        <a:pt x="1560" y="1388"/>
                      </a:lnTo>
                      <a:lnTo>
                        <a:pt x="1563" y="1391"/>
                      </a:lnTo>
                      <a:lnTo>
                        <a:pt x="1565" y="1395"/>
                      </a:lnTo>
                      <a:lnTo>
                        <a:pt x="1565" y="1398"/>
                      </a:lnTo>
                      <a:lnTo>
                        <a:pt x="1565" y="1423"/>
                      </a:lnTo>
                      <a:lnTo>
                        <a:pt x="1565" y="1428"/>
                      </a:lnTo>
                      <a:lnTo>
                        <a:pt x="1565" y="1430"/>
                      </a:lnTo>
                      <a:lnTo>
                        <a:pt x="1567" y="1431"/>
                      </a:lnTo>
                      <a:lnTo>
                        <a:pt x="1568" y="1433"/>
                      </a:lnTo>
                      <a:lnTo>
                        <a:pt x="1570" y="1433"/>
                      </a:lnTo>
                      <a:lnTo>
                        <a:pt x="1572" y="1435"/>
                      </a:lnTo>
                      <a:lnTo>
                        <a:pt x="1572" y="1435"/>
                      </a:lnTo>
                      <a:lnTo>
                        <a:pt x="1574" y="1436"/>
                      </a:lnTo>
                      <a:lnTo>
                        <a:pt x="1572" y="1436"/>
                      </a:lnTo>
                      <a:lnTo>
                        <a:pt x="1572" y="1438"/>
                      </a:lnTo>
                      <a:lnTo>
                        <a:pt x="1572" y="1440"/>
                      </a:lnTo>
                      <a:lnTo>
                        <a:pt x="1572" y="1442"/>
                      </a:lnTo>
                      <a:lnTo>
                        <a:pt x="1574" y="1443"/>
                      </a:lnTo>
                      <a:lnTo>
                        <a:pt x="1574" y="1445"/>
                      </a:lnTo>
                      <a:lnTo>
                        <a:pt x="1575" y="1447"/>
                      </a:lnTo>
                      <a:lnTo>
                        <a:pt x="1577" y="1447"/>
                      </a:lnTo>
                      <a:lnTo>
                        <a:pt x="1577" y="1447"/>
                      </a:lnTo>
                      <a:lnTo>
                        <a:pt x="1581" y="1447"/>
                      </a:lnTo>
                      <a:lnTo>
                        <a:pt x="1581" y="1447"/>
                      </a:lnTo>
                      <a:lnTo>
                        <a:pt x="1584" y="1449"/>
                      </a:lnTo>
                      <a:lnTo>
                        <a:pt x="1586" y="1449"/>
                      </a:lnTo>
                      <a:lnTo>
                        <a:pt x="1588" y="1449"/>
                      </a:lnTo>
                      <a:lnTo>
                        <a:pt x="1593" y="1449"/>
                      </a:lnTo>
                      <a:lnTo>
                        <a:pt x="1598" y="1447"/>
                      </a:lnTo>
                      <a:lnTo>
                        <a:pt x="1602" y="1445"/>
                      </a:lnTo>
                      <a:lnTo>
                        <a:pt x="1600" y="1442"/>
                      </a:lnTo>
                      <a:lnTo>
                        <a:pt x="1602" y="1440"/>
                      </a:lnTo>
                      <a:lnTo>
                        <a:pt x="1603" y="1440"/>
                      </a:lnTo>
                      <a:lnTo>
                        <a:pt x="1602" y="1442"/>
                      </a:lnTo>
                      <a:lnTo>
                        <a:pt x="1603" y="1443"/>
                      </a:lnTo>
                      <a:lnTo>
                        <a:pt x="1603" y="1445"/>
                      </a:lnTo>
                      <a:lnTo>
                        <a:pt x="1607" y="1445"/>
                      </a:lnTo>
                      <a:lnTo>
                        <a:pt x="1610" y="1445"/>
                      </a:lnTo>
                      <a:lnTo>
                        <a:pt x="1612" y="1442"/>
                      </a:lnTo>
                      <a:lnTo>
                        <a:pt x="1619" y="1438"/>
                      </a:lnTo>
                      <a:lnTo>
                        <a:pt x="1630" y="1433"/>
                      </a:lnTo>
                      <a:lnTo>
                        <a:pt x="1633" y="1430"/>
                      </a:lnTo>
                      <a:lnTo>
                        <a:pt x="1633" y="1424"/>
                      </a:lnTo>
                      <a:lnTo>
                        <a:pt x="1636" y="1428"/>
                      </a:lnTo>
                      <a:lnTo>
                        <a:pt x="1638" y="1428"/>
                      </a:lnTo>
                      <a:lnTo>
                        <a:pt x="1640" y="1428"/>
                      </a:lnTo>
                      <a:lnTo>
                        <a:pt x="1636" y="1431"/>
                      </a:lnTo>
                      <a:lnTo>
                        <a:pt x="1630" y="1438"/>
                      </a:lnTo>
                      <a:lnTo>
                        <a:pt x="1628" y="1442"/>
                      </a:lnTo>
                      <a:lnTo>
                        <a:pt x="1628" y="1442"/>
                      </a:lnTo>
                      <a:lnTo>
                        <a:pt x="1630" y="1442"/>
                      </a:lnTo>
                      <a:lnTo>
                        <a:pt x="1631" y="1442"/>
                      </a:lnTo>
                      <a:lnTo>
                        <a:pt x="1631" y="1440"/>
                      </a:lnTo>
                      <a:lnTo>
                        <a:pt x="1650" y="1440"/>
                      </a:lnTo>
                      <a:lnTo>
                        <a:pt x="1661" y="1442"/>
                      </a:lnTo>
                      <a:lnTo>
                        <a:pt x="1656" y="1443"/>
                      </a:lnTo>
                      <a:lnTo>
                        <a:pt x="1649" y="1443"/>
                      </a:lnTo>
                      <a:lnTo>
                        <a:pt x="1643" y="1447"/>
                      </a:lnTo>
                      <a:lnTo>
                        <a:pt x="1643" y="1450"/>
                      </a:lnTo>
                      <a:lnTo>
                        <a:pt x="1642" y="1449"/>
                      </a:lnTo>
                      <a:lnTo>
                        <a:pt x="1640" y="1447"/>
                      </a:lnTo>
                      <a:lnTo>
                        <a:pt x="1638" y="1445"/>
                      </a:lnTo>
                      <a:lnTo>
                        <a:pt x="1638" y="1445"/>
                      </a:lnTo>
                      <a:lnTo>
                        <a:pt x="1640" y="1443"/>
                      </a:lnTo>
                      <a:lnTo>
                        <a:pt x="1640" y="1443"/>
                      </a:lnTo>
                      <a:lnTo>
                        <a:pt x="1636" y="1442"/>
                      </a:lnTo>
                      <a:lnTo>
                        <a:pt x="1636" y="1443"/>
                      </a:lnTo>
                      <a:lnTo>
                        <a:pt x="1633" y="1447"/>
                      </a:lnTo>
                      <a:lnTo>
                        <a:pt x="1626" y="1449"/>
                      </a:lnTo>
                      <a:lnTo>
                        <a:pt x="1617" y="1454"/>
                      </a:lnTo>
                      <a:lnTo>
                        <a:pt x="1612" y="1457"/>
                      </a:lnTo>
                      <a:lnTo>
                        <a:pt x="1610" y="1461"/>
                      </a:lnTo>
                      <a:lnTo>
                        <a:pt x="1612" y="1459"/>
                      </a:lnTo>
                      <a:lnTo>
                        <a:pt x="1614" y="1459"/>
                      </a:lnTo>
                      <a:lnTo>
                        <a:pt x="1614" y="1459"/>
                      </a:lnTo>
                      <a:lnTo>
                        <a:pt x="1612" y="1461"/>
                      </a:lnTo>
                      <a:lnTo>
                        <a:pt x="1603" y="1464"/>
                      </a:lnTo>
                      <a:lnTo>
                        <a:pt x="1600" y="1468"/>
                      </a:lnTo>
                      <a:lnTo>
                        <a:pt x="1603" y="1464"/>
                      </a:lnTo>
                      <a:lnTo>
                        <a:pt x="1605" y="1464"/>
                      </a:lnTo>
                      <a:lnTo>
                        <a:pt x="1607" y="1464"/>
                      </a:lnTo>
                      <a:lnTo>
                        <a:pt x="1603" y="1468"/>
                      </a:lnTo>
                      <a:lnTo>
                        <a:pt x="1600" y="1475"/>
                      </a:lnTo>
                      <a:lnTo>
                        <a:pt x="1600" y="1482"/>
                      </a:lnTo>
                      <a:lnTo>
                        <a:pt x="1603" y="1487"/>
                      </a:lnTo>
                      <a:lnTo>
                        <a:pt x="1605" y="1485"/>
                      </a:lnTo>
                      <a:lnTo>
                        <a:pt x="1607" y="1487"/>
                      </a:lnTo>
                      <a:lnTo>
                        <a:pt x="1609" y="1489"/>
                      </a:lnTo>
                      <a:lnTo>
                        <a:pt x="1610" y="1492"/>
                      </a:lnTo>
                      <a:lnTo>
                        <a:pt x="1612" y="1492"/>
                      </a:lnTo>
                      <a:lnTo>
                        <a:pt x="1614" y="1492"/>
                      </a:lnTo>
                      <a:lnTo>
                        <a:pt x="1616" y="1492"/>
                      </a:lnTo>
                      <a:lnTo>
                        <a:pt x="1617" y="1492"/>
                      </a:lnTo>
                      <a:lnTo>
                        <a:pt x="1619" y="1489"/>
                      </a:lnTo>
                      <a:lnTo>
                        <a:pt x="1621" y="1487"/>
                      </a:lnTo>
                      <a:lnTo>
                        <a:pt x="1624" y="1485"/>
                      </a:lnTo>
                      <a:lnTo>
                        <a:pt x="1628" y="1484"/>
                      </a:lnTo>
                      <a:lnTo>
                        <a:pt x="1635" y="1477"/>
                      </a:lnTo>
                      <a:lnTo>
                        <a:pt x="1638" y="1473"/>
                      </a:lnTo>
                      <a:lnTo>
                        <a:pt x="1638" y="1471"/>
                      </a:lnTo>
                      <a:lnTo>
                        <a:pt x="1638" y="1471"/>
                      </a:lnTo>
                      <a:lnTo>
                        <a:pt x="1640" y="1471"/>
                      </a:lnTo>
                      <a:lnTo>
                        <a:pt x="1640" y="1471"/>
                      </a:lnTo>
                      <a:lnTo>
                        <a:pt x="1640" y="1471"/>
                      </a:lnTo>
                      <a:lnTo>
                        <a:pt x="1640" y="1470"/>
                      </a:lnTo>
                      <a:lnTo>
                        <a:pt x="1640" y="1470"/>
                      </a:lnTo>
                      <a:lnTo>
                        <a:pt x="1640" y="1468"/>
                      </a:lnTo>
                      <a:lnTo>
                        <a:pt x="1640" y="1468"/>
                      </a:lnTo>
                      <a:lnTo>
                        <a:pt x="1640" y="1466"/>
                      </a:lnTo>
                      <a:lnTo>
                        <a:pt x="1640" y="1466"/>
                      </a:lnTo>
                      <a:lnTo>
                        <a:pt x="1640" y="1464"/>
                      </a:lnTo>
                      <a:lnTo>
                        <a:pt x="1642" y="1463"/>
                      </a:lnTo>
                      <a:lnTo>
                        <a:pt x="1643" y="1464"/>
                      </a:lnTo>
                      <a:lnTo>
                        <a:pt x="1643" y="1464"/>
                      </a:lnTo>
                      <a:lnTo>
                        <a:pt x="1645" y="1466"/>
                      </a:lnTo>
                      <a:lnTo>
                        <a:pt x="1645" y="1464"/>
                      </a:lnTo>
                      <a:lnTo>
                        <a:pt x="1647" y="1461"/>
                      </a:lnTo>
                      <a:lnTo>
                        <a:pt x="1649" y="1464"/>
                      </a:lnTo>
                      <a:lnTo>
                        <a:pt x="1650" y="1466"/>
                      </a:lnTo>
                      <a:lnTo>
                        <a:pt x="1654" y="1466"/>
                      </a:lnTo>
                      <a:lnTo>
                        <a:pt x="1656" y="1466"/>
                      </a:lnTo>
                      <a:lnTo>
                        <a:pt x="1656" y="1464"/>
                      </a:lnTo>
                      <a:lnTo>
                        <a:pt x="1656" y="1463"/>
                      </a:lnTo>
                      <a:lnTo>
                        <a:pt x="1656" y="1461"/>
                      </a:lnTo>
                      <a:lnTo>
                        <a:pt x="1659" y="1461"/>
                      </a:lnTo>
                      <a:lnTo>
                        <a:pt x="1663" y="1461"/>
                      </a:lnTo>
                      <a:lnTo>
                        <a:pt x="1678" y="1456"/>
                      </a:lnTo>
                      <a:lnTo>
                        <a:pt x="1705" y="1445"/>
                      </a:lnTo>
                      <a:lnTo>
                        <a:pt x="1708" y="1445"/>
                      </a:lnTo>
                      <a:lnTo>
                        <a:pt x="1710" y="1443"/>
                      </a:lnTo>
                      <a:lnTo>
                        <a:pt x="1710" y="1443"/>
                      </a:lnTo>
                      <a:lnTo>
                        <a:pt x="1708" y="1442"/>
                      </a:lnTo>
                      <a:close/>
                      <a:moveTo>
                        <a:pt x="706" y="713"/>
                      </a:moveTo>
                      <a:lnTo>
                        <a:pt x="704" y="713"/>
                      </a:lnTo>
                      <a:lnTo>
                        <a:pt x="702" y="715"/>
                      </a:lnTo>
                      <a:lnTo>
                        <a:pt x="702" y="717"/>
                      </a:lnTo>
                      <a:lnTo>
                        <a:pt x="702" y="718"/>
                      </a:lnTo>
                      <a:lnTo>
                        <a:pt x="702" y="720"/>
                      </a:lnTo>
                      <a:lnTo>
                        <a:pt x="702" y="722"/>
                      </a:lnTo>
                      <a:lnTo>
                        <a:pt x="704" y="722"/>
                      </a:lnTo>
                      <a:lnTo>
                        <a:pt x="706" y="724"/>
                      </a:lnTo>
                      <a:lnTo>
                        <a:pt x="706" y="725"/>
                      </a:lnTo>
                      <a:lnTo>
                        <a:pt x="707" y="725"/>
                      </a:lnTo>
                      <a:lnTo>
                        <a:pt x="707" y="724"/>
                      </a:lnTo>
                      <a:lnTo>
                        <a:pt x="707" y="720"/>
                      </a:lnTo>
                      <a:lnTo>
                        <a:pt x="707" y="718"/>
                      </a:lnTo>
                      <a:lnTo>
                        <a:pt x="706" y="713"/>
                      </a:lnTo>
                      <a:close/>
                      <a:moveTo>
                        <a:pt x="358" y="1319"/>
                      </a:moveTo>
                      <a:lnTo>
                        <a:pt x="360" y="1321"/>
                      </a:lnTo>
                      <a:lnTo>
                        <a:pt x="358" y="1318"/>
                      </a:lnTo>
                      <a:lnTo>
                        <a:pt x="356" y="1314"/>
                      </a:lnTo>
                      <a:lnTo>
                        <a:pt x="353" y="1312"/>
                      </a:lnTo>
                      <a:lnTo>
                        <a:pt x="349" y="1312"/>
                      </a:lnTo>
                      <a:lnTo>
                        <a:pt x="355" y="1318"/>
                      </a:lnTo>
                      <a:lnTo>
                        <a:pt x="358" y="1319"/>
                      </a:lnTo>
                      <a:close/>
                      <a:moveTo>
                        <a:pt x="1430" y="1442"/>
                      </a:moveTo>
                      <a:lnTo>
                        <a:pt x="1432" y="1442"/>
                      </a:lnTo>
                      <a:lnTo>
                        <a:pt x="1432" y="1442"/>
                      </a:lnTo>
                      <a:lnTo>
                        <a:pt x="1434" y="1440"/>
                      </a:lnTo>
                      <a:lnTo>
                        <a:pt x="1432" y="1440"/>
                      </a:lnTo>
                      <a:lnTo>
                        <a:pt x="1430" y="1438"/>
                      </a:lnTo>
                      <a:lnTo>
                        <a:pt x="1427" y="1436"/>
                      </a:lnTo>
                      <a:lnTo>
                        <a:pt x="1425" y="1436"/>
                      </a:lnTo>
                      <a:lnTo>
                        <a:pt x="1430" y="1436"/>
                      </a:lnTo>
                      <a:lnTo>
                        <a:pt x="1434" y="1435"/>
                      </a:lnTo>
                      <a:lnTo>
                        <a:pt x="1436" y="1433"/>
                      </a:lnTo>
                      <a:lnTo>
                        <a:pt x="1439" y="1431"/>
                      </a:lnTo>
                      <a:lnTo>
                        <a:pt x="1441" y="1431"/>
                      </a:lnTo>
                      <a:lnTo>
                        <a:pt x="1443" y="1430"/>
                      </a:lnTo>
                      <a:lnTo>
                        <a:pt x="1444" y="1430"/>
                      </a:lnTo>
                      <a:lnTo>
                        <a:pt x="1446" y="1428"/>
                      </a:lnTo>
                      <a:lnTo>
                        <a:pt x="1448" y="1428"/>
                      </a:lnTo>
                      <a:lnTo>
                        <a:pt x="1450" y="1423"/>
                      </a:lnTo>
                      <a:lnTo>
                        <a:pt x="1455" y="1417"/>
                      </a:lnTo>
                      <a:lnTo>
                        <a:pt x="1462" y="1414"/>
                      </a:lnTo>
                      <a:lnTo>
                        <a:pt x="1474" y="1407"/>
                      </a:lnTo>
                      <a:lnTo>
                        <a:pt x="1478" y="1405"/>
                      </a:lnTo>
                      <a:lnTo>
                        <a:pt x="1486" y="1403"/>
                      </a:lnTo>
                      <a:lnTo>
                        <a:pt x="1490" y="1402"/>
                      </a:lnTo>
                      <a:lnTo>
                        <a:pt x="1493" y="1400"/>
                      </a:lnTo>
                      <a:lnTo>
                        <a:pt x="1502" y="1393"/>
                      </a:lnTo>
                      <a:lnTo>
                        <a:pt x="1504" y="1389"/>
                      </a:lnTo>
                      <a:lnTo>
                        <a:pt x="1509" y="1384"/>
                      </a:lnTo>
                      <a:lnTo>
                        <a:pt x="1518" y="1375"/>
                      </a:lnTo>
                      <a:lnTo>
                        <a:pt x="1519" y="1372"/>
                      </a:lnTo>
                      <a:lnTo>
                        <a:pt x="1521" y="1368"/>
                      </a:lnTo>
                      <a:lnTo>
                        <a:pt x="1523" y="1363"/>
                      </a:lnTo>
                      <a:lnTo>
                        <a:pt x="1521" y="1361"/>
                      </a:lnTo>
                      <a:lnTo>
                        <a:pt x="1518" y="1360"/>
                      </a:lnTo>
                      <a:lnTo>
                        <a:pt x="1500" y="1354"/>
                      </a:lnTo>
                      <a:lnTo>
                        <a:pt x="1497" y="1353"/>
                      </a:lnTo>
                      <a:lnTo>
                        <a:pt x="1506" y="1354"/>
                      </a:lnTo>
                      <a:lnTo>
                        <a:pt x="1519" y="1360"/>
                      </a:lnTo>
                      <a:lnTo>
                        <a:pt x="1523" y="1360"/>
                      </a:lnTo>
                      <a:lnTo>
                        <a:pt x="1526" y="1360"/>
                      </a:lnTo>
                      <a:lnTo>
                        <a:pt x="1530" y="1356"/>
                      </a:lnTo>
                      <a:lnTo>
                        <a:pt x="1539" y="1346"/>
                      </a:lnTo>
                      <a:lnTo>
                        <a:pt x="1540" y="1342"/>
                      </a:lnTo>
                      <a:lnTo>
                        <a:pt x="1546" y="1339"/>
                      </a:lnTo>
                      <a:lnTo>
                        <a:pt x="1556" y="1332"/>
                      </a:lnTo>
                      <a:lnTo>
                        <a:pt x="1554" y="1330"/>
                      </a:lnTo>
                      <a:lnTo>
                        <a:pt x="1560" y="1328"/>
                      </a:lnTo>
                      <a:lnTo>
                        <a:pt x="1572" y="1326"/>
                      </a:lnTo>
                      <a:lnTo>
                        <a:pt x="1575" y="1325"/>
                      </a:lnTo>
                      <a:lnTo>
                        <a:pt x="1577" y="1321"/>
                      </a:lnTo>
                      <a:lnTo>
                        <a:pt x="1579" y="1314"/>
                      </a:lnTo>
                      <a:lnTo>
                        <a:pt x="1581" y="1311"/>
                      </a:lnTo>
                      <a:lnTo>
                        <a:pt x="1584" y="1307"/>
                      </a:lnTo>
                      <a:lnTo>
                        <a:pt x="1586" y="1304"/>
                      </a:lnTo>
                      <a:lnTo>
                        <a:pt x="1589" y="1300"/>
                      </a:lnTo>
                      <a:lnTo>
                        <a:pt x="1593" y="1300"/>
                      </a:lnTo>
                      <a:lnTo>
                        <a:pt x="1595" y="1298"/>
                      </a:lnTo>
                      <a:lnTo>
                        <a:pt x="1598" y="1298"/>
                      </a:lnTo>
                      <a:lnTo>
                        <a:pt x="1600" y="1298"/>
                      </a:lnTo>
                      <a:lnTo>
                        <a:pt x="1605" y="1297"/>
                      </a:lnTo>
                      <a:lnTo>
                        <a:pt x="1607" y="1297"/>
                      </a:lnTo>
                      <a:lnTo>
                        <a:pt x="1616" y="1295"/>
                      </a:lnTo>
                      <a:lnTo>
                        <a:pt x="1636" y="1295"/>
                      </a:lnTo>
                      <a:lnTo>
                        <a:pt x="1640" y="1297"/>
                      </a:lnTo>
                      <a:lnTo>
                        <a:pt x="1642" y="1297"/>
                      </a:lnTo>
                      <a:lnTo>
                        <a:pt x="1643" y="1297"/>
                      </a:lnTo>
                      <a:lnTo>
                        <a:pt x="1647" y="1295"/>
                      </a:lnTo>
                      <a:lnTo>
                        <a:pt x="1649" y="1295"/>
                      </a:lnTo>
                      <a:lnTo>
                        <a:pt x="1661" y="1297"/>
                      </a:lnTo>
                      <a:lnTo>
                        <a:pt x="1673" y="1295"/>
                      </a:lnTo>
                      <a:lnTo>
                        <a:pt x="1677" y="1297"/>
                      </a:lnTo>
                      <a:lnTo>
                        <a:pt x="1687" y="1297"/>
                      </a:lnTo>
                      <a:lnTo>
                        <a:pt x="1689" y="1298"/>
                      </a:lnTo>
                      <a:lnTo>
                        <a:pt x="1691" y="1298"/>
                      </a:lnTo>
                      <a:lnTo>
                        <a:pt x="1694" y="1302"/>
                      </a:lnTo>
                      <a:lnTo>
                        <a:pt x="1696" y="1302"/>
                      </a:lnTo>
                      <a:lnTo>
                        <a:pt x="1698" y="1302"/>
                      </a:lnTo>
                      <a:lnTo>
                        <a:pt x="1703" y="1300"/>
                      </a:lnTo>
                      <a:lnTo>
                        <a:pt x="1705" y="1298"/>
                      </a:lnTo>
                      <a:lnTo>
                        <a:pt x="1706" y="1298"/>
                      </a:lnTo>
                      <a:lnTo>
                        <a:pt x="1710" y="1298"/>
                      </a:lnTo>
                      <a:lnTo>
                        <a:pt x="1729" y="1297"/>
                      </a:lnTo>
                      <a:lnTo>
                        <a:pt x="1733" y="1297"/>
                      </a:lnTo>
                      <a:lnTo>
                        <a:pt x="1734" y="1295"/>
                      </a:lnTo>
                      <a:lnTo>
                        <a:pt x="1747" y="1283"/>
                      </a:lnTo>
                      <a:lnTo>
                        <a:pt x="1759" y="1271"/>
                      </a:lnTo>
                      <a:lnTo>
                        <a:pt x="1760" y="1265"/>
                      </a:lnTo>
                      <a:lnTo>
                        <a:pt x="1762" y="1265"/>
                      </a:lnTo>
                      <a:lnTo>
                        <a:pt x="1766" y="1264"/>
                      </a:lnTo>
                      <a:lnTo>
                        <a:pt x="1773" y="1264"/>
                      </a:lnTo>
                      <a:lnTo>
                        <a:pt x="1776" y="1262"/>
                      </a:lnTo>
                      <a:lnTo>
                        <a:pt x="1780" y="1260"/>
                      </a:lnTo>
                      <a:lnTo>
                        <a:pt x="1783" y="1260"/>
                      </a:lnTo>
                      <a:lnTo>
                        <a:pt x="1792" y="1258"/>
                      </a:lnTo>
                      <a:lnTo>
                        <a:pt x="1797" y="1258"/>
                      </a:lnTo>
                      <a:lnTo>
                        <a:pt x="1801" y="1257"/>
                      </a:lnTo>
                      <a:lnTo>
                        <a:pt x="1806" y="1251"/>
                      </a:lnTo>
                      <a:lnTo>
                        <a:pt x="1815" y="1246"/>
                      </a:lnTo>
                      <a:lnTo>
                        <a:pt x="1820" y="1243"/>
                      </a:lnTo>
                      <a:lnTo>
                        <a:pt x="1823" y="1239"/>
                      </a:lnTo>
                      <a:lnTo>
                        <a:pt x="1823" y="1236"/>
                      </a:lnTo>
                      <a:lnTo>
                        <a:pt x="1823" y="1234"/>
                      </a:lnTo>
                      <a:lnTo>
                        <a:pt x="1820" y="1232"/>
                      </a:lnTo>
                      <a:lnTo>
                        <a:pt x="1818" y="1229"/>
                      </a:lnTo>
                      <a:lnTo>
                        <a:pt x="1820" y="1230"/>
                      </a:lnTo>
                      <a:lnTo>
                        <a:pt x="1822" y="1230"/>
                      </a:lnTo>
                      <a:lnTo>
                        <a:pt x="1823" y="1229"/>
                      </a:lnTo>
                      <a:lnTo>
                        <a:pt x="1823" y="1227"/>
                      </a:lnTo>
                      <a:lnTo>
                        <a:pt x="1820" y="1225"/>
                      </a:lnTo>
                      <a:lnTo>
                        <a:pt x="1816" y="1225"/>
                      </a:lnTo>
                      <a:lnTo>
                        <a:pt x="1811" y="1225"/>
                      </a:lnTo>
                      <a:lnTo>
                        <a:pt x="1813" y="1223"/>
                      </a:lnTo>
                      <a:lnTo>
                        <a:pt x="1818" y="1223"/>
                      </a:lnTo>
                      <a:lnTo>
                        <a:pt x="1820" y="1223"/>
                      </a:lnTo>
                      <a:lnTo>
                        <a:pt x="1822" y="1222"/>
                      </a:lnTo>
                      <a:lnTo>
                        <a:pt x="1822" y="1220"/>
                      </a:lnTo>
                      <a:lnTo>
                        <a:pt x="1822" y="1216"/>
                      </a:lnTo>
                      <a:lnTo>
                        <a:pt x="1820" y="1213"/>
                      </a:lnTo>
                      <a:lnTo>
                        <a:pt x="1822" y="1208"/>
                      </a:lnTo>
                      <a:lnTo>
                        <a:pt x="1822" y="1204"/>
                      </a:lnTo>
                      <a:lnTo>
                        <a:pt x="1820" y="1201"/>
                      </a:lnTo>
                      <a:lnTo>
                        <a:pt x="1818" y="1199"/>
                      </a:lnTo>
                      <a:lnTo>
                        <a:pt x="1818" y="1197"/>
                      </a:lnTo>
                      <a:lnTo>
                        <a:pt x="1816" y="1195"/>
                      </a:lnTo>
                      <a:lnTo>
                        <a:pt x="1813" y="1194"/>
                      </a:lnTo>
                      <a:lnTo>
                        <a:pt x="1813" y="1194"/>
                      </a:lnTo>
                      <a:lnTo>
                        <a:pt x="1811" y="1192"/>
                      </a:lnTo>
                      <a:lnTo>
                        <a:pt x="1809" y="1192"/>
                      </a:lnTo>
                      <a:lnTo>
                        <a:pt x="1809" y="1192"/>
                      </a:lnTo>
                      <a:lnTo>
                        <a:pt x="1808" y="1190"/>
                      </a:lnTo>
                      <a:lnTo>
                        <a:pt x="1808" y="1188"/>
                      </a:lnTo>
                      <a:lnTo>
                        <a:pt x="1802" y="1188"/>
                      </a:lnTo>
                      <a:lnTo>
                        <a:pt x="1797" y="1190"/>
                      </a:lnTo>
                      <a:lnTo>
                        <a:pt x="1788" y="1197"/>
                      </a:lnTo>
                      <a:lnTo>
                        <a:pt x="1788" y="1195"/>
                      </a:lnTo>
                      <a:lnTo>
                        <a:pt x="1788" y="1195"/>
                      </a:lnTo>
                      <a:lnTo>
                        <a:pt x="1787" y="1194"/>
                      </a:lnTo>
                      <a:lnTo>
                        <a:pt x="1785" y="1194"/>
                      </a:lnTo>
                      <a:lnTo>
                        <a:pt x="1787" y="1192"/>
                      </a:lnTo>
                      <a:lnTo>
                        <a:pt x="1790" y="1190"/>
                      </a:lnTo>
                      <a:lnTo>
                        <a:pt x="1792" y="1190"/>
                      </a:lnTo>
                      <a:lnTo>
                        <a:pt x="1794" y="1187"/>
                      </a:lnTo>
                      <a:lnTo>
                        <a:pt x="1792" y="1183"/>
                      </a:lnTo>
                      <a:lnTo>
                        <a:pt x="1790" y="1181"/>
                      </a:lnTo>
                      <a:lnTo>
                        <a:pt x="1787" y="1178"/>
                      </a:lnTo>
                      <a:lnTo>
                        <a:pt x="1783" y="1176"/>
                      </a:lnTo>
                      <a:lnTo>
                        <a:pt x="1780" y="1176"/>
                      </a:lnTo>
                      <a:lnTo>
                        <a:pt x="1776" y="1176"/>
                      </a:lnTo>
                      <a:lnTo>
                        <a:pt x="1771" y="1176"/>
                      </a:lnTo>
                      <a:lnTo>
                        <a:pt x="1767" y="1176"/>
                      </a:lnTo>
                      <a:lnTo>
                        <a:pt x="1767" y="1178"/>
                      </a:lnTo>
                      <a:lnTo>
                        <a:pt x="1771" y="1178"/>
                      </a:lnTo>
                      <a:lnTo>
                        <a:pt x="1776" y="1180"/>
                      </a:lnTo>
                      <a:lnTo>
                        <a:pt x="1769" y="1181"/>
                      </a:lnTo>
                      <a:lnTo>
                        <a:pt x="1762" y="1183"/>
                      </a:lnTo>
                      <a:lnTo>
                        <a:pt x="1755" y="1187"/>
                      </a:lnTo>
                      <a:lnTo>
                        <a:pt x="1747" y="1192"/>
                      </a:lnTo>
                      <a:lnTo>
                        <a:pt x="1736" y="1197"/>
                      </a:lnTo>
                      <a:lnTo>
                        <a:pt x="1734" y="1199"/>
                      </a:lnTo>
                      <a:lnTo>
                        <a:pt x="1731" y="1201"/>
                      </a:lnTo>
                      <a:lnTo>
                        <a:pt x="1729" y="1202"/>
                      </a:lnTo>
                      <a:lnTo>
                        <a:pt x="1726" y="1204"/>
                      </a:lnTo>
                      <a:lnTo>
                        <a:pt x="1726" y="1202"/>
                      </a:lnTo>
                      <a:lnTo>
                        <a:pt x="1726" y="1202"/>
                      </a:lnTo>
                      <a:lnTo>
                        <a:pt x="1726" y="1202"/>
                      </a:lnTo>
                      <a:lnTo>
                        <a:pt x="1727" y="1201"/>
                      </a:lnTo>
                      <a:lnTo>
                        <a:pt x="1726" y="1201"/>
                      </a:lnTo>
                      <a:lnTo>
                        <a:pt x="1727" y="1199"/>
                      </a:lnTo>
                      <a:lnTo>
                        <a:pt x="1731" y="1197"/>
                      </a:lnTo>
                      <a:lnTo>
                        <a:pt x="1729" y="1195"/>
                      </a:lnTo>
                      <a:lnTo>
                        <a:pt x="1727" y="1195"/>
                      </a:lnTo>
                      <a:lnTo>
                        <a:pt x="1726" y="1194"/>
                      </a:lnTo>
                      <a:lnTo>
                        <a:pt x="1724" y="1192"/>
                      </a:lnTo>
                      <a:lnTo>
                        <a:pt x="1727" y="1194"/>
                      </a:lnTo>
                      <a:lnTo>
                        <a:pt x="1729" y="1194"/>
                      </a:lnTo>
                      <a:lnTo>
                        <a:pt x="1731" y="1190"/>
                      </a:lnTo>
                      <a:lnTo>
                        <a:pt x="1734" y="1188"/>
                      </a:lnTo>
                      <a:lnTo>
                        <a:pt x="1738" y="1187"/>
                      </a:lnTo>
                      <a:lnTo>
                        <a:pt x="1740" y="1187"/>
                      </a:lnTo>
                      <a:lnTo>
                        <a:pt x="1743" y="1187"/>
                      </a:lnTo>
                      <a:lnTo>
                        <a:pt x="1747" y="1185"/>
                      </a:lnTo>
                      <a:lnTo>
                        <a:pt x="1752" y="1183"/>
                      </a:lnTo>
                      <a:lnTo>
                        <a:pt x="1755" y="1181"/>
                      </a:lnTo>
                      <a:lnTo>
                        <a:pt x="1757" y="1181"/>
                      </a:lnTo>
                      <a:lnTo>
                        <a:pt x="1759" y="1181"/>
                      </a:lnTo>
                      <a:lnTo>
                        <a:pt x="1760" y="1181"/>
                      </a:lnTo>
                      <a:lnTo>
                        <a:pt x="1762" y="1180"/>
                      </a:lnTo>
                      <a:lnTo>
                        <a:pt x="1764" y="1180"/>
                      </a:lnTo>
                      <a:lnTo>
                        <a:pt x="1766" y="1176"/>
                      </a:lnTo>
                      <a:lnTo>
                        <a:pt x="1767" y="1174"/>
                      </a:lnTo>
                      <a:lnTo>
                        <a:pt x="1780" y="1171"/>
                      </a:lnTo>
                      <a:lnTo>
                        <a:pt x="1787" y="1167"/>
                      </a:lnTo>
                      <a:lnTo>
                        <a:pt x="1785" y="1164"/>
                      </a:lnTo>
                      <a:lnTo>
                        <a:pt x="1783" y="1164"/>
                      </a:lnTo>
                      <a:lnTo>
                        <a:pt x="1780" y="1162"/>
                      </a:lnTo>
                      <a:lnTo>
                        <a:pt x="1778" y="1162"/>
                      </a:lnTo>
                      <a:lnTo>
                        <a:pt x="1778" y="1160"/>
                      </a:lnTo>
                      <a:lnTo>
                        <a:pt x="1776" y="1159"/>
                      </a:lnTo>
                      <a:lnTo>
                        <a:pt x="1774" y="1157"/>
                      </a:lnTo>
                      <a:lnTo>
                        <a:pt x="1774" y="1157"/>
                      </a:lnTo>
                      <a:lnTo>
                        <a:pt x="1773" y="1157"/>
                      </a:lnTo>
                      <a:lnTo>
                        <a:pt x="1771" y="1159"/>
                      </a:lnTo>
                      <a:lnTo>
                        <a:pt x="1769" y="1159"/>
                      </a:lnTo>
                      <a:lnTo>
                        <a:pt x="1767" y="1160"/>
                      </a:lnTo>
                      <a:lnTo>
                        <a:pt x="1766" y="1160"/>
                      </a:lnTo>
                      <a:lnTo>
                        <a:pt x="1764" y="1160"/>
                      </a:lnTo>
                      <a:lnTo>
                        <a:pt x="1760" y="1159"/>
                      </a:lnTo>
                      <a:lnTo>
                        <a:pt x="1759" y="1159"/>
                      </a:lnTo>
                      <a:lnTo>
                        <a:pt x="1757" y="1155"/>
                      </a:lnTo>
                      <a:lnTo>
                        <a:pt x="1753" y="1152"/>
                      </a:lnTo>
                      <a:lnTo>
                        <a:pt x="1752" y="1148"/>
                      </a:lnTo>
                      <a:lnTo>
                        <a:pt x="1748" y="1148"/>
                      </a:lnTo>
                      <a:lnTo>
                        <a:pt x="1747" y="1150"/>
                      </a:lnTo>
                      <a:lnTo>
                        <a:pt x="1743" y="1153"/>
                      </a:lnTo>
                      <a:lnTo>
                        <a:pt x="1738" y="1157"/>
                      </a:lnTo>
                      <a:lnTo>
                        <a:pt x="1736" y="1159"/>
                      </a:lnTo>
                      <a:lnTo>
                        <a:pt x="1738" y="1157"/>
                      </a:lnTo>
                      <a:lnTo>
                        <a:pt x="1745" y="1148"/>
                      </a:lnTo>
                      <a:lnTo>
                        <a:pt x="1743" y="1148"/>
                      </a:lnTo>
                      <a:lnTo>
                        <a:pt x="1741" y="1148"/>
                      </a:lnTo>
                      <a:lnTo>
                        <a:pt x="1740" y="1148"/>
                      </a:lnTo>
                      <a:lnTo>
                        <a:pt x="1738" y="1146"/>
                      </a:lnTo>
                      <a:lnTo>
                        <a:pt x="1738" y="1146"/>
                      </a:lnTo>
                      <a:lnTo>
                        <a:pt x="1738" y="1146"/>
                      </a:lnTo>
                      <a:lnTo>
                        <a:pt x="1736" y="1145"/>
                      </a:lnTo>
                      <a:lnTo>
                        <a:pt x="1736" y="1146"/>
                      </a:lnTo>
                      <a:lnTo>
                        <a:pt x="1734" y="1146"/>
                      </a:lnTo>
                      <a:lnTo>
                        <a:pt x="1734" y="1146"/>
                      </a:lnTo>
                      <a:lnTo>
                        <a:pt x="1733" y="1146"/>
                      </a:lnTo>
                      <a:lnTo>
                        <a:pt x="1729" y="1146"/>
                      </a:lnTo>
                      <a:lnTo>
                        <a:pt x="1727" y="1148"/>
                      </a:lnTo>
                      <a:lnTo>
                        <a:pt x="1726" y="1148"/>
                      </a:lnTo>
                      <a:lnTo>
                        <a:pt x="1724" y="1150"/>
                      </a:lnTo>
                      <a:lnTo>
                        <a:pt x="1720" y="1152"/>
                      </a:lnTo>
                      <a:lnTo>
                        <a:pt x="1719" y="1152"/>
                      </a:lnTo>
                      <a:lnTo>
                        <a:pt x="1720" y="1152"/>
                      </a:lnTo>
                      <a:lnTo>
                        <a:pt x="1720" y="1150"/>
                      </a:lnTo>
                      <a:lnTo>
                        <a:pt x="1727" y="1143"/>
                      </a:lnTo>
                      <a:lnTo>
                        <a:pt x="1727" y="1141"/>
                      </a:lnTo>
                      <a:lnTo>
                        <a:pt x="1727" y="1139"/>
                      </a:lnTo>
                      <a:lnTo>
                        <a:pt x="1726" y="1138"/>
                      </a:lnTo>
                      <a:lnTo>
                        <a:pt x="1724" y="1136"/>
                      </a:lnTo>
                      <a:lnTo>
                        <a:pt x="1726" y="1132"/>
                      </a:lnTo>
                      <a:lnTo>
                        <a:pt x="1724" y="1132"/>
                      </a:lnTo>
                      <a:lnTo>
                        <a:pt x="1722" y="1132"/>
                      </a:lnTo>
                      <a:lnTo>
                        <a:pt x="1720" y="1132"/>
                      </a:lnTo>
                      <a:lnTo>
                        <a:pt x="1720" y="1134"/>
                      </a:lnTo>
                      <a:lnTo>
                        <a:pt x="1720" y="1132"/>
                      </a:lnTo>
                      <a:lnTo>
                        <a:pt x="1719" y="1131"/>
                      </a:lnTo>
                      <a:lnTo>
                        <a:pt x="1717" y="1129"/>
                      </a:lnTo>
                      <a:lnTo>
                        <a:pt x="1717" y="1129"/>
                      </a:lnTo>
                      <a:lnTo>
                        <a:pt x="1715" y="1129"/>
                      </a:lnTo>
                      <a:lnTo>
                        <a:pt x="1713" y="1129"/>
                      </a:lnTo>
                      <a:lnTo>
                        <a:pt x="1713" y="1129"/>
                      </a:lnTo>
                      <a:lnTo>
                        <a:pt x="1712" y="1131"/>
                      </a:lnTo>
                      <a:lnTo>
                        <a:pt x="1708" y="1129"/>
                      </a:lnTo>
                      <a:lnTo>
                        <a:pt x="1703" y="1127"/>
                      </a:lnTo>
                      <a:lnTo>
                        <a:pt x="1701" y="1125"/>
                      </a:lnTo>
                      <a:lnTo>
                        <a:pt x="1701" y="1125"/>
                      </a:lnTo>
                      <a:lnTo>
                        <a:pt x="1703" y="1125"/>
                      </a:lnTo>
                      <a:lnTo>
                        <a:pt x="1705" y="1125"/>
                      </a:lnTo>
                      <a:lnTo>
                        <a:pt x="1703" y="1122"/>
                      </a:lnTo>
                      <a:lnTo>
                        <a:pt x="1703" y="1122"/>
                      </a:lnTo>
                      <a:lnTo>
                        <a:pt x="1701" y="1122"/>
                      </a:lnTo>
                      <a:lnTo>
                        <a:pt x="1698" y="1120"/>
                      </a:lnTo>
                      <a:lnTo>
                        <a:pt x="1696" y="1120"/>
                      </a:lnTo>
                      <a:lnTo>
                        <a:pt x="1696" y="1118"/>
                      </a:lnTo>
                      <a:lnTo>
                        <a:pt x="1699" y="1118"/>
                      </a:lnTo>
                      <a:lnTo>
                        <a:pt x="1701" y="1117"/>
                      </a:lnTo>
                      <a:lnTo>
                        <a:pt x="1699" y="1115"/>
                      </a:lnTo>
                      <a:lnTo>
                        <a:pt x="1692" y="1115"/>
                      </a:lnTo>
                      <a:lnTo>
                        <a:pt x="1689" y="1115"/>
                      </a:lnTo>
                      <a:lnTo>
                        <a:pt x="1691" y="1113"/>
                      </a:lnTo>
                      <a:lnTo>
                        <a:pt x="1692" y="1113"/>
                      </a:lnTo>
                      <a:lnTo>
                        <a:pt x="1694" y="1113"/>
                      </a:lnTo>
                      <a:lnTo>
                        <a:pt x="1694" y="1112"/>
                      </a:lnTo>
                      <a:lnTo>
                        <a:pt x="1691" y="1110"/>
                      </a:lnTo>
                      <a:lnTo>
                        <a:pt x="1682" y="1108"/>
                      </a:lnTo>
                      <a:lnTo>
                        <a:pt x="1678" y="1105"/>
                      </a:lnTo>
                      <a:lnTo>
                        <a:pt x="1680" y="1105"/>
                      </a:lnTo>
                      <a:lnTo>
                        <a:pt x="1680" y="1105"/>
                      </a:lnTo>
                      <a:lnTo>
                        <a:pt x="1682" y="1105"/>
                      </a:lnTo>
                      <a:lnTo>
                        <a:pt x="1684" y="1105"/>
                      </a:lnTo>
                      <a:lnTo>
                        <a:pt x="1682" y="1105"/>
                      </a:lnTo>
                      <a:lnTo>
                        <a:pt x="1684" y="1106"/>
                      </a:lnTo>
                      <a:lnTo>
                        <a:pt x="1687" y="1108"/>
                      </a:lnTo>
                      <a:lnTo>
                        <a:pt x="1698" y="1108"/>
                      </a:lnTo>
                      <a:lnTo>
                        <a:pt x="1699" y="1108"/>
                      </a:lnTo>
                      <a:lnTo>
                        <a:pt x="1701" y="1108"/>
                      </a:lnTo>
                      <a:lnTo>
                        <a:pt x="1703" y="1108"/>
                      </a:lnTo>
                      <a:lnTo>
                        <a:pt x="1703" y="1106"/>
                      </a:lnTo>
                      <a:lnTo>
                        <a:pt x="1703" y="1101"/>
                      </a:lnTo>
                      <a:lnTo>
                        <a:pt x="1703" y="1099"/>
                      </a:lnTo>
                      <a:lnTo>
                        <a:pt x="1701" y="1096"/>
                      </a:lnTo>
                      <a:lnTo>
                        <a:pt x="1698" y="1094"/>
                      </a:lnTo>
                      <a:lnTo>
                        <a:pt x="1696" y="1094"/>
                      </a:lnTo>
                      <a:lnTo>
                        <a:pt x="1694" y="1094"/>
                      </a:lnTo>
                      <a:lnTo>
                        <a:pt x="1692" y="1094"/>
                      </a:lnTo>
                      <a:lnTo>
                        <a:pt x="1691" y="1092"/>
                      </a:lnTo>
                      <a:lnTo>
                        <a:pt x="1691" y="1087"/>
                      </a:lnTo>
                      <a:lnTo>
                        <a:pt x="1689" y="1087"/>
                      </a:lnTo>
                      <a:lnTo>
                        <a:pt x="1684" y="1087"/>
                      </a:lnTo>
                      <a:lnTo>
                        <a:pt x="1678" y="1085"/>
                      </a:lnTo>
                      <a:lnTo>
                        <a:pt x="1682" y="1085"/>
                      </a:lnTo>
                      <a:lnTo>
                        <a:pt x="1685" y="1084"/>
                      </a:lnTo>
                      <a:lnTo>
                        <a:pt x="1689" y="1082"/>
                      </a:lnTo>
                      <a:lnTo>
                        <a:pt x="1691" y="1080"/>
                      </a:lnTo>
                      <a:lnTo>
                        <a:pt x="1691" y="1071"/>
                      </a:lnTo>
                      <a:lnTo>
                        <a:pt x="1691" y="1071"/>
                      </a:lnTo>
                      <a:lnTo>
                        <a:pt x="1689" y="1070"/>
                      </a:lnTo>
                      <a:lnTo>
                        <a:pt x="1687" y="1070"/>
                      </a:lnTo>
                      <a:lnTo>
                        <a:pt x="1684" y="1070"/>
                      </a:lnTo>
                      <a:lnTo>
                        <a:pt x="1682" y="1068"/>
                      </a:lnTo>
                      <a:lnTo>
                        <a:pt x="1680" y="1068"/>
                      </a:lnTo>
                      <a:lnTo>
                        <a:pt x="1680" y="1066"/>
                      </a:lnTo>
                      <a:lnTo>
                        <a:pt x="1678" y="1064"/>
                      </a:lnTo>
                      <a:lnTo>
                        <a:pt x="1677" y="1063"/>
                      </a:lnTo>
                      <a:lnTo>
                        <a:pt x="1673" y="1064"/>
                      </a:lnTo>
                      <a:lnTo>
                        <a:pt x="1666" y="1068"/>
                      </a:lnTo>
                      <a:lnTo>
                        <a:pt x="1663" y="1068"/>
                      </a:lnTo>
                      <a:lnTo>
                        <a:pt x="1666" y="1064"/>
                      </a:lnTo>
                      <a:lnTo>
                        <a:pt x="1670" y="1063"/>
                      </a:lnTo>
                      <a:lnTo>
                        <a:pt x="1673" y="1059"/>
                      </a:lnTo>
                      <a:lnTo>
                        <a:pt x="1675" y="1056"/>
                      </a:lnTo>
                      <a:lnTo>
                        <a:pt x="1675" y="1052"/>
                      </a:lnTo>
                      <a:lnTo>
                        <a:pt x="1673" y="1052"/>
                      </a:lnTo>
                      <a:lnTo>
                        <a:pt x="1664" y="1056"/>
                      </a:lnTo>
                      <a:lnTo>
                        <a:pt x="1664" y="1054"/>
                      </a:lnTo>
                      <a:lnTo>
                        <a:pt x="1661" y="1054"/>
                      </a:lnTo>
                      <a:lnTo>
                        <a:pt x="1659" y="1056"/>
                      </a:lnTo>
                      <a:lnTo>
                        <a:pt x="1656" y="1057"/>
                      </a:lnTo>
                      <a:lnTo>
                        <a:pt x="1659" y="1054"/>
                      </a:lnTo>
                      <a:lnTo>
                        <a:pt x="1661" y="1052"/>
                      </a:lnTo>
                      <a:lnTo>
                        <a:pt x="1663" y="1052"/>
                      </a:lnTo>
                      <a:lnTo>
                        <a:pt x="1666" y="1050"/>
                      </a:lnTo>
                      <a:lnTo>
                        <a:pt x="1668" y="1049"/>
                      </a:lnTo>
                      <a:lnTo>
                        <a:pt x="1670" y="1047"/>
                      </a:lnTo>
                      <a:lnTo>
                        <a:pt x="1670" y="1047"/>
                      </a:lnTo>
                      <a:lnTo>
                        <a:pt x="1670" y="1045"/>
                      </a:lnTo>
                      <a:lnTo>
                        <a:pt x="1670" y="1043"/>
                      </a:lnTo>
                      <a:lnTo>
                        <a:pt x="1668" y="1042"/>
                      </a:lnTo>
                      <a:lnTo>
                        <a:pt x="1666" y="1040"/>
                      </a:lnTo>
                      <a:lnTo>
                        <a:pt x="1664" y="1040"/>
                      </a:lnTo>
                      <a:lnTo>
                        <a:pt x="1664" y="1040"/>
                      </a:lnTo>
                      <a:lnTo>
                        <a:pt x="1663" y="1040"/>
                      </a:lnTo>
                      <a:lnTo>
                        <a:pt x="1663" y="1038"/>
                      </a:lnTo>
                      <a:lnTo>
                        <a:pt x="1661" y="1035"/>
                      </a:lnTo>
                      <a:lnTo>
                        <a:pt x="1663" y="1035"/>
                      </a:lnTo>
                      <a:lnTo>
                        <a:pt x="1659" y="1033"/>
                      </a:lnTo>
                      <a:lnTo>
                        <a:pt x="1650" y="1035"/>
                      </a:lnTo>
                      <a:lnTo>
                        <a:pt x="1647" y="1035"/>
                      </a:lnTo>
                      <a:lnTo>
                        <a:pt x="1654" y="1035"/>
                      </a:lnTo>
                      <a:lnTo>
                        <a:pt x="1656" y="1033"/>
                      </a:lnTo>
                      <a:lnTo>
                        <a:pt x="1657" y="1031"/>
                      </a:lnTo>
                      <a:lnTo>
                        <a:pt x="1659" y="1028"/>
                      </a:lnTo>
                      <a:lnTo>
                        <a:pt x="1657" y="1026"/>
                      </a:lnTo>
                      <a:lnTo>
                        <a:pt x="1654" y="1026"/>
                      </a:lnTo>
                      <a:lnTo>
                        <a:pt x="1652" y="1028"/>
                      </a:lnTo>
                      <a:lnTo>
                        <a:pt x="1650" y="1026"/>
                      </a:lnTo>
                      <a:lnTo>
                        <a:pt x="1650" y="1024"/>
                      </a:lnTo>
                      <a:lnTo>
                        <a:pt x="1649" y="1024"/>
                      </a:lnTo>
                      <a:lnTo>
                        <a:pt x="1647" y="1022"/>
                      </a:lnTo>
                      <a:lnTo>
                        <a:pt x="1650" y="1021"/>
                      </a:lnTo>
                      <a:lnTo>
                        <a:pt x="1650" y="1019"/>
                      </a:lnTo>
                      <a:lnTo>
                        <a:pt x="1650" y="1017"/>
                      </a:lnTo>
                      <a:lnTo>
                        <a:pt x="1649" y="1015"/>
                      </a:lnTo>
                      <a:lnTo>
                        <a:pt x="1645" y="1010"/>
                      </a:lnTo>
                      <a:lnTo>
                        <a:pt x="1643" y="1010"/>
                      </a:lnTo>
                      <a:lnTo>
                        <a:pt x="1642" y="1012"/>
                      </a:lnTo>
                      <a:lnTo>
                        <a:pt x="1643" y="1008"/>
                      </a:lnTo>
                      <a:lnTo>
                        <a:pt x="1643" y="1007"/>
                      </a:lnTo>
                      <a:lnTo>
                        <a:pt x="1642" y="1003"/>
                      </a:lnTo>
                      <a:lnTo>
                        <a:pt x="1640" y="1001"/>
                      </a:lnTo>
                      <a:lnTo>
                        <a:pt x="1638" y="1001"/>
                      </a:lnTo>
                      <a:lnTo>
                        <a:pt x="1633" y="1003"/>
                      </a:lnTo>
                      <a:lnTo>
                        <a:pt x="1630" y="1003"/>
                      </a:lnTo>
                      <a:lnTo>
                        <a:pt x="1635" y="1000"/>
                      </a:lnTo>
                      <a:lnTo>
                        <a:pt x="1636" y="998"/>
                      </a:lnTo>
                      <a:lnTo>
                        <a:pt x="1636" y="996"/>
                      </a:lnTo>
                      <a:lnTo>
                        <a:pt x="1636" y="993"/>
                      </a:lnTo>
                      <a:lnTo>
                        <a:pt x="1633" y="993"/>
                      </a:lnTo>
                      <a:lnTo>
                        <a:pt x="1630" y="993"/>
                      </a:lnTo>
                      <a:lnTo>
                        <a:pt x="1628" y="993"/>
                      </a:lnTo>
                      <a:lnTo>
                        <a:pt x="1624" y="996"/>
                      </a:lnTo>
                      <a:lnTo>
                        <a:pt x="1623" y="1001"/>
                      </a:lnTo>
                      <a:lnTo>
                        <a:pt x="1623" y="1007"/>
                      </a:lnTo>
                      <a:lnTo>
                        <a:pt x="1624" y="1010"/>
                      </a:lnTo>
                      <a:lnTo>
                        <a:pt x="1624" y="1012"/>
                      </a:lnTo>
                      <a:lnTo>
                        <a:pt x="1621" y="1010"/>
                      </a:lnTo>
                      <a:lnTo>
                        <a:pt x="1617" y="1010"/>
                      </a:lnTo>
                      <a:lnTo>
                        <a:pt x="1616" y="1012"/>
                      </a:lnTo>
                      <a:lnTo>
                        <a:pt x="1616" y="1015"/>
                      </a:lnTo>
                      <a:lnTo>
                        <a:pt x="1616" y="1017"/>
                      </a:lnTo>
                      <a:lnTo>
                        <a:pt x="1619" y="1021"/>
                      </a:lnTo>
                      <a:lnTo>
                        <a:pt x="1623" y="1021"/>
                      </a:lnTo>
                      <a:lnTo>
                        <a:pt x="1624" y="1024"/>
                      </a:lnTo>
                      <a:lnTo>
                        <a:pt x="1621" y="1022"/>
                      </a:lnTo>
                      <a:lnTo>
                        <a:pt x="1617" y="1021"/>
                      </a:lnTo>
                      <a:lnTo>
                        <a:pt x="1616" y="1021"/>
                      </a:lnTo>
                      <a:lnTo>
                        <a:pt x="1616" y="1026"/>
                      </a:lnTo>
                      <a:lnTo>
                        <a:pt x="1616" y="1024"/>
                      </a:lnTo>
                      <a:lnTo>
                        <a:pt x="1614" y="1026"/>
                      </a:lnTo>
                      <a:lnTo>
                        <a:pt x="1614" y="1026"/>
                      </a:lnTo>
                      <a:lnTo>
                        <a:pt x="1614" y="1028"/>
                      </a:lnTo>
                      <a:lnTo>
                        <a:pt x="1612" y="1028"/>
                      </a:lnTo>
                      <a:lnTo>
                        <a:pt x="1612" y="1029"/>
                      </a:lnTo>
                      <a:lnTo>
                        <a:pt x="1610" y="1029"/>
                      </a:lnTo>
                      <a:lnTo>
                        <a:pt x="1610" y="1029"/>
                      </a:lnTo>
                      <a:lnTo>
                        <a:pt x="1610" y="1031"/>
                      </a:lnTo>
                      <a:lnTo>
                        <a:pt x="1612" y="1033"/>
                      </a:lnTo>
                      <a:lnTo>
                        <a:pt x="1617" y="1035"/>
                      </a:lnTo>
                      <a:lnTo>
                        <a:pt x="1616" y="1035"/>
                      </a:lnTo>
                      <a:lnTo>
                        <a:pt x="1612" y="1035"/>
                      </a:lnTo>
                      <a:lnTo>
                        <a:pt x="1610" y="1036"/>
                      </a:lnTo>
                      <a:lnTo>
                        <a:pt x="1610" y="1036"/>
                      </a:lnTo>
                      <a:lnTo>
                        <a:pt x="1609" y="1036"/>
                      </a:lnTo>
                      <a:lnTo>
                        <a:pt x="1607" y="1038"/>
                      </a:lnTo>
                      <a:lnTo>
                        <a:pt x="1605" y="1040"/>
                      </a:lnTo>
                      <a:lnTo>
                        <a:pt x="1607" y="1040"/>
                      </a:lnTo>
                      <a:lnTo>
                        <a:pt x="1603" y="1043"/>
                      </a:lnTo>
                      <a:lnTo>
                        <a:pt x="1603" y="1045"/>
                      </a:lnTo>
                      <a:lnTo>
                        <a:pt x="1605" y="1050"/>
                      </a:lnTo>
                      <a:lnTo>
                        <a:pt x="1603" y="1054"/>
                      </a:lnTo>
                      <a:lnTo>
                        <a:pt x="1603" y="1052"/>
                      </a:lnTo>
                      <a:lnTo>
                        <a:pt x="1602" y="1049"/>
                      </a:lnTo>
                      <a:lnTo>
                        <a:pt x="1602" y="1045"/>
                      </a:lnTo>
                      <a:lnTo>
                        <a:pt x="1598" y="1043"/>
                      </a:lnTo>
                      <a:lnTo>
                        <a:pt x="1595" y="1043"/>
                      </a:lnTo>
                      <a:lnTo>
                        <a:pt x="1593" y="1045"/>
                      </a:lnTo>
                      <a:lnTo>
                        <a:pt x="1591" y="1049"/>
                      </a:lnTo>
                      <a:lnTo>
                        <a:pt x="1589" y="1050"/>
                      </a:lnTo>
                      <a:lnTo>
                        <a:pt x="1588" y="1054"/>
                      </a:lnTo>
                      <a:lnTo>
                        <a:pt x="1575" y="1057"/>
                      </a:lnTo>
                      <a:lnTo>
                        <a:pt x="1572" y="1061"/>
                      </a:lnTo>
                      <a:lnTo>
                        <a:pt x="1570" y="1063"/>
                      </a:lnTo>
                      <a:lnTo>
                        <a:pt x="1568" y="1068"/>
                      </a:lnTo>
                      <a:lnTo>
                        <a:pt x="1567" y="1059"/>
                      </a:lnTo>
                      <a:lnTo>
                        <a:pt x="1567" y="1056"/>
                      </a:lnTo>
                      <a:lnTo>
                        <a:pt x="1563" y="1061"/>
                      </a:lnTo>
                      <a:lnTo>
                        <a:pt x="1561" y="1063"/>
                      </a:lnTo>
                      <a:lnTo>
                        <a:pt x="1560" y="1064"/>
                      </a:lnTo>
                      <a:lnTo>
                        <a:pt x="1561" y="1061"/>
                      </a:lnTo>
                      <a:lnTo>
                        <a:pt x="1563" y="1059"/>
                      </a:lnTo>
                      <a:lnTo>
                        <a:pt x="1563" y="1057"/>
                      </a:lnTo>
                      <a:lnTo>
                        <a:pt x="1563" y="1056"/>
                      </a:lnTo>
                      <a:lnTo>
                        <a:pt x="1561" y="1054"/>
                      </a:lnTo>
                      <a:lnTo>
                        <a:pt x="1560" y="1054"/>
                      </a:lnTo>
                      <a:lnTo>
                        <a:pt x="1558" y="1056"/>
                      </a:lnTo>
                      <a:lnTo>
                        <a:pt x="1554" y="1063"/>
                      </a:lnTo>
                      <a:lnTo>
                        <a:pt x="1553" y="1066"/>
                      </a:lnTo>
                      <a:lnTo>
                        <a:pt x="1551" y="1068"/>
                      </a:lnTo>
                      <a:lnTo>
                        <a:pt x="1547" y="1068"/>
                      </a:lnTo>
                      <a:lnTo>
                        <a:pt x="1539" y="1071"/>
                      </a:lnTo>
                      <a:lnTo>
                        <a:pt x="1542" y="1068"/>
                      </a:lnTo>
                      <a:lnTo>
                        <a:pt x="1551" y="1064"/>
                      </a:lnTo>
                      <a:lnTo>
                        <a:pt x="1554" y="1061"/>
                      </a:lnTo>
                      <a:lnTo>
                        <a:pt x="1556" y="1056"/>
                      </a:lnTo>
                      <a:lnTo>
                        <a:pt x="1556" y="1052"/>
                      </a:lnTo>
                      <a:lnTo>
                        <a:pt x="1554" y="1047"/>
                      </a:lnTo>
                      <a:lnTo>
                        <a:pt x="1553" y="1043"/>
                      </a:lnTo>
                      <a:lnTo>
                        <a:pt x="1549" y="1040"/>
                      </a:lnTo>
                      <a:lnTo>
                        <a:pt x="1544" y="1038"/>
                      </a:lnTo>
                      <a:lnTo>
                        <a:pt x="1539" y="1038"/>
                      </a:lnTo>
                      <a:lnTo>
                        <a:pt x="1533" y="1040"/>
                      </a:lnTo>
                      <a:lnTo>
                        <a:pt x="1525" y="1045"/>
                      </a:lnTo>
                      <a:lnTo>
                        <a:pt x="1519" y="1045"/>
                      </a:lnTo>
                      <a:lnTo>
                        <a:pt x="1514" y="1043"/>
                      </a:lnTo>
                      <a:lnTo>
                        <a:pt x="1516" y="1043"/>
                      </a:lnTo>
                      <a:lnTo>
                        <a:pt x="1518" y="1042"/>
                      </a:lnTo>
                      <a:lnTo>
                        <a:pt x="1519" y="1042"/>
                      </a:lnTo>
                      <a:lnTo>
                        <a:pt x="1521" y="1040"/>
                      </a:lnTo>
                      <a:lnTo>
                        <a:pt x="1521" y="1040"/>
                      </a:lnTo>
                      <a:lnTo>
                        <a:pt x="1521" y="1040"/>
                      </a:lnTo>
                      <a:lnTo>
                        <a:pt x="1521" y="1038"/>
                      </a:lnTo>
                      <a:lnTo>
                        <a:pt x="1523" y="1038"/>
                      </a:lnTo>
                      <a:lnTo>
                        <a:pt x="1525" y="1042"/>
                      </a:lnTo>
                      <a:lnTo>
                        <a:pt x="1526" y="1042"/>
                      </a:lnTo>
                      <a:lnTo>
                        <a:pt x="1528" y="1042"/>
                      </a:lnTo>
                      <a:lnTo>
                        <a:pt x="1530" y="1038"/>
                      </a:lnTo>
                      <a:lnTo>
                        <a:pt x="1530" y="1036"/>
                      </a:lnTo>
                      <a:lnTo>
                        <a:pt x="1530" y="1035"/>
                      </a:lnTo>
                      <a:lnTo>
                        <a:pt x="1530" y="1033"/>
                      </a:lnTo>
                      <a:lnTo>
                        <a:pt x="1530" y="1031"/>
                      </a:lnTo>
                      <a:lnTo>
                        <a:pt x="1530" y="1029"/>
                      </a:lnTo>
                      <a:lnTo>
                        <a:pt x="1530" y="1029"/>
                      </a:lnTo>
                      <a:lnTo>
                        <a:pt x="1532" y="1028"/>
                      </a:lnTo>
                      <a:lnTo>
                        <a:pt x="1532" y="1028"/>
                      </a:lnTo>
                      <a:lnTo>
                        <a:pt x="1532" y="1026"/>
                      </a:lnTo>
                      <a:lnTo>
                        <a:pt x="1530" y="1024"/>
                      </a:lnTo>
                      <a:lnTo>
                        <a:pt x="1526" y="1024"/>
                      </a:lnTo>
                      <a:lnTo>
                        <a:pt x="1525" y="1024"/>
                      </a:lnTo>
                      <a:lnTo>
                        <a:pt x="1525" y="1021"/>
                      </a:lnTo>
                      <a:lnTo>
                        <a:pt x="1526" y="1017"/>
                      </a:lnTo>
                      <a:lnTo>
                        <a:pt x="1526" y="1015"/>
                      </a:lnTo>
                      <a:lnTo>
                        <a:pt x="1526" y="1012"/>
                      </a:lnTo>
                      <a:lnTo>
                        <a:pt x="1526" y="1008"/>
                      </a:lnTo>
                      <a:lnTo>
                        <a:pt x="1521" y="1005"/>
                      </a:lnTo>
                      <a:lnTo>
                        <a:pt x="1509" y="1005"/>
                      </a:lnTo>
                      <a:lnTo>
                        <a:pt x="1504" y="1003"/>
                      </a:lnTo>
                      <a:lnTo>
                        <a:pt x="1514" y="1003"/>
                      </a:lnTo>
                      <a:lnTo>
                        <a:pt x="1519" y="1003"/>
                      </a:lnTo>
                      <a:lnTo>
                        <a:pt x="1523" y="1001"/>
                      </a:lnTo>
                      <a:lnTo>
                        <a:pt x="1526" y="1000"/>
                      </a:lnTo>
                      <a:lnTo>
                        <a:pt x="1526" y="998"/>
                      </a:lnTo>
                      <a:lnTo>
                        <a:pt x="1523" y="993"/>
                      </a:lnTo>
                      <a:lnTo>
                        <a:pt x="1523" y="987"/>
                      </a:lnTo>
                      <a:lnTo>
                        <a:pt x="1525" y="984"/>
                      </a:lnTo>
                      <a:lnTo>
                        <a:pt x="1526" y="980"/>
                      </a:lnTo>
                      <a:lnTo>
                        <a:pt x="1530" y="975"/>
                      </a:lnTo>
                      <a:lnTo>
                        <a:pt x="1530" y="972"/>
                      </a:lnTo>
                      <a:lnTo>
                        <a:pt x="1530" y="968"/>
                      </a:lnTo>
                      <a:lnTo>
                        <a:pt x="1528" y="966"/>
                      </a:lnTo>
                      <a:lnTo>
                        <a:pt x="1526" y="968"/>
                      </a:lnTo>
                      <a:lnTo>
                        <a:pt x="1525" y="970"/>
                      </a:lnTo>
                      <a:lnTo>
                        <a:pt x="1521" y="973"/>
                      </a:lnTo>
                      <a:lnTo>
                        <a:pt x="1518" y="973"/>
                      </a:lnTo>
                      <a:lnTo>
                        <a:pt x="1516" y="973"/>
                      </a:lnTo>
                      <a:lnTo>
                        <a:pt x="1516" y="972"/>
                      </a:lnTo>
                      <a:lnTo>
                        <a:pt x="1516" y="970"/>
                      </a:lnTo>
                      <a:lnTo>
                        <a:pt x="1514" y="968"/>
                      </a:lnTo>
                      <a:lnTo>
                        <a:pt x="1513" y="966"/>
                      </a:lnTo>
                      <a:lnTo>
                        <a:pt x="1513" y="966"/>
                      </a:lnTo>
                      <a:lnTo>
                        <a:pt x="1509" y="966"/>
                      </a:lnTo>
                      <a:lnTo>
                        <a:pt x="1504" y="966"/>
                      </a:lnTo>
                      <a:lnTo>
                        <a:pt x="1490" y="963"/>
                      </a:lnTo>
                      <a:lnTo>
                        <a:pt x="1486" y="963"/>
                      </a:lnTo>
                      <a:lnTo>
                        <a:pt x="1483" y="959"/>
                      </a:lnTo>
                      <a:lnTo>
                        <a:pt x="1481" y="958"/>
                      </a:lnTo>
                      <a:lnTo>
                        <a:pt x="1483" y="954"/>
                      </a:lnTo>
                      <a:lnTo>
                        <a:pt x="1479" y="954"/>
                      </a:lnTo>
                      <a:lnTo>
                        <a:pt x="1479" y="953"/>
                      </a:lnTo>
                      <a:lnTo>
                        <a:pt x="1483" y="949"/>
                      </a:lnTo>
                      <a:lnTo>
                        <a:pt x="1483" y="947"/>
                      </a:lnTo>
                      <a:lnTo>
                        <a:pt x="1481" y="946"/>
                      </a:lnTo>
                      <a:lnTo>
                        <a:pt x="1478" y="946"/>
                      </a:lnTo>
                      <a:lnTo>
                        <a:pt x="1474" y="947"/>
                      </a:lnTo>
                      <a:lnTo>
                        <a:pt x="1471" y="947"/>
                      </a:lnTo>
                      <a:lnTo>
                        <a:pt x="1474" y="947"/>
                      </a:lnTo>
                      <a:lnTo>
                        <a:pt x="1474" y="944"/>
                      </a:lnTo>
                      <a:lnTo>
                        <a:pt x="1472" y="942"/>
                      </a:lnTo>
                      <a:lnTo>
                        <a:pt x="1471" y="940"/>
                      </a:lnTo>
                      <a:lnTo>
                        <a:pt x="1467" y="937"/>
                      </a:lnTo>
                      <a:lnTo>
                        <a:pt x="1465" y="937"/>
                      </a:lnTo>
                      <a:lnTo>
                        <a:pt x="1462" y="939"/>
                      </a:lnTo>
                      <a:lnTo>
                        <a:pt x="1458" y="939"/>
                      </a:lnTo>
                      <a:lnTo>
                        <a:pt x="1460" y="937"/>
                      </a:lnTo>
                      <a:lnTo>
                        <a:pt x="1462" y="935"/>
                      </a:lnTo>
                      <a:lnTo>
                        <a:pt x="1462" y="932"/>
                      </a:lnTo>
                      <a:lnTo>
                        <a:pt x="1460" y="930"/>
                      </a:lnTo>
                      <a:lnTo>
                        <a:pt x="1458" y="930"/>
                      </a:lnTo>
                      <a:lnTo>
                        <a:pt x="1455" y="928"/>
                      </a:lnTo>
                      <a:lnTo>
                        <a:pt x="1453" y="928"/>
                      </a:lnTo>
                      <a:lnTo>
                        <a:pt x="1446" y="923"/>
                      </a:lnTo>
                      <a:lnTo>
                        <a:pt x="1441" y="921"/>
                      </a:lnTo>
                      <a:lnTo>
                        <a:pt x="1439" y="919"/>
                      </a:lnTo>
                      <a:lnTo>
                        <a:pt x="1436" y="921"/>
                      </a:lnTo>
                      <a:lnTo>
                        <a:pt x="1432" y="923"/>
                      </a:lnTo>
                      <a:lnTo>
                        <a:pt x="1423" y="925"/>
                      </a:lnTo>
                      <a:lnTo>
                        <a:pt x="1420" y="928"/>
                      </a:lnTo>
                      <a:lnTo>
                        <a:pt x="1420" y="930"/>
                      </a:lnTo>
                      <a:lnTo>
                        <a:pt x="1416" y="930"/>
                      </a:lnTo>
                      <a:lnTo>
                        <a:pt x="1409" y="926"/>
                      </a:lnTo>
                      <a:lnTo>
                        <a:pt x="1406" y="925"/>
                      </a:lnTo>
                      <a:lnTo>
                        <a:pt x="1402" y="925"/>
                      </a:lnTo>
                      <a:lnTo>
                        <a:pt x="1397" y="928"/>
                      </a:lnTo>
                      <a:lnTo>
                        <a:pt x="1394" y="928"/>
                      </a:lnTo>
                      <a:lnTo>
                        <a:pt x="1396" y="928"/>
                      </a:lnTo>
                      <a:lnTo>
                        <a:pt x="1397" y="926"/>
                      </a:lnTo>
                      <a:lnTo>
                        <a:pt x="1392" y="923"/>
                      </a:lnTo>
                      <a:lnTo>
                        <a:pt x="1387" y="921"/>
                      </a:lnTo>
                      <a:lnTo>
                        <a:pt x="1369" y="918"/>
                      </a:lnTo>
                      <a:lnTo>
                        <a:pt x="1364" y="916"/>
                      </a:lnTo>
                      <a:lnTo>
                        <a:pt x="1359" y="918"/>
                      </a:lnTo>
                      <a:lnTo>
                        <a:pt x="1352" y="919"/>
                      </a:lnTo>
                      <a:lnTo>
                        <a:pt x="1348" y="921"/>
                      </a:lnTo>
                      <a:lnTo>
                        <a:pt x="1345" y="925"/>
                      </a:lnTo>
                      <a:lnTo>
                        <a:pt x="1345" y="928"/>
                      </a:lnTo>
                      <a:lnTo>
                        <a:pt x="1345" y="933"/>
                      </a:lnTo>
                      <a:lnTo>
                        <a:pt x="1347" y="939"/>
                      </a:lnTo>
                      <a:lnTo>
                        <a:pt x="1350" y="942"/>
                      </a:lnTo>
                      <a:lnTo>
                        <a:pt x="1354" y="947"/>
                      </a:lnTo>
                      <a:lnTo>
                        <a:pt x="1357" y="949"/>
                      </a:lnTo>
                      <a:lnTo>
                        <a:pt x="1355" y="953"/>
                      </a:lnTo>
                      <a:lnTo>
                        <a:pt x="1354" y="954"/>
                      </a:lnTo>
                      <a:lnTo>
                        <a:pt x="1352" y="956"/>
                      </a:lnTo>
                      <a:lnTo>
                        <a:pt x="1352" y="958"/>
                      </a:lnTo>
                      <a:lnTo>
                        <a:pt x="1354" y="961"/>
                      </a:lnTo>
                      <a:lnTo>
                        <a:pt x="1352" y="963"/>
                      </a:lnTo>
                      <a:lnTo>
                        <a:pt x="1350" y="966"/>
                      </a:lnTo>
                      <a:lnTo>
                        <a:pt x="1345" y="972"/>
                      </a:lnTo>
                      <a:lnTo>
                        <a:pt x="1343" y="975"/>
                      </a:lnTo>
                      <a:lnTo>
                        <a:pt x="1345" y="975"/>
                      </a:lnTo>
                      <a:lnTo>
                        <a:pt x="1348" y="977"/>
                      </a:lnTo>
                      <a:lnTo>
                        <a:pt x="1350" y="977"/>
                      </a:lnTo>
                      <a:lnTo>
                        <a:pt x="1355" y="975"/>
                      </a:lnTo>
                      <a:lnTo>
                        <a:pt x="1355" y="975"/>
                      </a:lnTo>
                      <a:lnTo>
                        <a:pt x="1355" y="977"/>
                      </a:lnTo>
                      <a:lnTo>
                        <a:pt x="1354" y="979"/>
                      </a:lnTo>
                      <a:lnTo>
                        <a:pt x="1352" y="980"/>
                      </a:lnTo>
                      <a:lnTo>
                        <a:pt x="1352" y="980"/>
                      </a:lnTo>
                      <a:lnTo>
                        <a:pt x="1352" y="982"/>
                      </a:lnTo>
                      <a:lnTo>
                        <a:pt x="1354" y="984"/>
                      </a:lnTo>
                      <a:lnTo>
                        <a:pt x="1355" y="984"/>
                      </a:lnTo>
                      <a:lnTo>
                        <a:pt x="1357" y="986"/>
                      </a:lnTo>
                      <a:lnTo>
                        <a:pt x="1355" y="987"/>
                      </a:lnTo>
                      <a:lnTo>
                        <a:pt x="1355" y="989"/>
                      </a:lnTo>
                      <a:lnTo>
                        <a:pt x="1357" y="993"/>
                      </a:lnTo>
                      <a:lnTo>
                        <a:pt x="1357" y="996"/>
                      </a:lnTo>
                      <a:lnTo>
                        <a:pt x="1359" y="998"/>
                      </a:lnTo>
                      <a:lnTo>
                        <a:pt x="1359" y="998"/>
                      </a:lnTo>
                      <a:lnTo>
                        <a:pt x="1359" y="1000"/>
                      </a:lnTo>
                      <a:lnTo>
                        <a:pt x="1357" y="1000"/>
                      </a:lnTo>
                      <a:lnTo>
                        <a:pt x="1357" y="1001"/>
                      </a:lnTo>
                      <a:lnTo>
                        <a:pt x="1361" y="1001"/>
                      </a:lnTo>
                      <a:lnTo>
                        <a:pt x="1361" y="1001"/>
                      </a:lnTo>
                      <a:lnTo>
                        <a:pt x="1362" y="1005"/>
                      </a:lnTo>
                      <a:lnTo>
                        <a:pt x="1362" y="1008"/>
                      </a:lnTo>
                      <a:lnTo>
                        <a:pt x="1362" y="1010"/>
                      </a:lnTo>
                      <a:lnTo>
                        <a:pt x="1361" y="1012"/>
                      </a:lnTo>
                      <a:lnTo>
                        <a:pt x="1359" y="1014"/>
                      </a:lnTo>
                      <a:lnTo>
                        <a:pt x="1359" y="1015"/>
                      </a:lnTo>
                      <a:lnTo>
                        <a:pt x="1361" y="1017"/>
                      </a:lnTo>
                      <a:lnTo>
                        <a:pt x="1359" y="1017"/>
                      </a:lnTo>
                      <a:lnTo>
                        <a:pt x="1357" y="1015"/>
                      </a:lnTo>
                      <a:lnTo>
                        <a:pt x="1355" y="1014"/>
                      </a:lnTo>
                      <a:lnTo>
                        <a:pt x="1354" y="1014"/>
                      </a:lnTo>
                      <a:lnTo>
                        <a:pt x="1354" y="1015"/>
                      </a:lnTo>
                      <a:lnTo>
                        <a:pt x="1350" y="1021"/>
                      </a:lnTo>
                      <a:lnTo>
                        <a:pt x="1350" y="1022"/>
                      </a:lnTo>
                      <a:lnTo>
                        <a:pt x="1352" y="1024"/>
                      </a:lnTo>
                      <a:lnTo>
                        <a:pt x="1352" y="1024"/>
                      </a:lnTo>
                      <a:lnTo>
                        <a:pt x="1350" y="1026"/>
                      </a:lnTo>
                      <a:lnTo>
                        <a:pt x="1341" y="1035"/>
                      </a:lnTo>
                      <a:lnTo>
                        <a:pt x="1338" y="1040"/>
                      </a:lnTo>
                      <a:lnTo>
                        <a:pt x="1336" y="1043"/>
                      </a:lnTo>
                      <a:lnTo>
                        <a:pt x="1336" y="1045"/>
                      </a:lnTo>
                      <a:lnTo>
                        <a:pt x="1340" y="1050"/>
                      </a:lnTo>
                      <a:lnTo>
                        <a:pt x="1345" y="1054"/>
                      </a:lnTo>
                      <a:lnTo>
                        <a:pt x="1359" y="1063"/>
                      </a:lnTo>
                      <a:lnTo>
                        <a:pt x="1368" y="1071"/>
                      </a:lnTo>
                      <a:lnTo>
                        <a:pt x="1373" y="1082"/>
                      </a:lnTo>
                      <a:lnTo>
                        <a:pt x="1378" y="1092"/>
                      </a:lnTo>
                      <a:lnTo>
                        <a:pt x="1378" y="1105"/>
                      </a:lnTo>
                      <a:lnTo>
                        <a:pt x="1378" y="1112"/>
                      </a:lnTo>
                      <a:lnTo>
                        <a:pt x="1378" y="1117"/>
                      </a:lnTo>
                      <a:lnTo>
                        <a:pt x="1376" y="1122"/>
                      </a:lnTo>
                      <a:lnTo>
                        <a:pt x="1373" y="1127"/>
                      </a:lnTo>
                      <a:lnTo>
                        <a:pt x="1364" y="1136"/>
                      </a:lnTo>
                      <a:lnTo>
                        <a:pt x="1355" y="1143"/>
                      </a:lnTo>
                      <a:lnTo>
                        <a:pt x="1350" y="1146"/>
                      </a:lnTo>
                      <a:lnTo>
                        <a:pt x="1345" y="1150"/>
                      </a:lnTo>
                      <a:lnTo>
                        <a:pt x="1334" y="1155"/>
                      </a:lnTo>
                      <a:lnTo>
                        <a:pt x="1315" y="1160"/>
                      </a:lnTo>
                      <a:lnTo>
                        <a:pt x="1310" y="1164"/>
                      </a:lnTo>
                      <a:lnTo>
                        <a:pt x="1313" y="1166"/>
                      </a:lnTo>
                      <a:lnTo>
                        <a:pt x="1313" y="1167"/>
                      </a:lnTo>
                      <a:lnTo>
                        <a:pt x="1317" y="1173"/>
                      </a:lnTo>
                      <a:lnTo>
                        <a:pt x="1319" y="1174"/>
                      </a:lnTo>
                      <a:lnTo>
                        <a:pt x="1320" y="1176"/>
                      </a:lnTo>
                      <a:lnTo>
                        <a:pt x="1322" y="1178"/>
                      </a:lnTo>
                      <a:lnTo>
                        <a:pt x="1320" y="1180"/>
                      </a:lnTo>
                      <a:lnTo>
                        <a:pt x="1324" y="1181"/>
                      </a:lnTo>
                      <a:lnTo>
                        <a:pt x="1326" y="1183"/>
                      </a:lnTo>
                      <a:lnTo>
                        <a:pt x="1324" y="1185"/>
                      </a:lnTo>
                      <a:lnTo>
                        <a:pt x="1327" y="1187"/>
                      </a:lnTo>
                      <a:lnTo>
                        <a:pt x="1324" y="1190"/>
                      </a:lnTo>
                      <a:lnTo>
                        <a:pt x="1326" y="1197"/>
                      </a:lnTo>
                      <a:lnTo>
                        <a:pt x="1327" y="1206"/>
                      </a:lnTo>
                      <a:lnTo>
                        <a:pt x="1329" y="1211"/>
                      </a:lnTo>
                      <a:lnTo>
                        <a:pt x="1331" y="1215"/>
                      </a:lnTo>
                      <a:lnTo>
                        <a:pt x="1331" y="1216"/>
                      </a:lnTo>
                      <a:lnTo>
                        <a:pt x="1331" y="1218"/>
                      </a:lnTo>
                      <a:lnTo>
                        <a:pt x="1331" y="1220"/>
                      </a:lnTo>
                      <a:lnTo>
                        <a:pt x="1331" y="1222"/>
                      </a:lnTo>
                      <a:lnTo>
                        <a:pt x="1333" y="1223"/>
                      </a:lnTo>
                      <a:lnTo>
                        <a:pt x="1334" y="1225"/>
                      </a:lnTo>
                      <a:lnTo>
                        <a:pt x="1336" y="1227"/>
                      </a:lnTo>
                      <a:lnTo>
                        <a:pt x="1336" y="1229"/>
                      </a:lnTo>
                      <a:lnTo>
                        <a:pt x="1336" y="1230"/>
                      </a:lnTo>
                      <a:lnTo>
                        <a:pt x="1336" y="1232"/>
                      </a:lnTo>
                      <a:lnTo>
                        <a:pt x="1338" y="1234"/>
                      </a:lnTo>
                      <a:lnTo>
                        <a:pt x="1334" y="1236"/>
                      </a:lnTo>
                      <a:lnTo>
                        <a:pt x="1331" y="1241"/>
                      </a:lnTo>
                      <a:lnTo>
                        <a:pt x="1327" y="1246"/>
                      </a:lnTo>
                      <a:lnTo>
                        <a:pt x="1326" y="1250"/>
                      </a:lnTo>
                      <a:lnTo>
                        <a:pt x="1327" y="1251"/>
                      </a:lnTo>
                      <a:lnTo>
                        <a:pt x="1331" y="1255"/>
                      </a:lnTo>
                      <a:lnTo>
                        <a:pt x="1331" y="1257"/>
                      </a:lnTo>
                      <a:lnTo>
                        <a:pt x="1331" y="1258"/>
                      </a:lnTo>
                      <a:lnTo>
                        <a:pt x="1329" y="1264"/>
                      </a:lnTo>
                      <a:lnTo>
                        <a:pt x="1327" y="1267"/>
                      </a:lnTo>
                      <a:lnTo>
                        <a:pt x="1326" y="1262"/>
                      </a:lnTo>
                      <a:lnTo>
                        <a:pt x="1322" y="1257"/>
                      </a:lnTo>
                      <a:lnTo>
                        <a:pt x="1319" y="1253"/>
                      </a:lnTo>
                      <a:lnTo>
                        <a:pt x="1313" y="1257"/>
                      </a:lnTo>
                      <a:lnTo>
                        <a:pt x="1310" y="1264"/>
                      </a:lnTo>
                      <a:lnTo>
                        <a:pt x="1312" y="1269"/>
                      </a:lnTo>
                      <a:lnTo>
                        <a:pt x="1315" y="1274"/>
                      </a:lnTo>
                      <a:lnTo>
                        <a:pt x="1319" y="1281"/>
                      </a:lnTo>
                      <a:lnTo>
                        <a:pt x="1315" y="1276"/>
                      </a:lnTo>
                      <a:lnTo>
                        <a:pt x="1312" y="1272"/>
                      </a:lnTo>
                      <a:lnTo>
                        <a:pt x="1308" y="1267"/>
                      </a:lnTo>
                      <a:lnTo>
                        <a:pt x="1303" y="1265"/>
                      </a:lnTo>
                      <a:lnTo>
                        <a:pt x="1298" y="1264"/>
                      </a:lnTo>
                      <a:lnTo>
                        <a:pt x="1294" y="1264"/>
                      </a:lnTo>
                      <a:lnTo>
                        <a:pt x="1291" y="1267"/>
                      </a:lnTo>
                      <a:lnTo>
                        <a:pt x="1285" y="1269"/>
                      </a:lnTo>
                      <a:lnTo>
                        <a:pt x="1291" y="1264"/>
                      </a:lnTo>
                      <a:lnTo>
                        <a:pt x="1294" y="1262"/>
                      </a:lnTo>
                      <a:lnTo>
                        <a:pt x="1294" y="1258"/>
                      </a:lnTo>
                      <a:lnTo>
                        <a:pt x="1294" y="1257"/>
                      </a:lnTo>
                      <a:lnTo>
                        <a:pt x="1292" y="1253"/>
                      </a:lnTo>
                      <a:lnTo>
                        <a:pt x="1291" y="1250"/>
                      </a:lnTo>
                      <a:lnTo>
                        <a:pt x="1289" y="1248"/>
                      </a:lnTo>
                      <a:lnTo>
                        <a:pt x="1284" y="1243"/>
                      </a:lnTo>
                      <a:lnTo>
                        <a:pt x="1279" y="1239"/>
                      </a:lnTo>
                      <a:lnTo>
                        <a:pt x="1272" y="1236"/>
                      </a:lnTo>
                      <a:lnTo>
                        <a:pt x="1265" y="1234"/>
                      </a:lnTo>
                      <a:lnTo>
                        <a:pt x="1268" y="1232"/>
                      </a:lnTo>
                      <a:lnTo>
                        <a:pt x="1270" y="1230"/>
                      </a:lnTo>
                      <a:lnTo>
                        <a:pt x="1270" y="1229"/>
                      </a:lnTo>
                      <a:lnTo>
                        <a:pt x="1261" y="1218"/>
                      </a:lnTo>
                      <a:lnTo>
                        <a:pt x="1258" y="1213"/>
                      </a:lnTo>
                      <a:lnTo>
                        <a:pt x="1256" y="1213"/>
                      </a:lnTo>
                      <a:lnTo>
                        <a:pt x="1256" y="1209"/>
                      </a:lnTo>
                      <a:lnTo>
                        <a:pt x="1256" y="1206"/>
                      </a:lnTo>
                      <a:lnTo>
                        <a:pt x="1258" y="1202"/>
                      </a:lnTo>
                      <a:lnTo>
                        <a:pt x="1259" y="1201"/>
                      </a:lnTo>
                      <a:lnTo>
                        <a:pt x="1259" y="1192"/>
                      </a:lnTo>
                      <a:lnTo>
                        <a:pt x="1258" y="1187"/>
                      </a:lnTo>
                      <a:lnTo>
                        <a:pt x="1258" y="1183"/>
                      </a:lnTo>
                      <a:lnTo>
                        <a:pt x="1254" y="1176"/>
                      </a:lnTo>
                      <a:lnTo>
                        <a:pt x="1252" y="1173"/>
                      </a:lnTo>
                      <a:lnTo>
                        <a:pt x="1254" y="1169"/>
                      </a:lnTo>
                      <a:lnTo>
                        <a:pt x="1256" y="1162"/>
                      </a:lnTo>
                      <a:lnTo>
                        <a:pt x="1256" y="1157"/>
                      </a:lnTo>
                      <a:lnTo>
                        <a:pt x="1256" y="1153"/>
                      </a:lnTo>
                      <a:lnTo>
                        <a:pt x="1254" y="1152"/>
                      </a:lnTo>
                      <a:lnTo>
                        <a:pt x="1252" y="1152"/>
                      </a:lnTo>
                      <a:lnTo>
                        <a:pt x="1251" y="1150"/>
                      </a:lnTo>
                      <a:lnTo>
                        <a:pt x="1249" y="1150"/>
                      </a:lnTo>
                      <a:lnTo>
                        <a:pt x="1247" y="1150"/>
                      </a:lnTo>
                      <a:lnTo>
                        <a:pt x="1245" y="1150"/>
                      </a:lnTo>
                      <a:lnTo>
                        <a:pt x="1244" y="1150"/>
                      </a:lnTo>
                      <a:lnTo>
                        <a:pt x="1244" y="1150"/>
                      </a:lnTo>
                      <a:lnTo>
                        <a:pt x="1242" y="1148"/>
                      </a:lnTo>
                      <a:lnTo>
                        <a:pt x="1242" y="1148"/>
                      </a:lnTo>
                      <a:lnTo>
                        <a:pt x="1219" y="1146"/>
                      </a:lnTo>
                      <a:lnTo>
                        <a:pt x="1207" y="1146"/>
                      </a:lnTo>
                      <a:lnTo>
                        <a:pt x="1198" y="1146"/>
                      </a:lnTo>
                      <a:lnTo>
                        <a:pt x="1193" y="1148"/>
                      </a:lnTo>
                      <a:lnTo>
                        <a:pt x="1189" y="1152"/>
                      </a:lnTo>
                      <a:lnTo>
                        <a:pt x="1191" y="1148"/>
                      </a:lnTo>
                      <a:lnTo>
                        <a:pt x="1193" y="1145"/>
                      </a:lnTo>
                      <a:lnTo>
                        <a:pt x="1191" y="1143"/>
                      </a:lnTo>
                      <a:lnTo>
                        <a:pt x="1184" y="1139"/>
                      </a:lnTo>
                      <a:lnTo>
                        <a:pt x="1181" y="1138"/>
                      </a:lnTo>
                      <a:lnTo>
                        <a:pt x="1177" y="1136"/>
                      </a:lnTo>
                      <a:lnTo>
                        <a:pt x="1148" y="1127"/>
                      </a:lnTo>
                      <a:lnTo>
                        <a:pt x="1144" y="1125"/>
                      </a:lnTo>
                      <a:lnTo>
                        <a:pt x="1141" y="1122"/>
                      </a:lnTo>
                      <a:lnTo>
                        <a:pt x="1135" y="1117"/>
                      </a:lnTo>
                      <a:lnTo>
                        <a:pt x="1128" y="1112"/>
                      </a:lnTo>
                      <a:lnTo>
                        <a:pt x="1121" y="1106"/>
                      </a:lnTo>
                      <a:lnTo>
                        <a:pt x="1113" y="1103"/>
                      </a:lnTo>
                      <a:lnTo>
                        <a:pt x="1109" y="1103"/>
                      </a:lnTo>
                      <a:lnTo>
                        <a:pt x="1097" y="1101"/>
                      </a:lnTo>
                      <a:lnTo>
                        <a:pt x="1092" y="1099"/>
                      </a:lnTo>
                      <a:lnTo>
                        <a:pt x="1079" y="1094"/>
                      </a:lnTo>
                      <a:lnTo>
                        <a:pt x="1071" y="1092"/>
                      </a:lnTo>
                      <a:lnTo>
                        <a:pt x="1060" y="1094"/>
                      </a:lnTo>
                      <a:lnTo>
                        <a:pt x="1039" y="1101"/>
                      </a:lnTo>
                      <a:lnTo>
                        <a:pt x="1041" y="1099"/>
                      </a:lnTo>
                      <a:lnTo>
                        <a:pt x="1041" y="1099"/>
                      </a:lnTo>
                      <a:lnTo>
                        <a:pt x="1041" y="1099"/>
                      </a:lnTo>
                      <a:lnTo>
                        <a:pt x="1041" y="1098"/>
                      </a:lnTo>
                      <a:lnTo>
                        <a:pt x="1039" y="1099"/>
                      </a:lnTo>
                      <a:lnTo>
                        <a:pt x="1034" y="1101"/>
                      </a:lnTo>
                      <a:lnTo>
                        <a:pt x="1031" y="1101"/>
                      </a:lnTo>
                      <a:lnTo>
                        <a:pt x="1036" y="1099"/>
                      </a:lnTo>
                      <a:lnTo>
                        <a:pt x="1038" y="1094"/>
                      </a:lnTo>
                      <a:lnTo>
                        <a:pt x="1038" y="1089"/>
                      </a:lnTo>
                      <a:lnTo>
                        <a:pt x="1038" y="1085"/>
                      </a:lnTo>
                      <a:lnTo>
                        <a:pt x="1027" y="1059"/>
                      </a:lnTo>
                      <a:lnTo>
                        <a:pt x="1025" y="1049"/>
                      </a:lnTo>
                      <a:lnTo>
                        <a:pt x="1024" y="1047"/>
                      </a:lnTo>
                      <a:lnTo>
                        <a:pt x="1022" y="1045"/>
                      </a:lnTo>
                      <a:lnTo>
                        <a:pt x="1018" y="1043"/>
                      </a:lnTo>
                      <a:lnTo>
                        <a:pt x="1008" y="1043"/>
                      </a:lnTo>
                      <a:lnTo>
                        <a:pt x="1004" y="1043"/>
                      </a:lnTo>
                      <a:lnTo>
                        <a:pt x="1003" y="1045"/>
                      </a:lnTo>
                      <a:lnTo>
                        <a:pt x="1001" y="1049"/>
                      </a:lnTo>
                      <a:lnTo>
                        <a:pt x="999" y="1056"/>
                      </a:lnTo>
                      <a:lnTo>
                        <a:pt x="997" y="1059"/>
                      </a:lnTo>
                      <a:lnTo>
                        <a:pt x="999" y="1049"/>
                      </a:lnTo>
                      <a:lnTo>
                        <a:pt x="997" y="1045"/>
                      </a:lnTo>
                      <a:lnTo>
                        <a:pt x="994" y="1042"/>
                      </a:lnTo>
                      <a:lnTo>
                        <a:pt x="990" y="1040"/>
                      </a:lnTo>
                      <a:lnTo>
                        <a:pt x="990" y="1040"/>
                      </a:lnTo>
                      <a:lnTo>
                        <a:pt x="989" y="1038"/>
                      </a:lnTo>
                      <a:lnTo>
                        <a:pt x="989" y="1036"/>
                      </a:lnTo>
                      <a:lnTo>
                        <a:pt x="987" y="1035"/>
                      </a:lnTo>
                      <a:lnTo>
                        <a:pt x="985" y="1035"/>
                      </a:lnTo>
                      <a:lnTo>
                        <a:pt x="989" y="1029"/>
                      </a:lnTo>
                      <a:lnTo>
                        <a:pt x="989" y="1022"/>
                      </a:lnTo>
                      <a:lnTo>
                        <a:pt x="989" y="1008"/>
                      </a:lnTo>
                      <a:lnTo>
                        <a:pt x="990" y="996"/>
                      </a:lnTo>
                      <a:lnTo>
                        <a:pt x="990" y="989"/>
                      </a:lnTo>
                      <a:lnTo>
                        <a:pt x="989" y="986"/>
                      </a:lnTo>
                      <a:lnTo>
                        <a:pt x="990" y="986"/>
                      </a:lnTo>
                      <a:lnTo>
                        <a:pt x="992" y="984"/>
                      </a:lnTo>
                      <a:lnTo>
                        <a:pt x="994" y="982"/>
                      </a:lnTo>
                      <a:lnTo>
                        <a:pt x="1003" y="966"/>
                      </a:lnTo>
                      <a:lnTo>
                        <a:pt x="1003" y="965"/>
                      </a:lnTo>
                      <a:lnTo>
                        <a:pt x="1004" y="963"/>
                      </a:lnTo>
                      <a:lnTo>
                        <a:pt x="1004" y="961"/>
                      </a:lnTo>
                      <a:lnTo>
                        <a:pt x="1004" y="959"/>
                      </a:lnTo>
                      <a:lnTo>
                        <a:pt x="1004" y="959"/>
                      </a:lnTo>
                      <a:lnTo>
                        <a:pt x="1004" y="958"/>
                      </a:lnTo>
                      <a:lnTo>
                        <a:pt x="1004" y="958"/>
                      </a:lnTo>
                      <a:lnTo>
                        <a:pt x="1006" y="958"/>
                      </a:lnTo>
                      <a:lnTo>
                        <a:pt x="1006" y="958"/>
                      </a:lnTo>
                      <a:lnTo>
                        <a:pt x="1006" y="956"/>
                      </a:lnTo>
                      <a:lnTo>
                        <a:pt x="1006" y="954"/>
                      </a:lnTo>
                      <a:lnTo>
                        <a:pt x="1006" y="953"/>
                      </a:lnTo>
                      <a:lnTo>
                        <a:pt x="1008" y="951"/>
                      </a:lnTo>
                      <a:lnTo>
                        <a:pt x="1010" y="949"/>
                      </a:lnTo>
                      <a:lnTo>
                        <a:pt x="1013" y="947"/>
                      </a:lnTo>
                      <a:lnTo>
                        <a:pt x="1017" y="944"/>
                      </a:lnTo>
                      <a:lnTo>
                        <a:pt x="1018" y="944"/>
                      </a:lnTo>
                      <a:lnTo>
                        <a:pt x="1020" y="942"/>
                      </a:lnTo>
                      <a:lnTo>
                        <a:pt x="1018" y="940"/>
                      </a:lnTo>
                      <a:lnTo>
                        <a:pt x="1015" y="937"/>
                      </a:lnTo>
                      <a:lnTo>
                        <a:pt x="1015" y="935"/>
                      </a:lnTo>
                      <a:lnTo>
                        <a:pt x="1018" y="937"/>
                      </a:lnTo>
                      <a:lnTo>
                        <a:pt x="1018" y="937"/>
                      </a:lnTo>
                      <a:lnTo>
                        <a:pt x="1020" y="935"/>
                      </a:lnTo>
                      <a:lnTo>
                        <a:pt x="1020" y="933"/>
                      </a:lnTo>
                      <a:lnTo>
                        <a:pt x="1018" y="933"/>
                      </a:lnTo>
                      <a:lnTo>
                        <a:pt x="1022" y="933"/>
                      </a:lnTo>
                      <a:lnTo>
                        <a:pt x="1024" y="933"/>
                      </a:lnTo>
                      <a:lnTo>
                        <a:pt x="1025" y="932"/>
                      </a:lnTo>
                      <a:lnTo>
                        <a:pt x="1025" y="932"/>
                      </a:lnTo>
                      <a:lnTo>
                        <a:pt x="1025" y="930"/>
                      </a:lnTo>
                      <a:lnTo>
                        <a:pt x="1025" y="930"/>
                      </a:lnTo>
                      <a:lnTo>
                        <a:pt x="1025" y="930"/>
                      </a:lnTo>
                      <a:lnTo>
                        <a:pt x="1027" y="928"/>
                      </a:lnTo>
                      <a:lnTo>
                        <a:pt x="1027" y="928"/>
                      </a:lnTo>
                      <a:lnTo>
                        <a:pt x="1029" y="926"/>
                      </a:lnTo>
                      <a:lnTo>
                        <a:pt x="1027" y="926"/>
                      </a:lnTo>
                      <a:lnTo>
                        <a:pt x="1027" y="925"/>
                      </a:lnTo>
                      <a:lnTo>
                        <a:pt x="1022" y="923"/>
                      </a:lnTo>
                      <a:lnTo>
                        <a:pt x="1027" y="923"/>
                      </a:lnTo>
                      <a:lnTo>
                        <a:pt x="1031" y="925"/>
                      </a:lnTo>
                      <a:lnTo>
                        <a:pt x="1032" y="926"/>
                      </a:lnTo>
                      <a:lnTo>
                        <a:pt x="1036" y="928"/>
                      </a:lnTo>
                      <a:lnTo>
                        <a:pt x="1036" y="928"/>
                      </a:lnTo>
                      <a:lnTo>
                        <a:pt x="1034" y="925"/>
                      </a:lnTo>
                      <a:lnTo>
                        <a:pt x="1032" y="923"/>
                      </a:lnTo>
                      <a:lnTo>
                        <a:pt x="1032" y="923"/>
                      </a:lnTo>
                      <a:lnTo>
                        <a:pt x="1032" y="923"/>
                      </a:lnTo>
                      <a:lnTo>
                        <a:pt x="1032" y="921"/>
                      </a:lnTo>
                      <a:lnTo>
                        <a:pt x="1034" y="918"/>
                      </a:lnTo>
                      <a:lnTo>
                        <a:pt x="1036" y="918"/>
                      </a:lnTo>
                      <a:lnTo>
                        <a:pt x="1039" y="916"/>
                      </a:lnTo>
                      <a:lnTo>
                        <a:pt x="1041" y="916"/>
                      </a:lnTo>
                      <a:lnTo>
                        <a:pt x="1046" y="916"/>
                      </a:lnTo>
                      <a:lnTo>
                        <a:pt x="1050" y="916"/>
                      </a:lnTo>
                      <a:lnTo>
                        <a:pt x="1048" y="914"/>
                      </a:lnTo>
                      <a:lnTo>
                        <a:pt x="1046" y="912"/>
                      </a:lnTo>
                      <a:lnTo>
                        <a:pt x="1043" y="912"/>
                      </a:lnTo>
                      <a:lnTo>
                        <a:pt x="1041" y="911"/>
                      </a:lnTo>
                      <a:lnTo>
                        <a:pt x="1039" y="909"/>
                      </a:lnTo>
                      <a:lnTo>
                        <a:pt x="1041" y="907"/>
                      </a:lnTo>
                      <a:lnTo>
                        <a:pt x="1045" y="907"/>
                      </a:lnTo>
                      <a:lnTo>
                        <a:pt x="1050" y="907"/>
                      </a:lnTo>
                      <a:lnTo>
                        <a:pt x="1057" y="907"/>
                      </a:lnTo>
                      <a:lnTo>
                        <a:pt x="1060" y="907"/>
                      </a:lnTo>
                      <a:lnTo>
                        <a:pt x="1071" y="904"/>
                      </a:lnTo>
                      <a:lnTo>
                        <a:pt x="1074" y="902"/>
                      </a:lnTo>
                      <a:lnTo>
                        <a:pt x="1076" y="898"/>
                      </a:lnTo>
                      <a:lnTo>
                        <a:pt x="1076" y="895"/>
                      </a:lnTo>
                      <a:lnTo>
                        <a:pt x="1076" y="891"/>
                      </a:lnTo>
                      <a:lnTo>
                        <a:pt x="1072" y="888"/>
                      </a:lnTo>
                      <a:lnTo>
                        <a:pt x="1071" y="886"/>
                      </a:lnTo>
                      <a:lnTo>
                        <a:pt x="1069" y="886"/>
                      </a:lnTo>
                      <a:lnTo>
                        <a:pt x="1064" y="884"/>
                      </a:lnTo>
                      <a:lnTo>
                        <a:pt x="1062" y="884"/>
                      </a:lnTo>
                      <a:lnTo>
                        <a:pt x="1060" y="883"/>
                      </a:lnTo>
                      <a:lnTo>
                        <a:pt x="1057" y="879"/>
                      </a:lnTo>
                      <a:lnTo>
                        <a:pt x="1055" y="879"/>
                      </a:lnTo>
                      <a:lnTo>
                        <a:pt x="1050" y="877"/>
                      </a:lnTo>
                      <a:lnTo>
                        <a:pt x="1046" y="879"/>
                      </a:lnTo>
                      <a:lnTo>
                        <a:pt x="1043" y="881"/>
                      </a:lnTo>
                      <a:lnTo>
                        <a:pt x="1038" y="883"/>
                      </a:lnTo>
                      <a:lnTo>
                        <a:pt x="1039" y="881"/>
                      </a:lnTo>
                      <a:lnTo>
                        <a:pt x="1043" y="879"/>
                      </a:lnTo>
                      <a:lnTo>
                        <a:pt x="1045" y="877"/>
                      </a:lnTo>
                      <a:lnTo>
                        <a:pt x="1041" y="876"/>
                      </a:lnTo>
                      <a:lnTo>
                        <a:pt x="1032" y="872"/>
                      </a:lnTo>
                      <a:lnTo>
                        <a:pt x="1025" y="870"/>
                      </a:lnTo>
                      <a:lnTo>
                        <a:pt x="1022" y="869"/>
                      </a:lnTo>
                      <a:lnTo>
                        <a:pt x="1018" y="869"/>
                      </a:lnTo>
                      <a:lnTo>
                        <a:pt x="1018" y="869"/>
                      </a:lnTo>
                      <a:lnTo>
                        <a:pt x="1018" y="870"/>
                      </a:lnTo>
                      <a:lnTo>
                        <a:pt x="1020" y="870"/>
                      </a:lnTo>
                      <a:lnTo>
                        <a:pt x="1020" y="872"/>
                      </a:lnTo>
                      <a:lnTo>
                        <a:pt x="1015" y="870"/>
                      </a:lnTo>
                      <a:lnTo>
                        <a:pt x="1013" y="869"/>
                      </a:lnTo>
                      <a:lnTo>
                        <a:pt x="1013" y="863"/>
                      </a:lnTo>
                      <a:lnTo>
                        <a:pt x="1011" y="860"/>
                      </a:lnTo>
                      <a:lnTo>
                        <a:pt x="1017" y="863"/>
                      </a:lnTo>
                      <a:lnTo>
                        <a:pt x="1038" y="872"/>
                      </a:lnTo>
                      <a:lnTo>
                        <a:pt x="1041" y="874"/>
                      </a:lnTo>
                      <a:lnTo>
                        <a:pt x="1043" y="874"/>
                      </a:lnTo>
                      <a:lnTo>
                        <a:pt x="1045" y="874"/>
                      </a:lnTo>
                      <a:lnTo>
                        <a:pt x="1046" y="872"/>
                      </a:lnTo>
                      <a:lnTo>
                        <a:pt x="1048" y="872"/>
                      </a:lnTo>
                      <a:lnTo>
                        <a:pt x="1050" y="874"/>
                      </a:lnTo>
                      <a:lnTo>
                        <a:pt x="1050" y="874"/>
                      </a:lnTo>
                      <a:lnTo>
                        <a:pt x="1051" y="876"/>
                      </a:lnTo>
                      <a:lnTo>
                        <a:pt x="1058" y="876"/>
                      </a:lnTo>
                      <a:lnTo>
                        <a:pt x="1065" y="879"/>
                      </a:lnTo>
                      <a:lnTo>
                        <a:pt x="1071" y="881"/>
                      </a:lnTo>
                      <a:lnTo>
                        <a:pt x="1074" y="881"/>
                      </a:lnTo>
                      <a:lnTo>
                        <a:pt x="1076" y="881"/>
                      </a:lnTo>
                      <a:lnTo>
                        <a:pt x="1078" y="879"/>
                      </a:lnTo>
                      <a:lnTo>
                        <a:pt x="1079" y="877"/>
                      </a:lnTo>
                      <a:lnTo>
                        <a:pt x="1081" y="877"/>
                      </a:lnTo>
                      <a:lnTo>
                        <a:pt x="1081" y="879"/>
                      </a:lnTo>
                      <a:lnTo>
                        <a:pt x="1083" y="879"/>
                      </a:lnTo>
                      <a:lnTo>
                        <a:pt x="1085" y="879"/>
                      </a:lnTo>
                      <a:lnTo>
                        <a:pt x="1088" y="876"/>
                      </a:lnTo>
                      <a:lnTo>
                        <a:pt x="1090" y="874"/>
                      </a:lnTo>
                      <a:lnTo>
                        <a:pt x="1088" y="870"/>
                      </a:lnTo>
                      <a:lnTo>
                        <a:pt x="1086" y="867"/>
                      </a:lnTo>
                      <a:lnTo>
                        <a:pt x="1092" y="867"/>
                      </a:lnTo>
                      <a:lnTo>
                        <a:pt x="1093" y="867"/>
                      </a:lnTo>
                      <a:lnTo>
                        <a:pt x="1093" y="867"/>
                      </a:lnTo>
                      <a:lnTo>
                        <a:pt x="1093" y="865"/>
                      </a:lnTo>
                      <a:lnTo>
                        <a:pt x="1092" y="863"/>
                      </a:lnTo>
                      <a:lnTo>
                        <a:pt x="1090" y="862"/>
                      </a:lnTo>
                      <a:lnTo>
                        <a:pt x="1088" y="862"/>
                      </a:lnTo>
                      <a:lnTo>
                        <a:pt x="1092" y="860"/>
                      </a:lnTo>
                      <a:lnTo>
                        <a:pt x="1092" y="860"/>
                      </a:lnTo>
                      <a:lnTo>
                        <a:pt x="1093" y="860"/>
                      </a:lnTo>
                      <a:lnTo>
                        <a:pt x="1095" y="860"/>
                      </a:lnTo>
                      <a:lnTo>
                        <a:pt x="1095" y="860"/>
                      </a:lnTo>
                      <a:lnTo>
                        <a:pt x="1095" y="860"/>
                      </a:lnTo>
                      <a:lnTo>
                        <a:pt x="1099" y="863"/>
                      </a:lnTo>
                      <a:lnTo>
                        <a:pt x="1099" y="865"/>
                      </a:lnTo>
                      <a:lnTo>
                        <a:pt x="1100" y="865"/>
                      </a:lnTo>
                      <a:lnTo>
                        <a:pt x="1102" y="865"/>
                      </a:lnTo>
                      <a:lnTo>
                        <a:pt x="1102" y="865"/>
                      </a:lnTo>
                      <a:lnTo>
                        <a:pt x="1104" y="863"/>
                      </a:lnTo>
                      <a:lnTo>
                        <a:pt x="1104" y="865"/>
                      </a:lnTo>
                      <a:lnTo>
                        <a:pt x="1106" y="865"/>
                      </a:lnTo>
                      <a:lnTo>
                        <a:pt x="1107" y="867"/>
                      </a:lnTo>
                      <a:lnTo>
                        <a:pt x="1109" y="865"/>
                      </a:lnTo>
                      <a:lnTo>
                        <a:pt x="1109" y="865"/>
                      </a:lnTo>
                      <a:lnTo>
                        <a:pt x="1109" y="863"/>
                      </a:lnTo>
                      <a:lnTo>
                        <a:pt x="1107" y="862"/>
                      </a:lnTo>
                      <a:lnTo>
                        <a:pt x="1114" y="865"/>
                      </a:lnTo>
                      <a:lnTo>
                        <a:pt x="1121" y="865"/>
                      </a:lnTo>
                      <a:lnTo>
                        <a:pt x="1130" y="860"/>
                      </a:lnTo>
                      <a:lnTo>
                        <a:pt x="1151" y="832"/>
                      </a:lnTo>
                      <a:lnTo>
                        <a:pt x="1155" y="823"/>
                      </a:lnTo>
                      <a:lnTo>
                        <a:pt x="1153" y="816"/>
                      </a:lnTo>
                      <a:lnTo>
                        <a:pt x="1146" y="814"/>
                      </a:lnTo>
                      <a:lnTo>
                        <a:pt x="1128" y="813"/>
                      </a:lnTo>
                      <a:lnTo>
                        <a:pt x="1118" y="813"/>
                      </a:lnTo>
                      <a:lnTo>
                        <a:pt x="1113" y="811"/>
                      </a:lnTo>
                      <a:lnTo>
                        <a:pt x="1109" y="807"/>
                      </a:lnTo>
                      <a:lnTo>
                        <a:pt x="1106" y="806"/>
                      </a:lnTo>
                      <a:lnTo>
                        <a:pt x="1097" y="795"/>
                      </a:lnTo>
                      <a:lnTo>
                        <a:pt x="1093" y="792"/>
                      </a:lnTo>
                      <a:lnTo>
                        <a:pt x="1090" y="790"/>
                      </a:lnTo>
                      <a:lnTo>
                        <a:pt x="1076" y="787"/>
                      </a:lnTo>
                      <a:lnTo>
                        <a:pt x="1072" y="785"/>
                      </a:lnTo>
                      <a:lnTo>
                        <a:pt x="1069" y="785"/>
                      </a:lnTo>
                      <a:lnTo>
                        <a:pt x="1069" y="788"/>
                      </a:lnTo>
                      <a:lnTo>
                        <a:pt x="1064" y="787"/>
                      </a:lnTo>
                      <a:lnTo>
                        <a:pt x="1062" y="785"/>
                      </a:lnTo>
                      <a:lnTo>
                        <a:pt x="1060" y="783"/>
                      </a:lnTo>
                      <a:lnTo>
                        <a:pt x="1064" y="781"/>
                      </a:lnTo>
                      <a:lnTo>
                        <a:pt x="1069" y="783"/>
                      </a:lnTo>
                      <a:lnTo>
                        <a:pt x="1093" y="787"/>
                      </a:lnTo>
                      <a:lnTo>
                        <a:pt x="1093" y="787"/>
                      </a:lnTo>
                      <a:lnTo>
                        <a:pt x="1092" y="785"/>
                      </a:lnTo>
                      <a:lnTo>
                        <a:pt x="1092" y="783"/>
                      </a:lnTo>
                      <a:lnTo>
                        <a:pt x="1095" y="783"/>
                      </a:lnTo>
                      <a:lnTo>
                        <a:pt x="1097" y="785"/>
                      </a:lnTo>
                      <a:lnTo>
                        <a:pt x="1100" y="785"/>
                      </a:lnTo>
                      <a:lnTo>
                        <a:pt x="1104" y="787"/>
                      </a:lnTo>
                      <a:lnTo>
                        <a:pt x="1107" y="792"/>
                      </a:lnTo>
                      <a:lnTo>
                        <a:pt x="1109" y="794"/>
                      </a:lnTo>
                      <a:lnTo>
                        <a:pt x="1111" y="794"/>
                      </a:lnTo>
                      <a:lnTo>
                        <a:pt x="1114" y="795"/>
                      </a:lnTo>
                      <a:lnTo>
                        <a:pt x="1116" y="795"/>
                      </a:lnTo>
                      <a:lnTo>
                        <a:pt x="1127" y="806"/>
                      </a:lnTo>
                      <a:lnTo>
                        <a:pt x="1134" y="809"/>
                      </a:lnTo>
                      <a:lnTo>
                        <a:pt x="1141" y="811"/>
                      </a:lnTo>
                      <a:lnTo>
                        <a:pt x="1148" y="809"/>
                      </a:lnTo>
                      <a:lnTo>
                        <a:pt x="1153" y="806"/>
                      </a:lnTo>
                      <a:lnTo>
                        <a:pt x="1172" y="785"/>
                      </a:lnTo>
                      <a:lnTo>
                        <a:pt x="1175" y="778"/>
                      </a:lnTo>
                      <a:lnTo>
                        <a:pt x="1175" y="771"/>
                      </a:lnTo>
                      <a:lnTo>
                        <a:pt x="1174" y="769"/>
                      </a:lnTo>
                      <a:lnTo>
                        <a:pt x="1170" y="767"/>
                      </a:lnTo>
                      <a:lnTo>
                        <a:pt x="1167" y="767"/>
                      </a:lnTo>
                      <a:lnTo>
                        <a:pt x="1163" y="766"/>
                      </a:lnTo>
                      <a:lnTo>
                        <a:pt x="1163" y="766"/>
                      </a:lnTo>
                      <a:lnTo>
                        <a:pt x="1162" y="764"/>
                      </a:lnTo>
                      <a:lnTo>
                        <a:pt x="1162" y="762"/>
                      </a:lnTo>
                      <a:lnTo>
                        <a:pt x="1160" y="762"/>
                      </a:lnTo>
                      <a:lnTo>
                        <a:pt x="1160" y="760"/>
                      </a:lnTo>
                      <a:lnTo>
                        <a:pt x="1162" y="759"/>
                      </a:lnTo>
                      <a:lnTo>
                        <a:pt x="1162" y="759"/>
                      </a:lnTo>
                      <a:lnTo>
                        <a:pt x="1162" y="757"/>
                      </a:lnTo>
                      <a:lnTo>
                        <a:pt x="1163" y="757"/>
                      </a:lnTo>
                      <a:lnTo>
                        <a:pt x="1167" y="757"/>
                      </a:lnTo>
                      <a:lnTo>
                        <a:pt x="1174" y="757"/>
                      </a:lnTo>
                      <a:lnTo>
                        <a:pt x="1177" y="757"/>
                      </a:lnTo>
                      <a:lnTo>
                        <a:pt x="1181" y="757"/>
                      </a:lnTo>
                      <a:lnTo>
                        <a:pt x="1184" y="755"/>
                      </a:lnTo>
                      <a:lnTo>
                        <a:pt x="1188" y="757"/>
                      </a:lnTo>
                      <a:lnTo>
                        <a:pt x="1191" y="759"/>
                      </a:lnTo>
                      <a:lnTo>
                        <a:pt x="1195" y="764"/>
                      </a:lnTo>
                      <a:lnTo>
                        <a:pt x="1198" y="767"/>
                      </a:lnTo>
                      <a:lnTo>
                        <a:pt x="1200" y="769"/>
                      </a:lnTo>
                      <a:lnTo>
                        <a:pt x="1203" y="771"/>
                      </a:lnTo>
                      <a:lnTo>
                        <a:pt x="1207" y="771"/>
                      </a:lnTo>
                      <a:lnTo>
                        <a:pt x="1209" y="771"/>
                      </a:lnTo>
                      <a:lnTo>
                        <a:pt x="1210" y="769"/>
                      </a:lnTo>
                      <a:lnTo>
                        <a:pt x="1210" y="769"/>
                      </a:lnTo>
                      <a:lnTo>
                        <a:pt x="1212" y="767"/>
                      </a:lnTo>
                      <a:lnTo>
                        <a:pt x="1214" y="767"/>
                      </a:lnTo>
                      <a:lnTo>
                        <a:pt x="1216" y="767"/>
                      </a:lnTo>
                      <a:lnTo>
                        <a:pt x="1219" y="771"/>
                      </a:lnTo>
                      <a:lnTo>
                        <a:pt x="1221" y="771"/>
                      </a:lnTo>
                      <a:lnTo>
                        <a:pt x="1223" y="769"/>
                      </a:lnTo>
                      <a:lnTo>
                        <a:pt x="1223" y="766"/>
                      </a:lnTo>
                      <a:lnTo>
                        <a:pt x="1210" y="748"/>
                      </a:lnTo>
                      <a:lnTo>
                        <a:pt x="1205" y="743"/>
                      </a:lnTo>
                      <a:lnTo>
                        <a:pt x="1200" y="741"/>
                      </a:lnTo>
                      <a:lnTo>
                        <a:pt x="1198" y="743"/>
                      </a:lnTo>
                      <a:lnTo>
                        <a:pt x="1196" y="743"/>
                      </a:lnTo>
                      <a:lnTo>
                        <a:pt x="1195" y="741"/>
                      </a:lnTo>
                      <a:lnTo>
                        <a:pt x="1196" y="739"/>
                      </a:lnTo>
                      <a:lnTo>
                        <a:pt x="1198" y="739"/>
                      </a:lnTo>
                      <a:lnTo>
                        <a:pt x="1200" y="738"/>
                      </a:lnTo>
                      <a:lnTo>
                        <a:pt x="1202" y="738"/>
                      </a:lnTo>
                      <a:lnTo>
                        <a:pt x="1205" y="738"/>
                      </a:lnTo>
                      <a:lnTo>
                        <a:pt x="1209" y="739"/>
                      </a:lnTo>
                      <a:lnTo>
                        <a:pt x="1210" y="741"/>
                      </a:lnTo>
                      <a:lnTo>
                        <a:pt x="1214" y="745"/>
                      </a:lnTo>
                      <a:lnTo>
                        <a:pt x="1210" y="746"/>
                      </a:lnTo>
                      <a:lnTo>
                        <a:pt x="1212" y="746"/>
                      </a:lnTo>
                      <a:lnTo>
                        <a:pt x="1217" y="748"/>
                      </a:lnTo>
                      <a:lnTo>
                        <a:pt x="1221" y="750"/>
                      </a:lnTo>
                      <a:lnTo>
                        <a:pt x="1223" y="753"/>
                      </a:lnTo>
                      <a:lnTo>
                        <a:pt x="1228" y="762"/>
                      </a:lnTo>
                      <a:lnTo>
                        <a:pt x="1230" y="764"/>
                      </a:lnTo>
                      <a:lnTo>
                        <a:pt x="1231" y="764"/>
                      </a:lnTo>
                      <a:lnTo>
                        <a:pt x="1235" y="762"/>
                      </a:lnTo>
                      <a:lnTo>
                        <a:pt x="1237" y="760"/>
                      </a:lnTo>
                      <a:lnTo>
                        <a:pt x="1240" y="757"/>
                      </a:lnTo>
                      <a:lnTo>
                        <a:pt x="1242" y="757"/>
                      </a:lnTo>
                      <a:lnTo>
                        <a:pt x="1244" y="755"/>
                      </a:lnTo>
                      <a:lnTo>
                        <a:pt x="1247" y="755"/>
                      </a:lnTo>
                      <a:lnTo>
                        <a:pt x="1249" y="753"/>
                      </a:lnTo>
                      <a:lnTo>
                        <a:pt x="1252" y="752"/>
                      </a:lnTo>
                      <a:lnTo>
                        <a:pt x="1254" y="750"/>
                      </a:lnTo>
                      <a:lnTo>
                        <a:pt x="1258" y="748"/>
                      </a:lnTo>
                      <a:lnTo>
                        <a:pt x="1259" y="745"/>
                      </a:lnTo>
                      <a:lnTo>
                        <a:pt x="1261" y="741"/>
                      </a:lnTo>
                      <a:lnTo>
                        <a:pt x="1263" y="739"/>
                      </a:lnTo>
                      <a:lnTo>
                        <a:pt x="1265" y="739"/>
                      </a:lnTo>
                      <a:lnTo>
                        <a:pt x="1265" y="739"/>
                      </a:lnTo>
                      <a:lnTo>
                        <a:pt x="1266" y="739"/>
                      </a:lnTo>
                      <a:lnTo>
                        <a:pt x="1268" y="738"/>
                      </a:lnTo>
                      <a:lnTo>
                        <a:pt x="1273" y="734"/>
                      </a:lnTo>
                      <a:lnTo>
                        <a:pt x="1277" y="727"/>
                      </a:lnTo>
                      <a:lnTo>
                        <a:pt x="1277" y="720"/>
                      </a:lnTo>
                      <a:lnTo>
                        <a:pt x="1273" y="715"/>
                      </a:lnTo>
                      <a:lnTo>
                        <a:pt x="1272" y="713"/>
                      </a:lnTo>
                      <a:lnTo>
                        <a:pt x="1265" y="708"/>
                      </a:lnTo>
                      <a:lnTo>
                        <a:pt x="1263" y="706"/>
                      </a:lnTo>
                      <a:lnTo>
                        <a:pt x="1261" y="703"/>
                      </a:lnTo>
                      <a:lnTo>
                        <a:pt x="1259" y="701"/>
                      </a:lnTo>
                      <a:lnTo>
                        <a:pt x="1261" y="696"/>
                      </a:lnTo>
                      <a:lnTo>
                        <a:pt x="1261" y="696"/>
                      </a:lnTo>
                      <a:lnTo>
                        <a:pt x="1259" y="696"/>
                      </a:lnTo>
                      <a:lnTo>
                        <a:pt x="1258" y="696"/>
                      </a:lnTo>
                      <a:lnTo>
                        <a:pt x="1258" y="696"/>
                      </a:lnTo>
                      <a:lnTo>
                        <a:pt x="1256" y="696"/>
                      </a:lnTo>
                      <a:lnTo>
                        <a:pt x="1254" y="692"/>
                      </a:lnTo>
                      <a:lnTo>
                        <a:pt x="1254" y="690"/>
                      </a:lnTo>
                      <a:lnTo>
                        <a:pt x="1252" y="689"/>
                      </a:lnTo>
                      <a:lnTo>
                        <a:pt x="1251" y="689"/>
                      </a:lnTo>
                      <a:lnTo>
                        <a:pt x="1251" y="687"/>
                      </a:lnTo>
                      <a:lnTo>
                        <a:pt x="1251" y="685"/>
                      </a:lnTo>
                      <a:lnTo>
                        <a:pt x="1252" y="685"/>
                      </a:lnTo>
                      <a:lnTo>
                        <a:pt x="1258" y="685"/>
                      </a:lnTo>
                      <a:lnTo>
                        <a:pt x="1259" y="685"/>
                      </a:lnTo>
                      <a:lnTo>
                        <a:pt x="1265" y="685"/>
                      </a:lnTo>
                      <a:lnTo>
                        <a:pt x="1266" y="685"/>
                      </a:lnTo>
                      <a:lnTo>
                        <a:pt x="1273" y="682"/>
                      </a:lnTo>
                      <a:lnTo>
                        <a:pt x="1277" y="682"/>
                      </a:lnTo>
                      <a:lnTo>
                        <a:pt x="1277" y="680"/>
                      </a:lnTo>
                      <a:lnTo>
                        <a:pt x="1277" y="675"/>
                      </a:lnTo>
                      <a:lnTo>
                        <a:pt x="1272" y="673"/>
                      </a:lnTo>
                      <a:lnTo>
                        <a:pt x="1266" y="673"/>
                      </a:lnTo>
                      <a:lnTo>
                        <a:pt x="1263" y="673"/>
                      </a:lnTo>
                      <a:lnTo>
                        <a:pt x="1266" y="671"/>
                      </a:lnTo>
                      <a:lnTo>
                        <a:pt x="1272" y="669"/>
                      </a:lnTo>
                      <a:lnTo>
                        <a:pt x="1275" y="668"/>
                      </a:lnTo>
                      <a:lnTo>
                        <a:pt x="1275" y="664"/>
                      </a:lnTo>
                      <a:lnTo>
                        <a:pt x="1272" y="662"/>
                      </a:lnTo>
                      <a:lnTo>
                        <a:pt x="1266" y="662"/>
                      </a:lnTo>
                      <a:lnTo>
                        <a:pt x="1261" y="662"/>
                      </a:lnTo>
                      <a:lnTo>
                        <a:pt x="1256" y="662"/>
                      </a:lnTo>
                      <a:lnTo>
                        <a:pt x="1256" y="659"/>
                      </a:lnTo>
                      <a:lnTo>
                        <a:pt x="1252" y="657"/>
                      </a:lnTo>
                      <a:lnTo>
                        <a:pt x="1245" y="655"/>
                      </a:lnTo>
                      <a:lnTo>
                        <a:pt x="1251" y="654"/>
                      </a:lnTo>
                      <a:lnTo>
                        <a:pt x="1252" y="654"/>
                      </a:lnTo>
                      <a:lnTo>
                        <a:pt x="1254" y="652"/>
                      </a:lnTo>
                      <a:lnTo>
                        <a:pt x="1244" y="650"/>
                      </a:lnTo>
                      <a:lnTo>
                        <a:pt x="1226" y="648"/>
                      </a:lnTo>
                      <a:lnTo>
                        <a:pt x="1212" y="645"/>
                      </a:lnTo>
                      <a:lnTo>
                        <a:pt x="1209" y="645"/>
                      </a:lnTo>
                      <a:lnTo>
                        <a:pt x="1205" y="645"/>
                      </a:lnTo>
                      <a:lnTo>
                        <a:pt x="1200" y="645"/>
                      </a:lnTo>
                      <a:lnTo>
                        <a:pt x="1196" y="647"/>
                      </a:lnTo>
                      <a:lnTo>
                        <a:pt x="1195" y="647"/>
                      </a:lnTo>
                      <a:lnTo>
                        <a:pt x="1193" y="647"/>
                      </a:lnTo>
                      <a:lnTo>
                        <a:pt x="1191" y="647"/>
                      </a:lnTo>
                      <a:lnTo>
                        <a:pt x="1189" y="645"/>
                      </a:lnTo>
                      <a:lnTo>
                        <a:pt x="1188" y="645"/>
                      </a:lnTo>
                      <a:lnTo>
                        <a:pt x="1186" y="645"/>
                      </a:lnTo>
                      <a:lnTo>
                        <a:pt x="1188" y="647"/>
                      </a:lnTo>
                      <a:lnTo>
                        <a:pt x="1188" y="648"/>
                      </a:lnTo>
                      <a:lnTo>
                        <a:pt x="1188" y="648"/>
                      </a:lnTo>
                      <a:lnTo>
                        <a:pt x="1188" y="650"/>
                      </a:lnTo>
                      <a:lnTo>
                        <a:pt x="1188" y="652"/>
                      </a:lnTo>
                      <a:lnTo>
                        <a:pt x="1188" y="654"/>
                      </a:lnTo>
                      <a:lnTo>
                        <a:pt x="1188" y="654"/>
                      </a:lnTo>
                      <a:lnTo>
                        <a:pt x="1188" y="659"/>
                      </a:lnTo>
                      <a:lnTo>
                        <a:pt x="1189" y="661"/>
                      </a:lnTo>
                      <a:lnTo>
                        <a:pt x="1189" y="662"/>
                      </a:lnTo>
                      <a:lnTo>
                        <a:pt x="1193" y="664"/>
                      </a:lnTo>
                      <a:lnTo>
                        <a:pt x="1196" y="666"/>
                      </a:lnTo>
                      <a:lnTo>
                        <a:pt x="1200" y="666"/>
                      </a:lnTo>
                      <a:lnTo>
                        <a:pt x="1200" y="669"/>
                      </a:lnTo>
                      <a:lnTo>
                        <a:pt x="1198" y="671"/>
                      </a:lnTo>
                      <a:lnTo>
                        <a:pt x="1196" y="673"/>
                      </a:lnTo>
                      <a:lnTo>
                        <a:pt x="1196" y="675"/>
                      </a:lnTo>
                      <a:lnTo>
                        <a:pt x="1200" y="676"/>
                      </a:lnTo>
                      <a:lnTo>
                        <a:pt x="1198" y="676"/>
                      </a:lnTo>
                      <a:lnTo>
                        <a:pt x="1195" y="676"/>
                      </a:lnTo>
                      <a:lnTo>
                        <a:pt x="1191" y="676"/>
                      </a:lnTo>
                      <a:lnTo>
                        <a:pt x="1188" y="676"/>
                      </a:lnTo>
                      <a:lnTo>
                        <a:pt x="1184" y="678"/>
                      </a:lnTo>
                      <a:lnTo>
                        <a:pt x="1182" y="680"/>
                      </a:lnTo>
                      <a:lnTo>
                        <a:pt x="1182" y="682"/>
                      </a:lnTo>
                      <a:lnTo>
                        <a:pt x="1181" y="689"/>
                      </a:lnTo>
                      <a:lnTo>
                        <a:pt x="1181" y="692"/>
                      </a:lnTo>
                      <a:lnTo>
                        <a:pt x="1179" y="696"/>
                      </a:lnTo>
                      <a:lnTo>
                        <a:pt x="1177" y="699"/>
                      </a:lnTo>
                      <a:lnTo>
                        <a:pt x="1174" y="703"/>
                      </a:lnTo>
                      <a:lnTo>
                        <a:pt x="1168" y="706"/>
                      </a:lnTo>
                      <a:lnTo>
                        <a:pt x="1167" y="710"/>
                      </a:lnTo>
                      <a:lnTo>
                        <a:pt x="1165" y="713"/>
                      </a:lnTo>
                      <a:lnTo>
                        <a:pt x="1165" y="717"/>
                      </a:lnTo>
                      <a:lnTo>
                        <a:pt x="1163" y="718"/>
                      </a:lnTo>
                      <a:lnTo>
                        <a:pt x="1162" y="722"/>
                      </a:lnTo>
                      <a:lnTo>
                        <a:pt x="1151" y="729"/>
                      </a:lnTo>
                      <a:lnTo>
                        <a:pt x="1148" y="731"/>
                      </a:lnTo>
                      <a:lnTo>
                        <a:pt x="1148" y="731"/>
                      </a:lnTo>
                      <a:lnTo>
                        <a:pt x="1144" y="725"/>
                      </a:lnTo>
                      <a:lnTo>
                        <a:pt x="1142" y="722"/>
                      </a:lnTo>
                      <a:lnTo>
                        <a:pt x="1134" y="715"/>
                      </a:lnTo>
                      <a:lnTo>
                        <a:pt x="1130" y="710"/>
                      </a:lnTo>
                      <a:lnTo>
                        <a:pt x="1127" y="701"/>
                      </a:lnTo>
                      <a:lnTo>
                        <a:pt x="1125" y="694"/>
                      </a:lnTo>
                      <a:lnTo>
                        <a:pt x="1128" y="690"/>
                      </a:lnTo>
                      <a:lnTo>
                        <a:pt x="1130" y="690"/>
                      </a:lnTo>
                      <a:lnTo>
                        <a:pt x="1130" y="692"/>
                      </a:lnTo>
                      <a:lnTo>
                        <a:pt x="1132" y="692"/>
                      </a:lnTo>
                      <a:lnTo>
                        <a:pt x="1134" y="694"/>
                      </a:lnTo>
                      <a:lnTo>
                        <a:pt x="1135" y="694"/>
                      </a:lnTo>
                      <a:lnTo>
                        <a:pt x="1135" y="692"/>
                      </a:lnTo>
                      <a:lnTo>
                        <a:pt x="1137" y="692"/>
                      </a:lnTo>
                      <a:lnTo>
                        <a:pt x="1137" y="690"/>
                      </a:lnTo>
                      <a:lnTo>
                        <a:pt x="1137" y="689"/>
                      </a:lnTo>
                      <a:lnTo>
                        <a:pt x="1137" y="685"/>
                      </a:lnTo>
                      <a:lnTo>
                        <a:pt x="1134" y="678"/>
                      </a:lnTo>
                      <a:lnTo>
                        <a:pt x="1132" y="675"/>
                      </a:lnTo>
                      <a:lnTo>
                        <a:pt x="1130" y="673"/>
                      </a:lnTo>
                      <a:lnTo>
                        <a:pt x="1127" y="671"/>
                      </a:lnTo>
                      <a:lnTo>
                        <a:pt x="1123" y="669"/>
                      </a:lnTo>
                      <a:lnTo>
                        <a:pt x="1113" y="662"/>
                      </a:lnTo>
                      <a:lnTo>
                        <a:pt x="1109" y="662"/>
                      </a:lnTo>
                      <a:lnTo>
                        <a:pt x="1102" y="664"/>
                      </a:lnTo>
                      <a:lnTo>
                        <a:pt x="1099" y="669"/>
                      </a:lnTo>
                      <a:lnTo>
                        <a:pt x="1090" y="689"/>
                      </a:lnTo>
                      <a:lnTo>
                        <a:pt x="1088" y="690"/>
                      </a:lnTo>
                      <a:lnTo>
                        <a:pt x="1086" y="692"/>
                      </a:lnTo>
                      <a:lnTo>
                        <a:pt x="1085" y="692"/>
                      </a:lnTo>
                      <a:lnTo>
                        <a:pt x="1081" y="689"/>
                      </a:lnTo>
                      <a:lnTo>
                        <a:pt x="1079" y="687"/>
                      </a:lnTo>
                      <a:lnTo>
                        <a:pt x="1078" y="685"/>
                      </a:lnTo>
                      <a:lnTo>
                        <a:pt x="1078" y="682"/>
                      </a:lnTo>
                      <a:lnTo>
                        <a:pt x="1079" y="675"/>
                      </a:lnTo>
                      <a:lnTo>
                        <a:pt x="1079" y="673"/>
                      </a:lnTo>
                      <a:lnTo>
                        <a:pt x="1076" y="668"/>
                      </a:lnTo>
                      <a:lnTo>
                        <a:pt x="1072" y="666"/>
                      </a:lnTo>
                      <a:lnTo>
                        <a:pt x="1064" y="661"/>
                      </a:lnTo>
                      <a:lnTo>
                        <a:pt x="1065" y="661"/>
                      </a:lnTo>
                      <a:lnTo>
                        <a:pt x="1067" y="661"/>
                      </a:lnTo>
                      <a:lnTo>
                        <a:pt x="1067" y="661"/>
                      </a:lnTo>
                      <a:lnTo>
                        <a:pt x="1069" y="661"/>
                      </a:lnTo>
                      <a:lnTo>
                        <a:pt x="1069" y="662"/>
                      </a:lnTo>
                      <a:lnTo>
                        <a:pt x="1071" y="661"/>
                      </a:lnTo>
                      <a:lnTo>
                        <a:pt x="1076" y="659"/>
                      </a:lnTo>
                      <a:lnTo>
                        <a:pt x="1078" y="657"/>
                      </a:lnTo>
                      <a:lnTo>
                        <a:pt x="1079" y="657"/>
                      </a:lnTo>
                      <a:lnTo>
                        <a:pt x="1081" y="657"/>
                      </a:lnTo>
                      <a:lnTo>
                        <a:pt x="1078" y="655"/>
                      </a:lnTo>
                      <a:lnTo>
                        <a:pt x="1071" y="654"/>
                      </a:lnTo>
                      <a:lnTo>
                        <a:pt x="1065" y="654"/>
                      </a:lnTo>
                      <a:lnTo>
                        <a:pt x="1060" y="654"/>
                      </a:lnTo>
                      <a:lnTo>
                        <a:pt x="1062" y="654"/>
                      </a:lnTo>
                      <a:lnTo>
                        <a:pt x="1065" y="652"/>
                      </a:lnTo>
                      <a:lnTo>
                        <a:pt x="1060" y="652"/>
                      </a:lnTo>
                      <a:lnTo>
                        <a:pt x="1053" y="654"/>
                      </a:lnTo>
                      <a:lnTo>
                        <a:pt x="1046" y="654"/>
                      </a:lnTo>
                      <a:lnTo>
                        <a:pt x="1043" y="650"/>
                      </a:lnTo>
                      <a:lnTo>
                        <a:pt x="1039" y="650"/>
                      </a:lnTo>
                      <a:lnTo>
                        <a:pt x="1032" y="650"/>
                      </a:lnTo>
                      <a:lnTo>
                        <a:pt x="1029" y="650"/>
                      </a:lnTo>
                      <a:lnTo>
                        <a:pt x="1034" y="648"/>
                      </a:lnTo>
                      <a:lnTo>
                        <a:pt x="1039" y="645"/>
                      </a:lnTo>
                      <a:lnTo>
                        <a:pt x="1045" y="641"/>
                      </a:lnTo>
                      <a:lnTo>
                        <a:pt x="1048" y="636"/>
                      </a:lnTo>
                      <a:lnTo>
                        <a:pt x="1046" y="634"/>
                      </a:lnTo>
                      <a:lnTo>
                        <a:pt x="1039" y="634"/>
                      </a:lnTo>
                      <a:lnTo>
                        <a:pt x="1038" y="634"/>
                      </a:lnTo>
                      <a:lnTo>
                        <a:pt x="1038" y="633"/>
                      </a:lnTo>
                      <a:lnTo>
                        <a:pt x="1039" y="631"/>
                      </a:lnTo>
                      <a:lnTo>
                        <a:pt x="1041" y="629"/>
                      </a:lnTo>
                      <a:lnTo>
                        <a:pt x="1043" y="629"/>
                      </a:lnTo>
                      <a:lnTo>
                        <a:pt x="1045" y="629"/>
                      </a:lnTo>
                      <a:lnTo>
                        <a:pt x="1048" y="633"/>
                      </a:lnTo>
                      <a:lnTo>
                        <a:pt x="1051" y="633"/>
                      </a:lnTo>
                      <a:lnTo>
                        <a:pt x="1053" y="633"/>
                      </a:lnTo>
                      <a:lnTo>
                        <a:pt x="1055" y="633"/>
                      </a:lnTo>
                      <a:lnTo>
                        <a:pt x="1057" y="633"/>
                      </a:lnTo>
                      <a:lnTo>
                        <a:pt x="1057" y="631"/>
                      </a:lnTo>
                      <a:lnTo>
                        <a:pt x="1057" y="629"/>
                      </a:lnTo>
                      <a:lnTo>
                        <a:pt x="1055" y="628"/>
                      </a:lnTo>
                      <a:lnTo>
                        <a:pt x="1053" y="626"/>
                      </a:lnTo>
                      <a:lnTo>
                        <a:pt x="1051" y="624"/>
                      </a:lnTo>
                      <a:lnTo>
                        <a:pt x="1051" y="626"/>
                      </a:lnTo>
                      <a:lnTo>
                        <a:pt x="1050" y="626"/>
                      </a:lnTo>
                      <a:lnTo>
                        <a:pt x="1048" y="626"/>
                      </a:lnTo>
                      <a:lnTo>
                        <a:pt x="1046" y="626"/>
                      </a:lnTo>
                      <a:lnTo>
                        <a:pt x="1046" y="626"/>
                      </a:lnTo>
                      <a:lnTo>
                        <a:pt x="1045" y="619"/>
                      </a:lnTo>
                      <a:lnTo>
                        <a:pt x="1041" y="615"/>
                      </a:lnTo>
                      <a:lnTo>
                        <a:pt x="1039" y="614"/>
                      </a:lnTo>
                      <a:lnTo>
                        <a:pt x="1036" y="610"/>
                      </a:lnTo>
                      <a:lnTo>
                        <a:pt x="1029" y="607"/>
                      </a:lnTo>
                      <a:lnTo>
                        <a:pt x="1029" y="605"/>
                      </a:lnTo>
                      <a:lnTo>
                        <a:pt x="1027" y="605"/>
                      </a:lnTo>
                      <a:lnTo>
                        <a:pt x="1027" y="603"/>
                      </a:lnTo>
                      <a:lnTo>
                        <a:pt x="1029" y="598"/>
                      </a:lnTo>
                      <a:lnTo>
                        <a:pt x="1029" y="596"/>
                      </a:lnTo>
                      <a:lnTo>
                        <a:pt x="1027" y="591"/>
                      </a:lnTo>
                      <a:lnTo>
                        <a:pt x="1025" y="586"/>
                      </a:lnTo>
                      <a:lnTo>
                        <a:pt x="1022" y="582"/>
                      </a:lnTo>
                      <a:lnTo>
                        <a:pt x="1017" y="580"/>
                      </a:lnTo>
                      <a:lnTo>
                        <a:pt x="1013" y="577"/>
                      </a:lnTo>
                      <a:lnTo>
                        <a:pt x="1011" y="577"/>
                      </a:lnTo>
                      <a:lnTo>
                        <a:pt x="1010" y="575"/>
                      </a:lnTo>
                      <a:lnTo>
                        <a:pt x="1010" y="573"/>
                      </a:lnTo>
                      <a:lnTo>
                        <a:pt x="1010" y="573"/>
                      </a:lnTo>
                      <a:lnTo>
                        <a:pt x="1011" y="573"/>
                      </a:lnTo>
                      <a:lnTo>
                        <a:pt x="1010" y="572"/>
                      </a:lnTo>
                      <a:lnTo>
                        <a:pt x="1010" y="572"/>
                      </a:lnTo>
                      <a:lnTo>
                        <a:pt x="1008" y="572"/>
                      </a:lnTo>
                      <a:lnTo>
                        <a:pt x="1001" y="572"/>
                      </a:lnTo>
                      <a:lnTo>
                        <a:pt x="999" y="572"/>
                      </a:lnTo>
                      <a:lnTo>
                        <a:pt x="997" y="570"/>
                      </a:lnTo>
                      <a:lnTo>
                        <a:pt x="996" y="568"/>
                      </a:lnTo>
                      <a:lnTo>
                        <a:pt x="994" y="566"/>
                      </a:lnTo>
                      <a:lnTo>
                        <a:pt x="994" y="565"/>
                      </a:lnTo>
                      <a:lnTo>
                        <a:pt x="992" y="563"/>
                      </a:lnTo>
                      <a:lnTo>
                        <a:pt x="987" y="563"/>
                      </a:lnTo>
                      <a:lnTo>
                        <a:pt x="980" y="566"/>
                      </a:lnTo>
                      <a:lnTo>
                        <a:pt x="975" y="570"/>
                      </a:lnTo>
                      <a:lnTo>
                        <a:pt x="971" y="573"/>
                      </a:lnTo>
                      <a:lnTo>
                        <a:pt x="968" y="577"/>
                      </a:lnTo>
                      <a:lnTo>
                        <a:pt x="966" y="577"/>
                      </a:lnTo>
                      <a:lnTo>
                        <a:pt x="966" y="580"/>
                      </a:lnTo>
                      <a:lnTo>
                        <a:pt x="968" y="580"/>
                      </a:lnTo>
                      <a:lnTo>
                        <a:pt x="969" y="580"/>
                      </a:lnTo>
                      <a:lnTo>
                        <a:pt x="973" y="580"/>
                      </a:lnTo>
                      <a:lnTo>
                        <a:pt x="975" y="582"/>
                      </a:lnTo>
                      <a:lnTo>
                        <a:pt x="973" y="586"/>
                      </a:lnTo>
                      <a:lnTo>
                        <a:pt x="971" y="587"/>
                      </a:lnTo>
                      <a:lnTo>
                        <a:pt x="969" y="587"/>
                      </a:lnTo>
                      <a:lnTo>
                        <a:pt x="968" y="587"/>
                      </a:lnTo>
                      <a:lnTo>
                        <a:pt x="966" y="587"/>
                      </a:lnTo>
                      <a:lnTo>
                        <a:pt x="964" y="586"/>
                      </a:lnTo>
                      <a:lnTo>
                        <a:pt x="962" y="584"/>
                      </a:lnTo>
                      <a:lnTo>
                        <a:pt x="961" y="584"/>
                      </a:lnTo>
                      <a:lnTo>
                        <a:pt x="959" y="586"/>
                      </a:lnTo>
                      <a:lnTo>
                        <a:pt x="959" y="586"/>
                      </a:lnTo>
                      <a:lnTo>
                        <a:pt x="957" y="587"/>
                      </a:lnTo>
                      <a:lnTo>
                        <a:pt x="955" y="589"/>
                      </a:lnTo>
                      <a:lnTo>
                        <a:pt x="954" y="589"/>
                      </a:lnTo>
                      <a:lnTo>
                        <a:pt x="954" y="593"/>
                      </a:lnTo>
                      <a:lnTo>
                        <a:pt x="954" y="594"/>
                      </a:lnTo>
                      <a:lnTo>
                        <a:pt x="952" y="594"/>
                      </a:lnTo>
                      <a:lnTo>
                        <a:pt x="952" y="594"/>
                      </a:lnTo>
                      <a:lnTo>
                        <a:pt x="952" y="594"/>
                      </a:lnTo>
                      <a:lnTo>
                        <a:pt x="952" y="596"/>
                      </a:lnTo>
                      <a:lnTo>
                        <a:pt x="952" y="596"/>
                      </a:lnTo>
                      <a:lnTo>
                        <a:pt x="950" y="601"/>
                      </a:lnTo>
                      <a:lnTo>
                        <a:pt x="950" y="603"/>
                      </a:lnTo>
                      <a:lnTo>
                        <a:pt x="950" y="607"/>
                      </a:lnTo>
                      <a:lnTo>
                        <a:pt x="954" y="610"/>
                      </a:lnTo>
                      <a:lnTo>
                        <a:pt x="955" y="612"/>
                      </a:lnTo>
                      <a:lnTo>
                        <a:pt x="961" y="612"/>
                      </a:lnTo>
                      <a:lnTo>
                        <a:pt x="964" y="612"/>
                      </a:lnTo>
                      <a:lnTo>
                        <a:pt x="964" y="612"/>
                      </a:lnTo>
                      <a:lnTo>
                        <a:pt x="962" y="614"/>
                      </a:lnTo>
                      <a:lnTo>
                        <a:pt x="964" y="615"/>
                      </a:lnTo>
                      <a:lnTo>
                        <a:pt x="964" y="617"/>
                      </a:lnTo>
                      <a:lnTo>
                        <a:pt x="959" y="617"/>
                      </a:lnTo>
                      <a:lnTo>
                        <a:pt x="954" y="621"/>
                      </a:lnTo>
                      <a:lnTo>
                        <a:pt x="950" y="628"/>
                      </a:lnTo>
                      <a:lnTo>
                        <a:pt x="952" y="634"/>
                      </a:lnTo>
                      <a:lnTo>
                        <a:pt x="957" y="640"/>
                      </a:lnTo>
                      <a:lnTo>
                        <a:pt x="959" y="643"/>
                      </a:lnTo>
                      <a:lnTo>
                        <a:pt x="962" y="647"/>
                      </a:lnTo>
                      <a:lnTo>
                        <a:pt x="966" y="648"/>
                      </a:lnTo>
                      <a:lnTo>
                        <a:pt x="980" y="650"/>
                      </a:lnTo>
                      <a:lnTo>
                        <a:pt x="983" y="652"/>
                      </a:lnTo>
                      <a:lnTo>
                        <a:pt x="989" y="652"/>
                      </a:lnTo>
                      <a:lnTo>
                        <a:pt x="990" y="652"/>
                      </a:lnTo>
                      <a:lnTo>
                        <a:pt x="990" y="652"/>
                      </a:lnTo>
                      <a:lnTo>
                        <a:pt x="992" y="652"/>
                      </a:lnTo>
                      <a:lnTo>
                        <a:pt x="992" y="652"/>
                      </a:lnTo>
                      <a:lnTo>
                        <a:pt x="994" y="652"/>
                      </a:lnTo>
                      <a:lnTo>
                        <a:pt x="997" y="655"/>
                      </a:lnTo>
                      <a:lnTo>
                        <a:pt x="997" y="655"/>
                      </a:lnTo>
                      <a:lnTo>
                        <a:pt x="1001" y="657"/>
                      </a:lnTo>
                      <a:lnTo>
                        <a:pt x="1004" y="657"/>
                      </a:lnTo>
                      <a:lnTo>
                        <a:pt x="1008" y="655"/>
                      </a:lnTo>
                      <a:lnTo>
                        <a:pt x="1010" y="655"/>
                      </a:lnTo>
                      <a:lnTo>
                        <a:pt x="1013" y="655"/>
                      </a:lnTo>
                      <a:lnTo>
                        <a:pt x="1015" y="657"/>
                      </a:lnTo>
                      <a:lnTo>
                        <a:pt x="1015" y="659"/>
                      </a:lnTo>
                      <a:lnTo>
                        <a:pt x="1017" y="659"/>
                      </a:lnTo>
                      <a:lnTo>
                        <a:pt x="1015" y="661"/>
                      </a:lnTo>
                      <a:lnTo>
                        <a:pt x="1013" y="662"/>
                      </a:lnTo>
                      <a:lnTo>
                        <a:pt x="1011" y="662"/>
                      </a:lnTo>
                      <a:lnTo>
                        <a:pt x="1010" y="662"/>
                      </a:lnTo>
                      <a:lnTo>
                        <a:pt x="1010" y="661"/>
                      </a:lnTo>
                      <a:lnTo>
                        <a:pt x="1013" y="659"/>
                      </a:lnTo>
                      <a:lnTo>
                        <a:pt x="1013" y="657"/>
                      </a:lnTo>
                      <a:lnTo>
                        <a:pt x="1003" y="659"/>
                      </a:lnTo>
                      <a:lnTo>
                        <a:pt x="999" y="661"/>
                      </a:lnTo>
                      <a:lnTo>
                        <a:pt x="999" y="662"/>
                      </a:lnTo>
                      <a:lnTo>
                        <a:pt x="999" y="664"/>
                      </a:lnTo>
                      <a:lnTo>
                        <a:pt x="1001" y="666"/>
                      </a:lnTo>
                      <a:lnTo>
                        <a:pt x="1003" y="666"/>
                      </a:lnTo>
                      <a:lnTo>
                        <a:pt x="1001" y="668"/>
                      </a:lnTo>
                      <a:lnTo>
                        <a:pt x="996" y="669"/>
                      </a:lnTo>
                      <a:lnTo>
                        <a:pt x="994" y="673"/>
                      </a:lnTo>
                      <a:lnTo>
                        <a:pt x="992" y="675"/>
                      </a:lnTo>
                      <a:lnTo>
                        <a:pt x="994" y="676"/>
                      </a:lnTo>
                      <a:lnTo>
                        <a:pt x="999" y="676"/>
                      </a:lnTo>
                      <a:lnTo>
                        <a:pt x="1003" y="676"/>
                      </a:lnTo>
                      <a:lnTo>
                        <a:pt x="1006" y="675"/>
                      </a:lnTo>
                      <a:lnTo>
                        <a:pt x="1008" y="669"/>
                      </a:lnTo>
                      <a:lnTo>
                        <a:pt x="1010" y="669"/>
                      </a:lnTo>
                      <a:lnTo>
                        <a:pt x="1011" y="673"/>
                      </a:lnTo>
                      <a:lnTo>
                        <a:pt x="1013" y="676"/>
                      </a:lnTo>
                      <a:lnTo>
                        <a:pt x="1013" y="678"/>
                      </a:lnTo>
                      <a:lnTo>
                        <a:pt x="1013" y="682"/>
                      </a:lnTo>
                      <a:lnTo>
                        <a:pt x="1017" y="682"/>
                      </a:lnTo>
                      <a:lnTo>
                        <a:pt x="1013" y="683"/>
                      </a:lnTo>
                      <a:lnTo>
                        <a:pt x="1006" y="687"/>
                      </a:lnTo>
                      <a:lnTo>
                        <a:pt x="1003" y="689"/>
                      </a:lnTo>
                      <a:lnTo>
                        <a:pt x="994" y="696"/>
                      </a:lnTo>
                      <a:lnTo>
                        <a:pt x="990" y="697"/>
                      </a:lnTo>
                      <a:lnTo>
                        <a:pt x="987" y="699"/>
                      </a:lnTo>
                      <a:lnTo>
                        <a:pt x="980" y="699"/>
                      </a:lnTo>
                      <a:lnTo>
                        <a:pt x="975" y="699"/>
                      </a:lnTo>
                      <a:lnTo>
                        <a:pt x="973" y="701"/>
                      </a:lnTo>
                      <a:lnTo>
                        <a:pt x="971" y="704"/>
                      </a:lnTo>
                      <a:lnTo>
                        <a:pt x="969" y="708"/>
                      </a:lnTo>
                      <a:lnTo>
                        <a:pt x="969" y="711"/>
                      </a:lnTo>
                      <a:lnTo>
                        <a:pt x="971" y="713"/>
                      </a:lnTo>
                      <a:lnTo>
                        <a:pt x="975" y="717"/>
                      </a:lnTo>
                      <a:lnTo>
                        <a:pt x="975" y="717"/>
                      </a:lnTo>
                      <a:lnTo>
                        <a:pt x="976" y="720"/>
                      </a:lnTo>
                      <a:lnTo>
                        <a:pt x="976" y="722"/>
                      </a:lnTo>
                      <a:lnTo>
                        <a:pt x="976" y="724"/>
                      </a:lnTo>
                      <a:lnTo>
                        <a:pt x="978" y="725"/>
                      </a:lnTo>
                      <a:lnTo>
                        <a:pt x="978" y="729"/>
                      </a:lnTo>
                      <a:lnTo>
                        <a:pt x="978" y="732"/>
                      </a:lnTo>
                      <a:lnTo>
                        <a:pt x="976" y="738"/>
                      </a:lnTo>
                      <a:lnTo>
                        <a:pt x="975" y="739"/>
                      </a:lnTo>
                      <a:lnTo>
                        <a:pt x="971" y="741"/>
                      </a:lnTo>
                      <a:lnTo>
                        <a:pt x="964" y="739"/>
                      </a:lnTo>
                      <a:lnTo>
                        <a:pt x="961" y="741"/>
                      </a:lnTo>
                      <a:lnTo>
                        <a:pt x="962" y="745"/>
                      </a:lnTo>
                      <a:lnTo>
                        <a:pt x="964" y="746"/>
                      </a:lnTo>
                      <a:lnTo>
                        <a:pt x="968" y="750"/>
                      </a:lnTo>
                      <a:lnTo>
                        <a:pt x="966" y="753"/>
                      </a:lnTo>
                      <a:lnTo>
                        <a:pt x="966" y="748"/>
                      </a:lnTo>
                      <a:lnTo>
                        <a:pt x="962" y="745"/>
                      </a:lnTo>
                      <a:lnTo>
                        <a:pt x="957" y="743"/>
                      </a:lnTo>
                      <a:lnTo>
                        <a:pt x="955" y="739"/>
                      </a:lnTo>
                      <a:lnTo>
                        <a:pt x="954" y="736"/>
                      </a:lnTo>
                      <a:lnTo>
                        <a:pt x="954" y="736"/>
                      </a:lnTo>
                      <a:lnTo>
                        <a:pt x="955" y="736"/>
                      </a:lnTo>
                      <a:lnTo>
                        <a:pt x="955" y="736"/>
                      </a:lnTo>
                      <a:lnTo>
                        <a:pt x="961" y="738"/>
                      </a:lnTo>
                      <a:lnTo>
                        <a:pt x="961" y="738"/>
                      </a:lnTo>
                      <a:lnTo>
                        <a:pt x="962" y="738"/>
                      </a:lnTo>
                      <a:lnTo>
                        <a:pt x="962" y="738"/>
                      </a:lnTo>
                      <a:lnTo>
                        <a:pt x="969" y="739"/>
                      </a:lnTo>
                      <a:lnTo>
                        <a:pt x="971" y="739"/>
                      </a:lnTo>
                      <a:lnTo>
                        <a:pt x="975" y="738"/>
                      </a:lnTo>
                      <a:lnTo>
                        <a:pt x="976" y="734"/>
                      </a:lnTo>
                      <a:lnTo>
                        <a:pt x="975" y="731"/>
                      </a:lnTo>
                      <a:lnTo>
                        <a:pt x="971" y="731"/>
                      </a:lnTo>
                      <a:lnTo>
                        <a:pt x="968" y="731"/>
                      </a:lnTo>
                      <a:lnTo>
                        <a:pt x="968" y="727"/>
                      </a:lnTo>
                      <a:lnTo>
                        <a:pt x="968" y="727"/>
                      </a:lnTo>
                      <a:lnTo>
                        <a:pt x="966" y="727"/>
                      </a:lnTo>
                      <a:lnTo>
                        <a:pt x="962" y="727"/>
                      </a:lnTo>
                      <a:lnTo>
                        <a:pt x="961" y="727"/>
                      </a:lnTo>
                      <a:lnTo>
                        <a:pt x="957" y="725"/>
                      </a:lnTo>
                      <a:lnTo>
                        <a:pt x="957" y="722"/>
                      </a:lnTo>
                      <a:lnTo>
                        <a:pt x="955" y="720"/>
                      </a:lnTo>
                      <a:lnTo>
                        <a:pt x="955" y="717"/>
                      </a:lnTo>
                      <a:lnTo>
                        <a:pt x="955" y="715"/>
                      </a:lnTo>
                      <a:lnTo>
                        <a:pt x="959" y="708"/>
                      </a:lnTo>
                      <a:lnTo>
                        <a:pt x="961" y="697"/>
                      </a:lnTo>
                      <a:lnTo>
                        <a:pt x="962" y="692"/>
                      </a:lnTo>
                      <a:lnTo>
                        <a:pt x="961" y="694"/>
                      </a:lnTo>
                      <a:lnTo>
                        <a:pt x="957" y="694"/>
                      </a:lnTo>
                      <a:lnTo>
                        <a:pt x="955" y="696"/>
                      </a:lnTo>
                      <a:lnTo>
                        <a:pt x="952" y="697"/>
                      </a:lnTo>
                      <a:lnTo>
                        <a:pt x="952" y="697"/>
                      </a:lnTo>
                      <a:lnTo>
                        <a:pt x="950" y="699"/>
                      </a:lnTo>
                      <a:lnTo>
                        <a:pt x="948" y="699"/>
                      </a:lnTo>
                      <a:lnTo>
                        <a:pt x="947" y="701"/>
                      </a:lnTo>
                      <a:lnTo>
                        <a:pt x="948" y="697"/>
                      </a:lnTo>
                      <a:lnTo>
                        <a:pt x="952" y="694"/>
                      </a:lnTo>
                      <a:lnTo>
                        <a:pt x="954" y="690"/>
                      </a:lnTo>
                      <a:lnTo>
                        <a:pt x="950" y="692"/>
                      </a:lnTo>
                      <a:lnTo>
                        <a:pt x="947" y="694"/>
                      </a:lnTo>
                      <a:lnTo>
                        <a:pt x="945" y="694"/>
                      </a:lnTo>
                      <a:lnTo>
                        <a:pt x="941" y="692"/>
                      </a:lnTo>
                      <a:lnTo>
                        <a:pt x="940" y="692"/>
                      </a:lnTo>
                      <a:lnTo>
                        <a:pt x="936" y="687"/>
                      </a:lnTo>
                      <a:lnTo>
                        <a:pt x="934" y="685"/>
                      </a:lnTo>
                      <a:lnTo>
                        <a:pt x="933" y="685"/>
                      </a:lnTo>
                      <a:lnTo>
                        <a:pt x="926" y="685"/>
                      </a:lnTo>
                      <a:lnTo>
                        <a:pt x="924" y="685"/>
                      </a:lnTo>
                      <a:lnTo>
                        <a:pt x="924" y="683"/>
                      </a:lnTo>
                      <a:lnTo>
                        <a:pt x="922" y="683"/>
                      </a:lnTo>
                      <a:lnTo>
                        <a:pt x="921" y="685"/>
                      </a:lnTo>
                      <a:lnTo>
                        <a:pt x="921" y="685"/>
                      </a:lnTo>
                      <a:lnTo>
                        <a:pt x="922" y="687"/>
                      </a:lnTo>
                      <a:lnTo>
                        <a:pt x="922" y="689"/>
                      </a:lnTo>
                      <a:lnTo>
                        <a:pt x="924" y="689"/>
                      </a:lnTo>
                      <a:lnTo>
                        <a:pt x="917" y="690"/>
                      </a:lnTo>
                      <a:lnTo>
                        <a:pt x="914" y="690"/>
                      </a:lnTo>
                      <a:lnTo>
                        <a:pt x="912" y="690"/>
                      </a:lnTo>
                      <a:lnTo>
                        <a:pt x="910" y="689"/>
                      </a:lnTo>
                      <a:lnTo>
                        <a:pt x="908" y="689"/>
                      </a:lnTo>
                      <a:lnTo>
                        <a:pt x="907" y="689"/>
                      </a:lnTo>
                      <a:lnTo>
                        <a:pt x="907" y="692"/>
                      </a:lnTo>
                      <a:lnTo>
                        <a:pt x="910" y="696"/>
                      </a:lnTo>
                      <a:lnTo>
                        <a:pt x="912" y="697"/>
                      </a:lnTo>
                      <a:lnTo>
                        <a:pt x="908" y="697"/>
                      </a:lnTo>
                      <a:lnTo>
                        <a:pt x="910" y="699"/>
                      </a:lnTo>
                      <a:lnTo>
                        <a:pt x="912" y="701"/>
                      </a:lnTo>
                      <a:lnTo>
                        <a:pt x="915" y="703"/>
                      </a:lnTo>
                      <a:lnTo>
                        <a:pt x="917" y="704"/>
                      </a:lnTo>
                      <a:lnTo>
                        <a:pt x="921" y="704"/>
                      </a:lnTo>
                      <a:lnTo>
                        <a:pt x="926" y="703"/>
                      </a:lnTo>
                      <a:lnTo>
                        <a:pt x="929" y="703"/>
                      </a:lnTo>
                      <a:lnTo>
                        <a:pt x="933" y="704"/>
                      </a:lnTo>
                      <a:lnTo>
                        <a:pt x="936" y="708"/>
                      </a:lnTo>
                      <a:lnTo>
                        <a:pt x="938" y="711"/>
                      </a:lnTo>
                      <a:lnTo>
                        <a:pt x="933" y="713"/>
                      </a:lnTo>
                      <a:lnTo>
                        <a:pt x="928" y="715"/>
                      </a:lnTo>
                      <a:lnTo>
                        <a:pt x="922" y="711"/>
                      </a:lnTo>
                      <a:lnTo>
                        <a:pt x="908" y="699"/>
                      </a:lnTo>
                      <a:lnTo>
                        <a:pt x="907" y="699"/>
                      </a:lnTo>
                      <a:lnTo>
                        <a:pt x="905" y="699"/>
                      </a:lnTo>
                      <a:lnTo>
                        <a:pt x="905" y="703"/>
                      </a:lnTo>
                      <a:lnTo>
                        <a:pt x="907" y="703"/>
                      </a:lnTo>
                      <a:lnTo>
                        <a:pt x="908" y="704"/>
                      </a:lnTo>
                      <a:lnTo>
                        <a:pt x="910" y="706"/>
                      </a:lnTo>
                      <a:lnTo>
                        <a:pt x="910" y="708"/>
                      </a:lnTo>
                      <a:lnTo>
                        <a:pt x="910" y="708"/>
                      </a:lnTo>
                      <a:lnTo>
                        <a:pt x="907" y="708"/>
                      </a:lnTo>
                      <a:lnTo>
                        <a:pt x="905" y="710"/>
                      </a:lnTo>
                      <a:lnTo>
                        <a:pt x="900" y="711"/>
                      </a:lnTo>
                      <a:lnTo>
                        <a:pt x="896" y="711"/>
                      </a:lnTo>
                      <a:lnTo>
                        <a:pt x="893" y="710"/>
                      </a:lnTo>
                      <a:lnTo>
                        <a:pt x="880" y="708"/>
                      </a:lnTo>
                      <a:lnTo>
                        <a:pt x="873" y="706"/>
                      </a:lnTo>
                      <a:lnTo>
                        <a:pt x="866" y="708"/>
                      </a:lnTo>
                      <a:lnTo>
                        <a:pt x="861" y="708"/>
                      </a:lnTo>
                      <a:lnTo>
                        <a:pt x="849" y="711"/>
                      </a:lnTo>
                      <a:lnTo>
                        <a:pt x="844" y="711"/>
                      </a:lnTo>
                      <a:lnTo>
                        <a:pt x="840" y="711"/>
                      </a:lnTo>
                      <a:lnTo>
                        <a:pt x="835" y="710"/>
                      </a:lnTo>
                      <a:lnTo>
                        <a:pt x="833" y="710"/>
                      </a:lnTo>
                      <a:lnTo>
                        <a:pt x="826" y="710"/>
                      </a:lnTo>
                      <a:lnTo>
                        <a:pt x="823" y="710"/>
                      </a:lnTo>
                      <a:lnTo>
                        <a:pt x="819" y="708"/>
                      </a:lnTo>
                      <a:lnTo>
                        <a:pt x="817" y="706"/>
                      </a:lnTo>
                      <a:lnTo>
                        <a:pt x="807" y="701"/>
                      </a:lnTo>
                      <a:lnTo>
                        <a:pt x="805" y="699"/>
                      </a:lnTo>
                      <a:lnTo>
                        <a:pt x="802" y="699"/>
                      </a:lnTo>
                      <a:lnTo>
                        <a:pt x="790" y="701"/>
                      </a:lnTo>
                      <a:lnTo>
                        <a:pt x="786" y="701"/>
                      </a:lnTo>
                      <a:lnTo>
                        <a:pt x="783" y="699"/>
                      </a:lnTo>
                      <a:lnTo>
                        <a:pt x="781" y="699"/>
                      </a:lnTo>
                      <a:lnTo>
                        <a:pt x="777" y="694"/>
                      </a:lnTo>
                      <a:lnTo>
                        <a:pt x="776" y="694"/>
                      </a:lnTo>
                      <a:lnTo>
                        <a:pt x="774" y="694"/>
                      </a:lnTo>
                      <a:lnTo>
                        <a:pt x="772" y="692"/>
                      </a:lnTo>
                      <a:lnTo>
                        <a:pt x="772" y="692"/>
                      </a:lnTo>
                      <a:lnTo>
                        <a:pt x="770" y="690"/>
                      </a:lnTo>
                      <a:lnTo>
                        <a:pt x="769" y="690"/>
                      </a:lnTo>
                      <a:lnTo>
                        <a:pt x="767" y="690"/>
                      </a:lnTo>
                      <a:lnTo>
                        <a:pt x="765" y="690"/>
                      </a:lnTo>
                      <a:lnTo>
                        <a:pt x="763" y="689"/>
                      </a:lnTo>
                      <a:lnTo>
                        <a:pt x="760" y="683"/>
                      </a:lnTo>
                      <a:lnTo>
                        <a:pt x="758" y="678"/>
                      </a:lnTo>
                      <a:lnTo>
                        <a:pt x="755" y="675"/>
                      </a:lnTo>
                      <a:lnTo>
                        <a:pt x="748" y="673"/>
                      </a:lnTo>
                      <a:lnTo>
                        <a:pt x="741" y="673"/>
                      </a:lnTo>
                      <a:lnTo>
                        <a:pt x="734" y="675"/>
                      </a:lnTo>
                      <a:lnTo>
                        <a:pt x="721" y="678"/>
                      </a:lnTo>
                      <a:lnTo>
                        <a:pt x="702" y="680"/>
                      </a:lnTo>
                      <a:lnTo>
                        <a:pt x="699" y="682"/>
                      </a:lnTo>
                      <a:lnTo>
                        <a:pt x="697" y="683"/>
                      </a:lnTo>
                      <a:lnTo>
                        <a:pt x="694" y="687"/>
                      </a:lnTo>
                      <a:lnTo>
                        <a:pt x="692" y="690"/>
                      </a:lnTo>
                      <a:lnTo>
                        <a:pt x="690" y="692"/>
                      </a:lnTo>
                      <a:lnTo>
                        <a:pt x="692" y="694"/>
                      </a:lnTo>
                      <a:lnTo>
                        <a:pt x="695" y="694"/>
                      </a:lnTo>
                      <a:lnTo>
                        <a:pt x="699" y="696"/>
                      </a:lnTo>
                      <a:lnTo>
                        <a:pt x="700" y="696"/>
                      </a:lnTo>
                      <a:lnTo>
                        <a:pt x="702" y="696"/>
                      </a:lnTo>
                      <a:lnTo>
                        <a:pt x="709" y="696"/>
                      </a:lnTo>
                      <a:lnTo>
                        <a:pt x="711" y="696"/>
                      </a:lnTo>
                      <a:lnTo>
                        <a:pt x="713" y="694"/>
                      </a:lnTo>
                      <a:lnTo>
                        <a:pt x="713" y="692"/>
                      </a:lnTo>
                      <a:lnTo>
                        <a:pt x="713" y="690"/>
                      </a:lnTo>
                      <a:lnTo>
                        <a:pt x="716" y="690"/>
                      </a:lnTo>
                      <a:lnTo>
                        <a:pt x="721" y="692"/>
                      </a:lnTo>
                      <a:lnTo>
                        <a:pt x="723" y="690"/>
                      </a:lnTo>
                      <a:lnTo>
                        <a:pt x="725" y="690"/>
                      </a:lnTo>
                      <a:lnTo>
                        <a:pt x="728" y="689"/>
                      </a:lnTo>
                      <a:lnTo>
                        <a:pt x="728" y="689"/>
                      </a:lnTo>
                      <a:lnTo>
                        <a:pt x="730" y="689"/>
                      </a:lnTo>
                      <a:lnTo>
                        <a:pt x="734" y="689"/>
                      </a:lnTo>
                      <a:lnTo>
                        <a:pt x="735" y="689"/>
                      </a:lnTo>
                      <a:lnTo>
                        <a:pt x="737" y="689"/>
                      </a:lnTo>
                      <a:lnTo>
                        <a:pt x="737" y="685"/>
                      </a:lnTo>
                      <a:lnTo>
                        <a:pt x="739" y="685"/>
                      </a:lnTo>
                      <a:lnTo>
                        <a:pt x="741" y="683"/>
                      </a:lnTo>
                      <a:lnTo>
                        <a:pt x="746" y="682"/>
                      </a:lnTo>
                      <a:lnTo>
                        <a:pt x="749" y="680"/>
                      </a:lnTo>
                      <a:lnTo>
                        <a:pt x="753" y="682"/>
                      </a:lnTo>
                      <a:lnTo>
                        <a:pt x="753" y="683"/>
                      </a:lnTo>
                      <a:lnTo>
                        <a:pt x="751" y="685"/>
                      </a:lnTo>
                      <a:lnTo>
                        <a:pt x="749" y="687"/>
                      </a:lnTo>
                      <a:lnTo>
                        <a:pt x="746" y="689"/>
                      </a:lnTo>
                      <a:lnTo>
                        <a:pt x="746" y="689"/>
                      </a:lnTo>
                      <a:lnTo>
                        <a:pt x="744" y="689"/>
                      </a:lnTo>
                      <a:lnTo>
                        <a:pt x="742" y="689"/>
                      </a:lnTo>
                      <a:lnTo>
                        <a:pt x="741" y="690"/>
                      </a:lnTo>
                      <a:lnTo>
                        <a:pt x="741" y="690"/>
                      </a:lnTo>
                      <a:lnTo>
                        <a:pt x="739" y="692"/>
                      </a:lnTo>
                      <a:lnTo>
                        <a:pt x="739" y="694"/>
                      </a:lnTo>
                      <a:lnTo>
                        <a:pt x="739" y="694"/>
                      </a:lnTo>
                      <a:lnTo>
                        <a:pt x="739" y="696"/>
                      </a:lnTo>
                      <a:lnTo>
                        <a:pt x="735" y="694"/>
                      </a:lnTo>
                      <a:lnTo>
                        <a:pt x="735" y="694"/>
                      </a:lnTo>
                      <a:lnTo>
                        <a:pt x="734" y="694"/>
                      </a:lnTo>
                      <a:lnTo>
                        <a:pt x="732" y="696"/>
                      </a:lnTo>
                      <a:lnTo>
                        <a:pt x="732" y="697"/>
                      </a:lnTo>
                      <a:lnTo>
                        <a:pt x="727" y="699"/>
                      </a:lnTo>
                      <a:lnTo>
                        <a:pt x="721" y="699"/>
                      </a:lnTo>
                      <a:lnTo>
                        <a:pt x="714" y="701"/>
                      </a:lnTo>
                      <a:lnTo>
                        <a:pt x="709" y="701"/>
                      </a:lnTo>
                      <a:lnTo>
                        <a:pt x="711" y="703"/>
                      </a:lnTo>
                      <a:lnTo>
                        <a:pt x="709" y="706"/>
                      </a:lnTo>
                      <a:lnTo>
                        <a:pt x="707" y="708"/>
                      </a:lnTo>
                      <a:lnTo>
                        <a:pt x="706" y="711"/>
                      </a:lnTo>
                      <a:lnTo>
                        <a:pt x="707" y="713"/>
                      </a:lnTo>
                      <a:lnTo>
                        <a:pt x="713" y="717"/>
                      </a:lnTo>
                      <a:lnTo>
                        <a:pt x="713" y="720"/>
                      </a:lnTo>
                      <a:lnTo>
                        <a:pt x="714" y="722"/>
                      </a:lnTo>
                      <a:lnTo>
                        <a:pt x="714" y="724"/>
                      </a:lnTo>
                      <a:lnTo>
                        <a:pt x="714" y="725"/>
                      </a:lnTo>
                      <a:lnTo>
                        <a:pt x="716" y="727"/>
                      </a:lnTo>
                      <a:lnTo>
                        <a:pt x="718" y="731"/>
                      </a:lnTo>
                      <a:lnTo>
                        <a:pt x="718" y="732"/>
                      </a:lnTo>
                      <a:lnTo>
                        <a:pt x="723" y="743"/>
                      </a:lnTo>
                      <a:lnTo>
                        <a:pt x="716" y="739"/>
                      </a:lnTo>
                      <a:lnTo>
                        <a:pt x="713" y="739"/>
                      </a:lnTo>
                      <a:lnTo>
                        <a:pt x="711" y="741"/>
                      </a:lnTo>
                      <a:lnTo>
                        <a:pt x="711" y="748"/>
                      </a:lnTo>
                      <a:lnTo>
                        <a:pt x="714" y="753"/>
                      </a:lnTo>
                      <a:lnTo>
                        <a:pt x="718" y="757"/>
                      </a:lnTo>
                      <a:lnTo>
                        <a:pt x="721" y="762"/>
                      </a:lnTo>
                      <a:lnTo>
                        <a:pt x="718" y="760"/>
                      </a:lnTo>
                      <a:lnTo>
                        <a:pt x="695" y="734"/>
                      </a:lnTo>
                      <a:lnTo>
                        <a:pt x="699" y="736"/>
                      </a:lnTo>
                      <a:lnTo>
                        <a:pt x="704" y="736"/>
                      </a:lnTo>
                      <a:lnTo>
                        <a:pt x="707" y="734"/>
                      </a:lnTo>
                      <a:lnTo>
                        <a:pt x="707" y="729"/>
                      </a:lnTo>
                      <a:lnTo>
                        <a:pt x="694" y="717"/>
                      </a:lnTo>
                      <a:lnTo>
                        <a:pt x="692" y="715"/>
                      </a:lnTo>
                      <a:lnTo>
                        <a:pt x="690" y="717"/>
                      </a:lnTo>
                      <a:lnTo>
                        <a:pt x="688" y="720"/>
                      </a:lnTo>
                      <a:lnTo>
                        <a:pt x="688" y="722"/>
                      </a:lnTo>
                      <a:lnTo>
                        <a:pt x="687" y="720"/>
                      </a:lnTo>
                      <a:lnTo>
                        <a:pt x="685" y="718"/>
                      </a:lnTo>
                      <a:lnTo>
                        <a:pt x="685" y="715"/>
                      </a:lnTo>
                      <a:lnTo>
                        <a:pt x="685" y="713"/>
                      </a:lnTo>
                      <a:lnTo>
                        <a:pt x="683" y="711"/>
                      </a:lnTo>
                      <a:lnTo>
                        <a:pt x="681" y="711"/>
                      </a:lnTo>
                      <a:lnTo>
                        <a:pt x="680" y="711"/>
                      </a:lnTo>
                      <a:lnTo>
                        <a:pt x="674" y="710"/>
                      </a:lnTo>
                      <a:lnTo>
                        <a:pt x="673" y="710"/>
                      </a:lnTo>
                      <a:lnTo>
                        <a:pt x="671" y="710"/>
                      </a:lnTo>
                      <a:lnTo>
                        <a:pt x="662" y="703"/>
                      </a:lnTo>
                      <a:lnTo>
                        <a:pt x="659" y="703"/>
                      </a:lnTo>
                      <a:lnTo>
                        <a:pt x="655" y="703"/>
                      </a:lnTo>
                      <a:lnTo>
                        <a:pt x="652" y="704"/>
                      </a:lnTo>
                      <a:lnTo>
                        <a:pt x="646" y="706"/>
                      </a:lnTo>
                      <a:lnTo>
                        <a:pt x="645" y="708"/>
                      </a:lnTo>
                      <a:lnTo>
                        <a:pt x="641" y="708"/>
                      </a:lnTo>
                      <a:lnTo>
                        <a:pt x="638" y="708"/>
                      </a:lnTo>
                      <a:lnTo>
                        <a:pt x="636" y="708"/>
                      </a:lnTo>
                      <a:lnTo>
                        <a:pt x="632" y="708"/>
                      </a:lnTo>
                      <a:lnTo>
                        <a:pt x="629" y="710"/>
                      </a:lnTo>
                      <a:lnTo>
                        <a:pt x="606" y="711"/>
                      </a:lnTo>
                      <a:lnTo>
                        <a:pt x="601" y="711"/>
                      </a:lnTo>
                      <a:lnTo>
                        <a:pt x="571" y="711"/>
                      </a:lnTo>
                      <a:lnTo>
                        <a:pt x="547" y="704"/>
                      </a:lnTo>
                      <a:lnTo>
                        <a:pt x="549" y="704"/>
                      </a:lnTo>
                      <a:lnTo>
                        <a:pt x="550" y="703"/>
                      </a:lnTo>
                      <a:lnTo>
                        <a:pt x="552" y="701"/>
                      </a:lnTo>
                      <a:lnTo>
                        <a:pt x="552" y="701"/>
                      </a:lnTo>
                      <a:lnTo>
                        <a:pt x="552" y="699"/>
                      </a:lnTo>
                      <a:lnTo>
                        <a:pt x="552" y="697"/>
                      </a:lnTo>
                      <a:lnTo>
                        <a:pt x="554" y="697"/>
                      </a:lnTo>
                      <a:lnTo>
                        <a:pt x="556" y="696"/>
                      </a:lnTo>
                      <a:lnTo>
                        <a:pt x="557" y="696"/>
                      </a:lnTo>
                      <a:lnTo>
                        <a:pt x="561" y="692"/>
                      </a:lnTo>
                      <a:lnTo>
                        <a:pt x="561" y="692"/>
                      </a:lnTo>
                      <a:lnTo>
                        <a:pt x="564" y="692"/>
                      </a:lnTo>
                      <a:lnTo>
                        <a:pt x="570" y="692"/>
                      </a:lnTo>
                      <a:lnTo>
                        <a:pt x="573" y="694"/>
                      </a:lnTo>
                      <a:lnTo>
                        <a:pt x="577" y="692"/>
                      </a:lnTo>
                      <a:lnTo>
                        <a:pt x="578" y="690"/>
                      </a:lnTo>
                      <a:lnTo>
                        <a:pt x="578" y="689"/>
                      </a:lnTo>
                      <a:lnTo>
                        <a:pt x="575" y="687"/>
                      </a:lnTo>
                      <a:lnTo>
                        <a:pt x="571" y="682"/>
                      </a:lnTo>
                      <a:lnTo>
                        <a:pt x="566" y="678"/>
                      </a:lnTo>
                      <a:lnTo>
                        <a:pt x="559" y="675"/>
                      </a:lnTo>
                      <a:lnTo>
                        <a:pt x="547" y="671"/>
                      </a:lnTo>
                      <a:lnTo>
                        <a:pt x="542" y="669"/>
                      </a:lnTo>
                      <a:lnTo>
                        <a:pt x="535" y="669"/>
                      </a:lnTo>
                      <a:lnTo>
                        <a:pt x="529" y="671"/>
                      </a:lnTo>
                      <a:lnTo>
                        <a:pt x="531" y="673"/>
                      </a:lnTo>
                      <a:lnTo>
                        <a:pt x="533" y="673"/>
                      </a:lnTo>
                      <a:lnTo>
                        <a:pt x="533" y="675"/>
                      </a:lnTo>
                      <a:lnTo>
                        <a:pt x="512" y="673"/>
                      </a:lnTo>
                      <a:lnTo>
                        <a:pt x="491" y="669"/>
                      </a:lnTo>
                      <a:lnTo>
                        <a:pt x="487" y="668"/>
                      </a:lnTo>
                      <a:lnTo>
                        <a:pt x="479" y="664"/>
                      </a:lnTo>
                      <a:lnTo>
                        <a:pt x="473" y="662"/>
                      </a:lnTo>
                      <a:lnTo>
                        <a:pt x="451" y="659"/>
                      </a:lnTo>
                      <a:lnTo>
                        <a:pt x="446" y="657"/>
                      </a:lnTo>
                      <a:lnTo>
                        <a:pt x="430" y="652"/>
                      </a:lnTo>
                      <a:lnTo>
                        <a:pt x="421" y="648"/>
                      </a:lnTo>
                      <a:lnTo>
                        <a:pt x="411" y="647"/>
                      </a:lnTo>
                      <a:lnTo>
                        <a:pt x="390" y="647"/>
                      </a:lnTo>
                      <a:lnTo>
                        <a:pt x="386" y="647"/>
                      </a:lnTo>
                      <a:lnTo>
                        <a:pt x="384" y="648"/>
                      </a:lnTo>
                      <a:lnTo>
                        <a:pt x="383" y="652"/>
                      </a:lnTo>
                      <a:lnTo>
                        <a:pt x="379" y="655"/>
                      </a:lnTo>
                      <a:lnTo>
                        <a:pt x="376" y="657"/>
                      </a:lnTo>
                      <a:lnTo>
                        <a:pt x="370" y="659"/>
                      </a:lnTo>
                      <a:lnTo>
                        <a:pt x="363" y="659"/>
                      </a:lnTo>
                      <a:lnTo>
                        <a:pt x="358" y="659"/>
                      </a:lnTo>
                      <a:lnTo>
                        <a:pt x="355" y="657"/>
                      </a:lnTo>
                      <a:lnTo>
                        <a:pt x="355" y="655"/>
                      </a:lnTo>
                      <a:lnTo>
                        <a:pt x="358" y="654"/>
                      </a:lnTo>
                      <a:lnTo>
                        <a:pt x="362" y="650"/>
                      </a:lnTo>
                      <a:lnTo>
                        <a:pt x="358" y="648"/>
                      </a:lnTo>
                      <a:lnTo>
                        <a:pt x="356" y="648"/>
                      </a:lnTo>
                      <a:lnTo>
                        <a:pt x="355" y="647"/>
                      </a:lnTo>
                      <a:lnTo>
                        <a:pt x="355" y="645"/>
                      </a:lnTo>
                      <a:lnTo>
                        <a:pt x="355" y="643"/>
                      </a:lnTo>
                      <a:lnTo>
                        <a:pt x="355" y="638"/>
                      </a:lnTo>
                      <a:lnTo>
                        <a:pt x="355" y="636"/>
                      </a:lnTo>
                      <a:lnTo>
                        <a:pt x="353" y="633"/>
                      </a:lnTo>
                      <a:lnTo>
                        <a:pt x="349" y="633"/>
                      </a:lnTo>
                      <a:lnTo>
                        <a:pt x="346" y="634"/>
                      </a:lnTo>
                      <a:lnTo>
                        <a:pt x="343" y="638"/>
                      </a:lnTo>
                      <a:lnTo>
                        <a:pt x="344" y="638"/>
                      </a:lnTo>
                      <a:lnTo>
                        <a:pt x="344" y="638"/>
                      </a:lnTo>
                      <a:lnTo>
                        <a:pt x="346" y="638"/>
                      </a:lnTo>
                      <a:lnTo>
                        <a:pt x="348" y="640"/>
                      </a:lnTo>
                      <a:lnTo>
                        <a:pt x="343" y="643"/>
                      </a:lnTo>
                      <a:lnTo>
                        <a:pt x="341" y="645"/>
                      </a:lnTo>
                      <a:lnTo>
                        <a:pt x="337" y="645"/>
                      </a:lnTo>
                      <a:lnTo>
                        <a:pt x="337" y="647"/>
                      </a:lnTo>
                      <a:lnTo>
                        <a:pt x="337" y="648"/>
                      </a:lnTo>
                      <a:lnTo>
                        <a:pt x="336" y="648"/>
                      </a:lnTo>
                      <a:lnTo>
                        <a:pt x="336" y="650"/>
                      </a:lnTo>
                      <a:lnTo>
                        <a:pt x="336" y="652"/>
                      </a:lnTo>
                      <a:lnTo>
                        <a:pt x="336" y="652"/>
                      </a:lnTo>
                      <a:lnTo>
                        <a:pt x="337" y="652"/>
                      </a:lnTo>
                      <a:lnTo>
                        <a:pt x="337" y="655"/>
                      </a:lnTo>
                      <a:lnTo>
                        <a:pt x="339" y="657"/>
                      </a:lnTo>
                      <a:lnTo>
                        <a:pt x="337" y="657"/>
                      </a:lnTo>
                      <a:lnTo>
                        <a:pt x="336" y="659"/>
                      </a:lnTo>
                      <a:lnTo>
                        <a:pt x="336" y="659"/>
                      </a:lnTo>
                      <a:lnTo>
                        <a:pt x="334" y="659"/>
                      </a:lnTo>
                      <a:lnTo>
                        <a:pt x="330" y="659"/>
                      </a:lnTo>
                      <a:lnTo>
                        <a:pt x="323" y="657"/>
                      </a:lnTo>
                      <a:lnTo>
                        <a:pt x="316" y="655"/>
                      </a:lnTo>
                      <a:lnTo>
                        <a:pt x="309" y="650"/>
                      </a:lnTo>
                      <a:lnTo>
                        <a:pt x="304" y="645"/>
                      </a:lnTo>
                      <a:lnTo>
                        <a:pt x="299" y="633"/>
                      </a:lnTo>
                      <a:lnTo>
                        <a:pt x="295" y="628"/>
                      </a:lnTo>
                      <a:lnTo>
                        <a:pt x="290" y="622"/>
                      </a:lnTo>
                      <a:lnTo>
                        <a:pt x="285" y="619"/>
                      </a:lnTo>
                      <a:lnTo>
                        <a:pt x="281" y="617"/>
                      </a:lnTo>
                      <a:lnTo>
                        <a:pt x="278" y="615"/>
                      </a:lnTo>
                      <a:lnTo>
                        <a:pt x="276" y="617"/>
                      </a:lnTo>
                      <a:lnTo>
                        <a:pt x="274" y="621"/>
                      </a:lnTo>
                      <a:lnTo>
                        <a:pt x="276" y="622"/>
                      </a:lnTo>
                      <a:lnTo>
                        <a:pt x="278" y="624"/>
                      </a:lnTo>
                      <a:lnTo>
                        <a:pt x="278" y="626"/>
                      </a:lnTo>
                      <a:lnTo>
                        <a:pt x="280" y="628"/>
                      </a:lnTo>
                      <a:lnTo>
                        <a:pt x="285" y="628"/>
                      </a:lnTo>
                      <a:lnTo>
                        <a:pt x="281" y="629"/>
                      </a:lnTo>
                      <a:lnTo>
                        <a:pt x="274" y="633"/>
                      </a:lnTo>
                      <a:lnTo>
                        <a:pt x="273" y="634"/>
                      </a:lnTo>
                      <a:lnTo>
                        <a:pt x="269" y="638"/>
                      </a:lnTo>
                      <a:lnTo>
                        <a:pt x="269" y="641"/>
                      </a:lnTo>
                      <a:lnTo>
                        <a:pt x="266" y="643"/>
                      </a:lnTo>
                      <a:lnTo>
                        <a:pt x="264" y="647"/>
                      </a:lnTo>
                      <a:lnTo>
                        <a:pt x="260" y="648"/>
                      </a:lnTo>
                      <a:lnTo>
                        <a:pt x="259" y="648"/>
                      </a:lnTo>
                      <a:lnTo>
                        <a:pt x="255" y="650"/>
                      </a:lnTo>
                      <a:lnTo>
                        <a:pt x="253" y="648"/>
                      </a:lnTo>
                      <a:lnTo>
                        <a:pt x="253" y="647"/>
                      </a:lnTo>
                      <a:lnTo>
                        <a:pt x="259" y="643"/>
                      </a:lnTo>
                      <a:lnTo>
                        <a:pt x="259" y="640"/>
                      </a:lnTo>
                      <a:lnTo>
                        <a:pt x="253" y="643"/>
                      </a:lnTo>
                      <a:lnTo>
                        <a:pt x="250" y="645"/>
                      </a:lnTo>
                      <a:lnTo>
                        <a:pt x="234" y="648"/>
                      </a:lnTo>
                      <a:lnTo>
                        <a:pt x="229" y="650"/>
                      </a:lnTo>
                      <a:lnTo>
                        <a:pt x="224" y="654"/>
                      </a:lnTo>
                      <a:lnTo>
                        <a:pt x="219" y="659"/>
                      </a:lnTo>
                      <a:lnTo>
                        <a:pt x="215" y="664"/>
                      </a:lnTo>
                      <a:lnTo>
                        <a:pt x="213" y="659"/>
                      </a:lnTo>
                      <a:lnTo>
                        <a:pt x="213" y="657"/>
                      </a:lnTo>
                      <a:lnTo>
                        <a:pt x="210" y="657"/>
                      </a:lnTo>
                      <a:lnTo>
                        <a:pt x="206" y="659"/>
                      </a:lnTo>
                      <a:lnTo>
                        <a:pt x="206" y="657"/>
                      </a:lnTo>
                      <a:lnTo>
                        <a:pt x="203" y="655"/>
                      </a:lnTo>
                      <a:lnTo>
                        <a:pt x="199" y="657"/>
                      </a:lnTo>
                      <a:lnTo>
                        <a:pt x="196" y="657"/>
                      </a:lnTo>
                      <a:lnTo>
                        <a:pt x="196" y="661"/>
                      </a:lnTo>
                      <a:lnTo>
                        <a:pt x="191" y="662"/>
                      </a:lnTo>
                      <a:lnTo>
                        <a:pt x="178" y="666"/>
                      </a:lnTo>
                      <a:lnTo>
                        <a:pt x="177" y="668"/>
                      </a:lnTo>
                      <a:lnTo>
                        <a:pt x="177" y="669"/>
                      </a:lnTo>
                      <a:lnTo>
                        <a:pt x="177" y="671"/>
                      </a:lnTo>
                      <a:lnTo>
                        <a:pt x="177" y="673"/>
                      </a:lnTo>
                      <a:lnTo>
                        <a:pt x="178" y="673"/>
                      </a:lnTo>
                      <a:lnTo>
                        <a:pt x="182" y="673"/>
                      </a:lnTo>
                      <a:lnTo>
                        <a:pt x="178" y="675"/>
                      </a:lnTo>
                      <a:lnTo>
                        <a:pt x="173" y="675"/>
                      </a:lnTo>
                      <a:lnTo>
                        <a:pt x="168" y="675"/>
                      </a:lnTo>
                      <a:lnTo>
                        <a:pt x="164" y="675"/>
                      </a:lnTo>
                      <a:lnTo>
                        <a:pt x="168" y="676"/>
                      </a:lnTo>
                      <a:lnTo>
                        <a:pt x="166" y="676"/>
                      </a:lnTo>
                      <a:lnTo>
                        <a:pt x="164" y="676"/>
                      </a:lnTo>
                      <a:lnTo>
                        <a:pt x="164" y="676"/>
                      </a:lnTo>
                      <a:lnTo>
                        <a:pt x="163" y="675"/>
                      </a:lnTo>
                      <a:lnTo>
                        <a:pt x="163" y="673"/>
                      </a:lnTo>
                      <a:lnTo>
                        <a:pt x="164" y="671"/>
                      </a:lnTo>
                      <a:lnTo>
                        <a:pt x="168" y="669"/>
                      </a:lnTo>
                      <a:lnTo>
                        <a:pt x="173" y="664"/>
                      </a:lnTo>
                      <a:lnTo>
                        <a:pt x="175" y="664"/>
                      </a:lnTo>
                      <a:lnTo>
                        <a:pt x="177" y="662"/>
                      </a:lnTo>
                      <a:lnTo>
                        <a:pt x="184" y="661"/>
                      </a:lnTo>
                      <a:lnTo>
                        <a:pt x="187" y="659"/>
                      </a:lnTo>
                      <a:lnTo>
                        <a:pt x="194" y="655"/>
                      </a:lnTo>
                      <a:lnTo>
                        <a:pt x="196" y="654"/>
                      </a:lnTo>
                      <a:lnTo>
                        <a:pt x="201" y="654"/>
                      </a:lnTo>
                      <a:lnTo>
                        <a:pt x="212" y="652"/>
                      </a:lnTo>
                      <a:lnTo>
                        <a:pt x="217" y="652"/>
                      </a:lnTo>
                      <a:lnTo>
                        <a:pt x="224" y="648"/>
                      </a:lnTo>
                      <a:lnTo>
                        <a:pt x="236" y="643"/>
                      </a:lnTo>
                      <a:lnTo>
                        <a:pt x="243" y="636"/>
                      </a:lnTo>
                      <a:lnTo>
                        <a:pt x="243" y="631"/>
                      </a:lnTo>
                      <a:lnTo>
                        <a:pt x="241" y="631"/>
                      </a:lnTo>
                      <a:lnTo>
                        <a:pt x="241" y="631"/>
                      </a:lnTo>
                      <a:lnTo>
                        <a:pt x="239" y="633"/>
                      </a:lnTo>
                      <a:lnTo>
                        <a:pt x="238" y="634"/>
                      </a:lnTo>
                      <a:lnTo>
                        <a:pt x="236" y="634"/>
                      </a:lnTo>
                      <a:lnTo>
                        <a:pt x="234" y="634"/>
                      </a:lnTo>
                      <a:lnTo>
                        <a:pt x="232" y="634"/>
                      </a:lnTo>
                      <a:lnTo>
                        <a:pt x="231" y="634"/>
                      </a:lnTo>
                      <a:lnTo>
                        <a:pt x="226" y="634"/>
                      </a:lnTo>
                      <a:lnTo>
                        <a:pt x="222" y="634"/>
                      </a:lnTo>
                      <a:lnTo>
                        <a:pt x="219" y="634"/>
                      </a:lnTo>
                      <a:lnTo>
                        <a:pt x="213" y="638"/>
                      </a:lnTo>
                      <a:lnTo>
                        <a:pt x="213" y="640"/>
                      </a:lnTo>
                      <a:lnTo>
                        <a:pt x="212" y="641"/>
                      </a:lnTo>
                      <a:lnTo>
                        <a:pt x="212" y="643"/>
                      </a:lnTo>
                      <a:lnTo>
                        <a:pt x="210" y="643"/>
                      </a:lnTo>
                      <a:lnTo>
                        <a:pt x="208" y="641"/>
                      </a:lnTo>
                      <a:lnTo>
                        <a:pt x="208" y="641"/>
                      </a:lnTo>
                      <a:lnTo>
                        <a:pt x="206" y="641"/>
                      </a:lnTo>
                      <a:lnTo>
                        <a:pt x="205" y="643"/>
                      </a:lnTo>
                      <a:lnTo>
                        <a:pt x="196" y="647"/>
                      </a:lnTo>
                      <a:lnTo>
                        <a:pt x="194" y="648"/>
                      </a:lnTo>
                      <a:lnTo>
                        <a:pt x="192" y="648"/>
                      </a:lnTo>
                      <a:lnTo>
                        <a:pt x="189" y="648"/>
                      </a:lnTo>
                      <a:lnTo>
                        <a:pt x="187" y="648"/>
                      </a:lnTo>
                      <a:lnTo>
                        <a:pt x="184" y="648"/>
                      </a:lnTo>
                      <a:lnTo>
                        <a:pt x="182" y="648"/>
                      </a:lnTo>
                      <a:lnTo>
                        <a:pt x="180" y="650"/>
                      </a:lnTo>
                      <a:lnTo>
                        <a:pt x="182" y="650"/>
                      </a:lnTo>
                      <a:lnTo>
                        <a:pt x="184" y="650"/>
                      </a:lnTo>
                      <a:lnTo>
                        <a:pt x="182" y="650"/>
                      </a:lnTo>
                      <a:lnTo>
                        <a:pt x="177" y="650"/>
                      </a:lnTo>
                      <a:lnTo>
                        <a:pt x="175" y="652"/>
                      </a:lnTo>
                      <a:lnTo>
                        <a:pt x="173" y="652"/>
                      </a:lnTo>
                      <a:lnTo>
                        <a:pt x="170" y="655"/>
                      </a:lnTo>
                      <a:lnTo>
                        <a:pt x="168" y="657"/>
                      </a:lnTo>
                      <a:lnTo>
                        <a:pt x="166" y="657"/>
                      </a:lnTo>
                      <a:lnTo>
                        <a:pt x="157" y="659"/>
                      </a:lnTo>
                      <a:lnTo>
                        <a:pt x="147" y="662"/>
                      </a:lnTo>
                      <a:lnTo>
                        <a:pt x="149" y="659"/>
                      </a:lnTo>
                      <a:lnTo>
                        <a:pt x="150" y="657"/>
                      </a:lnTo>
                      <a:lnTo>
                        <a:pt x="150" y="655"/>
                      </a:lnTo>
                      <a:lnTo>
                        <a:pt x="147" y="652"/>
                      </a:lnTo>
                      <a:lnTo>
                        <a:pt x="145" y="652"/>
                      </a:lnTo>
                      <a:lnTo>
                        <a:pt x="143" y="650"/>
                      </a:lnTo>
                      <a:lnTo>
                        <a:pt x="143" y="650"/>
                      </a:lnTo>
                      <a:lnTo>
                        <a:pt x="140" y="650"/>
                      </a:lnTo>
                      <a:lnTo>
                        <a:pt x="140" y="652"/>
                      </a:lnTo>
                      <a:lnTo>
                        <a:pt x="140" y="654"/>
                      </a:lnTo>
                      <a:lnTo>
                        <a:pt x="140" y="654"/>
                      </a:lnTo>
                      <a:lnTo>
                        <a:pt x="140" y="655"/>
                      </a:lnTo>
                      <a:lnTo>
                        <a:pt x="138" y="655"/>
                      </a:lnTo>
                      <a:lnTo>
                        <a:pt x="128" y="655"/>
                      </a:lnTo>
                      <a:lnTo>
                        <a:pt x="126" y="655"/>
                      </a:lnTo>
                      <a:lnTo>
                        <a:pt x="124" y="657"/>
                      </a:lnTo>
                      <a:lnTo>
                        <a:pt x="124" y="657"/>
                      </a:lnTo>
                      <a:lnTo>
                        <a:pt x="122" y="659"/>
                      </a:lnTo>
                      <a:lnTo>
                        <a:pt x="122" y="659"/>
                      </a:lnTo>
                      <a:lnTo>
                        <a:pt x="122" y="661"/>
                      </a:lnTo>
                      <a:lnTo>
                        <a:pt x="121" y="661"/>
                      </a:lnTo>
                      <a:lnTo>
                        <a:pt x="121" y="661"/>
                      </a:lnTo>
                      <a:lnTo>
                        <a:pt x="117" y="661"/>
                      </a:lnTo>
                      <a:lnTo>
                        <a:pt x="117" y="661"/>
                      </a:lnTo>
                      <a:lnTo>
                        <a:pt x="114" y="661"/>
                      </a:lnTo>
                      <a:lnTo>
                        <a:pt x="112" y="662"/>
                      </a:lnTo>
                      <a:lnTo>
                        <a:pt x="110" y="664"/>
                      </a:lnTo>
                      <a:lnTo>
                        <a:pt x="109" y="666"/>
                      </a:lnTo>
                      <a:lnTo>
                        <a:pt x="110" y="668"/>
                      </a:lnTo>
                      <a:lnTo>
                        <a:pt x="112" y="668"/>
                      </a:lnTo>
                      <a:lnTo>
                        <a:pt x="114" y="668"/>
                      </a:lnTo>
                      <a:lnTo>
                        <a:pt x="115" y="669"/>
                      </a:lnTo>
                      <a:lnTo>
                        <a:pt x="114" y="669"/>
                      </a:lnTo>
                      <a:lnTo>
                        <a:pt x="110" y="669"/>
                      </a:lnTo>
                      <a:lnTo>
                        <a:pt x="109" y="671"/>
                      </a:lnTo>
                      <a:lnTo>
                        <a:pt x="112" y="673"/>
                      </a:lnTo>
                      <a:lnTo>
                        <a:pt x="115" y="673"/>
                      </a:lnTo>
                      <a:lnTo>
                        <a:pt x="117" y="675"/>
                      </a:lnTo>
                      <a:lnTo>
                        <a:pt x="121" y="676"/>
                      </a:lnTo>
                      <a:lnTo>
                        <a:pt x="124" y="678"/>
                      </a:lnTo>
                      <a:lnTo>
                        <a:pt x="121" y="678"/>
                      </a:lnTo>
                      <a:lnTo>
                        <a:pt x="117" y="678"/>
                      </a:lnTo>
                      <a:lnTo>
                        <a:pt x="109" y="675"/>
                      </a:lnTo>
                      <a:lnTo>
                        <a:pt x="105" y="673"/>
                      </a:lnTo>
                      <a:lnTo>
                        <a:pt x="93" y="673"/>
                      </a:lnTo>
                      <a:lnTo>
                        <a:pt x="86" y="671"/>
                      </a:lnTo>
                      <a:lnTo>
                        <a:pt x="70" y="668"/>
                      </a:lnTo>
                      <a:lnTo>
                        <a:pt x="63" y="666"/>
                      </a:lnTo>
                      <a:lnTo>
                        <a:pt x="40" y="655"/>
                      </a:lnTo>
                      <a:lnTo>
                        <a:pt x="33" y="654"/>
                      </a:lnTo>
                      <a:lnTo>
                        <a:pt x="0" y="650"/>
                      </a:lnTo>
                      <a:lnTo>
                        <a:pt x="0" y="993"/>
                      </a:lnTo>
                      <a:lnTo>
                        <a:pt x="11" y="996"/>
                      </a:lnTo>
                      <a:lnTo>
                        <a:pt x="11" y="996"/>
                      </a:lnTo>
                      <a:lnTo>
                        <a:pt x="11" y="994"/>
                      </a:lnTo>
                      <a:lnTo>
                        <a:pt x="12" y="994"/>
                      </a:lnTo>
                      <a:lnTo>
                        <a:pt x="12" y="993"/>
                      </a:lnTo>
                      <a:lnTo>
                        <a:pt x="14" y="994"/>
                      </a:lnTo>
                      <a:lnTo>
                        <a:pt x="19" y="996"/>
                      </a:lnTo>
                      <a:lnTo>
                        <a:pt x="23" y="996"/>
                      </a:lnTo>
                      <a:lnTo>
                        <a:pt x="25" y="996"/>
                      </a:lnTo>
                      <a:lnTo>
                        <a:pt x="28" y="993"/>
                      </a:lnTo>
                      <a:lnTo>
                        <a:pt x="30" y="993"/>
                      </a:lnTo>
                      <a:lnTo>
                        <a:pt x="33" y="991"/>
                      </a:lnTo>
                      <a:lnTo>
                        <a:pt x="40" y="991"/>
                      </a:lnTo>
                      <a:lnTo>
                        <a:pt x="40" y="996"/>
                      </a:lnTo>
                      <a:lnTo>
                        <a:pt x="40" y="1000"/>
                      </a:lnTo>
                      <a:lnTo>
                        <a:pt x="40" y="1001"/>
                      </a:lnTo>
                      <a:lnTo>
                        <a:pt x="44" y="1005"/>
                      </a:lnTo>
                      <a:lnTo>
                        <a:pt x="47" y="1007"/>
                      </a:lnTo>
                      <a:lnTo>
                        <a:pt x="49" y="1007"/>
                      </a:lnTo>
                      <a:lnTo>
                        <a:pt x="51" y="1008"/>
                      </a:lnTo>
                      <a:lnTo>
                        <a:pt x="54" y="1014"/>
                      </a:lnTo>
                      <a:lnTo>
                        <a:pt x="56" y="1014"/>
                      </a:lnTo>
                      <a:lnTo>
                        <a:pt x="68" y="1024"/>
                      </a:lnTo>
                      <a:lnTo>
                        <a:pt x="74" y="1031"/>
                      </a:lnTo>
                      <a:lnTo>
                        <a:pt x="75" y="1038"/>
                      </a:lnTo>
                      <a:lnTo>
                        <a:pt x="77" y="1038"/>
                      </a:lnTo>
                      <a:lnTo>
                        <a:pt x="81" y="1036"/>
                      </a:lnTo>
                      <a:lnTo>
                        <a:pt x="86" y="1033"/>
                      </a:lnTo>
                      <a:lnTo>
                        <a:pt x="88" y="1031"/>
                      </a:lnTo>
                      <a:lnTo>
                        <a:pt x="91" y="1031"/>
                      </a:lnTo>
                      <a:lnTo>
                        <a:pt x="93" y="1031"/>
                      </a:lnTo>
                      <a:lnTo>
                        <a:pt x="95" y="1031"/>
                      </a:lnTo>
                      <a:lnTo>
                        <a:pt x="96" y="1029"/>
                      </a:lnTo>
                      <a:lnTo>
                        <a:pt x="96" y="1028"/>
                      </a:lnTo>
                      <a:lnTo>
                        <a:pt x="98" y="1026"/>
                      </a:lnTo>
                      <a:lnTo>
                        <a:pt x="96" y="1021"/>
                      </a:lnTo>
                      <a:lnTo>
                        <a:pt x="100" y="1021"/>
                      </a:lnTo>
                      <a:lnTo>
                        <a:pt x="102" y="1021"/>
                      </a:lnTo>
                      <a:lnTo>
                        <a:pt x="102" y="1019"/>
                      </a:lnTo>
                      <a:lnTo>
                        <a:pt x="100" y="1017"/>
                      </a:lnTo>
                      <a:lnTo>
                        <a:pt x="109" y="1014"/>
                      </a:lnTo>
                      <a:lnTo>
                        <a:pt x="115" y="1010"/>
                      </a:lnTo>
                      <a:lnTo>
                        <a:pt x="119" y="1010"/>
                      </a:lnTo>
                      <a:lnTo>
                        <a:pt x="119" y="1010"/>
                      </a:lnTo>
                      <a:lnTo>
                        <a:pt x="121" y="1012"/>
                      </a:lnTo>
                      <a:lnTo>
                        <a:pt x="124" y="1015"/>
                      </a:lnTo>
                      <a:lnTo>
                        <a:pt x="126" y="1017"/>
                      </a:lnTo>
                      <a:lnTo>
                        <a:pt x="126" y="1017"/>
                      </a:lnTo>
                      <a:lnTo>
                        <a:pt x="126" y="1019"/>
                      </a:lnTo>
                      <a:lnTo>
                        <a:pt x="128" y="1021"/>
                      </a:lnTo>
                      <a:lnTo>
                        <a:pt x="129" y="1024"/>
                      </a:lnTo>
                      <a:lnTo>
                        <a:pt x="131" y="1028"/>
                      </a:lnTo>
                      <a:lnTo>
                        <a:pt x="136" y="1031"/>
                      </a:lnTo>
                      <a:lnTo>
                        <a:pt x="140" y="1033"/>
                      </a:lnTo>
                      <a:lnTo>
                        <a:pt x="143" y="1038"/>
                      </a:lnTo>
                      <a:lnTo>
                        <a:pt x="145" y="1042"/>
                      </a:lnTo>
                      <a:lnTo>
                        <a:pt x="156" y="1049"/>
                      </a:lnTo>
                      <a:lnTo>
                        <a:pt x="159" y="1052"/>
                      </a:lnTo>
                      <a:lnTo>
                        <a:pt x="180" y="1082"/>
                      </a:lnTo>
                      <a:lnTo>
                        <a:pt x="185" y="1091"/>
                      </a:lnTo>
                      <a:lnTo>
                        <a:pt x="187" y="1094"/>
                      </a:lnTo>
                      <a:lnTo>
                        <a:pt x="185" y="1098"/>
                      </a:lnTo>
                      <a:lnTo>
                        <a:pt x="192" y="1099"/>
                      </a:lnTo>
                      <a:lnTo>
                        <a:pt x="192" y="1099"/>
                      </a:lnTo>
                      <a:lnTo>
                        <a:pt x="191" y="1103"/>
                      </a:lnTo>
                      <a:lnTo>
                        <a:pt x="191" y="1103"/>
                      </a:lnTo>
                      <a:lnTo>
                        <a:pt x="192" y="1105"/>
                      </a:lnTo>
                      <a:lnTo>
                        <a:pt x="194" y="1105"/>
                      </a:lnTo>
                      <a:lnTo>
                        <a:pt x="194" y="1106"/>
                      </a:lnTo>
                      <a:lnTo>
                        <a:pt x="196" y="1106"/>
                      </a:lnTo>
                      <a:lnTo>
                        <a:pt x="196" y="1108"/>
                      </a:lnTo>
                      <a:lnTo>
                        <a:pt x="196" y="1110"/>
                      </a:lnTo>
                      <a:lnTo>
                        <a:pt x="196" y="1110"/>
                      </a:lnTo>
                      <a:lnTo>
                        <a:pt x="198" y="1112"/>
                      </a:lnTo>
                      <a:lnTo>
                        <a:pt x="199" y="1110"/>
                      </a:lnTo>
                      <a:lnTo>
                        <a:pt x="199" y="1110"/>
                      </a:lnTo>
                      <a:lnTo>
                        <a:pt x="224" y="1120"/>
                      </a:lnTo>
                      <a:lnTo>
                        <a:pt x="226" y="1120"/>
                      </a:lnTo>
                      <a:lnTo>
                        <a:pt x="226" y="1122"/>
                      </a:lnTo>
                      <a:lnTo>
                        <a:pt x="226" y="1122"/>
                      </a:lnTo>
                      <a:lnTo>
                        <a:pt x="229" y="1124"/>
                      </a:lnTo>
                      <a:lnTo>
                        <a:pt x="232" y="1124"/>
                      </a:lnTo>
                      <a:lnTo>
                        <a:pt x="234" y="1125"/>
                      </a:lnTo>
                      <a:lnTo>
                        <a:pt x="234" y="1129"/>
                      </a:lnTo>
                      <a:lnTo>
                        <a:pt x="234" y="1132"/>
                      </a:lnTo>
                      <a:lnTo>
                        <a:pt x="234" y="1134"/>
                      </a:lnTo>
                      <a:lnTo>
                        <a:pt x="234" y="1138"/>
                      </a:lnTo>
                      <a:lnTo>
                        <a:pt x="234" y="1139"/>
                      </a:lnTo>
                      <a:lnTo>
                        <a:pt x="236" y="1145"/>
                      </a:lnTo>
                      <a:lnTo>
                        <a:pt x="236" y="1146"/>
                      </a:lnTo>
                      <a:lnTo>
                        <a:pt x="234" y="1148"/>
                      </a:lnTo>
                      <a:lnTo>
                        <a:pt x="234" y="1150"/>
                      </a:lnTo>
                      <a:lnTo>
                        <a:pt x="234" y="1150"/>
                      </a:lnTo>
                      <a:lnTo>
                        <a:pt x="234" y="1152"/>
                      </a:lnTo>
                      <a:lnTo>
                        <a:pt x="236" y="1150"/>
                      </a:lnTo>
                      <a:lnTo>
                        <a:pt x="238" y="1146"/>
                      </a:lnTo>
                      <a:lnTo>
                        <a:pt x="239" y="1143"/>
                      </a:lnTo>
                      <a:lnTo>
                        <a:pt x="239" y="1138"/>
                      </a:lnTo>
                      <a:lnTo>
                        <a:pt x="241" y="1139"/>
                      </a:lnTo>
                      <a:lnTo>
                        <a:pt x="241" y="1141"/>
                      </a:lnTo>
                      <a:lnTo>
                        <a:pt x="243" y="1141"/>
                      </a:lnTo>
                      <a:lnTo>
                        <a:pt x="245" y="1141"/>
                      </a:lnTo>
                      <a:lnTo>
                        <a:pt x="239" y="1146"/>
                      </a:lnTo>
                      <a:lnTo>
                        <a:pt x="234" y="1157"/>
                      </a:lnTo>
                      <a:lnTo>
                        <a:pt x="229" y="1162"/>
                      </a:lnTo>
                      <a:lnTo>
                        <a:pt x="227" y="1164"/>
                      </a:lnTo>
                      <a:lnTo>
                        <a:pt x="227" y="1167"/>
                      </a:lnTo>
                      <a:lnTo>
                        <a:pt x="227" y="1169"/>
                      </a:lnTo>
                      <a:lnTo>
                        <a:pt x="227" y="1173"/>
                      </a:lnTo>
                      <a:lnTo>
                        <a:pt x="229" y="1174"/>
                      </a:lnTo>
                      <a:lnTo>
                        <a:pt x="232" y="1176"/>
                      </a:lnTo>
                      <a:lnTo>
                        <a:pt x="236" y="1176"/>
                      </a:lnTo>
                      <a:lnTo>
                        <a:pt x="239" y="1176"/>
                      </a:lnTo>
                      <a:lnTo>
                        <a:pt x="243" y="1176"/>
                      </a:lnTo>
                      <a:lnTo>
                        <a:pt x="241" y="1176"/>
                      </a:lnTo>
                      <a:lnTo>
                        <a:pt x="236" y="1178"/>
                      </a:lnTo>
                      <a:lnTo>
                        <a:pt x="234" y="1180"/>
                      </a:lnTo>
                      <a:lnTo>
                        <a:pt x="232" y="1185"/>
                      </a:lnTo>
                      <a:lnTo>
                        <a:pt x="231" y="1185"/>
                      </a:lnTo>
                      <a:lnTo>
                        <a:pt x="231" y="1187"/>
                      </a:lnTo>
                      <a:lnTo>
                        <a:pt x="229" y="1188"/>
                      </a:lnTo>
                      <a:lnTo>
                        <a:pt x="229" y="1190"/>
                      </a:lnTo>
                      <a:lnTo>
                        <a:pt x="229" y="1192"/>
                      </a:lnTo>
                      <a:lnTo>
                        <a:pt x="232" y="1194"/>
                      </a:lnTo>
                      <a:lnTo>
                        <a:pt x="234" y="1194"/>
                      </a:lnTo>
                      <a:lnTo>
                        <a:pt x="236" y="1195"/>
                      </a:lnTo>
                      <a:lnTo>
                        <a:pt x="239" y="1197"/>
                      </a:lnTo>
                      <a:lnTo>
                        <a:pt x="245" y="1204"/>
                      </a:lnTo>
                      <a:lnTo>
                        <a:pt x="246" y="1202"/>
                      </a:lnTo>
                      <a:lnTo>
                        <a:pt x="250" y="1199"/>
                      </a:lnTo>
                      <a:lnTo>
                        <a:pt x="252" y="1199"/>
                      </a:lnTo>
                      <a:lnTo>
                        <a:pt x="252" y="1195"/>
                      </a:lnTo>
                      <a:lnTo>
                        <a:pt x="253" y="1194"/>
                      </a:lnTo>
                      <a:lnTo>
                        <a:pt x="253" y="1192"/>
                      </a:lnTo>
                      <a:lnTo>
                        <a:pt x="255" y="1188"/>
                      </a:lnTo>
                      <a:lnTo>
                        <a:pt x="257" y="1187"/>
                      </a:lnTo>
                      <a:lnTo>
                        <a:pt x="260" y="1185"/>
                      </a:lnTo>
                      <a:lnTo>
                        <a:pt x="264" y="1185"/>
                      </a:lnTo>
                      <a:lnTo>
                        <a:pt x="267" y="1187"/>
                      </a:lnTo>
                      <a:lnTo>
                        <a:pt x="264" y="1187"/>
                      </a:lnTo>
                      <a:lnTo>
                        <a:pt x="262" y="1190"/>
                      </a:lnTo>
                      <a:lnTo>
                        <a:pt x="262" y="1194"/>
                      </a:lnTo>
                      <a:lnTo>
                        <a:pt x="264" y="1195"/>
                      </a:lnTo>
                      <a:lnTo>
                        <a:pt x="269" y="1197"/>
                      </a:lnTo>
                      <a:lnTo>
                        <a:pt x="273" y="1197"/>
                      </a:lnTo>
                      <a:lnTo>
                        <a:pt x="278" y="1199"/>
                      </a:lnTo>
                      <a:lnTo>
                        <a:pt x="280" y="1202"/>
                      </a:lnTo>
                      <a:lnTo>
                        <a:pt x="274" y="1199"/>
                      </a:lnTo>
                      <a:lnTo>
                        <a:pt x="273" y="1199"/>
                      </a:lnTo>
                      <a:lnTo>
                        <a:pt x="269" y="1199"/>
                      </a:lnTo>
                      <a:lnTo>
                        <a:pt x="269" y="1199"/>
                      </a:lnTo>
                      <a:lnTo>
                        <a:pt x="267" y="1199"/>
                      </a:lnTo>
                      <a:lnTo>
                        <a:pt x="266" y="1199"/>
                      </a:lnTo>
                      <a:lnTo>
                        <a:pt x="266" y="1197"/>
                      </a:lnTo>
                      <a:lnTo>
                        <a:pt x="264" y="1197"/>
                      </a:lnTo>
                      <a:lnTo>
                        <a:pt x="260" y="1195"/>
                      </a:lnTo>
                      <a:lnTo>
                        <a:pt x="259" y="1195"/>
                      </a:lnTo>
                      <a:lnTo>
                        <a:pt x="260" y="1192"/>
                      </a:lnTo>
                      <a:lnTo>
                        <a:pt x="259" y="1190"/>
                      </a:lnTo>
                      <a:lnTo>
                        <a:pt x="257" y="1190"/>
                      </a:lnTo>
                      <a:lnTo>
                        <a:pt x="253" y="1194"/>
                      </a:lnTo>
                      <a:lnTo>
                        <a:pt x="253" y="1195"/>
                      </a:lnTo>
                      <a:lnTo>
                        <a:pt x="253" y="1199"/>
                      </a:lnTo>
                      <a:lnTo>
                        <a:pt x="257" y="1201"/>
                      </a:lnTo>
                      <a:lnTo>
                        <a:pt x="262" y="1204"/>
                      </a:lnTo>
                      <a:lnTo>
                        <a:pt x="266" y="1206"/>
                      </a:lnTo>
                      <a:lnTo>
                        <a:pt x="266" y="1208"/>
                      </a:lnTo>
                      <a:lnTo>
                        <a:pt x="269" y="1215"/>
                      </a:lnTo>
                      <a:lnTo>
                        <a:pt x="271" y="1216"/>
                      </a:lnTo>
                      <a:lnTo>
                        <a:pt x="276" y="1215"/>
                      </a:lnTo>
                      <a:lnTo>
                        <a:pt x="274" y="1218"/>
                      </a:lnTo>
                      <a:lnTo>
                        <a:pt x="273" y="1222"/>
                      </a:lnTo>
                      <a:lnTo>
                        <a:pt x="273" y="1227"/>
                      </a:lnTo>
                      <a:lnTo>
                        <a:pt x="273" y="1230"/>
                      </a:lnTo>
                      <a:lnTo>
                        <a:pt x="274" y="1229"/>
                      </a:lnTo>
                      <a:lnTo>
                        <a:pt x="276" y="1227"/>
                      </a:lnTo>
                      <a:lnTo>
                        <a:pt x="278" y="1225"/>
                      </a:lnTo>
                      <a:lnTo>
                        <a:pt x="280" y="1225"/>
                      </a:lnTo>
                      <a:lnTo>
                        <a:pt x="278" y="1227"/>
                      </a:lnTo>
                      <a:lnTo>
                        <a:pt x="278" y="1229"/>
                      </a:lnTo>
                      <a:lnTo>
                        <a:pt x="278" y="1229"/>
                      </a:lnTo>
                      <a:lnTo>
                        <a:pt x="278" y="1230"/>
                      </a:lnTo>
                      <a:lnTo>
                        <a:pt x="276" y="1232"/>
                      </a:lnTo>
                      <a:lnTo>
                        <a:pt x="274" y="1234"/>
                      </a:lnTo>
                      <a:lnTo>
                        <a:pt x="271" y="1237"/>
                      </a:lnTo>
                      <a:lnTo>
                        <a:pt x="273" y="1239"/>
                      </a:lnTo>
                      <a:lnTo>
                        <a:pt x="274" y="1243"/>
                      </a:lnTo>
                      <a:lnTo>
                        <a:pt x="274" y="1244"/>
                      </a:lnTo>
                      <a:lnTo>
                        <a:pt x="276" y="1248"/>
                      </a:lnTo>
                      <a:lnTo>
                        <a:pt x="280" y="1237"/>
                      </a:lnTo>
                      <a:lnTo>
                        <a:pt x="281" y="1234"/>
                      </a:lnTo>
                      <a:lnTo>
                        <a:pt x="283" y="1232"/>
                      </a:lnTo>
                      <a:lnTo>
                        <a:pt x="288" y="1230"/>
                      </a:lnTo>
                      <a:lnTo>
                        <a:pt x="292" y="1229"/>
                      </a:lnTo>
                      <a:lnTo>
                        <a:pt x="295" y="1225"/>
                      </a:lnTo>
                      <a:lnTo>
                        <a:pt x="299" y="1220"/>
                      </a:lnTo>
                      <a:lnTo>
                        <a:pt x="299" y="1216"/>
                      </a:lnTo>
                      <a:lnTo>
                        <a:pt x="301" y="1220"/>
                      </a:lnTo>
                      <a:lnTo>
                        <a:pt x="299" y="1222"/>
                      </a:lnTo>
                      <a:lnTo>
                        <a:pt x="297" y="1225"/>
                      </a:lnTo>
                      <a:lnTo>
                        <a:pt x="295" y="1227"/>
                      </a:lnTo>
                      <a:lnTo>
                        <a:pt x="295" y="1229"/>
                      </a:lnTo>
                      <a:lnTo>
                        <a:pt x="297" y="1230"/>
                      </a:lnTo>
                      <a:lnTo>
                        <a:pt x="299" y="1232"/>
                      </a:lnTo>
                      <a:lnTo>
                        <a:pt x="301" y="1232"/>
                      </a:lnTo>
                      <a:lnTo>
                        <a:pt x="302" y="1234"/>
                      </a:lnTo>
                      <a:lnTo>
                        <a:pt x="304" y="1237"/>
                      </a:lnTo>
                      <a:lnTo>
                        <a:pt x="306" y="1239"/>
                      </a:lnTo>
                      <a:lnTo>
                        <a:pt x="302" y="1237"/>
                      </a:lnTo>
                      <a:lnTo>
                        <a:pt x="299" y="1234"/>
                      </a:lnTo>
                      <a:lnTo>
                        <a:pt x="295" y="1230"/>
                      </a:lnTo>
                      <a:lnTo>
                        <a:pt x="292" y="1230"/>
                      </a:lnTo>
                      <a:lnTo>
                        <a:pt x="288" y="1230"/>
                      </a:lnTo>
                      <a:lnTo>
                        <a:pt x="285" y="1234"/>
                      </a:lnTo>
                      <a:lnTo>
                        <a:pt x="281" y="1237"/>
                      </a:lnTo>
                      <a:lnTo>
                        <a:pt x="281" y="1243"/>
                      </a:lnTo>
                      <a:lnTo>
                        <a:pt x="281" y="1241"/>
                      </a:lnTo>
                      <a:lnTo>
                        <a:pt x="283" y="1243"/>
                      </a:lnTo>
                      <a:lnTo>
                        <a:pt x="283" y="1241"/>
                      </a:lnTo>
                      <a:lnTo>
                        <a:pt x="283" y="1244"/>
                      </a:lnTo>
                      <a:lnTo>
                        <a:pt x="281" y="1246"/>
                      </a:lnTo>
                      <a:lnTo>
                        <a:pt x="281" y="1248"/>
                      </a:lnTo>
                      <a:lnTo>
                        <a:pt x="281" y="1251"/>
                      </a:lnTo>
                      <a:lnTo>
                        <a:pt x="281" y="1253"/>
                      </a:lnTo>
                      <a:lnTo>
                        <a:pt x="283" y="1255"/>
                      </a:lnTo>
                      <a:lnTo>
                        <a:pt x="285" y="1257"/>
                      </a:lnTo>
                      <a:lnTo>
                        <a:pt x="285" y="1258"/>
                      </a:lnTo>
                      <a:lnTo>
                        <a:pt x="287" y="1257"/>
                      </a:lnTo>
                      <a:lnTo>
                        <a:pt x="290" y="1251"/>
                      </a:lnTo>
                      <a:lnTo>
                        <a:pt x="292" y="1251"/>
                      </a:lnTo>
                      <a:lnTo>
                        <a:pt x="295" y="1250"/>
                      </a:lnTo>
                      <a:lnTo>
                        <a:pt x="299" y="1250"/>
                      </a:lnTo>
                      <a:lnTo>
                        <a:pt x="306" y="1251"/>
                      </a:lnTo>
                      <a:lnTo>
                        <a:pt x="302" y="1251"/>
                      </a:lnTo>
                      <a:lnTo>
                        <a:pt x="299" y="1251"/>
                      </a:lnTo>
                      <a:lnTo>
                        <a:pt x="294" y="1251"/>
                      </a:lnTo>
                      <a:lnTo>
                        <a:pt x="290" y="1253"/>
                      </a:lnTo>
                      <a:lnTo>
                        <a:pt x="288" y="1257"/>
                      </a:lnTo>
                      <a:lnTo>
                        <a:pt x="285" y="1260"/>
                      </a:lnTo>
                      <a:lnTo>
                        <a:pt x="285" y="1265"/>
                      </a:lnTo>
                      <a:lnTo>
                        <a:pt x="285" y="1269"/>
                      </a:lnTo>
                      <a:lnTo>
                        <a:pt x="290" y="1274"/>
                      </a:lnTo>
                      <a:lnTo>
                        <a:pt x="297" y="1276"/>
                      </a:lnTo>
                      <a:lnTo>
                        <a:pt x="306" y="1276"/>
                      </a:lnTo>
                      <a:lnTo>
                        <a:pt x="309" y="1271"/>
                      </a:lnTo>
                      <a:lnTo>
                        <a:pt x="309" y="1274"/>
                      </a:lnTo>
                      <a:lnTo>
                        <a:pt x="309" y="1276"/>
                      </a:lnTo>
                      <a:lnTo>
                        <a:pt x="311" y="1277"/>
                      </a:lnTo>
                      <a:lnTo>
                        <a:pt x="313" y="1277"/>
                      </a:lnTo>
                      <a:lnTo>
                        <a:pt x="311" y="1283"/>
                      </a:lnTo>
                      <a:lnTo>
                        <a:pt x="313" y="1283"/>
                      </a:lnTo>
                      <a:lnTo>
                        <a:pt x="318" y="1283"/>
                      </a:lnTo>
                      <a:lnTo>
                        <a:pt x="323" y="1283"/>
                      </a:lnTo>
                      <a:lnTo>
                        <a:pt x="316" y="1284"/>
                      </a:lnTo>
                      <a:lnTo>
                        <a:pt x="313" y="1284"/>
                      </a:lnTo>
                      <a:lnTo>
                        <a:pt x="311" y="1286"/>
                      </a:lnTo>
                      <a:lnTo>
                        <a:pt x="313" y="1288"/>
                      </a:lnTo>
                      <a:lnTo>
                        <a:pt x="315" y="1288"/>
                      </a:lnTo>
                      <a:lnTo>
                        <a:pt x="327" y="1290"/>
                      </a:lnTo>
                      <a:lnTo>
                        <a:pt x="329" y="1290"/>
                      </a:lnTo>
                      <a:lnTo>
                        <a:pt x="329" y="1288"/>
                      </a:lnTo>
                      <a:lnTo>
                        <a:pt x="330" y="1286"/>
                      </a:lnTo>
                      <a:lnTo>
                        <a:pt x="330" y="1284"/>
                      </a:lnTo>
                      <a:lnTo>
                        <a:pt x="332" y="1288"/>
                      </a:lnTo>
                      <a:lnTo>
                        <a:pt x="334" y="1290"/>
                      </a:lnTo>
                      <a:lnTo>
                        <a:pt x="337" y="1290"/>
                      </a:lnTo>
                      <a:lnTo>
                        <a:pt x="341" y="1290"/>
                      </a:lnTo>
                      <a:lnTo>
                        <a:pt x="343" y="1286"/>
                      </a:lnTo>
                      <a:lnTo>
                        <a:pt x="344" y="1279"/>
                      </a:lnTo>
                      <a:lnTo>
                        <a:pt x="346" y="1277"/>
                      </a:lnTo>
                      <a:lnTo>
                        <a:pt x="344" y="1279"/>
                      </a:lnTo>
                      <a:lnTo>
                        <a:pt x="346" y="1283"/>
                      </a:lnTo>
                      <a:lnTo>
                        <a:pt x="346" y="1284"/>
                      </a:lnTo>
                      <a:lnTo>
                        <a:pt x="344" y="1286"/>
                      </a:lnTo>
                      <a:lnTo>
                        <a:pt x="343" y="1290"/>
                      </a:lnTo>
                      <a:lnTo>
                        <a:pt x="341" y="1291"/>
                      </a:lnTo>
                      <a:lnTo>
                        <a:pt x="341" y="1293"/>
                      </a:lnTo>
                      <a:lnTo>
                        <a:pt x="343" y="1295"/>
                      </a:lnTo>
                      <a:lnTo>
                        <a:pt x="344" y="1297"/>
                      </a:lnTo>
                      <a:lnTo>
                        <a:pt x="346" y="1304"/>
                      </a:lnTo>
                      <a:lnTo>
                        <a:pt x="348" y="1305"/>
                      </a:lnTo>
                      <a:lnTo>
                        <a:pt x="349" y="1309"/>
                      </a:lnTo>
                      <a:lnTo>
                        <a:pt x="353" y="1311"/>
                      </a:lnTo>
                      <a:lnTo>
                        <a:pt x="358" y="1312"/>
                      </a:lnTo>
                      <a:lnTo>
                        <a:pt x="362" y="1311"/>
                      </a:lnTo>
                      <a:lnTo>
                        <a:pt x="363" y="1309"/>
                      </a:lnTo>
                      <a:lnTo>
                        <a:pt x="365" y="1305"/>
                      </a:lnTo>
                      <a:lnTo>
                        <a:pt x="367" y="1302"/>
                      </a:lnTo>
                      <a:lnTo>
                        <a:pt x="365" y="1300"/>
                      </a:lnTo>
                      <a:lnTo>
                        <a:pt x="367" y="1300"/>
                      </a:lnTo>
                      <a:lnTo>
                        <a:pt x="367" y="1302"/>
                      </a:lnTo>
                      <a:lnTo>
                        <a:pt x="365" y="1307"/>
                      </a:lnTo>
                      <a:lnTo>
                        <a:pt x="365" y="1311"/>
                      </a:lnTo>
                      <a:lnTo>
                        <a:pt x="367" y="1314"/>
                      </a:lnTo>
                      <a:lnTo>
                        <a:pt x="369" y="1316"/>
                      </a:lnTo>
                      <a:lnTo>
                        <a:pt x="372" y="1316"/>
                      </a:lnTo>
                      <a:lnTo>
                        <a:pt x="370" y="1318"/>
                      </a:lnTo>
                      <a:lnTo>
                        <a:pt x="369" y="1318"/>
                      </a:lnTo>
                      <a:lnTo>
                        <a:pt x="367" y="1316"/>
                      </a:lnTo>
                      <a:lnTo>
                        <a:pt x="365" y="1314"/>
                      </a:lnTo>
                      <a:lnTo>
                        <a:pt x="363" y="1314"/>
                      </a:lnTo>
                      <a:lnTo>
                        <a:pt x="363" y="1316"/>
                      </a:lnTo>
                      <a:lnTo>
                        <a:pt x="363" y="1319"/>
                      </a:lnTo>
                      <a:lnTo>
                        <a:pt x="365" y="1321"/>
                      </a:lnTo>
                      <a:lnTo>
                        <a:pt x="369" y="1323"/>
                      </a:lnTo>
                      <a:lnTo>
                        <a:pt x="370" y="1323"/>
                      </a:lnTo>
                      <a:lnTo>
                        <a:pt x="374" y="1323"/>
                      </a:lnTo>
                      <a:lnTo>
                        <a:pt x="376" y="1323"/>
                      </a:lnTo>
                      <a:lnTo>
                        <a:pt x="377" y="1321"/>
                      </a:lnTo>
                      <a:lnTo>
                        <a:pt x="379" y="1318"/>
                      </a:lnTo>
                      <a:lnTo>
                        <a:pt x="381" y="1316"/>
                      </a:lnTo>
                      <a:lnTo>
                        <a:pt x="379" y="1323"/>
                      </a:lnTo>
                      <a:lnTo>
                        <a:pt x="379" y="1325"/>
                      </a:lnTo>
                      <a:lnTo>
                        <a:pt x="381" y="1326"/>
                      </a:lnTo>
                      <a:lnTo>
                        <a:pt x="383" y="1326"/>
                      </a:lnTo>
                      <a:lnTo>
                        <a:pt x="386" y="1326"/>
                      </a:lnTo>
                      <a:lnTo>
                        <a:pt x="388" y="1325"/>
                      </a:lnTo>
                      <a:lnTo>
                        <a:pt x="386" y="1326"/>
                      </a:lnTo>
                      <a:lnTo>
                        <a:pt x="384" y="1328"/>
                      </a:lnTo>
                      <a:lnTo>
                        <a:pt x="383" y="1328"/>
                      </a:lnTo>
                      <a:lnTo>
                        <a:pt x="381" y="1328"/>
                      </a:lnTo>
                      <a:lnTo>
                        <a:pt x="381" y="1332"/>
                      </a:lnTo>
                      <a:lnTo>
                        <a:pt x="381" y="1332"/>
                      </a:lnTo>
                      <a:lnTo>
                        <a:pt x="383" y="1332"/>
                      </a:lnTo>
                      <a:lnTo>
                        <a:pt x="383" y="1333"/>
                      </a:lnTo>
                      <a:lnTo>
                        <a:pt x="383" y="1335"/>
                      </a:lnTo>
                      <a:lnTo>
                        <a:pt x="383" y="1335"/>
                      </a:lnTo>
                      <a:lnTo>
                        <a:pt x="384" y="1337"/>
                      </a:lnTo>
                      <a:lnTo>
                        <a:pt x="384" y="1335"/>
                      </a:lnTo>
                      <a:lnTo>
                        <a:pt x="386" y="1333"/>
                      </a:lnTo>
                      <a:lnTo>
                        <a:pt x="388" y="1335"/>
                      </a:lnTo>
                      <a:lnTo>
                        <a:pt x="390" y="1337"/>
                      </a:lnTo>
                      <a:lnTo>
                        <a:pt x="980" y="1337"/>
                      </a:lnTo>
                      <a:lnTo>
                        <a:pt x="980" y="1325"/>
                      </a:lnTo>
                      <a:lnTo>
                        <a:pt x="985" y="1328"/>
                      </a:lnTo>
                      <a:lnTo>
                        <a:pt x="987" y="1332"/>
                      </a:lnTo>
                      <a:lnTo>
                        <a:pt x="989" y="1339"/>
                      </a:lnTo>
                      <a:lnTo>
                        <a:pt x="992" y="1344"/>
                      </a:lnTo>
                      <a:lnTo>
                        <a:pt x="994" y="1346"/>
                      </a:lnTo>
                      <a:lnTo>
                        <a:pt x="1003" y="1346"/>
                      </a:lnTo>
                      <a:lnTo>
                        <a:pt x="1006" y="1347"/>
                      </a:lnTo>
                      <a:lnTo>
                        <a:pt x="1010" y="1349"/>
                      </a:lnTo>
                      <a:lnTo>
                        <a:pt x="1011" y="1351"/>
                      </a:lnTo>
                      <a:lnTo>
                        <a:pt x="1015" y="1351"/>
                      </a:lnTo>
                      <a:lnTo>
                        <a:pt x="1018" y="1347"/>
                      </a:lnTo>
                      <a:lnTo>
                        <a:pt x="1018" y="1347"/>
                      </a:lnTo>
                      <a:lnTo>
                        <a:pt x="1022" y="1347"/>
                      </a:lnTo>
                      <a:lnTo>
                        <a:pt x="1024" y="1347"/>
                      </a:lnTo>
                      <a:lnTo>
                        <a:pt x="1027" y="1349"/>
                      </a:lnTo>
                      <a:lnTo>
                        <a:pt x="1034" y="1351"/>
                      </a:lnTo>
                      <a:lnTo>
                        <a:pt x="1036" y="1353"/>
                      </a:lnTo>
                      <a:lnTo>
                        <a:pt x="1036" y="1353"/>
                      </a:lnTo>
                      <a:lnTo>
                        <a:pt x="1038" y="1354"/>
                      </a:lnTo>
                      <a:lnTo>
                        <a:pt x="1039" y="1358"/>
                      </a:lnTo>
                      <a:lnTo>
                        <a:pt x="1039" y="1358"/>
                      </a:lnTo>
                      <a:lnTo>
                        <a:pt x="1039" y="1358"/>
                      </a:lnTo>
                      <a:lnTo>
                        <a:pt x="1043" y="1356"/>
                      </a:lnTo>
                      <a:lnTo>
                        <a:pt x="1043" y="1356"/>
                      </a:lnTo>
                      <a:lnTo>
                        <a:pt x="1045" y="1356"/>
                      </a:lnTo>
                      <a:lnTo>
                        <a:pt x="1046" y="1356"/>
                      </a:lnTo>
                      <a:lnTo>
                        <a:pt x="1048" y="1358"/>
                      </a:lnTo>
                      <a:lnTo>
                        <a:pt x="1048" y="1358"/>
                      </a:lnTo>
                      <a:lnTo>
                        <a:pt x="1051" y="1360"/>
                      </a:lnTo>
                      <a:lnTo>
                        <a:pt x="1053" y="1361"/>
                      </a:lnTo>
                      <a:lnTo>
                        <a:pt x="1057" y="1363"/>
                      </a:lnTo>
                      <a:lnTo>
                        <a:pt x="1060" y="1365"/>
                      </a:lnTo>
                      <a:lnTo>
                        <a:pt x="1064" y="1363"/>
                      </a:lnTo>
                      <a:lnTo>
                        <a:pt x="1069" y="1361"/>
                      </a:lnTo>
                      <a:lnTo>
                        <a:pt x="1071" y="1360"/>
                      </a:lnTo>
                      <a:lnTo>
                        <a:pt x="1072" y="1361"/>
                      </a:lnTo>
                      <a:lnTo>
                        <a:pt x="1072" y="1361"/>
                      </a:lnTo>
                      <a:lnTo>
                        <a:pt x="1072" y="1361"/>
                      </a:lnTo>
                      <a:lnTo>
                        <a:pt x="1074" y="1363"/>
                      </a:lnTo>
                      <a:lnTo>
                        <a:pt x="1076" y="1363"/>
                      </a:lnTo>
                      <a:lnTo>
                        <a:pt x="1079" y="1363"/>
                      </a:lnTo>
                      <a:lnTo>
                        <a:pt x="1086" y="1363"/>
                      </a:lnTo>
                      <a:lnTo>
                        <a:pt x="1088" y="1363"/>
                      </a:lnTo>
                      <a:lnTo>
                        <a:pt x="1088" y="1363"/>
                      </a:lnTo>
                      <a:lnTo>
                        <a:pt x="1090" y="1365"/>
                      </a:lnTo>
                      <a:lnTo>
                        <a:pt x="1092" y="1367"/>
                      </a:lnTo>
                      <a:lnTo>
                        <a:pt x="1093" y="1367"/>
                      </a:lnTo>
                      <a:lnTo>
                        <a:pt x="1097" y="1367"/>
                      </a:lnTo>
                      <a:lnTo>
                        <a:pt x="1104" y="1367"/>
                      </a:lnTo>
                      <a:lnTo>
                        <a:pt x="1111" y="1363"/>
                      </a:lnTo>
                      <a:lnTo>
                        <a:pt x="1116" y="1361"/>
                      </a:lnTo>
                      <a:lnTo>
                        <a:pt x="1123" y="1358"/>
                      </a:lnTo>
                      <a:lnTo>
                        <a:pt x="1130" y="1360"/>
                      </a:lnTo>
                      <a:lnTo>
                        <a:pt x="1193" y="1393"/>
                      </a:lnTo>
                      <a:lnTo>
                        <a:pt x="1198" y="1396"/>
                      </a:lnTo>
                      <a:lnTo>
                        <a:pt x="1200" y="1400"/>
                      </a:lnTo>
                      <a:lnTo>
                        <a:pt x="1202" y="1405"/>
                      </a:lnTo>
                      <a:lnTo>
                        <a:pt x="1203" y="1407"/>
                      </a:lnTo>
                      <a:lnTo>
                        <a:pt x="1207" y="1409"/>
                      </a:lnTo>
                      <a:lnTo>
                        <a:pt x="1207" y="1410"/>
                      </a:lnTo>
                      <a:lnTo>
                        <a:pt x="1212" y="1409"/>
                      </a:lnTo>
                      <a:lnTo>
                        <a:pt x="1216" y="1410"/>
                      </a:lnTo>
                      <a:lnTo>
                        <a:pt x="1217" y="1414"/>
                      </a:lnTo>
                      <a:lnTo>
                        <a:pt x="1217" y="1417"/>
                      </a:lnTo>
                      <a:lnTo>
                        <a:pt x="1221" y="1421"/>
                      </a:lnTo>
                      <a:lnTo>
                        <a:pt x="1223" y="1421"/>
                      </a:lnTo>
                      <a:lnTo>
                        <a:pt x="1224" y="1421"/>
                      </a:lnTo>
                      <a:lnTo>
                        <a:pt x="1228" y="1421"/>
                      </a:lnTo>
                      <a:lnTo>
                        <a:pt x="1230" y="1423"/>
                      </a:lnTo>
                      <a:lnTo>
                        <a:pt x="1230" y="1424"/>
                      </a:lnTo>
                      <a:lnTo>
                        <a:pt x="1230" y="1426"/>
                      </a:lnTo>
                      <a:lnTo>
                        <a:pt x="1230" y="1428"/>
                      </a:lnTo>
                      <a:lnTo>
                        <a:pt x="1231" y="1431"/>
                      </a:lnTo>
                      <a:lnTo>
                        <a:pt x="1245" y="1440"/>
                      </a:lnTo>
                      <a:lnTo>
                        <a:pt x="1249" y="1442"/>
                      </a:lnTo>
                      <a:lnTo>
                        <a:pt x="1251" y="1443"/>
                      </a:lnTo>
                      <a:lnTo>
                        <a:pt x="1251" y="1447"/>
                      </a:lnTo>
                      <a:lnTo>
                        <a:pt x="1258" y="1487"/>
                      </a:lnTo>
                      <a:lnTo>
                        <a:pt x="1258" y="1491"/>
                      </a:lnTo>
                      <a:lnTo>
                        <a:pt x="1258" y="1494"/>
                      </a:lnTo>
                      <a:lnTo>
                        <a:pt x="1256" y="1499"/>
                      </a:lnTo>
                      <a:lnTo>
                        <a:pt x="1251" y="1512"/>
                      </a:lnTo>
                      <a:lnTo>
                        <a:pt x="1249" y="1519"/>
                      </a:lnTo>
                      <a:lnTo>
                        <a:pt x="1244" y="1522"/>
                      </a:lnTo>
                      <a:lnTo>
                        <a:pt x="1240" y="1526"/>
                      </a:lnTo>
                      <a:lnTo>
                        <a:pt x="1238" y="1527"/>
                      </a:lnTo>
                      <a:lnTo>
                        <a:pt x="1237" y="1531"/>
                      </a:lnTo>
                      <a:lnTo>
                        <a:pt x="1237" y="1533"/>
                      </a:lnTo>
                      <a:lnTo>
                        <a:pt x="1238" y="1536"/>
                      </a:lnTo>
                      <a:lnTo>
                        <a:pt x="1240" y="1538"/>
                      </a:lnTo>
                      <a:lnTo>
                        <a:pt x="1244" y="1540"/>
                      </a:lnTo>
                      <a:lnTo>
                        <a:pt x="1251" y="1541"/>
                      </a:lnTo>
                      <a:lnTo>
                        <a:pt x="1258" y="1540"/>
                      </a:lnTo>
                      <a:lnTo>
                        <a:pt x="1270" y="1533"/>
                      </a:lnTo>
                      <a:lnTo>
                        <a:pt x="1277" y="1529"/>
                      </a:lnTo>
                      <a:lnTo>
                        <a:pt x="1299" y="1524"/>
                      </a:lnTo>
                      <a:lnTo>
                        <a:pt x="1326" y="1513"/>
                      </a:lnTo>
                      <a:lnTo>
                        <a:pt x="1327" y="1510"/>
                      </a:lnTo>
                      <a:lnTo>
                        <a:pt x="1327" y="1508"/>
                      </a:lnTo>
                      <a:lnTo>
                        <a:pt x="1327" y="1508"/>
                      </a:lnTo>
                      <a:lnTo>
                        <a:pt x="1326" y="1506"/>
                      </a:lnTo>
                      <a:lnTo>
                        <a:pt x="1326" y="1505"/>
                      </a:lnTo>
                      <a:lnTo>
                        <a:pt x="1324" y="1498"/>
                      </a:lnTo>
                      <a:lnTo>
                        <a:pt x="1322" y="1494"/>
                      </a:lnTo>
                      <a:lnTo>
                        <a:pt x="1329" y="1491"/>
                      </a:lnTo>
                      <a:lnTo>
                        <a:pt x="1336" y="1491"/>
                      </a:lnTo>
                      <a:lnTo>
                        <a:pt x="1369" y="1489"/>
                      </a:lnTo>
                      <a:lnTo>
                        <a:pt x="1373" y="1489"/>
                      </a:lnTo>
                      <a:lnTo>
                        <a:pt x="1375" y="1487"/>
                      </a:lnTo>
                      <a:lnTo>
                        <a:pt x="1380" y="1478"/>
                      </a:lnTo>
                      <a:lnTo>
                        <a:pt x="1404" y="1456"/>
                      </a:lnTo>
                      <a:lnTo>
                        <a:pt x="1411" y="1452"/>
                      </a:lnTo>
                      <a:lnTo>
                        <a:pt x="1418" y="1452"/>
                      </a:lnTo>
                      <a:lnTo>
                        <a:pt x="1427" y="1445"/>
                      </a:lnTo>
                      <a:lnTo>
                        <a:pt x="1430" y="1442"/>
                      </a:lnTo>
                      <a:close/>
                      <a:moveTo>
                        <a:pt x="337" y="1304"/>
                      </a:moveTo>
                      <a:lnTo>
                        <a:pt x="339" y="1302"/>
                      </a:lnTo>
                      <a:lnTo>
                        <a:pt x="341" y="1298"/>
                      </a:lnTo>
                      <a:lnTo>
                        <a:pt x="341" y="1297"/>
                      </a:lnTo>
                      <a:lnTo>
                        <a:pt x="339" y="1293"/>
                      </a:lnTo>
                      <a:lnTo>
                        <a:pt x="337" y="1291"/>
                      </a:lnTo>
                      <a:lnTo>
                        <a:pt x="336" y="1291"/>
                      </a:lnTo>
                      <a:lnTo>
                        <a:pt x="334" y="1295"/>
                      </a:lnTo>
                      <a:lnTo>
                        <a:pt x="336" y="1298"/>
                      </a:lnTo>
                      <a:lnTo>
                        <a:pt x="337" y="1302"/>
                      </a:lnTo>
                      <a:lnTo>
                        <a:pt x="337" y="1304"/>
                      </a:lnTo>
                      <a:close/>
                      <a:moveTo>
                        <a:pt x="343" y="1304"/>
                      </a:moveTo>
                      <a:lnTo>
                        <a:pt x="344" y="1304"/>
                      </a:lnTo>
                      <a:lnTo>
                        <a:pt x="344" y="1304"/>
                      </a:lnTo>
                      <a:lnTo>
                        <a:pt x="344" y="1302"/>
                      </a:lnTo>
                      <a:lnTo>
                        <a:pt x="344" y="1302"/>
                      </a:lnTo>
                      <a:lnTo>
                        <a:pt x="344" y="1300"/>
                      </a:lnTo>
                      <a:lnTo>
                        <a:pt x="343" y="1298"/>
                      </a:lnTo>
                      <a:lnTo>
                        <a:pt x="343" y="1298"/>
                      </a:lnTo>
                      <a:lnTo>
                        <a:pt x="343" y="1300"/>
                      </a:lnTo>
                      <a:lnTo>
                        <a:pt x="343" y="1302"/>
                      </a:lnTo>
                      <a:lnTo>
                        <a:pt x="343" y="1304"/>
                      </a:lnTo>
                      <a:lnTo>
                        <a:pt x="343" y="1304"/>
                      </a:lnTo>
                      <a:lnTo>
                        <a:pt x="343" y="1304"/>
                      </a:lnTo>
                      <a:close/>
                      <a:moveTo>
                        <a:pt x="271" y="1229"/>
                      </a:moveTo>
                      <a:lnTo>
                        <a:pt x="273" y="1225"/>
                      </a:lnTo>
                      <a:lnTo>
                        <a:pt x="273" y="1222"/>
                      </a:lnTo>
                      <a:lnTo>
                        <a:pt x="273" y="1218"/>
                      </a:lnTo>
                      <a:lnTo>
                        <a:pt x="269" y="1218"/>
                      </a:lnTo>
                      <a:lnTo>
                        <a:pt x="269" y="1222"/>
                      </a:lnTo>
                      <a:lnTo>
                        <a:pt x="269" y="1227"/>
                      </a:lnTo>
                      <a:lnTo>
                        <a:pt x="269" y="1230"/>
                      </a:lnTo>
                      <a:lnTo>
                        <a:pt x="271" y="1229"/>
                      </a:lnTo>
                      <a:close/>
                      <a:moveTo>
                        <a:pt x="304" y="1311"/>
                      </a:moveTo>
                      <a:lnTo>
                        <a:pt x="302" y="1309"/>
                      </a:lnTo>
                      <a:lnTo>
                        <a:pt x="302" y="1312"/>
                      </a:lnTo>
                      <a:lnTo>
                        <a:pt x="302" y="1314"/>
                      </a:lnTo>
                      <a:lnTo>
                        <a:pt x="304" y="1316"/>
                      </a:lnTo>
                      <a:lnTo>
                        <a:pt x="306" y="1318"/>
                      </a:lnTo>
                      <a:lnTo>
                        <a:pt x="308" y="1318"/>
                      </a:lnTo>
                      <a:lnTo>
                        <a:pt x="308" y="1312"/>
                      </a:lnTo>
                      <a:lnTo>
                        <a:pt x="304" y="1311"/>
                      </a:lnTo>
                      <a:close/>
                      <a:moveTo>
                        <a:pt x="253" y="1218"/>
                      </a:moveTo>
                      <a:lnTo>
                        <a:pt x="252" y="1218"/>
                      </a:lnTo>
                      <a:lnTo>
                        <a:pt x="252" y="1220"/>
                      </a:lnTo>
                      <a:lnTo>
                        <a:pt x="253" y="1223"/>
                      </a:lnTo>
                      <a:lnTo>
                        <a:pt x="257" y="1227"/>
                      </a:lnTo>
                      <a:lnTo>
                        <a:pt x="257" y="1223"/>
                      </a:lnTo>
                      <a:lnTo>
                        <a:pt x="255" y="1220"/>
                      </a:lnTo>
                      <a:lnTo>
                        <a:pt x="253" y="1218"/>
                      </a:lnTo>
                      <a:close/>
                      <a:moveTo>
                        <a:pt x="260" y="1204"/>
                      </a:moveTo>
                      <a:lnTo>
                        <a:pt x="257" y="1204"/>
                      </a:lnTo>
                      <a:lnTo>
                        <a:pt x="257" y="1204"/>
                      </a:lnTo>
                      <a:lnTo>
                        <a:pt x="255" y="1204"/>
                      </a:lnTo>
                      <a:lnTo>
                        <a:pt x="253" y="1211"/>
                      </a:lnTo>
                      <a:lnTo>
                        <a:pt x="253" y="1213"/>
                      </a:lnTo>
                      <a:lnTo>
                        <a:pt x="255" y="1216"/>
                      </a:lnTo>
                      <a:lnTo>
                        <a:pt x="257" y="1220"/>
                      </a:lnTo>
                      <a:lnTo>
                        <a:pt x="259" y="1222"/>
                      </a:lnTo>
                      <a:lnTo>
                        <a:pt x="260" y="1220"/>
                      </a:lnTo>
                      <a:lnTo>
                        <a:pt x="262" y="1220"/>
                      </a:lnTo>
                      <a:lnTo>
                        <a:pt x="262" y="1218"/>
                      </a:lnTo>
                      <a:lnTo>
                        <a:pt x="262" y="1225"/>
                      </a:lnTo>
                      <a:lnTo>
                        <a:pt x="262" y="1229"/>
                      </a:lnTo>
                      <a:lnTo>
                        <a:pt x="264" y="1232"/>
                      </a:lnTo>
                      <a:lnTo>
                        <a:pt x="267" y="1225"/>
                      </a:lnTo>
                      <a:lnTo>
                        <a:pt x="267" y="1218"/>
                      </a:lnTo>
                      <a:lnTo>
                        <a:pt x="266" y="1209"/>
                      </a:lnTo>
                      <a:lnTo>
                        <a:pt x="260" y="1204"/>
                      </a:lnTo>
                      <a:close/>
                      <a:moveTo>
                        <a:pt x="706" y="738"/>
                      </a:moveTo>
                      <a:lnTo>
                        <a:pt x="706" y="738"/>
                      </a:lnTo>
                      <a:lnTo>
                        <a:pt x="704" y="738"/>
                      </a:lnTo>
                      <a:lnTo>
                        <a:pt x="704" y="739"/>
                      </a:lnTo>
                      <a:lnTo>
                        <a:pt x="706" y="741"/>
                      </a:lnTo>
                      <a:lnTo>
                        <a:pt x="707" y="743"/>
                      </a:lnTo>
                      <a:lnTo>
                        <a:pt x="707" y="743"/>
                      </a:lnTo>
                      <a:lnTo>
                        <a:pt x="709" y="741"/>
                      </a:lnTo>
                      <a:lnTo>
                        <a:pt x="709" y="739"/>
                      </a:lnTo>
                      <a:lnTo>
                        <a:pt x="709" y="738"/>
                      </a:lnTo>
                      <a:lnTo>
                        <a:pt x="707" y="738"/>
                      </a:lnTo>
                      <a:lnTo>
                        <a:pt x="706" y="738"/>
                      </a:lnTo>
                      <a:close/>
                      <a:moveTo>
                        <a:pt x="278" y="1258"/>
                      </a:moveTo>
                      <a:lnTo>
                        <a:pt x="280" y="1257"/>
                      </a:lnTo>
                      <a:lnTo>
                        <a:pt x="280" y="1255"/>
                      </a:lnTo>
                      <a:lnTo>
                        <a:pt x="278" y="1251"/>
                      </a:lnTo>
                      <a:lnTo>
                        <a:pt x="276" y="1250"/>
                      </a:lnTo>
                      <a:lnTo>
                        <a:pt x="274" y="1253"/>
                      </a:lnTo>
                      <a:lnTo>
                        <a:pt x="276" y="1255"/>
                      </a:lnTo>
                      <a:lnTo>
                        <a:pt x="276" y="1257"/>
                      </a:lnTo>
                      <a:lnTo>
                        <a:pt x="278" y="1258"/>
                      </a:lnTo>
                      <a:close/>
                      <a:moveTo>
                        <a:pt x="989" y="383"/>
                      </a:moveTo>
                      <a:lnTo>
                        <a:pt x="989" y="385"/>
                      </a:lnTo>
                      <a:lnTo>
                        <a:pt x="992" y="386"/>
                      </a:lnTo>
                      <a:lnTo>
                        <a:pt x="994" y="386"/>
                      </a:lnTo>
                      <a:lnTo>
                        <a:pt x="997" y="385"/>
                      </a:lnTo>
                      <a:lnTo>
                        <a:pt x="999" y="383"/>
                      </a:lnTo>
                      <a:lnTo>
                        <a:pt x="996" y="374"/>
                      </a:lnTo>
                      <a:lnTo>
                        <a:pt x="994" y="372"/>
                      </a:lnTo>
                      <a:lnTo>
                        <a:pt x="992" y="372"/>
                      </a:lnTo>
                      <a:lnTo>
                        <a:pt x="990" y="372"/>
                      </a:lnTo>
                      <a:lnTo>
                        <a:pt x="987" y="374"/>
                      </a:lnTo>
                      <a:lnTo>
                        <a:pt x="985" y="376"/>
                      </a:lnTo>
                      <a:lnTo>
                        <a:pt x="987" y="378"/>
                      </a:lnTo>
                      <a:lnTo>
                        <a:pt x="987" y="381"/>
                      </a:lnTo>
                      <a:lnTo>
                        <a:pt x="989" y="383"/>
                      </a:lnTo>
                      <a:close/>
                      <a:moveTo>
                        <a:pt x="1857" y="1379"/>
                      </a:moveTo>
                      <a:lnTo>
                        <a:pt x="1858" y="1377"/>
                      </a:lnTo>
                      <a:lnTo>
                        <a:pt x="1857" y="1379"/>
                      </a:lnTo>
                      <a:lnTo>
                        <a:pt x="1853" y="1384"/>
                      </a:lnTo>
                      <a:lnTo>
                        <a:pt x="1855" y="1384"/>
                      </a:lnTo>
                      <a:lnTo>
                        <a:pt x="1855" y="1384"/>
                      </a:lnTo>
                      <a:lnTo>
                        <a:pt x="1855" y="1382"/>
                      </a:lnTo>
                      <a:lnTo>
                        <a:pt x="1857" y="1379"/>
                      </a:lnTo>
                      <a:lnTo>
                        <a:pt x="1857" y="1379"/>
                      </a:lnTo>
                      <a:close/>
                      <a:moveTo>
                        <a:pt x="1736" y="1424"/>
                      </a:moveTo>
                      <a:lnTo>
                        <a:pt x="1736" y="1424"/>
                      </a:lnTo>
                      <a:lnTo>
                        <a:pt x="1734" y="1423"/>
                      </a:lnTo>
                      <a:lnTo>
                        <a:pt x="1734" y="1421"/>
                      </a:lnTo>
                      <a:lnTo>
                        <a:pt x="1734" y="1421"/>
                      </a:lnTo>
                      <a:lnTo>
                        <a:pt x="1734" y="1419"/>
                      </a:lnTo>
                      <a:lnTo>
                        <a:pt x="1734" y="1417"/>
                      </a:lnTo>
                      <a:lnTo>
                        <a:pt x="1733" y="1417"/>
                      </a:lnTo>
                      <a:lnTo>
                        <a:pt x="1731" y="1417"/>
                      </a:lnTo>
                      <a:lnTo>
                        <a:pt x="1729" y="1417"/>
                      </a:lnTo>
                      <a:lnTo>
                        <a:pt x="1729" y="1417"/>
                      </a:lnTo>
                      <a:lnTo>
                        <a:pt x="1727" y="1417"/>
                      </a:lnTo>
                      <a:lnTo>
                        <a:pt x="1727" y="1417"/>
                      </a:lnTo>
                      <a:lnTo>
                        <a:pt x="1727" y="1417"/>
                      </a:lnTo>
                      <a:lnTo>
                        <a:pt x="1727" y="1417"/>
                      </a:lnTo>
                      <a:lnTo>
                        <a:pt x="1727" y="1416"/>
                      </a:lnTo>
                      <a:lnTo>
                        <a:pt x="1727" y="1416"/>
                      </a:lnTo>
                      <a:lnTo>
                        <a:pt x="1724" y="1416"/>
                      </a:lnTo>
                      <a:lnTo>
                        <a:pt x="1720" y="1419"/>
                      </a:lnTo>
                      <a:lnTo>
                        <a:pt x="1719" y="1421"/>
                      </a:lnTo>
                      <a:lnTo>
                        <a:pt x="1717" y="1424"/>
                      </a:lnTo>
                      <a:lnTo>
                        <a:pt x="1719" y="1424"/>
                      </a:lnTo>
                      <a:lnTo>
                        <a:pt x="1719" y="1424"/>
                      </a:lnTo>
                      <a:lnTo>
                        <a:pt x="1722" y="1424"/>
                      </a:lnTo>
                      <a:lnTo>
                        <a:pt x="1720" y="1426"/>
                      </a:lnTo>
                      <a:lnTo>
                        <a:pt x="1719" y="1428"/>
                      </a:lnTo>
                      <a:lnTo>
                        <a:pt x="1715" y="1430"/>
                      </a:lnTo>
                      <a:lnTo>
                        <a:pt x="1713" y="1430"/>
                      </a:lnTo>
                      <a:lnTo>
                        <a:pt x="1710" y="1431"/>
                      </a:lnTo>
                      <a:lnTo>
                        <a:pt x="1710" y="1430"/>
                      </a:lnTo>
                      <a:lnTo>
                        <a:pt x="1712" y="1428"/>
                      </a:lnTo>
                      <a:lnTo>
                        <a:pt x="1710" y="1426"/>
                      </a:lnTo>
                      <a:lnTo>
                        <a:pt x="1712" y="1426"/>
                      </a:lnTo>
                      <a:lnTo>
                        <a:pt x="1712" y="1426"/>
                      </a:lnTo>
                      <a:lnTo>
                        <a:pt x="1713" y="1424"/>
                      </a:lnTo>
                      <a:lnTo>
                        <a:pt x="1713" y="1424"/>
                      </a:lnTo>
                      <a:lnTo>
                        <a:pt x="1712" y="1424"/>
                      </a:lnTo>
                      <a:lnTo>
                        <a:pt x="1708" y="1424"/>
                      </a:lnTo>
                      <a:lnTo>
                        <a:pt x="1717" y="1421"/>
                      </a:lnTo>
                      <a:lnTo>
                        <a:pt x="1719" y="1417"/>
                      </a:lnTo>
                      <a:lnTo>
                        <a:pt x="1722" y="1414"/>
                      </a:lnTo>
                      <a:lnTo>
                        <a:pt x="1724" y="1405"/>
                      </a:lnTo>
                      <a:lnTo>
                        <a:pt x="1726" y="1403"/>
                      </a:lnTo>
                      <a:lnTo>
                        <a:pt x="1724" y="1400"/>
                      </a:lnTo>
                      <a:lnTo>
                        <a:pt x="1724" y="1398"/>
                      </a:lnTo>
                      <a:lnTo>
                        <a:pt x="1724" y="1396"/>
                      </a:lnTo>
                      <a:lnTo>
                        <a:pt x="1724" y="1395"/>
                      </a:lnTo>
                      <a:lnTo>
                        <a:pt x="1719" y="1396"/>
                      </a:lnTo>
                      <a:lnTo>
                        <a:pt x="1715" y="1400"/>
                      </a:lnTo>
                      <a:lnTo>
                        <a:pt x="1712" y="1405"/>
                      </a:lnTo>
                      <a:lnTo>
                        <a:pt x="1708" y="1409"/>
                      </a:lnTo>
                      <a:lnTo>
                        <a:pt x="1701" y="1419"/>
                      </a:lnTo>
                      <a:lnTo>
                        <a:pt x="1699" y="1424"/>
                      </a:lnTo>
                      <a:lnTo>
                        <a:pt x="1701" y="1431"/>
                      </a:lnTo>
                      <a:lnTo>
                        <a:pt x="1705" y="1435"/>
                      </a:lnTo>
                      <a:lnTo>
                        <a:pt x="1708" y="1435"/>
                      </a:lnTo>
                      <a:lnTo>
                        <a:pt x="1713" y="1435"/>
                      </a:lnTo>
                      <a:lnTo>
                        <a:pt x="1717" y="1435"/>
                      </a:lnTo>
                      <a:lnTo>
                        <a:pt x="1722" y="1433"/>
                      </a:lnTo>
                      <a:lnTo>
                        <a:pt x="1727" y="1431"/>
                      </a:lnTo>
                      <a:lnTo>
                        <a:pt x="1733" y="1428"/>
                      </a:lnTo>
                      <a:lnTo>
                        <a:pt x="1736" y="1424"/>
                      </a:lnTo>
                      <a:close/>
                      <a:moveTo>
                        <a:pt x="1710" y="1436"/>
                      </a:moveTo>
                      <a:lnTo>
                        <a:pt x="1712" y="1438"/>
                      </a:lnTo>
                      <a:lnTo>
                        <a:pt x="1713" y="1435"/>
                      </a:lnTo>
                      <a:lnTo>
                        <a:pt x="1710" y="1436"/>
                      </a:lnTo>
                      <a:lnTo>
                        <a:pt x="1710" y="1436"/>
                      </a:lnTo>
                      <a:close/>
                      <a:moveTo>
                        <a:pt x="1631" y="1374"/>
                      </a:moveTo>
                      <a:lnTo>
                        <a:pt x="1633" y="1374"/>
                      </a:lnTo>
                      <a:lnTo>
                        <a:pt x="1635" y="1372"/>
                      </a:lnTo>
                      <a:lnTo>
                        <a:pt x="1635" y="1372"/>
                      </a:lnTo>
                      <a:lnTo>
                        <a:pt x="1636" y="1370"/>
                      </a:lnTo>
                      <a:lnTo>
                        <a:pt x="1635" y="1370"/>
                      </a:lnTo>
                      <a:lnTo>
                        <a:pt x="1633" y="1370"/>
                      </a:lnTo>
                      <a:lnTo>
                        <a:pt x="1633" y="1370"/>
                      </a:lnTo>
                      <a:lnTo>
                        <a:pt x="1633" y="1372"/>
                      </a:lnTo>
                      <a:lnTo>
                        <a:pt x="1633" y="1372"/>
                      </a:lnTo>
                      <a:lnTo>
                        <a:pt x="1633" y="1372"/>
                      </a:lnTo>
                      <a:lnTo>
                        <a:pt x="1631" y="1374"/>
                      </a:lnTo>
                      <a:close/>
                      <a:moveTo>
                        <a:pt x="1636" y="1367"/>
                      </a:moveTo>
                      <a:lnTo>
                        <a:pt x="1636" y="1367"/>
                      </a:lnTo>
                      <a:lnTo>
                        <a:pt x="1636" y="1367"/>
                      </a:lnTo>
                      <a:lnTo>
                        <a:pt x="1636" y="1367"/>
                      </a:lnTo>
                      <a:lnTo>
                        <a:pt x="1635" y="1367"/>
                      </a:lnTo>
                      <a:lnTo>
                        <a:pt x="1635" y="1367"/>
                      </a:lnTo>
                      <a:lnTo>
                        <a:pt x="1635" y="1368"/>
                      </a:lnTo>
                      <a:lnTo>
                        <a:pt x="1635" y="1368"/>
                      </a:lnTo>
                      <a:lnTo>
                        <a:pt x="1636" y="1367"/>
                      </a:lnTo>
                      <a:lnTo>
                        <a:pt x="1636" y="1367"/>
                      </a:lnTo>
                      <a:close/>
                      <a:moveTo>
                        <a:pt x="1734" y="1482"/>
                      </a:moveTo>
                      <a:lnTo>
                        <a:pt x="1733" y="1482"/>
                      </a:lnTo>
                      <a:lnTo>
                        <a:pt x="1729" y="1480"/>
                      </a:lnTo>
                      <a:lnTo>
                        <a:pt x="1731" y="1482"/>
                      </a:lnTo>
                      <a:lnTo>
                        <a:pt x="1734" y="1482"/>
                      </a:lnTo>
                      <a:lnTo>
                        <a:pt x="1736" y="1482"/>
                      </a:lnTo>
                      <a:lnTo>
                        <a:pt x="1738" y="1480"/>
                      </a:lnTo>
                      <a:lnTo>
                        <a:pt x="1736" y="1480"/>
                      </a:lnTo>
                      <a:lnTo>
                        <a:pt x="1734" y="1482"/>
                      </a:lnTo>
                      <a:close/>
                      <a:moveTo>
                        <a:pt x="1827" y="1283"/>
                      </a:moveTo>
                      <a:lnTo>
                        <a:pt x="1829" y="1279"/>
                      </a:lnTo>
                      <a:lnTo>
                        <a:pt x="1827" y="1279"/>
                      </a:lnTo>
                      <a:lnTo>
                        <a:pt x="1827" y="1281"/>
                      </a:lnTo>
                      <a:lnTo>
                        <a:pt x="1827" y="1283"/>
                      </a:lnTo>
                      <a:close/>
                      <a:moveTo>
                        <a:pt x="1886" y="1374"/>
                      </a:moveTo>
                      <a:lnTo>
                        <a:pt x="1884" y="1375"/>
                      </a:lnTo>
                      <a:lnTo>
                        <a:pt x="1883" y="1381"/>
                      </a:lnTo>
                      <a:lnTo>
                        <a:pt x="1879" y="1382"/>
                      </a:lnTo>
                      <a:lnTo>
                        <a:pt x="1877" y="1379"/>
                      </a:lnTo>
                      <a:lnTo>
                        <a:pt x="1879" y="1372"/>
                      </a:lnTo>
                      <a:lnTo>
                        <a:pt x="1883" y="1365"/>
                      </a:lnTo>
                      <a:lnTo>
                        <a:pt x="1884" y="1363"/>
                      </a:lnTo>
                      <a:lnTo>
                        <a:pt x="1883" y="1363"/>
                      </a:lnTo>
                      <a:lnTo>
                        <a:pt x="1879" y="1365"/>
                      </a:lnTo>
                      <a:lnTo>
                        <a:pt x="1877" y="1367"/>
                      </a:lnTo>
                      <a:lnTo>
                        <a:pt x="1876" y="1367"/>
                      </a:lnTo>
                      <a:lnTo>
                        <a:pt x="1874" y="1370"/>
                      </a:lnTo>
                      <a:lnTo>
                        <a:pt x="1872" y="1374"/>
                      </a:lnTo>
                      <a:lnTo>
                        <a:pt x="1870" y="1375"/>
                      </a:lnTo>
                      <a:lnTo>
                        <a:pt x="1867" y="1377"/>
                      </a:lnTo>
                      <a:lnTo>
                        <a:pt x="1864" y="1375"/>
                      </a:lnTo>
                      <a:lnTo>
                        <a:pt x="1864" y="1374"/>
                      </a:lnTo>
                      <a:lnTo>
                        <a:pt x="1865" y="1372"/>
                      </a:lnTo>
                      <a:lnTo>
                        <a:pt x="1867" y="1367"/>
                      </a:lnTo>
                      <a:lnTo>
                        <a:pt x="1867" y="1367"/>
                      </a:lnTo>
                      <a:lnTo>
                        <a:pt x="1867" y="1367"/>
                      </a:lnTo>
                      <a:lnTo>
                        <a:pt x="1864" y="1365"/>
                      </a:lnTo>
                      <a:lnTo>
                        <a:pt x="1869" y="1363"/>
                      </a:lnTo>
                      <a:lnTo>
                        <a:pt x="1870" y="1363"/>
                      </a:lnTo>
                      <a:lnTo>
                        <a:pt x="1869" y="1360"/>
                      </a:lnTo>
                      <a:lnTo>
                        <a:pt x="1872" y="1358"/>
                      </a:lnTo>
                      <a:lnTo>
                        <a:pt x="1877" y="1354"/>
                      </a:lnTo>
                      <a:lnTo>
                        <a:pt x="1881" y="1349"/>
                      </a:lnTo>
                      <a:lnTo>
                        <a:pt x="1881" y="1347"/>
                      </a:lnTo>
                      <a:lnTo>
                        <a:pt x="1879" y="1347"/>
                      </a:lnTo>
                      <a:lnTo>
                        <a:pt x="1870" y="1353"/>
                      </a:lnTo>
                      <a:lnTo>
                        <a:pt x="1869" y="1353"/>
                      </a:lnTo>
                      <a:lnTo>
                        <a:pt x="1867" y="1351"/>
                      </a:lnTo>
                      <a:lnTo>
                        <a:pt x="1867" y="1351"/>
                      </a:lnTo>
                      <a:lnTo>
                        <a:pt x="1865" y="1351"/>
                      </a:lnTo>
                      <a:lnTo>
                        <a:pt x="1865" y="1353"/>
                      </a:lnTo>
                      <a:lnTo>
                        <a:pt x="1864" y="1353"/>
                      </a:lnTo>
                      <a:lnTo>
                        <a:pt x="1858" y="1354"/>
                      </a:lnTo>
                      <a:lnTo>
                        <a:pt x="1864" y="1351"/>
                      </a:lnTo>
                      <a:lnTo>
                        <a:pt x="1865" y="1349"/>
                      </a:lnTo>
                      <a:lnTo>
                        <a:pt x="1867" y="1346"/>
                      </a:lnTo>
                      <a:lnTo>
                        <a:pt x="1864" y="1346"/>
                      </a:lnTo>
                      <a:lnTo>
                        <a:pt x="1862" y="1346"/>
                      </a:lnTo>
                      <a:lnTo>
                        <a:pt x="1862" y="1344"/>
                      </a:lnTo>
                      <a:lnTo>
                        <a:pt x="1864" y="1342"/>
                      </a:lnTo>
                      <a:lnTo>
                        <a:pt x="1857" y="1342"/>
                      </a:lnTo>
                      <a:lnTo>
                        <a:pt x="1860" y="1340"/>
                      </a:lnTo>
                      <a:lnTo>
                        <a:pt x="1865" y="1337"/>
                      </a:lnTo>
                      <a:lnTo>
                        <a:pt x="1869" y="1332"/>
                      </a:lnTo>
                      <a:lnTo>
                        <a:pt x="1869" y="1328"/>
                      </a:lnTo>
                      <a:lnTo>
                        <a:pt x="1867" y="1325"/>
                      </a:lnTo>
                      <a:lnTo>
                        <a:pt x="1860" y="1323"/>
                      </a:lnTo>
                      <a:lnTo>
                        <a:pt x="1855" y="1323"/>
                      </a:lnTo>
                      <a:lnTo>
                        <a:pt x="1851" y="1326"/>
                      </a:lnTo>
                      <a:lnTo>
                        <a:pt x="1851" y="1325"/>
                      </a:lnTo>
                      <a:lnTo>
                        <a:pt x="1850" y="1323"/>
                      </a:lnTo>
                      <a:lnTo>
                        <a:pt x="1850" y="1321"/>
                      </a:lnTo>
                      <a:lnTo>
                        <a:pt x="1850" y="1319"/>
                      </a:lnTo>
                      <a:lnTo>
                        <a:pt x="1848" y="1321"/>
                      </a:lnTo>
                      <a:lnTo>
                        <a:pt x="1839" y="1328"/>
                      </a:lnTo>
                      <a:lnTo>
                        <a:pt x="1837" y="1326"/>
                      </a:lnTo>
                      <a:lnTo>
                        <a:pt x="1836" y="1330"/>
                      </a:lnTo>
                      <a:lnTo>
                        <a:pt x="1834" y="1332"/>
                      </a:lnTo>
                      <a:lnTo>
                        <a:pt x="1832" y="1333"/>
                      </a:lnTo>
                      <a:lnTo>
                        <a:pt x="1832" y="1330"/>
                      </a:lnTo>
                      <a:lnTo>
                        <a:pt x="1834" y="1326"/>
                      </a:lnTo>
                      <a:lnTo>
                        <a:pt x="1836" y="1323"/>
                      </a:lnTo>
                      <a:lnTo>
                        <a:pt x="1834" y="1319"/>
                      </a:lnTo>
                      <a:lnTo>
                        <a:pt x="1834" y="1323"/>
                      </a:lnTo>
                      <a:lnTo>
                        <a:pt x="1832" y="1325"/>
                      </a:lnTo>
                      <a:lnTo>
                        <a:pt x="1830" y="1325"/>
                      </a:lnTo>
                      <a:lnTo>
                        <a:pt x="1830" y="1321"/>
                      </a:lnTo>
                      <a:lnTo>
                        <a:pt x="1829" y="1321"/>
                      </a:lnTo>
                      <a:lnTo>
                        <a:pt x="1827" y="1321"/>
                      </a:lnTo>
                      <a:lnTo>
                        <a:pt x="1820" y="1321"/>
                      </a:lnTo>
                      <a:lnTo>
                        <a:pt x="1818" y="1321"/>
                      </a:lnTo>
                      <a:lnTo>
                        <a:pt x="1816" y="1323"/>
                      </a:lnTo>
                      <a:lnTo>
                        <a:pt x="1818" y="1319"/>
                      </a:lnTo>
                      <a:lnTo>
                        <a:pt x="1820" y="1316"/>
                      </a:lnTo>
                      <a:lnTo>
                        <a:pt x="1818" y="1316"/>
                      </a:lnTo>
                      <a:lnTo>
                        <a:pt x="1815" y="1318"/>
                      </a:lnTo>
                      <a:lnTo>
                        <a:pt x="1818" y="1314"/>
                      </a:lnTo>
                      <a:lnTo>
                        <a:pt x="1827" y="1309"/>
                      </a:lnTo>
                      <a:lnTo>
                        <a:pt x="1829" y="1305"/>
                      </a:lnTo>
                      <a:lnTo>
                        <a:pt x="1827" y="1305"/>
                      </a:lnTo>
                      <a:lnTo>
                        <a:pt x="1818" y="1305"/>
                      </a:lnTo>
                      <a:lnTo>
                        <a:pt x="1816" y="1305"/>
                      </a:lnTo>
                      <a:lnTo>
                        <a:pt x="1815" y="1307"/>
                      </a:lnTo>
                      <a:lnTo>
                        <a:pt x="1815" y="1304"/>
                      </a:lnTo>
                      <a:lnTo>
                        <a:pt x="1815" y="1302"/>
                      </a:lnTo>
                      <a:lnTo>
                        <a:pt x="1813" y="1304"/>
                      </a:lnTo>
                      <a:lnTo>
                        <a:pt x="1811" y="1305"/>
                      </a:lnTo>
                      <a:lnTo>
                        <a:pt x="1802" y="1314"/>
                      </a:lnTo>
                      <a:lnTo>
                        <a:pt x="1801" y="1318"/>
                      </a:lnTo>
                      <a:lnTo>
                        <a:pt x="1801" y="1316"/>
                      </a:lnTo>
                      <a:lnTo>
                        <a:pt x="1801" y="1314"/>
                      </a:lnTo>
                      <a:lnTo>
                        <a:pt x="1799" y="1314"/>
                      </a:lnTo>
                      <a:lnTo>
                        <a:pt x="1799" y="1312"/>
                      </a:lnTo>
                      <a:lnTo>
                        <a:pt x="1801" y="1311"/>
                      </a:lnTo>
                      <a:lnTo>
                        <a:pt x="1802" y="1304"/>
                      </a:lnTo>
                      <a:lnTo>
                        <a:pt x="1816" y="1279"/>
                      </a:lnTo>
                      <a:lnTo>
                        <a:pt x="1822" y="1274"/>
                      </a:lnTo>
                      <a:lnTo>
                        <a:pt x="1823" y="1271"/>
                      </a:lnTo>
                      <a:lnTo>
                        <a:pt x="1822" y="1267"/>
                      </a:lnTo>
                      <a:lnTo>
                        <a:pt x="1820" y="1265"/>
                      </a:lnTo>
                      <a:lnTo>
                        <a:pt x="1818" y="1265"/>
                      </a:lnTo>
                      <a:lnTo>
                        <a:pt x="1816" y="1264"/>
                      </a:lnTo>
                      <a:lnTo>
                        <a:pt x="1818" y="1262"/>
                      </a:lnTo>
                      <a:lnTo>
                        <a:pt x="1827" y="1260"/>
                      </a:lnTo>
                      <a:lnTo>
                        <a:pt x="1829" y="1258"/>
                      </a:lnTo>
                      <a:lnTo>
                        <a:pt x="1829" y="1255"/>
                      </a:lnTo>
                      <a:lnTo>
                        <a:pt x="1827" y="1253"/>
                      </a:lnTo>
                      <a:lnTo>
                        <a:pt x="1825" y="1255"/>
                      </a:lnTo>
                      <a:lnTo>
                        <a:pt x="1825" y="1255"/>
                      </a:lnTo>
                      <a:lnTo>
                        <a:pt x="1825" y="1257"/>
                      </a:lnTo>
                      <a:lnTo>
                        <a:pt x="1825" y="1257"/>
                      </a:lnTo>
                      <a:lnTo>
                        <a:pt x="1825" y="1257"/>
                      </a:lnTo>
                      <a:lnTo>
                        <a:pt x="1825" y="1257"/>
                      </a:lnTo>
                      <a:lnTo>
                        <a:pt x="1823" y="1258"/>
                      </a:lnTo>
                      <a:lnTo>
                        <a:pt x="1822" y="1257"/>
                      </a:lnTo>
                      <a:lnTo>
                        <a:pt x="1822" y="1257"/>
                      </a:lnTo>
                      <a:lnTo>
                        <a:pt x="1820" y="1255"/>
                      </a:lnTo>
                      <a:lnTo>
                        <a:pt x="1820" y="1255"/>
                      </a:lnTo>
                      <a:lnTo>
                        <a:pt x="1815" y="1255"/>
                      </a:lnTo>
                      <a:lnTo>
                        <a:pt x="1809" y="1258"/>
                      </a:lnTo>
                      <a:lnTo>
                        <a:pt x="1806" y="1260"/>
                      </a:lnTo>
                      <a:lnTo>
                        <a:pt x="1802" y="1264"/>
                      </a:lnTo>
                      <a:lnTo>
                        <a:pt x="1801" y="1265"/>
                      </a:lnTo>
                      <a:lnTo>
                        <a:pt x="1799" y="1269"/>
                      </a:lnTo>
                      <a:lnTo>
                        <a:pt x="1799" y="1271"/>
                      </a:lnTo>
                      <a:lnTo>
                        <a:pt x="1797" y="1271"/>
                      </a:lnTo>
                      <a:lnTo>
                        <a:pt x="1795" y="1272"/>
                      </a:lnTo>
                      <a:lnTo>
                        <a:pt x="1795" y="1272"/>
                      </a:lnTo>
                      <a:lnTo>
                        <a:pt x="1795" y="1274"/>
                      </a:lnTo>
                      <a:lnTo>
                        <a:pt x="1795" y="1274"/>
                      </a:lnTo>
                      <a:lnTo>
                        <a:pt x="1795" y="1274"/>
                      </a:lnTo>
                      <a:lnTo>
                        <a:pt x="1792" y="1281"/>
                      </a:lnTo>
                      <a:lnTo>
                        <a:pt x="1790" y="1283"/>
                      </a:lnTo>
                      <a:lnTo>
                        <a:pt x="1792" y="1286"/>
                      </a:lnTo>
                      <a:lnTo>
                        <a:pt x="1788" y="1286"/>
                      </a:lnTo>
                      <a:lnTo>
                        <a:pt x="1785" y="1291"/>
                      </a:lnTo>
                      <a:lnTo>
                        <a:pt x="1783" y="1300"/>
                      </a:lnTo>
                      <a:lnTo>
                        <a:pt x="1778" y="1311"/>
                      </a:lnTo>
                      <a:lnTo>
                        <a:pt x="1778" y="1316"/>
                      </a:lnTo>
                      <a:lnTo>
                        <a:pt x="1780" y="1321"/>
                      </a:lnTo>
                      <a:lnTo>
                        <a:pt x="1776" y="1321"/>
                      </a:lnTo>
                      <a:lnTo>
                        <a:pt x="1774" y="1319"/>
                      </a:lnTo>
                      <a:lnTo>
                        <a:pt x="1773" y="1319"/>
                      </a:lnTo>
                      <a:lnTo>
                        <a:pt x="1771" y="1323"/>
                      </a:lnTo>
                      <a:lnTo>
                        <a:pt x="1771" y="1325"/>
                      </a:lnTo>
                      <a:lnTo>
                        <a:pt x="1771" y="1328"/>
                      </a:lnTo>
                      <a:lnTo>
                        <a:pt x="1773" y="1330"/>
                      </a:lnTo>
                      <a:lnTo>
                        <a:pt x="1774" y="1330"/>
                      </a:lnTo>
                      <a:lnTo>
                        <a:pt x="1774" y="1332"/>
                      </a:lnTo>
                      <a:lnTo>
                        <a:pt x="1773" y="1333"/>
                      </a:lnTo>
                      <a:lnTo>
                        <a:pt x="1773" y="1335"/>
                      </a:lnTo>
                      <a:lnTo>
                        <a:pt x="1774" y="1337"/>
                      </a:lnTo>
                      <a:lnTo>
                        <a:pt x="1773" y="1337"/>
                      </a:lnTo>
                      <a:lnTo>
                        <a:pt x="1769" y="1333"/>
                      </a:lnTo>
                      <a:lnTo>
                        <a:pt x="1767" y="1333"/>
                      </a:lnTo>
                      <a:lnTo>
                        <a:pt x="1766" y="1335"/>
                      </a:lnTo>
                      <a:lnTo>
                        <a:pt x="1764" y="1335"/>
                      </a:lnTo>
                      <a:lnTo>
                        <a:pt x="1760" y="1344"/>
                      </a:lnTo>
                      <a:lnTo>
                        <a:pt x="1760" y="1347"/>
                      </a:lnTo>
                      <a:lnTo>
                        <a:pt x="1759" y="1349"/>
                      </a:lnTo>
                      <a:lnTo>
                        <a:pt x="1757" y="1349"/>
                      </a:lnTo>
                      <a:lnTo>
                        <a:pt x="1755" y="1347"/>
                      </a:lnTo>
                      <a:lnTo>
                        <a:pt x="1755" y="1346"/>
                      </a:lnTo>
                      <a:lnTo>
                        <a:pt x="1757" y="1344"/>
                      </a:lnTo>
                      <a:lnTo>
                        <a:pt x="1755" y="1346"/>
                      </a:lnTo>
                      <a:lnTo>
                        <a:pt x="1753" y="1347"/>
                      </a:lnTo>
                      <a:lnTo>
                        <a:pt x="1752" y="1349"/>
                      </a:lnTo>
                      <a:lnTo>
                        <a:pt x="1750" y="1351"/>
                      </a:lnTo>
                      <a:lnTo>
                        <a:pt x="1764" y="1351"/>
                      </a:lnTo>
                      <a:lnTo>
                        <a:pt x="1767" y="1351"/>
                      </a:lnTo>
                      <a:lnTo>
                        <a:pt x="1750" y="1365"/>
                      </a:lnTo>
                      <a:lnTo>
                        <a:pt x="1747" y="1367"/>
                      </a:lnTo>
                      <a:lnTo>
                        <a:pt x="1747" y="1370"/>
                      </a:lnTo>
                      <a:lnTo>
                        <a:pt x="1747" y="1377"/>
                      </a:lnTo>
                      <a:lnTo>
                        <a:pt x="1753" y="1379"/>
                      </a:lnTo>
                      <a:lnTo>
                        <a:pt x="1762" y="1377"/>
                      </a:lnTo>
                      <a:lnTo>
                        <a:pt x="1767" y="1374"/>
                      </a:lnTo>
                      <a:lnTo>
                        <a:pt x="1773" y="1375"/>
                      </a:lnTo>
                      <a:lnTo>
                        <a:pt x="1799" y="1379"/>
                      </a:lnTo>
                      <a:lnTo>
                        <a:pt x="1806" y="1379"/>
                      </a:lnTo>
                      <a:lnTo>
                        <a:pt x="1809" y="1377"/>
                      </a:lnTo>
                      <a:lnTo>
                        <a:pt x="1811" y="1375"/>
                      </a:lnTo>
                      <a:lnTo>
                        <a:pt x="1813" y="1375"/>
                      </a:lnTo>
                      <a:lnTo>
                        <a:pt x="1815" y="1374"/>
                      </a:lnTo>
                      <a:lnTo>
                        <a:pt x="1815" y="1372"/>
                      </a:lnTo>
                      <a:lnTo>
                        <a:pt x="1816" y="1372"/>
                      </a:lnTo>
                      <a:lnTo>
                        <a:pt x="1818" y="1372"/>
                      </a:lnTo>
                      <a:lnTo>
                        <a:pt x="1820" y="1372"/>
                      </a:lnTo>
                      <a:lnTo>
                        <a:pt x="1820" y="1372"/>
                      </a:lnTo>
                      <a:lnTo>
                        <a:pt x="1822" y="1375"/>
                      </a:lnTo>
                      <a:lnTo>
                        <a:pt x="1820" y="1377"/>
                      </a:lnTo>
                      <a:lnTo>
                        <a:pt x="1818" y="1379"/>
                      </a:lnTo>
                      <a:lnTo>
                        <a:pt x="1815" y="1381"/>
                      </a:lnTo>
                      <a:lnTo>
                        <a:pt x="1822" y="1381"/>
                      </a:lnTo>
                      <a:lnTo>
                        <a:pt x="1827" y="1382"/>
                      </a:lnTo>
                      <a:lnTo>
                        <a:pt x="1829" y="1382"/>
                      </a:lnTo>
                      <a:lnTo>
                        <a:pt x="1830" y="1381"/>
                      </a:lnTo>
                      <a:lnTo>
                        <a:pt x="1830" y="1379"/>
                      </a:lnTo>
                      <a:lnTo>
                        <a:pt x="1830" y="1377"/>
                      </a:lnTo>
                      <a:lnTo>
                        <a:pt x="1832" y="1377"/>
                      </a:lnTo>
                      <a:lnTo>
                        <a:pt x="1834" y="1377"/>
                      </a:lnTo>
                      <a:lnTo>
                        <a:pt x="1837" y="1377"/>
                      </a:lnTo>
                      <a:lnTo>
                        <a:pt x="1839" y="1377"/>
                      </a:lnTo>
                      <a:lnTo>
                        <a:pt x="1841" y="1377"/>
                      </a:lnTo>
                      <a:lnTo>
                        <a:pt x="1844" y="1375"/>
                      </a:lnTo>
                      <a:lnTo>
                        <a:pt x="1843" y="1379"/>
                      </a:lnTo>
                      <a:lnTo>
                        <a:pt x="1841" y="1379"/>
                      </a:lnTo>
                      <a:lnTo>
                        <a:pt x="1837" y="1381"/>
                      </a:lnTo>
                      <a:lnTo>
                        <a:pt x="1836" y="1382"/>
                      </a:lnTo>
                      <a:lnTo>
                        <a:pt x="1834" y="1384"/>
                      </a:lnTo>
                      <a:lnTo>
                        <a:pt x="1830" y="1389"/>
                      </a:lnTo>
                      <a:lnTo>
                        <a:pt x="1829" y="1391"/>
                      </a:lnTo>
                      <a:lnTo>
                        <a:pt x="1822" y="1395"/>
                      </a:lnTo>
                      <a:lnTo>
                        <a:pt x="1818" y="1396"/>
                      </a:lnTo>
                      <a:lnTo>
                        <a:pt x="1822" y="1398"/>
                      </a:lnTo>
                      <a:lnTo>
                        <a:pt x="1825" y="1400"/>
                      </a:lnTo>
                      <a:lnTo>
                        <a:pt x="1830" y="1398"/>
                      </a:lnTo>
                      <a:lnTo>
                        <a:pt x="1834" y="1396"/>
                      </a:lnTo>
                      <a:lnTo>
                        <a:pt x="1836" y="1393"/>
                      </a:lnTo>
                      <a:lnTo>
                        <a:pt x="1839" y="1388"/>
                      </a:lnTo>
                      <a:lnTo>
                        <a:pt x="1841" y="1386"/>
                      </a:lnTo>
                      <a:lnTo>
                        <a:pt x="1843" y="1384"/>
                      </a:lnTo>
                      <a:lnTo>
                        <a:pt x="1844" y="1382"/>
                      </a:lnTo>
                      <a:lnTo>
                        <a:pt x="1846" y="1382"/>
                      </a:lnTo>
                      <a:lnTo>
                        <a:pt x="1848" y="1381"/>
                      </a:lnTo>
                      <a:lnTo>
                        <a:pt x="1850" y="1379"/>
                      </a:lnTo>
                      <a:lnTo>
                        <a:pt x="1848" y="1384"/>
                      </a:lnTo>
                      <a:lnTo>
                        <a:pt x="1851" y="1381"/>
                      </a:lnTo>
                      <a:lnTo>
                        <a:pt x="1855" y="1374"/>
                      </a:lnTo>
                      <a:lnTo>
                        <a:pt x="1858" y="1370"/>
                      </a:lnTo>
                      <a:lnTo>
                        <a:pt x="1862" y="1375"/>
                      </a:lnTo>
                      <a:lnTo>
                        <a:pt x="1862" y="1379"/>
                      </a:lnTo>
                      <a:lnTo>
                        <a:pt x="1864" y="1382"/>
                      </a:lnTo>
                      <a:lnTo>
                        <a:pt x="1862" y="1384"/>
                      </a:lnTo>
                      <a:lnTo>
                        <a:pt x="1862" y="1388"/>
                      </a:lnTo>
                      <a:lnTo>
                        <a:pt x="1858" y="1393"/>
                      </a:lnTo>
                      <a:lnTo>
                        <a:pt x="1857" y="1396"/>
                      </a:lnTo>
                      <a:lnTo>
                        <a:pt x="1857" y="1400"/>
                      </a:lnTo>
                      <a:lnTo>
                        <a:pt x="1862" y="1400"/>
                      </a:lnTo>
                      <a:lnTo>
                        <a:pt x="1869" y="1391"/>
                      </a:lnTo>
                      <a:lnTo>
                        <a:pt x="1869" y="1396"/>
                      </a:lnTo>
                      <a:lnTo>
                        <a:pt x="1869" y="1402"/>
                      </a:lnTo>
                      <a:lnTo>
                        <a:pt x="1869" y="1403"/>
                      </a:lnTo>
                      <a:lnTo>
                        <a:pt x="1870" y="1405"/>
                      </a:lnTo>
                      <a:lnTo>
                        <a:pt x="1872" y="1405"/>
                      </a:lnTo>
                      <a:lnTo>
                        <a:pt x="1874" y="1403"/>
                      </a:lnTo>
                      <a:lnTo>
                        <a:pt x="1876" y="1403"/>
                      </a:lnTo>
                      <a:lnTo>
                        <a:pt x="1876" y="1403"/>
                      </a:lnTo>
                      <a:lnTo>
                        <a:pt x="1877" y="1405"/>
                      </a:lnTo>
                      <a:lnTo>
                        <a:pt x="1877" y="1405"/>
                      </a:lnTo>
                      <a:lnTo>
                        <a:pt x="1879" y="1405"/>
                      </a:lnTo>
                      <a:lnTo>
                        <a:pt x="1881" y="1403"/>
                      </a:lnTo>
                      <a:lnTo>
                        <a:pt x="1883" y="1400"/>
                      </a:lnTo>
                      <a:lnTo>
                        <a:pt x="1884" y="1398"/>
                      </a:lnTo>
                      <a:lnTo>
                        <a:pt x="1884" y="1391"/>
                      </a:lnTo>
                      <a:lnTo>
                        <a:pt x="1884" y="1389"/>
                      </a:lnTo>
                      <a:lnTo>
                        <a:pt x="1888" y="1384"/>
                      </a:lnTo>
                      <a:lnTo>
                        <a:pt x="1890" y="1382"/>
                      </a:lnTo>
                      <a:lnTo>
                        <a:pt x="1890" y="1379"/>
                      </a:lnTo>
                      <a:lnTo>
                        <a:pt x="1886" y="1374"/>
                      </a:lnTo>
                      <a:close/>
                      <a:moveTo>
                        <a:pt x="253" y="1206"/>
                      </a:moveTo>
                      <a:lnTo>
                        <a:pt x="253" y="1204"/>
                      </a:lnTo>
                      <a:lnTo>
                        <a:pt x="252" y="1202"/>
                      </a:lnTo>
                      <a:lnTo>
                        <a:pt x="250" y="1204"/>
                      </a:lnTo>
                      <a:lnTo>
                        <a:pt x="250" y="1206"/>
                      </a:lnTo>
                      <a:lnTo>
                        <a:pt x="250" y="1208"/>
                      </a:lnTo>
                      <a:lnTo>
                        <a:pt x="252" y="1208"/>
                      </a:lnTo>
                      <a:lnTo>
                        <a:pt x="253" y="1206"/>
                      </a:lnTo>
                      <a:close/>
                      <a:moveTo>
                        <a:pt x="1434" y="1440"/>
                      </a:moveTo>
                      <a:lnTo>
                        <a:pt x="1436" y="1438"/>
                      </a:lnTo>
                      <a:lnTo>
                        <a:pt x="1439" y="1438"/>
                      </a:lnTo>
                      <a:lnTo>
                        <a:pt x="1441" y="1438"/>
                      </a:lnTo>
                      <a:lnTo>
                        <a:pt x="1443" y="1438"/>
                      </a:lnTo>
                      <a:lnTo>
                        <a:pt x="1443" y="1436"/>
                      </a:lnTo>
                      <a:lnTo>
                        <a:pt x="1444" y="1431"/>
                      </a:lnTo>
                      <a:lnTo>
                        <a:pt x="1443" y="1433"/>
                      </a:lnTo>
                      <a:lnTo>
                        <a:pt x="1441" y="1433"/>
                      </a:lnTo>
                      <a:lnTo>
                        <a:pt x="1441" y="1435"/>
                      </a:lnTo>
                      <a:lnTo>
                        <a:pt x="1439" y="1436"/>
                      </a:lnTo>
                      <a:lnTo>
                        <a:pt x="1437" y="1436"/>
                      </a:lnTo>
                      <a:lnTo>
                        <a:pt x="1436" y="1438"/>
                      </a:lnTo>
                      <a:lnTo>
                        <a:pt x="1434" y="1440"/>
                      </a:lnTo>
                      <a:close/>
                      <a:moveTo>
                        <a:pt x="1317" y="1243"/>
                      </a:moveTo>
                      <a:lnTo>
                        <a:pt x="1319" y="1241"/>
                      </a:lnTo>
                      <a:lnTo>
                        <a:pt x="1320" y="1239"/>
                      </a:lnTo>
                      <a:lnTo>
                        <a:pt x="1317" y="1239"/>
                      </a:lnTo>
                      <a:lnTo>
                        <a:pt x="1312" y="1241"/>
                      </a:lnTo>
                      <a:lnTo>
                        <a:pt x="1313" y="1243"/>
                      </a:lnTo>
                      <a:lnTo>
                        <a:pt x="1315" y="1243"/>
                      </a:lnTo>
                      <a:lnTo>
                        <a:pt x="1317" y="1243"/>
                      </a:lnTo>
                      <a:close/>
                      <a:moveTo>
                        <a:pt x="1703" y="1377"/>
                      </a:moveTo>
                      <a:lnTo>
                        <a:pt x="1699" y="1377"/>
                      </a:lnTo>
                      <a:lnTo>
                        <a:pt x="1696" y="1379"/>
                      </a:lnTo>
                      <a:lnTo>
                        <a:pt x="1694" y="1381"/>
                      </a:lnTo>
                      <a:lnTo>
                        <a:pt x="1692" y="1382"/>
                      </a:lnTo>
                      <a:lnTo>
                        <a:pt x="1691" y="1386"/>
                      </a:lnTo>
                      <a:lnTo>
                        <a:pt x="1691" y="1388"/>
                      </a:lnTo>
                      <a:lnTo>
                        <a:pt x="1691" y="1389"/>
                      </a:lnTo>
                      <a:lnTo>
                        <a:pt x="1694" y="1388"/>
                      </a:lnTo>
                      <a:lnTo>
                        <a:pt x="1692" y="1386"/>
                      </a:lnTo>
                      <a:lnTo>
                        <a:pt x="1694" y="1382"/>
                      </a:lnTo>
                      <a:lnTo>
                        <a:pt x="1703" y="1377"/>
                      </a:lnTo>
                      <a:close/>
                      <a:moveTo>
                        <a:pt x="1025" y="937"/>
                      </a:moveTo>
                      <a:lnTo>
                        <a:pt x="1024" y="937"/>
                      </a:lnTo>
                      <a:lnTo>
                        <a:pt x="1022" y="937"/>
                      </a:lnTo>
                      <a:lnTo>
                        <a:pt x="1024" y="939"/>
                      </a:lnTo>
                      <a:lnTo>
                        <a:pt x="1025" y="939"/>
                      </a:lnTo>
                      <a:lnTo>
                        <a:pt x="1025" y="939"/>
                      </a:lnTo>
                      <a:lnTo>
                        <a:pt x="1027" y="937"/>
                      </a:lnTo>
                      <a:lnTo>
                        <a:pt x="1025" y="937"/>
                      </a:lnTo>
                      <a:lnTo>
                        <a:pt x="1025" y="937"/>
                      </a:lnTo>
                      <a:close/>
                      <a:moveTo>
                        <a:pt x="1685" y="1414"/>
                      </a:moveTo>
                      <a:lnTo>
                        <a:pt x="1689" y="1412"/>
                      </a:lnTo>
                      <a:lnTo>
                        <a:pt x="1684" y="1409"/>
                      </a:lnTo>
                      <a:lnTo>
                        <a:pt x="1678" y="1410"/>
                      </a:lnTo>
                      <a:lnTo>
                        <a:pt x="1671" y="1410"/>
                      </a:lnTo>
                      <a:lnTo>
                        <a:pt x="1666" y="1412"/>
                      </a:lnTo>
                      <a:lnTo>
                        <a:pt x="1664" y="1410"/>
                      </a:lnTo>
                      <a:lnTo>
                        <a:pt x="1659" y="1409"/>
                      </a:lnTo>
                      <a:lnTo>
                        <a:pt x="1654" y="1407"/>
                      </a:lnTo>
                      <a:lnTo>
                        <a:pt x="1654" y="1407"/>
                      </a:lnTo>
                      <a:lnTo>
                        <a:pt x="1652" y="1409"/>
                      </a:lnTo>
                      <a:lnTo>
                        <a:pt x="1652" y="1410"/>
                      </a:lnTo>
                      <a:lnTo>
                        <a:pt x="1652" y="1410"/>
                      </a:lnTo>
                      <a:lnTo>
                        <a:pt x="1650" y="1410"/>
                      </a:lnTo>
                      <a:lnTo>
                        <a:pt x="1650" y="1410"/>
                      </a:lnTo>
                      <a:lnTo>
                        <a:pt x="1649" y="1410"/>
                      </a:lnTo>
                      <a:lnTo>
                        <a:pt x="1649" y="1409"/>
                      </a:lnTo>
                      <a:lnTo>
                        <a:pt x="1649" y="1407"/>
                      </a:lnTo>
                      <a:lnTo>
                        <a:pt x="1649" y="1407"/>
                      </a:lnTo>
                      <a:lnTo>
                        <a:pt x="1647" y="1405"/>
                      </a:lnTo>
                      <a:lnTo>
                        <a:pt x="1647" y="1403"/>
                      </a:lnTo>
                      <a:lnTo>
                        <a:pt x="1645" y="1402"/>
                      </a:lnTo>
                      <a:lnTo>
                        <a:pt x="1645" y="1402"/>
                      </a:lnTo>
                      <a:lnTo>
                        <a:pt x="1645" y="1402"/>
                      </a:lnTo>
                      <a:lnTo>
                        <a:pt x="1647" y="1395"/>
                      </a:lnTo>
                      <a:lnTo>
                        <a:pt x="1647" y="1393"/>
                      </a:lnTo>
                      <a:lnTo>
                        <a:pt x="1643" y="1396"/>
                      </a:lnTo>
                      <a:lnTo>
                        <a:pt x="1638" y="1402"/>
                      </a:lnTo>
                      <a:lnTo>
                        <a:pt x="1638" y="1403"/>
                      </a:lnTo>
                      <a:lnTo>
                        <a:pt x="1638" y="1403"/>
                      </a:lnTo>
                      <a:lnTo>
                        <a:pt x="1638" y="1405"/>
                      </a:lnTo>
                      <a:lnTo>
                        <a:pt x="1638" y="1405"/>
                      </a:lnTo>
                      <a:lnTo>
                        <a:pt x="1640" y="1405"/>
                      </a:lnTo>
                      <a:lnTo>
                        <a:pt x="1640" y="1405"/>
                      </a:lnTo>
                      <a:lnTo>
                        <a:pt x="1642" y="1405"/>
                      </a:lnTo>
                      <a:lnTo>
                        <a:pt x="1643" y="1407"/>
                      </a:lnTo>
                      <a:lnTo>
                        <a:pt x="1643" y="1407"/>
                      </a:lnTo>
                      <a:lnTo>
                        <a:pt x="1643" y="1409"/>
                      </a:lnTo>
                      <a:lnTo>
                        <a:pt x="1643" y="1410"/>
                      </a:lnTo>
                      <a:lnTo>
                        <a:pt x="1643" y="1412"/>
                      </a:lnTo>
                      <a:lnTo>
                        <a:pt x="1645" y="1412"/>
                      </a:lnTo>
                      <a:lnTo>
                        <a:pt x="1650" y="1412"/>
                      </a:lnTo>
                      <a:lnTo>
                        <a:pt x="1652" y="1412"/>
                      </a:lnTo>
                      <a:lnTo>
                        <a:pt x="1650" y="1414"/>
                      </a:lnTo>
                      <a:lnTo>
                        <a:pt x="1654" y="1416"/>
                      </a:lnTo>
                      <a:lnTo>
                        <a:pt x="1657" y="1417"/>
                      </a:lnTo>
                      <a:lnTo>
                        <a:pt x="1661" y="1419"/>
                      </a:lnTo>
                      <a:lnTo>
                        <a:pt x="1664" y="1417"/>
                      </a:lnTo>
                      <a:lnTo>
                        <a:pt x="1663" y="1417"/>
                      </a:lnTo>
                      <a:lnTo>
                        <a:pt x="1668" y="1414"/>
                      </a:lnTo>
                      <a:lnTo>
                        <a:pt x="1666" y="1416"/>
                      </a:lnTo>
                      <a:lnTo>
                        <a:pt x="1668" y="1417"/>
                      </a:lnTo>
                      <a:lnTo>
                        <a:pt x="1668" y="1419"/>
                      </a:lnTo>
                      <a:lnTo>
                        <a:pt x="1670" y="1419"/>
                      </a:lnTo>
                      <a:lnTo>
                        <a:pt x="1668" y="1421"/>
                      </a:lnTo>
                      <a:lnTo>
                        <a:pt x="1668" y="1421"/>
                      </a:lnTo>
                      <a:lnTo>
                        <a:pt x="1670" y="1423"/>
                      </a:lnTo>
                      <a:lnTo>
                        <a:pt x="1673" y="1423"/>
                      </a:lnTo>
                      <a:lnTo>
                        <a:pt x="1675" y="1424"/>
                      </a:lnTo>
                      <a:lnTo>
                        <a:pt x="1678" y="1423"/>
                      </a:lnTo>
                      <a:lnTo>
                        <a:pt x="1677" y="1419"/>
                      </a:lnTo>
                      <a:lnTo>
                        <a:pt x="1680" y="1416"/>
                      </a:lnTo>
                      <a:lnTo>
                        <a:pt x="1685" y="1414"/>
                      </a:lnTo>
                      <a:close/>
                      <a:moveTo>
                        <a:pt x="1076" y="659"/>
                      </a:moveTo>
                      <a:lnTo>
                        <a:pt x="1074" y="659"/>
                      </a:lnTo>
                      <a:lnTo>
                        <a:pt x="1074" y="661"/>
                      </a:lnTo>
                      <a:lnTo>
                        <a:pt x="1076" y="662"/>
                      </a:lnTo>
                      <a:lnTo>
                        <a:pt x="1078" y="662"/>
                      </a:lnTo>
                      <a:lnTo>
                        <a:pt x="1079" y="662"/>
                      </a:lnTo>
                      <a:lnTo>
                        <a:pt x="1079" y="661"/>
                      </a:lnTo>
                      <a:lnTo>
                        <a:pt x="1078" y="659"/>
                      </a:lnTo>
                      <a:lnTo>
                        <a:pt x="1076" y="659"/>
                      </a:lnTo>
                      <a:close/>
                      <a:moveTo>
                        <a:pt x="1441" y="1433"/>
                      </a:moveTo>
                      <a:lnTo>
                        <a:pt x="1443" y="1431"/>
                      </a:lnTo>
                      <a:lnTo>
                        <a:pt x="1441" y="1433"/>
                      </a:lnTo>
                      <a:lnTo>
                        <a:pt x="1439" y="1433"/>
                      </a:lnTo>
                      <a:lnTo>
                        <a:pt x="1437" y="1435"/>
                      </a:lnTo>
                      <a:lnTo>
                        <a:pt x="1436" y="1435"/>
                      </a:lnTo>
                      <a:lnTo>
                        <a:pt x="1437" y="1435"/>
                      </a:lnTo>
                      <a:lnTo>
                        <a:pt x="1439" y="1435"/>
                      </a:lnTo>
                      <a:lnTo>
                        <a:pt x="1441" y="1433"/>
                      </a:lnTo>
                      <a:close/>
                      <a:moveTo>
                        <a:pt x="1696" y="1332"/>
                      </a:moveTo>
                      <a:lnTo>
                        <a:pt x="1691" y="1326"/>
                      </a:lnTo>
                      <a:lnTo>
                        <a:pt x="1684" y="1321"/>
                      </a:lnTo>
                      <a:lnTo>
                        <a:pt x="1670" y="1314"/>
                      </a:lnTo>
                      <a:lnTo>
                        <a:pt x="1664" y="1312"/>
                      </a:lnTo>
                      <a:lnTo>
                        <a:pt x="1643" y="1307"/>
                      </a:lnTo>
                      <a:lnTo>
                        <a:pt x="1640" y="1307"/>
                      </a:lnTo>
                      <a:lnTo>
                        <a:pt x="1636" y="1309"/>
                      </a:lnTo>
                      <a:lnTo>
                        <a:pt x="1638" y="1312"/>
                      </a:lnTo>
                      <a:lnTo>
                        <a:pt x="1643" y="1314"/>
                      </a:lnTo>
                      <a:lnTo>
                        <a:pt x="1647" y="1316"/>
                      </a:lnTo>
                      <a:lnTo>
                        <a:pt x="1650" y="1318"/>
                      </a:lnTo>
                      <a:lnTo>
                        <a:pt x="1652" y="1319"/>
                      </a:lnTo>
                      <a:lnTo>
                        <a:pt x="1654" y="1323"/>
                      </a:lnTo>
                      <a:lnTo>
                        <a:pt x="1656" y="1325"/>
                      </a:lnTo>
                      <a:lnTo>
                        <a:pt x="1657" y="1325"/>
                      </a:lnTo>
                      <a:lnTo>
                        <a:pt x="1671" y="1332"/>
                      </a:lnTo>
                      <a:lnTo>
                        <a:pt x="1680" y="1333"/>
                      </a:lnTo>
                      <a:lnTo>
                        <a:pt x="1689" y="1335"/>
                      </a:lnTo>
                      <a:lnTo>
                        <a:pt x="1696" y="1332"/>
                      </a:lnTo>
                      <a:close/>
                      <a:moveTo>
                        <a:pt x="1495" y="1398"/>
                      </a:moveTo>
                      <a:lnTo>
                        <a:pt x="1495" y="1400"/>
                      </a:lnTo>
                      <a:lnTo>
                        <a:pt x="1497" y="1398"/>
                      </a:lnTo>
                      <a:lnTo>
                        <a:pt x="1499" y="1398"/>
                      </a:lnTo>
                      <a:lnTo>
                        <a:pt x="1500" y="1396"/>
                      </a:lnTo>
                      <a:lnTo>
                        <a:pt x="1500" y="1395"/>
                      </a:lnTo>
                      <a:lnTo>
                        <a:pt x="1499" y="1396"/>
                      </a:lnTo>
                      <a:lnTo>
                        <a:pt x="1497" y="1396"/>
                      </a:lnTo>
                      <a:lnTo>
                        <a:pt x="1495" y="1398"/>
                      </a:lnTo>
                      <a:close/>
                      <a:moveTo>
                        <a:pt x="376" y="1346"/>
                      </a:moveTo>
                      <a:lnTo>
                        <a:pt x="374" y="1347"/>
                      </a:lnTo>
                      <a:lnTo>
                        <a:pt x="374" y="1349"/>
                      </a:lnTo>
                      <a:lnTo>
                        <a:pt x="369" y="1337"/>
                      </a:lnTo>
                      <a:lnTo>
                        <a:pt x="367" y="1333"/>
                      </a:lnTo>
                      <a:lnTo>
                        <a:pt x="363" y="1330"/>
                      </a:lnTo>
                      <a:lnTo>
                        <a:pt x="360" y="1326"/>
                      </a:lnTo>
                      <a:lnTo>
                        <a:pt x="351" y="1323"/>
                      </a:lnTo>
                      <a:lnTo>
                        <a:pt x="348" y="1321"/>
                      </a:lnTo>
                      <a:lnTo>
                        <a:pt x="346" y="1319"/>
                      </a:lnTo>
                      <a:lnTo>
                        <a:pt x="343" y="1312"/>
                      </a:lnTo>
                      <a:lnTo>
                        <a:pt x="339" y="1305"/>
                      </a:lnTo>
                      <a:lnTo>
                        <a:pt x="334" y="1297"/>
                      </a:lnTo>
                      <a:lnTo>
                        <a:pt x="330" y="1295"/>
                      </a:lnTo>
                      <a:lnTo>
                        <a:pt x="325" y="1293"/>
                      </a:lnTo>
                      <a:lnTo>
                        <a:pt x="302" y="1288"/>
                      </a:lnTo>
                      <a:lnTo>
                        <a:pt x="299" y="1286"/>
                      </a:lnTo>
                      <a:lnTo>
                        <a:pt x="285" y="1279"/>
                      </a:lnTo>
                      <a:lnTo>
                        <a:pt x="281" y="1277"/>
                      </a:lnTo>
                      <a:lnTo>
                        <a:pt x="276" y="1277"/>
                      </a:lnTo>
                      <a:lnTo>
                        <a:pt x="273" y="1279"/>
                      </a:lnTo>
                      <a:lnTo>
                        <a:pt x="271" y="1281"/>
                      </a:lnTo>
                      <a:lnTo>
                        <a:pt x="273" y="1286"/>
                      </a:lnTo>
                      <a:lnTo>
                        <a:pt x="276" y="1288"/>
                      </a:lnTo>
                      <a:lnTo>
                        <a:pt x="280" y="1290"/>
                      </a:lnTo>
                      <a:lnTo>
                        <a:pt x="283" y="1288"/>
                      </a:lnTo>
                      <a:lnTo>
                        <a:pt x="283" y="1286"/>
                      </a:lnTo>
                      <a:lnTo>
                        <a:pt x="287" y="1286"/>
                      </a:lnTo>
                      <a:lnTo>
                        <a:pt x="288" y="1286"/>
                      </a:lnTo>
                      <a:lnTo>
                        <a:pt x="290" y="1286"/>
                      </a:lnTo>
                      <a:lnTo>
                        <a:pt x="288" y="1288"/>
                      </a:lnTo>
                      <a:lnTo>
                        <a:pt x="288" y="1290"/>
                      </a:lnTo>
                      <a:lnTo>
                        <a:pt x="288" y="1291"/>
                      </a:lnTo>
                      <a:lnTo>
                        <a:pt x="288" y="1291"/>
                      </a:lnTo>
                      <a:lnTo>
                        <a:pt x="287" y="1291"/>
                      </a:lnTo>
                      <a:lnTo>
                        <a:pt x="285" y="1290"/>
                      </a:lnTo>
                      <a:lnTo>
                        <a:pt x="283" y="1290"/>
                      </a:lnTo>
                      <a:lnTo>
                        <a:pt x="280" y="1291"/>
                      </a:lnTo>
                      <a:lnTo>
                        <a:pt x="280" y="1293"/>
                      </a:lnTo>
                      <a:lnTo>
                        <a:pt x="280" y="1293"/>
                      </a:lnTo>
                      <a:lnTo>
                        <a:pt x="280" y="1295"/>
                      </a:lnTo>
                      <a:lnTo>
                        <a:pt x="280" y="1295"/>
                      </a:lnTo>
                      <a:lnTo>
                        <a:pt x="281" y="1300"/>
                      </a:lnTo>
                      <a:lnTo>
                        <a:pt x="281" y="1300"/>
                      </a:lnTo>
                      <a:lnTo>
                        <a:pt x="283" y="1302"/>
                      </a:lnTo>
                      <a:lnTo>
                        <a:pt x="285" y="1300"/>
                      </a:lnTo>
                      <a:lnTo>
                        <a:pt x="287" y="1300"/>
                      </a:lnTo>
                      <a:lnTo>
                        <a:pt x="290" y="1300"/>
                      </a:lnTo>
                      <a:lnTo>
                        <a:pt x="290" y="1302"/>
                      </a:lnTo>
                      <a:lnTo>
                        <a:pt x="292" y="1302"/>
                      </a:lnTo>
                      <a:lnTo>
                        <a:pt x="294" y="1304"/>
                      </a:lnTo>
                      <a:lnTo>
                        <a:pt x="294" y="1300"/>
                      </a:lnTo>
                      <a:lnTo>
                        <a:pt x="295" y="1302"/>
                      </a:lnTo>
                      <a:lnTo>
                        <a:pt x="295" y="1304"/>
                      </a:lnTo>
                      <a:lnTo>
                        <a:pt x="295" y="1305"/>
                      </a:lnTo>
                      <a:lnTo>
                        <a:pt x="295" y="1307"/>
                      </a:lnTo>
                      <a:lnTo>
                        <a:pt x="297" y="1309"/>
                      </a:lnTo>
                      <a:lnTo>
                        <a:pt x="299" y="1309"/>
                      </a:lnTo>
                      <a:lnTo>
                        <a:pt x="299" y="1307"/>
                      </a:lnTo>
                      <a:lnTo>
                        <a:pt x="301" y="1307"/>
                      </a:lnTo>
                      <a:lnTo>
                        <a:pt x="306" y="1309"/>
                      </a:lnTo>
                      <a:lnTo>
                        <a:pt x="309" y="1312"/>
                      </a:lnTo>
                      <a:lnTo>
                        <a:pt x="313" y="1314"/>
                      </a:lnTo>
                      <a:lnTo>
                        <a:pt x="318" y="1316"/>
                      </a:lnTo>
                      <a:lnTo>
                        <a:pt x="316" y="1316"/>
                      </a:lnTo>
                      <a:lnTo>
                        <a:pt x="311" y="1318"/>
                      </a:lnTo>
                      <a:lnTo>
                        <a:pt x="309" y="1318"/>
                      </a:lnTo>
                      <a:lnTo>
                        <a:pt x="309" y="1319"/>
                      </a:lnTo>
                      <a:lnTo>
                        <a:pt x="309" y="1321"/>
                      </a:lnTo>
                      <a:lnTo>
                        <a:pt x="309" y="1323"/>
                      </a:lnTo>
                      <a:lnTo>
                        <a:pt x="309" y="1323"/>
                      </a:lnTo>
                      <a:lnTo>
                        <a:pt x="309" y="1325"/>
                      </a:lnTo>
                      <a:lnTo>
                        <a:pt x="311" y="1323"/>
                      </a:lnTo>
                      <a:lnTo>
                        <a:pt x="311" y="1323"/>
                      </a:lnTo>
                      <a:lnTo>
                        <a:pt x="311" y="1323"/>
                      </a:lnTo>
                      <a:lnTo>
                        <a:pt x="315" y="1325"/>
                      </a:lnTo>
                      <a:lnTo>
                        <a:pt x="315" y="1325"/>
                      </a:lnTo>
                      <a:lnTo>
                        <a:pt x="315" y="1323"/>
                      </a:lnTo>
                      <a:lnTo>
                        <a:pt x="316" y="1323"/>
                      </a:lnTo>
                      <a:lnTo>
                        <a:pt x="316" y="1323"/>
                      </a:lnTo>
                      <a:lnTo>
                        <a:pt x="318" y="1323"/>
                      </a:lnTo>
                      <a:lnTo>
                        <a:pt x="320" y="1325"/>
                      </a:lnTo>
                      <a:lnTo>
                        <a:pt x="322" y="1325"/>
                      </a:lnTo>
                      <a:lnTo>
                        <a:pt x="322" y="1325"/>
                      </a:lnTo>
                      <a:lnTo>
                        <a:pt x="322" y="1326"/>
                      </a:lnTo>
                      <a:lnTo>
                        <a:pt x="322" y="1328"/>
                      </a:lnTo>
                      <a:lnTo>
                        <a:pt x="323" y="1328"/>
                      </a:lnTo>
                      <a:lnTo>
                        <a:pt x="323" y="1328"/>
                      </a:lnTo>
                      <a:lnTo>
                        <a:pt x="327" y="1330"/>
                      </a:lnTo>
                      <a:lnTo>
                        <a:pt x="327" y="1330"/>
                      </a:lnTo>
                      <a:lnTo>
                        <a:pt x="329" y="1330"/>
                      </a:lnTo>
                      <a:lnTo>
                        <a:pt x="327" y="1332"/>
                      </a:lnTo>
                      <a:lnTo>
                        <a:pt x="327" y="1332"/>
                      </a:lnTo>
                      <a:lnTo>
                        <a:pt x="325" y="1333"/>
                      </a:lnTo>
                      <a:lnTo>
                        <a:pt x="325" y="1333"/>
                      </a:lnTo>
                      <a:lnTo>
                        <a:pt x="327" y="1335"/>
                      </a:lnTo>
                      <a:lnTo>
                        <a:pt x="330" y="1337"/>
                      </a:lnTo>
                      <a:lnTo>
                        <a:pt x="332" y="1339"/>
                      </a:lnTo>
                      <a:lnTo>
                        <a:pt x="332" y="1339"/>
                      </a:lnTo>
                      <a:lnTo>
                        <a:pt x="337" y="1337"/>
                      </a:lnTo>
                      <a:lnTo>
                        <a:pt x="343" y="1335"/>
                      </a:lnTo>
                      <a:lnTo>
                        <a:pt x="344" y="1333"/>
                      </a:lnTo>
                      <a:lnTo>
                        <a:pt x="346" y="1330"/>
                      </a:lnTo>
                      <a:lnTo>
                        <a:pt x="346" y="1333"/>
                      </a:lnTo>
                      <a:lnTo>
                        <a:pt x="343" y="1337"/>
                      </a:lnTo>
                      <a:lnTo>
                        <a:pt x="341" y="1340"/>
                      </a:lnTo>
                      <a:lnTo>
                        <a:pt x="339" y="1344"/>
                      </a:lnTo>
                      <a:lnTo>
                        <a:pt x="343" y="1346"/>
                      </a:lnTo>
                      <a:lnTo>
                        <a:pt x="348" y="1349"/>
                      </a:lnTo>
                      <a:lnTo>
                        <a:pt x="365" y="1354"/>
                      </a:lnTo>
                      <a:lnTo>
                        <a:pt x="370" y="1356"/>
                      </a:lnTo>
                      <a:lnTo>
                        <a:pt x="374" y="1356"/>
                      </a:lnTo>
                      <a:lnTo>
                        <a:pt x="377" y="1353"/>
                      </a:lnTo>
                      <a:lnTo>
                        <a:pt x="379" y="1353"/>
                      </a:lnTo>
                      <a:lnTo>
                        <a:pt x="379" y="1351"/>
                      </a:lnTo>
                      <a:lnTo>
                        <a:pt x="377" y="1349"/>
                      </a:lnTo>
                      <a:lnTo>
                        <a:pt x="376" y="1346"/>
                      </a:lnTo>
                      <a:close/>
                      <a:moveTo>
                        <a:pt x="914" y="264"/>
                      </a:moveTo>
                      <a:lnTo>
                        <a:pt x="914" y="266"/>
                      </a:lnTo>
                      <a:lnTo>
                        <a:pt x="914" y="268"/>
                      </a:lnTo>
                      <a:lnTo>
                        <a:pt x="915" y="268"/>
                      </a:lnTo>
                      <a:lnTo>
                        <a:pt x="915" y="268"/>
                      </a:lnTo>
                      <a:lnTo>
                        <a:pt x="917" y="268"/>
                      </a:lnTo>
                      <a:lnTo>
                        <a:pt x="917" y="269"/>
                      </a:lnTo>
                      <a:lnTo>
                        <a:pt x="919" y="271"/>
                      </a:lnTo>
                      <a:lnTo>
                        <a:pt x="919" y="273"/>
                      </a:lnTo>
                      <a:lnTo>
                        <a:pt x="924" y="275"/>
                      </a:lnTo>
                      <a:lnTo>
                        <a:pt x="929" y="278"/>
                      </a:lnTo>
                      <a:lnTo>
                        <a:pt x="941" y="280"/>
                      </a:lnTo>
                      <a:lnTo>
                        <a:pt x="940" y="282"/>
                      </a:lnTo>
                      <a:lnTo>
                        <a:pt x="934" y="282"/>
                      </a:lnTo>
                      <a:lnTo>
                        <a:pt x="928" y="282"/>
                      </a:lnTo>
                      <a:lnTo>
                        <a:pt x="928" y="283"/>
                      </a:lnTo>
                      <a:lnTo>
                        <a:pt x="929" y="285"/>
                      </a:lnTo>
                      <a:lnTo>
                        <a:pt x="931" y="287"/>
                      </a:lnTo>
                      <a:lnTo>
                        <a:pt x="933" y="289"/>
                      </a:lnTo>
                      <a:lnTo>
                        <a:pt x="934" y="289"/>
                      </a:lnTo>
                      <a:lnTo>
                        <a:pt x="938" y="289"/>
                      </a:lnTo>
                      <a:lnTo>
                        <a:pt x="940" y="290"/>
                      </a:lnTo>
                      <a:lnTo>
                        <a:pt x="940" y="290"/>
                      </a:lnTo>
                      <a:lnTo>
                        <a:pt x="940" y="292"/>
                      </a:lnTo>
                      <a:lnTo>
                        <a:pt x="940" y="292"/>
                      </a:lnTo>
                      <a:lnTo>
                        <a:pt x="940" y="294"/>
                      </a:lnTo>
                      <a:lnTo>
                        <a:pt x="941" y="296"/>
                      </a:lnTo>
                      <a:lnTo>
                        <a:pt x="941" y="297"/>
                      </a:lnTo>
                      <a:lnTo>
                        <a:pt x="945" y="296"/>
                      </a:lnTo>
                      <a:lnTo>
                        <a:pt x="947" y="296"/>
                      </a:lnTo>
                      <a:lnTo>
                        <a:pt x="952" y="294"/>
                      </a:lnTo>
                      <a:lnTo>
                        <a:pt x="980" y="287"/>
                      </a:lnTo>
                      <a:lnTo>
                        <a:pt x="982" y="287"/>
                      </a:lnTo>
                      <a:lnTo>
                        <a:pt x="985" y="285"/>
                      </a:lnTo>
                      <a:lnTo>
                        <a:pt x="985" y="282"/>
                      </a:lnTo>
                      <a:lnTo>
                        <a:pt x="983" y="280"/>
                      </a:lnTo>
                      <a:lnTo>
                        <a:pt x="982" y="278"/>
                      </a:lnTo>
                      <a:lnTo>
                        <a:pt x="976" y="276"/>
                      </a:lnTo>
                      <a:lnTo>
                        <a:pt x="980" y="275"/>
                      </a:lnTo>
                      <a:lnTo>
                        <a:pt x="983" y="273"/>
                      </a:lnTo>
                      <a:lnTo>
                        <a:pt x="985" y="271"/>
                      </a:lnTo>
                      <a:lnTo>
                        <a:pt x="985" y="269"/>
                      </a:lnTo>
                      <a:lnTo>
                        <a:pt x="982" y="266"/>
                      </a:lnTo>
                      <a:lnTo>
                        <a:pt x="978" y="266"/>
                      </a:lnTo>
                      <a:lnTo>
                        <a:pt x="973" y="264"/>
                      </a:lnTo>
                      <a:lnTo>
                        <a:pt x="969" y="264"/>
                      </a:lnTo>
                      <a:lnTo>
                        <a:pt x="962" y="264"/>
                      </a:lnTo>
                      <a:lnTo>
                        <a:pt x="961" y="264"/>
                      </a:lnTo>
                      <a:lnTo>
                        <a:pt x="959" y="262"/>
                      </a:lnTo>
                      <a:lnTo>
                        <a:pt x="959" y="262"/>
                      </a:lnTo>
                      <a:lnTo>
                        <a:pt x="957" y="261"/>
                      </a:lnTo>
                      <a:lnTo>
                        <a:pt x="957" y="261"/>
                      </a:lnTo>
                      <a:lnTo>
                        <a:pt x="954" y="257"/>
                      </a:lnTo>
                      <a:lnTo>
                        <a:pt x="950" y="255"/>
                      </a:lnTo>
                      <a:lnTo>
                        <a:pt x="947" y="255"/>
                      </a:lnTo>
                      <a:lnTo>
                        <a:pt x="941" y="254"/>
                      </a:lnTo>
                      <a:lnTo>
                        <a:pt x="936" y="252"/>
                      </a:lnTo>
                      <a:lnTo>
                        <a:pt x="931" y="250"/>
                      </a:lnTo>
                      <a:lnTo>
                        <a:pt x="926" y="250"/>
                      </a:lnTo>
                      <a:lnTo>
                        <a:pt x="919" y="250"/>
                      </a:lnTo>
                      <a:lnTo>
                        <a:pt x="914" y="250"/>
                      </a:lnTo>
                      <a:lnTo>
                        <a:pt x="914" y="254"/>
                      </a:lnTo>
                      <a:lnTo>
                        <a:pt x="919" y="262"/>
                      </a:lnTo>
                      <a:lnTo>
                        <a:pt x="914" y="262"/>
                      </a:lnTo>
                      <a:lnTo>
                        <a:pt x="914" y="264"/>
                      </a:lnTo>
                      <a:close/>
                      <a:moveTo>
                        <a:pt x="989" y="185"/>
                      </a:moveTo>
                      <a:lnTo>
                        <a:pt x="985" y="185"/>
                      </a:lnTo>
                      <a:lnTo>
                        <a:pt x="969" y="184"/>
                      </a:lnTo>
                      <a:lnTo>
                        <a:pt x="945" y="180"/>
                      </a:lnTo>
                      <a:lnTo>
                        <a:pt x="950" y="191"/>
                      </a:lnTo>
                      <a:lnTo>
                        <a:pt x="952" y="194"/>
                      </a:lnTo>
                      <a:lnTo>
                        <a:pt x="954" y="198"/>
                      </a:lnTo>
                      <a:lnTo>
                        <a:pt x="957" y="201"/>
                      </a:lnTo>
                      <a:lnTo>
                        <a:pt x="961" y="203"/>
                      </a:lnTo>
                      <a:lnTo>
                        <a:pt x="964" y="205"/>
                      </a:lnTo>
                      <a:lnTo>
                        <a:pt x="973" y="206"/>
                      </a:lnTo>
                      <a:lnTo>
                        <a:pt x="980" y="206"/>
                      </a:lnTo>
                      <a:lnTo>
                        <a:pt x="997" y="203"/>
                      </a:lnTo>
                      <a:lnTo>
                        <a:pt x="994" y="206"/>
                      </a:lnTo>
                      <a:lnTo>
                        <a:pt x="989" y="208"/>
                      </a:lnTo>
                      <a:lnTo>
                        <a:pt x="978" y="210"/>
                      </a:lnTo>
                      <a:lnTo>
                        <a:pt x="973" y="210"/>
                      </a:lnTo>
                      <a:lnTo>
                        <a:pt x="971" y="212"/>
                      </a:lnTo>
                      <a:lnTo>
                        <a:pt x="969" y="212"/>
                      </a:lnTo>
                      <a:lnTo>
                        <a:pt x="968" y="213"/>
                      </a:lnTo>
                      <a:lnTo>
                        <a:pt x="968" y="217"/>
                      </a:lnTo>
                      <a:lnTo>
                        <a:pt x="969" y="219"/>
                      </a:lnTo>
                      <a:lnTo>
                        <a:pt x="971" y="220"/>
                      </a:lnTo>
                      <a:lnTo>
                        <a:pt x="973" y="220"/>
                      </a:lnTo>
                      <a:lnTo>
                        <a:pt x="975" y="220"/>
                      </a:lnTo>
                      <a:lnTo>
                        <a:pt x="976" y="222"/>
                      </a:lnTo>
                      <a:lnTo>
                        <a:pt x="978" y="222"/>
                      </a:lnTo>
                      <a:lnTo>
                        <a:pt x="980" y="224"/>
                      </a:lnTo>
                      <a:lnTo>
                        <a:pt x="980" y="224"/>
                      </a:lnTo>
                      <a:lnTo>
                        <a:pt x="982" y="224"/>
                      </a:lnTo>
                      <a:lnTo>
                        <a:pt x="983" y="224"/>
                      </a:lnTo>
                      <a:lnTo>
                        <a:pt x="992" y="220"/>
                      </a:lnTo>
                      <a:lnTo>
                        <a:pt x="997" y="219"/>
                      </a:lnTo>
                      <a:lnTo>
                        <a:pt x="1003" y="219"/>
                      </a:lnTo>
                      <a:lnTo>
                        <a:pt x="1006" y="220"/>
                      </a:lnTo>
                      <a:lnTo>
                        <a:pt x="1003" y="222"/>
                      </a:lnTo>
                      <a:lnTo>
                        <a:pt x="1004" y="224"/>
                      </a:lnTo>
                      <a:lnTo>
                        <a:pt x="1008" y="224"/>
                      </a:lnTo>
                      <a:lnTo>
                        <a:pt x="1011" y="222"/>
                      </a:lnTo>
                      <a:lnTo>
                        <a:pt x="1027" y="217"/>
                      </a:lnTo>
                      <a:lnTo>
                        <a:pt x="1032" y="217"/>
                      </a:lnTo>
                      <a:lnTo>
                        <a:pt x="1036" y="217"/>
                      </a:lnTo>
                      <a:lnTo>
                        <a:pt x="1043" y="220"/>
                      </a:lnTo>
                      <a:lnTo>
                        <a:pt x="1048" y="220"/>
                      </a:lnTo>
                      <a:lnTo>
                        <a:pt x="1053" y="220"/>
                      </a:lnTo>
                      <a:lnTo>
                        <a:pt x="1064" y="220"/>
                      </a:lnTo>
                      <a:lnTo>
                        <a:pt x="1057" y="222"/>
                      </a:lnTo>
                      <a:lnTo>
                        <a:pt x="1045" y="224"/>
                      </a:lnTo>
                      <a:lnTo>
                        <a:pt x="1038" y="226"/>
                      </a:lnTo>
                      <a:lnTo>
                        <a:pt x="1036" y="227"/>
                      </a:lnTo>
                      <a:lnTo>
                        <a:pt x="1032" y="231"/>
                      </a:lnTo>
                      <a:lnTo>
                        <a:pt x="1031" y="231"/>
                      </a:lnTo>
                      <a:lnTo>
                        <a:pt x="1029" y="233"/>
                      </a:lnTo>
                      <a:lnTo>
                        <a:pt x="1022" y="233"/>
                      </a:lnTo>
                      <a:lnTo>
                        <a:pt x="1020" y="233"/>
                      </a:lnTo>
                      <a:lnTo>
                        <a:pt x="1010" y="236"/>
                      </a:lnTo>
                      <a:lnTo>
                        <a:pt x="1004" y="240"/>
                      </a:lnTo>
                      <a:lnTo>
                        <a:pt x="1003" y="241"/>
                      </a:lnTo>
                      <a:lnTo>
                        <a:pt x="1004" y="245"/>
                      </a:lnTo>
                      <a:lnTo>
                        <a:pt x="1011" y="248"/>
                      </a:lnTo>
                      <a:lnTo>
                        <a:pt x="1024" y="250"/>
                      </a:lnTo>
                      <a:lnTo>
                        <a:pt x="1020" y="250"/>
                      </a:lnTo>
                      <a:lnTo>
                        <a:pt x="1017" y="250"/>
                      </a:lnTo>
                      <a:lnTo>
                        <a:pt x="1015" y="250"/>
                      </a:lnTo>
                      <a:lnTo>
                        <a:pt x="1013" y="252"/>
                      </a:lnTo>
                      <a:lnTo>
                        <a:pt x="1015" y="254"/>
                      </a:lnTo>
                      <a:lnTo>
                        <a:pt x="1017" y="257"/>
                      </a:lnTo>
                      <a:lnTo>
                        <a:pt x="1020" y="259"/>
                      </a:lnTo>
                      <a:lnTo>
                        <a:pt x="1024" y="259"/>
                      </a:lnTo>
                      <a:lnTo>
                        <a:pt x="1045" y="261"/>
                      </a:lnTo>
                      <a:lnTo>
                        <a:pt x="1051" y="262"/>
                      </a:lnTo>
                      <a:lnTo>
                        <a:pt x="1039" y="264"/>
                      </a:lnTo>
                      <a:lnTo>
                        <a:pt x="1034" y="264"/>
                      </a:lnTo>
                      <a:lnTo>
                        <a:pt x="1031" y="266"/>
                      </a:lnTo>
                      <a:lnTo>
                        <a:pt x="1036" y="271"/>
                      </a:lnTo>
                      <a:lnTo>
                        <a:pt x="1045" y="275"/>
                      </a:lnTo>
                      <a:lnTo>
                        <a:pt x="1071" y="280"/>
                      </a:lnTo>
                      <a:lnTo>
                        <a:pt x="1076" y="280"/>
                      </a:lnTo>
                      <a:lnTo>
                        <a:pt x="1079" y="280"/>
                      </a:lnTo>
                      <a:lnTo>
                        <a:pt x="1083" y="278"/>
                      </a:lnTo>
                      <a:lnTo>
                        <a:pt x="1083" y="276"/>
                      </a:lnTo>
                      <a:lnTo>
                        <a:pt x="1079" y="275"/>
                      </a:lnTo>
                      <a:lnTo>
                        <a:pt x="1076" y="273"/>
                      </a:lnTo>
                      <a:lnTo>
                        <a:pt x="1079" y="271"/>
                      </a:lnTo>
                      <a:lnTo>
                        <a:pt x="1083" y="271"/>
                      </a:lnTo>
                      <a:lnTo>
                        <a:pt x="1086" y="271"/>
                      </a:lnTo>
                      <a:lnTo>
                        <a:pt x="1088" y="273"/>
                      </a:lnTo>
                      <a:lnTo>
                        <a:pt x="1099" y="278"/>
                      </a:lnTo>
                      <a:lnTo>
                        <a:pt x="1100" y="278"/>
                      </a:lnTo>
                      <a:lnTo>
                        <a:pt x="1100" y="276"/>
                      </a:lnTo>
                      <a:lnTo>
                        <a:pt x="1092" y="264"/>
                      </a:lnTo>
                      <a:lnTo>
                        <a:pt x="1090" y="259"/>
                      </a:lnTo>
                      <a:lnTo>
                        <a:pt x="1095" y="264"/>
                      </a:lnTo>
                      <a:lnTo>
                        <a:pt x="1100" y="269"/>
                      </a:lnTo>
                      <a:lnTo>
                        <a:pt x="1107" y="275"/>
                      </a:lnTo>
                      <a:lnTo>
                        <a:pt x="1113" y="278"/>
                      </a:lnTo>
                      <a:lnTo>
                        <a:pt x="1116" y="278"/>
                      </a:lnTo>
                      <a:lnTo>
                        <a:pt x="1118" y="275"/>
                      </a:lnTo>
                      <a:lnTo>
                        <a:pt x="1120" y="273"/>
                      </a:lnTo>
                      <a:lnTo>
                        <a:pt x="1120" y="269"/>
                      </a:lnTo>
                      <a:lnTo>
                        <a:pt x="1120" y="266"/>
                      </a:lnTo>
                      <a:lnTo>
                        <a:pt x="1118" y="264"/>
                      </a:lnTo>
                      <a:lnTo>
                        <a:pt x="1118" y="261"/>
                      </a:lnTo>
                      <a:lnTo>
                        <a:pt x="1120" y="259"/>
                      </a:lnTo>
                      <a:lnTo>
                        <a:pt x="1123" y="261"/>
                      </a:lnTo>
                      <a:lnTo>
                        <a:pt x="1128" y="264"/>
                      </a:lnTo>
                      <a:lnTo>
                        <a:pt x="1132" y="266"/>
                      </a:lnTo>
                      <a:lnTo>
                        <a:pt x="1134" y="262"/>
                      </a:lnTo>
                      <a:lnTo>
                        <a:pt x="1134" y="261"/>
                      </a:lnTo>
                      <a:lnTo>
                        <a:pt x="1132" y="259"/>
                      </a:lnTo>
                      <a:lnTo>
                        <a:pt x="1130" y="257"/>
                      </a:lnTo>
                      <a:lnTo>
                        <a:pt x="1130" y="257"/>
                      </a:lnTo>
                      <a:lnTo>
                        <a:pt x="1128" y="257"/>
                      </a:lnTo>
                      <a:lnTo>
                        <a:pt x="1128" y="257"/>
                      </a:lnTo>
                      <a:lnTo>
                        <a:pt x="1128" y="255"/>
                      </a:lnTo>
                      <a:lnTo>
                        <a:pt x="1128" y="255"/>
                      </a:lnTo>
                      <a:lnTo>
                        <a:pt x="1128" y="255"/>
                      </a:lnTo>
                      <a:lnTo>
                        <a:pt x="1130" y="255"/>
                      </a:lnTo>
                      <a:lnTo>
                        <a:pt x="1128" y="254"/>
                      </a:lnTo>
                      <a:lnTo>
                        <a:pt x="1130" y="247"/>
                      </a:lnTo>
                      <a:lnTo>
                        <a:pt x="1130" y="243"/>
                      </a:lnTo>
                      <a:lnTo>
                        <a:pt x="1132" y="241"/>
                      </a:lnTo>
                      <a:lnTo>
                        <a:pt x="1134" y="240"/>
                      </a:lnTo>
                      <a:lnTo>
                        <a:pt x="1137" y="238"/>
                      </a:lnTo>
                      <a:lnTo>
                        <a:pt x="1137" y="241"/>
                      </a:lnTo>
                      <a:lnTo>
                        <a:pt x="1135" y="243"/>
                      </a:lnTo>
                      <a:lnTo>
                        <a:pt x="1134" y="247"/>
                      </a:lnTo>
                      <a:lnTo>
                        <a:pt x="1135" y="250"/>
                      </a:lnTo>
                      <a:lnTo>
                        <a:pt x="1137" y="254"/>
                      </a:lnTo>
                      <a:lnTo>
                        <a:pt x="1139" y="255"/>
                      </a:lnTo>
                      <a:lnTo>
                        <a:pt x="1142" y="255"/>
                      </a:lnTo>
                      <a:lnTo>
                        <a:pt x="1146" y="254"/>
                      </a:lnTo>
                      <a:lnTo>
                        <a:pt x="1151" y="248"/>
                      </a:lnTo>
                      <a:lnTo>
                        <a:pt x="1153" y="247"/>
                      </a:lnTo>
                      <a:lnTo>
                        <a:pt x="1155" y="241"/>
                      </a:lnTo>
                      <a:lnTo>
                        <a:pt x="1156" y="241"/>
                      </a:lnTo>
                      <a:lnTo>
                        <a:pt x="1156" y="241"/>
                      </a:lnTo>
                      <a:lnTo>
                        <a:pt x="1158" y="241"/>
                      </a:lnTo>
                      <a:lnTo>
                        <a:pt x="1160" y="241"/>
                      </a:lnTo>
                      <a:lnTo>
                        <a:pt x="1162" y="241"/>
                      </a:lnTo>
                      <a:lnTo>
                        <a:pt x="1163" y="240"/>
                      </a:lnTo>
                      <a:lnTo>
                        <a:pt x="1167" y="238"/>
                      </a:lnTo>
                      <a:lnTo>
                        <a:pt x="1184" y="233"/>
                      </a:lnTo>
                      <a:lnTo>
                        <a:pt x="1193" y="227"/>
                      </a:lnTo>
                      <a:lnTo>
                        <a:pt x="1196" y="222"/>
                      </a:lnTo>
                      <a:lnTo>
                        <a:pt x="1195" y="220"/>
                      </a:lnTo>
                      <a:lnTo>
                        <a:pt x="1191" y="217"/>
                      </a:lnTo>
                      <a:lnTo>
                        <a:pt x="1186" y="210"/>
                      </a:lnTo>
                      <a:lnTo>
                        <a:pt x="1182" y="208"/>
                      </a:lnTo>
                      <a:lnTo>
                        <a:pt x="1181" y="210"/>
                      </a:lnTo>
                      <a:lnTo>
                        <a:pt x="1181" y="212"/>
                      </a:lnTo>
                      <a:lnTo>
                        <a:pt x="1177" y="213"/>
                      </a:lnTo>
                      <a:lnTo>
                        <a:pt x="1175" y="213"/>
                      </a:lnTo>
                      <a:lnTo>
                        <a:pt x="1175" y="212"/>
                      </a:lnTo>
                      <a:lnTo>
                        <a:pt x="1174" y="210"/>
                      </a:lnTo>
                      <a:lnTo>
                        <a:pt x="1172" y="208"/>
                      </a:lnTo>
                      <a:lnTo>
                        <a:pt x="1170" y="208"/>
                      </a:lnTo>
                      <a:lnTo>
                        <a:pt x="1168" y="206"/>
                      </a:lnTo>
                      <a:lnTo>
                        <a:pt x="1167" y="206"/>
                      </a:lnTo>
                      <a:lnTo>
                        <a:pt x="1163" y="206"/>
                      </a:lnTo>
                      <a:lnTo>
                        <a:pt x="1160" y="208"/>
                      </a:lnTo>
                      <a:lnTo>
                        <a:pt x="1156" y="208"/>
                      </a:lnTo>
                      <a:lnTo>
                        <a:pt x="1153" y="210"/>
                      </a:lnTo>
                      <a:lnTo>
                        <a:pt x="1149" y="210"/>
                      </a:lnTo>
                      <a:lnTo>
                        <a:pt x="1151" y="203"/>
                      </a:lnTo>
                      <a:lnTo>
                        <a:pt x="1155" y="198"/>
                      </a:lnTo>
                      <a:lnTo>
                        <a:pt x="1155" y="191"/>
                      </a:lnTo>
                      <a:lnTo>
                        <a:pt x="1149" y="185"/>
                      </a:lnTo>
                      <a:lnTo>
                        <a:pt x="1148" y="185"/>
                      </a:lnTo>
                      <a:lnTo>
                        <a:pt x="1139" y="184"/>
                      </a:lnTo>
                      <a:lnTo>
                        <a:pt x="1137" y="184"/>
                      </a:lnTo>
                      <a:lnTo>
                        <a:pt x="1135" y="180"/>
                      </a:lnTo>
                      <a:lnTo>
                        <a:pt x="1137" y="178"/>
                      </a:lnTo>
                      <a:lnTo>
                        <a:pt x="1141" y="177"/>
                      </a:lnTo>
                      <a:lnTo>
                        <a:pt x="1142" y="175"/>
                      </a:lnTo>
                      <a:lnTo>
                        <a:pt x="1141" y="168"/>
                      </a:lnTo>
                      <a:lnTo>
                        <a:pt x="1135" y="163"/>
                      </a:lnTo>
                      <a:lnTo>
                        <a:pt x="1128" y="161"/>
                      </a:lnTo>
                      <a:lnTo>
                        <a:pt x="1121" y="163"/>
                      </a:lnTo>
                      <a:lnTo>
                        <a:pt x="1120" y="166"/>
                      </a:lnTo>
                      <a:lnTo>
                        <a:pt x="1121" y="171"/>
                      </a:lnTo>
                      <a:lnTo>
                        <a:pt x="1127" y="177"/>
                      </a:lnTo>
                      <a:lnTo>
                        <a:pt x="1128" y="182"/>
                      </a:lnTo>
                      <a:lnTo>
                        <a:pt x="1127" y="180"/>
                      </a:lnTo>
                      <a:lnTo>
                        <a:pt x="1120" y="178"/>
                      </a:lnTo>
                      <a:lnTo>
                        <a:pt x="1116" y="178"/>
                      </a:lnTo>
                      <a:lnTo>
                        <a:pt x="1113" y="177"/>
                      </a:lnTo>
                      <a:lnTo>
                        <a:pt x="1111" y="173"/>
                      </a:lnTo>
                      <a:lnTo>
                        <a:pt x="1109" y="171"/>
                      </a:lnTo>
                      <a:lnTo>
                        <a:pt x="1107" y="168"/>
                      </a:lnTo>
                      <a:lnTo>
                        <a:pt x="1107" y="166"/>
                      </a:lnTo>
                      <a:lnTo>
                        <a:pt x="1109" y="163"/>
                      </a:lnTo>
                      <a:lnTo>
                        <a:pt x="1109" y="161"/>
                      </a:lnTo>
                      <a:lnTo>
                        <a:pt x="1107" y="157"/>
                      </a:lnTo>
                      <a:lnTo>
                        <a:pt x="1104" y="157"/>
                      </a:lnTo>
                      <a:lnTo>
                        <a:pt x="1100" y="157"/>
                      </a:lnTo>
                      <a:lnTo>
                        <a:pt x="1097" y="157"/>
                      </a:lnTo>
                      <a:lnTo>
                        <a:pt x="1095" y="157"/>
                      </a:lnTo>
                      <a:lnTo>
                        <a:pt x="1095" y="157"/>
                      </a:lnTo>
                      <a:lnTo>
                        <a:pt x="1093" y="159"/>
                      </a:lnTo>
                      <a:lnTo>
                        <a:pt x="1092" y="159"/>
                      </a:lnTo>
                      <a:lnTo>
                        <a:pt x="1090" y="157"/>
                      </a:lnTo>
                      <a:lnTo>
                        <a:pt x="1085" y="156"/>
                      </a:lnTo>
                      <a:lnTo>
                        <a:pt x="1081" y="156"/>
                      </a:lnTo>
                      <a:lnTo>
                        <a:pt x="1078" y="156"/>
                      </a:lnTo>
                      <a:lnTo>
                        <a:pt x="1078" y="154"/>
                      </a:lnTo>
                      <a:lnTo>
                        <a:pt x="1076" y="154"/>
                      </a:lnTo>
                      <a:lnTo>
                        <a:pt x="1076" y="151"/>
                      </a:lnTo>
                      <a:lnTo>
                        <a:pt x="1076" y="149"/>
                      </a:lnTo>
                      <a:lnTo>
                        <a:pt x="1074" y="147"/>
                      </a:lnTo>
                      <a:lnTo>
                        <a:pt x="1067" y="144"/>
                      </a:lnTo>
                      <a:lnTo>
                        <a:pt x="1064" y="140"/>
                      </a:lnTo>
                      <a:lnTo>
                        <a:pt x="1053" y="128"/>
                      </a:lnTo>
                      <a:lnTo>
                        <a:pt x="1048" y="119"/>
                      </a:lnTo>
                      <a:lnTo>
                        <a:pt x="1041" y="112"/>
                      </a:lnTo>
                      <a:lnTo>
                        <a:pt x="1034" y="109"/>
                      </a:lnTo>
                      <a:lnTo>
                        <a:pt x="1024" y="105"/>
                      </a:lnTo>
                      <a:lnTo>
                        <a:pt x="1018" y="105"/>
                      </a:lnTo>
                      <a:lnTo>
                        <a:pt x="1013" y="103"/>
                      </a:lnTo>
                      <a:lnTo>
                        <a:pt x="1008" y="105"/>
                      </a:lnTo>
                      <a:lnTo>
                        <a:pt x="1004" y="105"/>
                      </a:lnTo>
                      <a:lnTo>
                        <a:pt x="1001" y="107"/>
                      </a:lnTo>
                      <a:lnTo>
                        <a:pt x="1001" y="110"/>
                      </a:lnTo>
                      <a:lnTo>
                        <a:pt x="1001" y="114"/>
                      </a:lnTo>
                      <a:lnTo>
                        <a:pt x="1004" y="116"/>
                      </a:lnTo>
                      <a:lnTo>
                        <a:pt x="1010" y="116"/>
                      </a:lnTo>
                      <a:lnTo>
                        <a:pt x="1015" y="116"/>
                      </a:lnTo>
                      <a:lnTo>
                        <a:pt x="1018" y="117"/>
                      </a:lnTo>
                      <a:lnTo>
                        <a:pt x="1022" y="121"/>
                      </a:lnTo>
                      <a:lnTo>
                        <a:pt x="1020" y="124"/>
                      </a:lnTo>
                      <a:lnTo>
                        <a:pt x="1017" y="126"/>
                      </a:lnTo>
                      <a:lnTo>
                        <a:pt x="1008" y="124"/>
                      </a:lnTo>
                      <a:lnTo>
                        <a:pt x="1004" y="126"/>
                      </a:lnTo>
                      <a:lnTo>
                        <a:pt x="999" y="128"/>
                      </a:lnTo>
                      <a:lnTo>
                        <a:pt x="994" y="128"/>
                      </a:lnTo>
                      <a:lnTo>
                        <a:pt x="983" y="128"/>
                      </a:lnTo>
                      <a:lnTo>
                        <a:pt x="980" y="130"/>
                      </a:lnTo>
                      <a:lnTo>
                        <a:pt x="976" y="133"/>
                      </a:lnTo>
                      <a:lnTo>
                        <a:pt x="975" y="138"/>
                      </a:lnTo>
                      <a:lnTo>
                        <a:pt x="973" y="140"/>
                      </a:lnTo>
                      <a:lnTo>
                        <a:pt x="973" y="142"/>
                      </a:lnTo>
                      <a:lnTo>
                        <a:pt x="983" y="144"/>
                      </a:lnTo>
                      <a:lnTo>
                        <a:pt x="987" y="145"/>
                      </a:lnTo>
                      <a:lnTo>
                        <a:pt x="989" y="147"/>
                      </a:lnTo>
                      <a:lnTo>
                        <a:pt x="990" y="149"/>
                      </a:lnTo>
                      <a:lnTo>
                        <a:pt x="992" y="151"/>
                      </a:lnTo>
                      <a:lnTo>
                        <a:pt x="994" y="152"/>
                      </a:lnTo>
                      <a:lnTo>
                        <a:pt x="996" y="152"/>
                      </a:lnTo>
                      <a:lnTo>
                        <a:pt x="1004" y="154"/>
                      </a:lnTo>
                      <a:lnTo>
                        <a:pt x="1006" y="156"/>
                      </a:lnTo>
                      <a:lnTo>
                        <a:pt x="997" y="157"/>
                      </a:lnTo>
                      <a:lnTo>
                        <a:pt x="992" y="156"/>
                      </a:lnTo>
                      <a:lnTo>
                        <a:pt x="987" y="156"/>
                      </a:lnTo>
                      <a:lnTo>
                        <a:pt x="985" y="154"/>
                      </a:lnTo>
                      <a:lnTo>
                        <a:pt x="982" y="151"/>
                      </a:lnTo>
                      <a:lnTo>
                        <a:pt x="980" y="151"/>
                      </a:lnTo>
                      <a:lnTo>
                        <a:pt x="978" y="149"/>
                      </a:lnTo>
                      <a:lnTo>
                        <a:pt x="973" y="149"/>
                      </a:lnTo>
                      <a:lnTo>
                        <a:pt x="968" y="149"/>
                      </a:lnTo>
                      <a:lnTo>
                        <a:pt x="962" y="149"/>
                      </a:lnTo>
                      <a:lnTo>
                        <a:pt x="959" y="151"/>
                      </a:lnTo>
                      <a:lnTo>
                        <a:pt x="959" y="154"/>
                      </a:lnTo>
                      <a:lnTo>
                        <a:pt x="961" y="157"/>
                      </a:lnTo>
                      <a:lnTo>
                        <a:pt x="964" y="161"/>
                      </a:lnTo>
                      <a:lnTo>
                        <a:pt x="968" y="163"/>
                      </a:lnTo>
                      <a:lnTo>
                        <a:pt x="971" y="164"/>
                      </a:lnTo>
                      <a:lnTo>
                        <a:pt x="962" y="164"/>
                      </a:lnTo>
                      <a:lnTo>
                        <a:pt x="957" y="164"/>
                      </a:lnTo>
                      <a:lnTo>
                        <a:pt x="955" y="166"/>
                      </a:lnTo>
                      <a:lnTo>
                        <a:pt x="955" y="170"/>
                      </a:lnTo>
                      <a:lnTo>
                        <a:pt x="957" y="171"/>
                      </a:lnTo>
                      <a:lnTo>
                        <a:pt x="961" y="173"/>
                      </a:lnTo>
                      <a:lnTo>
                        <a:pt x="964" y="175"/>
                      </a:lnTo>
                      <a:lnTo>
                        <a:pt x="969" y="175"/>
                      </a:lnTo>
                      <a:lnTo>
                        <a:pt x="971" y="175"/>
                      </a:lnTo>
                      <a:lnTo>
                        <a:pt x="975" y="178"/>
                      </a:lnTo>
                      <a:lnTo>
                        <a:pt x="976" y="180"/>
                      </a:lnTo>
                      <a:lnTo>
                        <a:pt x="978" y="180"/>
                      </a:lnTo>
                      <a:lnTo>
                        <a:pt x="980" y="180"/>
                      </a:lnTo>
                      <a:lnTo>
                        <a:pt x="985" y="178"/>
                      </a:lnTo>
                      <a:lnTo>
                        <a:pt x="990" y="177"/>
                      </a:lnTo>
                      <a:lnTo>
                        <a:pt x="994" y="177"/>
                      </a:lnTo>
                      <a:lnTo>
                        <a:pt x="999" y="175"/>
                      </a:lnTo>
                      <a:lnTo>
                        <a:pt x="997" y="177"/>
                      </a:lnTo>
                      <a:lnTo>
                        <a:pt x="994" y="178"/>
                      </a:lnTo>
                      <a:lnTo>
                        <a:pt x="992" y="180"/>
                      </a:lnTo>
                      <a:lnTo>
                        <a:pt x="992" y="180"/>
                      </a:lnTo>
                      <a:lnTo>
                        <a:pt x="992" y="184"/>
                      </a:lnTo>
                      <a:lnTo>
                        <a:pt x="992" y="184"/>
                      </a:lnTo>
                      <a:lnTo>
                        <a:pt x="989" y="185"/>
                      </a:lnTo>
                      <a:close/>
                      <a:moveTo>
                        <a:pt x="1677" y="736"/>
                      </a:moveTo>
                      <a:lnTo>
                        <a:pt x="1678" y="732"/>
                      </a:lnTo>
                      <a:lnTo>
                        <a:pt x="1680" y="731"/>
                      </a:lnTo>
                      <a:lnTo>
                        <a:pt x="1678" y="731"/>
                      </a:lnTo>
                      <a:lnTo>
                        <a:pt x="1675" y="732"/>
                      </a:lnTo>
                      <a:lnTo>
                        <a:pt x="1671" y="736"/>
                      </a:lnTo>
                      <a:lnTo>
                        <a:pt x="1673" y="736"/>
                      </a:lnTo>
                      <a:lnTo>
                        <a:pt x="1677" y="736"/>
                      </a:lnTo>
                      <a:close/>
                      <a:moveTo>
                        <a:pt x="900" y="341"/>
                      </a:moveTo>
                      <a:lnTo>
                        <a:pt x="898" y="343"/>
                      </a:lnTo>
                      <a:lnTo>
                        <a:pt x="898" y="344"/>
                      </a:lnTo>
                      <a:lnTo>
                        <a:pt x="900" y="346"/>
                      </a:lnTo>
                      <a:lnTo>
                        <a:pt x="901" y="348"/>
                      </a:lnTo>
                      <a:lnTo>
                        <a:pt x="896" y="350"/>
                      </a:lnTo>
                      <a:lnTo>
                        <a:pt x="894" y="348"/>
                      </a:lnTo>
                      <a:lnTo>
                        <a:pt x="893" y="346"/>
                      </a:lnTo>
                      <a:lnTo>
                        <a:pt x="889" y="344"/>
                      </a:lnTo>
                      <a:lnTo>
                        <a:pt x="886" y="343"/>
                      </a:lnTo>
                      <a:lnTo>
                        <a:pt x="882" y="343"/>
                      </a:lnTo>
                      <a:lnTo>
                        <a:pt x="880" y="341"/>
                      </a:lnTo>
                      <a:lnTo>
                        <a:pt x="875" y="341"/>
                      </a:lnTo>
                      <a:lnTo>
                        <a:pt x="872" y="343"/>
                      </a:lnTo>
                      <a:lnTo>
                        <a:pt x="865" y="343"/>
                      </a:lnTo>
                      <a:lnTo>
                        <a:pt x="859" y="346"/>
                      </a:lnTo>
                      <a:lnTo>
                        <a:pt x="859" y="350"/>
                      </a:lnTo>
                      <a:lnTo>
                        <a:pt x="863" y="351"/>
                      </a:lnTo>
                      <a:lnTo>
                        <a:pt x="866" y="353"/>
                      </a:lnTo>
                      <a:lnTo>
                        <a:pt x="870" y="353"/>
                      </a:lnTo>
                      <a:lnTo>
                        <a:pt x="873" y="353"/>
                      </a:lnTo>
                      <a:lnTo>
                        <a:pt x="877" y="355"/>
                      </a:lnTo>
                      <a:lnTo>
                        <a:pt x="877" y="357"/>
                      </a:lnTo>
                      <a:lnTo>
                        <a:pt x="872" y="358"/>
                      </a:lnTo>
                      <a:lnTo>
                        <a:pt x="868" y="358"/>
                      </a:lnTo>
                      <a:lnTo>
                        <a:pt x="868" y="360"/>
                      </a:lnTo>
                      <a:lnTo>
                        <a:pt x="870" y="360"/>
                      </a:lnTo>
                      <a:lnTo>
                        <a:pt x="873" y="362"/>
                      </a:lnTo>
                      <a:lnTo>
                        <a:pt x="887" y="364"/>
                      </a:lnTo>
                      <a:lnTo>
                        <a:pt x="880" y="364"/>
                      </a:lnTo>
                      <a:lnTo>
                        <a:pt x="877" y="365"/>
                      </a:lnTo>
                      <a:lnTo>
                        <a:pt x="875" y="365"/>
                      </a:lnTo>
                      <a:lnTo>
                        <a:pt x="875" y="369"/>
                      </a:lnTo>
                      <a:lnTo>
                        <a:pt x="879" y="371"/>
                      </a:lnTo>
                      <a:lnTo>
                        <a:pt x="882" y="372"/>
                      </a:lnTo>
                      <a:lnTo>
                        <a:pt x="884" y="374"/>
                      </a:lnTo>
                      <a:lnTo>
                        <a:pt x="879" y="376"/>
                      </a:lnTo>
                      <a:lnTo>
                        <a:pt x="872" y="371"/>
                      </a:lnTo>
                      <a:lnTo>
                        <a:pt x="859" y="362"/>
                      </a:lnTo>
                      <a:lnTo>
                        <a:pt x="854" y="358"/>
                      </a:lnTo>
                      <a:lnTo>
                        <a:pt x="851" y="353"/>
                      </a:lnTo>
                      <a:lnTo>
                        <a:pt x="845" y="350"/>
                      </a:lnTo>
                      <a:lnTo>
                        <a:pt x="838" y="350"/>
                      </a:lnTo>
                      <a:lnTo>
                        <a:pt x="837" y="350"/>
                      </a:lnTo>
                      <a:lnTo>
                        <a:pt x="833" y="353"/>
                      </a:lnTo>
                      <a:lnTo>
                        <a:pt x="831" y="355"/>
                      </a:lnTo>
                      <a:lnTo>
                        <a:pt x="831" y="357"/>
                      </a:lnTo>
                      <a:lnTo>
                        <a:pt x="833" y="360"/>
                      </a:lnTo>
                      <a:lnTo>
                        <a:pt x="838" y="360"/>
                      </a:lnTo>
                      <a:lnTo>
                        <a:pt x="842" y="360"/>
                      </a:lnTo>
                      <a:lnTo>
                        <a:pt x="844" y="360"/>
                      </a:lnTo>
                      <a:lnTo>
                        <a:pt x="838" y="364"/>
                      </a:lnTo>
                      <a:lnTo>
                        <a:pt x="838" y="367"/>
                      </a:lnTo>
                      <a:lnTo>
                        <a:pt x="840" y="371"/>
                      </a:lnTo>
                      <a:lnTo>
                        <a:pt x="845" y="372"/>
                      </a:lnTo>
                      <a:lnTo>
                        <a:pt x="845" y="374"/>
                      </a:lnTo>
                      <a:lnTo>
                        <a:pt x="845" y="378"/>
                      </a:lnTo>
                      <a:lnTo>
                        <a:pt x="845" y="379"/>
                      </a:lnTo>
                      <a:lnTo>
                        <a:pt x="847" y="381"/>
                      </a:lnTo>
                      <a:lnTo>
                        <a:pt x="851" y="383"/>
                      </a:lnTo>
                      <a:lnTo>
                        <a:pt x="852" y="383"/>
                      </a:lnTo>
                      <a:lnTo>
                        <a:pt x="854" y="383"/>
                      </a:lnTo>
                      <a:lnTo>
                        <a:pt x="856" y="383"/>
                      </a:lnTo>
                      <a:lnTo>
                        <a:pt x="849" y="385"/>
                      </a:lnTo>
                      <a:lnTo>
                        <a:pt x="835" y="378"/>
                      </a:lnTo>
                      <a:lnTo>
                        <a:pt x="828" y="383"/>
                      </a:lnTo>
                      <a:lnTo>
                        <a:pt x="828" y="383"/>
                      </a:lnTo>
                      <a:lnTo>
                        <a:pt x="828" y="385"/>
                      </a:lnTo>
                      <a:lnTo>
                        <a:pt x="826" y="386"/>
                      </a:lnTo>
                      <a:lnTo>
                        <a:pt x="826" y="386"/>
                      </a:lnTo>
                      <a:lnTo>
                        <a:pt x="824" y="388"/>
                      </a:lnTo>
                      <a:lnTo>
                        <a:pt x="819" y="392"/>
                      </a:lnTo>
                      <a:lnTo>
                        <a:pt x="817" y="393"/>
                      </a:lnTo>
                      <a:lnTo>
                        <a:pt x="817" y="397"/>
                      </a:lnTo>
                      <a:lnTo>
                        <a:pt x="819" y="399"/>
                      </a:lnTo>
                      <a:lnTo>
                        <a:pt x="821" y="400"/>
                      </a:lnTo>
                      <a:lnTo>
                        <a:pt x="824" y="400"/>
                      </a:lnTo>
                      <a:lnTo>
                        <a:pt x="830" y="400"/>
                      </a:lnTo>
                      <a:lnTo>
                        <a:pt x="840" y="397"/>
                      </a:lnTo>
                      <a:lnTo>
                        <a:pt x="845" y="395"/>
                      </a:lnTo>
                      <a:lnTo>
                        <a:pt x="854" y="395"/>
                      </a:lnTo>
                      <a:lnTo>
                        <a:pt x="886" y="390"/>
                      </a:lnTo>
                      <a:lnTo>
                        <a:pt x="894" y="388"/>
                      </a:lnTo>
                      <a:lnTo>
                        <a:pt x="893" y="390"/>
                      </a:lnTo>
                      <a:lnTo>
                        <a:pt x="889" y="392"/>
                      </a:lnTo>
                      <a:lnTo>
                        <a:pt x="886" y="393"/>
                      </a:lnTo>
                      <a:lnTo>
                        <a:pt x="882" y="393"/>
                      </a:lnTo>
                      <a:lnTo>
                        <a:pt x="879" y="397"/>
                      </a:lnTo>
                      <a:lnTo>
                        <a:pt x="873" y="402"/>
                      </a:lnTo>
                      <a:lnTo>
                        <a:pt x="872" y="404"/>
                      </a:lnTo>
                      <a:lnTo>
                        <a:pt x="868" y="406"/>
                      </a:lnTo>
                      <a:lnTo>
                        <a:pt x="865" y="406"/>
                      </a:lnTo>
                      <a:lnTo>
                        <a:pt x="861" y="407"/>
                      </a:lnTo>
                      <a:lnTo>
                        <a:pt x="861" y="411"/>
                      </a:lnTo>
                      <a:lnTo>
                        <a:pt x="863" y="413"/>
                      </a:lnTo>
                      <a:lnTo>
                        <a:pt x="866" y="414"/>
                      </a:lnTo>
                      <a:lnTo>
                        <a:pt x="873" y="418"/>
                      </a:lnTo>
                      <a:lnTo>
                        <a:pt x="872" y="418"/>
                      </a:lnTo>
                      <a:lnTo>
                        <a:pt x="870" y="418"/>
                      </a:lnTo>
                      <a:lnTo>
                        <a:pt x="868" y="420"/>
                      </a:lnTo>
                      <a:lnTo>
                        <a:pt x="866" y="421"/>
                      </a:lnTo>
                      <a:lnTo>
                        <a:pt x="866" y="423"/>
                      </a:lnTo>
                      <a:lnTo>
                        <a:pt x="868" y="425"/>
                      </a:lnTo>
                      <a:lnTo>
                        <a:pt x="868" y="427"/>
                      </a:lnTo>
                      <a:lnTo>
                        <a:pt x="870" y="428"/>
                      </a:lnTo>
                      <a:lnTo>
                        <a:pt x="873" y="430"/>
                      </a:lnTo>
                      <a:lnTo>
                        <a:pt x="877" y="432"/>
                      </a:lnTo>
                      <a:lnTo>
                        <a:pt x="882" y="432"/>
                      </a:lnTo>
                      <a:lnTo>
                        <a:pt x="886" y="432"/>
                      </a:lnTo>
                      <a:lnTo>
                        <a:pt x="887" y="432"/>
                      </a:lnTo>
                      <a:lnTo>
                        <a:pt x="889" y="430"/>
                      </a:lnTo>
                      <a:lnTo>
                        <a:pt x="891" y="430"/>
                      </a:lnTo>
                      <a:lnTo>
                        <a:pt x="893" y="430"/>
                      </a:lnTo>
                      <a:lnTo>
                        <a:pt x="894" y="430"/>
                      </a:lnTo>
                      <a:lnTo>
                        <a:pt x="898" y="430"/>
                      </a:lnTo>
                      <a:lnTo>
                        <a:pt x="903" y="430"/>
                      </a:lnTo>
                      <a:lnTo>
                        <a:pt x="912" y="430"/>
                      </a:lnTo>
                      <a:lnTo>
                        <a:pt x="915" y="430"/>
                      </a:lnTo>
                      <a:lnTo>
                        <a:pt x="919" y="428"/>
                      </a:lnTo>
                      <a:lnTo>
                        <a:pt x="921" y="427"/>
                      </a:lnTo>
                      <a:lnTo>
                        <a:pt x="919" y="425"/>
                      </a:lnTo>
                      <a:lnTo>
                        <a:pt x="917" y="421"/>
                      </a:lnTo>
                      <a:lnTo>
                        <a:pt x="919" y="421"/>
                      </a:lnTo>
                      <a:lnTo>
                        <a:pt x="921" y="423"/>
                      </a:lnTo>
                      <a:lnTo>
                        <a:pt x="924" y="425"/>
                      </a:lnTo>
                      <a:lnTo>
                        <a:pt x="926" y="423"/>
                      </a:lnTo>
                      <a:lnTo>
                        <a:pt x="928" y="421"/>
                      </a:lnTo>
                      <a:lnTo>
                        <a:pt x="926" y="420"/>
                      </a:lnTo>
                      <a:lnTo>
                        <a:pt x="924" y="418"/>
                      </a:lnTo>
                      <a:lnTo>
                        <a:pt x="922" y="416"/>
                      </a:lnTo>
                      <a:lnTo>
                        <a:pt x="922" y="414"/>
                      </a:lnTo>
                      <a:lnTo>
                        <a:pt x="922" y="413"/>
                      </a:lnTo>
                      <a:lnTo>
                        <a:pt x="922" y="409"/>
                      </a:lnTo>
                      <a:lnTo>
                        <a:pt x="922" y="407"/>
                      </a:lnTo>
                      <a:lnTo>
                        <a:pt x="922" y="406"/>
                      </a:lnTo>
                      <a:lnTo>
                        <a:pt x="924" y="404"/>
                      </a:lnTo>
                      <a:lnTo>
                        <a:pt x="926" y="402"/>
                      </a:lnTo>
                      <a:lnTo>
                        <a:pt x="928" y="402"/>
                      </a:lnTo>
                      <a:lnTo>
                        <a:pt x="929" y="402"/>
                      </a:lnTo>
                      <a:lnTo>
                        <a:pt x="934" y="407"/>
                      </a:lnTo>
                      <a:lnTo>
                        <a:pt x="933" y="393"/>
                      </a:lnTo>
                      <a:lnTo>
                        <a:pt x="931" y="390"/>
                      </a:lnTo>
                      <a:lnTo>
                        <a:pt x="929" y="390"/>
                      </a:lnTo>
                      <a:lnTo>
                        <a:pt x="928" y="388"/>
                      </a:lnTo>
                      <a:lnTo>
                        <a:pt x="924" y="386"/>
                      </a:lnTo>
                      <a:lnTo>
                        <a:pt x="922" y="385"/>
                      </a:lnTo>
                      <a:lnTo>
                        <a:pt x="924" y="385"/>
                      </a:lnTo>
                      <a:lnTo>
                        <a:pt x="926" y="383"/>
                      </a:lnTo>
                      <a:lnTo>
                        <a:pt x="928" y="379"/>
                      </a:lnTo>
                      <a:lnTo>
                        <a:pt x="928" y="378"/>
                      </a:lnTo>
                      <a:lnTo>
                        <a:pt x="928" y="372"/>
                      </a:lnTo>
                      <a:lnTo>
                        <a:pt x="928" y="369"/>
                      </a:lnTo>
                      <a:lnTo>
                        <a:pt x="929" y="364"/>
                      </a:lnTo>
                      <a:lnTo>
                        <a:pt x="929" y="362"/>
                      </a:lnTo>
                      <a:lnTo>
                        <a:pt x="928" y="360"/>
                      </a:lnTo>
                      <a:lnTo>
                        <a:pt x="928" y="358"/>
                      </a:lnTo>
                      <a:lnTo>
                        <a:pt x="926" y="357"/>
                      </a:lnTo>
                      <a:lnTo>
                        <a:pt x="926" y="357"/>
                      </a:lnTo>
                      <a:lnTo>
                        <a:pt x="926" y="355"/>
                      </a:lnTo>
                      <a:lnTo>
                        <a:pt x="926" y="353"/>
                      </a:lnTo>
                      <a:lnTo>
                        <a:pt x="926" y="351"/>
                      </a:lnTo>
                      <a:lnTo>
                        <a:pt x="926" y="351"/>
                      </a:lnTo>
                      <a:lnTo>
                        <a:pt x="926" y="348"/>
                      </a:lnTo>
                      <a:lnTo>
                        <a:pt x="924" y="346"/>
                      </a:lnTo>
                      <a:lnTo>
                        <a:pt x="922" y="346"/>
                      </a:lnTo>
                      <a:lnTo>
                        <a:pt x="921" y="346"/>
                      </a:lnTo>
                      <a:lnTo>
                        <a:pt x="917" y="344"/>
                      </a:lnTo>
                      <a:lnTo>
                        <a:pt x="908" y="339"/>
                      </a:lnTo>
                      <a:lnTo>
                        <a:pt x="907" y="339"/>
                      </a:lnTo>
                      <a:lnTo>
                        <a:pt x="903" y="339"/>
                      </a:lnTo>
                      <a:lnTo>
                        <a:pt x="901" y="339"/>
                      </a:lnTo>
                      <a:lnTo>
                        <a:pt x="900" y="341"/>
                      </a:lnTo>
                      <a:close/>
                      <a:moveTo>
                        <a:pt x="880" y="194"/>
                      </a:moveTo>
                      <a:lnTo>
                        <a:pt x="886" y="194"/>
                      </a:lnTo>
                      <a:lnTo>
                        <a:pt x="891" y="196"/>
                      </a:lnTo>
                      <a:lnTo>
                        <a:pt x="893" y="199"/>
                      </a:lnTo>
                      <a:lnTo>
                        <a:pt x="893" y="199"/>
                      </a:lnTo>
                      <a:lnTo>
                        <a:pt x="894" y="201"/>
                      </a:lnTo>
                      <a:lnTo>
                        <a:pt x="898" y="203"/>
                      </a:lnTo>
                      <a:lnTo>
                        <a:pt x="900" y="203"/>
                      </a:lnTo>
                      <a:lnTo>
                        <a:pt x="901" y="201"/>
                      </a:lnTo>
                      <a:lnTo>
                        <a:pt x="903" y="199"/>
                      </a:lnTo>
                      <a:lnTo>
                        <a:pt x="903" y="196"/>
                      </a:lnTo>
                      <a:lnTo>
                        <a:pt x="903" y="191"/>
                      </a:lnTo>
                      <a:lnTo>
                        <a:pt x="901" y="185"/>
                      </a:lnTo>
                      <a:lnTo>
                        <a:pt x="898" y="182"/>
                      </a:lnTo>
                      <a:lnTo>
                        <a:pt x="891" y="180"/>
                      </a:lnTo>
                      <a:lnTo>
                        <a:pt x="886" y="180"/>
                      </a:lnTo>
                      <a:lnTo>
                        <a:pt x="880" y="180"/>
                      </a:lnTo>
                      <a:lnTo>
                        <a:pt x="877" y="182"/>
                      </a:lnTo>
                      <a:lnTo>
                        <a:pt x="873" y="187"/>
                      </a:lnTo>
                      <a:lnTo>
                        <a:pt x="875" y="194"/>
                      </a:lnTo>
                      <a:lnTo>
                        <a:pt x="880" y="194"/>
                      </a:lnTo>
                      <a:close/>
                      <a:moveTo>
                        <a:pt x="1561" y="650"/>
                      </a:moveTo>
                      <a:lnTo>
                        <a:pt x="1558" y="650"/>
                      </a:lnTo>
                      <a:lnTo>
                        <a:pt x="1556" y="652"/>
                      </a:lnTo>
                      <a:lnTo>
                        <a:pt x="1558" y="654"/>
                      </a:lnTo>
                      <a:lnTo>
                        <a:pt x="1561" y="654"/>
                      </a:lnTo>
                      <a:lnTo>
                        <a:pt x="1563" y="654"/>
                      </a:lnTo>
                      <a:lnTo>
                        <a:pt x="1567" y="652"/>
                      </a:lnTo>
                      <a:lnTo>
                        <a:pt x="1563" y="650"/>
                      </a:lnTo>
                      <a:lnTo>
                        <a:pt x="1561" y="650"/>
                      </a:lnTo>
                      <a:close/>
                      <a:moveTo>
                        <a:pt x="760" y="316"/>
                      </a:moveTo>
                      <a:lnTo>
                        <a:pt x="765" y="318"/>
                      </a:lnTo>
                      <a:lnTo>
                        <a:pt x="770" y="322"/>
                      </a:lnTo>
                      <a:lnTo>
                        <a:pt x="776" y="322"/>
                      </a:lnTo>
                      <a:lnTo>
                        <a:pt x="779" y="322"/>
                      </a:lnTo>
                      <a:lnTo>
                        <a:pt x="783" y="318"/>
                      </a:lnTo>
                      <a:lnTo>
                        <a:pt x="779" y="315"/>
                      </a:lnTo>
                      <a:lnTo>
                        <a:pt x="772" y="311"/>
                      </a:lnTo>
                      <a:lnTo>
                        <a:pt x="770" y="311"/>
                      </a:lnTo>
                      <a:lnTo>
                        <a:pt x="769" y="308"/>
                      </a:lnTo>
                      <a:lnTo>
                        <a:pt x="767" y="306"/>
                      </a:lnTo>
                      <a:lnTo>
                        <a:pt x="765" y="304"/>
                      </a:lnTo>
                      <a:lnTo>
                        <a:pt x="760" y="303"/>
                      </a:lnTo>
                      <a:lnTo>
                        <a:pt x="758" y="301"/>
                      </a:lnTo>
                      <a:lnTo>
                        <a:pt x="751" y="299"/>
                      </a:lnTo>
                      <a:lnTo>
                        <a:pt x="749" y="301"/>
                      </a:lnTo>
                      <a:lnTo>
                        <a:pt x="748" y="301"/>
                      </a:lnTo>
                      <a:lnTo>
                        <a:pt x="756" y="313"/>
                      </a:lnTo>
                      <a:lnTo>
                        <a:pt x="760" y="316"/>
                      </a:lnTo>
                      <a:close/>
                      <a:moveTo>
                        <a:pt x="248" y="1208"/>
                      </a:moveTo>
                      <a:lnTo>
                        <a:pt x="246" y="1206"/>
                      </a:lnTo>
                      <a:lnTo>
                        <a:pt x="246" y="1206"/>
                      </a:lnTo>
                      <a:lnTo>
                        <a:pt x="246" y="1208"/>
                      </a:lnTo>
                      <a:lnTo>
                        <a:pt x="246" y="1209"/>
                      </a:lnTo>
                      <a:lnTo>
                        <a:pt x="248" y="1211"/>
                      </a:lnTo>
                      <a:lnTo>
                        <a:pt x="250" y="1211"/>
                      </a:lnTo>
                      <a:lnTo>
                        <a:pt x="250" y="1209"/>
                      </a:lnTo>
                      <a:lnTo>
                        <a:pt x="248" y="1208"/>
                      </a:lnTo>
                      <a:close/>
                      <a:moveTo>
                        <a:pt x="599" y="273"/>
                      </a:moveTo>
                      <a:lnTo>
                        <a:pt x="608" y="271"/>
                      </a:lnTo>
                      <a:lnTo>
                        <a:pt x="613" y="271"/>
                      </a:lnTo>
                      <a:lnTo>
                        <a:pt x="618" y="271"/>
                      </a:lnTo>
                      <a:lnTo>
                        <a:pt x="627" y="275"/>
                      </a:lnTo>
                      <a:lnTo>
                        <a:pt x="629" y="275"/>
                      </a:lnTo>
                      <a:lnTo>
                        <a:pt x="631" y="273"/>
                      </a:lnTo>
                      <a:lnTo>
                        <a:pt x="634" y="273"/>
                      </a:lnTo>
                      <a:lnTo>
                        <a:pt x="636" y="269"/>
                      </a:lnTo>
                      <a:lnTo>
                        <a:pt x="638" y="269"/>
                      </a:lnTo>
                      <a:lnTo>
                        <a:pt x="641" y="269"/>
                      </a:lnTo>
                      <a:lnTo>
                        <a:pt x="645" y="271"/>
                      </a:lnTo>
                      <a:lnTo>
                        <a:pt x="646" y="273"/>
                      </a:lnTo>
                      <a:lnTo>
                        <a:pt x="650" y="273"/>
                      </a:lnTo>
                      <a:lnTo>
                        <a:pt x="653" y="273"/>
                      </a:lnTo>
                      <a:lnTo>
                        <a:pt x="659" y="273"/>
                      </a:lnTo>
                      <a:lnTo>
                        <a:pt x="669" y="273"/>
                      </a:lnTo>
                      <a:lnTo>
                        <a:pt x="674" y="271"/>
                      </a:lnTo>
                      <a:lnTo>
                        <a:pt x="678" y="268"/>
                      </a:lnTo>
                      <a:lnTo>
                        <a:pt x="674" y="262"/>
                      </a:lnTo>
                      <a:lnTo>
                        <a:pt x="667" y="257"/>
                      </a:lnTo>
                      <a:lnTo>
                        <a:pt x="659" y="254"/>
                      </a:lnTo>
                      <a:lnTo>
                        <a:pt x="652" y="252"/>
                      </a:lnTo>
                      <a:lnTo>
                        <a:pt x="648" y="252"/>
                      </a:lnTo>
                      <a:lnTo>
                        <a:pt x="643" y="254"/>
                      </a:lnTo>
                      <a:lnTo>
                        <a:pt x="638" y="255"/>
                      </a:lnTo>
                      <a:lnTo>
                        <a:pt x="629" y="259"/>
                      </a:lnTo>
                      <a:lnTo>
                        <a:pt x="625" y="261"/>
                      </a:lnTo>
                      <a:lnTo>
                        <a:pt x="606" y="264"/>
                      </a:lnTo>
                      <a:lnTo>
                        <a:pt x="601" y="266"/>
                      </a:lnTo>
                      <a:lnTo>
                        <a:pt x="596" y="268"/>
                      </a:lnTo>
                      <a:lnTo>
                        <a:pt x="594" y="271"/>
                      </a:lnTo>
                      <a:lnTo>
                        <a:pt x="594" y="273"/>
                      </a:lnTo>
                      <a:lnTo>
                        <a:pt x="599" y="273"/>
                      </a:lnTo>
                      <a:close/>
                      <a:moveTo>
                        <a:pt x="1322" y="367"/>
                      </a:moveTo>
                      <a:lnTo>
                        <a:pt x="1317" y="371"/>
                      </a:lnTo>
                      <a:lnTo>
                        <a:pt x="1312" y="376"/>
                      </a:lnTo>
                      <a:lnTo>
                        <a:pt x="1312" y="378"/>
                      </a:lnTo>
                      <a:lnTo>
                        <a:pt x="1312" y="379"/>
                      </a:lnTo>
                      <a:lnTo>
                        <a:pt x="1313" y="381"/>
                      </a:lnTo>
                      <a:lnTo>
                        <a:pt x="1317" y="381"/>
                      </a:lnTo>
                      <a:lnTo>
                        <a:pt x="1322" y="379"/>
                      </a:lnTo>
                      <a:lnTo>
                        <a:pt x="1324" y="379"/>
                      </a:lnTo>
                      <a:lnTo>
                        <a:pt x="1326" y="376"/>
                      </a:lnTo>
                      <a:lnTo>
                        <a:pt x="1326" y="372"/>
                      </a:lnTo>
                      <a:lnTo>
                        <a:pt x="1327" y="369"/>
                      </a:lnTo>
                      <a:lnTo>
                        <a:pt x="1329" y="365"/>
                      </a:lnTo>
                      <a:lnTo>
                        <a:pt x="1326" y="365"/>
                      </a:lnTo>
                      <a:lnTo>
                        <a:pt x="1322" y="367"/>
                      </a:lnTo>
                      <a:close/>
                      <a:moveTo>
                        <a:pt x="1095" y="455"/>
                      </a:moveTo>
                      <a:lnTo>
                        <a:pt x="1100" y="455"/>
                      </a:lnTo>
                      <a:lnTo>
                        <a:pt x="1102" y="453"/>
                      </a:lnTo>
                      <a:lnTo>
                        <a:pt x="1104" y="453"/>
                      </a:lnTo>
                      <a:lnTo>
                        <a:pt x="1106" y="451"/>
                      </a:lnTo>
                      <a:lnTo>
                        <a:pt x="1107" y="451"/>
                      </a:lnTo>
                      <a:lnTo>
                        <a:pt x="1107" y="449"/>
                      </a:lnTo>
                      <a:lnTo>
                        <a:pt x="1107" y="446"/>
                      </a:lnTo>
                      <a:lnTo>
                        <a:pt x="1107" y="444"/>
                      </a:lnTo>
                      <a:lnTo>
                        <a:pt x="1109" y="446"/>
                      </a:lnTo>
                      <a:lnTo>
                        <a:pt x="1111" y="444"/>
                      </a:lnTo>
                      <a:lnTo>
                        <a:pt x="1113" y="444"/>
                      </a:lnTo>
                      <a:lnTo>
                        <a:pt x="1113" y="442"/>
                      </a:lnTo>
                      <a:lnTo>
                        <a:pt x="1113" y="444"/>
                      </a:lnTo>
                      <a:lnTo>
                        <a:pt x="1114" y="444"/>
                      </a:lnTo>
                      <a:lnTo>
                        <a:pt x="1114" y="448"/>
                      </a:lnTo>
                      <a:lnTo>
                        <a:pt x="1116" y="446"/>
                      </a:lnTo>
                      <a:lnTo>
                        <a:pt x="1118" y="444"/>
                      </a:lnTo>
                      <a:lnTo>
                        <a:pt x="1120" y="442"/>
                      </a:lnTo>
                      <a:lnTo>
                        <a:pt x="1121" y="441"/>
                      </a:lnTo>
                      <a:lnTo>
                        <a:pt x="1123" y="441"/>
                      </a:lnTo>
                      <a:lnTo>
                        <a:pt x="1125" y="441"/>
                      </a:lnTo>
                      <a:lnTo>
                        <a:pt x="1125" y="442"/>
                      </a:lnTo>
                      <a:lnTo>
                        <a:pt x="1127" y="444"/>
                      </a:lnTo>
                      <a:lnTo>
                        <a:pt x="1125" y="448"/>
                      </a:lnTo>
                      <a:lnTo>
                        <a:pt x="1123" y="451"/>
                      </a:lnTo>
                      <a:lnTo>
                        <a:pt x="1121" y="453"/>
                      </a:lnTo>
                      <a:lnTo>
                        <a:pt x="1123" y="456"/>
                      </a:lnTo>
                      <a:lnTo>
                        <a:pt x="1127" y="458"/>
                      </a:lnTo>
                      <a:lnTo>
                        <a:pt x="1139" y="458"/>
                      </a:lnTo>
                      <a:lnTo>
                        <a:pt x="1142" y="458"/>
                      </a:lnTo>
                      <a:lnTo>
                        <a:pt x="1149" y="456"/>
                      </a:lnTo>
                      <a:lnTo>
                        <a:pt x="1158" y="458"/>
                      </a:lnTo>
                      <a:lnTo>
                        <a:pt x="1160" y="458"/>
                      </a:lnTo>
                      <a:lnTo>
                        <a:pt x="1162" y="456"/>
                      </a:lnTo>
                      <a:lnTo>
                        <a:pt x="1162" y="456"/>
                      </a:lnTo>
                      <a:lnTo>
                        <a:pt x="1162" y="455"/>
                      </a:lnTo>
                      <a:lnTo>
                        <a:pt x="1160" y="455"/>
                      </a:lnTo>
                      <a:lnTo>
                        <a:pt x="1162" y="455"/>
                      </a:lnTo>
                      <a:lnTo>
                        <a:pt x="1165" y="455"/>
                      </a:lnTo>
                      <a:lnTo>
                        <a:pt x="1167" y="455"/>
                      </a:lnTo>
                      <a:lnTo>
                        <a:pt x="1168" y="455"/>
                      </a:lnTo>
                      <a:lnTo>
                        <a:pt x="1170" y="455"/>
                      </a:lnTo>
                      <a:lnTo>
                        <a:pt x="1172" y="455"/>
                      </a:lnTo>
                      <a:lnTo>
                        <a:pt x="1177" y="456"/>
                      </a:lnTo>
                      <a:lnTo>
                        <a:pt x="1181" y="456"/>
                      </a:lnTo>
                      <a:lnTo>
                        <a:pt x="1184" y="455"/>
                      </a:lnTo>
                      <a:lnTo>
                        <a:pt x="1188" y="453"/>
                      </a:lnTo>
                      <a:lnTo>
                        <a:pt x="1188" y="453"/>
                      </a:lnTo>
                      <a:lnTo>
                        <a:pt x="1188" y="453"/>
                      </a:lnTo>
                      <a:lnTo>
                        <a:pt x="1188" y="453"/>
                      </a:lnTo>
                      <a:lnTo>
                        <a:pt x="1189" y="453"/>
                      </a:lnTo>
                      <a:lnTo>
                        <a:pt x="1195" y="455"/>
                      </a:lnTo>
                      <a:lnTo>
                        <a:pt x="1196" y="455"/>
                      </a:lnTo>
                      <a:lnTo>
                        <a:pt x="1196" y="451"/>
                      </a:lnTo>
                      <a:lnTo>
                        <a:pt x="1203" y="455"/>
                      </a:lnTo>
                      <a:lnTo>
                        <a:pt x="1207" y="456"/>
                      </a:lnTo>
                      <a:lnTo>
                        <a:pt x="1210" y="456"/>
                      </a:lnTo>
                      <a:lnTo>
                        <a:pt x="1214" y="456"/>
                      </a:lnTo>
                      <a:lnTo>
                        <a:pt x="1219" y="455"/>
                      </a:lnTo>
                      <a:lnTo>
                        <a:pt x="1226" y="455"/>
                      </a:lnTo>
                      <a:lnTo>
                        <a:pt x="1228" y="453"/>
                      </a:lnTo>
                      <a:lnTo>
                        <a:pt x="1230" y="451"/>
                      </a:lnTo>
                      <a:lnTo>
                        <a:pt x="1231" y="448"/>
                      </a:lnTo>
                      <a:lnTo>
                        <a:pt x="1233" y="444"/>
                      </a:lnTo>
                      <a:lnTo>
                        <a:pt x="1231" y="442"/>
                      </a:lnTo>
                      <a:lnTo>
                        <a:pt x="1231" y="441"/>
                      </a:lnTo>
                      <a:lnTo>
                        <a:pt x="1230" y="441"/>
                      </a:lnTo>
                      <a:lnTo>
                        <a:pt x="1228" y="439"/>
                      </a:lnTo>
                      <a:lnTo>
                        <a:pt x="1228" y="437"/>
                      </a:lnTo>
                      <a:lnTo>
                        <a:pt x="1230" y="437"/>
                      </a:lnTo>
                      <a:lnTo>
                        <a:pt x="1233" y="439"/>
                      </a:lnTo>
                      <a:lnTo>
                        <a:pt x="1235" y="439"/>
                      </a:lnTo>
                      <a:lnTo>
                        <a:pt x="1237" y="441"/>
                      </a:lnTo>
                      <a:lnTo>
                        <a:pt x="1237" y="442"/>
                      </a:lnTo>
                      <a:lnTo>
                        <a:pt x="1238" y="442"/>
                      </a:lnTo>
                      <a:lnTo>
                        <a:pt x="1238" y="444"/>
                      </a:lnTo>
                      <a:lnTo>
                        <a:pt x="1238" y="446"/>
                      </a:lnTo>
                      <a:lnTo>
                        <a:pt x="1238" y="446"/>
                      </a:lnTo>
                      <a:lnTo>
                        <a:pt x="1238" y="449"/>
                      </a:lnTo>
                      <a:lnTo>
                        <a:pt x="1238" y="451"/>
                      </a:lnTo>
                      <a:lnTo>
                        <a:pt x="1242" y="453"/>
                      </a:lnTo>
                      <a:lnTo>
                        <a:pt x="1245" y="455"/>
                      </a:lnTo>
                      <a:lnTo>
                        <a:pt x="1252" y="455"/>
                      </a:lnTo>
                      <a:lnTo>
                        <a:pt x="1256" y="456"/>
                      </a:lnTo>
                      <a:lnTo>
                        <a:pt x="1259" y="456"/>
                      </a:lnTo>
                      <a:lnTo>
                        <a:pt x="1263" y="458"/>
                      </a:lnTo>
                      <a:lnTo>
                        <a:pt x="1266" y="458"/>
                      </a:lnTo>
                      <a:lnTo>
                        <a:pt x="1270" y="456"/>
                      </a:lnTo>
                      <a:lnTo>
                        <a:pt x="1277" y="455"/>
                      </a:lnTo>
                      <a:lnTo>
                        <a:pt x="1280" y="453"/>
                      </a:lnTo>
                      <a:lnTo>
                        <a:pt x="1291" y="453"/>
                      </a:lnTo>
                      <a:lnTo>
                        <a:pt x="1296" y="453"/>
                      </a:lnTo>
                      <a:lnTo>
                        <a:pt x="1299" y="449"/>
                      </a:lnTo>
                      <a:lnTo>
                        <a:pt x="1299" y="449"/>
                      </a:lnTo>
                      <a:lnTo>
                        <a:pt x="1301" y="444"/>
                      </a:lnTo>
                      <a:lnTo>
                        <a:pt x="1301" y="442"/>
                      </a:lnTo>
                      <a:lnTo>
                        <a:pt x="1299" y="441"/>
                      </a:lnTo>
                      <a:lnTo>
                        <a:pt x="1298" y="439"/>
                      </a:lnTo>
                      <a:lnTo>
                        <a:pt x="1298" y="437"/>
                      </a:lnTo>
                      <a:lnTo>
                        <a:pt x="1299" y="437"/>
                      </a:lnTo>
                      <a:lnTo>
                        <a:pt x="1301" y="439"/>
                      </a:lnTo>
                      <a:lnTo>
                        <a:pt x="1303" y="439"/>
                      </a:lnTo>
                      <a:lnTo>
                        <a:pt x="1306" y="441"/>
                      </a:lnTo>
                      <a:lnTo>
                        <a:pt x="1308" y="441"/>
                      </a:lnTo>
                      <a:lnTo>
                        <a:pt x="1312" y="439"/>
                      </a:lnTo>
                      <a:lnTo>
                        <a:pt x="1313" y="439"/>
                      </a:lnTo>
                      <a:lnTo>
                        <a:pt x="1317" y="437"/>
                      </a:lnTo>
                      <a:lnTo>
                        <a:pt x="1317" y="432"/>
                      </a:lnTo>
                      <a:lnTo>
                        <a:pt x="1312" y="432"/>
                      </a:lnTo>
                      <a:lnTo>
                        <a:pt x="1299" y="432"/>
                      </a:lnTo>
                      <a:lnTo>
                        <a:pt x="1298" y="428"/>
                      </a:lnTo>
                      <a:lnTo>
                        <a:pt x="1301" y="427"/>
                      </a:lnTo>
                      <a:lnTo>
                        <a:pt x="1312" y="421"/>
                      </a:lnTo>
                      <a:lnTo>
                        <a:pt x="1313" y="418"/>
                      </a:lnTo>
                      <a:lnTo>
                        <a:pt x="1315" y="413"/>
                      </a:lnTo>
                      <a:lnTo>
                        <a:pt x="1313" y="407"/>
                      </a:lnTo>
                      <a:lnTo>
                        <a:pt x="1310" y="404"/>
                      </a:lnTo>
                      <a:lnTo>
                        <a:pt x="1305" y="404"/>
                      </a:lnTo>
                      <a:lnTo>
                        <a:pt x="1301" y="404"/>
                      </a:lnTo>
                      <a:lnTo>
                        <a:pt x="1298" y="402"/>
                      </a:lnTo>
                      <a:lnTo>
                        <a:pt x="1301" y="399"/>
                      </a:lnTo>
                      <a:lnTo>
                        <a:pt x="1301" y="395"/>
                      </a:lnTo>
                      <a:lnTo>
                        <a:pt x="1298" y="393"/>
                      </a:lnTo>
                      <a:lnTo>
                        <a:pt x="1292" y="392"/>
                      </a:lnTo>
                      <a:lnTo>
                        <a:pt x="1285" y="392"/>
                      </a:lnTo>
                      <a:lnTo>
                        <a:pt x="1282" y="392"/>
                      </a:lnTo>
                      <a:lnTo>
                        <a:pt x="1279" y="388"/>
                      </a:lnTo>
                      <a:lnTo>
                        <a:pt x="1279" y="388"/>
                      </a:lnTo>
                      <a:lnTo>
                        <a:pt x="1279" y="388"/>
                      </a:lnTo>
                      <a:lnTo>
                        <a:pt x="1279" y="386"/>
                      </a:lnTo>
                      <a:lnTo>
                        <a:pt x="1279" y="386"/>
                      </a:lnTo>
                      <a:lnTo>
                        <a:pt x="1277" y="385"/>
                      </a:lnTo>
                      <a:lnTo>
                        <a:pt x="1259" y="381"/>
                      </a:lnTo>
                      <a:lnTo>
                        <a:pt x="1256" y="381"/>
                      </a:lnTo>
                      <a:lnTo>
                        <a:pt x="1252" y="381"/>
                      </a:lnTo>
                      <a:lnTo>
                        <a:pt x="1247" y="383"/>
                      </a:lnTo>
                      <a:lnTo>
                        <a:pt x="1238" y="385"/>
                      </a:lnTo>
                      <a:lnTo>
                        <a:pt x="1237" y="386"/>
                      </a:lnTo>
                      <a:lnTo>
                        <a:pt x="1233" y="385"/>
                      </a:lnTo>
                      <a:lnTo>
                        <a:pt x="1226" y="383"/>
                      </a:lnTo>
                      <a:lnTo>
                        <a:pt x="1221" y="383"/>
                      </a:lnTo>
                      <a:lnTo>
                        <a:pt x="1217" y="385"/>
                      </a:lnTo>
                      <a:lnTo>
                        <a:pt x="1210" y="390"/>
                      </a:lnTo>
                      <a:lnTo>
                        <a:pt x="1207" y="390"/>
                      </a:lnTo>
                      <a:lnTo>
                        <a:pt x="1205" y="392"/>
                      </a:lnTo>
                      <a:lnTo>
                        <a:pt x="1200" y="392"/>
                      </a:lnTo>
                      <a:lnTo>
                        <a:pt x="1193" y="395"/>
                      </a:lnTo>
                      <a:lnTo>
                        <a:pt x="1188" y="397"/>
                      </a:lnTo>
                      <a:lnTo>
                        <a:pt x="1182" y="397"/>
                      </a:lnTo>
                      <a:lnTo>
                        <a:pt x="1179" y="399"/>
                      </a:lnTo>
                      <a:lnTo>
                        <a:pt x="1175" y="402"/>
                      </a:lnTo>
                      <a:lnTo>
                        <a:pt x="1177" y="407"/>
                      </a:lnTo>
                      <a:lnTo>
                        <a:pt x="1174" y="407"/>
                      </a:lnTo>
                      <a:lnTo>
                        <a:pt x="1167" y="406"/>
                      </a:lnTo>
                      <a:lnTo>
                        <a:pt x="1162" y="404"/>
                      </a:lnTo>
                      <a:lnTo>
                        <a:pt x="1158" y="402"/>
                      </a:lnTo>
                      <a:lnTo>
                        <a:pt x="1153" y="397"/>
                      </a:lnTo>
                      <a:lnTo>
                        <a:pt x="1151" y="395"/>
                      </a:lnTo>
                      <a:lnTo>
                        <a:pt x="1148" y="395"/>
                      </a:lnTo>
                      <a:lnTo>
                        <a:pt x="1146" y="397"/>
                      </a:lnTo>
                      <a:lnTo>
                        <a:pt x="1144" y="402"/>
                      </a:lnTo>
                      <a:lnTo>
                        <a:pt x="1141" y="399"/>
                      </a:lnTo>
                      <a:lnTo>
                        <a:pt x="1141" y="399"/>
                      </a:lnTo>
                      <a:lnTo>
                        <a:pt x="1139" y="397"/>
                      </a:lnTo>
                      <a:lnTo>
                        <a:pt x="1137" y="397"/>
                      </a:lnTo>
                      <a:lnTo>
                        <a:pt x="1132" y="400"/>
                      </a:lnTo>
                      <a:lnTo>
                        <a:pt x="1130" y="400"/>
                      </a:lnTo>
                      <a:lnTo>
                        <a:pt x="1127" y="399"/>
                      </a:lnTo>
                      <a:lnTo>
                        <a:pt x="1123" y="395"/>
                      </a:lnTo>
                      <a:lnTo>
                        <a:pt x="1121" y="392"/>
                      </a:lnTo>
                      <a:lnTo>
                        <a:pt x="1118" y="392"/>
                      </a:lnTo>
                      <a:lnTo>
                        <a:pt x="1116" y="395"/>
                      </a:lnTo>
                      <a:lnTo>
                        <a:pt x="1116" y="402"/>
                      </a:lnTo>
                      <a:lnTo>
                        <a:pt x="1114" y="406"/>
                      </a:lnTo>
                      <a:lnTo>
                        <a:pt x="1113" y="404"/>
                      </a:lnTo>
                      <a:lnTo>
                        <a:pt x="1107" y="399"/>
                      </a:lnTo>
                      <a:lnTo>
                        <a:pt x="1106" y="399"/>
                      </a:lnTo>
                      <a:lnTo>
                        <a:pt x="1104" y="397"/>
                      </a:lnTo>
                      <a:lnTo>
                        <a:pt x="1102" y="397"/>
                      </a:lnTo>
                      <a:lnTo>
                        <a:pt x="1099" y="397"/>
                      </a:lnTo>
                      <a:lnTo>
                        <a:pt x="1100" y="395"/>
                      </a:lnTo>
                      <a:lnTo>
                        <a:pt x="1104" y="392"/>
                      </a:lnTo>
                      <a:lnTo>
                        <a:pt x="1107" y="388"/>
                      </a:lnTo>
                      <a:lnTo>
                        <a:pt x="1107" y="385"/>
                      </a:lnTo>
                      <a:lnTo>
                        <a:pt x="1106" y="383"/>
                      </a:lnTo>
                      <a:lnTo>
                        <a:pt x="1104" y="381"/>
                      </a:lnTo>
                      <a:lnTo>
                        <a:pt x="1100" y="379"/>
                      </a:lnTo>
                      <a:lnTo>
                        <a:pt x="1099" y="379"/>
                      </a:lnTo>
                      <a:lnTo>
                        <a:pt x="1099" y="379"/>
                      </a:lnTo>
                      <a:lnTo>
                        <a:pt x="1097" y="379"/>
                      </a:lnTo>
                      <a:lnTo>
                        <a:pt x="1097" y="379"/>
                      </a:lnTo>
                      <a:lnTo>
                        <a:pt x="1097" y="379"/>
                      </a:lnTo>
                      <a:lnTo>
                        <a:pt x="1095" y="376"/>
                      </a:lnTo>
                      <a:lnTo>
                        <a:pt x="1095" y="376"/>
                      </a:lnTo>
                      <a:lnTo>
                        <a:pt x="1090" y="372"/>
                      </a:lnTo>
                      <a:lnTo>
                        <a:pt x="1086" y="371"/>
                      </a:lnTo>
                      <a:lnTo>
                        <a:pt x="1067" y="365"/>
                      </a:lnTo>
                      <a:lnTo>
                        <a:pt x="1064" y="364"/>
                      </a:lnTo>
                      <a:lnTo>
                        <a:pt x="1060" y="360"/>
                      </a:lnTo>
                      <a:lnTo>
                        <a:pt x="1065" y="360"/>
                      </a:lnTo>
                      <a:lnTo>
                        <a:pt x="1078" y="364"/>
                      </a:lnTo>
                      <a:lnTo>
                        <a:pt x="1085" y="364"/>
                      </a:lnTo>
                      <a:lnTo>
                        <a:pt x="1090" y="364"/>
                      </a:lnTo>
                      <a:lnTo>
                        <a:pt x="1100" y="362"/>
                      </a:lnTo>
                      <a:lnTo>
                        <a:pt x="1102" y="362"/>
                      </a:lnTo>
                      <a:lnTo>
                        <a:pt x="1106" y="360"/>
                      </a:lnTo>
                      <a:lnTo>
                        <a:pt x="1107" y="358"/>
                      </a:lnTo>
                      <a:lnTo>
                        <a:pt x="1106" y="357"/>
                      </a:lnTo>
                      <a:lnTo>
                        <a:pt x="1104" y="355"/>
                      </a:lnTo>
                      <a:lnTo>
                        <a:pt x="1081" y="351"/>
                      </a:lnTo>
                      <a:lnTo>
                        <a:pt x="1065" y="350"/>
                      </a:lnTo>
                      <a:lnTo>
                        <a:pt x="1062" y="350"/>
                      </a:lnTo>
                      <a:lnTo>
                        <a:pt x="1060" y="348"/>
                      </a:lnTo>
                      <a:lnTo>
                        <a:pt x="1062" y="348"/>
                      </a:lnTo>
                      <a:lnTo>
                        <a:pt x="1074" y="348"/>
                      </a:lnTo>
                      <a:lnTo>
                        <a:pt x="1078" y="348"/>
                      </a:lnTo>
                      <a:lnTo>
                        <a:pt x="1078" y="346"/>
                      </a:lnTo>
                      <a:lnTo>
                        <a:pt x="1074" y="344"/>
                      </a:lnTo>
                      <a:lnTo>
                        <a:pt x="1071" y="341"/>
                      </a:lnTo>
                      <a:lnTo>
                        <a:pt x="1065" y="341"/>
                      </a:lnTo>
                      <a:lnTo>
                        <a:pt x="1062" y="339"/>
                      </a:lnTo>
                      <a:lnTo>
                        <a:pt x="1057" y="339"/>
                      </a:lnTo>
                      <a:lnTo>
                        <a:pt x="1051" y="339"/>
                      </a:lnTo>
                      <a:lnTo>
                        <a:pt x="1039" y="343"/>
                      </a:lnTo>
                      <a:lnTo>
                        <a:pt x="1034" y="343"/>
                      </a:lnTo>
                      <a:lnTo>
                        <a:pt x="1031" y="343"/>
                      </a:lnTo>
                      <a:lnTo>
                        <a:pt x="1027" y="343"/>
                      </a:lnTo>
                      <a:lnTo>
                        <a:pt x="1025" y="343"/>
                      </a:lnTo>
                      <a:lnTo>
                        <a:pt x="1024" y="344"/>
                      </a:lnTo>
                      <a:lnTo>
                        <a:pt x="1018" y="348"/>
                      </a:lnTo>
                      <a:lnTo>
                        <a:pt x="1015" y="350"/>
                      </a:lnTo>
                      <a:lnTo>
                        <a:pt x="1018" y="344"/>
                      </a:lnTo>
                      <a:lnTo>
                        <a:pt x="1022" y="341"/>
                      </a:lnTo>
                      <a:lnTo>
                        <a:pt x="1022" y="337"/>
                      </a:lnTo>
                      <a:lnTo>
                        <a:pt x="1017" y="332"/>
                      </a:lnTo>
                      <a:lnTo>
                        <a:pt x="1010" y="330"/>
                      </a:lnTo>
                      <a:lnTo>
                        <a:pt x="973" y="325"/>
                      </a:lnTo>
                      <a:lnTo>
                        <a:pt x="966" y="325"/>
                      </a:lnTo>
                      <a:lnTo>
                        <a:pt x="952" y="327"/>
                      </a:lnTo>
                      <a:lnTo>
                        <a:pt x="948" y="327"/>
                      </a:lnTo>
                      <a:lnTo>
                        <a:pt x="947" y="329"/>
                      </a:lnTo>
                      <a:lnTo>
                        <a:pt x="947" y="330"/>
                      </a:lnTo>
                      <a:lnTo>
                        <a:pt x="948" y="332"/>
                      </a:lnTo>
                      <a:lnTo>
                        <a:pt x="954" y="334"/>
                      </a:lnTo>
                      <a:lnTo>
                        <a:pt x="952" y="336"/>
                      </a:lnTo>
                      <a:lnTo>
                        <a:pt x="948" y="336"/>
                      </a:lnTo>
                      <a:lnTo>
                        <a:pt x="947" y="336"/>
                      </a:lnTo>
                      <a:lnTo>
                        <a:pt x="943" y="334"/>
                      </a:lnTo>
                      <a:lnTo>
                        <a:pt x="947" y="337"/>
                      </a:lnTo>
                      <a:lnTo>
                        <a:pt x="954" y="341"/>
                      </a:lnTo>
                      <a:lnTo>
                        <a:pt x="964" y="343"/>
                      </a:lnTo>
                      <a:lnTo>
                        <a:pt x="969" y="343"/>
                      </a:lnTo>
                      <a:lnTo>
                        <a:pt x="968" y="344"/>
                      </a:lnTo>
                      <a:lnTo>
                        <a:pt x="962" y="346"/>
                      </a:lnTo>
                      <a:lnTo>
                        <a:pt x="962" y="348"/>
                      </a:lnTo>
                      <a:lnTo>
                        <a:pt x="962" y="350"/>
                      </a:lnTo>
                      <a:lnTo>
                        <a:pt x="964" y="350"/>
                      </a:lnTo>
                      <a:lnTo>
                        <a:pt x="969" y="351"/>
                      </a:lnTo>
                      <a:lnTo>
                        <a:pt x="973" y="353"/>
                      </a:lnTo>
                      <a:lnTo>
                        <a:pt x="975" y="353"/>
                      </a:lnTo>
                      <a:lnTo>
                        <a:pt x="975" y="355"/>
                      </a:lnTo>
                      <a:lnTo>
                        <a:pt x="976" y="357"/>
                      </a:lnTo>
                      <a:lnTo>
                        <a:pt x="978" y="358"/>
                      </a:lnTo>
                      <a:lnTo>
                        <a:pt x="980" y="358"/>
                      </a:lnTo>
                      <a:lnTo>
                        <a:pt x="983" y="358"/>
                      </a:lnTo>
                      <a:lnTo>
                        <a:pt x="989" y="357"/>
                      </a:lnTo>
                      <a:lnTo>
                        <a:pt x="994" y="357"/>
                      </a:lnTo>
                      <a:lnTo>
                        <a:pt x="1003" y="358"/>
                      </a:lnTo>
                      <a:lnTo>
                        <a:pt x="1008" y="358"/>
                      </a:lnTo>
                      <a:lnTo>
                        <a:pt x="1013" y="357"/>
                      </a:lnTo>
                      <a:lnTo>
                        <a:pt x="1017" y="355"/>
                      </a:lnTo>
                      <a:lnTo>
                        <a:pt x="1022" y="353"/>
                      </a:lnTo>
                      <a:lnTo>
                        <a:pt x="1025" y="355"/>
                      </a:lnTo>
                      <a:lnTo>
                        <a:pt x="1029" y="358"/>
                      </a:lnTo>
                      <a:lnTo>
                        <a:pt x="1038" y="372"/>
                      </a:lnTo>
                      <a:lnTo>
                        <a:pt x="1041" y="376"/>
                      </a:lnTo>
                      <a:lnTo>
                        <a:pt x="1045" y="381"/>
                      </a:lnTo>
                      <a:lnTo>
                        <a:pt x="1046" y="385"/>
                      </a:lnTo>
                      <a:lnTo>
                        <a:pt x="1046" y="390"/>
                      </a:lnTo>
                      <a:lnTo>
                        <a:pt x="1045" y="395"/>
                      </a:lnTo>
                      <a:lnTo>
                        <a:pt x="1041" y="404"/>
                      </a:lnTo>
                      <a:lnTo>
                        <a:pt x="1039" y="407"/>
                      </a:lnTo>
                      <a:lnTo>
                        <a:pt x="1039" y="411"/>
                      </a:lnTo>
                      <a:lnTo>
                        <a:pt x="1039" y="413"/>
                      </a:lnTo>
                      <a:lnTo>
                        <a:pt x="1039" y="414"/>
                      </a:lnTo>
                      <a:lnTo>
                        <a:pt x="1039" y="416"/>
                      </a:lnTo>
                      <a:lnTo>
                        <a:pt x="1041" y="418"/>
                      </a:lnTo>
                      <a:lnTo>
                        <a:pt x="1045" y="421"/>
                      </a:lnTo>
                      <a:lnTo>
                        <a:pt x="1046" y="425"/>
                      </a:lnTo>
                      <a:lnTo>
                        <a:pt x="1046" y="425"/>
                      </a:lnTo>
                      <a:lnTo>
                        <a:pt x="1045" y="428"/>
                      </a:lnTo>
                      <a:lnTo>
                        <a:pt x="1045" y="430"/>
                      </a:lnTo>
                      <a:lnTo>
                        <a:pt x="1045" y="434"/>
                      </a:lnTo>
                      <a:lnTo>
                        <a:pt x="1046" y="437"/>
                      </a:lnTo>
                      <a:lnTo>
                        <a:pt x="1048" y="441"/>
                      </a:lnTo>
                      <a:lnTo>
                        <a:pt x="1048" y="442"/>
                      </a:lnTo>
                      <a:lnTo>
                        <a:pt x="1051" y="446"/>
                      </a:lnTo>
                      <a:lnTo>
                        <a:pt x="1057" y="448"/>
                      </a:lnTo>
                      <a:lnTo>
                        <a:pt x="1062" y="449"/>
                      </a:lnTo>
                      <a:lnTo>
                        <a:pt x="1067" y="449"/>
                      </a:lnTo>
                      <a:lnTo>
                        <a:pt x="1065" y="446"/>
                      </a:lnTo>
                      <a:lnTo>
                        <a:pt x="1067" y="444"/>
                      </a:lnTo>
                      <a:lnTo>
                        <a:pt x="1072" y="441"/>
                      </a:lnTo>
                      <a:lnTo>
                        <a:pt x="1071" y="444"/>
                      </a:lnTo>
                      <a:lnTo>
                        <a:pt x="1071" y="446"/>
                      </a:lnTo>
                      <a:lnTo>
                        <a:pt x="1071" y="446"/>
                      </a:lnTo>
                      <a:lnTo>
                        <a:pt x="1072" y="448"/>
                      </a:lnTo>
                      <a:lnTo>
                        <a:pt x="1079" y="451"/>
                      </a:lnTo>
                      <a:lnTo>
                        <a:pt x="1085" y="453"/>
                      </a:lnTo>
                      <a:lnTo>
                        <a:pt x="1090" y="455"/>
                      </a:lnTo>
                      <a:lnTo>
                        <a:pt x="1095" y="455"/>
                      </a:lnTo>
                      <a:close/>
                      <a:moveTo>
                        <a:pt x="1013" y="310"/>
                      </a:moveTo>
                      <a:lnTo>
                        <a:pt x="1015" y="310"/>
                      </a:lnTo>
                      <a:lnTo>
                        <a:pt x="1017" y="310"/>
                      </a:lnTo>
                      <a:lnTo>
                        <a:pt x="1018" y="308"/>
                      </a:lnTo>
                      <a:lnTo>
                        <a:pt x="1020" y="306"/>
                      </a:lnTo>
                      <a:lnTo>
                        <a:pt x="1020" y="304"/>
                      </a:lnTo>
                      <a:lnTo>
                        <a:pt x="1024" y="304"/>
                      </a:lnTo>
                      <a:lnTo>
                        <a:pt x="1020" y="301"/>
                      </a:lnTo>
                      <a:lnTo>
                        <a:pt x="1015" y="299"/>
                      </a:lnTo>
                      <a:lnTo>
                        <a:pt x="987" y="299"/>
                      </a:lnTo>
                      <a:lnTo>
                        <a:pt x="980" y="299"/>
                      </a:lnTo>
                      <a:lnTo>
                        <a:pt x="978" y="299"/>
                      </a:lnTo>
                      <a:lnTo>
                        <a:pt x="976" y="299"/>
                      </a:lnTo>
                      <a:lnTo>
                        <a:pt x="975" y="299"/>
                      </a:lnTo>
                      <a:lnTo>
                        <a:pt x="973" y="297"/>
                      </a:lnTo>
                      <a:lnTo>
                        <a:pt x="969" y="297"/>
                      </a:lnTo>
                      <a:lnTo>
                        <a:pt x="966" y="299"/>
                      </a:lnTo>
                      <a:lnTo>
                        <a:pt x="962" y="301"/>
                      </a:lnTo>
                      <a:lnTo>
                        <a:pt x="959" y="303"/>
                      </a:lnTo>
                      <a:lnTo>
                        <a:pt x="957" y="304"/>
                      </a:lnTo>
                      <a:lnTo>
                        <a:pt x="961" y="310"/>
                      </a:lnTo>
                      <a:lnTo>
                        <a:pt x="973" y="310"/>
                      </a:lnTo>
                      <a:lnTo>
                        <a:pt x="1013" y="310"/>
                      </a:lnTo>
                      <a:close/>
                      <a:moveTo>
                        <a:pt x="971" y="456"/>
                      </a:moveTo>
                      <a:lnTo>
                        <a:pt x="976" y="456"/>
                      </a:lnTo>
                      <a:lnTo>
                        <a:pt x="978" y="455"/>
                      </a:lnTo>
                      <a:lnTo>
                        <a:pt x="978" y="455"/>
                      </a:lnTo>
                      <a:lnTo>
                        <a:pt x="976" y="453"/>
                      </a:lnTo>
                      <a:lnTo>
                        <a:pt x="975" y="451"/>
                      </a:lnTo>
                      <a:lnTo>
                        <a:pt x="973" y="449"/>
                      </a:lnTo>
                      <a:lnTo>
                        <a:pt x="971" y="449"/>
                      </a:lnTo>
                      <a:lnTo>
                        <a:pt x="969" y="451"/>
                      </a:lnTo>
                      <a:lnTo>
                        <a:pt x="966" y="453"/>
                      </a:lnTo>
                      <a:lnTo>
                        <a:pt x="968" y="455"/>
                      </a:lnTo>
                      <a:lnTo>
                        <a:pt x="971" y="456"/>
                      </a:lnTo>
                      <a:close/>
                      <a:moveTo>
                        <a:pt x="1081" y="659"/>
                      </a:moveTo>
                      <a:lnTo>
                        <a:pt x="1081" y="661"/>
                      </a:lnTo>
                      <a:lnTo>
                        <a:pt x="1081" y="661"/>
                      </a:lnTo>
                      <a:lnTo>
                        <a:pt x="1083" y="662"/>
                      </a:lnTo>
                      <a:lnTo>
                        <a:pt x="1085" y="661"/>
                      </a:lnTo>
                      <a:lnTo>
                        <a:pt x="1086" y="659"/>
                      </a:lnTo>
                      <a:lnTo>
                        <a:pt x="1086" y="657"/>
                      </a:lnTo>
                      <a:lnTo>
                        <a:pt x="1083" y="657"/>
                      </a:lnTo>
                      <a:lnTo>
                        <a:pt x="1081" y="659"/>
                      </a:lnTo>
                      <a:close/>
                      <a:moveTo>
                        <a:pt x="1383" y="516"/>
                      </a:moveTo>
                      <a:lnTo>
                        <a:pt x="1383" y="516"/>
                      </a:lnTo>
                      <a:lnTo>
                        <a:pt x="1382" y="516"/>
                      </a:lnTo>
                      <a:lnTo>
                        <a:pt x="1382" y="514"/>
                      </a:lnTo>
                      <a:lnTo>
                        <a:pt x="1380" y="514"/>
                      </a:lnTo>
                      <a:lnTo>
                        <a:pt x="1378" y="512"/>
                      </a:lnTo>
                      <a:lnTo>
                        <a:pt x="1378" y="512"/>
                      </a:lnTo>
                      <a:lnTo>
                        <a:pt x="1376" y="510"/>
                      </a:lnTo>
                      <a:lnTo>
                        <a:pt x="1376" y="509"/>
                      </a:lnTo>
                      <a:lnTo>
                        <a:pt x="1376" y="507"/>
                      </a:lnTo>
                      <a:lnTo>
                        <a:pt x="1375" y="507"/>
                      </a:lnTo>
                      <a:lnTo>
                        <a:pt x="1373" y="505"/>
                      </a:lnTo>
                      <a:lnTo>
                        <a:pt x="1364" y="496"/>
                      </a:lnTo>
                      <a:lnTo>
                        <a:pt x="1361" y="495"/>
                      </a:lnTo>
                      <a:lnTo>
                        <a:pt x="1352" y="493"/>
                      </a:lnTo>
                      <a:lnTo>
                        <a:pt x="1347" y="491"/>
                      </a:lnTo>
                      <a:lnTo>
                        <a:pt x="1341" y="491"/>
                      </a:lnTo>
                      <a:lnTo>
                        <a:pt x="1322" y="491"/>
                      </a:lnTo>
                      <a:lnTo>
                        <a:pt x="1319" y="491"/>
                      </a:lnTo>
                      <a:lnTo>
                        <a:pt x="1303" y="489"/>
                      </a:lnTo>
                      <a:lnTo>
                        <a:pt x="1298" y="488"/>
                      </a:lnTo>
                      <a:lnTo>
                        <a:pt x="1294" y="488"/>
                      </a:lnTo>
                      <a:lnTo>
                        <a:pt x="1291" y="488"/>
                      </a:lnTo>
                      <a:lnTo>
                        <a:pt x="1287" y="489"/>
                      </a:lnTo>
                      <a:lnTo>
                        <a:pt x="1285" y="491"/>
                      </a:lnTo>
                      <a:lnTo>
                        <a:pt x="1285" y="495"/>
                      </a:lnTo>
                      <a:lnTo>
                        <a:pt x="1289" y="496"/>
                      </a:lnTo>
                      <a:lnTo>
                        <a:pt x="1287" y="498"/>
                      </a:lnTo>
                      <a:lnTo>
                        <a:pt x="1287" y="502"/>
                      </a:lnTo>
                      <a:lnTo>
                        <a:pt x="1289" y="503"/>
                      </a:lnTo>
                      <a:lnTo>
                        <a:pt x="1291" y="507"/>
                      </a:lnTo>
                      <a:lnTo>
                        <a:pt x="1294" y="507"/>
                      </a:lnTo>
                      <a:lnTo>
                        <a:pt x="1298" y="509"/>
                      </a:lnTo>
                      <a:lnTo>
                        <a:pt x="1299" y="509"/>
                      </a:lnTo>
                      <a:lnTo>
                        <a:pt x="1301" y="512"/>
                      </a:lnTo>
                      <a:lnTo>
                        <a:pt x="1305" y="521"/>
                      </a:lnTo>
                      <a:lnTo>
                        <a:pt x="1306" y="526"/>
                      </a:lnTo>
                      <a:lnTo>
                        <a:pt x="1312" y="531"/>
                      </a:lnTo>
                      <a:lnTo>
                        <a:pt x="1320" y="531"/>
                      </a:lnTo>
                      <a:lnTo>
                        <a:pt x="1345" y="526"/>
                      </a:lnTo>
                      <a:lnTo>
                        <a:pt x="1354" y="526"/>
                      </a:lnTo>
                      <a:lnTo>
                        <a:pt x="1371" y="528"/>
                      </a:lnTo>
                      <a:lnTo>
                        <a:pt x="1382" y="530"/>
                      </a:lnTo>
                      <a:lnTo>
                        <a:pt x="1389" y="526"/>
                      </a:lnTo>
                      <a:lnTo>
                        <a:pt x="1387" y="524"/>
                      </a:lnTo>
                      <a:lnTo>
                        <a:pt x="1385" y="521"/>
                      </a:lnTo>
                      <a:lnTo>
                        <a:pt x="1383" y="521"/>
                      </a:lnTo>
                      <a:lnTo>
                        <a:pt x="1383" y="519"/>
                      </a:lnTo>
                      <a:lnTo>
                        <a:pt x="1383" y="517"/>
                      </a:lnTo>
                      <a:lnTo>
                        <a:pt x="1383" y="516"/>
                      </a:lnTo>
                      <a:close/>
                      <a:moveTo>
                        <a:pt x="1097" y="339"/>
                      </a:moveTo>
                      <a:lnTo>
                        <a:pt x="1097" y="337"/>
                      </a:lnTo>
                      <a:lnTo>
                        <a:pt x="1095" y="334"/>
                      </a:lnTo>
                      <a:lnTo>
                        <a:pt x="1092" y="332"/>
                      </a:lnTo>
                      <a:lnTo>
                        <a:pt x="1086" y="332"/>
                      </a:lnTo>
                      <a:lnTo>
                        <a:pt x="1081" y="334"/>
                      </a:lnTo>
                      <a:lnTo>
                        <a:pt x="1079" y="336"/>
                      </a:lnTo>
                      <a:lnTo>
                        <a:pt x="1081" y="339"/>
                      </a:lnTo>
                      <a:lnTo>
                        <a:pt x="1083" y="343"/>
                      </a:lnTo>
                      <a:lnTo>
                        <a:pt x="1086" y="346"/>
                      </a:lnTo>
                      <a:lnTo>
                        <a:pt x="1090" y="348"/>
                      </a:lnTo>
                      <a:lnTo>
                        <a:pt x="1092" y="348"/>
                      </a:lnTo>
                      <a:lnTo>
                        <a:pt x="1093" y="348"/>
                      </a:lnTo>
                      <a:lnTo>
                        <a:pt x="1095" y="348"/>
                      </a:lnTo>
                      <a:lnTo>
                        <a:pt x="1097" y="346"/>
                      </a:lnTo>
                      <a:lnTo>
                        <a:pt x="1097" y="346"/>
                      </a:lnTo>
                      <a:lnTo>
                        <a:pt x="1095" y="344"/>
                      </a:lnTo>
                      <a:lnTo>
                        <a:pt x="1095" y="343"/>
                      </a:lnTo>
                      <a:lnTo>
                        <a:pt x="1095" y="339"/>
                      </a:lnTo>
                      <a:lnTo>
                        <a:pt x="1097" y="339"/>
                      </a:lnTo>
                      <a:close/>
                      <a:moveTo>
                        <a:pt x="1092" y="308"/>
                      </a:moveTo>
                      <a:lnTo>
                        <a:pt x="1079" y="304"/>
                      </a:lnTo>
                      <a:lnTo>
                        <a:pt x="1069" y="304"/>
                      </a:lnTo>
                      <a:lnTo>
                        <a:pt x="1065" y="310"/>
                      </a:lnTo>
                      <a:lnTo>
                        <a:pt x="1071" y="315"/>
                      </a:lnTo>
                      <a:lnTo>
                        <a:pt x="1081" y="318"/>
                      </a:lnTo>
                      <a:lnTo>
                        <a:pt x="1093" y="318"/>
                      </a:lnTo>
                      <a:lnTo>
                        <a:pt x="1097" y="313"/>
                      </a:lnTo>
                      <a:lnTo>
                        <a:pt x="1092" y="308"/>
                      </a:lnTo>
                      <a:close/>
                      <a:moveTo>
                        <a:pt x="762" y="238"/>
                      </a:moveTo>
                      <a:lnTo>
                        <a:pt x="772" y="238"/>
                      </a:lnTo>
                      <a:lnTo>
                        <a:pt x="776" y="240"/>
                      </a:lnTo>
                      <a:lnTo>
                        <a:pt x="774" y="241"/>
                      </a:lnTo>
                      <a:lnTo>
                        <a:pt x="772" y="245"/>
                      </a:lnTo>
                      <a:lnTo>
                        <a:pt x="770" y="248"/>
                      </a:lnTo>
                      <a:lnTo>
                        <a:pt x="774" y="248"/>
                      </a:lnTo>
                      <a:lnTo>
                        <a:pt x="777" y="247"/>
                      </a:lnTo>
                      <a:lnTo>
                        <a:pt x="781" y="245"/>
                      </a:lnTo>
                      <a:lnTo>
                        <a:pt x="784" y="241"/>
                      </a:lnTo>
                      <a:lnTo>
                        <a:pt x="788" y="240"/>
                      </a:lnTo>
                      <a:lnTo>
                        <a:pt x="790" y="241"/>
                      </a:lnTo>
                      <a:lnTo>
                        <a:pt x="793" y="243"/>
                      </a:lnTo>
                      <a:lnTo>
                        <a:pt x="793" y="245"/>
                      </a:lnTo>
                      <a:lnTo>
                        <a:pt x="793" y="245"/>
                      </a:lnTo>
                      <a:lnTo>
                        <a:pt x="788" y="248"/>
                      </a:lnTo>
                      <a:lnTo>
                        <a:pt x="788" y="250"/>
                      </a:lnTo>
                      <a:lnTo>
                        <a:pt x="790" y="252"/>
                      </a:lnTo>
                      <a:lnTo>
                        <a:pt x="800" y="252"/>
                      </a:lnTo>
                      <a:lnTo>
                        <a:pt x="805" y="252"/>
                      </a:lnTo>
                      <a:lnTo>
                        <a:pt x="802" y="254"/>
                      </a:lnTo>
                      <a:lnTo>
                        <a:pt x="795" y="255"/>
                      </a:lnTo>
                      <a:lnTo>
                        <a:pt x="791" y="257"/>
                      </a:lnTo>
                      <a:lnTo>
                        <a:pt x="797" y="257"/>
                      </a:lnTo>
                      <a:lnTo>
                        <a:pt x="800" y="259"/>
                      </a:lnTo>
                      <a:lnTo>
                        <a:pt x="802" y="261"/>
                      </a:lnTo>
                      <a:lnTo>
                        <a:pt x="798" y="262"/>
                      </a:lnTo>
                      <a:lnTo>
                        <a:pt x="793" y="264"/>
                      </a:lnTo>
                      <a:lnTo>
                        <a:pt x="777" y="261"/>
                      </a:lnTo>
                      <a:lnTo>
                        <a:pt x="776" y="261"/>
                      </a:lnTo>
                      <a:lnTo>
                        <a:pt x="772" y="262"/>
                      </a:lnTo>
                      <a:lnTo>
                        <a:pt x="770" y="264"/>
                      </a:lnTo>
                      <a:lnTo>
                        <a:pt x="770" y="266"/>
                      </a:lnTo>
                      <a:lnTo>
                        <a:pt x="772" y="268"/>
                      </a:lnTo>
                      <a:lnTo>
                        <a:pt x="774" y="269"/>
                      </a:lnTo>
                      <a:lnTo>
                        <a:pt x="779" y="273"/>
                      </a:lnTo>
                      <a:lnTo>
                        <a:pt x="784" y="275"/>
                      </a:lnTo>
                      <a:lnTo>
                        <a:pt x="790" y="275"/>
                      </a:lnTo>
                      <a:lnTo>
                        <a:pt x="819" y="269"/>
                      </a:lnTo>
                      <a:lnTo>
                        <a:pt x="817" y="273"/>
                      </a:lnTo>
                      <a:lnTo>
                        <a:pt x="819" y="275"/>
                      </a:lnTo>
                      <a:lnTo>
                        <a:pt x="824" y="275"/>
                      </a:lnTo>
                      <a:lnTo>
                        <a:pt x="831" y="275"/>
                      </a:lnTo>
                      <a:lnTo>
                        <a:pt x="835" y="275"/>
                      </a:lnTo>
                      <a:lnTo>
                        <a:pt x="852" y="278"/>
                      </a:lnTo>
                      <a:lnTo>
                        <a:pt x="856" y="280"/>
                      </a:lnTo>
                      <a:lnTo>
                        <a:pt x="859" y="282"/>
                      </a:lnTo>
                      <a:lnTo>
                        <a:pt x="861" y="285"/>
                      </a:lnTo>
                      <a:lnTo>
                        <a:pt x="861" y="289"/>
                      </a:lnTo>
                      <a:lnTo>
                        <a:pt x="863" y="290"/>
                      </a:lnTo>
                      <a:lnTo>
                        <a:pt x="865" y="292"/>
                      </a:lnTo>
                      <a:lnTo>
                        <a:pt x="873" y="296"/>
                      </a:lnTo>
                      <a:lnTo>
                        <a:pt x="882" y="297"/>
                      </a:lnTo>
                      <a:lnTo>
                        <a:pt x="891" y="296"/>
                      </a:lnTo>
                      <a:lnTo>
                        <a:pt x="896" y="290"/>
                      </a:lnTo>
                      <a:lnTo>
                        <a:pt x="898" y="287"/>
                      </a:lnTo>
                      <a:lnTo>
                        <a:pt x="898" y="283"/>
                      </a:lnTo>
                      <a:lnTo>
                        <a:pt x="896" y="282"/>
                      </a:lnTo>
                      <a:lnTo>
                        <a:pt x="891" y="278"/>
                      </a:lnTo>
                      <a:lnTo>
                        <a:pt x="886" y="273"/>
                      </a:lnTo>
                      <a:lnTo>
                        <a:pt x="884" y="273"/>
                      </a:lnTo>
                      <a:lnTo>
                        <a:pt x="882" y="273"/>
                      </a:lnTo>
                      <a:lnTo>
                        <a:pt x="882" y="271"/>
                      </a:lnTo>
                      <a:lnTo>
                        <a:pt x="880" y="268"/>
                      </a:lnTo>
                      <a:lnTo>
                        <a:pt x="880" y="268"/>
                      </a:lnTo>
                      <a:lnTo>
                        <a:pt x="882" y="266"/>
                      </a:lnTo>
                      <a:lnTo>
                        <a:pt x="884" y="264"/>
                      </a:lnTo>
                      <a:lnTo>
                        <a:pt x="884" y="262"/>
                      </a:lnTo>
                      <a:lnTo>
                        <a:pt x="886" y="262"/>
                      </a:lnTo>
                      <a:lnTo>
                        <a:pt x="886" y="261"/>
                      </a:lnTo>
                      <a:lnTo>
                        <a:pt x="884" y="261"/>
                      </a:lnTo>
                      <a:lnTo>
                        <a:pt x="882" y="259"/>
                      </a:lnTo>
                      <a:lnTo>
                        <a:pt x="877" y="254"/>
                      </a:lnTo>
                      <a:lnTo>
                        <a:pt x="875" y="252"/>
                      </a:lnTo>
                      <a:lnTo>
                        <a:pt x="868" y="248"/>
                      </a:lnTo>
                      <a:lnTo>
                        <a:pt x="859" y="250"/>
                      </a:lnTo>
                      <a:lnTo>
                        <a:pt x="854" y="250"/>
                      </a:lnTo>
                      <a:lnTo>
                        <a:pt x="852" y="248"/>
                      </a:lnTo>
                      <a:lnTo>
                        <a:pt x="852" y="247"/>
                      </a:lnTo>
                      <a:lnTo>
                        <a:pt x="854" y="245"/>
                      </a:lnTo>
                      <a:lnTo>
                        <a:pt x="854" y="243"/>
                      </a:lnTo>
                      <a:lnTo>
                        <a:pt x="854" y="243"/>
                      </a:lnTo>
                      <a:lnTo>
                        <a:pt x="852" y="241"/>
                      </a:lnTo>
                      <a:lnTo>
                        <a:pt x="852" y="241"/>
                      </a:lnTo>
                      <a:lnTo>
                        <a:pt x="851" y="241"/>
                      </a:lnTo>
                      <a:lnTo>
                        <a:pt x="849" y="240"/>
                      </a:lnTo>
                      <a:lnTo>
                        <a:pt x="840" y="236"/>
                      </a:lnTo>
                      <a:lnTo>
                        <a:pt x="837" y="236"/>
                      </a:lnTo>
                      <a:lnTo>
                        <a:pt x="831" y="236"/>
                      </a:lnTo>
                      <a:lnTo>
                        <a:pt x="828" y="238"/>
                      </a:lnTo>
                      <a:lnTo>
                        <a:pt x="826" y="240"/>
                      </a:lnTo>
                      <a:lnTo>
                        <a:pt x="826" y="240"/>
                      </a:lnTo>
                      <a:lnTo>
                        <a:pt x="824" y="241"/>
                      </a:lnTo>
                      <a:lnTo>
                        <a:pt x="824" y="243"/>
                      </a:lnTo>
                      <a:lnTo>
                        <a:pt x="823" y="245"/>
                      </a:lnTo>
                      <a:lnTo>
                        <a:pt x="821" y="245"/>
                      </a:lnTo>
                      <a:lnTo>
                        <a:pt x="821" y="245"/>
                      </a:lnTo>
                      <a:lnTo>
                        <a:pt x="821" y="243"/>
                      </a:lnTo>
                      <a:lnTo>
                        <a:pt x="819" y="241"/>
                      </a:lnTo>
                      <a:lnTo>
                        <a:pt x="819" y="241"/>
                      </a:lnTo>
                      <a:lnTo>
                        <a:pt x="821" y="234"/>
                      </a:lnTo>
                      <a:lnTo>
                        <a:pt x="814" y="229"/>
                      </a:lnTo>
                      <a:lnTo>
                        <a:pt x="807" y="224"/>
                      </a:lnTo>
                      <a:lnTo>
                        <a:pt x="800" y="222"/>
                      </a:lnTo>
                      <a:lnTo>
                        <a:pt x="795" y="222"/>
                      </a:lnTo>
                      <a:lnTo>
                        <a:pt x="790" y="222"/>
                      </a:lnTo>
                      <a:lnTo>
                        <a:pt x="781" y="222"/>
                      </a:lnTo>
                      <a:lnTo>
                        <a:pt x="765" y="222"/>
                      </a:lnTo>
                      <a:lnTo>
                        <a:pt x="762" y="224"/>
                      </a:lnTo>
                      <a:lnTo>
                        <a:pt x="760" y="226"/>
                      </a:lnTo>
                      <a:lnTo>
                        <a:pt x="758" y="231"/>
                      </a:lnTo>
                      <a:lnTo>
                        <a:pt x="756" y="234"/>
                      </a:lnTo>
                      <a:lnTo>
                        <a:pt x="758" y="238"/>
                      </a:lnTo>
                      <a:lnTo>
                        <a:pt x="762" y="238"/>
                      </a:lnTo>
                      <a:close/>
                      <a:moveTo>
                        <a:pt x="212" y="1237"/>
                      </a:moveTo>
                      <a:lnTo>
                        <a:pt x="212" y="1239"/>
                      </a:lnTo>
                      <a:lnTo>
                        <a:pt x="212" y="1241"/>
                      </a:lnTo>
                      <a:lnTo>
                        <a:pt x="212" y="1241"/>
                      </a:lnTo>
                      <a:lnTo>
                        <a:pt x="213" y="1243"/>
                      </a:lnTo>
                      <a:lnTo>
                        <a:pt x="213" y="1239"/>
                      </a:lnTo>
                      <a:lnTo>
                        <a:pt x="213" y="1239"/>
                      </a:lnTo>
                      <a:lnTo>
                        <a:pt x="212" y="1237"/>
                      </a:lnTo>
                      <a:close/>
                      <a:moveTo>
                        <a:pt x="210" y="1232"/>
                      </a:moveTo>
                      <a:lnTo>
                        <a:pt x="208" y="1232"/>
                      </a:lnTo>
                      <a:lnTo>
                        <a:pt x="208" y="1232"/>
                      </a:lnTo>
                      <a:lnTo>
                        <a:pt x="208" y="1232"/>
                      </a:lnTo>
                      <a:lnTo>
                        <a:pt x="208" y="1230"/>
                      </a:lnTo>
                      <a:lnTo>
                        <a:pt x="208" y="1229"/>
                      </a:lnTo>
                      <a:lnTo>
                        <a:pt x="208" y="1229"/>
                      </a:lnTo>
                      <a:lnTo>
                        <a:pt x="206" y="1229"/>
                      </a:lnTo>
                      <a:lnTo>
                        <a:pt x="205" y="1227"/>
                      </a:lnTo>
                      <a:lnTo>
                        <a:pt x="203" y="1225"/>
                      </a:lnTo>
                      <a:lnTo>
                        <a:pt x="201" y="1223"/>
                      </a:lnTo>
                      <a:lnTo>
                        <a:pt x="203" y="1222"/>
                      </a:lnTo>
                      <a:lnTo>
                        <a:pt x="205" y="1220"/>
                      </a:lnTo>
                      <a:lnTo>
                        <a:pt x="203" y="1220"/>
                      </a:lnTo>
                      <a:lnTo>
                        <a:pt x="199" y="1218"/>
                      </a:lnTo>
                      <a:lnTo>
                        <a:pt x="198" y="1218"/>
                      </a:lnTo>
                      <a:lnTo>
                        <a:pt x="198" y="1216"/>
                      </a:lnTo>
                      <a:lnTo>
                        <a:pt x="196" y="1216"/>
                      </a:lnTo>
                      <a:lnTo>
                        <a:pt x="194" y="1215"/>
                      </a:lnTo>
                      <a:lnTo>
                        <a:pt x="194" y="1215"/>
                      </a:lnTo>
                      <a:lnTo>
                        <a:pt x="196" y="1215"/>
                      </a:lnTo>
                      <a:lnTo>
                        <a:pt x="198" y="1215"/>
                      </a:lnTo>
                      <a:lnTo>
                        <a:pt x="199" y="1213"/>
                      </a:lnTo>
                      <a:lnTo>
                        <a:pt x="201" y="1211"/>
                      </a:lnTo>
                      <a:lnTo>
                        <a:pt x="201" y="1209"/>
                      </a:lnTo>
                      <a:lnTo>
                        <a:pt x="199" y="1208"/>
                      </a:lnTo>
                      <a:lnTo>
                        <a:pt x="198" y="1206"/>
                      </a:lnTo>
                      <a:lnTo>
                        <a:pt x="194" y="1204"/>
                      </a:lnTo>
                      <a:lnTo>
                        <a:pt x="180" y="1208"/>
                      </a:lnTo>
                      <a:lnTo>
                        <a:pt x="182" y="1209"/>
                      </a:lnTo>
                      <a:lnTo>
                        <a:pt x="185" y="1209"/>
                      </a:lnTo>
                      <a:lnTo>
                        <a:pt x="189" y="1211"/>
                      </a:lnTo>
                      <a:lnTo>
                        <a:pt x="187" y="1213"/>
                      </a:lnTo>
                      <a:lnTo>
                        <a:pt x="187" y="1215"/>
                      </a:lnTo>
                      <a:lnTo>
                        <a:pt x="189" y="1216"/>
                      </a:lnTo>
                      <a:lnTo>
                        <a:pt x="199" y="1227"/>
                      </a:lnTo>
                      <a:lnTo>
                        <a:pt x="201" y="1229"/>
                      </a:lnTo>
                      <a:lnTo>
                        <a:pt x="205" y="1232"/>
                      </a:lnTo>
                      <a:lnTo>
                        <a:pt x="205" y="1234"/>
                      </a:lnTo>
                      <a:lnTo>
                        <a:pt x="208" y="1236"/>
                      </a:lnTo>
                      <a:lnTo>
                        <a:pt x="210" y="1236"/>
                      </a:lnTo>
                      <a:lnTo>
                        <a:pt x="212" y="1236"/>
                      </a:lnTo>
                      <a:lnTo>
                        <a:pt x="212" y="1234"/>
                      </a:lnTo>
                      <a:lnTo>
                        <a:pt x="210" y="1232"/>
                      </a:lnTo>
                      <a:close/>
                      <a:moveTo>
                        <a:pt x="185" y="1206"/>
                      </a:moveTo>
                      <a:lnTo>
                        <a:pt x="189" y="1204"/>
                      </a:lnTo>
                      <a:lnTo>
                        <a:pt x="192" y="1204"/>
                      </a:lnTo>
                      <a:lnTo>
                        <a:pt x="194" y="1201"/>
                      </a:lnTo>
                      <a:lnTo>
                        <a:pt x="194" y="1197"/>
                      </a:lnTo>
                      <a:lnTo>
                        <a:pt x="194" y="1194"/>
                      </a:lnTo>
                      <a:lnTo>
                        <a:pt x="196" y="1190"/>
                      </a:lnTo>
                      <a:lnTo>
                        <a:pt x="196" y="1187"/>
                      </a:lnTo>
                      <a:lnTo>
                        <a:pt x="198" y="1185"/>
                      </a:lnTo>
                      <a:lnTo>
                        <a:pt x="199" y="1181"/>
                      </a:lnTo>
                      <a:lnTo>
                        <a:pt x="199" y="1178"/>
                      </a:lnTo>
                      <a:lnTo>
                        <a:pt x="194" y="1180"/>
                      </a:lnTo>
                      <a:lnTo>
                        <a:pt x="191" y="1181"/>
                      </a:lnTo>
                      <a:lnTo>
                        <a:pt x="191" y="1183"/>
                      </a:lnTo>
                      <a:lnTo>
                        <a:pt x="191" y="1183"/>
                      </a:lnTo>
                      <a:lnTo>
                        <a:pt x="191" y="1187"/>
                      </a:lnTo>
                      <a:lnTo>
                        <a:pt x="189" y="1188"/>
                      </a:lnTo>
                      <a:lnTo>
                        <a:pt x="187" y="1192"/>
                      </a:lnTo>
                      <a:lnTo>
                        <a:pt x="184" y="1192"/>
                      </a:lnTo>
                      <a:lnTo>
                        <a:pt x="180" y="1192"/>
                      </a:lnTo>
                      <a:lnTo>
                        <a:pt x="184" y="1190"/>
                      </a:lnTo>
                      <a:lnTo>
                        <a:pt x="187" y="1187"/>
                      </a:lnTo>
                      <a:lnTo>
                        <a:pt x="191" y="1183"/>
                      </a:lnTo>
                      <a:lnTo>
                        <a:pt x="185" y="1180"/>
                      </a:lnTo>
                      <a:lnTo>
                        <a:pt x="185" y="1180"/>
                      </a:lnTo>
                      <a:lnTo>
                        <a:pt x="184" y="1180"/>
                      </a:lnTo>
                      <a:lnTo>
                        <a:pt x="182" y="1180"/>
                      </a:lnTo>
                      <a:lnTo>
                        <a:pt x="182" y="1180"/>
                      </a:lnTo>
                      <a:lnTo>
                        <a:pt x="180" y="1180"/>
                      </a:lnTo>
                      <a:lnTo>
                        <a:pt x="178" y="1178"/>
                      </a:lnTo>
                      <a:lnTo>
                        <a:pt x="177" y="1178"/>
                      </a:lnTo>
                      <a:lnTo>
                        <a:pt x="173" y="1178"/>
                      </a:lnTo>
                      <a:lnTo>
                        <a:pt x="171" y="1178"/>
                      </a:lnTo>
                      <a:lnTo>
                        <a:pt x="170" y="1180"/>
                      </a:lnTo>
                      <a:lnTo>
                        <a:pt x="170" y="1181"/>
                      </a:lnTo>
                      <a:lnTo>
                        <a:pt x="170" y="1185"/>
                      </a:lnTo>
                      <a:lnTo>
                        <a:pt x="170" y="1188"/>
                      </a:lnTo>
                      <a:lnTo>
                        <a:pt x="171" y="1192"/>
                      </a:lnTo>
                      <a:lnTo>
                        <a:pt x="173" y="1194"/>
                      </a:lnTo>
                      <a:lnTo>
                        <a:pt x="175" y="1195"/>
                      </a:lnTo>
                      <a:lnTo>
                        <a:pt x="180" y="1199"/>
                      </a:lnTo>
                      <a:lnTo>
                        <a:pt x="184" y="1201"/>
                      </a:lnTo>
                      <a:lnTo>
                        <a:pt x="182" y="1201"/>
                      </a:lnTo>
                      <a:lnTo>
                        <a:pt x="178" y="1201"/>
                      </a:lnTo>
                      <a:lnTo>
                        <a:pt x="177" y="1201"/>
                      </a:lnTo>
                      <a:lnTo>
                        <a:pt x="178" y="1204"/>
                      </a:lnTo>
                      <a:lnTo>
                        <a:pt x="182" y="1206"/>
                      </a:lnTo>
                      <a:lnTo>
                        <a:pt x="185" y="1206"/>
                      </a:lnTo>
                      <a:close/>
                      <a:moveTo>
                        <a:pt x="596" y="306"/>
                      </a:moveTo>
                      <a:lnTo>
                        <a:pt x="596" y="306"/>
                      </a:lnTo>
                      <a:lnTo>
                        <a:pt x="596" y="306"/>
                      </a:lnTo>
                      <a:lnTo>
                        <a:pt x="596" y="308"/>
                      </a:lnTo>
                      <a:lnTo>
                        <a:pt x="597" y="310"/>
                      </a:lnTo>
                      <a:lnTo>
                        <a:pt x="601" y="310"/>
                      </a:lnTo>
                      <a:lnTo>
                        <a:pt x="608" y="311"/>
                      </a:lnTo>
                      <a:lnTo>
                        <a:pt x="613" y="313"/>
                      </a:lnTo>
                      <a:lnTo>
                        <a:pt x="615" y="315"/>
                      </a:lnTo>
                      <a:lnTo>
                        <a:pt x="618" y="315"/>
                      </a:lnTo>
                      <a:lnTo>
                        <a:pt x="648" y="311"/>
                      </a:lnTo>
                      <a:lnTo>
                        <a:pt x="655" y="310"/>
                      </a:lnTo>
                      <a:lnTo>
                        <a:pt x="659" y="308"/>
                      </a:lnTo>
                      <a:lnTo>
                        <a:pt x="660" y="303"/>
                      </a:lnTo>
                      <a:lnTo>
                        <a:pt x="659" y="299"/>
                      </a:lnTo>
                      <a:lnTo>
                        <a:pt x="653" y="299"/>
                      </a:lnTo>
                      <a:lnTo>
                        <a:pt x="648" y="299"/>
                      </a:lnTo>
                      <a:lnTo>
                        <a:pt x="645" y="297"/>
                      </a:lnTo>
                      <a:lnTo>
                        <a:pt x="646" y="294"/>
                      </a:lnTo>
                      <a:lnTo>
                        <a:pt x="653" y="292"/>
                      </a:lnTo>
                      <a:lnTo>
                        <a:pt x="664" y="290"/>
                      </a:lnTo>
                      <a:lnTo>
                        <a:pt x="666" y="289"/>
                      </a:lnTo>
                      <a:lnTo>
                        <a:pt x="669" y="289"/>
                      </a:lnTo>
                      <a:lnTo>
                        <a:pt x="671" y="287"/>
                      </a:lnTo>
                      <a:lnTo>
                        <a:pt x="671" y="283"/>
                      </a:lnTo>
                      <a:lnTo>
                        <a:pt x="669" y="283"/>
                      </a:lnTo>
                      <a:lnTo>
                        <a:pt x="667" y="282"/>
                      </a:lnTo>
                      <a:lnTo>
                        <a:pt x="632" y="283"/>
                      </a:lnTo>
                      <a:lnTo>
                        <a:pt x="601" y="289"/>
                      </a:lnTo>
                      <a:lnTo>
                        <a:pt x="596" y="292"/>
                      </a:lnTo>
                      <a:lnTo>
                        <a:pt x="592" y="296"/>
                      </a:lnTo>
                      <a:lnTo>
                        <a:pt x="594" y="299"/>
                      </a:lnTo>
                      <a:lnTo>
                        <a:pt x="596" y="306"/>
                      </a:lnTo>
                      <a:close/>
                      <a:moveTo>
                        <a:pt x="40" y="654"/>
                      </a:moveTo>
                      <a:lnTo>
                        <a:pt x="44" y="654"/>
                      </a:lnTo>
                      <a:lnTo>
                        <a:pt x="46" y="652"/>
                      </a:lnTo>
                      <a:lnTo>
                        <a:pt x="44" y="652"/>
                      </a:lnTo>
                      <a:lnTo>
                        <a:pt x="40" y="652"/>
                      </a:lnTo>
                      <a:lnTo>
                        <a:pt x="39" y="652"/>
                      </a:lnTo>
                      <a:lnTo>
                        <a:pt x="37" y="652"/>
                      </a:lnTo>
                      <a:lnTo>
                        <a:pt x="39" y="654"/>
                      </a:lnTo>
                      <a:lnTo>
                        <a:pt x="40" y="654"/>
                      </a:lnTo>
                      <a:close/>
                      <a:moveTo>
                        <a:pt x="234" y="1195"/>
                      </a:moveTo>
                      <a:lnTo>
                        <a:pt x="227" y="1194"/>
                      </a:lnTo>
                      <a:lnTo>
                        <a:pt x="224" y="1195"/>
                      </a:lnTo>
                      <a:lnTo>
                        <a:pt x="232" y="1202"/>
                      </a:lnTo>
                      <a:lnTo>
                        <a:pt x="238" y="1206"/>
                      </a:lnTo>
                      <a:lnTo>
                        <a:pt x="241" y="1204"/>
                      </a:lnTo>
                      <a:lnTo>
                        <a:pt x="239" y="1201"/>
                      </a:lnTo>
                      <a:lnTo>
                        <a:pt x="234" y="1195"/>
                      </a:lnTo>
                      <a:close/>
                      <a:moveTo>
                        <a:pt x="229" y="1185"/>
                      </a:moveTo>
                      <a:lnTo>
                        <a:pt x="229" y="1181"/>
                      </a:lnTo>
                      <a:lnTo>
                        <a:pt x="227" y="1180"/>
                      </a:lnTo>
                      <a:lnTo>
                        <a:pt x="224" y="1181"/>
                      </a:lnTo>
                      <a:lnTo>
                        <a:pt x="220" y="1185"/>
                      </a:lnTo>
                      <a:lnTo>
                        <a:pt x="220" y="1185"/>
                      </a:lnTo>
                      <a:lnTo>
                        <a:pt x="220" y="1187"/>
                      </a:lnTo>
                      <a:lnTo>
                        <a:pt x="222" y="1187"/>
                      </a:lnTo>
                      <a:lnTo>
                        <a:pt x="222" y="1185"/>
                      </a:lnTo>
                      <a:lnTo>
                        <a:pt x="224" y="1185"/>
                      </a:lnTo>
                      <a:lnTo>
                        <a:pt x="227" y="1187"/>
                      </a:lnTo>
                      <a:lnTo>
                        <a:pt x="229" y="1185"/>
                      </a:lnTo>
                      <a:close/>
                      <a:moveTo>
                        <a:pt x="229" y="1159"/>
                      </a:moveTo>
                      <a:lnTo>
                        <a:pt x="231" y="1155"/>
                      </a:lnTo>
                      <a:lnTo>
                        <a:pt x="231" y="1153"/>
                      </a:lnTo>
                      <a:lnTo>
                        <a:pt x="224" y="1160"/>
                      </a:lnTo>
                      <a:lnTo>
                        <a:pt x="226" y="1160"/>
                      </a:lnTo>
                      <a:lnTo>
                        <a:pt x="229" y="1159"/>
                      </a:lnTo>
                      <a:close/>
                      <a:moveTo>
                        <a:pt x="215" y="1166"/>
                      </a:moveTo>
                      <a:lnTo>
                        <a:pt x="215" y="1169"/>
                      </a:lnTo>
                      <a:lnTo>
                        <a:pt x="219" y="1166"/>
                      </a:lnTo>
                      <a:lnTo>
                        <a:pt x="219" y="1164"/>
                      </a:lnTo>
                      <a:lnTo>
                        <a:pt x="215" y="1166"/>
                      </a:lnTo>
                      <a:close/>
                      <a:moveTo>
                        <a:pt x="575" y="330"/>
                      </a:moveTo>
                      <a:lnTo>
                        <a:pt x="566" y="332"/>
                      </a:lnTo>
                      <a:lnTo>
                        <a:pt x="559" y="334"/>
                      </a:lnTo>
                      <a:lnTo>
                        <a:pt x="563" y="336"/>
                      </a:lnTo>
                      <a:lnTo>
                        <a:pt x="566" y="337"/>
                      </a:lnTo>
                      <a:lnTo>
                        <a:pt x="573" y="337"/>
                      </a:lnTo>
                      <a:lnTo>
                        <a:pt x="582" y="337"/>
                      </a:lnTo>
                      <a:lnTo>
                        <a:pt x="585" y="337"/>
                      </a:lnTo>
                      <a:lnTo>
                        <a:pt x="589" y="336"/>
                      </a:lnTo>
                      <a:lnTo>
                        <a:pt x="583" y="330"/>
                      </a:lnTo>
                      <a:lnTo>
                        <a:pt x="575" y="330"/>
                      </a:lnTo>
                      <a:close/>
                      <a:moveTo>
                        <a:pt x="327" y="565"/>
                      </a:moveTo>
                      <a:lnTo>
                        <a:pt x="329" y="565"/>
                      </a:lnTo>
                      <a:lnTo>
                        <a:pt x="336" y="565"/>
                      </a:lnTo>
                      <a:lnTo>
                        <a:pt x="337" y="565"/>
                      </a:lnTo>
                      <a:lnTo>
                        <a:pt x="341" y="565"/>
                      </a:lnTo>
                      <a:lnTo>
                        <a:pt x="348" y="568"/>
                      </a:lnTo>
                      <a:lnTo>
                        <a:pt x="356" y="572"/>
                      </a:lnTo>
                      <a:lnTo>
                        <a:pt x="362" y="573"/>
                      </a:lnTo>
                      <a:lnTo>
                        <a:pt x="367" y="577"/>
                      </a:lnTo>
                      <a:lnTo>
                        <a:pt x="370" y="580"/>
                      </a:lnTo>
                      <a:lnTo>
                        <a:pt x="376" y="589"/>
                      </a:lnTo>
                      <a:lnTo>
                        <a:pt x="379" y="593"/>
                      </a:lnTo>
                      <a:lnTo>
                        <a:pt x="383" y="596"/>
                      </a:lnTo>
                      <a:lnTo>
                        <a:pt x="386" y="596"/>
                      </a:lnTo>
                      <a:lnTo>
                        <a:pt x="391" y="594"/>
                      </a:lnTo>
                      <a:lnTo>
                        <a:pt x="395" y="593"/>
                      </a:lnTo>
                      <a:lnTo>
                        <a:pt x="402" y="589"/>
                      </a:lnTo>
                      <a:lnTo>
                        <a:pt x="404" y="589"/>
                      </a:lnTo>
                      <a:lnTo>
                        <a:pt x="405" y="587"/>
                      </a:lnTo>
                      <a:lnTo>
                        <a:pt x="409" y="586"/>
                      </a:lnTo>
                      <a:lnTo>
                        <a:pt x="411" y="584"/>
                      </a:lnTo>
                      <a:lnTo>
                        <a:pt x="412" y="582"/>
                      </a:lnTo>
                      <a:lnTo>
                        <a:pt x="414" y="584"/>
                      </a:lnTo>
                      <a:lnTo>
                        <a:pt x="418" y="584"/>
                      </a:lnTo>
                      <a:lnTo>
                        <a:pt x="419" y="586"/>
                      </a:lnTo>
                      <a:lnTo>
                        <a:pt x="423" y="584"/>
                      </a:lnTo>
                      <a:lnTo>
                        <a:pt x="426" y="584"/>
                      </a:lnTo>
                      <a:lnTo>
                        <a:pt x="432" y="582"/>
                      </a:lnTo>
                      <a:lnTo>
                        <a:pt x="437" y="580"/>
                      </a:lnTo>
                      <a:lnTo>
                        <a:pt x="439" y="577"/>
                      </a:lnTo>
                      <a:lnTo>
                        <a:pt x="440" y="573"/>
                      </a:lnTo>
                      <a:lnTo>
                        <a:pt x="442" y="566"/>
                      </a:lnTo>
                      <a:lnTo>
                        <a:pt x="446" y="554"/>
                      </a:lnTo>
                      <a:lnTo>
                        <a:pt x="447" y="554"/>
                      </a:lnTo>
                      <a:lnTo>
                        <a:pt x="456" y="552"/>
                      </a:lnTo>
                      <a:lnTo>
                        <a:pt x="460" y="549"/>
                      </a:lnTo>
                      <a:lnTo>
                        <a:pt x="463" y="545"/>
                      </a:lnTo>
                      <a:lnTo>
                        <a:pt x="466" y="540"/>
                      </a:lnTo>
                      <a:lnTo>
                        <a:pt x="470" y="537"/>
                      </a:lnTo>
                      <a:lnTo>
                        <a:pt x="473" y="535"/>
                      </a:lnTo>
                      <a:lnTo>
                        <a:pt x="545" y="500"/>
                      </a:lnTo>
                      <a:lnTo>
                        <a:pt x="547" y="498"/>
                      </a:lnTo>
                      <a:lnTo>
                        <a:pt x="547" y="495"/>
                      </a:lnTo>
                      <a:lnTo>
                        <a:pt x="545" y="491"/>
                      </a:lnTo>
                      <a:lnTo>
                        <a:pt x="540" y="489"/>
                      </a:lnTo>
                      <a:lnTo>
                        <a:pt x="515" y="475"/>
                      </a:lnTo>
                      <a:lnTo>
                        <a:pt x="505" y="470"/>
                      </a:lnTo>
                      <a:lnTo>
                        <a:pt x="494" y="467"/>
                      </a:lnTo>
                      <a:lnTo>
                        <a:pt x="482" y="469"/>
                      </a:lnTo>
                      <a:lnTo>
                        <a:pt x="479" y="470"/>
                      </a:lnTo>
                      <a:lnTo>
                        <a:pt x="470" y="475"/>
                      </a:lnTo>
                      <a:lnTo>
                        <a:pt x="468" y="477"/>
                      </a:lnTo>
                      <a:lnTo>
                        <a:pt x="466" y="475"/>
                      </a:lnTo>
                      <a:lnTo>
                        <a:pt x="466" y="474"/>
                      </a:lnTo>
                      <a:lnTo>
                        <a:pt x="466" y="472"/>
                      </a:lnTo>
                      <a:lnTo>
                        <a:pt x="466" y="470"/>
                      </a:lnTo>
                      <a:lnTo>
                        <a:pt x="463" y="469"/>
                      </a:lnTo>
                      <a:lnTo>
                        <a:pt x="460" y="470"/>
                      </a:lnTo>
                      <a:lnTo>
                        <a:pt x="458" y="472"/>
                      </a:lnTo>
                      <a:lnTo>
                        <a:pt x="454" y="474"/>
                      </a:lnTo>
                      <a:lnTo>
                        <a:pt x="456" y="472"/>
                      </a:lnTo>
                      <a:lnTo>
                        <a:pt x="456" y="470"/>
                      </a:lnTo>
                      <a:lnTo>
                        <a:pt x="458" y="469"/>
                      </a:lnTo>
                      <a:lnTo>
                        <a:pt x="447" y="467"/>
                      </a:lnTo>
                      <a:lnTo>
                        <a:pt x="437" y="463"/>
                      </a:lnTo>
                      <a:lnTo>
                        <a:pt x="425" y="456"/>
                      </a:lnTo>
                      <a:lnTo>
                        <a:pt x="419" y="455"/>
                      </a:lnTo>
                      <a:lnTo>
                        <a:pt x="414" y="455"/>
                      </a:lnTo>
                      <a:lnTo>
                        <a:pt x="407" y="455"/>
                      </a:lnTo>
                      <a:lnTo>
                        <a:pt x="397" y="458"/>
                      </a:lnTo>
                      <a:lnTo>
                        <a:pt x="376" y="460"/>
                      </a:lnTo>
                      <a:lnTo>
                        <a:pt x="351" y="463"/>
                      </a:lnTo>
                      <a:lnTo>
                        <a:pt x="349" y="463"/>
                      </a:lnTo>
                      <a:lnTo>
                        <a:pt x="349" y="465"/>
                      </a:lnTo>
                      <a:lnTo>
                        <a:pt x="351" y="469"/>
                      </a:lnTo>
                      <a:lnTo>
                        <a:pt x="358" y="481"/>
                      </a:lnTo>
                      <a:lnTo>
                        <a:pt x="362" y="482"/>
                      </a:lnTo>
                      <a:lnTo>
                        <a:pt x="365" y="486"/>
                      </a:lnTo>
                      <a:lnTo>
                        <a:pt x="367" y="486"/>
                      </a:lnTo>
                      <a:lnTo>
                        <a:pt x="367" y="488"/>
                      </a:lnTo>
                      <a:lnTo>
                        <a:pt x="363" y="493"/>
                      </a:lnTo>
                      <a:lnTo>
                        <a:pt x="362" y="493"/>
                      </a:lnTo>
                      <a:lnTo>
                        <a:pt x="362" y="495"/>
                      </a:lnTo>
                      <a:lnTo>
                        <a:pt x="362" y="496"/>
                      </a:lnTo>
                      <a:lnTo>
                        <a:pt x="360" y="496"/>
                      </a:lnTo>
                      <a:lnTo>
                        <a:pt x="358" y="498"/>
                      </a:lnTo>
                      <a:lnTo>
                        <a:pt x="356" y="498"/>
                      </a:lnTo>
                      <a:lnTo>
                        <a:pt x="355" y="500"/>
                      </a:lnTo>
                      <a:lnTo>
                        <a:pt x="353" y="502"/>
                      </a:lnTo>
                      <a:lnTo>
                        <a:pt x="351" y="507"/>
                      </a:lnTo>
                      <a:lnTo>
                        <a:pt x="349" y="509"/>
                      </a:lnTo>
                      <a:lnTo>
                        <a:pt x="348" y="512"/>
                      </a:lnTo>
                      <a:lnTo>
                        <a:pt x="346" y="514"/>
                      </a:lnTo>
                      <a:lnTo>
                        <a:pt x="346" y="516"/>
                      </a:lnTo>
                      <a:lnTo>
                        <a:pt x="346" y="517"/>
                      </a:lnTo>
                      <a:lnTo>
                        <a:pt x="348" y="517"/>
                      </a:lnTo>
                      <a:lnTo>
                        <a:pt x="349" y="519"/>
                      </a:lnTo>
                      <a:lnTo>
                        <a:pt x="349" y="519"/>
                      </a:lnTo>
                      <a:lnTo>
                        <a:pt x="351" y="521"/>
                      </a:lnTo>
                      <a:lnTo>
                        <a:pt x="351" y="521"/>
                      </a:lnTo>
                      <a:lnTo>
                        <a:pt x="351" y="523"/>
                      </a:lnTo>
                      <a:lnTo>
                        <a:pt x="351" y="523"/>
                      </a:lnTo>
                      <a:lnTo>
                        <a:pt x="349" y="524"/>
                      </a:lnTo>
                      <a:lnTo>
                        <a:pt x="348" y="526"/>
                      </a:lnTo>
                      <a:lnTo>
                        <a:pt x="344" y="528"/>
                      </a:lnTo>
                      <a:lnTo>
                        <a:pt x="343" y="530"/>
                      </a:lnTo>
                      <a:lnTo>
                        <a:pt x="343" y="537"/>
                      </a:lnTo>
                      <a:lnTo>
                        <a:pt x="343" y="538"/>
                      </a:lnTo>
                      <a:lnTo>
                        <a:pt x="343" y="538"/>
                      </a:lnTo>
                      <a:lnTo>
                        <a:pt x="341" y="538"/>
                      </a:lnTo>
                      <a:lnTo>
                        <a:pt x="341" y="540"/>
                      </a:lnTo>
                      <a:lnTo>
                        <a:pt x="339" y="542"/>
                      </a:lnTo>
                      <a:lnTo>
                        <a:pt x="336" y="545"/>
                      </a:lnTo>
                      <a:lnTo>
                        <a:pt x="334" y="547"/>
                      </a:lnTo>
                      <a:lnTo>
                        <a:pt x="330" y="551"/>
                      </a:lnTo>
                      <a:lnTo>
                        <a:pt x="329" y="554"/>
                      </a:lnTo>
                      <a:lnTo>
                        <a:pt x="330" y="556"/>
                      </a:lnTo>
                      <a:lnTo>
                        <a:pt x="327" y="556"/>
                      </a:lnTo>
                      <a:lnTo>
                        <a:pt x="327" y="558"/>
                      </a:lnTo>
                      <a:lnTo>
                        <a:pt x="325" y="559"/>
                      </a:lnTo>
                      <a:lnTo>
                        <a:pt x="325" y="563"/>
                      </a:lnTo>
                      <a:lnTo>
                        <a:pt x="325" y="563"/>
                      </a:lnTo>
                      <a:lnTo>
                        <a:pt x="327" y="565"/>
                      </a:lnTo>
                      <a:close/>
                      <a:moveTo>
                        <a:pt x="538" y="353"/>
                      </a:moveTo>
                      <a:lnTo>
                        <a:pt x="538" y="358"/>
                      </a:lnTo>
                      <a:lnTo>
                        <a:pt x="543" y="360"/>
                      </a:lnTo>
                      <a:lnTo>
                        <a:pt x="556" y="362"/>
                      </a:lnTo>
                      <a:lnTo>
                        <a:pt x="561" y="362"/>
                      </a:lnTo>
                      <a:lnTo>
                        <a:pt x="550" y="362"/>
                      </a:lnTo>
                      <a:lnTo>
                        <a:pt x="540" y="362"/>
                      </a:lnTo>
                      <a:lnTo>
                        <a:pt x="529" y="362"/>
                      </a:lnTo>
                      <a:lnTo>
                        <a:pt x="522" y="369"/>
                      </a:lnTo>
                      <a:lnTo>
                        <a:pt x="522" y="372"/>
                      </a:lnTo>
                      <a:lnTo>
                        <a:pt x="522" y="372"/>
                      </a:lnTo>
                      <a:lnTo>
                        <a:pt x="521" y="374"/>
                      </a:lnTo>
                      <a:lnTo>
                        <a:pt x="521" y="374"/>
                      </a:lnTo>
                      <a:lnTo>
                        <a:pt x="521" y="376"/>
                      </a:lnTo>
                      <a:lnTo>
                        <a:pt x="522" y="378"/>
                      </a:lnTo>
                      <a:lnTo>
                        <a:pt x="526" y="378"/>
                      </a:lnTo>
                      <a:lnTo>
                        <a:pt x="556" y="378"/>
                      </a:lnTo>
                      <a:lnTo>
                        <a:pt x="545" y="379"/>
                      </a:lnTo>
                      <a:lnTo>
                        <a:pt x="531" y="381"/>
                      </a:lnTo>
                      <a:lnTo>
                        <a:pt x="517" y="383"/>
                      </a:lnTo>
                      <a:lnTo>
                        <a:pt x="510" y="390"/>
                      </a:lnTo>
                      <a:lnTo>
                        <a:pt x="515" y="397"/>
                      </a:lnTo>
                      <a:lnTo>
                        <a:pt x="529" y="395"/>
                      </a:lnTo>
                      <a:lnTo>
                        <a:pt x="554" y="388"/>
                      </a:lnTo>
                      <a:lnTo>
                        <a:pt x="552" y="392"/>
                      </a:lnTo>
                      <a:lnTo>
                        <a:pt x="547" y="395"/>
                      </a:lnTo>
                      <a:lnTo>
                        <a:pt x="536" y="400"/>
                      </a:lnTo>
                      <a:lnTo>
                        <a:pt x="531" y="402"/>
                      </a:lnTo>
                      <a:lnTo>
                        <a:pt x="528" y="402"/>
                      </a:lnTo>
                      <a:lnTo>
                        <a:pt x="515" y="404"/>
                      </a:lnTo>
                      <a:lnTo>
                        <a:pt x="512" y="404"/>
                      </a:lnTo>
                      <a:lnTo>
                        <a:pt x="507" y="406"/>
                      </a:lnTo>
                      <a:lnTo>
                        <a:pt x="505" y="407"/>
                      </a:lnTo>
                      <a:lnTo>
                        <a:pt x="501" y="413"/>
                      </a:lnTo>
                      <a:lnTo>
                        <a:pt x="501" y="416"/>
                      </a:lnTo>
                      <a:lnTo>
                        <a:pt x="503" y="420"/>
                      </a:lnTo>
                      <a:lnTo>
                        <a:pt x="508" y="421"/>
                      </a:lnTo>
                      <a:lnTo>
                        <a:pt x="514" y="423"/>
                      </a:lnTo>
                      <a:lnTo>
                        <a:pt x="515" y="423"/>
                      </a:lnTo>
                      <a:lnTo>
                        <a:pt x="521" y="421"/>
                      </a:lnTo>
                      <a:lnTo>
                        <a:pt x="522" y="421"/>
                      </a:lnTo>
                      <a:lnTo>
                        <a:pt x="526" y="423"/>
                      </a:lnTo>
                      <a:lnTo>
                        <a:pt x="528" y="425"/>
                      </a:lnTo>
                      <a:lnTo>
                        <a:pt x="529" y="427"/>
                      </a:lnTo>
                      <a:lnTo>
                        <a:pt x="531" y="428"/>
                      </a:lnTo>
                      <a:lnTo>
                        <a:pt x="536" y="432"/>
                      </a:lnTo>
                      <a:lnTo>
                        <a:pt x="538" y="432"/>
                      </a:lnTo>
                      <a:lnTo>
                        <a:pt x="540" y="434"/>
                      </a:lnTo>
                      <a:lnTo>
                        <a:pt x="542" y="432"/>
                      </a:lnTo>
                      <a:lnTo>
                        <a:pt x="543" y="430"/>
                      </a:lnTo>
                      <a:lnTo>
                        <a:pt x="543" y="428"/>
                      </a:lnTo>
                      <a:lnTo>
                        <a:pt x="545" y="427"/>
                      </a:lnTo>
                      <a:lnTo>
                        <a:pt x="549" y="425"/>
                      </a:lnTo>
                      <a:lnTo>
                        <a:pt x="552" y="428"/>
                      </a:lnTo>
                      <a:lnTo>
                        <a:pt x="554" y="430"/>
                      </a:lnTo>
                      <a:lnTo>
                        <a:pt x="557" y="432"/>
                      </a:lnTo>
                      <a:lnTo>
                        <a:pt x="559" y="432"/>
                      </a:lnTo>
                      <a:lnTo>
                        <a:pt x="563" y="430"/>
                      </a:lnTo>
                      <a:lnTo>
                        <a:pt x="564" y="428"/>
                      </a:lnTo>
                      <a:lnTo>
                        <a:pt x="568" y="427"/>
                      </a:lnTo>
                      <a:lnTo>
                        <a:pt x="570" y="425"/>
                      </a:lnTo>
                      <a:lnTo>
                        <a:pt x="570" y="423"/>
                      </a:lnTo>
                      <a:lnTo>
                        <a:pt x="570" y="421"/>
                      </a:lnTo>
                      <a:lnTo>
                        <a:pt x="568" y="420"/>
                      </a:lnTo>
                      <a:lnTo>
                        <a:pt x="568" y="418"/>
                      </a:lnTo>
                      <a:lnTo>
                        <a:pt x="566" y="416"/>
                      </a:lnTo>
                      <a:lnTo>
                        <a:pt x="568" y="416"/>
                      </a:lnTo>
                      <a:lnTo>
                        <a:pt x="570" y="416"/>
                      </a:lnTo>
                      <a:lnTo>
                        <a:pt x="571" y="416"/>
                      </a:lnTo>
                      <a:lnTo>
                        <a:pt x="571" y="418"/>
                      </a:lnTo>
                      <a:lnTo>
                        <a:pt x="573" y="418"/>
                      </a:lnTo>
                      <a:lnTo>
                        <a:pt x="575" y="418"/>
                      </a:lnTo>
                      <a:lnTo>
                        <a:pt x="575" y="416"/>
                      </a:lnTo>
                      <a:lnTo>
                        <a:pt x="577" y="409"/>
                      </a:lnTo>
                      <a:lnTo>
                        <a:pt x="577" y="407"/>
                      </a:lnTo>
                      <a:lnTo>
                        <a:pt x="577" y="407"/>
                      </a:lnTo>
                      <a:lnTo>
                        <a:pt x="578" y="406"/>
                      </a:lnTo>
                      <a:lnTo>
                        <a:pt x="578" y="407"/>
                      </a:lnTo>
                      <a:lnTo>
                        <a:pt x="578" y="407"/>
                      </a:lnTo>
                      <a:lnTo>
                        <a:pt x="578" y="407"/>
                      </a:lnTo>
                      <a:lnTo>
                        <a:pt x="580" y="409"/>
                      </a:lnTo>
                      <a:lnTo>
                        <a:pt x="580" y="409"/>
                      </a:lnTo>
                      <a:lnTo>
                        <a:pt x="582" y="409"/>
                      </a:lnTo>
                      <a:lnTo>
                        <a:pt x="583" y="409"/>
                      </a:lnTo>
                      <a:lnTo>
                        <a:pt x="587" y="407"/>
                      </a:lnTo>
                      <a:lnTo>
                        <a:pt x="589" y="407"/>
                      </a:lnTo>
                      <a:lnTo>
                        <a:pt x="582" y="416"/>
                      </a:lnTo>
                      <a:lnTo>
                        <a:pt x="580" y="423"/>
                      </a:lnTo>
                      <a:lnTo>
                        <a:pt x="583" y="427"/>
                      </a:lnTo>
                      <a:lnTo>
                        <a:pt x="587" y="428"/>
                      </a:lnTo>
                      <a:lnTo>
                        <a:pt x="596" y="427"/>
                      </a:lnTo>
                      <a:lnTo>
                        <a:pt x="599" y="425"/>
                      </a:lnTo>
                      <a:lnTo>
                        <a:pt x="601" y="425"/>
                      </a:lnTo>
                      <a:lnTo>
                        <a:pt x="606" y="420"/>
                      </a:lnTo>
                      <a:lnTo>
                        <a:pt x="608" y="420"/>
                      </a:lnTo>
                      <a:lnTo>
                        <a:pt x="610" y="420"/>
                      </a:lnTo>
                      <a:lnTo>
                        <a:pt x="611" y="421"/>
                      </a:lnTo>
                      <a:lnTo>
                        <a:pt x="613" y="423"/>
                      </a:lnTo>
                      <a:lnTo>
                        <a:pt x="615" y="423"/>
                      </a:lnTo>
                      <a:lnTo>
                        <a:pt x="617" y="425"/>
                      </a:lnTo>
                      <a:lnTo>
                        <a:pt x="618" y="423"/>
                      </a:lnTo>
                      <a:lnTo>
                        <a:pt x="627" y="421"/>
                      </a:lnTo>
                      <a:lnTo>
                        <a:pt x="634" y="418"/>
                      </a:lnTo>
                      <a:lnTo>
                        <a:pt x="638" y="418"/>
                      </a:lnTo>
                      <a:lnTo>
                        <a:pt x="639" y="418"/>
                      </a:lnTo>
                      <a:lnTo>
                        <a:pt x="639" y="420"/>
                      </a:lnTo>
                      <a:lnTo>
                        <a:pt x="638" y="423"/>
                      </a:lnTo>
                      <a:lnTo>
                        <a:pt x="634" y="427"/>
                      </a:lnTo>
                      <a:lnTo>
                        <a:pt x="631" y="428"/>
                      </a:lnTo>
                      <a:lnTo>
                        <a:pt x="627" y="430"/>
                      </a:lnTo>
                      <a:lnTo>
                        <a:pt x="624" y="432"/>
                      </a:lnTo>
                      <a:lnTo>
                        <a:pt x="620" y="432"/>
                      </a:lnTo>
                      <a:lnTo>
                        <a:pt x="611" y="432"/>
                      </a:lnTo>
                      <a:lnTo>
                        <a:pt x="608" y="432"/>
                      </a:lnTo>
                      <a:lnTo>
                        <a:pt x="604" y="432"/>
                      </a:lnTo>
                      <a:lnTo>
                        <a:pt x="592" y="437"/>
                      </a:lnTo>
                      <a:lnTo>
                        <a:pt x="577" y="442"/>
                      </a:lnTo>
                      <a:lnTo>
                        <a:pt x="571" y="448"/>
                      </a:lnTo>
                      <a:lnTo>
                        <a:pt x="573" y="453"/>
                      </a:lnTo>
                      <a:lnTo>
                        <a:pt x="587" y="460"/>
                      </a:lnTo>
                      <a:lnTo>
                        <a:pt x="603" y="462"/>
                      </a:lnTo>
                      <a:lnTo>
                        <a:pt x="620" y="458"/>
                      </a:lnTo>
                      <a:lnTo>
                        <a:pt x="636" y="453"/>
                      </a:lnTo>
                      <a:lnTo>
                        <a:pt x="657" y="441"/>
                      </a:lnTo>
                      <a:lnTo>
                        <a:pt x="666" y="439"/>
                      </a:lnTo>
                      <a:lnTo>
                        <a:pt x="671" y="437"/>
                      </a:lnTo>
                      <a:lnTo>
                        <a:pt x="674" y="437"/>
                      </a:lnTo>
                      <a:lnTo>
                        <a:pt x="680" y="434"/>
                      </a:lnTo>
                      <a:lnTo>
                        <a:pt x="683" y="432"/>
                      </a:lnTo>
                      <a:lnTo>
                        <a:pt x="687" y="428"/>
                      </a:lnTo>
                      <a:lnTo>
                        <a:pt x="688" y="428"/>
                      </a:lnTo>
                      <a:lnTo>
                        <a:pt x="690" y="428"/>
                      </a:lnTo>
                      <a:lnTo>
                        <a:pt x="692" y="428"/>
                      </a:lnTo>
                      <a:lnTo>
                        <a:pt x="692" y="430"/>
                      </a:lnTo>
                      <a:lnTo>
                        <a:pt x="692" y="432"/>
                      </a:lnTo>
                      <a:lnTo>
                        <a:pt x="690" y="432"/>
                      </a:lnTo>
                      <a:lnTo>
                        <a:pt x="694" y="434"/>
                      </a:lnTo>
                      <a:lnTo>
                        <a:pt x="697" y="434"/>
                      </a:lnTo>
                      <a:lnTo>
                        <a:pt x="706" y="432"/>
                      </a:lnTo>
                      <a:lnTo>
                        <a:pt x="709" y="432"/>
                      </a:lnTo>
                      <a:lnTo>
                        <a:pt x="714" y="434"/>
                      </a:lnTo>
                      <a:lnTo>
                        <a:pt x="718" y="434"/>
                      </a:lnTo>
                      <a:lnTo>
                        <a:pt x="723" y="435"/>
                      </a:lnTo>
                      <a:lnTo>
                        <a:pt x="727" y="435"/>
                      </a:lnTo>
                      <a:lnTo>
                        <a:pt x="730" y="434"/>
                      </a:lnTo>
                      <a:lnTo>
                        <a:pt x="737" y="430"/>
                      </a:lnTo>
                      <a:lnTo>
                        <a:pt x="746" y="427"/>
                      </a:lnTo>
                      <a:lnTo>
                        <a:pt x="749" y="425"/>
                      </a:lnTo>
                      <a:lnTo>
                        <a:pt x="751" y="421"/>
                      </a:lnTo>
                      <a:lnTo>
                        <a:pt x="753" y="418"/>
                      </a:lnTo>
                      <a:lnTo>
                        <a:pt x="755" y="406"/>
                      </a:lnTo>
                      <a:lnTo>
                        <a:pt x="758" y="393"/>
                      </a:lnTo>
                      <a:lnTo>
                        <a:pt x="760" y="388"/>
                      </a:lnTo>
                      <a:lnTo>
                        <a:pt x="758" y="379"/>
                      </a:lnTo>
                      <a:lnTo>
                        <a:pt x="755" y="374"/>
                      </a:lnTo>
                      <a:lnTo>
                        <a:pt x="748" y="371"/>
                      </a:lnTo>
                      <a:lnTo>
                        <a:pt x="741" y="369"/>
                      </a:lnTo>
                      <a:lnTo>
                        <a:pt x="735" y="369"/>
                      </a:lnTo>
                      <a:lnTo>
                        <a:pt x="732" y="372"/>
                      </a:lnTo>
                      <a:lnTo>
                        <a:pt x="730" y="374"/>
                      </a:lnTo>
                      <a:lnTo>
                        <a:pt x="730" y="379"/>
                      </a:lnTo>
                      <a:lnTo>
                        <a:pt x="732" y="379"/>
                      </a:lnTo>
                      <a:lnTo>
                        <a:pt x="734" y="381"/>
                      </a:lnTo>
                      <a:lnTo>
                        <a:pt x="734" y="381"/>
                      </a:lnTo>
                      <a:lnTo>
                        <a:pt x="734" y="383"/>
                      </a:lnTo>
                      <a:lnTo>
                        <a:pt x="732" y="383"/>
                      </a:lnTo>
                      <a:lnTo>
                        <a:pt x="730" y="383"/>
                      </a:lnTo>
                      <a:lnTo>
                        <a:pt x="730" y="383"/>
                      </a:lnTo>
                      <a:lnTo>
                        <a:pt x="730" y="385"/>
                      </a:lnTo>
                      <a:lnTo>
                        <a:pt x="730" y="386"/>
                      </a:lnTo>
                      <a:lnTo>
                        <a:pt x="728" y="390"/>
                      </a:lnTo>
                      <a:lnTo>
                        <a:pt x="728" y="386"/>
                      </a:lnTo>
                      <a:lnTo>
                        <a:pt x="727" y="383"/>
                      </a:lnTo>
                      <a:lnTo>
                        <a:pt x="725" y="379"/>
                      </a:lnTo>
                      <a:lnTo>
                        <a:pt x="721" y="378"/>
                      </a:lnTo>
                      <a:lnTo>
                        <a:pt x="718" y="378"/>
                      </a:lnTo>
                      <a:lnTo>
                        <a:pt x="716" y="378"/>
                      </a:lnTo>
                      <a:lnTo>
                        <a:pt x="714" y="378"/>
                      </a:lnTo>
                      <a:lnTo>
                        <a:pt x="713" y="379"/>
                      </a:lnTo>
                      <a:lnTo>
                        <a:pt x="711" y="379"/>
                      </a:lnTo>
                      <a:lnTo>
                        <a:pt x="709" y="381"/>
                      </a:lnTo>
                      <a:lnTo>
                        <a:pt x="707" y="383"/>
                      </a:lnTo>
                      <a:lnTo>
                        <a:pt x="706" y="383"/>
                      </a:lnTo>
                      <a:lnTo>
                        <a:pt x="711" y="376"/>
                      </a:lnTo>
                      <a:lnTo>
                        <a:pt x="711" y="372"/>
                      </a:lnTo>
                      <a:lnTo>
                        <a:pt x="709" y="369"/>
                      </a:lnTo>
                      <a:lnTo>
                        <a:pt x="706" y="369"/>
                      </a:lnTo>
                      <a:lnTo>
                        <a:pt x="700" y="369"/>
                      </a:lnTo>
                      <a:lnTo>
                        <a:pt x="699" y="369"/>
                      </a:lnTo>
                      <a:lnTo>
                        <a:pt x="697" y="367"/>
                      </a:lnTo>
                      <a:lnTo>
                        <a:pt x="699" y="365"/>
                      </a:lnTo>
                      <a:lnTo>
                        <a:pt x="700" y="364"/>
                      </a:lnTo>
                      <a:lnTo>
                        <a:pt x="700" y="362"/>
                      </a:lnTo>
                      <a:lnTo>
                        <a:pt x="702" y="360"/>
                      </a:lnTo>
                      <a:lnTo>
                        <a:pt x="702" y="358"/>
                      </a:lnTo>
                      <a:lnTo>
                        <a:pt x="702" y="357"/>
                      </a:lnTo>
                      <a:lnTo>
                        <a:pt x="700" y="355"/>
                      </a:lnTo>
                      <a:lnTo>
                        <a:pt x="700" y="353"/>
                      </a:lnTo>
                      <a:lnTo>
                        <a:pt x="697" y="351"/>
                      </a:lnTo>
                      <a:lnTo>
                        <a:pt x="697" y="351"/>
                      </a:lnTo>
                      <a:lnTo>
                        <a:pt x="695" y="350"/>
                      </a:lnTo>
                      <a:lnTo>
                        <a:pt x="695" y="350"/>
                      </a:lnTo>
                      <a:lnTo>
                        <a:pt x="694" y="346"/>
                      </a:lnTo>
                      <a:lnTo>
                        <a:pt x="694" y="344"/>
                      </a:lnTo>
                      <a:lnTo>
                        <a:pt x="694" y="343"/>
                      </a:lnTo>
                      <a:lnTo>
                        <a:pt x="694" y="341"/>
                      </a:lnTo>
                      <a:lnTo>
                        <a:pt x="694" y="339"/>
                      </a:lnTo>
                      <a:lnTo>
                        <a:pt x="695" y="339"/>
                      </a:lnTo>
                      <a:lnTo>
                        <a:pt x="695" y="337"/>
                      </a:lnTo>
                      <a:lnTo>
                        <a:pt x="695" y="336"/>
                      </a:lnTo>
                      <a:lnTo>
                        <a:pt x="692" y="334"/>
                      </a:lnTo>
                      <a:lnTo>
                        <a:pt x="687" y="334"/>
                      </a:lnTo>
                      <a:lnTo>
                        <a:pt x="681" y="334"/>
                      </a:lnTo>
                      <a:lnTo>
                        <a:pt x="676" y="336"/>
                      </a:lnTo>
                      <a:lnTo>
                        <a:pt x="674" y="337"/>
                      </a:lnTo>
                      <a:lnTo>
                        <a:pt x="669" y="344"/>
                      </a:lnTo>
                      <a:lnTo>
                        <a:pt x="666" y="346"/>
                      </a:lnTo>
                      <a:lnTo>
                        <a:pt x="660" y="350"/>
                      </a:lnTo>
                      <a:lnTo>
                        <a:pt x="657" y="355"/>
                      </a:lnTo>
                      <a:lnTo>
                        <a:pt x="674" y="364"/>
                      </a:lnTo>
                      <a:lnTo>
                        <a:pt x="674" y="371"/>
                      </a:lnTo>
                      <a:lnTo>
                        <a:pt x="673" y="372"/>
                      </a:lnTo>
                      <a:lnTo>
                        <a:pt x="669" y="374"/>
                      </a:lnTo>
                      <a:lnTo>
                        <a:pt x="667" y="374"/>
                      </a:lnTo>
                      <a:lnTo>
                        <a:pt x="666" y="376"/>
                      </a:lnTo>
                      <a:lnTo>
                        <a:pt x="667" y="379"/>
                      </a:lnTo>
                      <a:lnTo>
                        <a:pt x="669" y="381"/>
                      </a:lnTo>
                      <a:lnTo>
                        <a:pt x="680" y="385"/>
                      </a:lnTo>
                      <a:lnTo>
                        <a:pt x="685" y="388"/>
                      </a:lnTo>
                      <a:lnTo>
                        <a:pt x="687" y="393"/>
                      </a:lnTo>
                      <a:lnTo>
                        <a:pt x="687" y="399"/>
                      </a:lnTo>
                      <a:lnTo>
                        <a:pt x="681" y="400"/>
                      </a:lnTo>
                      <a:lnTo>
                        <a:pt x="676" y="402"/>
                      </a:lnTo>
                      <a:lnTo>
                        <a:pt x="664" y="399"/>
                      </a:lnTo>
                      <a:lnTo>
                        <a:pt x="643" y="399"/>
                      </a:lnTo>
                      <a:lnTo>
                        <a:pt x="638" y="397"/>
                      </a:lnTo>
                      <a:lnTo>
                        <a:pt x="636" y="393"/>
                      </a:lnTo>
                      <a:lnTo>
                        <a:pt x="634" y="388"/>
                      </a:lnTo>
                      <a:lnTo>
                        <a:pt x="632" y="385"/>
                      </a:lnTo>
                      <a:lnTo>
                        <a:pt x="629" y="383"/>
                      </a:lnTo>
                      <a:lnTo>
                        <a:pt x="620" y="381"/>
                      </a:lnTo>
                      <a:lnTo>
                        <a:pt x="620" y="379"/>
                      </a:lnTo>
                      <a:lnTo>
                        <a:pt x="620" y="376"/>
                      </a:lnTo>
                      <a:lnTo>
                        <a:pt x="622" y="376"/>
                      </a:lnTo>
                      <a:lnTo>
                        <a:pt x="622" y="376"/>
                      </a:lnTo>
                      <a:lnTo>
                        <a:pt x="620" y="374"/>
                      </a:lnTo>
                      <a:lnTo>
                        <a:pt x="618" y="371"/>
                      </a:lnTo>
                      <a:lnTo>
                        <a:pt x="606" y="364"/>
                      </a:lnTo>
                      <a:lnTo>
                        <a:pt x="603" y="360"/>
                      </a:lnTo>
                      <a:lnTo>
                        <a:pt x="597" y="358"/>
                      </a:lnTo>
                      <a:lnTo>
                        <a:pt x="592" y="358"/>
                      </a:lnTo>
                      <a:lnTo>
                        <a:pt x="585" y="360"/>
                      </a:lnTo>
                      <a:lnTo>
                        <a:pt x="582" y="360"/>
                      </a:lnTo>
                      <a:lnTo>
                        <a:pt x="580" y="360"/>
                      </a:lnTo>
                      <a:lnTo>
                        <a:pt x="578" y="358"/>
                      </a:lnTo>
                      <a:lnTo>
                        <a:pt x="577" y="357"/>
                      </a:lnTo>
                      <a:lnTo>
                        <a:pt x="575" y="353"/>
                      </a:lnTo>
                      <a:lnTo>
                        <a:pt x="571" y="348"/>
                      </a:lnTo>
                      <a:lnTo>
                        <a:pt x="566" y="348"/>
                      </a:lnTo>
                      <a:lnTo>
                        <a:pt x="561" y="346"/>
                      </a:lnTo>
                      <a:lnTo>
                        <a:pt x="556" y="348"/>
                      </a:lnTo>
                      <a:lnTo>
                        <a:pt x="550" y="348"/>
                      </a:lnTo>
                      <a:lnTo>
                        <a:pt x="543" y="350"/>
                      </a:lnTo>
                      <a:lnTo>
                        <a:pt x="538" y="353"/>
                      </a:lnTo>
                      <a:close/>
                      <a:moveTo>
                        <a:pt x="561" y="296"/>
                      </a:moveTo>
                      <a:lnTo>
                        <a:pt x="566" y="299"/>
                      </a:lnTo>
                      <a:lnTo>
                        <a:pt x="570" y="301"/>
                      </a:lnTo>
                      <a:lnTo>
                        <a:pt x="575" y="301"/>
                      </a:lnTo>
                      <a:lnTo>
                        <a:pt x="580" y="301"/>
                      </a:lnTo>
                      <a:lnTo>
                        <a:pt x="583" y="299"/>
                      </a:lnTo>
                      <a:lnTo>
                        <a:pt x="585" y="296"/>
                      </a:lnTo>
                      <a:lnTo>
                        <a:pt x="583" y="292"/>
                      </a:lnTo>
                      <a:lnTo>
                        <a:pt x="578" y="289"/>
                      </a:lnTo>
                      <a:lnTo>
                        <a:pt x="571" y="285"/>
                      </a:lnTo>
                      <a:lnTo>
                        <a:pt x="571" y="285"/>
                      </a:lnTo>
                      <a:lnTo>
                        <a:pt x="571" y="283"/>
                      </a:lnTo>
                      <a:lnTo>
                        <a:pt x="571" y="283"/>
                      </a:lnTo>
                      <a:lnTo>
                        <a:pt x="570" y="283"/>
                      </a:lnTo>
                      <a:lnTo>
                        <a:pt x="570" y="283"/>
                      </a:lnTo>
                      <a:lnTo>
                        <a:pt x="568" y="283"/>
                      </a:lnTo>
                      <a:lnTo>
                        <a:pt x="564" y="285"/>
                      </a:lnTo>
                      <a:lnTo>
                        <a:pt x="561" y="287"/>
                      </a:lnTo>
                      <a:lnTo>
                        <a:pt x="557" y="289"/>
                      </a:lnTo>
                      <a:lnTo>
                        <a:pt x="556" y="289"/>
                      </a:lnTo>
                      <a:lnTo>
                        <a:pt x="557" y="292"/>
                      </a:lnTo>
                      <a:lnTo>
                        <a:pt x="561" y="296"/>
                      </a:lnTo>
                      <a:close/>
                      <a:moveTo>
                        <a:pt x="426" y="381"/>
                      </a:moveTo>
                      <a:lnTo>
                        <a:pt x="425" y="383"/>
                      </a:lnTo>
                      <a:lnTo>
                        <a:pt x="423" y="383"/>
                      </a:lnTo>
                      <a:lnTo>
                        <a:pt x="423" y="385"/>
                      </a:lnTo>
                      <a:lnTo>
                        <a:pt x="425" y="386"/>
                      </a:lnTo>
                      <a:lnTo>
                        <a:pt x="426" y="386"/>
                      </a:lnTo>
                      <a:lnTo>
                        <a:pt x="428" y="385"/>
                      </a:lnTo>
                      <a:lnTo>
                        <a:pt x="428" y="383"/>
                      </a:lnTo>
                      <a:lnTo>
                        <a:pt x="430" y="381"/>
                      </a:lnTo>
                      <a:lnTo>
                        <a:pt x="430" y="379"/>
                      </a:lnTo>
                      <a:lnTo>
                        <a:pt x="430" y="378"/>
                      </a:lnTo>
                      <a:lnTo>
                        <a:pt x="430" y="376"/>
                      </a:lnTo>
                      <a:lnTo>
                        <a:pt x="428" y="376"/>
                      </a:lnTo>
                      <a:lnTo>
                        <a:pt x="428" y="376"/>
                      </a:lnTo>
                      <a:lnTo>
                        <a:pt x="426" y="378"/>
                      </a:lnTo>
                      <a:lnTo>
                        <a:pt x="428" y="379"/>
                      </a:lnTo>
                      <a:lnTo>
                        <a:pt x="428" y="379"/>
                      </a:lnTo>
                      <a:lnTo>
                        <a:pt x="426" y="381"/>
                      </a:lnTo>
                      <a:close/>
                      <a:moveTo>
                        <a:pt x="480" y="376"/>
                      </a:moveTo>
                      <a:lnTo>
                        <a:pt x="473" y="381"/>
                      </a:lnTo>
                      <a:lnTo>
                        <a:pt x="468" y="386"/>
                      </a:lnTo>
                      <a:lnTo>
                        <a:pt x="463" y="392"/>
                      </a:lnTo>
                      <a:lnTo>
                        <a:pt x="463" y="395"/>
                      </a:lnTo>
                      <a:lnTo>
                        <a:pt x="465" y="397"/>
                      </a:lnTo>
                      <a:lnTo>
                        <a:pt x="470" y="399"/>
                      </a:lnTo>
                      <a:lnTo>
                        <a:pt x="473" y="400"/>
                      </a:lnTo>
                      <a:lnTo>
                        <a:pt x="477" y="400"/>
                      </a:lnTo>
                      <a:lnTo>
                        <a:pt x="480" y="400"/>
                      </a:lnTo>
                      <a:lnTo>
                        <a:pt x="484" y="397"/>
                      </a:lnTo>
                      <a:lnTo>
                        <a:pt x="489" y="392"/>
                      </a:lnTo>
                      <a:lnTo>
                        <a:pt x="496" y="379"/>
                      </a:lnTo>
                      <a:lnTo>
                        <a:pt x="500" y="374"/>
                      </a:lnTo>
                      <a:lnTo>
                        <a:pt x="501" y="367"/>
                      </a:lnTo>
                      <a:lnTo>
                        <a:pt x="498" y="367"/>
                      </a:lnTo>
                      <a:lnTo>
                        <a:pt x="480" y="376"/>
                      </a:lnTo>
                      <a:close/>
                      <a:moveTo>
                        <a:pt x="391" y="364"/>
                      </a:moveTo>
                      <a:lnTo>
                        <a:pt x="393" y="364"/>
                      </a:lnTo>
                      <a:lnTo>
                        <a:pt x="393" y="365"/>
                      </a:lnTo>
                      <a:lnTo>
                        <a:pt x="393" y="367"/>
                      </a:lnTo>
                      <a:lnTo>
                        <a:pt x="393" y="371"/>
                      </a:lnTo>
                      <a:lnTo>
                        <a:pt x="393" y="372"/>
                      </a:lnTo>
                      <a:lnTo>
                        <a:pt x="395" y="374"/>
                      </a:lnTo>
                      <a:lnTo>
                        <a:pt x="398" y="374"/>
                      </a:lnTo>
                      <a:lnTo>
                        <a:pt x="402" y="372"/>
                      </a:lnTo>
                      <a:lnTo>
                        <a:pt x="405" y="371"/>
                      </a:lnTo>
                      <a:lnTo>
                        <a:pt x="409" y="371"/>
                      </a:lnTo>
                      <a:lnTo>
                        <a:pt x="412" y="371"/>
                      </a:lnTo>
                      <a:lnTo>
                        <a:pt x="418" y="372"/>
                      </a:lnTo>
                      <a:lnTo>
                        <a:pt x="421" y="372"/>
                      </a:lnTo>
                      <a:lnTo>
                        <a:pt x="425" y="372"/>
                      </a:lnTo>
                      <a:lnTo>
                        <a:pt x="426" y="369"/>
                      </a:lnTo>
                      <a:lnTo>
                        <a:pt x="430" y="364"/>
                      </a:lnTo>
                      <a:lnTo>
                        <a:pt x="432" y="362"/>
                      </a:lnTo>
                      <a:lnTo>
                        <a:pt x="433" y="365"/>
                      </a:lnTo>
                      <a:lnTo>
                        <a:pt x="435" y="369"/>
                      </a:lnTo>
                      <a:lnTo>
                        <a:pt x="440" y="379"/>
                      </a:lnTo>
                      <a:lnTo>
                        <a:pt x="440" y="381"/>
                      </a:lnTo>
                      <a:lnTo>
                        <a:pt x="444" y="381"/>
                      </a:lnTo>
                      <a:lnTo>
                        <a:pt x="451" y="379"/>
                      </a:lnTo>
                      <a:lnTo>
                        <a:pt x="453" y="378"/>
                      </a:lnTo>
                      <a:lnTo>
                        <a:pt x="458" y="372"/>
                      </a:lnTo>
                      <a:lnTo>
                        <a:pt x="460" y="372"/>
                      </a:lnTo>
                      <a:lnTo>
                        <a:pt x="460" y="371"/>
                      </a:lnTo>
                      <a:lnTo>
                        <a:pt x="460" y="369"/>
                      </a:lnTo>
                      <a:lnTo>
                        <a:pt x="458" y="369"/>
                      </a:lnTo>
                      <a:lnTo>
                        <a:pt x="458" y="367"/>
                      </a:lnTo>
                      <a:lnTo>
                        <a:pt x="456" y="367"/>
                      </a:lnTo>
                      <a:lnTo>
                        <a:pt x="456" y="367"/>
                      </a:lnTo>
                      <a:lnTo>
                        <a:pt x="454" y="365"/>
                      </a:lnTo>
                      <a:lnTo>
                        <a:pt x="454" y="365"/>
                      </a:lnTo>
                      <a:lnTo>
                        <a:pt x="456" y="365"/>
                      </a:lnTo>
                      <a:lnTo>
                        <a:pt x="456" y="364"/>
                      </a:lnTo>
                      <a:lnTo>
                        <a:pt x="458" y="364"/>
                      </a:lnTo>
                      <a:lnTo>
                        <a:pt x="456" y="360"/>
                      </a:lnTo>
                      <a:lnTo>
                        <a:pt x="456" y="358"/>
                      </a:lnTo>
                      <a:lnTo>
                        <a:pt x="458" y="357"/>
                      </a:lnTo>
                      <a:lnTo>
                        <a:pt x="458" y="355"/>
                      </a:lnTo>
                      <a:lnTo>
                        <a:pt x="460" y="355"/>
                      </a:lnTo>
                      <a:lnTo>
                        <a:pt x="465" y="364"/>
                      </a:lnTo>
                      <a:lnTo>
                        <a:pt x="468" y="365"/>
                      </a:lnTo>
                      <a:lnTo>
                        <a:pt x="472" y="364"/>
                      </a:lnTo>
                      <a:lnTo>
                        <a:pt x="473" y="362"/>
                      </a:lnTo>
                      <a:lnTo>
                        <a:pt x="475" y="358"/>
                      </a:lnTo>
                      <a:lnTo>
                        <a:pt x="477" y="355"/>
                      </a:lnTo>
                      <a:lnTo>
                        <a:pt x="479" y="351"/>
                      </a:lnTo>
                      <a:lnTo>
                        <a:pt x="477" y="351"/>
                      </a:lnTo>
                      <a:lnTo>
                        <a:pt x="475" y="350"/>
                      </a:lnTo>
                      <a:lnTo>
                        <a:pt x="475" y="348"/>
                      </a:lnTo>
                      <a:lnTo>
                        <a:pt x="475" y="346"/>
                      </a:lnTo>
                      <a:lnTo>
                        <a:pt x="477" y="346"/>
                      </a:lnTo>
                      <a:lnTo>
                        <a:pt x="479" y="346"/>
                      </a:lnTo>
                      <a:lnTo>
                        <a:pt x="480" y="346"/>
                      </a:lnTo>
                      <a:lnTo>
                        <a:pt x="482" y="343"/>
                      </a:lnTo>
                      <a:lnTo>
                        <a:pt x="484" y="341"/>
                      </a:lnTo>
                      <a:lnTo>
                        <a:pt x="486" y="337"/>
                      </a:lnTo>
                      <a:lnTo>
                        <a:pt x="489" y="336"/>
                      </a:lnTo>
                      <a:lnTo>
                        <a:pt x="493" y="334"/>
                      </a:lnTo>
                      <a:lnTo>
                        <a:pt x="494" y="334"/>
                      </a:lnTo>
                      <a:lnTo>
                        <a:pt x="496" y="336"/>
                      </a:lnTo>
                      <a:lnTo>
                        <a:pt x="494" y="339"/>
                      </a:lnTo>
                      <a:lnTo>
                        <a:pt x="493" y="346"/>
                      </a:lnTo>
                      <a:lnTo>
                        <a:pt x="493" y="350"/>
                      </a:lnTo>
                      <a:lnTo>
                        <a:pt x="494" y="353"/>
                      </a:lnTo>
                      <a:lnTo>
                        <a:pt x="498" y="355"/>
                      </a:lnTo>
                      <a:lnTo>
                        <a:pt x="501" y="357"/>
                      </a:lnTo>
                      <a:lnTo>
                        <a:pt x="507" y="358"/>
                      </a:lnTo>
                      <a:lnTo>
                        <a:pt x="510" y="357"/>
                      </a:lnTo>
                      <a:lnTo>
                        <a:pt x="512" y="355"/>
                      </a:lnTo>
                      <a:lnTo>
                        <a:pt x="512" y="351"/>
                      </a:lnTo>
                      <a:lnTo>
                        <a:pt x="512" y="348"/>
                      </a:lnTo>
                      <a:lnTo>
                        <a:pt x="514" y="346"/>
                      </a:lnTo>
                      <a:lnTo>
                        <a:pt x="517" y="344"/>
                      </a:lnTo>
                      <a:lnTo>
                        <a:pt x="528" y="343"/>
                      </a:lnTo>
                      <a:lnTo>
                        <a:pt x="533" y="341"/>
                      </a:lnTo>
                      <a:lnTo>
                        <a:pt x="535" y="337"/>
                      </a:lnTo>
                      <a:lnTo>
                        <a:pt x="535" y="336"/>
                      </a:lnTo>
                      <a:lnTo>
                        <a:pt x="531" y="334"/>
                      </a:lnTo>
                      <a:lnTo>
                        <a:pt x="529" y="330"/>
                      </a:lnTo>
                      <a:lnTo>
                        <a:pt x="531" y="330"/>
                      </a:lnTo>
                      <a:lnTo>
                        <a:pt x="536" y="330"/>
                      </a:lnTo>
                      <a:lnTo>
                        <a:pt x="538" y="329"/>
                      </a:lnTo>
                      <a:lnTo>
                        <a:pt x="536" y="327"/>
                      </a:lnTo>
                      <a:lnTo>
                        <a:pt x="529" y="323"/>
                      </a:lnTo>
                      <a:lnTo>
                        <a:pt x="528" y="322"/>
                      </a:lnTo>
                      <a:lnTo>
                        <a:pt x="533" y="320"/>
                      </a:lnTo>
                      <a:lnTo>
                        <a:pt x="542" y="316"/>
                      </a:lnTo>
                      <a:lnTo>
                        <a:pt x="547" y="315"/>
                      </a:lnTo>
                      <a:lnTo>
                        <a:pt x="542" y="313"/>
                      </a:lnTo>
                      <a:lnTo>
                        <a:pt x="536" y="310"/>
                      </a:lnTo>
                      <a:lnTo>
                        <a:pt x="529" y="308"/>
                      </a:lnTo>
                      <a:lnTo>
                        <a:pt x="524" y="308"/>
                      </a:lnTo>
                      <a:lnTo>
                        <a:pt x="522" y="308"/>
                      </a:lnTo>
                      <a:lnTo>
                        <a:pt x="519" y="308"/>
                      </a:lnTo>
                      <a:lnTo>
                        <a:pt x="515" y="308"/>
                      </a:lnTo>
                      <a:lnTo>
                        <a:pt x="514" y="310"/>
                      </a:lnTo>
                      <a:lnTo>
                        <a:pt x="514" y="311"/>
                      </a:lnTo>
                      <a:lnTo>
                        <a:pt x="514" y="311"/>
                      </a:lnTo>
                      <a:lnTo>
                        <a:pt x="517" y="313"/>
                      </a:lnTo>
                      <a:lnTo>
                        <a:pt x="519" y="313"/>
                      </a:lnTo>
                      <a:lnTo>
                        <a:pt x="517" y="315"/>
                      </a:lnTo>
                      <a:lnTo>
                        <a:pt x="514" y="315"/>
                      </a:lnTo>
                      <a:lnTo>
                        <a:pt x="505" y="315"/>
                      </a:lnTo>
                      <a:lnTo>
                        <a:pt x="493" y="313"/>
                      </a:lnTo>
                      <a:lnTo>
                        <a:pt x="486" y="313"/>
                      </a:lnTo>
                      <a:lnTo>
                        <a:pt x="479" y="313"/>
                      </a:lnTo>
                      <a:lnTo>
                        <a:pt x="470" y="315"/>
                      </a:lnTo>
                      <a:lnTo>
                        <a:pt x="463" y="318"/>
                      </a:lnTo>
                      <a:lnTo>
                        <a:pt x="451" y="325"/>
                      </a:lnTo>
                      <a:lnTo>
                        <a:pt x="440" y="334"/>
                      </a:lnTo>
                      <a:lnTo>
                        <a:pt x="437" y="336"/>
                      </a:lnTo>
                      <a:lnTo>
                        <a:pt x="430" y="339"/>
                      </a:lnTo>
                      <a:lnTo>
                        <a:pt x="426" y="341"/>
                      </a:lnTo>
                      <a:lnTo>
                        <a:pt x="423" y="343"/>
                      </a:lnTo>
                      <a:lnTo>
                        <a:pt x="418" y="348"/>
                      </a:lnTo>
                      <a:lnTo>
                        <a:pt x="414" y="350"/>
                      </a:lnTo>
                      <a:lnTo>
                        <a:pt x="411" y="351"/>
                      </a:lnTo>
                      <a:lnTo>
                        <a:pt x="402" y="351"/>
                      </a:lnTo>
                      <a:lnTo>
                        <a:pt x="398" y="351"/>
                      </a:lnTo>
                      <a:lnTo>
                        <a:pt x="395" y="355"/>
                      </a:lnTo>
                      <a:lnTo>
                        <a:pt x="391" y="358"/>
                      </a:lnTo>
                      <a:lnTo>
                        <a:pt x="390" y="362"/>
                      </a:lnTo>
                      <a:lnTo>
                        <a:pt x="388" y="365"/>
                      </a:lnTo>
                      <a:lnTo>
                        <a:pt x="390" y="364"/>
                      </a:lnTo>
                      <a:lnTo>
                        <a:pt x="391" y="36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39" name="Rectangle 322">
                  <a:extLst>
                    <a:ext uri="{FF2B5EF4-FFF2-40B4-BE49-F238E27FC236}">
                      <a16:creationId xmlns:a16="http://schemas.microsoft.com/office/drawing/2014/main" id="{E150A8C5-A546-A5B3-FB9D-9E3F657371B4}"/>
                    </a:ext>
                  </a:extLst>
                </p:cNvPr>
                <p:cNvSpPr>
                  <a:spLocks noChangeArrowheads="1"/>
                </p:cNvSpPr>
                <p:nvPr/>
              </p:nvSpPr>
              <p:spPr bwMode="auto">
                <a:xfrm>
                  <a:off x="-1714" y="-3014"/>
                  <a:ext cx="1" cy="2"/>
                </a:xfrm>
                <a:prstGeom prst="rect">
                  <a:avLst/>
                </a:pr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40" name="Rectangle 323">
                  <a:extLst>
                    <a:ext uri="{FF2B5EF4-FFF2-40B4-BE49-F238E27FC236}">
                      <a16:creationId xmlns:a16="http://schemas.microsoft.com/office/drawing/2014/main" id="{AFE524C3-C54C-5403-41F7-00263CEADD1C}"/>
                    </a:ext>
                  </a:extLst>
                </p:cNvPr>
                <p:cNvSpPr>
                  <a:spLocks noChangeArrowheads="1"/>
                </p:cNvSpPr>
                <p:nvPr/>
              </p:nvSpPr>
              <p:spPr bwMode="auto">
                <a:xfrm>
                  <a:off x="-1711" y="-3023"/>
                  <a:ext cx="2" cy="2"/>
                </a:xfrm>
                <a:prstGeom prst="rect">
                  <a:avLst/>
                </a:pr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41" name="Freeform 324">
                  <a:extLst>
                    <a:ext uri="{FF2B5EF4-FFF2-40B4-BE49-F238E27FC236}">
                      <a16:creationId xmlns:a16="http://schemas.microsoft.com/office/drawing/2014/main" id="{268EE026-4E16-E89B-ACA1-1D30D7975F2F}"/>
                    </a:ext>
                  </a:extLst>
                </p:cNvPr>
                <p:cNvSpPr>
                  <a:spLocks noEditPoints="1"/>
                </p:cNvSpPr>
                <p:nvPr/>
              </p:nvSpPr>
              <p:spPr bwMode="auto">
                <a:xfrm>
                  <a:off x="-1686" y="-2874"/>
                  <a:ext cx="29" cy="28"/>
                </a:xfrm>
                <a:custGeom>
                  <a:avLst/>
                  <a:gdLst>
                    <a:gd name="T0" fmla="*/ 26 w 29"/>
                    <a:gd name="T1" fmla="*/ 3 h 28"/>
                    <a:gd name="T2" fmla="*/ 24 w 29"/>
                    <a:gd name="T3" fmla="*/ 3 h 28"/>
                    <a:gd name="T4" fmla="*/ 24 w 29"/>
                    <a:gd name="T5" fmla="*/ 3 h 28"/>
                    <a:gd name="T6" fmla="*/ 26 w 29"/>
                    <a:gd name="T7" fmla="*/ 2 h 28"/>
                    <a:gd name="T8" fmla="*/ 28 w 29"/>
                    <a:gd name="T9" fmla="*/ 2 h 28"/>
                    <a:gd name="T10" fmla="*/ 29 w 29"/>
                    <a:gd name="T11" fmla="*/ 0 h 28"/>
                    <a:gd name="T12" fmla="*/ 29 w 29"/>
                    <a:gd name="T13" fmla="*/ 2 h 28"/>
                    <a:gd name="T14" fmla="*/ 28 w 29"/>
                    <a:gd name="T15" fmla="*/ 3 h 28"/>
                    <a:gd name="T16" fmla="*/ 26 w 29"/>
                    <a:gd name="T17" fmla="*/ 3 h 28"/>
                    <a:gd name="T18" fmla="*/ 17 w 29"/>
                    <a:gd name="T19" fmla="*/ 12 h 28"/>
                    <a:gd name="T20" fmla="*/ 7 w 29"/>
                    <a:gd name="T21" fmla="*/ 14 h 28"/>
                    <a:gd name="T22" fmla="*/ 7 w 29"/>
                    <a:gd name="T23" fmla="*/ 14 h 28"/>
                    <a:gd name="T24" fmla="*/ 8 w 29"/>
                    <a:gd name="T25" fmla="*/ 16 h 28"/>
                    <a:gd name="T26" fmla="*/ 10 w 29"/>
                    <a:gd name="T27" fmla="*/ 17 h 28"/>
                    <a:gd name="T28" fmla="*/ 10 w 29"/>
                    <a:gd name="T29" fmla="*/ 19 h 28"/>
                    <a:gd name="T30" fmla="*/ 8 w 29"/>
                    <a:gd name="T31" fmla="*/ 23 h 28"/>
                    <a:gd name="T32" fmla="*/ 8 w 29"/>
                    <a:gd name="T33" fmla="*/ 24 h 28"/>
                    <a:gd name="T34" fmla="*/ 5 w 29"/>
                    <a:gd name="T35" fmla="*/ 26 h 28"/>
                    <a:gd name="T36" fmla="*/ 0 w 29"/>
                    <a:gd name="T37" fmla="*/ 28 h 28"/>
                    <a:gd name="T38" fmla="*/ 5 w 29"/>
                    <a:gd name="T39" fmla="*/ 28 h 28"/>
                    <a:gd name="T40" fmla="*/ 10 w 29"/>
                    <a:gd name="T41" fmla="*/ 28 h 28"/>
                    <a:gd name="T42" fmla="*/ 15 w 29"/>
                    <a:gd name="T43" fmla="*/ 28 h 28"/>
                    <a:gd name="T44" fmla="*/ 19 w 29"/>
                    <a:gd name="T45" fmla="*/ 26 h 28"/>
                    <a:gd name="T46" fmla="*/ 21 w 29"/>
                    <a:gd name="T47" fmla="*/ 23 h 28"/>
                    <a:gd name="T48" fmla="*/ 21 w 29"/>
                    <a:gd name="T49" fmla="*/ 16 h 28"/>
                    <a:gd name="T50" fmla="*/ 22 w 29"/>
                    <a:gd name="T51" fmla="*/ 12 h 28"/>
                    <a:gd name="T52" fmla="*/ 17 w 29"/>
                    <a:gd name="T53"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 h="28">
                      <a:moveTo>
                        <a:pt x="26" y="3"/>
                      </a:moveTo>
                      <a:lnTo>
                        <a:pt x="24" y="3"/>
                      </a:lnTo>
                      <a:lnTo>
                        <a:pt x="24" y="3"/>
                      </a:lnTo>
                      <a:lnTo>
                        <a:pt x="26" y="2"/>
                      </a:lnTo>
                      <a:lnTo>
                        <a:pt x="28" y="2"/>
                      </a:lnTo>
                      <a:lnTo>
                        <a:pt x="29" y="0"/>
                      </a:lnTo>
                      <a:lnTo>
                        <a:pt x="29" y="2"/>
                      </a:lnTo>
                      <a:lnTo>
                        <a:pt x="28" y="3"/>
                      </a:lnTo>
                      <a:lnTo>
                        <a:pt x="26" y="3"/>
                      </a:lnTo>
                      <a:close/>
                      <a:moveTo>
                        <a:pt x="17" y="12"/>
                      </a:moveTo>
                      <a:lnTo>
                        <a:pt x="7" y="14"/>
                      </a:lnTo>
                      <a:lnTo>
                        <a:pt x="7" y="14"/>
                      </a:lnTo>
                      <a:lnTo>
                        <a:pt x="8" y="16"/>
                      </a:lnTo>
                      <a:lnTo>
                        <a:pt x="10" y="17"/>
                      </a:lnTo>
                      <a:lnTo>
                        <a:pt x="10" y="19"/>
                      </a:lnTo>
                      <a:lnTo>
                        <a:pt x="8" y="23"/>
                      </a:lnTo>
                      <a:lnTo>
                        <a:pt x="8" y="24"/>
                      </a:lnTo>
                      <a:lnTo>
                        <a:pt x="5" y="26"/>
                      </a:lnTo>
                      <a:lnTo>
                        <a:pt x="0" y="28"/>
                      </a:lnTo>
                      <a:lnTo>
                        <a:pt x="5" y="28"/>
                      </a:lnTo>
                      <a:lnTo>
                        <a:pt x="10" y="28"/>
                      </a:lnTo>
                      <a:lnTo>
                        <a:pt x="15" y="28"/>
                      </a:lnTo>
                      <a:lnTo>
                        <a:pt x="19" y="26"/>
                      </a:lnTo>
                      <a:lnTo>
                        <a:pt x="21" y="23"/>
                      </a:lnTo>
                      <a:lnTo>
                        <a:pt x="21" y="16"/>
                      </a:lnTo>
                      <a:lnTo>
                        <a:pt x="22" y="12"/>
                      </a:lnTo>
                      <a:lnTo>
                        <a:pt x="17" y="1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42" name="Freeform 325">
                  <a:extLst>
                    <a:ext uri="{FF2B5EF4-FFF2-40B4-BE49-F238E27FC236}">
                      <a16:creationId xmlns:a16="http://schemas.microsoft.com/office/drawing/2014/main" id="{FCFB3B10-3D00-4960-0BFC-BADBCB04B302}"/>
                    </a:ext>
                  </a:extLst>
                </p:cNvPr>
                <p:cNvSpPr>
                  <a:spLocks/>
                </p:cNvSpPr>
                <p:nvPr/>
              </p:nvSpPr>
              <p:spPr bwMode="auto">
                <a:xfrm>
                  <a:off x="-1749" y="-3356"/>
                  <a:ext cx="5" cy="3"/>
                </a:xfrm>
                <a:custGeom>
                  <a:avLst/>
                  <a:gdLst>
                    <a:gd name="T0" fmla="*/ 2 w 5"/>
                    <a:gd name="T1" fmla="*/ 1 h 3"/>
                    <a:gd name="T2" fmla="*/ 0 w 5"/>
                    <a:gd name="T3" fmla="*/ 3 h 3"/>
                    <a:gd name="T4" fmla="*/ 2 w 5"/>
                    <a:gd name="T5" fmla="*/ 3 h 3"/>
                    <a:gd name="T6" fmla="*/ 3 w 5"/>
                    <a:gd name="T7" fmla="*/ 1 h 3"/>
                    <a:gd name="T8" fmla="*/ 3 w 5"/>
                    <a:gd name="T9" fmla="*/ 1 h 3"/>
                    <a:gd name="T10" fmla="*/ 5 w 5"/>
                    <a:gd name="T11" fmla="*/ 0 h 3"/>
                    <a:gd name="T12" fmla="*/ 2 w 5"/>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2" y="1"/>
                      </a:moveTo>
                      <a:lnTo>
                        <a:pt x="0" y="3"/>
                      </a:lnTo>
                      <a:lnTo>
                        <a:pt x="2" y="3"/>
                      </a:lnTo>
                      <a:lnTo>
                        <a:pt x="3" y="1"/>
                      </a:lnTo>
                      <a:lnTo>
                        <a:pt x="3" y="1"/>
                      </a:lnTo>
                      <a:lnTo>
                        <a:pt x="5" y="0"/>
                      </a:lnTo>
                      <a:lnTo>
                        <a:pt x="2" y="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43" name="Freeform 326">
                  <a:extLst>
                    <a:ext uri="{FF2B5EF4-FFF2-40B4-BE49-F238E27FC236}">
                      <a16:creationId xmlns:a16="http://schemas.microsoft.com/office/drawing/2014/main" id="{8B7FC152-D5EB-F21B-B877-1AB81795D04C}"/>
                    </a:ext>
                  </a:extLst>
                </p:cNvPr>
                <p:cNvSpPr>
                  <a:spLocks noEditPoints="1"/>
                </p:cNvSpPr>
                <p:nvPr/>
              </p:nvSpPr>
              <p:spPr bwMode="auto">
                <a:xfrm>
                  <a:off x="-1568" y="-3737"/>
                  <a:ext cx="6" cy="9"/>
                </a:xfrm>
                <a:custGeom>
                  <a:avLst/>
                  <a:gdLst>
                    <a:gd name="T0" fmla="*/ 4 w 6"/>
                    <a:gd name="T1" fmla="*/ 9 h 9"/>
                    <a:gd name="T2" fmla="*/ 6 w 6"/>
                    <a:gd name="T3" fmla="*/ 9 h 9"/>
                    <a:gd name="T4" fmla="*/ 6 w 6"/>
                    <a:gd name="T5" fmla="*/ 9 h 9"/>
                    <a:gd name="T6" fmla="*/ 4 w 6"/>
                    <a:gd name="T7" fmla="*/ 9 h 9"/>
                    <a:gd name="T8" fmla="*/ 4 w 6"/>
                    <a:gd name="T9" fmla="*/ 9 h 9"/>
                    <a:gd name="T10" fmla="*/ 4 w 6"/>
                    <a:gd name="T11" fmla="*/ 9 h 9"/>
                    <a:gd name="T12" fmla="*/ 4 w 6"/>
                    <a:gd name="T13" fmla="*/ 9 h 9"/>
                    <a:gd name="T14" fmla="*/ 0 w 6"/>
                    <a:gd name="T15" fmla="*/ 7 h 9"/>
                    <a:gd name="T16" fmla="*/ 0 w 6"/>
                    <a:gd name="T17" fmla="*/ 7 h 9"/>
                    <a:gd name="T18" fmla="*/ 2 w 6"/>
                    <a:gd name="T19" fmla="*/ 7 h 9"/>
                    <a:gd name="T20" fmla="*/ 2 w 6"/>
                    <a:gd name="T21" fmla="*/ 7 h 9"/>
                    <a:gd name="T22" fmla="*/ 4 w 6"/>
                    <a:gd name="T23" fmla="*/ 7 h 9"/>
                    <a:gd name="T24" fmla="*/ 2 w 6"/>
                    <a:gd name="T25" fmla="*/ 3 h 9"/>
                    <a:gd name="T26" fmla="*/ 2 w 6"/>
                    <a:gd name="T27" fmla="*/ 2 h 9"/>
                    <a:gd name="T28" fmla="*/ 2 w 6"/>
                    <a:gd name="T29" fmla="*/ 0 h 9"/>
                    <a:gd name="T30" fmla="*/ 0 w 6"/>
                    <a:gd name="T31" fmla="*/ 2 h 9"/>
                    <a:gd name="T32" fmla="*/ 0 w 6"/>
                    <a:gd name="T33" fmla="*/ 2 h 9"/>
                    <a:gd name="T34" fmla="*/ 0 w 6"/>
                    <a:gd name="T35" fmla="*/ 3 h 9"/>
                    <a:gd name="T36" fmla="*/ 0 w 6"/>
                    <a:gd name="T37" fmla="*/ 7 h 9"/>
                    <a:gd name="T38" fmla="*/ 0 w 6"/>
                    <a:gd name="T3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 h="9">
                      <a:moveTo>
                        <a:pt x="4" y="9"/>
                      </a:moveTo>
                      <a:lnTo>
                        <a:pt x="6" y="9"/>
                      </a:lnTo>
                      <a:lnTo>
                        <a:pt x="6" y="9"/>
                      </a:lnTo>
                      <a:lnTo>
                        <a:pt x="4" y="9"/>
                      </a:lnTo>
                      <a:lnTo>
                        <a:pt x="4" y="9"/>
                      </a:lnTo>
                      <a:lnTo>
                        <a:pt x="4" y="9"/>
                      </a:lnTo>
                      <a:lnTo>
                        <a:pt x="4" y="9"/>
                      </a:lnTo>
                      <a:close/>
                      <a:moveTo>
                        <a:pt x="0" y="7"/>
                      </a:moveTo>
                      <a:lnTo>
                        <a:pt x="0" y="7"/>
                      </a:lnTo>
                      <a:lnTo>
                        <a:pt x="2" y="7"/>
                      </a:lnTo>
                      <a:lnTo>
                        <a:pt x="2" y="7"/>
                      </a:lnTo>
                      <a:lnTo>
                        <a:pt x="4" y="7"/>
                      </a:lnTo>
                      <a:lnTo>
                        <a:pt x="2" y="3"/>
                      </a:lnTo>
                      <a:lnTo>
                        <a:pt x="2" y="2"/>
                      </a:lnTo>
                      <a:lnTo>
                        <a:pt x="2" y="0"/>
                      </a:lnTo>
                      <a:lnTo>
                        <a:pt x="0" y="2"/>
                      </a:lnTo>
                      <a:lnTo>
                        <a:pt x="0" y="2"/>
                      </a:lnTo>
                      <a:lnTo>
                        <a:pt x="0" y="3"/>
                      </a:lnTo>
                      <a:lnTo>
                        <a:pt x="0" y="7"/>
                      </a:lnTo>
                      <a:lnTo>
                        <a:pt x="0" y="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grpSp>
        </p:grpSp>
        <p:grpSp>
          <p:nvGrpSpPr>
            <p:cNvPr id="10" name="Group 52">
              <a:extLst>
                <a:ext uri="{FF2B5EF4-FFF2-40B4-BE49-F238E27FC236}">
                  <a16:creationId xmlns:a16="http://schemas.microsoft.com/office/drawing/2014/main" id="{CF3D5036-530B-C9B2-44DC-8F2DF4BB39C6}"/>
                </a:ext>
              </a:extLst>
            </p:cNvPr>
            <p:cNvGrpSpPr>
              <a:grpSpLocks noChangeAspect="1"/>
            </p:cNvGrpSpPr>
            <p:nvPr/>
          </p:nvGrpSpPr>
          <p:grpSpPr bwMode="auto">
            <a:xfrm>
              <a:off x="6573690" y="1536033"/>
              <a:ext cx="2241761" cy="1728051"/>
              <a:chOff x="2997" y="718"/>
              <a:chExt cx="1763" cy="1359"/>
            </a:xfrm>
            <a:grpFill/>
          </p:grpSpPr>
          <p:sp>
            <p:nvSpPr>
              <p:cNvPr id="347" name="Freeform 53">
                <a:extLst>
                  <a:ext uri="{FF2B5EF4-FFF2-40B4-BE49-F238E27FC236}">
                    <a16:creationId xmlns:a16="http://schemas.microsoft.com/office/drawing/2014/main" id="{7EB1E80B-4AEF-3A95-2725-9BAA0B1D86BE}"/>
                  </a:ext>
                </a:extLst>
              </p:cNvPr>
              <p:cNvSpPr>
                <a:spLocks/>
              </p:cNvSpPr>
              <p:nvPr/>
            </p:nvSpPr>
            <p:spPr bwMode="auto">
              <a:xfrm>
                <a:off x="3715" y="1760"/>
                <a:ext cx="134" cy="62"/>
              </a:xfrm>
              <a:custGeom>
                <a:avLst/>
                <a:gdLst>
                  <a:gd name="T0" fmla="*/ 122 w 134"/>
                  <a:gd name="T1" fmla="*/ 46 h 62"/>
                  <a:gd name="T2" fmla="*/ 122 w 134"/>
                  <a:gd name="T3" fmla="*/ 42 h 62"/>
                  <a:gd name="T4" fmla="*/ 123 w 134"/>
                  <a:gd name="T5" fmla="*/ 39 h 62"/>
                  <a:gd name="T6" fmla="*/ 125 w 134"/>
                  <a:gd name="T7" fmla="*/ 35 h 62"/>
                  <a:gd name="T8" fmla="*/ 123 w 134"/>
                  <a:gd name="T9" fmla="*/ 31 h 62"/>
                  <a:gd name="T10" fmla="*/ 132 w 134"/>
                  <a:gd name="T11" fmla="*/ 32 h 62"/>
                  <a:gd name="T12" fmla="*/ 134 w 134"/>
                  <a:gd name="T13" fmla="*/ 26 h 62"/>
                  <a:gd name="T14" fmla="*/ 131 w 134"/>
                  <a:gd name="T15" fmla="*/ 20 h 62"/>
                  <a:gd name="T16" fmla="*/ 129 w 134"/>
                  <a:gd name="T17" fmla="*/ 15 h 62"/>
                  <a:gd name="T18" fmla="*/ 129 w 134"/>
                  <a:gd name="T19" fmla="*/ 9 h 62"/>
                  <a:gd name="T20" fmla="*/ 125 w 134"/>
                  <a:gd name="T21" fmla="*/ 6 h 62"/>
                  <a:gd name="T22" fmla="*/ 118 w 134"/>
                  <a:gd name="T23" fmla="*/ 6 h 62"/>
                  <a:gd name="T24" fmla="*/ 113 w 134"/>
                  <a:gd name="T25" fmla="*/ 5 h 62"/>
                  <a:gd name="T26" fmla="*/ 109 w 134"/>
                  <a:gd name="T27" fmla="*/ 3 h 62"/>
                  <a:gd name="T28" fmla="*/ 103 w 134"/>
                  <a:gd name="T29" fmla="*/ 0 h 62"/>
                  <a:gd name="T30" fmla="*/ 99 w 134"/>
                  <a:gd name="T31" fmla="*/ 2 h 62"/>
                  <a:gd name="T32" fmla="*/ 96 w 134"/>
                  <a:gd name="T33" fmla="*/ 0 h 62"/>
                  <a:gd name="T34" fmla="*/ 95 w 134"/>
                  <a:gd name="T35" fmla="*/ 5 h 62"/>
                  <a:gd name="T36" fmla="*/ 95 w 134"/>
                  <a:gd name="T37" fmla="*/ 5 h 62"/>
                  <a:gd name="T38" fmla="*/ 92 w 134"/>
                  <a:gd name="T39" fmla="*/ 9 h 62"/>
                  <a:gd name="T40" fmla="*/ 83 w 134"/>
                  <a:gd name="T41" fmla="*/ 10 h 62"/>
                  <a:gd name="T42" fmla="*/ 78 w 134"/>
                  <a:gd name="T43" fmla="*/ 8 h 62"/>
                  <a:gd name="T44" fmla="*/ 75 w 134"/>
                  <a:gd name="T45" fmla="*/ 10 h 62"/>
                  <a:gd name="T46" fmla="*/ 72 w 134"/>
                  <a:gd name="T47" fmla="*/ 10 h 62"/>
                  <a:gd name="T48" fmla="*/ 69 w 134"/>
                  <a:gd name="T49" fmla="*/ 10 h 62"/>
                  <a:gd name="T50" fmla="*/ 69 w 134"/>
                  <a:gd name="T51" fmla="*/ 13 h 62"/>
                  <a:gd name="T52" fmla="*/ 67 w 134"/>
                  <a:gd name="T53" fmla="*/ 16 h 62"/>
                  <a:gd name="T54" fmla="*/ 60 w 134"/>
                  <a:gd name="T55" fmla="*/ 19 h 62"/>
                  <a:gd name="T56" fmla="*/ 57 w 134"/>
                  <a:gd name="T57" fmla="*/ 25 h 62"/>
                  <a:gd name="T58" fmla="*/ 59 w 134"/>
                  <a:gd name="T59" fmla="*/ 31 h 62"/>
                  <a:gd name="T60" fmla="*/ 62 w 134"/>
                  <a:gd name="T61" fmla="*/ 35 h 62"/>
                  <a:gd name="T62" fmla="*/ 59 w 134"/>
                  <a:gd name="T63" fmla="*/ 36 h 62"/>
                  <a:gd name="T64" fmla="*/ 55 w 134"/>
                  <a:gd name="T65" fmla="*/ 33 h 62"/>
                  <a:gd name="T66" fmla="*/ 52 w 134"/>
                  <a:gd name="T67" fmla="*/ 33 h 62"/>
                  <a:gd name="T68" fmla="*/ 47 w 134"/>
                  <a:gd name="T69" fmla="*/ 32 h 62"/>
                  <a:gd name="T70" fmla="*/ 47 w 134"/>
                  <a:gd name="T71" fmla="*/ 32 h 62"/>
                  <a:gd name="T72" fmla="*/ 44 w 134"/>
                  <a:gd name="T73" fmla="*/ 33 h 62"/>
                  <a:gd name="T74" fmla="*/ 33 w 134"/>
                  <a:gd name="T75" fmla="*/ 38 h 62"/>
                  <a:gd name="T76" fmla="*/ 24 w 134"/>
                  <a:gd name="T77" fmla="*/ 38 h 62"/>
                  <a:gd name="T78" fmla="*/ 20 w 134"/>
                  <a:gd name="T79" fmla="*/ 35 h 62"/>
                  <a:gd name="T80" fmla="*/ 16 w 134"/>
                  <a:gd name="T81" fmla="*/ 35 h 62"/>
                  <a:gd name="T82" fmla="*/ 14 w 134"/>
                  <a:gd name="T83" fmla="*/ 41 h 62"/>
                  <a:gd name="T84" fmla="*/ 11 w 134"/>
                  <a:gd name="T85" fmla="*/ 39 h 62"/>
                  <a:gd name="T86" fmla="*/ 6 w 134"/>
                  <a:gd name="T87" fmla="*/ 36 h 62"/>
                  <a:gd name="T88" fmla="*/ 0 w 134"/>
                  <a:gd name="T89" fmla="*/ 36 h 62"/>
                  <a:gd name="T90" fmla="*/ 1 w 134"/>
                  <a:gd name="T91" fmla="*/ 41 h 62"/>
                  <a:gd name="T92" fmla="*/ 1 w 134"/>
                  <a:gd name="T93" fmla="*/ 45 h 62"/>
                  <a:gd name="T94" fmla="*/ 3 w 134"/>
                  <a:gd name="T95" fmla="*/ 48 h 62"/>
                  <a:gd name="T96" fmla="*/ 9 w 134"/>
                  <a:gd name="T97" fmla="*/ 51 h 62"/>
                  <a:gd name="T98" fmla="*/ 16 w 134"/>
                  <a:gd name="T99" fmla="*/ 49 h 62"/>
                  <a:gd name="T100" fmla="*/ 24 w 134"/>
                  <a:gd name="T101" fmla="*/ 54 h 62"/>
                  <a:gd name="T102" fmla="*/ 29 w 134"/>
                  <a:gd name="T103" fmla="*/ 51 h 62"/>
                  <a:gd name="T104" fmla="*/ 34 w 134"/>
                  <a:gd name="T105" fmla="*/ 48 h 62"/>
                  <a:gd name="T106" fmla="*/ 42 w 134"/>
                  <a:gd name="T107" fmla="*/ 48 h 62"/>
                  <a:gd name="T108" fmla="*/ 46 w 134"/>
                  <a:gd name="T109" fmla="*/ 49 h 62"/>
                  <a:gd name="T110" fmla="*/ 55 w 134"/>
                  <a:gd name="T111" fmla="*/ 56 h 62"/>
                  <a:gd name="T112" fmla="*/ 86 w 134"/>
                  <a:gd name="T113" fmla="*/ 62 h 62"/>
                  <a:gd name="T114" fmla="*/ 92 w 134"/>
                  <a:gd name="T115" fmla="*/ 59 h 62"/>
                  <a:gd name="T116" fmla="*/ 112 w 134"/>
                  <a:gd name="T117" fmla="*/ 55 h 62"/>
                  <a:gd name="T118" fmla="*/ 115 w 134"/>
                  <a:gd name="T119" fmla="*/ 52 h 62"/>
                  <a:gd name="T120" fmla="*/ 121 w 134"/>
                  <a:gd name="T121" fmla="*/ 4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62">
                    <a:moveTo>
                      <a:pt x="121" y="48"/>
                    </a:moveTo>
                    <a:lnTo>
                      <a:pt x="122" y="48"/>
                    </a:lnTo>
                    <a:lnTo>
                      <a:pt x="122" y="46"/>
                    </a:lnTo>
                    <a:lnTo>
                      <a:pt x="122" y="45"/>
                    </a:lnTo>
                    <a:lnTo>
                      <a:pt x="122" y="43"/>
                    </a:lnTo>
                    <a:lnTo>
                      <a:pt x="122" y="42"/>
                    </a:lnTo>
                    <a:lnTo>
                      <a:pt x="122" y="41"/>
                    </a:lnTo>
                    <a:lnTo>
                      <a:pt x="122" y="39"/>
                    </a:lnTo>
                    <a:lnTo>
                      <a:pt x="123" y="39"/>
                    </a:lnTo>
                    <a:lnTo>
                      <a:pt x="125" y="38"/>
                    </a:lnTo>
                    <a:lnTo>
                      <a:pt x="125" y="36"/>
                    </a:lnTo>
                    <a:lnTo>
                      <a:pt x="125" y="35"/>
                    </a:lnTo>
                    <a:lnTo>
                      <a:pt x="121" y="32"/>
                    </a:lnTo>
                    <a:lnTo>
                      <a:pt x="122" y="31"/>
                    </a:lnTo>
                    <a:lnTo>
                      <a:pt x="123" y="31"/>
                    </a:lnTo>
                    <a:lnTo>
                      <a:pt x="126" y="32"/>
                    </a:lnTo>
                    <a:lnTo>
                      <a:pt x="131" y="32"/>
                    </a:lnTo>
                    <a:lnTo>
                      <a:pt x="132" y="32"/>
                    </a:lnTo>
                    <a:lnTo>
                      <a:pt x="132" y="29"/>
                    </a:lnTo>
                    <a:lnTo>
                      <a:pt x="132" y="28"/>
                    </a:lnTo>
                    <a:lnTo>
                      <a:pt x="134" y="26"/>
                    </a:lnTo>
                    <a:lnTo>
                      <a:pt x="134" y="25"/>
                    </a:lnTo>
                    <a:lnTo>
                      <a:pt x="132" y="23"/>
                    </a:lnTo>
                    <a:lnTo>
                      <a:pt x="131" y="20"/>
                    </a:lnTo>
                    <a:lnTo>
                      <a:pt x="131" y="18"/>
                    </a:lnTo>
                    <a:lnTo>
                      <a:pt x="129" y="16"/>
                    </a:lnTo>
                    <a:lnTo>
                      <a:pt x="129" y="15"/>
                    </a:lnTo>
                    <a:lnTo>
                      <a:pt x="129" y="13"/>
                    </a:lnTo>
                    <a:lnTo>
                      <a:pt x="131" y="10"/>
                    </a:lnTo>
                    <a:lnTo>
                      <a:pt x="129" y="9"/>
                    </a:lnTo>
                    <a:lnTo>
                      <a:pt x="128" y="8"/>
                    </a:lnTo>
                    <a:lnTo>
                      <a:pt x="126" y="6"/>
                    </a:lnTo>
                    <a:lnTo>
                      <a:pt x="125" y="6"/>
                    </a:lnTo>
                    <a:lnTo>
                      <a:pt x="123" y="6"/>
                    </a:lnTo>
                    <a:lnTo>
                      <a:pt x="119" y="6"/>
                    </a:lnTo>
                    <a:lnTo>
                      <a:pt x="118" y="6"/>
                    </a:lnTo>
                    <a:lnTo>
                      <a:pt x="116" y="6"/>
                    </a:lnTo>
                    <a:lnTo>
                      <a:pt x="115" y="6"/>
                    </a:lnTo>
                    <a:lnTo>
                      <a:pt x="113" y="5"/>
                    </a:lnTo>
                    <a:lnTo>
                      <a:pt x="112" y="5"/>
                    </a:lnTo>
                    <a:lnTo>
                      <a:pt x="112" y="3"/>
                    </a:lnTo>
                    <a:lnTo>
                      <a:pt x="109" y="3"/>
                    </a:lnTo>
                    <a:lnTo>
                      <a:pt x="109" y="3"/>
                    </a:lnTo>
                    <a:lnTo>
                      <a:pt x="105" y="2"/>
                    </a:lnTo>
                    <a:lnTo>
                      <a:pt x="103" y="0"/>
                    </a:lnTo>
                    <a:lnTo>
                      <a:pt x="102" y="0"/>
                    </a:lnTo>
                    <a:lnTo>
                      <a:pt x="101" y="2"/>
                    </a:lnTo>
                    <a:lnTo>
                      <a:pt x="99" y="2"/>
                    </a:lnTo>
                    <a:lnTo>
                      <a:pt x="98" y="0"/>
                    </a:lnTo>
                    <a:lnTo>
                      <a:pt x="98" y="0"/>
                    </a:lnTo>
                    <a:lnTo>
                      <a:pt x="96" y="0"/>
                    </a:lnTo>
                    <a:lnTo>
                      <a:pt x="96" y="2"/>
                    </a:lnTo>
                    <a:lnTo>
                      <a:pt x="95" y="3"/>
                    </a:lnTo>
                    <a:lnTo>
                      <a:pt x="95" y="5"/>
                    </a:lnTo>
                    <a:lnTo>
                      <a:pt x="95" y="5"/>
                    </a:lnTo>
                    <a:lnTo>
                      <a:pt x="95" y="5"/>
                    </a:lnTo>
                    <a:lnTo>
                      <a:pt x="95" y="5"/>
                    </a:lnTo>
                    <a:lnTo>
                      <a:pt x="93" y="5"/>
                    </a:lnTo>
                    <a:lnTo>
                      <a:pt x="93" y="6"/>
                    </a:lnTo>
                    <a:lnTo>
                      <a:pt x="92" y="9"/>
                    </a:lnTo>
                    <a:lnTo>
                      <a:pt x="90" y="9"/>
                    </a:lnTo>
                    <a:lnTo>
                      <a:pt x="90" y="9"/>
                    </a:lnTo>
                    <a:lnTo>
                      <a:pt x="83" y="10"/>
                    </a:lnTo>
                    <a:lnTo>
                      <a:pt x="80" y="10"/>
                    </a:lnTo>
                    <a:lnTo>
                      <a:pt x="79" y="9"/>
                    </a:lnTo>
                    <a:lnTo>
                      <a:pt x="78" y="8"/>
                    </a:lnTo>
                    <a:lnTo>
                      <a:pt x="76" y="6"/>
                    </a:lnTo>
                    <a:lnTo>
                      <a:pt x="75" y="9"/>
                    </a:lnTo>
                    <a:lnTo>
                      <a:pt x="75" y="10"/>
                    </a:lnTo>
                    <a:lnTo>
                      <a:pt x="73" y="12"/>
                    </a:lnTo>
                    <a:lnTo>
                      <a:pt x="73" y="12"/>
                    </a:lnTo>
                    <a:lnTo>
                      <a:pt x="72" y="10"/>
                    </a:lnTo>
                    <a:lnTo>
                      <a:pt x="70" y="10"/>
                    </a:lnTo>
                    <a:lnTo>
                      <a:pt x="70" y="10"/>
                    </a:lnTo>
                    <a:lnTo>
                      <a:pt x="69" y="10"/>
                    </a:lnTo>
                    <a:lnTo>
                      <a:pt x="69" y="10"/>
                    </a:lnTo>
                    <a:lnTo>
                      <a:pt x="69" y="12"/>
                    </a:lnTo>
                    <a:lnTo>
                      <a:pt x="69" y="13"/>
                    </a:lnTo>
                    <a:lnTo>
                      <a:pt x="69" y="13"/>
                    </a:lnTo>
                    <a:lnTo>
                      <a:pt x="67" y="15"/>
                    </a:lnTo>
                    <a:lnTo>
                      <a:pt x="67" y="16"/>
                    </a:lnTo>
                    <a:lnTo>
                      <a:pt x="66" y="16"/>
                    </a:lnTo>
                    <a:lnTo>
                      <a:pt x="63" y="18"/>
                    </a:lnTo>
                    <a:lnTo>
                      <a:pt x="60" y="19"/>
                    </a:lnTo>
                    <a:lnTo>
                      <a:pt x="59" y="20"/>
                    </a:lnTo>
                    <a:lnTo>
                      <a:pt x="57" y="22"/>
                    </a:lnTo>
                    <a:lnTo>
                      <a:pt x="57" y="25"/>
                    </a:lnTo>
                    <a:lnTo>
                      <a:pt x="59" y="26"/>
                    </a:lnTo>
                    <a:lnTo>
                      <a:pt x="60" y="28"/>
                    </a:lnTo>
                    <a:lnTo>
                      <a:pt x="59" y="31"/>
                    </a:lnTo>
                    <a:lnTo>
                      <a:pt x="60" y="32"/>
                    </a:lnTo>
                    <a:lnTo>
                      <a:pt x="62" y="33"/>
                    </a:lnTo>
                    <a:lnTo>
                      <a:pt x="62" y="35"/>
                    </a:lnTo>
                    <a:lnTo>
                      <a:pt x="62" y="36"/>
                    </a:lnTo>
                    <a:lnTo>
                      <a:pt x="60" y="38"/>
                    </a:lnTo>
                    <a:lnTo>
                      <a:pt x="59" y="36"/>
                    </a:lnTo>
                    <a:lnTo>
                      <a:pt x="57" y="33"/>
                    </a:lnTo>
                    <a:lnTo>
                      <a:pt x="56" y="33"/>
                    </a:lnTo>
                    <a:lnTo>
                      <a:pt x="55" y="33"/>
                    </a:lnTo>
                    <a:lnTo>
                      <a:pt x="55" y="33"/>
                    </a:lnTo>
                    <a:lnTo>
                      <a:pt x="53" y="33"/>
                    </a:lnTo>
                    <a:lnTo>
                      <a:pt x="52" y="33"/>
                    </a:lnTo>
                    <a:lnTo>
                      <a:pt x="50" y="32"/>
                    </a:lnTo>
                    <a:lnTo>
                      <a:pt x="49" y="32"/>
                    </a:lnTo>
                    <a:lnTo>
                      <a:pt x="47" y="32"/>
                    </a:lnTo>
                    <a:lnTo>
                      <a:pt x="47" y="31"/>
                    </a:lnTo>
                    <a:lnTo>
                      <a:pt x="47" y="32"/>
                    </a:lnTo>
                    <a:lnTo>
                      <a:pt x="47" y="32"/>
                    </a:lnTo>
                    <a:lnTo>
                      <a:pt x="47" y="32"/>
                    </a:lnTo>
                    <a:lnTo>
                      <a:pt x="47" y="33"/>
                    </a:lnTo>
                    <a:lnTo>
                      <a:pt x="44" y="33"/>
                    </a:lnTo>
                    <a:lnTo>
                      <a:pt x="42" y="33"/>
                    </a:lnTo>
                    <a:lnTo>
                      <a:pt x="37" y="35"/>
                    </a:lnTo>
                    <a:lnTo>
                      <a:pt x="33" y="38"/>
                    </a:lnTo>
                    <a:lnTo>
                      <a:pt x="29" y="38"/>
                    </a:lnTo>
                    <a:lnTo>
                      <a:pt x="24" y="38"/>
                    </a:lnTo>
                    <a:lnTo>
                      <a:pt x="24" y="38"/>
                    </a:lnTo>
                    <a:lnTo>
                      <a:pt x="23" y="36"/>
                    </a:lnTo>
                    <a:lnTo>
                      <a:pt x="22" y="36"/>
                    </a:lnTo>
                    <a:lnTo>
                      <a:pt x="20" y="35"/>
                    </a:lnTo>
                    <a:lnTo>
                      <a:pt x="19" y="35"/>
                    </a:lnTo>
                    <a:lnTo>
                      <a:pt x="17" y="35"/>
                    </a:lnTo>
                    <a:lnTo>
                      <a:pt x="16" y="35"/>
                    </a:lnTo>
                    <a:lnTo>
                      <a:pt x="16" y="36"/>
                    </a:lnTo>
                    <a:lnTo>
                      <a:pt x="14" y="39"/>
                    </a:lnTo>
                    <a:lnTo>
                      <a:pt x="14" y="41"/>
                    </a:lnTo>
                    <a:lnTo>
                      <a:pt x="11" y="42"/>
                    </a:lnTo>
                    <a:lnTo>
                      <a:pt x="11" y="41"/>
                    </a:lnTo>
                    <a:lnTo>
                      <a:pt x="11" y="39"/>
                    </a:lnTo>
                    <a:lnTo>
                      <a:pt x="10" y="38"/>
                    </a:lnTo>
                    <a:lnTo>
                      <a:pt x="9" y="38"/>
                    </a:lnTo>
                    <a:lnTo>
                      <a:pt x="6" y="36"/>
                    </a:lnTo>
                    <a:lnTo>
                      <a:pt x="4" y="36"/>
                    </a:lnTo>
                    <a:lnTo>
                      <a:pt x="3" y="36"/>
                    </a:lnTo>
                    <a:lnTo>
                      <a:pt x="0" y="36"/>
                    </a:lnTo>
                    <a:lnTo>
                      <a:pt x="1" y="38"/>
                    </a:lnTo>
                    <a:lnTo>
                      <a:pt x="1" y="39"/>
                    </a:lnTo>
                    <a:lnTo>
                      <a:pt x="1" y="41"/>
                    </a:lnTo>
                    <a:lnTo>
                      <a:pt x="0" y="42"/>
                    </a:lnTo>
                    <a:lnTo>
                      <a:pt x="0" y="43"/>
                    </a:lnTo>
                    <a:lnTo>
                      <a:pt x="1" y="45"/>
                    </a:lnTo>
                    <a:lnTo>
                      <a:pt x="1" y="45"/>
                    </a:lnTo>
                    <a:lnTo>
                      <a:pt x="1" y="46"/>
                    </a:lnTo>
                    <a:lnTo>
                      <a:pt x="3" y="48"/>
                    </a:lnTo>
                    <a:lnTo>
                      <a:pt x="6" y="49"/>
                    </a:lnTo>
                    <a:lnTo>
                      <a:pt x="7" y="49"/>
                    </a:lnTo>
                    <a:lnTo>
                      <a:pt x="9" y="51"/>
                    </a:lnTo>
                    <a:lnTo>
                      <a:pt x="11" y="51"/>
                    </a:lnTo>
                    <a:lnTo>
                      <a:pt x="13" y="49"/>
                    </a:lnTo>
                    <a:lnTo>
                      <a:pt x="16" y="49"/>
                    </a:lnTo>
                    <a:lnTo>
                      <a:pt x="16" y="52"/>
                    </a:lnTo>
                    <a:lnTo>
                      <a:pt x="23" y="54"/>
                    </a:lnTo>
                    <a:lnTo>
                      <a:pt x="24" y="54"/>
                    </a:lnTo>
                    <a:lnTo>
                      <a:pt x="26" y="54"/>
                    </a:lnTo>
                    <a:lnTo>
                      <a:pt x="27" y="52"/>
                    </a:lnTo>
                    <a:lnTo>
                      <a:pt x="29" y="51"/>
                    </a:lnTo>
                    <a:lnTo>
                      <a:pt x="30" y="49"/>
                    </a:lnTo>
                    <a:lnTo>
                      <a:pt x="32" y="48"/>
                    </a:lnTo>
                    <a:lnTo>
                      <a:pt x="34" y="48"/>
                    </a:lnTo>
                    <a:lnTo>
                      <a:pt x="37" y="49"/>
                    </a:lnTo>
                    <a:lnTo>
                      <a:pt x="39" y="49"/>
                    </a:lnTo>
                    <a:lnTo>
                      <a:pt x="42" y="48"/>
                    </a:lnTo>
                    <a:lnTo>
                      <a:pt x="44" y="46"/>
                    </a:lnTo>
                    <a:lnTo>
                      <a:pt x="47" y="46"/>
                    </a:lnTo>
                    <a:lnTo>
                      <a:pt x="46" y="49"/>
                    </a:lnTo>
                    <a:lnTo>
                      <a:pt x="49" y="52"/>
                    </a:lnTo>
                    <a:lnTo>
                      <a:pt x="52" y="55"/>
                    </a:lnTo>
                    <a:lnTo>
                      <a:pt x="55" y="56"/>
                    </a:lnTo>
                    <a:lnTo>
                      <a:pt x="73" y="59"/>
                    </a:lnTo>
                    <a:lnTo>
                      <a:pt x="83" y="61"/>
                    </a:lnTo>
                    <a:lnTo>
                      <a:pt x="86" y="62"/>
                    </a:lnTo>
                    <a:lnTo>
                      <a:pt x="89" y="61"/>
                    </a:lnTo>
                    <a:lnTo>
                      <a:pt x="90" y="61"/>
                    </a:lnTo>
                    <a:lnTo>
                      <a:pt x="92" y="59"/>
                    </a:lnTo>
                    <a:lnTo>
                      <a:pt x="93" y="58"/>
                    </a:lnTo>
                    <a:lnTo>
                      <a:pt x="96" y="56"/>
                    </a:lnTo>
                    <a:lnTo>
                      <a:pt x="112" y="55"/>
                    </a:lnTo>
                    <a:lnTo>
                      <a:pt x="113" y="55"/>
                    </a:lnTo>
                    <a:lnTo>
                      <a:pt x="113" y="54"/>
                    </a:lnTo>
                    <a:lnTo>
                      <a:pt x="115" y="52"/>
                    </a:lnTo>
                    <a:lnTo>
                      <a:pt x="115" y="52"/>
                    </a:lnTo>
                    <a:lnTo>
                      <a:pt x="118" y="51"/>
                    </a:lnTo>
                    <a:lnTo>
                      <a:pt x="121" y="4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48" name="Freeform 54">
                <a:extLst>
                  <a:ext uri="{FF2B5EF4-FFF2-40B4-BE49-F238E27FC236}">
                    <a16:creationId xmlns:a16="http://schemas.microsoft.com/office/drawing/2014/main" id="{52131393-B284-6701-D48E-F21B12E7909C}"/>
                  </a:ext>
                </a:extLst>
              </p:cNvPr>
              <p:cNvSpPr>
                <a:spLocks/>
              </p:cNvSpPr>
              <p:nvPr/>
            </p:nvSpPr>
            <p:spPr bwMode="auto">
              <a:xfrm>
                <a:off x="3900" y="1895"/>
                <a:ext cx="29" cy="31"/>
              </a:xfrm>
              <a:custGeom>
                <a:avLst/>
                <a:gdLst>
                  <a:gd name="T0" fmla="*/ 13 w 29"/>
                  <a:gd name="T1" fmla="*/ 28 h 31"/>
                  <a:gd name="T2" fmla="*/ 15 w 29"/>
                  <a:gd name="T3" fmla="*/ 26 h 31"/>
                  <a:gd name="T4" fmla="*/ 16 w 29"/>
                  <a:gd name="T5" fmla="*/ 25 h 31"/>
                  <a:gd name="T6" fmla="*/ 19 w 29"/>
                  <a:gd name="T7" fmla="*/ 23 h 31"/>
                  <a:gd name="T8" fmla="*/ 20 w 29"/>
                  <a:gd name="T9" fmla="*/ 25 h 31"/>
                  <a:gd name="T10" fmla="*/ 22 w 29"/>
                  <a:gd name="T11" fmla="*/ 25 h 31"/>
                  <a:gd name="T12" fmla="*/ 23 w 29"/>
                  <a:gd name="T13" fmla="*/ 22 h 31"/>
                  <a:gd name="T14" fmla="*/ 26 w 29"/>
                  <a:gd name="T15" fmla="*/ 22 h 31"/>
                  <a:gd name="T16" fmla="*/ 26 w 29"/>
                  <a:gd name="T17" fmla="*/ 22 h 31"/>
                  <a:gd name="T18" fmla="*/ 26 w 29"/>
                  <a:gd name="T19" fmla="*/ 22 h 31"/>
                  <a:gd name="T20" fmla="*/ 26 w 29"/>
                  <a:gd name="T21" fmla="*/ 22 h 31"/>
                  <a:gd name="T22" fmla="*/ 26 w 29"/>
                  <a:gd name="T23" fmla="*/ 22 h 31"/>
                  <a:gd name="T24" fmla="*/ 26 w 29"/>
                  <a:gd name="T25" fmla="*/ 19 h 31"/>
                  <a:gd name="T26" fmla="*/ 29 w 29"/>
                  <a:gd name="T27" fmla="*/ 15 h 31"/>
                  <a:gd name="T28" fmla="*/ 29 w 29"/>
                  <a:gd name="T29" fmla="*/ 12 h 31"/>
                  <a:gd name="T30" fmla="*/ 28 w 29"/>
                  <a:gd name="T31" fmla="*/ 12 h 31"/>
                  <a:gd name="T32" fmla="*/ 26 w 29"/>
                  <a:gd name="T33" fmla="*/ 12 h 31"/>
                  <a:gd name="T34" fmla="*/ 25 w 29"/>
                  <a:gd name="T35" fmla="*/ 10 h 31"/>
                  <a:gd name="T36" fmla="*/ 25 w 29"/>
                  <a:gd name="T37" fmla="*/ 10 h 31"/>
                  <a:gd name="T38" fmla="*/ 23 w 29"/>
                  <a:gd name="T39" fmla="*/ 9 h 31"/>
                  <a:gd name="T40" fmla="*/ 23 w 29"/>
                  <a:gd name="T41" fmla="*/ 9 h 31"/>
                  <a:gd name="T42" fmla="*/ 23 w 29"/>
                  <a:gd name="T43" fmla="*/ 8 h 31"/>
                  <a:gd name="T44" fmla="*/ 19 w 29"/>
                  <a:gd name="T45" fmla="*/ 5 h 31"/>
                  <a:gd name="T46" fmla="*/ 16 w 29"/>
                  <a:gd name="T47" fmla="*/ 2 h 31"/>
                  <a:gd name="T48" fmla="*/ 13 w 29"/>
                  <a:gd name="T49" fmla="*/ 0 h 31"/>
                  <a:gd name="T50" fmla="*/ 12 w 29"/>
                  <a:gd name="T51" fmla="*/ 0 h 31"/>
                  <a:gd name="T52" fmla="*/ 10 w 29"/>
                  <a:gd name="T53" fmla="*/ 2 h 31"/>
                  <a:gd name="T54" fmla="*/ 10 w 29"/>
                  <a:gd name="T55" fmla="*/ 2 h 31"/>
                  <a:gd name="T56" fmla="*/ 10 w 29"/>
                  <a:gd name="T57" fmla="*/ 2 h 31"/>
                  <a:gd name="T58" fmla="*/ 10 w 29"/>
                  <a:gd name="T59" fmla="*/ 3 h 31"/>
                  <a:gd name="T60" fmla="*/ 10 w 29"/>
                  <a:gd name="T61" fmla="*/ 3 h 31"/>
                  <a:gd name="T62" fmla="*/ 10 w 29"/>
                  <a:gd name="T63" fmla="*/ 3 h 31"/>
                  <a:gd name="T64" fmla="*/ 9 w 29"/>
                  <a:gd name="T65" fmla="*/ 5 h 31"/>
                  <a:gd name="T66" fmla="*/ 9 w 29"/>
                  <a:gd name="T67" fmla="*/ 6 h 31"/>
                  <a:gd name="T68" fmla="*/ 7 w 29"/>
                  <a:gd name="T69" fmla="*/ 6 h 31"/>
                  <a:gd name="T70" fmla="*/ 7 w 29"/>
                  <a:gd name="T71" fmla="*/ 8 h 31"/>
                  <a:gd name="T72" fmla="*/ 7 w 29"/>
                  <a:gd name="T73" fmla="*/ 9 h 31"/>
                  <a:gd name="T74" fmla="*/ 5 w 29"/>
                  <a:gd name="T75" fmla="*/ 9 h 31"/>
                  <a:gd name="T76" fmla="*/ 0 w 29"/>
                  <a:gd name="T77" fmla="*/ 10 h 31"/>
                  <a:gd name="T78" fmla="*/ 0 w 29"/>
                  <a:gd name="T79" fmla="*/ 12 h 31"/>
                  <a:gd name="T80" fmla="*/ 0 w 29"/>
                  <a:gd name="T81" fmla="*/ 13 h 31"/>
                  <a:gd name="T82" fmla="*/ 0 w 29"/>
                  <a:gd name="T83" fmla="*/ 15 h 31"/>
                  <a:gd name="T84" fmla="*/ 2 w 29"/>
                  <a:gd name="T85" fmla="*/ 16 h 31"/>
                  <a:gd name="T86" fmla="*/ 2 w 29"/>
                  <a:gd name="T87" fmla="*/ 18 h 31"/>
                  <a:gd name="T88" fmla="*/ 3 w 29"/>
                  <a:gd name="T89" fmla="*/ 19 h 31"/>
                  <a:gd name="T90" fmla="*/ 3 w 29"/>
                  <a:gd name="T91" fmla="*/ 19 h 31"/>
                  <a:gd name="T92" fmla="*/ 6 w 29"/>
                  <a:gd name="T93" fmla="*/ 21 h 31"/>
                  <a:gd name="T94" fmla="*/ 7 w 29"/>
                  <a:gd name="T95" fmla="*/ 22 h 31"/>
                  <a:gd name="T96" fmla="*/ 7 w 29"/>
                  <a:gd name="T97" fmla="*/ 23 h 31"/>
                  <a:gd name="T98" fmla="*/ 9 w 29"/>
                  <a:gd name="T99" fmla="*/ 25 h 31"/>
                  <a:gd name="T100" fmla="*/ 9 w 29"/>
                  <a:gd name="T101" fmla="*/ 28 h 31"/>
                  <a:gd name="T102" fmla="*/ 9 w 29"/>
                  <a:gd name="T103" fmla="*/ 31 h 31"/>
                  <a:gd name="T104" fmla="*/ 12 w 29"/>
                  <a:gd name="T105" fmla="*/ 31 h 31"/>
                  <a:gd name="T106" fmla="*/ 13 w 29"/>
                  <a:gd name="T10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 h="31">
                    <a:moveTo>
                      <a:pt x="13" y="28"/>
                    </a:moveTo>
                    <a:lnTo>
                      <a:pt x="15" y="26"/>
                    </a:lnTo>
                    <a:lnTo>
                      <a:pt x="16" y="25"/>
                    </a:lnTo>
                    <a:lnTo>
                      <a:pt x="19" y="23"/>
                    </a:lnTo>
                    <a:lnTo>
                      <a:pt x="20" y="25"/>
                    </a:lnTo>
                    <a:lnTo>
                      <a:pt x="22" y="25"/>
                    </a:lnTo>
                    <a:lnTo>
                      <a:pt x="23" y="22"/>
                    </a:lnTo>
                    <a:lnTo>
                      <a:pt x="26" y="22"/>
                    </a:lnTo>
                    <a:lnTo>
                      <a:pt x="26" y="22"/>
                    </a:lnTo>
                    <a:lnTo>
                      <a:pt x="26" y="22"/>
                    </a:lnTo>
                    <a:lnTo>
                      <a:pt x="26" y="22"/>
                    </a:lnTo>
                    <a:lnTo>
                      <a:pt x="26" y="22"/>
                    </a:lnTo>
                    <a:lnTo>
                      <a:pt x="26" y="19"/>
                    </a:lnTo>
                    <a:lnTo>
                      <a:pt x="29" y="15"/>
                    </a:lnTo>
                    <a:lnTo>
                      <a:pt x="29" y="12"/>
                    </a:lnTo>
                    <a:lnTo>
                      <a:pt x="28" y="12"/>
                    </a:lnTo>
                    <a:lnTo>
                      <a:pt x="26" y="12"/>
                    </a:lnTo>
                    <a:lnTo>
                      <a:pt x="25" y="10"/>
                    </a:lnTo>
                    <a:lnTo>
                      <a:pt x="25" y="10"/>
                    </a:lnTo>
                    <a:lnTo>
                      <a:pt x="23" y="9"/>
                    </a:lnTo>
                    <a:lnTo>
                      <a:pt x="23" y="9"/>
                    </a:lnTo>
                    <a:lnTo>
                      <a:pt x="23" y="8"/>
                    </a:lnTo>
                    <a:lnTo>
                      <a:pt x="19" y="5"/>
                    </a:lnTo>
                    <a:lnTo>
                      <a:pt x="16" y="2"/>
                    </a:lnTo>
                    <a:lnTo>
                      <a:pt x="13" y="0"/>
                    </a:lnTo>
                    <a:lnTo>
                      <a:pt x="12" y="0"/>
                    </a:lnTo>
                    <a:lnTo>
                      <a:pt x="10" y="2"/>
                    </a:lnTo>
                    <a:lnTo>
                      <a:pt x="10" y="2"/>
                    </a:lnTo>
                    <a:lnTo>
                      <a:pt x="10" y="2"/>
                    </a:lnTo>
                    <a:lnTo>
                      <a:pt x="10" y="3"/>
                    </a:lnTo>
                    <a:lnTo>
                      <a:pt x="10" y="3"/>
                    </a:lnTo>
                    <a:lnTo>
                      <a:pt x="10" y="3"/>
                    </a:lnTo>
                    <a:lnTo>
                      <a:pt x="9" y="5"/>
                    </a:lnTo>
                    <a:lnTo>
                      <a:pt x="9" y="6"/>
                    </a:lnTo>
                    <a:lnTo>
                      <a:pt x="7" y="6"/>
                    </a:lnTo>
                    <a:lnTo>
                      <a:pt x="7" y="8"/>
                    </a:lnTo>
                    <a:lnTo>
                      <a:pt x="7" y="9"/>
                    </a:lnTo>
                    <a:lnTo>
                      <a:pt x="5" y="9"/>
                    </a:lnTo>
                    <a:lnTo>
                      <a:pt x="0" y="10"/>
                    </a:lnTo>
                    <a:lnTo>
                      <a:pt x="0" y="12"/>
                    </a:lnTo>
                    <a:lnTo>
                      <a:pt x="0" y="13"/>
                    </a:lnTo>
                    <a:lnTo>
                      <a:pt x="0" y="15"/>
                    </a:lnTo>
                    <a:lnTo>
                      <a:pt x="2" y="16"/>
                    </a:lnTo>
                    <a:lnTo>
                      <a:pt x="2" y="18"/>
                    </a:lnTo>
                    <a:lnTo>
                      <a:pt x="3" y="19"/>
                    </a:lnTo>
                    <a:lnTo>
                      <a:pt x="3" y="19"/>
                    </a:lnTo>
                    <a:lnTo>
                      <a:pt x="6" y="21"/>
                    </a:lnTo>
                    <a:lnTo>
                      <a:pt x="7" y="22"/>
                    </a:lnTo>
                    <a:lnTo>
                      <a:pt x="7" y="23"/>
                    </a:lnTo>
                    <a:lnTo>
                      <a:pt x="9" y="25"/>
                    </a:lnTo>
                    <a:lnTo>
                      <a:pt x="9" y="28"/>
                    </a:lnTo>
                    <a:lnTo>
                      <a:pt x="9" y="31"/>
                    </a:lnTo>
                    <a:lnTo>
                      <a:pt x="12" y="31"/>
                    </a:lnTo>
                    <a:lnTo>
                      <a:pt x="13" y="2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49" name="Freeform 55">
                <a:extLst>
                  <a:ext uri="{FF2B5EF4-FFF2-40B4-BE49-F238E27FC236}">
                    <a16:creationId xmlns:a16="http://schemas.microsoft.com/office/drawing/2014/main" id="{706A3E1D-79C3-3EA8-AD8D-B10A2DE4508B}"/>
                  </a:ext>
                </a:extLst>
              </p:cNvPr>
              <p:cNvSpPr>
                <a:spLocks/>
              </p:cNvSpPr>
              <p:nvPr/>
            </p:nvSpPr>
            <p:spPr bwMode="auto">
              <a:xfrm>
                <a:off x="3652" y="1791"/>
                <a:ext cx="79" cy="44"/>
              </a:xfrm>
              <a:custGeom>
                <a:avLst/>
                <a:gdLst>
                  <a:gd name="T0" fmla="*/ 72 w 79"/>
                  <a:gd name="T1" fmla="*/ 20 h 44"/>
                  <a:gd name="T2" fmla="*/ 66 w 79"/>
                  <a:gd name="T3" fmla="*/ 17 h 44"/>
                  <a:gd name="T4" fmla="*/ 62 w 79"/>
                  <a:gd name="T5" fmla="*/ 14 h 44"/>
                  <a:gd name="T6" fmla="*/ 64 w 79"/>
                  <a:gd name="T7" fmla="*/ 10 h 44"/>
                  <a:gd name="T8" fmla="*/ 63 w 79"/>
                  <a:gd name="T9" fmla="*/ 5 h 44"/>
                  <a:gd name="T10" fmla="*/ 56 w 79"/>
                  <a:gd name="T11" fmla="*/ 1 h 44"/>
                  <a:gd name="T12" fmla="*/ 47 w 79"/>
                  <a:gd name="T13" fmla="*/ 0 h 44"/>
                  <a:gd name="T14" fmla="*/ 44 w 79"/>
                  <a:gd name="T15" fmla="*/ 1 h 44"/>
                  <a:gd name="T16" fmla="*/ 43 w 79"/>
                  <a:gd name="T17" fmla="*/ 4 h 44"/>
                  <a:gd name="T18" fmla="*/ 31 w 79"/>
                  <a:gd name="T19" fmla="*/ 4 h 44"/>
                  <a:gd name="T20" fmla="*/ 27 w 79"/>
                  <a:gd name="T21" fmla="*/ 7 h 44"/>
                  <a:gd name="T22" fmla="*/ 23 w 79"/>
                  <a:gd name="T23" fmla="*/ 7 h 44"/>
                  <a:gd name="T24" fmla="*/ 18 w 79"/>
                  <a:gd name="T25" fmla="*/ 7 h 44"/>
                  <a:gd name="T26" fmla="*/ 17 w 79"/>
                  <a:gd name="T27" fmla="*/ 8 h 44"/>
                  <a:gd name="T28" fmla="*/ 18 w 79"/>
                  <a:gd name="T29" fmla="*/ 10 h 44"/>
                  <a:gd name="T30" fmla="*/ 11 w 79"/>
                  <a:gd name="T31" fmla="*/ 17 h 44"/>
                  <a:gd name="T32" fmla="*/ 8 w 79"/>
                  <a:gd name="T33" fmla="*/ 20 h 44"/>
                  <a:gd name="T34" fmla="*/ 8 w 79"/>
                  <a:gd name="T35" fmla="*/ 23 h 44"/>
                  <a:gd name="T36" fmla="*/ 3 w 79"/>
                  <a:gd name="T37" fmla="*/ 27 h 44"/>
                  <a:gd name="T38" fmla="*/ 3 w 79"/>
                  <a:gd name="T39" fmla="*/ 30 h 44"/>
                  <a:gd name="T40" fmla="*/ 3 w 79"/>
                  <a:gd name="T41" fmla="*/ 31 h 44"/>
                  <a:gd name="T42" fmla="*/ 0 w 79"/>
                  <a:gd name="T43" fmla="*/ 35 h 44"/>
                  <a:gd name="T44" fmla="*/ 1 w 79"/>
                  <a:gd name="T45" fmla="*/ 37 h 44"/>
                  <a:gd name="T46" fmla="*/ 6 w 79"/>
                  <a:gd name="T47" fmla="*/ 35 h 44"/>
                  <a:gd name="T48" fmla="*/ 7 w 79"/>
                  <a:gd name="T49" fmla="*/ 31 h 44"/>
                  <a:gd name="T50" fmla="*/ 11 w 79"/>
                  <a:gd name="T51" fmla="*/ 30 h 44"/>
                  <a:gd name="T52" fmla="*/ 14 w 79"/>
                  <a:gd name="T53" fmla="*/ 33 h 44"/>
                  <a:gd name="T54" fmla="*/ 16 w 79"/>
                  <a:gd name="T55" fmla="*/ 37 h 44"/>
                  <a:gd name="T56" fmla="*/ 18 w 79"/>
                  <a:gd name="T57" fmla="*/ 41 h 44"/>
                  <a:gd name="T58" fmla="*/ 24 w 79"/>
                  <a:gd name="T59" fmla="*/ 43 h 44"/>
                  <a:gd name="T60" fmla="*/ 31 w 79"/>
                  <a:gd name="T61" fmla="*/ 41 h 44"/>
                  <a:gd name="T62" fmla="*/ 36 w 79"/>
                  <a:gd name="T63" fmla="*/ 40 h 44"/>
                  <a:gd name="T64" fmla="*/ 39 w 79"/>
                  <a:gd name="T65" fmla="*/ 35 h 44"/>
                  <a:gd name="T66" fmla="*/ 39 w 79"/>
                  <a:gd name="T67" fmla="*/ 34 h 44"/>
                  <a:gd name="T68" fmla="*/ 43 w 79"/>
                  <a:gd name="T69" fmla="*/ 31 h 44"/>
                  <a:gd name="T70" fmla="*/ 44 w 79"/>
                  <a:gd name="T71" fmla="*/ 31 h 44"/>
                  <a:gd name="T72" fmla="*/ 46 w 79"/>
                  <a:gd name="T73" fmla="*/ 35 h 44"/>
                  <a:gd name="T74" fmla="*/ 50 w 79"/>
                  <a:gd name="T75" fmla="*/ 38 h 44"/>
                  <a:gd name="T76" fmla="*/ 50 w 79"/>
                  <a:gd name="T77" fmla="*/ 40 h 44"/>
                  <a:gd name="T78" fmla="*/ 53 w 79"/>
                  <a:gd name="T79" fmla="*/ 44 h 44"/>
                  <a:gd name="T80" fmla="*/ 54 w 79"/>
                  <a:gd name="T81" fmla="*/ 43 h 44"/>
                  <a:gd name="T82" fmla="*/ 54 w 79"/>
                  <a:gd name="T83" fmla="*/ 38 h 44"/>
                  <a:gd name="T84" fmla="*/ 57 w 79"/>
                  <a:gd name="T85" fmla="*/ 35 h 44"/>
                  <a:gd name="T86" fmla="*/ 59 w 79"/>
                  <a:gd name="T87" fmla="*/ 30 h 44"/>
                  <a:gd name="T88" fmla="*/ 62 w 79"/>
                  <a:gd name="T89" fmla="*/ 31 h 44"/>
                  <a:gd name="T90" fmla="*/ 64 w 79"/>
                  <a:gd name="T91" fmla="*/ 33 h 44"/>
                  <a:gd name="T92" fmla="*/ 69 w 79"/>
                  <a:gd name="T93" fmla="*/ 33 h 44"/>
                  <a:gd name="T94" fmla="*/ 72 w 79"/>
                  <a:gd name="T95" fmla="*/ 33 h 44"/>
                  <a:gd name="T96" fmla="*/ 74 w 79"/>
                  <a:gd name="T97" fmla="*/ 34 h 44"/>
                  <a:gd name="T98" fmla="*/ 72 w 79"/>
                  <a:gd name="T99" fmla="*/ 28 h 44"/>
                  <a:gd name="T100" fmla="*/ 77 w 79"/>
                  <a:gd name="T101" fmla="*/ 27 h 44"/>
                  <a:gd name="T102" fmla="*/ 79 w 79"/>
                  <a:gd name="T103" fmla="*/ 23 h 44"/>
                  <a:gd name="T104" fmla="*/ 76 w 79"/>
                  <a:gd name="T10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 h="44">
                    <a:moveTo>
                      <a:pt x="76" y="18"/>
                    </a:moveTo>
                    <a:lnTo>
                      <a:pt x="74" y="20"/>
                    </a:lnTo>
                    <a:lnTo>
                      <a:pt x="72" y="20"/>
                    </a:lnTo>
                    <a:lnTo>
                      <a:pt x="70" y="18"/>
                    </a:lnTo>
                    <a:lnTo>
                      <a:pt x="69" y="18"/>
                    </a:lnTo>
                    <a:lnTo>
                      <a:pt x="66" y="17"/>
                    </a:lnTo>
                    <a:lnTo>
                      <a:pt x="64" y="15"/>
                    </a:lnTo>
                    <a:lnTo>
                      <a:pt x="63" y="15"/>
                    </a:lnTo>
                    <a:lnTo>
                      <a:pt x="62" y="14"/>
                    </a:lnTo>
                    <a:lnTo>
                      <a:pt x="63" y="12"/>
                    </a:lnTo>
                    <a:lnTo>
                      <a:pt x="63" y="11"/>
                    </a:lnTo>
                    <a:lnTo>
                      <a:pt x="64" y="10"/>
                    </a:lnTo>
                    <a:lnTo>
                      <a:pt x="64" y="8"/>
                    </a:lnTo>
                    <a:lnTo>
                      <a:pt x="64" y="7"/>
                    </a:lnTo>
                    <a:lnTo>
                      <a:pt x="63" y="5"/>
                    </a:lnTo>
                    <a:lnTo>
                      <a:pt x="59" y="2"/>
                    </a:lnTo>
                    <a:lnTo>
                      <a:pt x="57" y="1"/>
                    </a:lnTo>
                    <a:lnTo>
                      <a:pt x="56" y="1"/>
                    </a:lnTo>
                    <a:lnTo>
                      <a:pt x="53" y="1"/>
                    </a:lnTo>
                    <a:lnTo>
                      <a:pt x="51" y="1"/>
                    </a:lnTo>
                    <a:lnTo>
                      <a:pt x="47" y="0"/>
                    </a:lnTo>
                    <a:lnTo>
                      <a:pt x="44" y="0"/>
                    </a:lnTo>
                    <a:lnTo>
                      <a:pt x="43" y="1"/>
                    </a:lnTo>
                    <a:lnTo>
                      <a:pt x="44" y="1"/>
                    </a:lnTo>
                    <a:lnTo>
                      <a:pt x="46" y="2"/>
                    </a:lnTo>
                    <a:lnTo>
                      <a:pt x="46" y="2"/>
                    </a:lnTo>
                    <a:lnTo>
                      <a:pt x="43" y="4"/>
                    </a:lnTo>
                    <a:lnTo>
                      <a:pt x="41" y="4"/>
                    </a:lnTo>
                    <a:lnTo>
                      <a:pt x="33" y="4"/>
                    </a:lnTo>
                    <a:lnTo>
                      <a:pt x="31" y="4"/>
                    </a:lnTo>
                    <a:lnTo>
                      <a:pt x="30" y="4"/>
                    </a:lnTo>
                    <a:lnTo>
                      <a:pt x="29" y="4"/>
                    </a:lnTo>
                    <a:lnTo>
                      <a:pt x="27" y="7"/>
                    </a:lnTo>
                    <a:lnTo>
                      <a:pt x="26" y="7"/>
                    </a:lnTo>
                    <a:lnTo>
                      <a:pt x="24" y="7"/>
                    </a:lnTo>
                    <a:lnTo>
                      <a:pt x="23" y="7"/>
                    </a:lnTo>
                    <a:lnTo>
                      <a:pt x="23" y="7"/>
                    </a:lnTo>
                    <a:lnTo>
                      <a:pt x="21" y="7"/>
                    </a:lnTo>
                    <a:lnTo>
                      <a:pt x="18" y="7"/>
                    </a:lnTo>
                    <a:lnTo>
                      <a:pt x="18" y="7"/>
                    </a:lnTo>
                    <a:lnTo>
                      <a:pt x="17" y="8"/>
                    </a:lnTo>
                    <a:lnTo>
                      <a:pt x="17" y="8"/>
                    </a:lnTo>
                    <a:lnTo>
                      <a:pt x="17" y="8"/>
                    </a:lnTo>
                    <a:lnTo>
                      <a:pt x="18" y="10"/>
                    </a:lnTo>
                    <a:lnTo>
                      <a:pt x="18" y="10"/>
                    </a:lnTo>
                    <a:lnTo>
                      <a:pt x="17" y="12"/>
                    </a:lnTo>
                    <a:lnTo>
                      <a:pt x="16" y="14"/>
                    </a:lnTo>
                    <a:lnTo>
                      <a:pt x="11" y="17"/>
                    </a:lnTo>
                    <a:lnTo>
                      <a:pt x="11" y="18"/>
                    </a:lnTo>
                    <a:lnTo>
                      <a:pt x="10" y="18"/>
                    </a:lnTo>
                    <a:lnTo>
                      <a:pt x="8" y="20"/>
                    </a:lnTo>
                    <a:lnTo>
                      <a:pt x="8" y="20"/>
                    </a:lnTo>
                    <a:lnTo>
                      <a:pt x="8" y="23"/>
                    </a:lnTo>
                    <a:lnTo>
                      <a:pt x="8" y="23"/>
                    </a:lnTo>
                    <a:lnTo>
                      <a:pt x="7" y="24"/>
                    </a:lnTo>
                    <a:lnTo>
                      <a:pt x="4" y="25"/>
                    </a:lnTo>
                    <a:lnTo>
                      <a:pt x="3" y="27"/>
                    </a:lnTo>
                    <a:lnTo>
                      <a:pt x="3" y="30"/>
                    </a:lnTo>
                    <a:lnTo>
                      <a:pt x="3" y="30"/>
                    </a:lnTo>
                    <a:lnTo>
                      <a:pt x="3" y="30"/>
                    </a:lnTo>
                    <a:lnTo>
                      <a:pt x="3" y="31"/>
                    </a:lnTo>
                    <a:lnTo>
                      <a:pt x="3" y="31"/>
                    </a:lnTo>
                    <a:lnTo>
                      <a:pt x="3" y="31"/>
                    </a:lnTo>
                    <a:lnTo>
                      <a:pt x="3" y="33"/>
                    </a:lnTo>
                    <a:lnTo>
                      <a:pt x="1" y="35"/>
                    </a:lnTo>
                    <a:lnTo>
                      <a:pt x="0" y="35"/>
                    </a:lnTo>
                    <a:lnTo>
                      <a:pt x="1" y="37"/>
                    </a:lnTo>
                    <a:lnTo>
                      <a:pt x="1" y="37"/>
                    </a:lnTo>
                    <a:lnTo>
                      <a:pt x="1" y="37"/>
                    </a:lnTo>
                    <a:lnTo>
                      <a:pt x="3" y="37"/>
                    </a:lnTo>
                    <a:lnTo>
                      <a:pt x="4" y="35"/>
                    </a:lnTo>
                    <a:lnTo>
                      <a:pt x="6" y="35"/>
                    </a:lnTo>
                    <a:lnTo>
                      <a:pt x="6" y="34"/>
                    </a:lnTo>
                    <a:lnTo>
                      <a:pt x="6" y="33"/>
                    </a:lnTo>
                    <a:lnTo>
                      <a:pt x="7" y="31"/>
                    </a:lnTo>
                    <a:lnTo>
                      <a:pt x="8" y="31"/>
                    </a:lnTo>
                    <a:lnTo>
                      <a:pt x="10" y="30"/>
                    </a:lnTo>
                    <a:lnTo>
                      <a:pt x="11" y="30"/>
                    </a:lnTo>
                    <a:lnTo>
                      <a:pt x="14" y="31"/>
                    </a:lnTo>
                    <a:lnTo>
                      <a:pt x="14" y="31"/>
                    </a:lnTo>
                    <a:lnTo>
                      <a:pt x="14" y="33"/>
                    </a:lnTo>
                    <a:lnTo>
                      <a:pt x="16" y="35"/>
                    </a:lnTo>
                    <a:lnTo>
                      <a:pt x="16" y="35"/>
                    </a:lnTo>
                    <a:lnTo>
                      <a:pt x="16" y="37"/>
                    </a:lnTo>
                    <a:lnTo>
                      <a:pt x="16" y="38"/>
                    </a:lnTo>
                    <a:lnTo>
                      <a:pt x="17" y="40"/>
                    </a:lnTo>
                    <a:lnTo>
                      <a:pt x="18" y="41"/>
                    </a:lnTo>
                    <a:lnTo>
                      <a:pt x="18" y="43"/>
                    </a:lnTo>
                    <a:lnTo>
                      <a:pt x="21" y="43"/>
                    </a:lnTo>
                    <a:lnTo>
                      <a:pt x="24" y="43"/>
                    </a:lnTo>
                    <a:lnTo>
                      <a:pt x="27" y="41"/>
                    </a:lnTo>
                    <a:lnTo>
                      <a:pt x="30" y="41"/>
                    </a:lnTo>
                    <a:lnTo>
                      <a:pt x="31" y="41"/>
                    </a:lnTo>
                    <a:lnTo>
                      <a:pt x="33" y="41"/>
                    </a:lnTo>
                    <a:lnTo>
                      <a:pt x="34" y="41"/>
                    </a:lnTo>
                    <a:lnTo>
                      <a:pt x="36" y="40"/>
                    </a:lnTo>
                    <a:lnTo>
                      <a:pt x="37" y="40"/>
                    </a:lnTo>
                    <a:lnTo>
                      <a:pt x="37" y="38"/>
                    </a:lnTo>
                    <a:lnTo>
                      <a:pt x="39" y="35"/>
                    </a:lnTo>
                    <a:lnTo>
                      <a:pt x="39" y="35"/>
                    </a:lnTo>
                    <a:lnTo>
                      <a:pt x="39" y="35"/>
                    </a:lnTo>
                    <a:lnTo>
                      <a:pt x="39" y="34"/>
                    </a:lnTo>
                    <a:lnTo>
                      <a:pt x="39" y="34"/>
                    </a:lnTo>
                    <a:lnTo>
                      <a:pt x="41" y="31"/>
                    </a:lnTo>
                    <a:lnTo>
                      <a:pt x="43" y="31"/>
                    </a:lnTo>
                    <a:lnTo>
                      <a:pt x="43" y="31"/>
                    </a:lnTo>
                    <a:lnTo>
                      <a:pt x="43" y="31"/>
                    </a:lnTo>
                    <a:lnTo>
                      <a:pt x="44" y="31"/>
                    </a:lnTo>
                    <a:lnTo>
                      <a:pt x="44" y="33"/>
                    </a:lnTo>
                    <a:lnTo>
                      <a:pt x="44" y="34"/>
                    </a:lnTo>
                    <a:lnTo>
                      <a:pt x="46" y="35"/>
                    </a:lnTo>
                    <a:lnTo>
                      <a:pt x="46" y="37"/>
                    </a:lnTo>
                    <a:lnTo>
                      <a:pt x="47" y="37"/>
                    </a:lnTo>
                    <a:lnTo>
                      <a:pt x="50" y="38"/>
                    </a:lnTo>
                    <a:lnTo>
                      <a:pt x="50" y="38"/>
                    </a:lnTo>
                    <a:lnTo>
                      <a:pt x="50" y="38"/>
                    </a:lnTo>
                    <a:lnTo>
                      <a:pt x="50" y="40"/>
                    </a:lnTo>
                    <a:lnTo>
                      <a:pt x="50" y="41"/>
                    </a:lnTo>
                    <a:lnTo>
                      <a:pt x="51" y="43"/>
                    </a:lnTo>
                    <a:lnTo>
                      <a:pt x="53" y="44"/>
                    </a:lnTo>
                    <a:lnTo>
                      <a:pt x="53" y="44"/>
                    </a:lnTo>
                    <a:lnTo>
                      <a:pt x="54" y="43"/>
                    </a:lnTo>
                    <a:lnTo>
                      <a:pt x="54" y="43"/>
                    </a:lnTo>
                    <a:lnTo>
                      <a:pt x="54" y="41"/>
                    </a:lnTo>
                    <a:lnTo>
                      <a:pt x="54" y="40"/>
                    </a:lnTo>
                    <a:lnTo>
                      <a:pt x="54" y="38"/>
                    </a:lnTo>
                    <a:lnTo>
                      <a:pt x="56" y="38"/>
                    </a:lnTo>
                    <a:lnTo>
                      <a:pt x="56" y="37"/>
                    </a:lnTo>
                    <a:lnTo>
                      <a:pt x="57" y="35"/>
                    </a:lnTo>
                    <a:lnTo>
                      <a:pt x="57" y="34"/>
                    </a:lnTo>
                    <a:lnTo>
                      <a:pt x="59" y="31"/>
                    </a:lnTo>
                    <a:lnTo>
                      <a:pt x="59" y="30"/>
                    </a:lnTo>
                    <a:lnTo>
                      <a:pt x="60" y="28"/>
                    </a:lnTo>
                    <a:lnTo>
                      <a:pt x="60" y="30"/>
                    </a:lnTo>
                    <a:lnTo>
                      <a:pt x="62" y="31"/>
                    </a:lnTo>
                    <a:lnTo>
                      <a:pt x="63" y="33"/>
                    </a:lnTo>
                    <a:lnTo>
                      <a:pt x="63" y="33"/>
                    </a:lnTo>
                    <a:lnTo>
                      <a:pt x="64" y="33"/>
                    </a:lnTo>
                    <a:lnTo>
                      <a:pt x="66" y="33"/>
                    </a:lnTo>
                    <a:lnTo>
                      <a:pt x="67" y="33"/>
                    </a:lnTo>
                    <a:lnTo>
                      <a:pt x="69" y="33"/>
                    </a:lnTo>
                    <a:lnTo>
                      <a:pt x="69" y="33"/>
                    </a:lnTo>
                    <a:lnTo>
                      <a:pt x="70" y="33"/>
                    </a:lnTo>
                    <a:lnTo>
                      <a:pt x="72" y="33"/>
                    </a:lnTo>
                    <a:lnTo>
                      <a:pt x="72" y="34"/>
                    </a:lnTo>
                    <a:lnTo>
                      <a:pt x="73" y="35"/>
                    </a:lnTo>
                    <a:lnTo>
                      <a:pt x="74" y="34"/>
                    </a:lnTo>
                    <a:lnTo>
                      <a:pt x="74" y="33"/>
                    </a:lnTo>
                    <a:lnTo>
                      <a:pt x="73" y="30"/>
                    </a:lnTo>
                    <a:lnTo>
                      <a:pt x="72" y="28"/>
                    </a:lnTo>
                    <a:lnTo>
                      <a:pt x="74" y="27"/>
                    </a:lnTo>
                    <a:lnTo>
                      <a:pt x="76" y="27"/>
                    </a:lnTo>
                    <a:lnTo>
                      <a:pt x="77" y="27"/>
                    </a:lnTo>
                    <a:lnTo>
                      <a:pt x="77" y="28"/>
                    </a:lnTo>
                    <a:lnTo>
                      <a:pt x="79" y="27"/>
                    </a:lnTo>
                    <a:lnTo>
                      <a:pt x="79" y="23"/>
                    </a:lnTo>
                    <a:lnTo>
                      <a:pt x="79" y="21"/>
                    </a:lnTo>
                    <a:lnTo>
                      <a:pt x="79" y="18"/>
                    </a:lnTo>
                    <a:lnTo>
                      <a:pt x="76" y="1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50" name="Freeform 56">
                <a:extLst>
                  <a:ext uri="{FF2B5EF4-FFF2-40B4-BE49-F238E27FC236}">
                    <a16:creationId xmlns:a16="http://schemas.microsoft.com/office/drawing/2014/main" id="{07412B7D-64F9-E9EF-F212-55C7F95850B2}"/>
                  </a:ext>
                </a:extLst>
              </p:cNvPr>
              <p:cNvSpPr>
                <a:spLocks/>
              </p:cNvSpPr>
              <p:nvPr/>
            </p:nvSpPr>
            <p:spPr bwMode="auto">
              <a:xfrm>
                <a:off x="3759" y="1707"/>
                <a:ext cx="120" cy="63"/>
              </a:xfrm>
              <a:custGeom>
                <a:avLst/>
                <a:gdLst>
                  <a:gd name="T0" fmla="*/ 39 w 120"/>
                  <a:gd name="T1" fmla="*/ 63 h 63"/>
                  <a:gd name="T2" fmla="*/ 48 w 120"/>
                  <a:gd name="T3" fmla="*/ 62 h 63"/>
                  <a:gd name="T4" fmla="*/ 51 w 120"/>
                  <a:gd name="T5" fmla="*/ 58 h 63"/>
                  <a:gd name="T6" fmla="*/ 51 w 120"/>
                  <a:gd name="T7" fmla="*/ 58 h 63"/>
                  <a:gd name="T8" fmla="*/ 52 w 120"/>
                  <a:gd name="T9" fmla="*/ 53 h 63"/>
                  <a:gd name="T10" fmla="*/ 55 w 120"/>
                  <a:gd name="T11" fmla="*/ 55 h 63"/>
                  <a:gd name="T12" fmla="*/ 59 w 120"/>
                  <a:gd name="T13" fmla="*/ 53 h 63"/>
                  <a:gd name="T14" fmla="*/ 65 w 120"/>
                  <a:gd name="T15" fmla="*/ 56 h 63"/>
                  <a:gd name="T16" fmla="*/ 69 w 120"/>
                  <a:gd name="T17" fmla="*/ 58 h 63"/>
                  <a:gd name="T18" fmla="*/ 74 w 120"/>
                  <a:gd name="T19" fmla="*/ 59 h 63"/>
                  <a:gd name="T20" fmla="*/ 81 w 120"/>
                  <a:gd name="T21" fmla="*/ 59 h 63"/>
                  <a:gd name="T22" fmla="*/ 85 w 120"/>
                  <a:gd name="T23" fmla="*/ 62 h 63"/>
                  <a:gd name="T24" fmla="*/ 88 w 120"/>
                  <a:gd name="T25" fmla="*/ 59 h 63"/>
                  <a:gd name="T26" fmla="*/ 92 w 120"/>
                  <a:gd name="T27" fmla="*/ 56 h 63"/>
                  <a:gd name="T28" fmla="*/ 100 w 120"/>
                  <a:gd name="T29" fmla="*/ 56 h 63"/>
                  <a:gd name="T30" fmla="*/ 107 w 120"/>
                  <a:gd name="T31" fmla="*/ 52 h 63"/>
                  <a:gd name="T32" fmla="*/ 107 w 120"/>
                  <a:gd name="T33" fmla="*/ 48 h 63"/>
                  <a:gd name="T34" fmla="*/ 115 w 120"/>
                  <a:gd name="T35" fmla="*/ 42 h 63"/>
                  <a:gd name="T36" fmla="*/ 118 w 120"/>
                  <a:gd name="T37" fmla="*/ 38 h 63"/>
                  <a:gd name="T38" fmla="*/ 114 w 120"/>
                  <a:gd name="T39" fmla="*/ 30 h 63"/>
                  <a:gd name="T40" fmla="*/ 108 w 120"/>
                  <a:gd name="T41" fmla="*/ 27 h 63"/>
                  <a:gd name="T42" fmla="*/ 105 w 120"/>
                  <a:gd name="T43" fmla="*/ 26 h 63"/>
                  <a:gd name="T44" fmla="*/ 102 w 120"/>
                  <a:gd name="T45" fmla="*/ 27 h 63"/>
                  <a:gd name="T46" fmla="*/ 98 w 120"/>
                  <a:gd name="T47" fmla="*/ 23 h 63"/>
                  <a:gd name="T48" fmla="*/ 100 w 120"/>
                  <a:gd name="T49" fmla="*/ 22 h 63"/>
                  <a:gd name="T50" fmla="*/ 100 w 120"/>
                  <a:gd name="T51" fmla="*/ 20 h 63"/>
                  <a:gd name="T52" fmla="*/ 94 w 120"/>
                  <a:gd name="T53" fmla="*/ 20 h 63"/>
                  <a:gd name="T54" fmla="*/ 85 w 120"/>
                  <a:gd name="T55" fmla="*/ 16 h 63"/>
                  <a:gd name="T56" fmla="*/ 87 w 120"/>
                  <a:gd name="T57" fmla="*/ 19 h 63"/>
                  <a:gd name="T58" fmla="*/ 87 w 120"/>
                  <a:gd name="T59" fmla="*/ 20 h 63"/>
                  <a:gd name="T60" fmla="*/ 82 w 120"/>
                  <a:gd name="T61" fmla="*/ 25 h 63"/>
                  <a:gd name="T62" fmla="*/ 74 w 120"/>
                  <a:gd name="T63" fmla="*/ 17 h 63"/>
                  <a:gd name="T64" fmla="*/ 77 w 120"/>
                  <a:gd name="T65" fmla="*/ 15 h 63"/>
                  <a:gd name="T66" fmla="*/ 74 w 120"/>
                  <a:gd name="T67" fmla="*/ 10 h 63"/>
                  <a:gd name="T68" fmla="*/ 69 w 120"/>
                  <a:gd name="T69" fmla="*/ 10 h 63"/>
                  <a:gd name="T70" fmla="*/ 64 w 120"/>
                  <a:gd name="T71" fmla="*/ 7 h 63"/>
                  <a:gd name="T72" fmla="*/ 58 w 120"/>
                  <a:gd name="T73" fmla="*/ 4 h 63"/>
                  <a:gd name="T74" fmla="*/ 54 w 120"/>
                  <a:gd name="T75" fmla="*/ 0 h 63"/>
                  <a:gd name="T76" fmla="*/ 49 w 120"/>
                  <a:gd name="T77" fmla="*/ 4 h 63"/>
                  <a:gd name="T78" fmla="*/ 39 w 120"/>
                  <a:gd name="T79" fmla="*/ 0 h 63"/>
                  <a:gd name="T80" fmla="*/ 39 w 120"/>
                  <a:gd name="T81" fmla="*/ 2 h 63"/>
                  <a:gd name="T82" fmla="*/ 41 w 120"/>
                  <a:gd name="T83" fmla="*/ 3 h 63"/>
                  <a:gd name="T84" fmla="*/ 41 w 120"/>
                  <a:gd name="T85" fmla="*/ 3 h 63"/>
                  <a:gd name="T86" fmla="*/ 35 w 120"/>
                  <a:gd name="T87" fmla="*/ 6 h 63"/>
                  <a:gd name="T88" fmla="*/ 26 w 120"/>
                  <a:gd name="T89" fmla="*/ 9 h 63"/>
                  <a:gd name="T90" fmla="*/ 25 w 120"/>
                  <a:gd name="T91" fmla="*/ 12 h 63"/>
                  <a:gd name="T92" fmla="*/ 23 w 120"/>
                  <a:gd name="T93" fmla="*/ 10 h 63"/>
                  <a:gd name="T94" fmla="*/ 16 w 120"/>
                  <a:gd name="T95" fmla="*/ 16 h 63"/>
                  <a:gd name="T96" fmla="*/ 12 w 120"/>
                  <a:gd name="T97" fmla="*/ 16 h 63"/>
                  <a:gd name="T98" fmla="*/ 6 w 120"/>
                  <a:gd name="T99" fmla="*/ 20 h 63"/>
                  <a:gd name="T100" fmla="*/ 3 w 120"/>
                  <a:gd name="T101" fmla="*/ 20 h 63"/>
                  <a:gd name="T102" fmla="*/ 2 w 120"/>
                  <a:gd name="T103" fmla="*/ 20 h 63"/>
                  <a:gd name="T104" fmla="*/ 6 w 120"/>
                  <a:gd name="T105" fmla="*/ 27 h 63"/>
                  <a:gd name="T106" fmla="*/ 8 w 120"/>
                  <a:gd name="T107" fmla="*/ 32 h 63"/>
                  <a:gd name="T108" fmla="*/ 6 w 120"/>
                  <a:gd name="T109" fmla="*/ 35 h 63"/>
                  <a:gd name="T110" fmla="*/ 8 w 120"/>
                  <a:gd name="T111" fmla="*/ 36 h 63"/>
                  <a:gd name="T112" fmla="*/ 13 w 120"/>
                  <a:gd name="T113" fmla="*/ 43 h 63"/>
                  <a:gd name="T114" fmla="*/ 25 w 120"/>
                  <a:gd name="T115" fmla="*/ 53 h 63"/>
                  <a:gd name="T116" fmla="*/ 29 w 120"/>
                  <a:gd name="T117" fmla="*/ 56 h 63"/>
                  <a:gd name="T118" fmla="*/ 35 w 120"/>
                  <a:gd name="T119"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63">
                    <a:moveTo>
                      <a:pt x="35" y="62"/>
                    </a:moveTo>
                    <a:lnTo>
                      <a:pt x="36" y="63"/>
                    </a:lnTo>
                    <a:lnTo>
                      <a:pt x="39" y="63"/>
                    </a:lnTo>
                    <a:lnTo>
                      <a:pt x="46" y="62"/>
                    </a:lnTo>
                    <a:lnTo>
                      <a:pt x="46" y="62"/>
                    </a:lnTo>
                    <a:lnTo>
                      <a:pt x="48" y="62"/>
                    </a:lnTo>
                    <a:lnTo>
                      <a:pt x="49" y="59"/>
                    </a:lnTo>
                    <a:lnTo>
                      <a:pt x="49" y="58"/>
                    </a:lnTo>
                    <a:lnTo>
                      <a:pt x="51" y="58"/>
                    </a:lnTo>
                    <a:lnTo>
                      <a:pt x="51" y="58"/>
                    </a:lnTo>
                    <a:lnTo>
                      <a:pt x="51" y="58"/>
                    </a:lnTo>
                    <a:lnTo>
                      <a:pt x="51" y="58"/>
                    </a:lnTo>
                    <a:lnTo>
                      <a:pt x="51" y="56"/>
                    </a:lnTo>
                    <a:lnTo>
                      <a:pt x="52" y="55"/>
                    </a:lnTo>
                    <a:lnTo>
                      <a:pt x="52" y="53"/>
                    </a:lnTo>
                    <a:lnTo>
                      <a:pt x="54" y="53"/>
                    </a:lnTo>
                    <a:lnTo>
                      <a:pt x="54" y="53"/>
                    </a:lnTo>
                    <a:lnTo>
                      <a:pt x="55" y="55"/>
                    </a:lnTo>
                    <a:lnTo>
                      <a:pt x="57" y="55"/>
                    </a:lnTo>
                    <a:lnTo>
                      <a:pt x="58" y="53"/>
                    </a:lnTo>
                    <a:lnTo>
                      <a:pt x="59" y="53"/>
                    </a:lnTo>
                    <a:lnTo>
                      <a:pt x="61" y="55"/>
                    </a:lnTo>
                    <a:lnTo>
                      <a:pt x="65" y="56"/>
                    </a:lnTo>
                    <a:lnTo>
                      <a:pt x="65" y="56"/>
                    </a:lnTo>
                    <a:lnTo>
                      <a:pt x="68" y="56"/>
                    </a:lnTo>
                    <a:lnTo>
                      <a:pt x="68" y="58"/>
                    </a:lnTo>
                    <a:lnTo>
                      <a:pt x="69" y="58"/>
                    </a:lnTo>
                    <a:lnTo>
                      <a:pt x="71" y="59"/>
                    </a:lnTo>
                    <a:lnTo>
                      <a:pt x="72" y="59"/>
                    </a:lnTo>
                    <a:lnTo>
                      <a:pt x="74" y="59"/>
                    </a:lnTo>
                    <a:lnTo>
                      <a:pt x="75" y="59"/>
                    </a:lnTo>
                    <a:lnTo>
                      <a:pt x="79" y="59"/>
                    </a:lnTo>
                    <a:lnTo>
                      <a:pt x="81" y="59"/>
                    </a:lnTo>
                    <a:lnTo>
                      <a:pt x="82" y="59"/>
                    </a:lnTo>
                    <a:lnTo>
                      <a:pt x="84" y="61"/>
                    </a:lnTo>
                    <a:lnTo>
                      <a:pt x="85" y="62"/>
                    </a:lnTo>
                    <a:lnTo>
                      <a:pt x="87" y="63"/>
                    </a:lnTo>
                    <a:lnTo>
                      <a:pt x="87" y="61"/>
                    </a:lnTo>
                    <a:lnTo>
                      <a:pt x="88" y="59"/>
                    </a:lnTo>
                    <a:lnTo>
                      <a:pt x="90" y="58"/>
                    </a:lnTo>
                    <a:lnTo>
                      <a:pt x="91" y="56"/>
                    </a:lnTo>
                    <a:lnTo>
                      <a:pt x="92" y="56"/>
                    </a:lnTo>
                    <a:lnTo>
                      <a:pt x="95" y="58"/>
                    </a:lnTo>
                    <a:lnTo>
                      <a:pt x="97" y="58"/>
                    </a:lnTo>
                    <a:lnTo>
                      <a:pt x="100" y="56"/>
                    </a:lnTo>
                    <a:lnTo>
                      <a:pt x="102" y="55"/>
                    </a:lnTo>
                    <a:lnTo>
                      <a:pt x="104" y="53"/>
                    </a:lnTo>
                    <a:lnTo>
                      <a:pt x="107" y="52"/>
                    </a:lnTo>
                    <a:lnTo>
                      <a:pt x="107" y="50"/>
                    </a:lnTo>
                    <a:lnTo>
                      <a:pt x="107" y="48"/>
                    </a:lnTo>
                    <a:lnTo>
                      <a:pt x="107" y="48"/>
                    </a:lnTo>
                    <a:lnTo>
                      <a:pt x="108" y="46"/>
                    </a:lnTo>
                    <a:lnTo>
                      <a:pt x="114" y="42"/>
                    </a:lnTo>
                    <a:lnTo>
                      <a:pt x="115" y="42"/>
                    </a:lnTo>
                    <a:lnTo>
                      <a:pt x="120" y="40"/>
                    </a:lnTo>
                    <a:lnTo>
                      <a:pt x="120" y="39"/>
                    </a:lnTo>
                    <a:lnTo>
                      <a:pt x="118" y="38"/>
                    </a:lnTo>
                    <a:lnTo>
                      <a:pt x="117" y="36"/>
                    </a:lnTo>
                    <a:lnTo>
                      <a:pt x="115" y="32"/>
                    </a:lnTo>
                    <a:lnTo>
                      <a:pt x="114" y="30"/>
                    </a:lnTo>
                    <a:lnTo>
                      <a:pt x="113" y="30"/>
                    </a:lnTo>
                    <a:lnTo>
                      <a:pt x="110" y="29"/>
                    </a:lnTo>
                    <a:lnTo>
                      <a:pt x="108" y="27"/>
                    </a:lnTo>
                    <a:lnTo>
                      <a:pt x="107" y="27"/>
                    </a:lnTo>
                    <a:lnTo>
                      <a:pt x="105" y="26"/>
                    </a:lnTo>
                    <a:lnTo>
                      <a:pt x="105" y="26"/>
                    </a:lnTo>
                    <a:lnTo>
                      <a:pt x="104" y="27"/>
                    </a:lnTo>
                    <a:lnTo>
                      <a:pt x="104" y="27"/>
                    </a:lnTo>
                    <a:lnTo>
                      <a:pt x="102" y="27"/>
                    </a:lnTo>
                    <a:lnTo>
                      <a:pt x="101" y="27"/>
                    </a:lnTo>
                    <a:lnTo>
                      <a:pt x="100" y="26"/>
                    </a:lnTo>
                    <a:lnTo>
                      <a:pt x="98" y="23"/>
                    </a:lnTo>
                    <a:lnTo>
                      <a:pt x="98" y="23"/>
                    </a:lnTo>
                    <a:lnTo>
                      <a:pt x="100" y="22"/>
                    </a:lnTo>
                    <a:lnTo>
                      <a:pt x="100" y="22"/>
                    </a:lnTo>
                    <a:lnTo>
                      <a:pt x="100" y="20"/>
                    </a:lnTo>
                    <a:lnTo>
                      <a:pt x="100" y="19"/>
                    </a:lnTo>
                    <a:lnTo>
                      <a:pt x="100" y="20"/>
                    </a:lnTo>
                    <a:lnTo>
                      <a:pt x="98" y="20"/>
                    </a:lnTo>
                    <a:lnTo>
                      <a:pt x="97" y="20"/>
                    </a:lnTo>
                    <a:lnTo>
                      <a:pt x="94" y="20"/>
                    </a:lnTo>
                    <a:lnTo>
                      <a:pt x="90" y="17"/>
                    </a:lnTo>
                    <a:lnTo>
                      <a:pt x="87" y="16"/>
                    </a:lnTo>
                    <a:lnTo>
                      <a:pt x="85" y="16"/>
                    </a:lnTo>
                    <a:lnTo>
                      <a:pt x="85" y="17"/>
                    </a:lnTo>
                    <a:lnTo>
                      <a:pt x="87" y="17"/>
                    </a:lnTo>
                    <a:lnTo>
                      <a:pt x="87" y="19"/>
                    </a:lnTo>
                    <a:lnTo>
                      <a:pt x="87" y="20"/>
                    </a:lnTo>
                    <a:lnTo>
                      <a:pt x="87" y="20"/>
                    </a:lnTo>
                    <a:lnTo>
                      <a:pt x="87" y="20"/>
                    </a:lnTo>
                    <a:lnTo>
                      <a:pt x="85" y="22"/>
                    </a:lnTo>
                    <a:lnTo>
                      <a:pt x="84" y="23"/>
                    </a:lnTo>
                    <a:lnTo>
                      <a:pt x="82" y="25"/>
                    </a:lnTo>
                    <a:lnTo>
                      <a:pt x="81" y="25"/>
                    </a:lnTo>
                    <a:lnTo>
                      <a:pt x="79" y="23"/>
                    </a:lnTo>
                    <a:lnTo>
                      <a:pt x="74" y="17"/>
                    </a:lnTo>
                    <a:lnTo>
                      <a:pt x="74" y="16"/>
                    </a:lnTo>
                    <a:lnTo>
                      <a:pt x="75" y="15"/>
                    </a:lnTo>
                    <a:lnTo>
                      <a:pt x="77" y="15"/>
                    </a:lnTo>
                    <a:lnTo>
                      <a:pt x="77" y="13"/>
                    </a:lnTo>
                    <a:lnTo>
                      <a:pt x="77" y="10"/>
                    </a:lnTo>
                    <a:lnTo>
                      <a:pt x="74" y="10"/>
                    </a:lnTo>
                    <a:lnTo>
                      <a:pt x="72" y="10"/>
                    </a:lnTo>
                    <a:lnTo>
                      <a:pt x="69" y="12"/>
                    </a:lnTo>
                    <a:lnTo>
                      <a:pt x="69" y="10"/>
                    </a:lnTo>
                    <a:lnTo>
                      <a:pt x="68" y="10"/>
                    </a:lnTo>
                    <a:lnTo>
                      <a:pt x="68" y="9"/>
                    </a:lnTo>
                    <a:lnTo>
                      <a:pt x="64" y="7"/>
                    </a:lnTo>
                    <a:lnTo>
                      <a:pt x="59" y="6"/>
                    </a:lnTo>
                    <a:lnTo>
                      <a:pt x="59" y="6"/>
                    </a:lnTo>
                    <a:lnTo>
                      <a:pt x="58" y="4"/>
                    </a:lnTo>
                    <a:lnTo>
                      <a:pt x="57" y="3"/>
                    </a:lnTo>
                    <a:lnTo>
                      <a:pt x="57" y="2"/>
                    </a:lnTo>
                    <a:lnTo>
                      <a:pt x="54" y="0"/>
                    </a:lnTo>
                    <a:lnTo>
                      <a:pt x="52" y="2"/>
                    </a:lnTo>
                    <a:lnTo>
                      <a:pt x="51" y="3"/>
                    </a:lnTo>
                    <a:lnTo>
                      <a:pt x="49" y="4"/>
                    </a:lnTo>
                    <a:lnTo>
                      <a:pt x="46" y="6"/>
                    </a:lnTo>
                    <a:lnTo>
                      <a:pt x="42" y="0"/>
                    </a:lnTo>
                    <a:lnTo>
                      <a:pt x="39" y="0"/>
                    </a:lnTo>
                    <a:lnTo>
                      <a:pt x="39" y="0"/>
                    </a:lnTo>
                    <a:lnTo>
                      <a:pt x="39" y="2"/>
                    </a:lnTo>
                    <a:lnTo>
                      <a:pt x="39" y="2"/>
                    </a:lnTo>
                    <a:lnTo>
                      <a:pt x="39" y="2"/>
                    </a:lnTo>
                    <a:lnTo>
                      <a:pt x="41" y="2"/>
                    </a:lnTo>
                    <a:lnTo>
                      <a:pt x="41" y="3"/>
                    </a:lnTo>
                    <a:lnTo>
                      <a:pt x="41" y="3"/>
                    </a:lnTo>
                    <a:lnTo>
                      <a:pt x="41" y="3"/>
                    </a:lnTo>
                    <a:lnTo>
                      <a:pt x="41" y="3"/>
                    </a:lnTo>
                    <a:lnTo>
                      <a:pt x="39" y="4"/>
                    </a:lnTo>
                    <a:lnTo>
                      <a:pt x="38" y="4"/>
                    </a:lnTo>
                    <a:lnTo>
                      <a:pt x="35" y="6"/>
                    </a:lnTo>
                    <a:lnTo>
                      <a:pt x="31" y="7"/>
                    </a:lnTo>
                    <a:lnTo>
                      <a:pt x="28" y="9"/>
                    </a:lnTo>
                    <a:lnTo>
                      <a:pt x="26" y="9"/>
                    </a:lnTo>
                    <a:lnTo>
                      <a:pt x="26" y="10"/>
                    </a:lnTo>
                    <a:lnTo>
                      <a:pt x="25" y="12"/>
                    </a:lnTo>
                    <a:lnTo>
                      <a:pt x="25" y="12"/>
                    </a:lnTo>
                    <a:lnTo>
                      <a:pt x="25" y="12"/>
                    </a:lnTo>
                    <a:lnTo>
                      <a:pt x="23" y="10"/>
                    </a:lnTo>
                    <a:lnTo>
                      <a:pt x="23" y="10"/>
                    </a:lnTo>
                    <a:lnTo>
                      <a:pt x="22" y="12"/>
                    </a:lnTo>
                    <a:lnTo>
                      <a:pt x="19" y="13"/>
                    </a:lnTo>
                    <a:lnTo>
                      <a:pt x="16" y="16"/>
                    </a:lnTo>
                    <a:lnTo>
                      <a:pt x="15" y="16"/>
                    </a:lnTo>
                    <a:lnTo>
                      <a:pt x="13" y="16"/>
                    </a:lnTo>
                    <a:lnTo>
                      <a:pt x="12" y="16"/>
                    </a:lnTo>
                    <a:lnTo>
                      <a:pt x="9" y="17"/>
                    </a:lnTo>
                    <a:lnTo>
                      <a:pt x="8" y="19"/>
                    </a:lnTo>
                    <a:lnTo>
                      <a:pt x="6" y="20"/>
                    </a:lnTo>
                    <a:lnTo>
                      <a:pt x="5" y="23"/>
                    </a:lnTo>
                    <a:lnTo>
                      <a:pt x="3" y="22"/>
                    </a:lnTo>
                    <a:lnTo>
                      <a:pt x="3" y="20"/>
                    </a:lnTo>
                    <a:lnTo>
                      <a:pt x="2" y="19"/>
                    </a:lnTo>
                    <a:lnTo>
                      <a:pt x="0" y="20"/>
                    </a:lnTo>
                    <a:lnTo>
                      <a:pt x="2" y="20"/>
                    </a:lnTo>
                    <a:lnTo>
                      <a:pt x="2" y="23"/>
                    </a:lnTo>
                    <a:lnTo>
                      <a:pt x="3" y="26"/>
                    </a:lnTo>
                    <a:lnTo>
                      <a:pt x="6" y="27"/>
                    </a:lnTo>
                    <a:lnTo>
                      <a:pt x="6" y="27"/>
                    </a:lnTo>
                    <a:lnTo>
                      <a:pt x="8" y="29"/>
                    </a:lnTo>
                    <a:lnTo>
                      <a:pt x="8" y="32"/>
                    </a:lnTo>
                    <a:lnTo>
                      <a:pt x="8" y="32"/>
                    </a:lnTo>
                    <a:lnTo>
                      <a:pt x="6" y="33"/>
                    </a:lnTo>
                    <a:lnTo>
                      <a:pt x="6" y="35"/>
                    </a:lnTo>
                    <a:lnTo>
                      <a:pt x="6" y="35"/>
                    </a:lnTo>
                    <a:lnTo>
                      <a:pt x="8" y="35"/>
                    </a:lnTo>
                    <a:lnTo>
                      <a:pt x="8" y="36"/>
                    </a:lnTo>
                    <a:lnTo>
                      <a:pt x="8" y="36"/>
                    </a:lnTo>
                    <a:lnTo>
                      <a:pt x="11" y="40"/>
                    </a:lnTo>
                    <a:lnTo>
                      <a:pt x="13" y="43"/>
                    </a:lnTo>
                    <a:lnTo>
                      <a:pt x="19" y="49"/>
                    </a:lnTo>
                    <a:lnTo>
                      <a:pt x="23" y="52"/>
                    </a:lnTo>
                    <a:lnTo>
                      <a:pt x="25" y="53"/>
                    </a:lnTo>
                    <a:lnTo>
                      <a:pt x="26" y="55"/>
                    </a:lnTo>
                    <a:lnTo>
                      <a:pt x="28" y="56"/>
                    </a:lnTo>
                    <a:lnTo>
                      <a:pt x="29" y="56"/>
                    </a:lnTo>
                    <a:lnTo>
                      <a:pt x="32" y="59"/>
                    </a:lnTo>
                    <a:lnTo>
                      <a:pt x="34" y="61"/>
                    </a:lnTo>
                    <a:lnTo>
                      <a:pt x="35" y="6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51" name="Freeform 57">
                <a:extLst>
                  <a:ext uri="{FF2B5EF4-FFF2-40B4-BE49-F238E27FC236}">
                    <a16:creationId xmlns:a16="http://schemas.microsoft.com/office/drawing/2014/main" id="{752187F7-7315-C8C9-EB1B-513C0733A72A}"/>
                  </a:ext>
                </a:extLst>
              </p:cNvPr>
              <p:cNvSpPr>
                <a:spLocks/>
              </p:cNvSpPr>
              <p:nvPr/>
            </p:nvSpPr>
            <p:spPr bwMode="auto">
              <a:xfrm>
                <a:off x="3649" y="1730"/>
                <a:ext cx="13" cy="19"/>
              </a:xfrm>
              <a:custGeom>
                <a:avLst/>
                <a:gdLst>
                  <a:gd name="T0" fmla="*/ 13 w 13"/>
                  <a:gd name="T1" fmla="*/ 12 h 19"/>
                  <a:gd name="T2" fmla="*/ 13 w 13"/>
                  <a:gd name="T3" fmla="*/ 9 h 19"/>
                  <a:gd name="T4" fmla="*/ 11 w 13"/>
                  <a:gd name="T5" fmla="*/ 9 h 19"/>
                  <a:gd name="T6" fmla="*/ 9 w 13"/>
                  <a:gd name="T7" fmla="*/ 7 h 19"/>
                  <a:gd name="T8" fmla="*/ 7 w 13"/>
                  <a:gd name="T9" fmla="*/ 6 h 19"/>
                  <a:gd name="T10" fmla="*/ 7 w 13"/>
                  <a:gd name="T11" fmla="*/ 6 h 19"/>
                  <a:gd name="T12" fmla="*/ 6 w 13"/>
                  <a:gd name="T13" fmla="*/ 4 h 19"/>
                  <a:gd name="T14" fmla="*/ 6 w 13"/>
                  <a:gd name="T15" fmla="*/ 3 h 19"/>
                  <a:gd name="T16" fmla="*/ 6 w 13"/>
                  <a:gd name="T17" fmla="*/ 2 h 19"/>
                  <a:gd name="T18" fmla="*/ 4 w 13"/>
                  <a:gd name="T19" fmla="*/ 0 h 19"/>
                  <a:gd name="T20" fmla="*/ 1 w 13"/>
                  <a:gd name="T21" fmla="*/ 2 h 19"/>
                  <a:gd name="T22" fmla="*/ 0 w 13"/>
                  <a:gd name="T23" fmla="*/ 6 h 19"/>
                  <a:gd name="T24" fmla="*/ 0 w 13"/>
                  <a:gd name="T25" fmla="*/ 7 h 19"/>
                  <a:gd name="T26" fmla="*/ 0 w 13"/>
                  <a:gd name="T27" fmla="*/ 10 h 19"/>
                  <a:gd name="T28" fmla="*/ 1 w 13"/>
                  <a:gd name="T29" fmla="*/ 12 h 19"/>
                  <a:gd name="T30" fmla="*/ 1 w 13"/>
                  <a:gd name="T31" fmla="*/ 15 h 19"/>
                  <a:gd name="T32" fmla="*/ 0 w 13"/>
                  <a:gd name="T33" fmla="*/ 16 h 19"/>
                  <a:gd name="T34" fmla="*/ 1 w 13"/>
                  <a:gd name="T35" fmla="*/ 17 h 19"/>
                  <a:gd name="T36" fmla="*/ 3 w 13"/>
                  <a:gd name="T37" fmla="*/ 17 h 19"/>
                  <a:gd name="T38" fmla="*/ 4 w 13"/>
                  <a:gd name="T39" fmla="*/ 19 h 19"/>
                  <a:gd name="T40" fmla="*/ 4 w 13"/>
                  <a:gd name="T41" fmla="*/ 19 h 19"/>
                  <a:gd name="T42" fmla="*/ 6 w 13"/>
                  <a:gd name="T43" fmla="*/ 19 h 19"/>
                  <a:gd name="T44" fmla="*/ 7 w 13"/>
                  <a:gd name="T45" fmla="*/ 17 h 19"/>
                  <a:gd name="T46" fmla="*/ 9 w 13"/>
                  <a:gd name="T47" fmla="*/ 17 h 19"/>
                  <a:gd name="T48" fmla="*/ 10 w 13"/>
                  <a:gd name="T49" fmla="*/ 19 h 19"/>
                  <a:gd name="T50" fmla="*/ 10 w 13"/>
                  <a:gd name="T51" fmla="*/ 16 h 19"/>
                  <a:gd name="T52" fmla="*/ 13 w 13"/>
                  <a:gd name="T53"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 h="19">
                    <a:moveTo>
                      <a:pt x="13" y="12"/>
                    </a:moveTo>
                    <a:lnTo>
                      <a:pt x="13" y="9"/>
                    </a:lnTo>
                    <a:lnTo>
                      <a:pt x="11" y="9"/>
                    </a:lnTo>
                    <a:lnTo>
                      <a:pt x="9" y="7"/>
                    </a:lnTo>
                    <a:lnTo>
                      <a:pt x="7" y="6"/>
                    </a:lnTo>
                    <a:lnTo>
                      <a:pt x="7" y="6"/>
                    </a:lnTo>
                    <a:lnTo>
                      <a:pt x="6" y="4"/>
                    </a:lnTo>
                    <a:lnTo>
                      <a:pt x="6" y="3"/>
                    </a:lnTo>
                    <a:lnTo>
                      <a:pt x="6" y="2"/>
                    </a:lnTo>
                    <a:lnTo>
                      <a:pt x="4" y="0"/>
                    </a:lnTo>
                    <a:lnTo>
                      <a:pt x="1" y="2"/>
                    </a:lnTo>
                    <a:lnTo>
                      <a:pt x="0" y="6"/>
                    </a:lnTo>
                    <a:lnTo>
                      <a:pt x="0" y="7"/>
                    </a:lnTo>
                    <a:lnTo>
                      <a:pt x="0" y="10"/>
                    </a:lnTo>
                    <a:lnTo>
                      <a:pt x="1" y="12"/>
                    </a:lnTo>
                    <a:lnTo>
                      <a:pt x="1" y="15"/>
                    </a:lnTo>
                    <a:lnTo>
                      <a:pt x="0" y="16"/>
                    </a:lnTo>
                    <a:lnTo>
                      <a:pt x="1" y="17"/>
                    </a:lnTo>
                    <a:lnTo>
                      <a:pt x="3" y="17"/>
                    </a:lnTo>
                    <a:lnTo>
                      <a:pt x="4" y="19"/>
                    </a:lnTo>
                    <a:lnTo>
                      <a:pt x="4" y="19"/>
                    </a:lnTo>
                    <a:lnTo>
                      <a:pt x="6" y="19"/>
                    </a:lnTo>
                    <a:lnTo>
                      <a:pt x="7" y="17"/>
                    </a:lnTo>
                    <a:lnTo>
                      <a:pt x="9" y="17"/>
                    </a:lnTo>
                    <a:lnTo>
                      <a:pt x="10" y="19"/>
                    </a:lnTo>
                    <a:lnTo>
                      <a:pt x="10" y="16"/>
                    </a:lnTo>
                    <a:lnTo>
                      <a:pt x="13" y="1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52" name="Freeform 58">
                <a:extLst>
                  <a:ext uri="{FF2B5EF4-FFF2-40B4-BE49-F238E27FC236}">
                    <a16:creationId xmlns:a16="http://schemas.microsoft.com/office/drawing/2014/main" id="{D52A57F3-1AF8-AE52-B6E7-72E4321BAD49}"/>
                  </a:ext>
                </a:extLst>
              </p:cNvPr>
              <p:cNvSpPr>
                <a:spLocks/>
              </p:cNvSpPr>
              <p:nvPr/>
            </p:nvSpPr>
            <p:spPr bwMode="auto">
              <a:xfrm>
                <a:off x="3714" y="1802"/>
                <a:ext cx="2" cy="4"/>
              </a:xfrm>
              <a:custGeom>
                <a:avLst/>
                <a:gdLst>
                  <a:gd name="T0" fmla="*/ 0 w 2"/>
                  <a:gd name="T1" fmla="*/ 3 h 4"/>
                  <a:gd name="T2" fmla="*/ 1 w 2"/>
                  <a:gd name="T3" fmla="*/ 4 h 4"/>
                  <a:gd name="T4" fmla="*/ 2 w 2"/>
                  <a:gd name="T5" fmla="*/ 4 h 4"/>
                  <a:gd name="T6" fmla="*/ 2 w 2"/>
                  <a:gd name="T7" fmla="*/ 3 h 4"/>
                  <a:gd name="T8" fmla="*/ 2 w 2"/>
                  <a:gd name="T9" fmla="*/ 3 h 4"/>
                  <a:gd name="T10" fmla="*/ 1 w 2"/>
                  <a:gd name="T11" fmla="*/ 1 h 4"/>
                  <a:gd name="T12" fmla="*/ 1 w 2"/>
                  <a:gd name="T13" fmla="*/ 0 h 4"/>
                  <a:gd name="T14" fmla="*/ 1 w 2"/>
                  <a:gd name="T15" fmla="*/ 1 h 4"/>
                  <a:gd name="T16" fmla="*/ 0 w 2"/>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4">
                    <a:moveTo>
                      <a:pt x="0" y="3"/>
                    </a:moveTo>
                    <a:lnTo>
                      <a:pt x="1" y="4"/>
                    </a:lnTo>
                    <a:lnTo>
                      <a:pt x="2" y="4"/>
                    </a:lnTo>
                    <a:lnTo>
                      <a:pt x="2" y="3"/>
                    </a:lnTo>
                    <a:lnTo>
                      <a:pt x="2" y="3"/>
                    </a:lnTo>
                    <a:lnTo>
                      <a:pt x="1" y="1"/>
                    </a:lnTo>
                    <a:lnTo>
                      <a:pt x="1" y="0"/>
                    </a:lnTo>
                    <a:lnTo>
                      <a:pt x="1" y="1"/>
                    </a:lnTo>
                    <a:lnTo>
                      <a:pt x="0" y="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53" name="Freeform 59">
                <a:extLst>
                  <a:ext uri="{FF2B5EF4-FFF2-40B4-BE49-F238E27FC236}">
                    <a16:creationId xmlns:a16="http://schemas.microsoft.com/office/drawing/2014/main" id="{F694BC8F-DC68-8DBB-0F95-38B74C83C5C1}"/>
                  </a:ext>
                </a:extLst>
              </p:cNvPr>
              <p:cNvSpPr>
                <a:spLocks/>
              </p:cNvSpPr>
              <p:nvPr/>
            </p:nvSpPr>
            <p:spPr bwMode="auto">
              <a:xfrm>
                <a:off x="3887" y="1908"/>
                <a:ext cx="30" cy="65"/>
              </a:xfrm>
              <a:custGeom>
                <a:avLst/>
                <a:gdLst>
                  <a:gd name="T0" fmla="*/ 18 w 30"/>
                  <a:gd name="T1" fmla="*/ 64 h 65"/>
                  <a:gd name="T2" fmla="*/ 18 w 30"/>
                  <a:gd name="T3" fmla="*/ 61 h 65"/>
                  <a:gd name="T4" fmla="*/ 19 w 30"/>
                  <a:gd name="T5" fmla="*/ 58 h 65"/>
                  <a:gd name="T6" fmla="*/ 22 w 30"/>
                  <a:gd name="T7" fmla="*/ 56 h 65"/>
                  <a:gd name="T8" fmla="*/ 23 w 30"/>
                  <a:gd name="T9" fmla="*/ 55 h 65"/>
                  <a:gd name="T10" fmla="*/ 25 w 30"/>
                  <a:gd name="T11" fmla="*/ 54 h 65"/>
                  <a:gd name="T12" fmla="*/ 26 w 30"/>
                  <a:gd name="T13" fmla="*/ 49 h 65"/>
                  <a:gd name="T14" fmla="*/ 28 w 30"/>
                  <a:gd name="T15" fmla="*/ 48 h 65"/>
                  <a:gd name="T16" fmla="*/ 30 w 30"/>
                  <a:gd name="T17" fmla="*/ 45 h 65"/>
                  <a:gd name="T18" fmla="*/ 29 w 30"/>
                  <a:gd name="T19" fmla="*/ 41 h 65"/>
                  <a:gd name="T20" fmla="*/ 28 w 30"/>
                  <a:gd name="T21" fmla="*/ 38 h 65"/>
                  <a:gd name="T22" fmla="*/ 26 w 30"/>
                  <a:gd name="T23" fmla="*/ 38 h 65"/>
                  <a:gd name="T24" fmla="*/ 23 w 30"/>
                  <a:gd name="T25" fmla="*/ 36 h 65"/>
                  <a:gd name="T26" fmla="*/ 20 w 30"/>
                  <a:gd name="T27" fmla="*/ 31 h 65"/>
                  <a:gd name="T28" fmla="*/ 20 w 30"/>
                  <a:gd name="T29" fmla="*/ 23 h 65"/>
                  <a:gd name="T30" fmla="*/ 22 w 30"/>
                  <a:gd name="T31" fmla="*/ 18 h 65"/>
                  <a:gd name="T32" fmla="*/ 22 w 30"/>
                  <a:gd name="T33" fmla="*/ 12 h 65"/>
                  <a:gd name="T34" fmla="*/ 20 w 30"/>
                  <a:gd name="T35" fmla="*/ 9 h 65"/>
                  <a:gd name="T36" fmla="*/ 16 w 30"/>
                  <a:gd name="T37" fmla="*/ 6 h 65"/>
                  <a:gd name="T38" fmla="*/ 15 w 30"/>
                  <a:gd name="T39" fmla="*/ 5 h 65"/>
                  <a:gd name="T40" fmla="*/ 13 w 30"/>
                  <a:gd name="T41" fmla="*/ 2 h 65"/>
                  <a:gd name="T42" fmla="*/ 10 w 30"/>
                  <a:gd name="T43" fmla="*/ 3 h 65"/>
                  <a:gd name="T44" fmla="*/ 7 w 30"/>
                  <a:gd name="T45" fmla="*/ 3 h 65"/>
                  <a:gd name="T46" fmla="*/ 7 w 30"/>
                  <a:gd name="T47" fmla="*/ 2 h 65"/>
                  <a:gd name="T48" fmla="*/ 7 w 30"/>
                  <a:gd name="T49" fmla="*/ 0 h 65"/>
                  <a:gd name="T50" fmla="*/ 6 w 30"/>
                  <a:gd name="T51" fmla="*/ 2 h 65"/>
                  <a:gd name="T52" fmla="*/ 2 w 30"/>
                  <a:gd name="T53" fmla="*/ 8 h 65"/>
                  <a:gd name="T54" fmla="*/ 0 w 30"/>
                  <a:gd name="T55" fmla="*/ 10 h 65"/>
                  <a:gd name="T56" fmla="*/ 0 w 30"/>
                  <a:gd name="T57" fmla="*/ 16 h 65"/>
                  <a:gd name="T58" fmla="*/ 3 w 30"/>
                  <a:gd name="T59" fmla="*/ 18 h 65"/>
                  <a:gd name="T60" fmla="*/ 5 w 30"/>
                  <a:gd name="T61" fmla="*/ 20 h 65"/>
                  <a:gd name="T62" fmla="*/ 3 w 30"/>
                  <a:gd name="T63" fmla="*/ 29 h 65"/>
                  <a:gd name="T64" fmla="*/ 3 w 30"/>
                  <a:gd name="T65" fmla="*/ 35 h 65"/>
                  <a:gd name="T66" fmla="*/ 2 w 30"/>
                  <a:gd name="T67" fmla="*/ 43 h 65"/>
                  <a:gd name="T68" fmla="*/ 2 w 30"/>
                  <a:gd name="T69" fmla="*/ 49 h 65"/>
                  <a:gd name="T70" fmla="*/ 0 w 30"/>
                  <a:gd name="T71" fmla="*/ 49 h 65"/>
                  <a:gd name="T72" fmla="*/ 3 w 30"/>
                  <a:gd name="T73" fmla="*/ 52 h 65"/>
                  <a:gd name="T74" fmla="*/ 10 w 30"/>
                  <a:gd name="T75" fmla="*/ 59 h 65"/>
                  <a:gd name="T76" fmla="*/ 15 w 30"/>
                  <a:gd name="T7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 h="65">
                    <a:moveTo>
                      <a:pt x="16" y="65"/>
                    </a:moveTo>
                    <a:lnTo>
                      <a:pt x="18" y="64"/>
                    </a:lnTo>
                    <a:lnTo>
                      <a:pt x="18" y="62"/>
                    </a:lnTo>
                    <a:lnTo>
                      <a:pt x="18" y="61"/>
                    </a:lnTo>
                    <a:lnTo>
                      <a:pt x="18" y="59"/>
                    </a:lnTo>
                    <a:lnTo>
                      <a:pt x="19" y="58"/>
                    </a:lnTo>
                    <a:lnTo>
                      <a:pt x="20" y="56"/>
                    </a:lnTo>
                    <a:lnTo>
                      <a:pt x="22" y="56"/>
                    </a:lnTo>
                    <a:lnTo>
                      <a:pt x="22" y="55"/>
                    </a:lnTo>
                    <a:lnTo>
                      <a:pt x="23" y="55"/>
                    </a:lnTo>
                    <a:lnTo>
                      <a:pt x="23" y="55"/>
                    </a:lnTo>
                    <a:lnTo>
                      <a:pt x="25" y="54"/>
                    </a:lnTo>
                    <a:lnTo>
                      <a:pt x="25" y="51"/>
                    </a:lnTo>
                    <a:lnTo>
                      <a:pt x="26" y="49"/>
                    </a:lnTo>
                    <a:lnTo>
                      <a:pt x="28" y="48"/>
                    </a:lnTo>
                    <a:lnTo>
                      <a:pt x="28" y="48"/>
                    </a:lnTo>
                    <a:lnTo>
                      <a:pt x="29" y="46"/>
                    </a:lnTo>
                    <a:lnTo>
                      <a:pt x="30" y="45"/>
                    </a:lnTo>
                    <a:lnTo>
                      <a:pt x="30" y="43"/>
                    </a:lnTo>
                    <a:lnTo>
                      <a:pt x="29" y="41"/>
                    </a:lnTo>
                    <a:lnTo>
                      <a:pt x="29" y="39"/>
                    </a:lnTo>
                    <a:lnTo>
                      <a:pt x="28" y="38"/>
                    </a:lnTo>
                    <a:lnTo>
                      <a:pt x="28" y="38"/>
                    </a:lnTo>
                    <a:lnTo>
                      <a:pt x="26" y="38"/>
                    </a:lnTo>
                    <a:lnTo>
                      <a:pt x="25" y="38"/>
                    </a:lnTo>
                    <a:lnTo>
                      <a:pt x="23" y="36"/>
                    </a:lnTo>
                    <a:lnTo>
                      <a:pt x="22" y="33"/>
                    </a:lnTo>
                    <a:lnTo>
                      <a:pt x="20" y="31"/>
                    </a:lnTo>
                    <a:lnTo>
                      <a:pt x="20" y="28"/>
                    </a:lnTo>
                    <a:lnTo>
                      <a:pt x="20" y="23"/>
                    </a:lnTo>
                    <a:lnTo>
                      <a:pt x="20" y="20"/>
                    </a:lnTo>
                    <a:lnTo>
                      <a:pt x="22" y="18"/>
                    </a:lnTo>
                    <a:lnTo>
                      <a:pt x="22" y="15"/>
                    </a:lnTo>
                    <a:lnTo>
                      <a:pt x="22" y="12"/>
                    </a:lnTo>
                    <a:lnTo>
                      <a:pt x="20" y="10"/>
                    </a:lnTo>
                    <a:lnTo>
                      <a:pt x="20" y="9"/>
                    </a:lnTo>
                    <a:lnTo>
                      <a:pt x="19" y="8"/>
                    </a:lnTo>
                    <a:lnTo>
                      <a:pt x="16" y="6"/>
                    </a:lnTo>
                    <a:lnTo>
                      <a:pt x="16" y="6"/>
                    </a:lnTo>
                    <a:lnTo>
                      <a:pt x="15" y="5"/>
                    </a:lnTo>
                    <a:lnTo>
                      <a:pt x="15" y="3"/>
                    </a:lnTo>
                    <a:lnTo>
                      <a:pt x="13" y="2"/>
                    </a:lnTo>
                    <a:lnTo>
                      <a:pt x="12" y="3"/>
                    </a:lnTo>
                    <a:lnTo>
                      <a:pt x="10" y="3"/>
                    </a:lnTo>
                    <a:lnTo>
                      <a:pt x="9" y="3"/>
                    </a:lnTo>
                    <a:lnTo>
                      <a:pt x="7" y="3"/>
                    </a:lnTo>
                    <a:lnTo>
                      <a:pt x="7" y="2"/>
                    </a:lnTo>
                    <a:lnTo>
                      <a:pt x="7" y="2"/>
                    </a:lnTo>
                    <a:lnTo>
                      <a:pt x="7" y="0"/>
                    </a:lnTo>
                    <a:lnTo>
                      <a:pt x="7" y="0"/>
                    </a:lnTo>
                    <a:lnTo>
                      <a:pt x="6" y="0"/>
                    </a:lnTo>
                    <a:lnTo>
                      <a:pt x="6" y="2"/>
                    </a:lnTo>
                    <a:lnTo>
                      <a:pt x="5" y="3"/>
                    </a:lnTo>
                    <a:lnTo>
                      <a:pt x="2" y="8"/>
                    </a:lnTo>
                    <a:lnTo>
                      <a:pt x="0" y="9"/>
                    </a:lnTo>
                    <a:lnTo>
                      <a:pt x="0" y="10"/>
                    </a:lnTo>
                    <a:lnTo>
                      <a:pt x="0" y="12"/>
                    </a:lnTo>
                    <a:lnTo>
                      <a:pt x="0" y="16"/>
                    </a:lnTo>
                    <a:lnTo>
                      <a:pt x="0" y="18"/>
                    </a:lnTo>
                    <a:lnTo>
                      <a:pt x="3" y="18"/>
                    </a:lnTo>
                    <a:lnTo>
                      <a:pt x="5" y="19"/>
                    </a:lnTo>
                    <a:lnTo>
                      <a:pt x="5" y="20"/>
                    </a:lnTo>
                    <a:lnTo>
                      <a:pt x="3" y="28"/>
                    </a:lnTo>
                    <a:lnTo>
                      <a:pt x="3" y="29"/>
                    </a:lnTo>
                    <a:lnTo>
                      <a:pt x="3" y="32"/>
                    </a:lnTo>
                    <a:lnTo>
                      <a:pt x="3" y="35"/>
                    </a:lnTo>
                    <a:lnTo>
                      <a:pt x="0" y="42"/>
                    </a:lnTo>
                    <a:lnTo>
                      <a:pt x="2" y="43"/>
                    </a:lnTo>
                    <a:lnTo>
                      <a:pt x="2" y="48"/>
                    </a:lnTo>
                    <a:lnTo>
                      <a:pt x="2" y="49"/>
                    </a:lnTo>
                    <a:lnTo>
                      <a:pt x="2" y="49"/>
                    </a:lnTo>
                    <a:lnTo>
                      <a:pt x="0" y="49"/>
                    </a:lnTo>
                    <a:lnTo>
                      <a:pt x="0" y="49"/>
                    </a:lnTo>
                    <a:lnTo>
                      <a:pt x="3" y="52"/>
                    </a:lnTo>
                    <a:lnTo>
                      <a:pt x="7" y="55"/>
                    </a:lnTo>
                    <a:lnTo>
                      <a:pt x="10" y="59"/>
                    </a:lnTo>
                    <a:lnTo>
                      <a:pt x="12" y="64"/>
                    </a:lnTo>
                    <a:lnTo>
                      <a:pt x="15" y="65"/>
                    </a:lnTo>
                    <a:lnTo>
                      <a:pt x="16" y="6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54" name="Freeform 60">
                <a:extLst>
                  <a:ext uri="{FF2B5EF4-FFF2-40B4-BE49-F238E27FC236}">
                    <a16:creationId xmlns:a16="http://schemas.microsoft.com/office/drawing/2014/main" id="{44059C29-D637-77A6-1831-AD6344CDFCEA}"/>
                  </a:ext>
                </a:extLst>
              </p:cNvPr>
              <p:cNvSpPr>
                <a:spLocks/>
              </p:cNvSpPr>
              <p:nvPr/>
            </p:nvSpPr>
            <p:spPr bwMode="auto">
              <a:xfrm>
                <a:off x="3903" y="1778"/>
                <a:ext cx="167" cy="106"/>
              </a:xfrm>
              <a:custGeom>
                <a:avLst/>
                <a:gdLst>
                  <a:gd name="T0" fmla="*/ 151 w 167"/>
                  <a:gd name="T1" fmla="*/ 71 h 106"/>
                  <a:gd name="T2" fmla="*/ 142 w 167"/>
                  <a:gd name="T3" fmla="*/ 69 h 106"/>
                  <a:gd name="T4" fmla="*/ 138 w 167"/>
                  <a:gd name="T5" fmla="*/ 63 h 106"/>
                  <a:gd name="T6" fmla="*/ 139 w 167"/>
                  <a:gd name="T7" fmla="*/ 57 h 106"/>
                  <a:gd name="T8" fmla="*/ 141 w 167"/>
                  <a:gd name="T9" fmla="*/ 41 h 106"/>
                  <a:gd name="T10" fmla="*/ 137 w 167"/>
                  <a:gd name="T11" fmla="*/ 28 h 106"/>
                  <a:gd name="T12" fmla="*/ 121 w 167"/>
                  <a:gd name="T13" fmla="*/ 4 h 106"/>
                  <a:gd name="T14" fmla="*/ 109 w 167"/>
                  <a:gd name="T15" fmla="*/ 1 h 106"/>
                  <a:gd name="T16" fmla="*/ 108 w 167"/>
                  <a:gd name="T17" fmla="*/ 2 h 106"/>
                  <a:gd name="T18" fmla="*/ 104 w 167"/>
                  <a:gd name="T19" fmla="*/ 5 h 106"/>
                  <a:gd name="T20" fmla="*/ 89 w 167"/>
                  <a:gd name="T21" fmla="*/ 10 h 106"/>
                  <a:gd name="T22" fmla="*/ 82 w 167"/>
                  <a:gd name="T23" fmla="*/ 13 h 106"/>
                  <a:gd name="T24" fmla="*/ 75 w 167"/>
                  <a:gd name="T25" fmla="*/ 8 h 106"/>
                  <a:gd name="T26" fmla="*/ 62 w 167"/>
                  <a:gd name="T27" fmla="*/ 7 h 106"/>
                  <a:gd name="T28" fmla="*/ 56 w 167"/>
                  <a:gd name="T29" fmla="*/ 7 h 106"/>
                  <a:gd name="T30" fmla="*/ 52 w 167"/>
                  <a:gd name="T31" fmla="*/ 5 h 106"/>
                  <a:gd name="T32" fmla="*/ 46 w 167"/>
                  <a:gd name="T33" fmla="*/ 8 h 106"/>
                  <a:gd name="T34" fmla="*/ 32 w 167"/>
                  <a:gd name="T35" fmla="*/ 18 h 106"/>
                  <a:gd name="T36" fmla="*/ 27 w 167"/>
                  <a:gd name="T37" fmla="*/ 27 h 106"/>
                  <a:gd name="T38" fmla="*/ 20 w 167"/>
                  <a:gd name="T39" fmla="*/ 38 h 106"/>
                  <a:gd name="T40" fmla="*/ 19 w 167"/>
                  <a:gd name="T41" fmla="*/ 43 h 106"/>
                  <a:gd name="T42" fmla="*/ 14 w 167"/>
                  <a:gd name="T43" fmla="*/ 47 h 106"/>
                  <a:gd name="T44" fmla="*/ 12 w 167"/>
                  <a:gd name="T45" fmla="*/ 47 h 106"/>
                  <a:gd name="T46" fmla="*/ 4 w 167"/>
                  <a:gd name="T47" fmla="*/ 50 h 106"/>
                  <a:gd name="T48" fmla="*/ 0 w 167"/>
                  <a:gd name="T49" fmla="*/ 51 h 106"/>
                  <a:gd name="T50" fmla="*/ 10 w 167"/>
                  <a:gd name="T51" fmla="*/ 59 h 106"/>
                  <a:gd name="T52" fmla="*/ 10 w 167"/>
                  <a:gd name="T53" fmla="*/ 64 h 106"/>
                  <a:gd name="T54" fmla="*/ 19 w 167"/>
                  <a:gd name="T55" fmla="*/ 70 h 106"/>
                  <a:gd name="T56" fmla="*/ 22 w 167"/>
                  <a:gd name="T57" fmla="*/ 74 h 106"/>
                  <a:gd name="T58" fmla="*/ 20 w 167"/>
                  <a:gd name="T59" fmla="*/ 77 h 106"/>
                  <a:gd name="T60" fmla="*/ 22 w 167"/>
                  <a:gd name="T61" fmla="*/ 79 h 106"/>
                  <a:gd name="T62" fmla="*/ 23 w 167"/>
                  <a:gd name="T63" fmla="*/ 80 h 106"/>
                  <a:gd name="T64" fmla="*/ 20 w 167"/>
                  <a:gd name="T65" fmla="*/ 80 h 106"/>
                  <a:gd name="T66" fmla="*/ 20 w 167"/>
                  <a:gd name="T67" fmla="*/ 82 h 106"/>
                  <a:gd name="T68" fmla="*/ 30 w 167"/>
                  <a:gd name="T69" fmla="*/ 84 h 106"/>
                  <a:gd name="T70" fmla="*/ 36 w 167"/>
                  <a:gd name="T71" fmla="*/ 86 h 106"/>
                  <a:gd name="T72" fmla="*/ 40 w 167"/>
                  <a:gd name="T73" fmla="*/ 84 h 106"/>
                  <a:gd name="T74" fmla="*/ 45 w 167"/>
                  <a:gd name="T75" fmla="*/ 86 h 106"/>
                  <a:gd name="T76" fmla="*/ 42 w 167"/>
                  <a:gd name="T77" fmla="*/ 87 h 106"/>
                  <a:gd name="T78" fmla="*/ 42 w 167"/>
                  <a:gd name="T79" fmla="*/ 92 h 106"/>
                  <a:gd name="T80" fmla="*/ 45 w 167"/>
                  <a:gd name="T81" fmla="*/ 94 h 106"/>
                  <a:gd name="T82" fmla="*/ 49 w 167"/>
                  <a:gd name="T83" fmla="*/ 99 h 106"/>
                  <a:gd name="T84" fmla="*/ 47 w 167"/>
                  <a:gd name="T85" fmla="*/ 100 h 106"/>
                  <a:gd name="T86" fmla="*/ 46 w 167"/>
                  <a:gd name="T87" fmla="*/ 102 h 106"/>
                  <a:gd name="T88" fmla="*/ 49 w 167"/>
                  <a:gd name="T89" fmla="*/ 103 h 106"/>
                  <a:gd name="T90" fmla="*/ 66 w 167"/>
                  <a:gd name="T91" fmla="*/ 105 h 106"/>
                  <a:gd name="T92" fmla="*/ 78 w 167"/>
                  <a:gd name="T93" fmla="*/ 105 h 106"/>
                  <a:gd name="T94" fmla="*/ 95 w 167"/>
                  <a:gd name="T95" fmla="*/ 106 h 106"/>
                  <a:gd name="T96" fmla="*/ 109 w 167"/>
                  <a:gd name="T97" fmla="*/ 99 h 106"/>
                  <a:gd name="T98" fmla="*/ 119 w 167"/>
                  <a:gd name="T99" fmla="*/ 96 h 106"/>
                  <a:gd name="T100" fmla="*/ 134 w 167"/>
                  <a:gd name="T101" fmla="*/ 100 h 106"/>
                  <a:gd name="T102" fmla="*/ 139 w 167"/>
                  <a:gd name="T103" fmla="*/ 105 h 106"/>
                  <a:gd name="T104" fmla="*/ 144 w 167"/>
                  <a:gd name="T105" fmla="*/ 106 h 106"/>
                  <a:gd name="T106" fmla="*/ 148 w 167"/>
                  <a:gd name="T107" fmla="*/ 94 h 106"/>
                  <a:gd name="T108" fmla="*/ 151 w 167"/>
                  <a:gd name="T109" fmla="*/ 89 h 106"/>
                  <a:gd name="T110" fmla="*/ 152 w 167"/>
                  <a:gd name="T111" fmla="*/ 83 h 106"/>
                  <a:gd name="T112" fmla="*/ 154 w 167"/>
                  <a:gd name="T113" fmla="*/ 77 h 106"/>
                  <a:gd name="T114" fmla="*/ 155 w 167"/>
                  <a:gd name="T115" fmla="*/ 82 h 106"/>
                  <a:gd name="T116" fmla="*/ 162 w 167"/>
                  <a:gd name="T117" fmla="*/ 80 h 106"/>
                  <a:gd name="T118" fmla="*/ 167 w 167"/>
                  <a:gd name="T119" fmla="*/ 76 h 106"/>
                  <a:gd name="T120" fmla="*/ 157 w 167"/>
                  <a:gd name="T121" fmla="*/ 6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7" h="106">
                    <a:moveTo>
                      <a:pt x="157" y="69"/>
                    </a:moveTo>
                    <a:lnTo>
                      <a:pt x="152" y="69"/>
                    </a:lnTo>
                    <a:lnTo>
                      <a:pt x="151" y="71"/>
                    </a:lnTo>
                    <a:lnTo>
                      <a:pt x="148" y="71"/>
                    </a:lnTo>
                    <a:lnTo>
                      <a:pt x="145" y="70"/>
                    </a:lnTo>
                    <a:lnTo>
                      <a:pt x="142" y="69"/>
                    </a:lnTo>
                    <a:lnTo>
                      <a:pt x="141" y="66"/>
                    </a:lnTo>
                    <a:lnTo>
                      <a:pt x="139" y="64"/>
                    </a:lnTo>
                    <a:lnTo>
                      <a:pt x="138" y="63"/>
                    </a:lnTo>
                    <a:lnTo>
                      <a:pt x="139" y="61"/>
                    </a:lnTo>
                    <a:lnTo>
                      <a:pt x="139" y="60"/>
                    </a:lnTo>
                    <a:lnTo>
                      <a:pt x="139" y="57"/>
                    </a:lnTo>
                    <a:lnTo>
                      <a:pt x="139" y="54"/>
                    </a:lnTo>
                    <a:lnTo>
                      <a:pt x="139" y="51"/>
                    </a:lnTo>
                    <a:lnTo>
                      <a:pt x="141" y="41"/>
                    </a:lnTo>
                    <a:lnTo>
                      <a:pt x="141" y="37"/>
                    </a:lnTo>
                    <a:lnTo>
                      <a:pt x="138" y="33"/>
                    </a:lnTo>
                    <a:lnTo>
                      <a:pt x="137" y="28"/>
                    </a:lnTo>
                    <a:lnTo>
                      <a:pt x="126" y="17"/>
                    </a:lnTo>
                    <a:lnTo>
                      <a:pt x="124" y="14"/>
                    </a:lnTo>
                    <a:lnTo>
                      <a:pt x="121" y="4"/>
                    </a:lnTo>
                    <a:lnTo>
                      <a:pt x="116" y="1"/>
                    </a:lnTo>
                    <a:lnTo>
                      <a:pt x="112" y="0"/>
                    </a:lnTo>
                    <a:lnTo>
                      <a:pt x="109" y="1"/>
                    </a:lnTo>
                    <a:lnTo>
                      <a:pt x="109" y="1"/>
                    </a:lnTo>
                    <a:lnTo>
                      <a:pt x="108" y="2"/>
                    </a:lnTo>
                    <a:lnTo>
                      <a:pt x="108" y="2"/>
                    </a:lnTo>
                    <a:lnTo>
                      <a:pt x="106" y="4"/>
                    </a:lnTo>
                    <a:lnTo>
                      <a:pt x="106" y="4"/>
                    </a:lnTo>
                    <a:lnTo>
                      <a:pt x="104" y="5"/>
                    </a:lnTo>
                    <a:lnTo>
                      <a:pt x="102" y="7"/>
                    </a:lnTo>
                    <a:lnTo>
                      <a:pt x="92" y="10"/>
                    </a:lnTo>
                    <a:lnTo>
                      <a:pt x="89" y="10"/>
                    </a:lnTo>
                    <a:lnTo>
                      <a:pt x="85" y="13"/>
                    </a:lnTo>
                    <a:lnTo>
                      <a:pt x="83" y="13"/>
                    </a:lnTo>
                    <a:lnTo>
                      <a:pt x="82" y="13"/>
                    </a:lnTo>
                    <a:lnTo>
                      <a:pt x="79" y="10"/>
                    </a:lnTo>
                    <a:lnTo>
                      <a:pt x="76" y="8"/>
                    </a:lnTo>
                    <a:lnTo>
                      <a:pt x="75" y="8"/>
                    </a:lnTo>
                    <a:lnTo>
                      <a:pt x="69" y="8"/>
                    </a:lnTo>
                    <a:lnTo>
                      <a:pt x="68" y="8"/>
                    </a:lnTo>
                    <a:lnTo>
                      <a:pt x="62" y="7"/>
                    </a:lnTo>
                    <a:lnTo>
                      <a:pt x="59" y="7"/>
                    </a:lnTo>
                    <a:lnTo>
                      <a:pt x="58" y="7"/>
                    </a:lnTo>
                    <a:lnTo>
                      <a:pt x="56" y="7"/>
                    </a:lnTo>
                    <a:lnTo>
                      <a:pt x="53" y="5"/>
                    </a:lnTo>
                    <a:lnTo>
                      <a:pt x="53" y="4"/>
                    </a:lnTo>
                    <a:lnTo>
                      <a:pt x="52" y="5"/>
                    </a:lnTo>
                    <a:lnTo>
                      <a:pt x="50" y="5"/>
                    </a:lnTo>
                    <a:lnTo>
                      <a:pt x="49" y="7"/>
                    </a:lnTo>
                    <a:lnTo>
                      <a:pt x="46" y="8"/>
                    </a:lnTo>
                    <a:lnTo>
                      <a:pt x="43" y="11"/>
                    </a:lnTo>
                    <a:lnTo>
                      <a:pt x="35" y="14"/>
                    </a:lnTo>
                    <a:lnTo>
                      <a:pt x="32" y="18"/>
                    </a:lnTo>
                    <a:lnTo>
                      <a:pt x="30" y="20"/>
                    </a:lnTo>
                    <a:lnTo>
                      <a:pt x="29" y="24"/>
                    </a:lnTo>
                    <a:lnTo>
                      <a:pt x="27" y="27"/>
                    </a:lnTo>
                    <a:lnTo>
                      <a:pt x="25" y="31"/>
                    </a:lnTo>
                    <a:lnTo>
                      <a:pt x="23" y="36"/>
                    </a:lnTo>
                    <a:lnTo>
                      <a:pt x="20" y="38"/>
                    </a:lnTo>
                    <a:lnTo>
                      <a:pt x="19" y="40"/>
                    </a:lnTo>
                    <a:lnTo>
                      <a:pt x="19" y="41"/>
                    </a:lnTo>
                    <a:lnTo>
                      <a:pt x="19" y="43"/>
                    </a:lnTo>
                    <a:lnTo>
                      <a:pt x="17" y="46"/>
                    </a:lnTo>
                    <a:lnTo>
                      <a:pt x="16" y="47"/>
                    </a:lnTo>
                    <a:lnTo>
                      <a:pt x="14" y="47"/>
                    </a:lnTo>
                    <a:lnTo>
                      <a:pt x="14" y="47"/>
                    </a:lnTo>
                    <a:lnTo>
                      <a:pt x="13" y="47"/>
                    </a:lnTo>
                    <a:lnTo>
                      <a:pt x="12" y="47"/>
                    </a:lnTo>
                    <a:lnTo>
                      <a:pt x="9" y="48"/>
                    </a:lnTo>
                    <a:lnTo>
                      <a:pt x="6" y="50"/>
                    </a:lnTo>
                    <a:lnTo>
                      <a:pt x="4" y="50"/>
                    </a:lnTo>
                    <a:lnTo>
                      <a:pt x="3" y="50"/>
                    </a:lnTo>
                    <a:lnTo>
                      <a:pt x="2" y="50"/>
                    </a:lnTo>
                    <a:lnTo>
                      <a:pt x="0" y="51"/>
                    </a:lnTo>
                    <a:lnTo>
                      <a:pt x="4" y="56"/>
                    </a:lnTo>
                    <a:lnTo>
                      <a:pt x="7" y="59"/>
                    </a:lnTo>
                    <a:lnTo>
                      <a:pt x="10" y="59"/>
                    </a:lnTo>
                    <a:lnTo>
                      <a:pt x="10" y="61"/>
                    </a:lnTo>
                    <a:lnTo>
                      <a:pt x="10" y="63"/>
                    </a:lnTo>
                    <a:lnTo>
                      <a:pt x="10" y="64"/>
                    </a:lnTo>
                    <a:lnTo>
                      <a:pt x="12" y="67"/>
                    </a:lnTo>
                    <a:lnTo>
                      <a:pt x="13" y="69"/>
                    </a:lnTo>
                    <a:lnTo>
                      <a:pt x="19" y="70"/>
                    </a:lnTo>
                    <a:lnTo>
                      <a:pt x="20" y="71"/>
                    </a:lnTo>
                    <a:lnTo>
                      <a:pt x="22" y="74"/>
                    </a:lnTo>
                    <a:lnTo>
                      <a:pt x="22" y="74"/>
                    </a:lnTo>
                    <a:lnTo>
                      <a:pt x="20" y="76"/>
                    </a:lnTo>
                    <a:lnTo>
                      <a:pt x="20" y="76"/>
                    </a:lnTo>
                    <a:lnTo>
                      <a:pt x="20" y="77"/>
                    </a:lnTo>
                    <a:lnTo>
                      <a:pt x="22" y="77"/>
                    </a:lnTo>
                    <a:lnTo>
                      <a:pt x="22" y="79"/>
                    </a:lnTo>
                    <a:lnTo>
                      <a:pt x="22" y="79"/>
                    </a:lnTo>
                    <a:lnTo>
                      <a:pt x="22" y="79"/>
                    </a:lnTo>
                    <a:lnTo>
                      <a:pt x="23" y="79"/>
                    </a:lnTo>
                    <a:lnTo>
                      <a:pt x="23" y="80"/>
                    </a:lnTo>
                    <a:lnTo>
                      <a:pt x="22" y="80"/>
                    </a:lnTo>
                    <a:lnTo>
                      <a:pt x="20" y="80"/>
                    </a:lnTo>
                    <a:lnTo>
                      <a:pt x="20" y="80"/>
                    </a:lnTo>
                    <a:lnTo>
                      <a:pt x="20" y="80"/>
                    </a:lnTo>
                    <a:lnTo>
                      <a:pt x="20" y="80"/>
                    </a:lnTo>
                    <a:lnTo>
                      <a:pt x="20" y="82"/>
                    </a:lnTo>
                    <a:lnTo>
                      <a:pt x="23" y="82"/>
                    </a:lnTo>
                    <a:lnTo>
                      <a:pt x="29" y="84"/>
                    </a:lnTo>
                    <a:lnTo>
                      <a:pt x="30" y="84"/>
                    </a:lnTo>
                    <a:lnTo>
                      <a:pt x="33" y="87"/>
                    </a:lnTo>
                    <a:lnTo>
                      <a:pt x="35" y="87"/>
                    </a:lnTo>
                    <a:lnTo>
                      <a:pt x="36" y="86"/>
                    </a:lnTo>
                    <a:lnTo>
                      <a:pt x="37" y="84"/>
                    </a:lnTo>
                    <a:lnTo>
                      <a:pt x="39" y="84"/>
                    </a:lnTo>
                    <a:lnTo>
                      <a:pt x="40" y="84"/>
                    </a:lnTo>
                    <a:lnTo>
                      <a:pt x="42" y="84"/>
                    </a:lnTo>
                    <a:lnTo>
                      <a:pt x="43" y="86"/>
                    </a:lnTo>
                    <a:lnTo>
                      <a:pt x="45" y="86"/>
                    </a:lnTo>
                    <a:lnTo>
                      <a:pt x="43" y="87"/>
                    </a:lnTo>
                    <a:lnTo>
                      <a:pt x="43" y="87"/>
                    </a:lnTo>
                    <a:lnTo>
                      <a:pt x="42" y="87"/>
                    </a:lnTo>
                    <a:lnTo>
                      <a:pt x="42" y="87"/>
                    </a:lnTo>
                    <a:lnTo>
                      <a:pt x="40" y="90"/>
                    </a:lnTo>
                    <a:lnTo>
                      <a:pt x="42" y="92"/>
                    </a:lnTo>
                    <a:lnTo>
                      <a:pt x="43" y="93"/>
                    </a:lnTo>
                    <a:lnTo>
                      <a:pt x="43" y="94"/>
                    </a:lnTo>
                    <a:lnTo>
                      <a:pt x="45" y="94"/>
                    </a:lnTo>
                    <a:lnTo>
                      <a:pt x="47" y="96"/>
                    </a:lnTo>
                    <a:lnTo>
                      <a:pt x="47" y="97"/>
                    </a:lnTo>
                    <a:lnTo>
                      <a:pt x="49" y="99"/>
                    </a:lnTo>
                    <a:lnTo>
                      <a:pt x="49" y="99"/>
                    </a:lnTo>
                    <a:lnTo>
                      <a:pt x="49" y="99"/>
                    </a:lnTo>
                    <a:lnTo>
                      <a:pt x="47" y="100"/>
                    </a:lnTo>
                    <a:lnTo>
                      <a:pt x="47" y="100"/>
                    </a:lnTo>
                    <a:lnTo>
                      <a:pt x="47" y="100"/>
                    </a:lnTo>
                    <a:lnTo>
                      <a:pt x="46" y="102"/>
                    </a:lnTo>
                    <a:lnTo>
                      <a:pt x="46" y="102"/>
                    </a:lnTo>
                    <a:lnTo>
                      <a:pt x="47" y="103"/>
                    </a:lnTo>
                    <a:lnTo>
                      <a:pt x="49" y="103"/>
                    </a:lnTo>
                    <a:lnTo>
                      <a:pt x="52" y="103"/>
                    </a:lnTo>
                    <a:lnTo>
                      <a:pt x="56" y="103"/>
                    </a:lnTo>
                    <a:lnTo>
                      <a:pt x="66" y="105"/>
                    </a:lnTo>
                    <a:lnTo>
                      <a:pt x="69" y="105"/>
                    </a:lnTo>
                    <a:lnTo>
                      <a:pt x="75" y="105"/>
                    </a:lnTo>
                    <a:lnTo>
                      <a:pt x="78" y="105"/>
                    </a:lnTo>
                    <a:lnTo>
                      <a:pt x="85" y="106"/>
                    </a:lnTo>
                    <a:lnTo>
                      <a:pt x="91" y="106"/>
                    </a:lnTo>
                    <a:lnTo>
                      <a:pt x="95" y="106"/>
                    </a:lnTo>
                    <a:lnTo>
                      <a:pt x="104" y="100"/>
                    </a:lnTo>
                    <a:lnTo>
                      <a:pt x="106" y="99"/>
                    </a:lnTo>
                    <a:lnTo>
                      <a:pt x="109" y="99"/>
                    </a:lnTo>
                    <a:lnTo>
                      <a:pt x="112" y="97"/>
                    </a:lnTo>
                    <a:lnTo>
                      <a:pt x="116" y="96"/>
                    </a:lnTo>
                    <a:lnTo>
                      <a:pt x="119" y="96"/>
                    </a:lnTo>
                    <a:lnTo>
                      <a:pt x="122" y="97"/>
                    </a:lnTo>
                    <a:lnTo>
                      <a:pt x="128" y="99"/>
                    </a:lnTo>
                    <a:lnTo>
                      <a:pt x="134" y="100"/>
                    </a:lnTo>
                    <a:lnTo>
                      <a:pt x="135" y="100"/>
                    </a:lnTo>
                    <a:lnTo>
                      <a:pt x="137" y="102"/>
                    </a:lnTo>
                    <a:lnTo>
                      <a:pt x="139" y="105"/>
                    </a:lnTo>
                    <a:lnTo>
                      <a:pt x="141" y="105"/>
                    </a:lnTo>
                    <a:lnTo>
                      <a:pt x="142" y="105"/>
                    </a:lnTo>
                    <a:lnTo>
                      <a:pt x="144" y="106"/>
                    </a:lnTo>
                    <a:lnTo>
                      <a:pt x="145" y="106"/>
                    </a:lnTo>
                    <a:lnTo>
                      <a:pt x="147" y="106"/>
                    </a:lnTo>
                    <a:lnTo>
                      <a:pt x="148" y="94"/>
                    </a:lnTo>
                    <a:lnTo>
                      <a:pt x="149" y="93"/>
                    </a:lnTo>
                    <a:lnTo>
                      <a:pt x="149" y="90"/>
                    </a:lnTo>
                    <a:lnTo>
                      <a:pt x="151" y="89"/>
                    </a:lnTo>
                    <a:lnTo>
                      <a:pt x="152" y="87"/>
                    </a:lnTo>
                    <a:lnTo>
                      <a:pt x="151" y="87"/>
                    </a:lnTo>
                    <a:lnTo>
                      <a:pt x="152" y="83"/>
                    </a:lnTo>
                    <a:lnTo>
                      <a:pt x="152" y="82"/>
                    </a:lnTo>
                    <a:lnTo>
                      <a:pt x="154" y="79"/>
                    </a:lnTo>
                    <a:lnTo>
                      <a:pt x="154" y="77"/>
                    </a:lnTo>
                    <a:lnTo>
                      <a:pt x="157" y="77"/>
                    </a:lnTo>
                    <a:lnTo>
                      <a:pt x="155" y="79"/>
                    </a:lnTo>
                    <a:lnTo>
                      <a:pt x="155" y="82"/>
                    </a:lnTo>
                    <a:lnTo>
                      <a:pt x="155" y="83"/>
                    </a:lnTo>
                    <a:lnTo>
                      <a:pt x="161" y="82"/>
                    </a:lnTo>
                    <a:lnTo>
                      <a:pt x="162" y="80"/>
                    </a:lnTo>
                    <a:lnTo>
                      <a:pt x="165" y="79"/>
                    </a:lnTo>
                    <a:lnTo>
                      <a:pt x="165" y="77"/>
                    </a:lnTo>
                    <a:lnTo>
                      <a:pt x="167" y="76"/>
                    </a:lnTo>
                    <a:lnTo>
                      <a:pt x="167" y="70"/>
                    </a:lnTo>
                    <a:lnTo>
                      <a:pt x="162" y="69"/>
                    </a:lnTo>
                    <a:lnTo>
                      <a:pt x="157" y="6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55" name="Freeform 61">
                <a:extLst>
                  <a:ext uri="{FF2B5EF4-FFF2-40B4-BE49-F238E27FC236}">
                    <a16:creationId xmlns:a16="http://schemas.microsoft.com/office/drawing/2014/main" id="{068DBE3E-BB60-A778-9A7A-7CAF5C6B1D8C}"/>
                  </a:ext>
                </a:extLst>
              </p:cNvPr>
              <p:cNvSpPr>
                <a:spLocks/>
              </p:cNvSpPr>
              <p:nvPr/>
            </p:nvSpPr>
            <p:spPr bwMode="auto">
              <a:xfrm>
                <a:off x="3940" y="1872"/>
                <a:ext cx="110" cy="67"/>
              </a:xfrm>
              <a:custGeom>
                <a:avLst/>
                <a:gdLst>
                  <a:gd name="T0" fmla="*/ 104 w 110"/>
                  <a:gd name="T1" fmla="*/ 11 h 67"/>
                  <a:gd name="T2" fmla="*/ 98 w 110"/>
                  <a:gd name="T3" fmla="*/ 6 h 67"/>
                  <a:gd name="T4" fmla="*/ 85 w 110"/>
                  <a:gd name="T5" fmla="*/ 3 h 67"/>
                  <a:gd name="T6" fmla="*/ 75 w 110"/>
                  <a:gd name="T7" fmla="*/ 3 h 67"/>
                  <a:gd name="T8" fmla="*/ 67 w 110"/>
                  <a:gd name="T9" fmla="*/ 6 h 67"/>
                  <a:gd name="T10" fmla="*/ 48 w 110"/>
                  <a:gd name="T11" fmla="*/ 12 h 67"/>
                  <a:gd name="T12" fmla="*/ 32 w 110"/>
                  <a:gd name="T13" fmla="*/ 11 h 67"/>
                  <a:gd name="T14" fmla="*/ 15 w 110"/>
                  <a:gd name="T15" fmla="*/ 9 h 67"/>
                  <a:gd name="T16" fmla="*/ 9 w 110"/>
                  <a:gd name="T17" fmla="*/ 8 h 67"/>
                  <a:gd name="T18" fmla="*/ 10 w 110"/>
                  <a:gd name="T19" fmla="*/ 6 h 67"/>
                  <a:gd name="T20" fmla="*/ 12 w 110"/>
                  <a:gd name="T21" fmla="*/ 5 h 67"/>
                  <a:gd name="T22" fmla="*/ 10 w 110"/>
                  <a:gd name="T23" fmla="*/ 2 h 67"/>
                  <a:gd name="T24" fmla="*/ 6 w 110"/>
                  <a:gd name="T25" fmla="*/ 0 h 67"/>
                  <a:gd name="T26" fmla="*/ 2 w 110"/>
                  <a:gd name="T27" fmla="*/ 5 h 67"/>
                  <a:gd name="T28" fmla="*/ 0 w 110"/>
                  <a:gd name="T29" fmla="*/ 9 h 67"/>
                  <a:gd name="T30" fmla="*/ 2 w 110"/>
                  <a:gd name="T31" fmla="*/ 15 h 67"/>
                  <a:gd name="T32" fmla="*/ 6 w 110"/>
                  <a:gd name="T33" fmla="*/ 19 h 67"/>
                  <a:gd name="T34" fmla="*/ 10 w 110"/>
                  <a:gd name="T35" fmla="*/ 23 h 67"/>
                  <a:gd name="T36" fmla="*/ 9 w 110"/>
                  <a:gd name="T37" fmla="*/ 28 h 67"/>
                  <a:gd name="T38" fmla="*/ 5 w 110"/>
                  <a:gd name="T39" fmla="*/ 31 h 67"/>
                  <a:gd name="T40" fmla="*/ 2 w 110"/>
                  <a:gd name="T41" fmla="*/ 32 h 67"/>
                  <a:gd name="T42" fmla="*/ 3 w 110"/>
                  <a:gd name="T43" fmla="*/ 41 h 67"/>
                  <a:gd name="T44" fmla="*/ 10 w 110"/>
                  <a:gd name="T45" fmla="*/ 54 h 67"/>
                  <a:gd name="T46" fmla="*/ 12 w 110"/>
                  <a:gd name="T47" fmla="*/ 62 h 67"/>
                  <a:gd name="T48" fmla="*/ 21 w 110"/>
                  <a:gd name="T49" fmla="*/ 64 h 67"/>
                  <a:gd name="T50" fmla="*/ 31 w 110"/>
                  <a:gd name="T51" fmla="*/ 62 h 67"/>
                  <a:gd name="T52" fmla="*/ 36 w 110"/>
                  <a:gd name="T53" fmla="*/ 61 h 67"/>
                  <a:gd name="T54" fmla="*/ 42 w 110"/>
                  <a:gd name="T55" fmla="*/ 64 h 67"/>
                  <a:gd name="T56" fmla="*/ 46 w 110"/>
                  <a:gd name="T57" fmla="*/ 64 h 67"/>
                  <a:gd name="T58" fmla="*/ 51 w 110"/>
                  <a:gd name="T59" fmla="*/ 67 h 67"/>
                  <a:gd name="T60" fmla="*/ 59 w 110"/>
                  <a:gd name="T61" fmla="*/ 65 h 67"/>
                  <a:gd name="T62" fmla="*/ 67 w 110"/>
                  <a:gd name="T63" fmla="*/ 62 h 67"/>
                  <a:gd name="T64" fmla="*/ 67 w 110"/>
                  <a:gd name="T65" fmla="*/ 56 h 67"/>
                  <a:gd name="T66" fmla="*/ 71 w 110"/>
                  <a:gd name="T67" fmla="*/ 55 h 67"/>
                  <a:gd name="T68" fmla="*/ 72 w 110"/>
                  <a:gd name="T69" fmla="*/ 55 h 67"/>
                  <a:gd name="T70" fmla="*/ 74 w 110"/>
                  <a:gd name="T71" fmla="*/ 52 h 67"/>
                  <a:gd name="T72" fmla="*/ 77 w 110"/>
                  <a:gd name="T73" fmla="*/ 51 h 67"/>
                  <a:gd name="T74" fmla="*/ 88 w 110"/>
                  <a:gd name="T75" fmla="*/ 49 h 67"/>
                  <a:gd name="T76" fmla="*/ 94 w 110"/>
                  <a:gd name="T77" fmla="*/ 52 h 67"/>
                  <a:gd name="T78" fmla="*/ 100 w 110"/>
                  <a:gd name="T79" fmla="*/ 51 h 67"/>
                  <a:gd name="T80" fmla="*/ 94 w 110"/>
                  <a:gd name="T81" fmla="*/ 42 h 67"/>
                  <a:gd name="T82" fmla="*/ 95 w 110"/>
                  <a:gd name="T83" fmla="*/ 35 h 67"/>
                  <a:gd name="T84" fmla="*/ 98 w 110"/>
                  <a:gd name="T85" fmla="*/ 32 h 67"/>
                  <a:gd name="T86" fmla="*/ 100 w 110"/>
                  <a:gd name="T87" fmla="*/ 22 h 67"/>
                  <a:gd name="T88" fmla="*/ 105 w 110"/>
                  <a:gd name="T89" fmla="*/ 19 h 67"/>
                  <a:gd name="T90" fmla="*/ 108 w 110"/>
                  <a:gd name="T91" fmla="*/ 19 h 67"/>
                  <a:gd name="T92" fmla="*/ 110 w 110"/>
                  <a:gd name="T93" fmla="*/ 15 h 67"/>
                  <a:gd name="T94" fmla="*/ 107 w 110"/>
                  <a:gd name="T95" fmla="*/ 1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 h="67">
                    <a:moveTo>
                      <a:pt x="107" y="12"/>
                    </a:moveTo>
                    <a:lnTo>
                      <a:pt x="105" y="11"/>
                    </a:lnTo>
                    <a:lnTo>
                      <a:pt x="104" y="11"/>
                    </a:lnTo>
                    <a:lnTo>
                      <a:pt x="102" y="11"/>
                    </a:lnTo>
                    <a:lnTo>
                      <a:pt x="100" y="8"/>
                    </a:lnTo>
                    <a:lnTo>
                      <a:pt x="98" y="6"/>
                    </a:lnTo>
                    <a:lnTo>
                      <a:pt x="97" y="6"/>
                    </a:lnTo>
                    <a:lnTo>
                      <a:pt x="91" y="5"/>
                    </a:lnTo>
                    <a:lnTo>
                      <a:pt x="85" y="3"/>
                    </a:lnTo>
                    <a:lnTo>
                      <a:pt x="82" y="2"/>
                    </a:lnTo>
                    <a:lnTo>
                      <a:pt x="79" y="2"/>
                    </a:lnTo>
                    <a:lnTo>
                      <a:pt x="75" y="3"/>
                    </a:lnTo>
                    <a:lnTo>
                      <a:pt x="72" y="5"/>
                    </a:lnTo>
                    <a:lnTo>
                      <a:pt x="69" y="5"/>
                    </a:lnTo>
                    <a:lnTo>
                      <a:pt x="67" y="6"/>
                    </a:lnTo>
                    <a:lnTo>
                      <a:pt x="58" y="12"/>
                    </a:lnTo>
                    <a:lnTo>
                      <a:pt x="54" y="12"/>
                    </a:lnTo>
                    <a:lnTo>
                      <a:pt x="48" y="12"/>
                    </a:lnTo>
                    <a:lnTo>
                      <a:pt x="41" y="11"/>
                    </a:lnTo>
                    <a:lnTo>
                      <a:pt x="38" y="11"/>
                    </a:lnTo>
                    <a:lnTo>
                      <a:pt x="32" y="11"/>
                    </a:lnTo>
                    <a:lnTo>
                      <a:pt x="29" y="11"/>
                    </a:lnTo>
                    <a:lnTo>
                      <a:pt x="19" y="9"/>
                    </a:lnTo>
                    <a:lnTo>
                      <a:pt x="15" y="9"/>
                    </a:lnTo>
                    <a:lnTo>
                      <a:pt x="12" y="9"/>
                    </a:lnTo>
                    <a:lnTo>
                      <a:pt x="10" y="9"/>
                    </a:lnTo>
                    <a:lnTo>
                      <a:pt x="9" y="8"/>
                    </a:lnTo>
                    <a:lnTo>
                      <a:pt x="9" y="8"/>
                    </a:lnTo>
                    <a:lnTo>
                      <a:pt x="10" y="6"/>
                    </a:lnTo>
                    <a:lnTo>
                      <a:pt x="10" y="6"/>
                    </a:lnTo>
                    <a:lnTo>
                      <a:pt x="10" y="6"/>
                    </a:lnTo>
                    <a:lnTo>
                      <a:pt x="12" y="5"/>
                    </a:lnTo>
                    <a:lnTo>
                      <a:pt x="12" y="5"/>
                    </a:lnTo>
                    <a:lnTo>
                      <a:pt x="12" y="5"/>
                    </a:lnTo>
                    <a:lnTo>
                      <a:pt x="10" y="3"/>
                    </a:lnTo>
                    <a:lnTo>
                      <a:pt x="10" y="2"/>
                    </a:lnTo>
                    <a:lnTo>
                      <a:pt x="8" y="0"/>
                    </a:lnTo>
                    <a:lnTo>
                      <a:pt x="6" y="0"/>
                    </a:lnTo>
                    <a:lnTo>
                      <a:pt x="6" y="0"/>
                    </a:lnTo>
                    <a:lnTo>
                      <a:pt x="6" y="2"/>
                    </a:lnTo>
                    <a:lnTo>
                      <a:pt x="5" y="2"/>
                    </a:lnTo>
                    <a:lnTo>
                      <a:pt x="2" y="5"/>
                    </a:lnTo>
                    <a:lnTo>
                      <a:pt x="2" y="6"/>
                    </a:lnTo>
                    <a:lnTo>
                      <a:pt x="0" y="8"/>
                    </a:lnTo>
                    <a:lnTo>
                      <a:pt x="0" y="9"/>
                    </a:lnTo>
                    <a:lnTo>
                      <a:pt x="0" y="12"/>
                    </a:lnTo>
                    <a:lnTo>
                      <a:pt x="2" y="13"/>
                    </a:lnTo>
                    <a:lnTo>
                      <a:pt x="2" y="15"/>
                    </a:lnTo>
                    <a:lnTo>
                      <a:pt x="3" y="16"/>
                    </a:lnTo>
                    <a:lnTo>
                      <a:pt x="5" y="18"/>
                    </a:lnTo>
                    <a:lnTo>
                      <a:pt x="6" y="19"/>
                    </a:lnTo>
                    <a:lnTo>
                      <a:pt x="8" y="21"/>
                    </a:lnTo>
                    <a:lnTo>
                      <a:pt x="10" y="22"/>
                    </a:lnTo>
                    <a:lnTo>
                      <a:pt x="10" y="23"/>
                    </a:lnTo>
                    <a:lnTo>
                      <a:pt x="10" y="25"/>
                    </a:lnTo>
                    <a:lnTo>
                      <a:pt x="10" y="26"/>
                    </a:lnTo>
                    <a:lnTo>
                      <a:pt x="9" y="28"/>
                    </a:lnTo>
                    <a:lnTo>
                      <a:pt x="8" y="29"/>
                    </a:lnTo>
                    <a:lnTo>
                      <a:pt x="5" y="31"/>
                    </a:lnTo>
                    <a:lnTo>
                      <a:pt x="5" y="31"/>
                    </a:lnTo>
                    <a:lnTo>
                      <a:pt x="3" y="31"/>
                    </a:lnTo>
                    <a:lnTo>
                      <a:pt x="3" y="32"/>
                    </a:lnTo>
                    <a:lnTo>
                      <a:pt x="2" y="32"/>
                    </a:lnTo>
                    <a:lnTo>
                      <a:pt x="2" y="35"/>
                    </a:lnTo>
                    <a:lnTo>
                      <a:pt x="3" y="38"/>
                    </a:lnTo>
                    <a:lnTo>
                      <a:pt x="3" y="41"/>
                    </a:lnTo>
                    <a:lnTo>
                      <a:pt x="0" y="44"/>
                    </a:lnTo>
                    <a:lnTo>
                      <a:pt x="8" y="51"/>
                    </a:lnTo>
                    <a:lnTo>
                      <a:pt x="10" y="54"/>
                    </a:lnTo>
                    <a:lnTo>
                      <a:pt x="10" y="56"/>
                    </a:lnTo>
                    <a:lnTo>
                      <a:pt x="12" y="59"/>
                    </a:lnTo>
                    <a:lnTo>
                      <a:pt x="12" y="62"/>
                    </a:lnTo>
                    <a:lnTo>
                      <a:pt x="10" y="65"/>
                    </a:lnTo>
                    <a:lnTo>
                      <a:pt x="13" y="65"/>
                    </a:lnTo>
                    <a:lnTo>
                      <a:pt x="21" y="64"/>
                    </a:lnTo>
                    <a:lnTo>
                      <a:pt x="26" y="62"/>
                    </a:lnTo>
                    <a:lnTo>
                      <a:pt x="29" y="62"/>
                    </a:lnTo>
                    <a:lnTo>
                      <a:pt x="31" y="62"/>
                    </a:lnTo>
                    <a:lnTo>
                      <a:pt x="32" y="61"/>
                    </a:lnTo>
                    <a:lnTo>
                      <a:pt x="33" y="61"/>
                    </a:lnTo>
                    <a:lnTo>
                      <a:pt x="36" y="61"/>
                    </a:lnTo>
                    <a:lnTo>
                      <a:pt x="38" y="61"/>
                    </a:lnTo>
                    <a:lnTo>
                      <a:pt x="39" y="61"/>
                    </a:lnTo>
                    <a:lnTo>
                      <a:pt x="42" y="64"/>
                    </a:lnTo>
                    <a:lnTo>
                      <a:pt x="44" y="64"/>
                    </a:lnTo>
                    <a:lnTo>
                      <a:pt x="45" y="64"/>
                    </a:lnTo>
                    <a:lnTo>
                      <a:pt x="46" y="64"/>
                    </a:lnTo>
                    <a:lnTo>
                      <a:pt x="48" y="65"/>
                    </a:lnTo>
                    <a:lnTo>
                      <a:pt x="49" y="65"/>
                    </a:lnTo>
                    <a:lnTo>
                      <a:pt x="51" y="67"/>
                    </a:lnTo>
                    <a:lnTo>
                      <a:pt x="52" y="67"/>
                    </a:lnTo>
                    <a:lnTo>
                      <a:pt x="55" y="67"/>
                    </a:lnTo>
                    <a:lnTo>
                      <a:pt x="59" y="65"/>
                    </a:lnTo>
                    <a:lnTo>
                      <a:pt x="65" y="65"/>
                    </a:lnTo>
                    <a:lnTo>
                      <a:pt x="67" y="64"/>
                    </a:lnTo>
                    <a:lnTo>
                      <a:pt x="67" y="62"/>
                    </a:lnTo>
                    <a:lnTo>
                      <a:pt x="67" y="59"/>
                    </a:lnTo>
                    <a:lnTo>
                      <a:pt x="67" y="58"/>
                    </a:lnTo>
                    <a:lnTo>
                      <a:pt x="67" y="56"/>
                    </a:lnTo>
                    <a:lnTo>
                      <a:pt x="68" y="55"/>
                    </a:lnTo>
                    <a:lnTo>
                      <a:pt x="71" y="56"/>
                    </a:lnTo>
                    <a:lnTo>
                      <a:pt x="71" y="55"/>
                    </a:lnTo>
                    <a:lnTo>
                      <a:pt x="71" y="55"/>
                    </a:lnTo>
                    <a:lnTo>
                      <a:pt x="71" y="55"/>
                    </a:lnTo>
                    <a:lnTo>
                      <a:pt x="72" y="55"/>
                    </a:lnTo>
                    <a:lnTo>
                      <a:pt x="72" y="55"/>
                    </a:lnTo>
                    <a:lnTo>
                      <a:pt x="74" y="54"/>
                    </a:lnTo>
                    <a:lnTo>
                      <a:pt x="74" y="52"/>
                    </a:lnTo>
                    <a:lnTo>
                      <a:pt x="75" y="52"/>
                    </a:lnTo>
                    <a:lnTo>
                      <a:pt x="75" y="51"/>
                    </a:lnTo>
                    <a:lnTo>
                      <a:pt x="77" y="51"/>
                    </a:lnTo>
                    <a:lnTo>
                      <a:pt x="84" y="49"/>
                    </a:lnTo>
                    <a:lnTo>
                      <a:pt x="87" y="49"/>
                    </a:lnTo>
                    <a:lnTo>
                      <a:pt x="88" y="49"/>
                    </a:lnTo>
                    <a:lnTo>
                      <a:pt x="89" y="51"/>
                    </a:lnTo>
                    <a:lnTo>
                      <a:pt x="92" y="52"/>
                    </a:lnTo>
                    <a:lnTo>
                      <a:pt x="94" y="52"/>
                    </a:lnTo>
                    <a:lnTo>
                      <a:pt x="97" y="51"/>
                    </a:lnTo>
                    <a:lnTo>
                      <a:pt x="98" y="51"/>
                    </a:lnTo>
                    <a:lnTo>
                      <a:pt x="100" y="51"/>
                    </a:lnTo>
                    <a:lnTo>
                      <a:pt x="98" y="48"/>
                    </a:lnTo>
                    <a:lnTo>
                      <a:pt x="97" y="45"/>
                    </a:lnTo>
                    <a:lnTo>
                      <a:pt x="94" y="42"/>
                    </a:lnTo>
                    <a:lnTo>
                      <a:pt x="91" y="39"/>
                    </a:lnTo>
                    <a:lnTo>
                      <a:pt x="95" y="35"/>
                    </a:lnTo>
                    <a:lnTo>
                      <a:pt x="95" y="35"/>
                    </a:lnTo>
                    <a:lnTo>
                      <a:pt x="97" y="33"/>
                    </a:lnTo>
                    <a:lnTo>
                      <a:pt x="98" y="33"/>
                    </a:lnTo>
                    <a:lnTo>
                      <a:pt x="98" y="32"/>
                    </a:lnTo>
                    <a:lnTo>
                      <a:pt x="98" y="26"/>
                    </a:lnTo>
                    <a:lnTo>
                      <a:pt x="100" y="23"/>
                    </a:lnTo>
                    <a:lnTo>
                      <a:pt x="100" y="22"/>
                    </a:lnTo>
                    <a:lnTo>
                      <a:pt x="101" y="21"/>
                    </a:lnTo>
                    <a:lnTo>
                      <a:pt x="104" y="19"/>
                    </a:lnTo>
                    <a:lnTo>
                      <a:pt x="105" y="19"/>
                    </a:lnTo>
                    <a:lnTo>
                      <a:pt x="107" y="19"/>
                    </a:lnTo>
                    <a:lnTo>
                      <a:pt x="108" y="19"/>
                    </a:lnTo>
                    <a:lnTo>
                      <a:pt x="108" y="19"/>
                    </a:lnTo>
                    <a:lnTo>
                      <a:pt x="110" y="18"/>
                    </a:lnTo>
                    <a:lnTo>
                      <a:pt x="110" y="16"/>
                    </a:lnTo>
                    <a:lnTo>
                      <a:pt x="110" y="15"/>
                    </a:lnTo>
                    <a:lnTo>
                      <a:pt x="110" y="12"/>
                    </a:lnTo>
                    <a:lnTo>
                      <a:pt x="108" y="12"/>
                    </a:lnTo>
                    <a:lnTo>
                      <a:pt x="107" y="1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56" name="Freeform 62">
                <a:extLst>
                  <a:ext uri="{FF2B5EF4-FFF2-40B4-BE49-F238E27FC236}">
                    <a16:creationId xmlns:a16="http://schemas.microsoft.com/office/drawing/2014/main" id="{F1CC7F90-8569-0432-24B2-8795012344F4}"/>
                  </a:ext>
                </a:extLst>
              </p:cNvPr>
              <p:cNvSpPr>
                <a:spLocks/>
              </p:cNvSpPr>
              <p:nvPr/>
            </p:nvSpPr>
            <p:spPr bwMode="auto">
              <a:xfrm>
                <a:off x="3573" y="1908"/>
                <a:ext cx="4" cy="5"/>
              </a:xfrm>
              <a:custGeom>
                <a:avLst/>
                <a:gdLst>
                  <a:gd name="T0" fmla="*/ 1 w 4"/>
                  <a:gd name="T1" fmla="*/ 5 h 5"/>
                  <a:gd name="T2" fmla="*/ 3 w 4"/>
                  <a:gd name="T3" fmla="*/ 5 h 5"/>
                  <a:gd name="T4" fmla="*/ 4 w 4"/>
                  <a:gd name="T5" fmla="*/ 3 h 5"/>
                  <a:gd name="T6" fmla="*/ 4 w 4"/>
                  <a:gd name="T7" fmla="*/ 2 h 5"/>
                  <a:gd name="T8" fmla="*/ 3 w 4"/>
                  <a:gd name="T9" fmla="*/ 0 h 5"/>
                  <a:gd name="T10" fmla="*/ 1 w 4"/>
                  <a:gd name="T11" fmla="*/ 0 h 5"/>
                  <a:gd name="T12" fmla="*/ 0 w 4"/>
                  <a:gd name="T13" fmla="*/ 2 h 5"/>
                  <a:gd name="T14" fmla="*/ 0 w 4"/>
                  <a:gd name="T15" fmla="*/ 3 h 5"/>
                  <a:gd name="T16" fmla="*/ 1 w 4"/>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1" y="5"/>
                    </a:moveTo>
                    <a:lnTo>
                      <a:pt x="3" y="5"/>
                    </a:lnTo>
                    <a:lnTo>
                      <a:pt x="4" y="3"/>
                    </a:lnTo>
                    <a:lnTo>
                      <a:pt x="4" y="2"/>
                    </a:lnTo>
                    <a:lnTo>
                      <a:pt x="3" y="0"/>
                    </a:lnTo>
                    <a:lnTo>
                      <a:pt x="1" y="0"/>
                    </a:lnTo>
                    <a:lnTo>
                      <a:pt x="0" y="2"/>
                    </a:lnTo>
                    <a:lnTo>
                      <a:pt x="0" y="3"/>
                    </a:lnTo>
                    <a:lnTo>
                      <a:pt x="1" y="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57" name="Freeform 63">
                <a:extLst>
                  <a:ext uri="{FF2B5EF4-FFF2-40B4-BE49-F238E27FC236}">
                    <a16:creationId xmlns:a16="http://schemas.microsoft.com/office/drawing/2014/main" id="{6203C0E3-E9BE-7E20-D189-7FD97FD760E1}"/>
                  </a:ext>
                </a:extLst>
              </p:cNvPr>
              <p:cNvSpPr>
                <a:spLocks/>
              </p:cNvSpPr>
              <p:nvPr/>
            </p:nvSpPr>
            <p:spPr bwMode="auto">
              <a:xfrm>
                <a:off x="3872" y="1888"/>
                <a:ext cx="33" cy="38"/>
              </a:xfrm>
              <a:custGeom>
                <a:avLst/>
                <a:gdLst>
                  <a:gd name="T0" fmla="*/ 15 w 33"/>
                  <a:gd name="T1" fmla="*/ 32 h 38"/>
                  <a:gd name="T2" fmla="*/ 15 w 33"/>
                  <a:gd name="T3" fmla="*/ 30 h 38"/>
                  <a:gd name="T4" fmla="*/ 15 w 33"/>
                  <a:gd name="T5" fmla="*/ 29 h 38"/>
                  <a:gd name="T6" fmla="*/ 17 w 33"/>
                  <a:gd name="T7" fmla="*/ 28 h 38"/>
                  <a:gd name="T8" fmla="*/ 20 w 33"/>
                  <a:gd name="T9" fmla="*/ 23 h 38"/>
                  <a:gd name="T10" fmla="*/ 21 w 33"/>
                  <a:gd name="T11" fmla="*/ 22 h 38"/>
                  <a:gd name="T12" fmla="*/ 21 w 33"/>
                  <a:gd name="T13" fmla="*/ 20 h 38"/>
                  <a:gd name="T14" fmla="*/ 22 w 33"/>
                  <a:gd name="T15" fmla="*/ 20 h 38"/>
                  <a:gd name="T16" fmla="*/ 22 w 33"/>
                  <a:gd name="T17" fmla="*/ 20 h 38"/>
                  <a:gd name="T18" fmla="*/ 22 w 33"/>
                  <a:gd name="T19" fmla="*/ 22 h 38"/>
                  <a:gd name="T20" fmla="*/ 22 w 33"/>
                  <a:gd name="T21" fmla="*/ 22 h 38"/>
                  <a:gd name="T22" fmla="*/ 22 w 33"/>
                  <a:gd name="T23" fmla="*/ 23 h 38"/>
                  <a:gd name="T24" fmla="*/ 24 w 33"/>
                  <a:gd name="T25" fmla="*/ 23 h 38"/>
                  <a:gd name="T26" fmla="*/ 25 w 33"/>
                  <a:gd name="T27" fmla="*/ 23 h 38"/>
                  <a:gd name="T28" fmla="*/ 27 w 33"/>
                  <a:gd name="T29" fmla="*/ 23 h 38"/>
                  <a:gd name="T30" fmla="*/ 28 w 33"/>
                  <a:gd name="T31" fmla="*/ 22 h 38"/>
                  <a:gd name="T32" fmla="*/ 28 w 33"/>
                  <a:gd name="T33" fmla="*/ 20 h 38"/>
                  <a:gd name="T34" fmla="*/ 28 w 33"/>
                  <a:gd name="T35" fmla="*/ 19 h 38"/>
                  <a:gd name="T36" fmla="*/ 28 w 33"/>
                  <a:gd name="T37" fmla="*/ 17 h 38"/>
                  <a:gd name="T38" fmla="*/ 33 w 33"/>
                  <a:gd name="T39" fmla="*/ 16 h 38"/>
                  <a:gd name="T40" fmla="*/ 33 w 33"/>
                  <a:gd name="T41" fmla="*/ 13 h 38"/>
                  <a:gd name="T42" fmla="*/ 28 w 33"/>
                  <a:gd name="T43" fmla="*/ 12 h 38"/>
                  <a:gd name="T44" fmla="*/ 22 w 33"/>
                  <a:gd name="T45" fmla="*/ 9 h 38"/>
                  <a:gd name="T46" fmla="*/ 20 w 33"/>
                  <a:gd name="T47" fmla="*/ 7 h 38"/>
                  <a:gd name="T48" fmla="*/ 17 w 33"/>
                  <a:gd name="T49" fmla="*/ 5 h 38"/>
                  <a:gd name="T50" fmla="*/ 14 w 33"/>
                  <a:gd name="T51" fmla="*/ 3 h 38"/>
                  <a:gd name="T52" fmla="*/ 12 w 33"/>
                  <a:gd name="T53" fmla="*/ 0 h 38"/>
                  <a:gd name="T54" fmla="*/ 12 w 33"/>
                  <a:gd name="T55" fmla="*/ 0 h 38"/>
                  <a:gd name="T56" fmla="*/ 10 w 33"/>
                  <a:gd name="T57" fmla="*/ 0 h 38"/>
                  <a:gd name="T58" fmla="*/ 10 w 33"/>
                  <a:gd name="T59" fmla="*/ 0 h 38"/>
                  <a:gd name="T60" fmla="*/ 8 w 33"/>
                  <a:gd name="T61" fmla="*/ 2 h 38"/>
                  <a:gd name="T62" fmla="*/ 10 w 33"/>
                  <a:gd name="T63" fmla="*/ 2 h 38"/>
                  <a:gd name="T64" fmla="*/ 10 w 33"/>
                  <a:gd name="T65" fmla="*/ 3 h 38"/>
                  <a:gd name="T66" fmla="*/ 10 w 33"/>
                  <a:gd name="T67" fmla="*/ 5 h 38"/>
                  <a:gd name="T68" fmla="*/ 10 w 33"/>
                  <a:gd name="T69" fmla="*/ 5 h 38"/>
                  <a:gd name="T70" fmla="*/ 8 w 33"/>
                  <a:gd name="T71" fmla="*/ 5 h 38"/>
                  <a:gd name="T72" fmla="*/ 5 w 33"/>
                  <a:gd name="T73" fmla="*/ 5 h 38"/>
                  <a:gd name="T74" fmla="*/ 4 w 33"/>
                  <a:gd name="T75" fmla="*/ 7 h 38"/>
                  <a:gd name="T76" fmla="*/ 4 w 33"/>
                  <a:gd name="T77" fmla="*/ 7 h 38"/>
                  <a:gd name="T78" fmla="*/ 4 w 33"/>
                  <a:gd name="T79" fmla="*/ 10 h 38"/>
                  <a:gd name="T80" fmla="*/ 2 w 33"/>
                  <a:gd name="T81" fmla="*/ 12 h 38"/>
                  <a:gd name="T82" fmla="*/ 2 w 33"/>
                  <a:gd name="T83" fmla="*/ 12 h 38"/>
                  <a:gd name="T84" fmla="*/ 1 w 33"/>
                  <a:gd name="T85" fmla="*/ 12 h 38"/>
                  <a:gd name="T86" fmla="*/ 1 w 33"/>
                  <a:gd name="T87" fmla="*/ 12 h 38"/>
                  <a:gd name="T88" fmla="*/ 0 w 33"/>
                  <a:gd name="T89" fmla="*/ 13 h 38"/>
                  <a:gd name="T90" fmla="*/ 0 w 33"/>
                  <a:gd name="T91" fmla="*/ 16 h 38"/>
                  <a:gd name="T92" fmla="*/ 1 w 33"/>
                  <a:gd name="T93" fmla="*/ 17 h 38"/>
                  <a:gd name="T94" fmla="*/ 1 w 33"/>
                  <a:gd name="T95" fmla="*/ 20 h 38"/>
                  <a:gd name="T96" fmla="*/ 0 w 33"/>
                  <a:gd name="T97" fmla="*/ 22 h 38"/>
                  <a:gd name="T98" fmla="*/ 0 w 33"/>
                  <a:gd name="T99" fmla="*/ 23 h 38"/>
                  <a:gd name="T100" fmla="*/ 0 w 33"/>
                  <a:gd name="T101" fmla="*/ 23 h 38"/>
                  <a:gd name="T102" fmla="*/ 1 w 33"/>
                  <a:gd name="T103" fmla="*/ 25 h 38"/>
                  <a:gd name="T104" fmla="*/ 1 w 33"/>
                  <a:gd name="T105" fmla="*/ 25 h 38"/>
                  <a:gd name="T106" fmla="*/ 1 w 33"/>
                  <a:gd name="T107" fmla="*/ 25 h 38"/>
                  <a:gd name="T108" fmla="*/ 4 w 33"/>
                  <a:gd name="T109" fmla="*/ 25 h 38"/>
                  <a:gd name="T110" fmla="*/ 5 w 33"/>
                  <a:gd name="T111" fmla="*/ 26 h 38"/>
                  <a:gd name="T112" fmla="*/ 12 w 33"/>
                  <a:gd name="T113" fmla="*/ 35 h 38"/>
                  <a:gd name="T114" fmla="*/ 15 w 33"/>
                  <a:gd name="T115" fmla="*/ 38 h 38"/>
                  <a:gd name="T116" fmla="*/ 15 w 33"/>
                  <a:gd name="T117" fmla="*/ 36 h 38"/>
                  <a:gd name="T118" fmla="*/ 15 w 33"/>
                  <a:gd name="T119" fmla="*/ 3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 h="38">
                    <a:moveTo>
                      <a:pt x="15" y="32"/>
                    </a:moveTo>
                    <a:lnTo>
                      <a:pt x="15" y="30"/>
                    </a:lnTo>
                    <a:lnTo>
                      <a:pt x="15" y="29"/>
                    </a:lnTo>
                    <a:lnTo>
                      <a:pt x="17" y="28"/>
                    </a:lnTo>
                    <a:lnTo>
                      <a:pt x="20" y="23"/>
                    </a:lnTo>
                    <a:lnTo>
                      <a:pt x="21" y="22"/>
                    </a:lnTo>
                    <a:lnTo>
                      <a:pt x="21" y="20"/>
                    </a:lnTo>
                    <a:lnTo>
                      <a:pt x="22" y="20"/>
                    </a:lnTo>
                    <a:lnTo>
                      <a:pt x="22" y="20"/>
                    </a:lnTo>
                    <a:lnTo>
                      <a:pt x="22" y="22"/>
                    </a:lnTo>
                    <a:lnTo>
                      <a:pt x="22" y="22"/>
                    </a:lnTo>
                    <a:lnTo>
                      <a:pt x="22" y="23"/>
                    </a:lnTo>
                    <a:lnTo>
                      <a:pt x="24" y="23"/>
                    </a:lnTo>
                    <a:lnTo>
                      <a:pt x="25" y="23"/>
                    </a:lnTo>
                    <a:lnTo>
                      <a:pt x="27" y="23"/>
                    </a:lnTo>
                    <a:lnTo>
                      <a:pt x="28" y="22"/>
                    </a:lnTo>
                    <a:lnTo>
                      <a:pt x="28" y="20"/>
                    </a:lnTo>
                    <a:lnTo>
                      <a:pt x="28" y="19"/>
                    </a:lnTo>
                    <a:lnTo>
                      <a:pt x="28" y="17"/>
                    </a:lnTo>
                    <a:lnTo>
                      <a:pt x="33" y="16"/>
                    </a:lnTo>
                    <a:lnTo>
                      <a:pt x="33" y="13"/>
                    </a:lnTo>
                    <a:lnTo>
                      <a:pt x="28" y="12"/>
                    </a:lnTo>
                    <a:lnTo>
                      <a:pt x="22" y="9"/>
                    </a:lnTo>
                    <a:lnTo>
                      <a:pt x="20" y="7"/>
                    </a:lnTo>
                    <a:lnTo>
                      <a:pt x="17" y="5"/>
                    </a:lnTo>
                    <a:lnTo>
                      <a:pt x="14" y="3"/>
                    </a:lnTo>
                    <a:lnTo>
                      <a:pt x="12" y="0"/>
                    </a:lnTo>
                    <a:lnTo>
                      <a:pt x="12" y="0"/>
                    </a:lnTo>
                    <a:lnTo>
                      <a:pt x="10" y="0"/>
                    </a:lnTo>
                    <a:lnTo>
                      <a:pt x="10" y="0"/>
                    </a:lnTo>
                    <a:lnTo>
                      <a:pt x="8" y="2"/>
                    </a:lnTo>
                    <a:lnTo>
                      <a:pt x="10" y="2"/>
                    </a:lnTo>
                    <a:lnTo>
                      <a:pt x="10" y="3"/>
                    </a:lnTo>
                    <a:lnTo>
                      <a:pt x="10" y="5"/>
                    </a:lnTo>
                    <a:lnTo>
                      <a:pt x="10" y="5"/>
                    </a:lnTo>
                    <a:lnTo>
                      <a:pt x="8" y="5"/>
                    </a:lnTo>
                    <a:lnTo>
                      <a:pt x="5" y="5"/>
                    </a:lnTo>
                    <a:lnTo>
                      <a:pt x="4" y="7"/>
                    </a:lnTo>
                    <a:lnTo>
                      <a:pt x="4" y="7"/>
                    </a:lnTo>
                    <a:lnTo>
                      <a:pt x="4" y="10"/>
                    </a:lnTo>
                    <a:lnTo>
                      <a:pt x="2" y="12"/>
                    </a:lnTo>
                    <a:lnTo>
                      <a:pt x="2" y="12"/>
                    </a:lnTo>
                    <a:lnTo>
                      <a:pt x="1" y="12"/>
                    </a:lnTo>
                    <a:lnTo>
                      <a:pt x="1" y="12"/>
                    </a:lnTo>
                    <a:lnTo>
                      <a:pt x="0" y="13"/>
                    </a:lnTo>
                    <a:lnTo>
                      <a:pt x="0" y="16"/>
                    </a:lnTo>
                    <a:lnTo>
                      <a:pt x="1" y="17"/>
                    </a:lnTo>
                    <a:lnTo>
                      <a:pt x="1" y="20"/>
                    </a:lnTo>
                    <a:lnTo>
                      <a:pt x="0" y="22"/>
                    </a:lnTo>
                    <a:lnTo>
                      <a:pt x="0" y="23"/>
                    </a:lnTo>
                    <a:lnTo>
                      <a:pt x="0" y="23"/>
                    </a:lnTo>
                    <a:lnTo>
                      <a:pt x="1" y="25"/>
                    </a:lnTo>
                    <a:lnTo>
                      <a:pt x="1" y="25"/>
                    </a:lnTo>
                    <a:lnTo>
                      <a:pt x="1" y="25"/>
                    </a:lnTo>
                    <a:lnTo>
                      <a:pt x="4" y="25"/>
                    </a:lnTo>
                    <a:lnTo>
                      <a:pt x="5" y="26"/>
                    </a:lnTo>
                    <a:lnTo>
                      <a:pt x="12" y="35"/>
                    </a:lnTo>
                    <a:lnTo>
                      <a:pt x="15" y="38"/>
                    </a:lnTo>
                    <a:lnTo>
                      <a:pt x="15" y="36"/>
                    </a:lnTo>
                    <a:lnTo>
                      <a:pt x="15" y="3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58" name="Freeform 64">
                <a:extLst>
                  <a:ext uri="{FF2B5EF4-FFF2-40B4-BE49-F238E27FC236}">
                    <a16:creationId xmlns:a16="http://schemas.microsoft.com/office/drawing/2014/main" id="{FFC928CE-784B-9231-0289-9E2E38E15FB3}"/>
                  </a:ext>
                </a:extLst>
              </p:cNvPr>
              <p:cNvSpPr>
                <a:spLocks/>
              </p:cNvSpPr>
              <p:nvPr/>
            </p:nvSpPr>
            <p:spPr bwMode="auto">
              <a:xfrm>
                <a:off x="3830" y="1770"/>
                <a:ext cx="119" cy="68"/>
              </a:xfrm>
              <a:custGeom>
                <a:avLst/>
                <a:gdLst>
                  <a:gd name="T0" fmla="*/ 98 w 119"/>
                  <a:gd name="T1" fmla="*/ 3 h 68"/>
                  <a:gd name="T2" fmla="*/ 90 w 119"/>
                  <a:gd name="T3" fmla="*/ 2 h 68"/>
                  <a:gd name="T4" fmla="*/ 85 w 119"/>
                  <a:gd name="T5" fmla="*/ 2 h 68"/>
                  <a:gd name="T6" fmla="*/ 79 w 119"/>
                  <a:gd name="T7" fmla="*/ 2 h 68"/>
                  <a:gd name="T8" fmla="*/ 76 w 119"/>
                  <a:gd name="T9" fmla="*/ 6 h 68"/>
                  <a:gd name="T10" fmla="*/ 72 w 119"/>
                  <a:gd name="T11" fmla="*/ 9 h 68"/>
                  <a:gd name="T12" fmla="*/ 67 w 119"/>
                  <a:gd name="T13" fmla="*/ 10 h 68"/>
                  <a:gd name="T14" fmla="*/ 63 w 119"/>
                  <a:gd name="T15" fmla="*/ 9 h 68"/>
                  <a:gd name="T16" fmla="*/ 60 w 119"/>
                  <a:gd name="T17" fmla="*/ 10 h 68"/>
                  <a:gd name="T18" fmla="*/ 50 w 119"/>
                  <a:gd name="T19" fmla="*/ 13 h 68"/>
                  <a:gd name="T20" fmla="*/ 47 w 119"/>
                  <a:gd name="T21" fmla="*/ 18 h 68"/>
                  <a:gd name="T22" fmla="*/ 46 w 119"/>
                  <a:gd name="T23" fmla="*/ 19 h 68"/>
                  <a:gd name="T24" fmla="*/ 34 w 119"/>
                  <a:gd name="T25" fmla="*/ 21 h 68"/>
                  <a:gd name="T26" fmla="*/ 24 w 119"/>
                  <a:gd name="T27" fmla="*/ 16 h 68"/>
                  <a:gd name="T28" fmla="*/ 19 w 119"/>
                  <a:gd name="T29" fmla="*/ 16 h 68"/>
                  <a:gd name="T30" fmla="*/ 17 w 119"/>
                  <a:gd name="T31" fmla="*/ 22 h 68"/>
                  <a:gd name="T32" fmla="*/ 8 w 119"/>
                  <a:gd name="T33" fmla="*/ 21 h 68"/>
                  <a:gd name="T34" fmla="*/ 10 w 119"/>
                  <a:gd name="T35" fmla="*/ 25 h 68"/>
                  <a:gd name="T36" fmla="*/ 8 w 119"/>
                  <a:gd name="T37" fmla="*/ 29 h 68"/>
                  <a:gd name="T38" fmla="*/ 7 w 119"/>
                  <a:gd name="T39" fmla="*/ 32 h 68"/>
                  <a:gd name="T40" fmla="*/ 7 w 119"/>
                  <a:gd name="T41" fmla="*/ 36 h 68"/>
                  <a:gd name="T42" fmla="*/ 3 w 119"/>
                  <a:gd name="T43" fmla="*/ 41 h 68"/>
                  <a:gd name="T44" fmla="*/ 6 w 119"/>
                  <a:gd name="T45" fmla="*/ 44 h 68"/>
                  <a:gd name="T46" fmla="*/ 23 w 119"/>
                  <a:gd name="T47" fmla="*/ 61 h 68"/>
                  <a:gd name="T48" fmla="*/ 34 w 119"/>
                  <a:gd name="T49" fmla="*/ 67 h 68"/>
                  <a:gd name="T50" fmla="*/ 42 w 119"/>
                  <a:gd name="T51" fmla="*/ 67 h 68"/>
                  <a:gd name="T52" fmla="*/ 46 w 119"/>
                  <a:gd name="T53" fmla="*/ 64 h 68"/>
                  <a:gd name="T54" fmla="*/ 50 w 119"/>
                  <a:gd name="T55" fmla="*/ 62 h 68"/>
                  <a:gd name="T56" fmla="*/ 53 w 119"/>
                  <a:gd name="T57" fmla="*/ 62 h 68"/>
                  <a:gd name="T58" fmla="*/ 57 w 119"/>
                  <a:gd name="T59" fmla="*/ 61 h 68"/>
                  <a:gd name="T60" fmla="*/ 64 w 119"/>
                  <a:gd name="T61" fmla="*/ 58 h 68"/>
                  <a:gd name="T62" fmla="*/ 73 w 119"/>
                  <a:gd name="T63" fmla="*/ 59 h 68"/>
                  <a:gd name="T64" fmla="*/ 77 w 119"/>
                  <a:gd name="T65" fmla="*/ 58 h 68"/>
                  <a:gd name="T66" fmla="*/ 85 w 119"/>
                  <a:gd name="T67" fmla="*/ 55 h 68"/>
                  <a:gd name="T68" fmla="*/ 87 w 119"/>
                  <a:gd name="T69" fmla="*/ 55 h 68"/>
                  <a:gd name="T70" fmla="*/ 92 w 119"/>
                  <a:gd name="T71" fmla="*/ 51 h 68"/>
                  <a:gd name="T72" fmla="*/ 93 w 119"/>
                  <a:gd name="T73" fmla="*/ 46 h 68"/>
                  <a:gd name="T74" fmla="*/ 100 w 119"/>
                  <a:gd name="T75" fmla="*/ 35 h 68"/>
                  <a:gd name="T76" fmla="*/ 105 w 119"/>
                  <a:gd name="T77" fmla="*/ 26 h 68"/>
                  <a:gd name="T78" fmla="*/ 119 w 119"/>
                  <a:gd name="T79" fmla="*/ 16 h 68"/>
                  <a:gd name="T80" fmla="*/ 113 w 119"/>
                  <a:gd name="T81" fmla="*/ 10 h 68"/>
                  <a:gd name="T82" fmla="*/ 109 w 119"/>
                  <a:gd name="T83" fmla="*/ 5 h 68"/>
                  <a:gd name="T84" fmla="*/ 102 w 119"/>
                  <a:gd name="T85" fmla="*/ 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 h="68">
                    <a:moveTo>
                      <a:pt x="102" y="6"/>
                    </a:moveTo>
                    <a:lnTo>
                      <a:pt x="99" y="5"/>
                    </a:lnTo>
                    <a:lnTo>
                      <a:pt x="98" y="3"/>
                    </a:lnTo>
                    <a:lnTo>
                      <a:pt x="95" y="2"/>
                    </a:lnTo>
                    <a:lnTo>
                      <a:pt x="93" y="2"/>
                    </a:lnTo>
                    <a:lnTo>
                      <a:pt x="90" y="2"/>
                    </a:lnTo>
                    <a:lnTo>
                      <a:pt x="87" y="2"/>
                    </a:lnTo>
                    <a:lnTo>
                      <a:pt x="86" y="2"/>
                    </a:lnTo>
                    <a:lnTo>
                      <a:pt x="85" y="2"/>
                    </a:lnTo>
                    <a:lnTo>
                      <a:pt x="82" y="0"/>
                    </a:lnTo>
                    <a:lnTo>
                      <a:pt x="80" y="0"/>
                    </a:lnTo>
                    <a:lnTo>
                      <a:pt x="79" y="2"/>
                    </a:lnTo>
                    <a:lnTo>
                      <a:pt x="77" y="2"/>
                    </a:lnTo>
                    <a:lnTo>
                      <a:pt x="77" y="3"/>
                    </a:lnTo>
                    <a:lnTo>
                      <a:pt x="76" y="6"/>
                    </a:lnTo>
                    <a:lnTo>
                      <a:pt x="75" y="8"/>
                    </a:lnTo>
                    <a:lnTo>
                      <a:pt x="73" y="8"/>
                    </a:lnTo>
                    <a:lnTo>
                      <a:pt x="72" y="9"/>
                    </a:lnTo>
                    <a:lnTo>
                      <a:pt x="70" y="10"/>
                    </a:lnTo>
                    <a:lnTo>
                      <a:pt x="69" y="10"/>
                    </a:lnTo>
                    <a:lnTo>
                      <a:pt x="67" y="10"/>
                    </a:lnTo>
                    <a:lnTo>
                      <a:pt x="66" y="10"/>
                    </a:lnTo>
                    <a:lnTo>
                      <a:pt x="64" y="10"/>
                    </a:lnTo>
                    <a:lnTo>
                      <a:pt x="63" y="9"/>
                    </a:lnTo>
                    <a:lnTo>
                      <a:pt x="62" y="10"/>
                    </a:lnTo>
                    <a:lnTo>
                      <a:pt x="62" y="10"/>
                    </a:lnTo>
                    <a:lnTo>
                      <a:pt x="60" y="10"/>
                    </a:lnTo>
                    <a:lnTo>
                      <a:pt x="59" y="12"/>
                    </a:lnTo>
                    <a:lnTo>
                      <a:pt x="57" y="12"/>
                    </a:lnTo>
                    <a:lnTo>
                      <a:pt x="50" y="13"/>
                    </a:lnTo>
                    <a:lnTo>
                      <a:pt x="49" y="15"/>
                    </a:lnTo>
                    <a:lnTo>
                      <a:pt x="47" y="16"/>
                    </a:lnTo>
                    <a:lnTo>
                      <a:pt x="47" y="18"/>
                    </a:lnTo>
                    <a:lnTo>
                      <a:pt x="47" y="18"/>
                    </a:lnTo>
                    <a:lnTo>
                      <a:pt x="47" y="19"/>
                    </a:lnTo>
                    <a:lnTo>
                      <a:pt x="46" y="19"/>
                    </a:lnTo>
                    <a:lnTo>
                      <a:pt x="43" y="21"/>
                    </a:lnTo>
                    <a:lnTo>
                      <a:pt x="39" y="21"/>
                    </a:lnTo>
                    <a:lnTo>
                      <a:pt x="34" y="21"/>
                    </a:lnTo>
                    <a:lnTo>
                      <a:pt x="30" y="21"/>
                    </a:lnTo>
                    <a:lnTo>
                      <a:pt x="27" y="19"/>
                    </a:lnTo>
                    <a:lnTo>
                      <a:pt x="24" y="16"/>
                    </a:lnTo>
                    <a:lnTo>
                      <a:pt x="21" y="15"/>
                    </a:lnTo>
                    <a:lnTo>
                      <a:pt x="19" y="15"/>
                    </a:lnTo>
                    <a:lnTo>
                      <a:pt x="19" y="16"/>
                    </a:lnTo>
                    <a:lnTo>
                      <a:pt x="17" y="18"/>
                    </a:lnTo>
                    <a:lnTo>
                      <a:pt x="17" y="19"/>
                    </a:lnTo>
                    <a:lnTo>
                      <a:pt x="17" y="22"/>
                    </a:lnTo>
                    <a:lnTo>
                      <a:pt x="16" y="22"/>
                    </a:lnTo>
                    <a:lnTo>
                      <a:pt x="11" y="22"/>
                    </a:lnTo>
                    <a:lnTo>
                      <a:pt x="8" y="21"/>
                    </a:lnTo>
                    <a:lnTo>
                      <a:pt x="7" y="21"/>
                    </a:lnTo>
                    <a:lnTo>
                      <a:pt x="6" y="22"/>
                    </a:lnTo>
                    <a:lnTo>
                      <a:pt x="10" y="25"/>
                    </a:lnTo>
                    <a:lnTo>
                      <a:pt x="10" y="26"/>
                    </a:lnTo>
                    <a:lnTo>
                      <a:pt x="10" y="28"/>
                    </a:lnTo>
                    <a:lnTo>
                      <a:pt x="8" y="29"/>
                    </a:lnTo>
                    <a:lnTo>
                      <a:pt x="7" y="29"/>
                    </a:lnTo>
                    <a:lnTo>
                      <a:pt x="7" y="31"/>
                    </a:lnTo>
                    <a:lnTo>
                      <a:pt x="7" y="32"/>
                    </a:lnTo>
                    <a:lnTo>
                      <a:pt x="7" y="33"/>
                    </a:lnTo>
                    <a:lnTo>
                      <a:pt x="7" y="35"/>
                    </a:lnTo>
                    <a:lnTo>
                      <a:pt x="7" y="36"/>
                    </a:lnTo>
                    <a:lnTo>
                      <a:pt x="7" y="38"/>
                    </a:lnTo>
                    <a:lnTo>
                      <a:pt x="6" y="38"/>
                    </a:lnTo>
                    <a:lnTo>
                      <a:pt x="3" y="41"/>
                    </a:lnTo>
                    <a:lnTo>
                      <a:pt x="0" y="42"/>
                    </a:lnTo>
                    <a:lnTo>
                      <a:pt x="3" y="42"/>
                    </a:lnTo>
                    <a:lnTo>
                      <a:pt x="6" y="44"/>
                    </a:lnTo>
                    <a:lnTo>
                      <a:pt x="8" y="49"/>
                    </a:lnTo>
                    <a:lnTo>
                      <a:pt x="13" y="54"/>
                    </a:lnTo>
                    <a:lnTo>
                      <a:pt x="23" y="61"/>
                    </a:lnTo>
                    <a:lnTo>
                      <a:pt x="29" y="65"/>
                    </a:lnTo>
                    <a:lnTo>
                      <a:pt x="31" y="67"/>
                    </a:lnTo>
                    <a:lnTo>
                      <a:pt x="34" y="67"/>
                    </a:lnTo>
                    <a:lnTo>
                      <a:pt x="37" y="68"/>
                    </a:lnTo>
                    <a:lnTo>
                      <a:pt x="40" y="67"/>
                    </a:lnTo>
                    <a:lnTo>
                      <a:pt x="42" y="67"/>
                    </a:lnTo>
                    <a:lnTo>
                      <a:pt x="43" y="65"/>
                    </a:lnTo>
                    <a:lnTo>
                      <a:pt x="44" y="65"/>
                    </a:lnTo>
                    <a:lnTo>
                      <a:pt x="46" y="64"/>
                    </a:lnTo>
                    <a:lnTo>
                      <a:pt x="46" y="64"/>
                    </a:lnTo>
                    <a:lnTo>
                      <a:pt x="49" y="64"/>
                    </a:lnTo>
                    <a:lnTo>
                      <a:pt x="50" y="62"/>
                    </a:lnTo>
                    <a:lnTo>
                      <a:pt x="52" y="62"/>
                    </a:lnTo>
                    <a:lnTo>
                      <a:pt x="53" y="62"/>
                    </a:lnTo>
                    <a:lnTo>
                      <a:pt x="53" y="62"/>
                    </a:lnTo>
                    <a:lnTo>
                      <a:pt x="54" y="62"/>
                    </a:lnTo>
                    <a:lnTo>
                      <a:pt x="54" y="62"/>
                    </a:lnTo>
                    <a:lnTo>
                      <a:pt x="57" y="61"/>
                    </a:lnTo>
                    <a:lnTo>
                      <a:pt x="62" y="59"/>
                    </a:lnTo>
                    <a:lnTo>
                      <a:pt x="63" y="58"/>
                    </a:lnTo>
                    <a:lnTo>
                      <a:pt x="64" y="58"/>
                    </a:lnTo>
                    <a:lnTo>
                      <a:pt x="70" y="58"/>
                    </a:lnTo>
                    <a:lnTo>
                      <a:pt x="72" y="58"/>
                    </a:lnTo>
                    <a:lnTo>
                      <a:pt x="73" y="59"/>
                    </a:lnTo>
                    <a:lnTo>
                      <a:pt x="75" y="58"/>
                    </a:lnTo>
                    <a:lnTo>
                      <a:pt x="76" y="58"/>
                    </a:lnTo>
                    <a:lnTo>
                      <a:pt x="77" y="58"/>
                    </a:lnTo>
                    <a:lnTo>
                      <a:pt x="79" y="58"/>
                    </a:lnTo>
                    <a:lnTo>
                      <a:pt x="82" y="56"/>
                    </a:lnTo>
                    <a:lnTo>
                      <a:pt x="85" y="55"/>
                    </a:lnTo>
                    <a:lnTo>
                      <a:pt x="86" y="55"/>
                    </a:lnTo>
                    <a:lnTo>
                      <a:pt x="87" y="55"/>
                    </a:lnTo>
                    <a:lnTo>
                      <a:pt x="87" y="55"/>
                    </a:lnTo>
                    <a:lnTo>
                      <a:pt x="89" y="55"/>
                    </a:lnTo>
                    <a:lnTo>
                      <a:pt x="90" y="54"/>
                    </a:lnTo>
                    <a:lnTo>
                      <a:pt x="92" y="51"/>
                    </a:lnTo>
                    <a:lnTo>
                      <a:pt x="92" y="49"/>
                    </a:lnTo>
                    <a:lnTo>
                      <a:pt x="92" y="48"/>
                    </a:lnTo>
                    <a:lnTo>
                      <a:pt x="93" y="46"/>
                    </a:lnTo>
                    <a:lnTo>
                      <a:pt x="96" y="44"/>
                    </a:lnTo>
                    <a:lnTo>
                      <a:pt x="98" y="39"/>
                    </a:lnTo>
                    <a:lnTo>
                      <a:pt x="100" y="35"/>
                    </a:lnTo>
                    <a:lnTo>
                      <a:pt x="102" y="32"/>
                    </a:lnTo>
                    <a:lnTo>
                      <a:pt x="103" y="28"/>
                    </a:lnTo>
                    <a:lnTo>
                      <a:pt x="105" y="26"/>
                    </a:lnTo>
                    <a:lnTo>
                      <a:pt x="108" y="22"/>
                    </a:lnTo>
                    <a:lnTo>
                      <a:pt x="116" y="19"/>
                    </a:lnTo>
                    <a:lnTo>
                      <a:pt x="119" y="16"/>
                    </a:lnTo>
                    <a:lnTo>
                      <a:pt x="119" y="13"/>
                    </a:lnTo>
                    <a:lnTo>
                      <a:pt x="118" y="12"/>
                    </a:lnTo>
                    <a:lnTo>
                      <a:pt x="113" y="10"/>
                    </a:lnTo>
                    <a:lnTo>
                      <a:pt x="112" y="9"/>
                    </a:lnTo>
                    <a:lnTo>
                      <a:pt x="110" y="6"/>
                    </a:lnTo>
                    <a:lnTo>
                      <a:pt x="109" y="5"/>
                    </a:lnTo>
                    <a:lnTo>
                      <a:pt x="106" y="5"/>
                    </a:lnTo>
                    <a:lnTo>
                      <a:pt x="103" y="6"/>
                    </a:lnTo>
                    <a:lnTo>
                      <a:pt x="102" y="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59" name="Freeform 65">
                <a:extLst>
                  <a:ext uri="{FF2B5EF4-FFF2-40B4-BE49-F238E27FC236}">
                    <a16:creationId xmlns:a16="http://schemas.microsoft.com/office/drawing/2014/main" id="{B26F8150-E39B-8B0A-15E3-223F53779892}"/>
                  </a:ext>
                </a:extLst>
              </p:cNvPr>
              <p:cNvSpPr>
                <a:spLocks/>
              </p:cNvSpPr>
              <p:nvPr/>
            </p:nvSpPr>
            <p:spPr bwMode="auto">
              <a:xfrm>
                <a:off x="3844" y="1746"/>
                <a:ext cx="99" cy="45"/>
              </a:xfrm>
              <a:custGeom>
                <a:avLst/>
                <a:gdLst>
                  <a:gd name="T0" fmla="*/ 81 w 99"/>
                  <a:gd name="T1" fmla="*/ 3 h 45"/>
                  <a:gd name="T2" fmla="*/ 73 w 99"/>
                  <a:gd name="T3" fmla="*/ 4 h 45"/>
                  <a:gd name="T4" fmla="*/ 72 w 99"/>
                  <a:gd name="T5" fmla="*/ 6 h 45"/>
                  <a:gd name="T6" fmla="*/ 69 w 99"/>
                  <a:gd name="T7" fmla="*/ 6 h 45"/>
                  <a:gd name="T8" fmla="*/ 63 w 99"/>
                  <a:gd name="T9" fmla="*/ 4 h 45"/>
                  <a:gd name="T10" fmla="*/ 59 w 99"/>
                  <a:gd name="T11" fmla="*/ 6 h 45"/>
                  <a:gd name="T12" fmla="*/ 56 w 99"/>
                  <a:gd name="T13" fmla="*/ 9 h 45"/>
                  <a:gd name="T14" fmla="*/ 53 w 99"/>
                  <a:gd name="T15" fmla="*/ 9 h 45"/>
                  <a:gd name="T16" fmla="*/ 52 w 99"/>
                  <a:gd name="T17" fmla="*/ 9 h 45"/>
                  <a:gd name="T18" fmla="*/ 52 w 99"/>
                  <a:gd name="T19" fmla="*/ 9 h 45"/>
                  <a:gd name="T20" fmla="*/ 52 w 99"/>
                  <a:gd name="T21" fmla="*/ 7 h 45"/>
                  <a:gd name="T22" fmla="*/ 50 w 99"/>
                  <a:gd name="T23" fmla="*/ 4 h 45"/>
                  <a:gd name="T24" fmla="*/ 49 w 99"/>
                  <a:gd name="T25" fmla="*/ 3 h 45"/>
                  <a:gd name="T26" fmla="*/ 46 w 99"/>
                  <a:gd name="T27" fmla="*/ 1 h 45"/>
                  <a:gd name="T28" fmla="*/ 45 w 99"/>
                  <a:gd name="T29" fmla="*/ 0 h 45"/>
                  <a:gd name="T30" fmla="*/ 40 w 99"/>
                  <a:gd name="T31" fmla="*/ 1 h 45"/>
                  <a:gd name="T32" fmla="*/ 39 w 99"/>
                  <a:gd name="T33" fmla="*/ 4 h 45"/>
                  <a:gd name="T34" fmla="*/ 38 w 99"/>
                  <a:gd name="T35" fmla="*/ 3 h 45"/>
                  <a:gd name="T36" fmla="*/ 36 w 99"/>
                  <a:gd name="T37" fmla="*/ 1 h 45"/>
                  <a:gd name="T38" fmla="*/ 30 w 99"/>
                  <a:gd name="T39" fmla="*/ 3 h 45"/>
                  <a:gd name="T40" fmla="*/ 23 w 99"/>
                  <a:gd name="T41" fmla="*/ 7 h 45"/>
                  <a:gd name="T42" fmla="*/ 22 w 99"/>
                  <a:gd name="T43" fmla="*/ 9 h 45"/>
                  <a:gd name="T44" fmla="*/ 22 w 99"/>
                  <a:gd name="T45" fmla="*/ 13 h 45"/>
                  <a:gd name="T46" fmla="*/ 17 w 99"/>
                  <a:gd name="T47" fmla="*/ 16 h 45"/>
                  <a:gd name="T48" fmla="*/ 12 w 99"/>
                  <a:gd name="T49" fmla="*/ 19 h 45"/>
                  <a:gd name="T50" fmla="*/ 7 w 99"/>
                  <a:gd name="T51" fmla="*/ 17 h 45"/>
                  <a:gd name="T52" fmla="*/ 5 w 99"/>
                  <a:gd name="T53" fmla="*/ 19 h 45"/>
                  <a:gd name="T54" fmla="*/ 2 w 99"/>
                  <a:gd name="T55" fmla="*/ 22 h 45"/>
                  <a:gd name="T56" fmla="*/ 0 w 99"/>
                  <a:gd name="T57" fmla="*/ 27 h 45"/>
                  <a:gd name="T58" fmla="*/ 0 w 99"/>
                  <a:gd name="T59" fmla="*/ 30 h 45"/>
                  <a:gd name="T60" fmla="*/ 2 w 99"/>
                  <a:gd name="T61" fmla="*/ 34 h 45"/>
                  <a:gd name="T62" fmla="*/ 5 w 99"/>
                  <a:gd name="T63" fmla="*/ 39 h 45"/>
                  <a:gd name="T64" fmla="*/ 10 w 99"/>
                  <a:gd name="T65" fmla="*/ 40 h 45"/>
                  <a:gd name="T66" fmla="*/ 16 w 99"/>
                  <a:gd name="T67" fmla="*/ 45 h 45"/>
                  <a:gd name="T68" fmla="*/ 25 w 99"/>
                  <a:gd name="T69" fmla="*/ 45 h 45"/>
                  <a:gd name="T70" fmla="*/ 32 w 99"/>
                  <a:gd name="T71" fmla="*/ 43 h 45"/>
                  <a:gd name="T72" fmla="*/ 33 w 99"/>
                  <a:gd name="T73" fmla="*/ 42 h 45"/>
                  <a:gd name="T74" fmla="*/ 33 w 99"/>
                  <a:gd name="T75" fmla="*/ 40 h 45"/>
                  <a:gd name="T76" fmla="*/ 36 w 99"/>
                  <a:gd name="T77" fmla="*/ 37 h 45"/>
                  <a:gd name="T78" fmla="*/ 45 w 99"/>
                  <a:gd name="T79" fmla="*/ 36 h 45"/>
                  <a:gd name="T80" fmla="*/ 48 w 99"/>
                  <a:gd name="T81" fmla="*/ 34 h 45"/>
                  <a:gd name="T82" fmla="*/ 49 w 99"/>
                  <a:gd name="T83" fmla="*/ 33 h 45"/>
                  <a:gd name="T84" fmla="*/ 52 w 99"/>
                  <a:gd name="T85" fmla="*/ 34 h 45"/>
                  <a:gd name="T86" fmla="*/ 55 w 99"/>
                  <a:gd name="T87" fmla="*/ 34 h 45"/>
                  <a:gd name="T88" fmla="*/ 58 w 99"/>
                  <a:gd name="T89" fmla="*/ 33 h 45"/>
                  <a:gd name="T90" fmla="*/ 61 w 99"/>
                  <a:gd name="T91" fmla="*/ 32 h 45"/>
                  <a:gd name="T92" fmla="*/ 63 w 99"/>
                  <a:gd name="T93" fmla="*/ 27 h 45"/>
                  <a:gd name="T94" fmla="*/ 65 w 99"/>
                  <a:gd name="T95" fmla="*/ 26 h 45"/>
                  <a:gd name="T96" fmla="*/ 68 w 99"/>
                  <a:gd name="T97" fmla="*/ 24 h 45"/>
                  <a:gd name="T98" fmla="*/ 72 w 99"/>
                  <a:gd name="T99" fmla="*/ 26 h 45"/>
                  <a:gd name="T100" fmla="*/ 76 w 99"/>
                  <a:gd name="T101" fmla="*/ 26 h 45"/>
                  <a:gd name="T102" fmla="*/ 81 w 99"/>
                  <a:gd name="T103" fmla="*/ 26 h 45"/>
                  <a:gd name="T104" fmla="*/ 85 w 99"/>
                  <a:gd name="T105" fmla="*/ 29 h 45"/>
                  <a:gd name="T106" fmla="*/ 89 w 99"/>
                  <a:gd name="T107" fmla="*/ 30 h 45"/>
                  <a:gd name="T108" fmla="*/ 94 w 99"/>
                  <a:gd name="T109" fmla="*/ 24 h 45"/>
                  <a:gd name="T110" fmla="*/ 99 w 99"/>
                  <a:gd name="T111" fmla="*/ 11 h 45"/>
                  <a:gd name="T112" fmla="*/ 88 w 99"/>
                  <a:gd name="T113" fmla="*/ 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9" h="45">
                    <a:moveTo>
                      <a:pt x="88" y="6"/>
                    </a:moveTo>
                    <a:lnTo>
                      <a:pt x="81" y="3"/>
                    </a:lnTo>
                    <a:lnTo>
                      <a:pt x="73" y="3"/>
                    </a:lnTo>
                    <a:lnTo>
                      <a:pt x="73" y="4"/>
                    </a:lnTo>
                    <a:lnTo>
                      <a:pt x="72" y="4"/>
                    </a:lnTo>
                    <a:lnTo>
                      <a:pt x="72" y="6"/>
                    </a:lnTo>
                    <a:lnTo>
                      <a:pt x="69" y="6"/>
                    </a:lnTo>
                    <a:lnTo>
                      <a:pt x="69" y="6"/>
                    </a:lnTo>
                    <a:lnTo>
                      <a:pt x="66" y="4"/>
                    </a:lnTo>
                    <a:lnTo>
                      <a:pt x="63" y="4"/>
                    </a:lnTo>
                    <a:lnTo>
                      <a:pt x="62" y="4"/>
                    </a:lnTo>
                    <a:lnTo>
                      <a:pt x="59" y="6"/>
                    </a:lnTo>
                    <a:lnTo>
                      <a:pt x="58" y="7"/>
                    </a:lnTo>
                    <a:lnTo>
                      <a:pt x="56" y="9"/>
                    </a:lnTo>
                    <a:lnTo>
                      <a:pt x="55" y="9"/>
                    </a:lnTo>
                    <a:lnTo>
                      <a:pt x="53" y="9"/>
                    </a:lnTo>
                    <a:lnTo>
                      <a:pt x="52" y="9"/>
                    </a:lnTo>
                    <a:lnTo>
                      <a:pt x="52" y="9"/>
                    </a:lnTo>
                    <a:lnTo>
                      <a:pt x="52" y="9"/>
                    </a:lnTo>
                    <a:lnTo>
                      <a:pt x="52" y="9"/>
                    </a:lnTo>
                    <a:lnTo>
                      <a:pt x="52" y="7"/>
                    </a:lnTo>
                    <a:lnTo>
                      <a:pt x="52" y="7"/>
                    </a:lnTo>
                    <a:lnTo>
                      <a:pt x="50" y="6"/>
                    </a:lnTo>
                    <a:lnTo>
                      <a:pt x="50" y="4"/>
                    </a:lnTo>
                    <a:lnTo>
                      <a:pt x="50" y="4"/>
                    </a:lnTo>
                    <a:lnTo>
                      <a:pt x="49" y="3"/>
                    </a:lnTo>
                    <a:lnTo>
                      <a:pt x="48" y="3"/>
                    </a:lnTo>
                    <a:lnTo>
                      <a:pt x="46" y="1"/>
                    </a:lnTo>
                    <a:lnTo>
                      <a:pt x="46" y="0"/>
                    </a:lnTo>
                    <a:lnTo>
                      <a:pt x="45" y="0"/>
                    </a:lnTo>
                    <a:lnTo>
                      <a:pt x="42" y="1"/>
                    </a:lnTo>
                    <a:lnTo>
                      <a:pt x="40" y="1"/>
                    </a:lnTo>
                    <a:lnTo>
                      <a:pt x="40" y="3"/>
                    </a:lnTo>
                    <a:lnTo>
                      <a:pt x="39" y="4"/>
                    </a:lnTo>
                    <a:lnTo>
                      <a:pt x="38" y="4"/>
                    </a:lnTo>
                    <a:lnTo>
                      <a:pt x="38" y="3"/>
                    </a:lnTo>
                    <a:lnTo>
                      <a:pt x="36" y="3"/>
                    </a:lnTo>
                    <a:lnTo>
                      <a:pt x="36" y="1"/>
                    </a:lnTo>
                    <a:lnTo>
                      <a:pt x="35" y="1"/>
                    </a:lnTo>
                    <a:lnTo>
                      <a:pt x="30" y="3"/>
                    </a:lnTo>
                    <a:lnTo>
                      <a:pt x="29" y="3"/>
                    </a:lnTo>
                    <a:lnTo>
                      <a:pt x="23" y="7"/>
                    </a:lnTo>
                    <a:lnTo>
                      <a:pt x="22" y="9"/>
                    </a:lnTo>
                    <a:lnTo>
                      <a:pt x="22" y="9"/>
                    </a:lnTo>
                    <a:lnTo>
                      <a:pt x="22" y="11"/>
                    </a:lnTo>
                    <a:lnTo>
                      <a:pt x="22" y="13"/>
                    </a:lnTo>
                    <a:lnTo>
                      <a:pt x="19" y="14"/>
                    </a:lnTo>
                    <a:lnTo>
                      <a:pt x="17" y="16"/>
                    </a:lnTo>
                    <a:lnTo>
                      <a:pt x="15" y="17"/>
                    </a:lnTo>
                    <a:lnTo>
                      <a:pt x="12" y="19"/>
                    </a:lnTo>
                    <a:lnTo>
                      <a:pt x="10" y="19"/>
                    </a:lnTo>
                    <a:lnTo>
                      <a:pt x="7" y="17"/>
                    </a:lnTo>
                    <a:lnTo>
                      <a:pt x="6" y="17"/>
                    </a:lnTo>
                    <a:lnTo>
                      <a:pt x="5" y="19"/>
                    </a:lnTo>
                    <a:lnTo>
                      <a:pt x="3" y="20"/>
                    </a:lnTo>
                    <a:lnTo>
                      <a:pt x="2" y="22"/>
                    </a:lnTo>
                    <a:lnTo>
                      <a:pt x="2" y="24"/>
                    </a:lnTo>
                    <a:lnTo>
                      <a:pt x="0" y="27"/>
                    </a:lnTo>
                    <a:lnTo>
                      <a:pt x="0" y="29"/>
                    </a:lnTo>
                    <a:lnTo>
                      <a:pt x="0" y="30"/>
                    </a:lnTo>
                    <a:lnTo>
                      <a:pt x="2" y="32"/>
                    </a:lnTo>
                    <a:lnTo>
                      <a:pt x="2" y="34"/>
                    </a:lnTo>
                    <a:lnTo>
                      <a:pt x="3" y="37"/>
                    </a:lnTo>
                    <a:lnTo>
                      <a:pt x="5" y="39"/>
                    </a:lnTo>
                    <a:lnTo>
                      <a:pt x="7" y="39"/>
                    </a:lnTo>
                    <a:lnTo>
                      <a:pt x="10" y="40"/>
                    </a:lnTo>
                    <a:lnTo>
                      <a:pt x="13" y="43"/>
                    </a:lnTo>
                    <a:lnTo>
                      <a:pt x="16" y="45"/>
                    </a:lnTo>
                    <a:lnTo>
                      <a:pt x="20" y="45"/>
                    </a:lnTo>
                    <a:lnTo>
                      <a:pt x="25" y="45"/>
                    </a:lnTo>
                    <a:lnTo>
                      <a:pt x="29" y="45"/>
                    </a:lnTo>
                    <a:lnTo>
                      <a:pt x="32" y="43"/>
                    </a:lnTo>
                    <a:lnTo>
                      <a:pt x="33" y="43"/>
                    </a:lnTo>
                    <a:lnTo>
                      <a:pt x="33" y="42"/>
                    </a:lnTo>
                    <a:lnTo>
                      <a:pt x="33" y="42"/>
                    </a:lnTo>
                    <a:lnTo>
                      <a:pt x="33" y="40"/>
                    </a:lnTo>
                    <a:lnTo>
                      <a:pt x="35" y="39"/>
                    </a:lnTo>
                    <a:lnTo>
                      <a:pt x="36" y="37"/>
                    </a:lnTo>
                    <a:lnTo>
                      <a:pt x="43" y="36"/>
                    </a:lnTo>
                    <a:lnTo>
                      <a:pt x="45" y="36"/>
                    </a:lnTo>
                    <a:lnTo>
                      <a:pt x="46" y="34"/>
                    </a:lnTo>
                    <a:lnTo>
                      <a:pt x="48" y="34"/>
                    </a:lnTo>
                    <a:lnTo>
                      <a:pt x="48" y="34"/>
                    </a:lnTo>
                    <a:lnTo>
                      <a:pt x="49" y="33"/>
                    </a:lnTo>
                    <a:lnTo>
                      <a:pt x="50" y="34"/>
                    </a:lnTo>
                    <a:lnTo>
                      <a:pt x="52" y="34"/>
                    </a:lnTo>
                    <a:lnTo>
                      <a:pt x="53" y="34"/>
                    </a:lnTo>
                    <a:lnTo>
                      <a:pt x="55" y="34"/>
                    </a:lnTo>
                    <a:lnTo>
                      <a:pt x="56" y="34"/>
                    </a:lnTo>
                    <a:lnTo>
                      <a:pt x="58" y="33"/>
                    </a:lnTo>
                    <a:lnTo>
                      <a:pt x="59" y="32"/>
                    </a:lnTo>
                    <a:lnTo>
                      <a:pt x="61" y="32"/>
                    </a:lnTo>
                    <a:lnTo>
                      <a:pt x="62" y="30"/>
                    </a:lnTo>
                    <a:lnTo>
                      <a:pt x="63" y="27"/>
                    </a:lnTo>
                    <a:lnTo>
                      <a:pt x="63" y="26"/>
                    </a:lnTo>
                    <a:lnTo>
                      <a:pt x="65" y="26"/>
                    </a:lnTo>
                    <a:lnTo>
                      <a:pt x="66" y="24"/>
                    </a:lnTo>
                    <a:lnTo>
                      <a:pt x="68" y="24"/>
                    </a:lnTo>
                    <a:lnTo>
                      <a:pt x="71" y="26"/>
                    </a:lnTo>
                    <a:lnTo>
                      <a:pt x="72" y="26"/>
                    </a:lnTo>
                    <a:lnTo>
                      <a:pt x="73" y="26"/>
                    </a:lnTo>
                    <a:lnTo>
                      <a:pt x="76" y="26"/>
                    </a:lnTo>
                    <a:lnTo>
                      <a:pt x="79" y="26"/>
                    </a:lnTo>
                    <a:lnTo>
                      <a:pt x="81" y="26"/>
                    </a:lnTo>
                    <a:lnTo>
                      <a:pt x="84" y="27"/>
                    </a:lnTo>
                    <a:lnTo>
                      <a:pt x="85" y="29"/>
                    </a:lnTo>
                    <a:lnTo>
                      <a:pt x="88" y="30"/>
                    </a:lnTo>
                    <a:lnTo>
                      <a:pt x="89" y="30"/>
                    </a:lnTo>
                    <a:lnTo>
                      <a:pt x="92" y="29"/>
                    </a:lnTo>
                    <a:lnTo>
                      <a:pt x="94" y="24"/>
                    </a:lnTo>
                    <a:lnTo>
                      <a:pt x="98" y="16"/>
                    </a:lnTo>
                    <a:lnTo>
                      <a:pt x="99" y="11"/>
                    </a:lnTo>
                    <a:lnTo>
                      <a:pt x="94" y="10"/>
                    </a:lnTo>
                    <a:lnTo>
                      <a:pt x="88" y="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60" name="Freeform 66">
                <a:extLst>
                  <a:ext uri="{FF2B5EF4-FFF2-40B4-BE49-F238E27FC236}">
                    <a16:creationId xmlns:a16="http://schemas.microsoft.com/office/drawing/2014/main" id="{A298A2B6-8386-0D83-D451-FD87E86123E2}"/>
                  </a:ext>
                </a:extLst>
              </p:cNvPr>
              <p:cNvSpPr>
                <a:spLocks/>
              </p:cNvSpPr>
              <p:nvPr/>
            </p:nvSpPr>
            <p:spPr bwMode="auto">
              <a:xfrm>
                <a:off x="3591" y="1696"/>
                <a:ext cx="68" cy="50"/>
              </a:xfrm>
              <a:custGeom>
                <a:avLst/>
                <a:gdLst>
                  <a:gd name="T0" fmla="*/ 2 w 68"/>
                  <a:gd name="T1" fmla="*/ 15 h 50"/>
                  <a:gd name="T2" fmla="*/ 6 w 68"/>
                  <a:gd name="T3" fmla="*/ 18 h 50"/>
                  <a:gd name="T4" fmla="*/ 9 w 68"/>
                  <a:gd name="T5" fmla="*/ 18 h 50"/>
                  <a:gd name="T6" fmla="*/ 13 w 68"/>
                  <a:gd name="T7" fmla="*/ 20 h 50"/>
                  <a:gd name="T8" fmla="*/ 15 w 68"/>
                  <a:gd name="T9" fmla="*/ 26 h 50"/>
                  <a:gd name="T10" fmla="*/ 19 w 68"/>
                  <a:gd name="T11" fmla="*/ 26 h 50"/>
                  <a:gd name="T12" fmla="*/ 21 w 68"/>
                  <a:gd name="T13" fmla="*/ 27 h 50"/>
                  <a:gd name="T14" fmla="*/ 22 w 68"/>
                  <a:gd name="T15" fmla="*/ 30 h 50"/>
                  <a:gd name="T16" fmla="*/ 23 w 68"/>
                  <a:gd name="T17" fmla="*/ 30 h 50"/>
                  <a:gd name="T18" fmla="*/ 28 w 68"/>
                  <a:gd name="T19" fmla="*/ 30 h 50"/>
                  <a:gd name="T20" fmla="*/ 29 w 68"/>
                  <a:gd name="T21" fmla="*/ 33 h 50"/>
                  <a:gd name="T22" fmla="*/ 31 w 68"/>
                  <a:gd name="T23" fmla="*/ 36 h 50"/>
                  <a:gd name="T24" fmla="*/ 29 w 68"/>
                  <a:gd name="T25" fmla="*/ 38 h 50"/>
                  <a:gd name="T26" fmla="*/ 33 w 68"/>
                  <a:gd name="T27" fmla="*/ 40 h 50"/>
                  <a:gd name="T28" fmla="*/ 41 w 68"/>
                  <a:gd name="T29" fmla="*/ 34 h 50"/>
                  <a:gd name="T30" fmla="*/ 41 w 68"/>
                  <a:gd name="T31" fmla="*/ 37 h 50"/>
                  <a:gd name="T32" fmla="*/ 42 w 68"/>
                  <a:gd name="T33" fmla="*/ 43 h 50"/>
                  <a:gd name="T34" fmla="*/ 42 w 68"/>
                  <a:gd name="T35" fmla="*/ 44 h 50"/>
                  <a:gd name="T36" fmla="*/ 45 w 68"/>
                  <a:gd name="T37" fmla="*/ 44 h 50"/>
                  <a:gd name="T38" fmla="*/ 52 w 68"/>
                  <a:gd name="T39" fmla="*/ 50 h 50"/>
                  <a:gd name="T40" fmla="*/ 58 w 68"/>
                  <a:gd name="T41" fmla="*/ 50 h 50"/>
                  <a:gd name="T42" fmla="*/ 59 w 68"/>
                  <a:gd name="T43" fmla="*/ 46 h 50"/>
                  <a:gd name="T44" fmla="*/ 58 w 68"/>
                  <a:gd name="T45" fmla="*/ 41 h 50"/>
                  <a:gd name="T46" fmla="*/ 59 w 68"/>
                  <a:gd name="T47" fmla="*/ 36 h 50"/>
                  <a:gd name="T48" fmla="*/ 64 w 68"/>
                  <a:gd name="T49" fmla="*/ 36 h 50"/>
                  <a:gd name="T50" fmla="*/ 67 w 68"/>
                  <a:gd name="T51" fmla="*/ 31 h 50"/>
                  <a:gd name="T52" fmla="*/ 68 w 68"/>
                  <a:gd name="T53" fmla="*/ 27 h 50"/>
                  <a:gd name="T54" fmla="*/ 67 w 68"/>
                  <a:gd name="T55" fmla="*/ 26 h 50"/>
                  <a:gd name="T56" fmla="*/ 67 w 68"/>
                  <a:gd name="T57" fmla="*/ 23 h 50"/>
                  <a:gd name="T58" fmla="*/ 61 w 68"/>
                  <a:gd name="T59" fmla="*/ 18 h 50"/>
                  <a:gd name="T60" fmla="*/ 58 w 68"/>
                  <a:gd name="T61" fmla="*/ 18 h 50"/>
                  <a:gd name="T62" fmla="*/ 56 w 68"/>
                  <a:gd name="T63" fmla="*/ 18 h 50"/>
                  <a:gd name="T64" fmla="*/ 56 w 68"/>
                  <a:gd name="T65" fmla="*/ 17 h 50"/>
                  <a:gd name="T66" fmla="*/ 58 w 68"/>
                  <a:gd name="T67" fmla="*/ 13 h 50"/>
                  <a:gd name="T68" fmla="*/ 58 w 68"/>
                  <a:gd name="T69" fmla="*/ 7 h 50"/>
                  <a:gd name="T70" fmla="*/ 52 w 68"/>
                  <a:gd name="T71" fmla="*/ 4 h 50"/>
                  <a:gd name="T72" fmla="*/ 49 w 68"/>
                  <a:gd name="T73" fmla="*/ 4 h 50"/>
                  <a:gd name="T74" fmla="*/ 48 w 68"/>
                  <a:gd name="T75" fmla="*/ 4 h 50"/>
                  <a:gd name="T76" fmla="*/ 46 w 68"/>
                  <a:gd name="T77" fmla="*/ 1 h 50"/>
                  <a:gd name="T78" fmla="*/ 45 w 68"/>
                  <a:gd name="T79" fmla="*/ 1 h 50"/>
                  <a:gd name="T80" fmla="*/ 45 w 68"/>
                  <a:gd name="T81" fmla="*/ 0 h 50"/>
                  <a:gd name="T82" fmla="*/ 44 w 68"/>
                  <a:gd name="T83" fmla="*/ 1 h 50"/>
                  <a:gd name="T84" fmla="*/ 42 w 68"/>
                  <a:gd name="T85" fmla="*/ 1 h 50"/>
                  <a:gd name="T86" fmla="*/ 39 w 68"/>
                  <a:gd name="T87" fmla="*/ 0 h 50"/>
                  <a:gd name="T88" fmla="*/ 38 w 68"/>
                  <a:gd name="T89" fmla="*/ 0 h 50"/>
                  <a:gd name="T90" fmla="*/ 36 w 68"/>
                  <a:gd name="T91" fmla="*/ 0 h 50"/>
                  <a:gd name="T92" fmla="*/ 36 w 68"/>
                  <a:gd name="T93" fmla="*/ 0 h 50"/>
                  <a:gd name="T94" fmla="*/ 35 w 68"/>
                  <a:gd name="T95" fmla="*/ 0 h 50"/>
                  <a:gd name="T96" fmla="*/ 33 w 68"/>
                  <a:gd name="T97" fmla="*/ 1 h 50"/>
                  <a:gd name="T98" fmla="*/ 31 w 68"/>
                  <a:gd name="T99" fmla="*/ 1 h 50"/>
                  <a:gd name="T100" fmla="*/ 28 w 68"/>
                  <a:gd name="T101" fmla="*/ 5 h 50"/>
                  <a:gd name="T102" fmla="*/ 22 w 68"/>
                  <a:gd name="T103" fmla="*/ 5 h 50"/>
                  <a:gd name="T104" fmla="*/ 16 w 68"/>
                  <a:gd name="T105" fmla="*/ 4 h 50"/>
                  <a:gd name="T106" fmla="*/ 12 w 68"/>
                  <a:gd name="T107" fmla="*/ 3 h 50"/>
                  <a:gd name="T108" fmla="*/ 2 w 68"/>
                  <a:gd name="T109"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8" h="50">
                    <a:moveTo>
                      <a:pt x="2" y="13"/>
                    </a:moveTo>
                    <a:lnTo>
                      <a:pt x="2" y="15"/>
                    </a:lnTo>
                    <a:lnTo>
                      <a:pt x="3" y="17"/>
                    </a:lnTo>
                    <a:lnTo>
                      <a:pt x="6" y="18"/>
                    </a:lnTo>
                    <a:lnTo>
                      <a:pt x="8" y="18"/>
                    </a:lnTo>
                    <a:lnTo>
                      <a:pt x="9" y="18"/>
                    </a:lnTo>
                    <a:lnTo>
                      <a:pt x="12" y="18"/>
                    </a:lnTo>
                    <a:lnTo>
                      <a:pt x="13" y="20"/>
                    </a:lnTo>
                    <a:lnTo>
                      <a:pt x="13" y="23"/>
                    </a:lnTo>
                    <a:lnTo>
                      <a:pt x="15" y="26"/>
                    </a:lnTo>
                    <a:lnTo>
                      <a:pt x="16" y="26"/>
                    </a:lnTo>
                    <a:lnTo>
                      <a:pt x="19" y="26"/>
                    </a:lnTo>
                    <a:lnTo>
                      <a:pt x="21" y="26"/>
                    </a:lnTo>
                    <a:lnTo>
                      <a:pt x="21" y="27"/>
                    </a:lnTo>
                    <a:lnTo>
                      <a:pt x="21" y="30"/>
                    </a:lnTo>
                    <a:lnTo>
                      <a:pt x="22" y="30"/>
                    </a:lnTo>
                    <a:lnTo>
                      <a:pt x="22" y="30"/>
                    </a:lnTo>
                    <a:lnTo>
                      <a:pt x="23" y="30"/>
                    </a:lnTo>
                    <a:lnTo>
                      <a:pt x="26" y="30"/>
                    </a:lnTo>
                    <a:lnTo>
                      <a:pt x="28" y="30"/>
                    </a:lnTo>
                    <a:lnTo>
                      <a:pt x="29" y="31"/>
                    </a:lnTo>
                    <a:lnTo>
                      <a:pt x="29" y="33"/>
                    </a:lnTo>
                    <a:lnTo>
                      <a:pt x="29" y="34"/>
                    </a:lnTo>
                    <a:lnTo>
                      <a:pt x="31" y="36"/>
                    </a:lnTo>
                    <a:lnTo>
                      <a:pt x="29" y="38"/>
                    </a:lnTo>
                    <a:lnTo>
                      <a:pt x="29" y="38"/>
                    </a:lnTo>
                    <a:lnTo>
                      <a:pt x="31" y="40"/>
                    </a:lnTo>
                    <a:lnTo>
                      <a:pt x="33" y="40"/>
                    </a:lnTo>
                    <a:lnTo>
                      <a:pt x="36" y="40"/>
                    </a:lnTo>
                    <a:lnTo>
                      <a:pt x="41" y="34"/>
                    </a:lnTo>
                    <a:lnTo>
                      <a:pt x="42" y="36"/>
                    </a:lnTo>
                    <a:lnTo>
                      <a:pt x="41" y="37"/>
                    </a:lnTo>
                    <a:lnTo>
                      <a:pt x="41" y="38"/>
                    </a:lnTo>
                    <a:lnTo>
                      <a:pt x="42" y="43"/>
                    </a:lnTo>
                    <a:lnTo>
                      <a:pt x="42" y="43"/>
                    </a:lnTo>
                    <a:lnTo>
                      <a:pt x="42" y="44"/>
                    </a:lnTo>
                    <a:lnTo>
                      <a:pt x="44" y="44"/>
                    </a:lnTo>
                    <a:lnTo>
                      <a:pt x="45" y="44"/>
                    </a:lnTo>
                    <a:lnTo>
                      <a:pt x="48" y="46"/>
                    </a:lnTo>
                    <a:lnTo>
                      <a:pt x="52" y="50"/>
                    </a:lnTo>
                    <a:lnTo>
                      <a:pt x="54" y="50"/>
                    </a:lnTo>
                    <a:lnTo>
                      <a:pt x="58" y="50"/>
                    </a:lnTo>
                    <a:lnTo>
                      <a:pt x="59" y="49"/>
                    </a:lnTo>
                    <a:lnTo>
                      <a:pt x="59" y="46"/>
                    </a:lnTo>
                    <a:lnTo>
                      <a:pt x="58" y="44"/>
                    </a:lnTo>
                    <a:lnTo>
                      <a:pt x="58" y="41"/>
                    </a:lnTo>
                    <a:lnTo>
                      <a:pt x="58" y="40"/>
                    </a:lnTo>
                    <a:lnTo>
                      <a:pt x="59" y="36"/>
                    </a:lnTo>
                    <a:lnTo>
                      <a:pt x="62" y="34"/>
                    </a:lnTo>
                    <a:lnTo>
                      <a:pt x="64" y="36"/>
                    </a:lnTo>
                    <a:lnTo>
                      <a:pt x="65" y="33"/>
                    </a:lnTo>
                    <a:lnTo>
                      <a:pt x="67" y="31"/>
                    </a:lnTo>
                    <a:lnTo>
                      <a:pt x="68" y="30"/>
                    </a:lnTo>
                    <a:lnTo>
                      <a:pt x="68" y="27"/>
                    </a:lnTo>
                    <a:lnTo>
                      <a:pt x="67" y="26"/>
                    </a:lnTo>
                    <a:lnTo>
                      <a:pt x="67" y="26"/>
                    </a:lnTo>
                    <a:lnTo>
                      <a:pt x="65" y="24"/>
                    </a:lnTo>
                    <a:lnTo>
                      <a:pt x="67" y="23"/>
                    </a:lnTo>
                    <a:lnTo>
                      <a:pt x="62" y="18"/>
                    </a:lnTo>
                    <a:lnTo>
                      <a:pt x="61" y="18"/>
                    </a:lnTo>
                    <a:lnTo>
                      <a:pt x="58" y="18"/>
                    </a:lnTo>
                    <a:lnTo>
                      <a:pt x="58" y="18"/>
                    </a:lnTo>
                    <a:lnTo>
                      <a:pt x="58" y="18"/>
                    </a:lnTo>
                    <a:lnTo>
                      <a:pt x="56" y="18"/>
                    </a:lnTo>
                    <a:lnTo>
                      <a:pt x="56" y="18"/>
                    </a:lnTo>
                    <a:lnTo>
                      <a:pt x="56" y="17"/>
                    </a:lnTo>
                    <a:lnTo>
                      <a:pt x="56" y="14"/>
                    </a:lnTo>
                    <a:lnTo>
                      <a:pt x="58" y="13"/>
                    </a:lnTo>
                    <a:lnTo>
                      <a:pt x="58" y="10"/>
                    </a:lnTo>
                    <a:lnTo>
                      <a:pt x="58" y="7"/>
                    </a:lnTo>
                    <a:lnTo>
                      <a:pt x="52" y="4"/>
                    </a:lnTo>
                    <a:lnTo>
                      <a:pt x="52" y="4"/>
                    </a:lnTo>
                    <a:lnTo>
                      <a:pt x="51" y="4"/>
                    </a:lnTo>
                    <a:lnTo>
                      <a:pt x="49" y="4"/>
                    </a:lnTo>
                    <a:lnTo>
                      <a:pt x="48" y="4"/>
                    </a:lnTo>
                    <a:lnTo>
                      <a:pt x="48" y="4"/>
                    </a:lnTo>
                    <a:lnTo>
                      <a:pt x="46" y="3"/>
                    </a:lnTo>
                    <a:lnTo>
                      <a:pt x="46" y="1"/>
                    </a:lnTo>
                    <a:lnTo>
                      <a:pt x="45" y="1"/>
                    </a:lnTo>
                    <a:lnTo>
                      <a:pt x="45" y="1"/>
                    </a:lnTo>
                    <a:lnTo>
                      <a:pt x="45" y="0"/>
                    </a:lnTo>
                    <a:lnTo>
                      <a:pt x="45" y="0"/>
                    </a:lnTo>
                    <a:lnTo>
                      <a:pt x="45" y="0"/>
                    </a:lnTo>
                    <a:lnTo>
                      <a:pt x="44" y="1"/>
                    </a:lnTo>
                    <a:lnTo>
                      <a:pt x="44" y="1"/>
                    </a:lnTo>
                    <a:lnTo>
                      <a:pt x="42" y="1"/>
                    </a:lnTo>
                    <a:lnTo>
                      <a:pt x="41" y="0"/>
                    </a:lnTo>
                    <a:lnTo>
                      <a:pt x="39" y="0"/>
                    </a:lnTo>
                    <a:lnTo>
                      <a:pt x="39" y="0"/>
                    </a:lnTo>
                    <a:lnTo>
                      <a:pt x="38" y="0"/>
                    </a:lnTo>
                    <a:lnTo>
                      <a:pt x="36" y="0"/>
                    </a:lnTo>
                    <a:lnTo>
                      <a:pt x="36" y="0"/>
                    </a:lnTo>
                    <a:lnTo>
                      <a:pt x="36" y="0"/>
                    </a:lnTo>
                    <a:lnTo>
                      <a:pt x="36" y="0"/>
                    </a:lnTo>
                    <a:lnTo>
                      <a:pt x="35" y="0"/>
                    </a:lnTo>
                    <a:lnTo>
                      <a:pt x="35" y="0"/>
                    </a:lnTo>
                    <a:lnTo>
                      <a:pt x="33" y="1"/>
                    </a:lnTo>
                    <a:lnTo>
                      <a:pt x="33" y="1"/>
                    </a:lnTo>
                    <a:lnTo>
                      <a:pt x="33" y="3"/>
                    </a:lnTo>
                    <a:lnTo>
                      <a:pt x="31" y="1"/>
                    </a:lnTo>
                    <a:lnTo>
                      <a:pt x="29" y="4"/>
                    </a:lnTo>
                    <a:lnTo>
                      <a:pt x="28" y="5"/>
                    </a:lnTo>
                    <a:lnTo>
                      <a:pt x="25" y="5"/>
                    </a:lnTo>
                    <a:lnTo>
                      <a:pt x="22" y="5"/>
                    </a:lnTo>
                    <a:lnTo>
                      <a:pt x="18" y="5"/>
                    </a:lnTo>
                    <a:lnTo>
                      <a:pt x="16" y="4"/>
                    </a:lnTo>
                    <a:lnTo>
                      <a:pt x="15" y="1"/>
                    </a:lnTo>
                    <a:lnTo>
                      <a:pt x="12" y="3"/>
                    </a:lnTo>
                    <a:lnTo>
                      <a:pt x="0" y="10"/>
                    </a:lnTo>
                    <a:lnTo>
                      <a:pt x="2" y="11"/>
                    </a:lnTo>
                    <a:lnTo>
                      <a:pt x="2" y="1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61" name="Freeform 67">
                <a:extLst>
                  <a:ext uri="{FF2B5EF4-FFF2-40B4-BE49-F238E27FC236}">
                    <a16:creationId xmlns:a16="http://schemas.microsoft.com/office/drawing/2014/main" id="{7525520C-F3CC-56FA-AC6C-766DC9BC0B89}"/>
                  </a:ext>
                </a:extLst>
              </p:cNvPr>
              <p:cNvSpPr>
                <a:spLocks/>
              </p:cNvSpPr>
              <p:nvPr/>
            </p:nvSpPr>
            <p:spPr bwMode="auto">
              <a:xfrm>
                <a:off x="3879" y="1828"/>
                <a:ext cx="71" cy="89"/>
              </a:xfrm>
              <a:custGeom>
                <a:avLst/>
                <a:gdLst>
                  <a:gd name="T0" fmla="*/ 14 w 71"/>
                  <a:gd name="T1" fmla="*/ 0 h 89"/>
                  <a:gd name="T2" fmla="*/ 5 w 71"/>
                  <a:gd name="T3" fmla="*/ 4 h 89"/>
                  <a:gd name="T4" fmla="*/ 4 w 71"/>
                  <a:gd name="T5" fmla="*/ 4 h 89"/>
                  <a:gd name="T6" fmla="*/ 0 w 71"/>
                  <a:gd name="T7" fmla="*/ 7 h 89"/>
                  <a:gd name="T8" fmla="*/ 4 w 71"/>
                  <a:gd name="T9" fmla="*/ 14 h 89"/>
                  <a:gd name="T10" fmla="*/ 8 w 71"/>
                  <a:gd name="T11" fmla="*/ 20 h 89"/>
                  <a:gd name="T12" fmla="*/ 7 w 71"/>
                  <a:gd name="T13" fmla="*/ 23 h 89"/>
                  <a:gd name="T14" fmla="*/ 4 w 71"/>
                  <a:gd name="T15" fmla="*/ 29 h 89"/>
                  <a:gd name="T16" fmla="*/ 8 w 71"/>
                  <a:gd name="T17" fmla="*/ 30 h 89"/>
                  <a:gd name="T18" fmla="*/ 7 w 71"/>
                  <a:gd name="T19" fmla="*/ 43 h 89"/>
                  <a:gd name="T20" fmla="*/ 13 w 71"/>
                  <a:gd name="T21" fmla="*/ 49 h 89"/>
                  <a:gd name="T22" fmla="*/ 8 w 71"/>
                  <a:gd name="T23" fmla="*/ 50 h 89"/>
                  <a:gd name="T24" fmla="*/ 11 w 71"/>
                  <a:gd name="T25" fmla="*/ 57 h 89"/>
                  <a:gd name="T26" fmla="*/ 8 w 71"/>
                  <a:gd name="T27" fmla="*/ 59 h 89"/>
                  <a:gd name="T28" fmla="*/ 7 w 71"/>
                  <a:gd name="T29" fmla="*/ 63 h 89"/>
                  <a:gd name="T30" fmla="*/ 15 w 71"/>
                  <a:gd name="T31" fmla="*/ 69 h 89"/>
                  <a:gd name="T32" fmla="*/ 26 w 71"/>
                  <a:gd name="T33" fmla="*/ 76 h 89"/>
                  <a:gd name="T34" fmla="*/ 28 w 71"/>
                  <a:gd name="T35" fmla="*/ 73 h 89"/>
                  <a:gd name="T36" fmla="*/ 31 w 71"/>
                  <a:gd name="T37" fmla="*/ 70 h 89"/>
                  <a:gd name="T38" fmla="*/ 31 w 71"/>
                  <a:gd name="T39" fmla="*/ 69 h 89"/>
                  <a:gd name="T40" fmla="*/ 33 w 71"/>
                  <a:gd name="T41" fmla="*/ 67 h 89"/>
                  <a:gd name="T42" fmla="*/ 40 w 71"/>
                  <a:gd name="T43" fmla="*/ 72 h 89"/>
                  <a:gd name="T44" fmla="*/ 44 w 71"/>
                  <a:gd name="T45" fmla="*/ 76 h 89"/>
                  <a:gd name="T46" fmla="*/ 47 w 71"/>
                  <a:gd name="T47" fmla="*/ 79 h 89"/>
                  <a:gd name="T48" fmla="*/ 50 w 71"/>
                  <a:gd name="T49" fmla="*/ 82 h 89"/>
                  <a:gd name="T50" fmla="*/ 51 w 71"/>
                  <a:gd name="T51" fmla="*/ 89 h 89"/>
                  <a:gd name="T52" fmla="*/ 61 w 71"/>
                  <a:gd name="T53" fmla="*/ 88 h 89"/>
                  <a:gd name="T54" fmla="*/ 63 w 71"/>
                  <a:gd name="T55" fmla="*/ 79 h 89"/>
                  <a:gd name="T56" fmla="*/ 64 w 71"/>
                  <a:gd name="T57" fmla="*/ 75 h 89"/>
                  <a:gd name="T58" fmla="*/ 69 w 71"/>
                  <a:gd name="T59" fmla="*/ 73 h 89"/>
                  <a:gd name="T60" fmla="*/ 71 w 71"/>
                  <a:gd name="T61" fmla="*/ 69 h 89"/>
                  <a:gd name="T62" fmla="*/ 69 w 71"/>
                  <a:gd name="T63" fmla="*/ 65 h 89"/>
                  <a:gd name="T64" fmla="*/ 64 w 71"/>
                  <a:gd name="T65" fmla="*/ 60 h 89"/>
                  <a:gd name="T66" fmla="*/ 61 w 71"/>
                  <a:gd name="T67" fmla="*/ 56 h 89"/>
                  <a:gd name="T68" fmla="*/ 63 w 71"/>
                  <a:gd name="T69" fmla="*/ 50 h 89"/>
                  <a:gd name="T70" fmla="*/ 67 w 71"/>
                  <a:gd name="T71" fmla="*/ 46 h 89"/>
                  <a:gd name="T72" fmla="*/ 67 w 71"/>
                  <a:gd name="T73" fmla="*/ 43 h 89"/>
                  <a:gd name="T74" fmla="*/ 66 w 71"/>
                  <a:gd name="T75" fmla="*/ 37 h 89"/>
                  <a:gd name="T76" fmla="*/ 67 w 71"/>
                  <a:gd name="T77" fmla="*/ 37 h 89"/>
                  <a:gd name="T78" fmla="*/ 66 w 71"/>
                  <a:gd name="T79" fmla="*/ 34 h 89"/>
                  <a:gd name="T80" fmla="*/ 61 w 71"/>
                  <a:gd name="T81" fmla="*/ 34 h 89"/>
                  <a:gd name="T82" fmla="*/ 57 w 71"/>
                  <a:gd name="T83" fmla="*/ 37 h 89"/>
                  <a:gd name="T84" fmla="*/ 47 w 71"/>
                  <a:gd name="T85" fmla="*/ 32 h 89"/>
                  <a:gd name="T86" fmla="*/ 44 w 71"/>
                  <a:gd name="T87" fmla="*/ 30 h 89"/>
                  <a:gd name="T88" fmla="*/ 46 w 71"/>
                  <a:gd name="T89" fmla="*/ 30 h 89"/>
                  <a:gd name="T90" fmla="*/ 46 w 71"/>
                  <a:gd name="T91" fmla="*/ 29 h 89"/>
                  <a:gd name="T92" fmla="*/ 46 w 71"/>
                  <a:gd name="T93" fmla="*/ 27 h 89"/>
                  <a:gd name="T94" fmla="*/ 44 w 71"/>
                  <a:gd name="T95" fmla="*/ 26 h 89"/>
                  <a:gd name="T96" fmla="*/ 44 w 71"/>
                  <a:gd name="T97" fmla="*/ 21 h 89"/>
                  <a:gd name="T98" fmla="*/ 36 w 71"/>
                  <a:gd name="T99" fmla="*/ 17 h 89"/>
                  <a:gd name="T100" fmla="*/ 34 w 71"/>
                  <a:gd name="T101" fmla="*/ 11 h 89"/>
                  <a:gd name="T102" fmla="*/ 28 w 71"/>
                  <a:gd name="T103" fmla="*/ 6 h 89"/>
                  <a:gd name="T104" fmla="*/ 21 w 71"/>
                  <a:gd name="T10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1" h="89">
                    <a:moveTo>
                      <a:pt x="21" y="0"/>
                    </a:moveTo>
                    <a:lnTo>
                      <a:pt x="15" y="0"/>
                    </a:lnTo>
                    <a:lnTo>
                      <a:pt x="14" y="0"/>
                    </a:lnTo>
                    <a:lnTo>
                      <a:pt x="13" y="1"/>
                    </a:lnTo>
                    <a:lnTo>
                      <a:pt x="8" y="3"/>
                    </a:lnTo>
                    <a:lnTo>
                      <a:pt x="5" y="4"/>
                    </a:lnTo>
                    <a:lnTo>
                      <a:pt x="5" y="4"/>
                    </a:lnTo>
                    <a:lnTo>
                      <a:pt x="4" y="4"/>
                    </a:lnTo>
                    <a:lnTo>
                      <a:pt x="4" y="4"/>
                    </a:lnTo>
                    <a:lnTo>
                      <a:pt x="3" y="4"/>
                    </a:lnTo>
                    <a:lnTo>
                      <a:pt x="1" y="4"/>
                    </a:lnTo>
                    <a:lnTo>
                      <a:pt x="0" y="7"/>
                    </a:lnTo>
                    <a:lnTo>
                      <a:pt x="1" y="10"/>
                    </a:lnTo>
                    <a:lnTo>
                      <a:pt x="1" y="13"/>
                    </a:lnTo>
                    <a:lnTo>
                      <a:pt x="4" y="14"/>
                    </a:lnTo>
                    <a:lnTo>
                      <a:pt x="3" y="17"/>
                    </a:lnTo>
                    <a:lnTo>
                      <a:pt x="4" y="19"/>
                    </a:lnTo>
                    <a:lnTo>
                      <a:pt x="8" y="20"/>
                    </a:lnTo>
                    <a:lnTo>
                      <a:pt x="10" y="21"/>
                    </a:lnTo>
                    <a:lnTo>
                      <a:pt x="8" y="23"/>
                    </a:lnTo>
                    <a:lnTo>
                      <a:pt x="7" y="23"/>
                    </a:lnTo>
                    <a:lnTo>
                      <a:pt x="5" y="23"/>
                    </a:lnTo>
                    <a:lnTo>
                      <a:pt x="4" y="24"/>
                    </a:lnTo>
                    <a:lnTo>
                      <a:pt x="4" y="29"/>
                    </a:lnTo>
                    <a:lnTo>
                      <a:pt x="3" y="30"/>
                    </a:lnTo>
                    <a:lnTo>
                      <a:pt x="7" y="29"/>
                    </a:lnTo>
                    <a:lnTo>
                      <a:pt x="8" y="30"/>
                    </a:lnTo>
                    <a:lnTo>
                      <a:pt x="5" y="37"/>
                    </a:lnTo>
                    <a:lnTo>
                      <a:pt x="5" y="42"/>
                    </a:lnTo>
                    <a:lnTo>
                      <a:pt x="7" y="43"/>
                    </a:lnTo>
                    <a:lnTo>
                      <a:pt x="10" y="44"/>
                    </a:lnTo>
                    <a:lnTo>
                      <a:pt x="11" y="47"/>
                    </a:lnTo>
                    <a:lnTo>
                      <a:pt x="13" y="49"/>
                    </a:lnTo>
                    <a:lnTo>
                      <a:pt x="13" y="50"/>
                    </a:lnTo>
                    <a:lnTo>
                      <a:pt x="11" y="50"/>
                    </a:lnTo>
                    <a:lnTo>
                      <a:pt x="8" y="50"/>
                    </a:lnTo>
                    <a:lnTo>
                      <a:pt x="7" y="50"/>
                    </a:lnTo>
                    <a:lnTo>
                      <a:pt x="11" y="56"/>
                    </a:lnTo>
                    <a:lnTo>
                      <a:pt x="11" y="57"/>
                    </a:lnTo>
                    <a:lnTo>
                      <a:pt x="11" y="59"/>
                    </a:lnTo>
                    <a:lnTo>
                      <a:pt x="10" y="60"/>
                    </a:lnTo>
                    <a:lnTo>
                      <a:pt x="8" y="59"/>
                    </a:lnTo>
                    <a:lnTo>
                      <a:pt x="7" y="59"/>
                    </a:lnTo>
                    <a:lnTo>
                      <a:pt x="5" y="60"/>
                    </a:lnTo>
                    <a:lnTo>
                      <a:pt x="7" y="63"/>
                    </a:lnTo>
                    <a:lnTo>
                      <a:pt x="10" y="65"/>
                    </a:lnTo>
                    <a:lnTo>
                      <a:pt x="13" y="67"/>
                    </a:lnTo>
                    <a:lnTo>
                      <a:pt x="15" y="69"/>
                    </a:lnTo>
                    <a:lnTo>
                      <a:pt x="21" y="72"/>
                    </a:lnTo>
                    <a:lnTo>
                      <a:pt x="26" y="73"/>
                    </a:lnTo>
                    <a:lnTo>
                      <a:pt x="26" y="76"/>
                    </a:lnTo>
                    <a:lnTo>
                      <a:pt x="28" y="76"/>
                    </a:lnTo>
                    <a:lnTo>
                      <a:pt x="28" y="75"/>
                    </a:lnTo>
                    <a:lnTo>
                      <a:pt x="28" y="73"/>
                    </a:lnTo>
                    <a:lnTo>
                      <a:pt x="30" y="73"/>
                    </a:lnTo>
                    <a:lnTo>
                      <a:pt x="30" y="72"/>
                    </a:lnTo>
                    <a:lnTo>
                      <a:pt x="31" y="70"/>
                    </a:lnTo>
                    <a:lnTo>
                      <a:pt x="31" y="70"/>
                    </a:lnTo>
                    <a:lnTo>
                      <a:pt x="31" y="70"/>
                    </a:lnTo>
                    <a:lnTo>
                      <a:pt x="31" y="69"/>
                    </a:lnTo>
                    <a:lnTo>
                      <a:pt x="31" y="69"/>
                    </a:lnTo>
                    <a:lnTo>
                      <a:pt x="31" y="69"/>
                    </a:lnTo>
                    <a:lnTo>
                      <a:pt x="33" y="67"/>
                    </a:lnTo>
                    <a:lnTo>
                      <a:pt x="34" y="67"/>
                    </a:lnTo>
                    <a:lnTo>
                      <a:pt x="37" y="69"/>
                    </a:lnTo>
                    <a:lnTo>
                      <a:pt x="40" y="72"/>
                    </a:lnTo>
                    <a:lnTo>
                      <a:pt x="44" y="75"/>
                    </a:lnTo>
                    <a:lnTo>
                      <a:pt x="44" y="76"/>
                    </a:lnTo>
                    <a:lnTo>
                      <a:pt x="44" y="76"/>
                    </a:lnTo>
                    <a:lnTo>
                      <a:pt x="46" y="77"/>
                    </a:lnTo>
                    <a:lnTo>
                      <a:pt x="46" y="77"/>
                    </a:lnTo>
                    <a:lnTo>
                      <a:pt x="47" y="79"/>
                    </a:lnTo>
                    <a:lnTo>
                      <a:pt x="49" y="79"/>
                    </a:lnTo>
                    <a:lnTo>
                      <a:pt x="50" y="79"/>
                    </a:lnTo>
                    <a:lnTo>
                      <a:pt x="50" y="82"/>
                    </a:lnTo>
                    <a:lnTo>
                      <a:pt x="47" y="86"/>
                    </a:lnTo>
                    <a:lnTo>
                      <a:pt x="47" y="89"/>
                    </a:lnTo>
                    <a:lnTo>
                      <a:pt x="51" y="89"/>
                    </a:lnTo>
                    <a:lnTo>
                      <a:pt x="54" y="88"/>
                    </a:lnTo>
                    <a:lnTo>
                      <a:pt x="59" y="86"/>
                    </a:lnTo>
                    <a:lnTo>
                      <a:pt x="61" y="88"/>
                    </a:lnTo>
                    <a:lnTo>
                      <a:pt x="64" y="85"/>
                    </a:lnTo>
                    <a:lnTo>
                      <a:pt x="64" y="82"/>
                    </a:lnTo>
                    <a:lnTo>
                      <a:pt x="63" y="79"/>
                    </a:lnTo>
                    <a:lnTo>
                      <a:pt x="63" y="76"/>
                    </a:lnTo>
                    <a:lnTo>
                      <a:pt x="64" y="76"/>
                    </a:lnTo>
                    <a:lnTo>
                      <a:pt x="64" y="75"/>
                    </a:lnTo>
                    <a:lnTo>
                      <a:pt x="66" y="75"/>
                    </a:lnTo>
                    <a:lnTo>
                      <a:pt x="66" y="75"/>
                    </a:lnTo>
                    <a:lnTo>
                      <a:pt x="69" y="73"/>
                    </a:lnTo>
                    <a:lnTo>
                      <a:pt x="70" y="72"/>
                    </a:lnTo>
                    <a:lnTo>
                      <a:pt x="71" y="70"/>
                    </a:lnTo>
                    <a:lnTo>
                      <a:pt x="71" y="69"/>
                    </a:lnTo>
                    <a:lnTo>
                      <a:pt x="71" y="67"/>
                    </a:lnTo>
                    <a:lnTo>
                      <a:pt x="71" y="66"/>
                    </a:lnTo>
                    <a:lnTo>
                      <a:pt x="69" y="65"/>
                    </a:lnTo>
                    <a:lnTo>
                      <a:pt x="67" y="63"/>
                    </a:lnTo>
                    <a:lnTo>
                      <a:pt x="66" y="62"/>
                    </a:lnTo>
                    <a:lnTo>
                      <a:pt x="64" y="60"/>
                    </a:lnTo>
                    <a:lnTo>
                      <a:pt x="63" y="59"/>
                    </a:lnTo>
                    <a:lnTo>
                      <a:pt x="63" y="57"/>
                    </a:lnTo>
                    <a:lnTo>
                      <a:pt x="61" y="56"/>
                    </a:lnTo>
                    <a:lnTo>
                      <a:pt x="61" y="53"/>
                    </a:lnTo>
                    <a:lnTo>
                      <a:pt x="61" y="52"/>
                    </a:lnTo>
                    <a:lnTo>
                      <a:pt x="63" y="50"/>
                    </a:lnTo>
                    <a:lnTo>
                      <a:pt x="63" y="49"/>
                    </a:lnTo>
                    <a:lnTo>
                      <a:pt x="66" y="46"/>
                    </a:lnTo>
                    <a:lnTo>
                      <a:pt x="67" y="46"/>
                    </a:lnTo>
                    <a:lnTo>
                      <a:pt x="67" y="44"/>
                    </a:lnTo>
                    <a:lnTo>
                      <a:pt x="67" y="44"/>
                    </a:lnTo>
                    <a:lnTo>
                      <a:pt x="67" y="43"/>
                    </a:lnTo>
                    <a:lnTo>
                      <a:pt x="66" y="42"/>
                    </a:lnTo>
                    <a:lnTo>
                      <a:pt x="64" y="40"/>
                    </a:lnTo>
                    <a:lnTo>
                      <a:pt x="66" y="37"/>
                    </a:lnTo>
                    <a:lnTo>
                      <a:pt x="66" y="37"/>
                    </a:lnTo>
                    <a:lnTo>
                      <a:pt x="67" y="37"/>
                    </a:lnTo>
                    <a:lnTo>
                      <a:pt x="67" y="37"/>
                    </a:lnTo>
                    <a:lnTo>
                      <a:pt x="69" y="36"/>
                    </a:lnTo>
                    <a:lnTo>
                      <a:pt x="67" y="36"/>
                    </a:lnTo>
                    <a:lnTo>
                      <a:pt x="66" y="34"/>
                    </a:lnTo>
                    <a:lnTo>
                      <a:pt x="64" y="34"/>
                    </a:lnTo>
                    <a:lnTo>
                      <a:pt x="63" y="34"/>
                    </a:lnTo>
                    <a:lnTo>
                      <a:pt x="61" y="34"/>
                    </a:lnTo>
                    <a:lnTo>
                      <a:pt x="60" y="36"/>
                    </a:lnTo>
                    <a:lnTo>
                      <a:pt x="59" y="37"/>
                    </a:lnTo>
                    <a:lnTo>
                      <a:pt x="57" y="37"/>
                    </a:lnTo>
                    <a:lnTo>
                      <a:pt x="54" y="34"/>
                    </a:lnTo>
                    <a:lnTo>
                      <a:pt x="53" y="34"/>
                    </a:lnTo>
                    <a:lnTo>
                      <a:pt x="47" y="32"/>
                    </a:lnTo>
                    <a:lnTo>
                      <a:pt x="44" y="32"/>
                    </a:lnTo>
                    <a:lnTo>
                      <a:pt x="44" y="30"/>
                    </a:lnTo>
                    <a:lnTo>
                      <a:pt x="44" y="30"/>
                    </a:lnTo>
                    <a:lnTo>
                      <a:pt x="44" y="30"/>
                    </a:lnTo>
                    <a:lnTo>
                      <a:pt x="44" y="30"/>
                    </a:lnTo>
                    <a:lnTo>
                      <a:pt x="46" y="30"/>
                    </a:lnTo>
                    <a:lnTo>
                      <a:pt x="47" y="30"/>
                    </a:lnTo>
                    <a:lnTo>
                      <a:pt x="47" y="29"/>
                    </a:lnTo>
                    <a:lnTo>
                      <a:pt x="46" y="29"/>
                    </a:lnTo>
                    <a:lnTo>
                      <a:pt x="46" y="29"/>
                    </a:lnTo>
                    <a:lnTo>
                      <a:pt x="46" y="29"/>
                    </a:lnTo>
                    <a:lnTo>
                      <a:pt x="46" y="27"/>
                    </a:lnTo>
                    <a:lnTo>
                      <a:pt x="44" y="27"/>
                    </a:lnTo>
                    <a:lnTo>
                      <a:pt x="44" y="26"/>
                    </a:lnTo>
                    <a:lnTo>
                      <a:pt x="44" y="26"/>
                    </a:lnTo>
                    <a:lnTo>
                      <a:pt x="46" y="24"/>
                    </a:lnTo>
                    <a:lnTo>
                      <a:pt x="46" y="24"/>
                    </a:lnTo>
                    <a:lnTo>
                      <a:pt x="44" y="21"/>
                    </a:lnTo>
                    <a:lnTo>
                      <a:pt x="43" y="20"/>
                    </a:lnTo>
                    <a:lnTo>
                      <a:pt x="37" y="19"/>
                    </a:lnTo>
                    <a:lnTo>
                      <a:pt x="36" y="17"/>
                    </a:lnTo>
                    <a:lnTo>
                      <a:pt x="34" y="14"/>
                    </a:lnTo>
                    <a:lnTo>
                      <a:pt x="34" y="13"/>
                    </a:lnTo>
                    <a:lnTo>
                      <a:pt x="34" y="11"/>
                    </a:lnTo>
                    <a:lnTo>
                      <a:pt x="34" y="9"/>
                    </a:lnTo>
                    <a:lnTo>
                      <a:pt x="31" y="9"/>
                    </a:lnTo>
                    <a:lnTo>
                      <a:pt x="28" y="6"/>
                    </a:lnTo>
                    <a:lnTo>
                      <a:pt x="24" y="1"/>
                    </a:lnTo>
                    <a:lnTo>
                      <a:pt x="23" y="0"/>
                    </a:lnTo>
                    <a:lnTo>
                      <a:pt x="21"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62" name="Freeform 68">
                <a:extLst>
                  <a:ext uri="{FF2B5EF4-FFF2-40B4-BE49-F238E27FC236}">
                    <a16:creationId xmlns:a16="http://schemas.microsoft.com/office/drawing/2014/main" id="{0556B00D-0562-3D0E-4D4F-747290BF5376}"/>
                  </a:ext>
                </a:extLst>
              </p:cNvPr>
              <p:cNvSpPr>
                <a:spLocks/>
              </p:cNvSpPr>
              <p:nvPr/>
            </p:nvSpPr>
            <p:spPr bwMode="auto">
              <a:xfrm>
                <a:off x="3795" y="1614"/>
                <a:ext cx="176" cy="145"/>
              </a:xfrm>
              <a:custGeom>
                <a:avLst/>
                <a:gdLst>
                  <a:gd name="T0" fmla="*/ 0 w 176"/>
                  <a:gd name="T1" fmla="*/ 46 h 145"/>
                  <a:gd name="T2" fmla="*/ 9 w 176"/>
                  <a:gd name="T3" fmla="*/ 56 h 145"/>
                  <a:gd name="T4" fmla="*/ 10 w 176"/>
                  <a:gd name="T5" fmla="*/ 62 h 145"/>
                  <a:gd name="T6" fmla="*/ 10 w 176"/>
                  <a:gd name="T7" fmla="*/ 73 h 145"/>
                  <a:gd name="T8" fmla="*/ 12 w 176"/>
                  <a:gd name="T9" fmla="*/ 79 h 145"/>
                  <a:gd name="T10" fmla="*/ 16 w 176"/>
                  <a:gd name="T11" fmla="*/ 86 h 145"/>
                  <a:gd name="T12" fmla="*/ 15 w 176"/>
                  <a:gd name="T13" fmla="*/ 96 h 145"/>
                  <a:gd name="T14" fmla="*/ 21 w 176"/>
                  <a:gd name="T15" fmla="*/ 96 h 145"/>
                  <a:gd name="T16" fmla="*/ 28 w 176"/>
                  <a:gd name="T17" fmla="*/ 100 h 145"/>
                  <a:gd name="T18" fmla="*/ 33 w 176"/>
                  <a:gd name="T19" fmla="*/ 105 h 145"/>
                  <a:gd name="T20" fmla="*/ 41 w 176"/>
                  <a:gd name="T21" fmla="*/ 106 h 145"/>
                  <a:gd name="T22" fmla="*/ 38 w 176"/>
                  <a:gd name="T23" fmla="*/ 110 h 145"/>
                  <a:gd name="T24" fmla="*/ 48 w 176"/>
                  <a:gd name="T25" fmla="*/ 116 h 145"/>
                  <a:gd name="T26" fmla="*/ 51 w 176"/>
                  <a:gd name="T27" fmla="*/ 113 h 145"/>
                  <a:gd name="T28" fmla="*/ 49 w 176"/>
                  <a:gd name="T29" fmla="*/ 109 h 145"/>
                  <a:gd name="T30" fmla="*/ 61 w 176"/>
                  <a:gd name="T31" fmla="*/ 113 h 145"/>
                  <a:gd name="T32" fmla="*/ 64 w 176"/>
                  <a:gd name="T33" fmla="*/ 113 h 145"/>
                  <a:gd name="T34" fmla="*/ 62 w 176"/>
                  <a:gd name="T35" fmla="*/ 116 h 145"/>
                  <a:gd name="T36" fmla="*/ 68 w 176"/>
                  <a:gd name="T37" fmla="*/ 120 h 145"/>
                  <a:gd name="T38" fmla="*/ 71 w 176"/>
                  <a:gd name="T39" fmla="*/ 120 h 145"/>
                  <a:gd name="T40" fmla="*/ 78 w 176"/>
                  <a:gd name="T41" fmla="*/ 123 h 145"/>
                  <a:gd name="T42" fmla="*/ 84 w 176"/>
                  <a:gd name="T43" fmla="*/ 132 h 145"/>
                  <a:gd name="T44" fmla="*/ 87 w 176"/>
                  <a:gd name="T45" fmla="*/ 135 h 145"/>
                  <a:gd name="T46" fmla="*/ 89 w 176"/>
                  <a:gd name="T47" fmla="*/ 133 h 145"/>
                  <a:gd name="T48" fmla="*/ 95 w 176"/>
                  <a:gd name="T49" fmla="*/ 133 h 145"/>
                  <a:gd name="T50" fmla="*/ 99 w 176"/>
                  <a:gd name="T51" fmla="*/ 136 h 145"/>
                  <a:gd name="T52" fmla="*/ 101 w 176"/>
                  <a:gd name="T53" fmla="*/ 141 h 145"/>
                  <a:gd name="T54" fmla="*/ 102 w 176"/>
                  <a:gd name="T55" fmla="*/ 141 h 145"/>
                  <a:gd name="T56" fmla="*/ 108 w 176"/>
                  <a:gd name="T57" fmla="*/ 138 h 145"/>
                  <a:gd name="T58" fmla="*/ 118 w 176"/>
                  <a:gd name="T59" fmla="*/ 138 h 145"/>
                  <a:gd name="T60" fmla="*/ 122 w 176"/>
                  <a:gd name="T61" fmla="*/ 136 h 145"/>
                  <a:gd name="T62" fmla="*/ 143 w 176"/>
                  <a:gd name="T63" fmla="*/ 142 h 145"/>
                  <a:gd name="T64" fmla="*/ 154 w 176"/>
                  <a:gd name="T65" fmla="*/ 145 h 145"/>
                  <a:gd name="T66" fmla="*/ 151 w 176"/>
                  <a:gd name="T67" fmla="*/ 135 h 145"/>
                  <a:gd name="T68" fmla="*/ 166 w 176"/>
                  <a:gd name="T69" fmla="*/ 115 h 145"/>
                  <a:gd name="T70" fmla="*/ 174 w 176"/>
                  <a:gd name="T71" fmla="*/ 109 h 145"/>
                  <a:gd name="T72" fmla="*/ 176 w 176"/>
                  <a:gd name="T73" fmla="*/ 102 h 145"/>
                  <a:gd name="T74" fmla="*/ 176 w 176"/>
                  <a:gd name="T75" fmla="*/ 99 h 145"/>
                  <a:gd name="T76" fmla="*/ 176 w 176"/>
                  <a:gd name="T77" fmla="*/ 96 h 145"/>
                  <a:gd name="T78" fmla="*/ 170 w 176"/>
                  <a:gd name="T79" fmla="*/ 87 h 145"/>
                  <a:gd name="T80" fmla="*/ 168 w 176"/>
                  <a:gd name="T81" fmla="*/ 82 h 145"/>
                  <a:gd name="T82" fmla="*/ 167 w 176"/>
                  <a:gd name="T83" fmla="*/ 66 h 145"/>
                  <a:gd name="T84" fmla="*/ 160 w 176"/>
                  <a:gd name="T85" fmla="*/ 60 h 145"/>
                  <a:gd name="T86" fmla="*/ 166 w 176"/>
                  <a:gd name="T87" fmla="*/ 54 h 145"/>
                  <a:gd name="T88" fmla="*/ 173 w 176"/>
                  <a:gd name="T89" fmla="*/ 46 h 145"/>
                  <a:gd name="T90" fmla="*/ 166 w 176"/>
                  <a:gd name="T91" fmla="*/ 17 h 145"/>
                  <a:gd name="T92" fmla="*/ 155 w 176"/>
                  <a:gd name="T93" fmla="*/ 10 h 145"/>
                  <a:gd name="T94" fmla="*/ 147 w 176"/>
                  <a:gd name="T95" fmla="*/ 11 h 145"/>
                  <a:gd name="T96" fmla="*/ 124 w 176"/>
                  <a:gd name="T97" fmla="*/ 10 h 145"/>
                  <a:gd name="T98" fmla="*/ 95 w 176"/>
                  <a:gd name="T99" fmla="*/ 8 h 145"/>
                  <a:gd name="T100" fmla="*/ 79 w 176"/>
                  <a:gd name="T101" fmla="*/ 8 h 145"/>
                  <a:gd name="T102" fmla="*/ 81 w 176"/>
                  <a:gd name="T103" fmla="*/ 4 h 145"/>
                  <a:gd name="T104" fmla="*/ 68 w 176"/>
                  <a:gd name="T105" fmla="*/ 0 h 145"/>
                  <a:gd name="T106" fmla="*/ 41 w 176"/>
                  <a:gd name="T107" fmla="*/ 8 h 145"/>
                  <a:gd name="T108" fmla="*/ 22 w 176"/>
                  <a:gd name="T109" fmla="*/ 16 h 145"/>
                  <a:gd name="T110" fmla="*/ 2 w 176"/>
                  <a:gd name="T111" fmla="*/ 21 h 145"/>
                  <a:gd name="T112" fmla="*/ 6 w 176"/>
                  <a:gd name="T113" fmla="*/ 23 h 145"/>
                  <a:gd name="T114" fmla="*/ 9 w 176"/>
                  <a:gd name="T115" fmla="*/ 27 h 145"/>
                  <a:gd name="T116" fmla="*/ 6 w 176"/>
                  <a:gd name="T117" fmla="*/ 3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6" h="145">
                    <a:moveTo>
                      <a:pt x="6" y="37"/>
                    </a:moveTo>
                    <a:lnTo>
                      <a:pt x="5" y="40"/>
                    </a:lnTo>
                    <a:lnTo>
                      <a:pt x="2" y="44"/>
                    </a:lnTo>
                    <a:lnTo>
                      <a:pt x="0" y="46"/>
                    </a:lnTo>
                    <a:lnTo>
                      <a:pt x="2" y="49"/>
                    </a:lnTo>
                    <a:lnTo>
                      <a:pt x="8" y="51"/>
                    </a:lnTo>
                    <a:lnTo>
                      <a:pt x="9" y="54"/>
                    </a:lnTo>
                    <a:lnTo>
                      <a:pt x="9" y="56"/>
                    </a:lnTo>
                    <a:lnTo>
                      <a:pt x="9" y="59"/>
                    </a:lnTo>
                    <a:lnTo>
                      <a:pt x="9" y="59"/>
                    </a:lnTo>
                    <a:lnTo>
                      <a:pt x="9" y="60"/>
                    </a:lnTo>
                    <a:lnTo>
                      <a:pt x="10" y="62"/>
                    </a:lnTo>
                    <a:lnTo>
                      <a:pt x="10" y="63"/>
                    </a:lnTo>
                    <a:lnTo>
                      <a:pt x="12" y="64"/>
                    </a:lnTo>
                    <a:lnTo>
                      <a:pt x="12" y="66"/>
                    </a:lnTo>
                    <a:lnTo>
                      <a:pt x="10" y="73"/>
                    </a:lnTo>
                    <a:lnTo>
                      <a:pt x="10" y="73"/>
                    </a:lnTo>
                    <a:lnTo>
                      <a:pt x="10" y="74"/>
                    </a:lnTo>
                    <a:lnTo>
                      <a:pt x="12" y="79"/>
                    </a:lnTo>
                    <a:lnTo>
                      <a:pt x="12" y="79"/>
                    </a:lnTo>
                    <a:lnTo>
                      <a:pt x="13" y="82"/>
                    </a:lnTo>
                    <a:lnTo>
                      <a:pt x="15" y="82"/>
                    </a:lnTo>
                    <a:lnTo>
                      <a:pt x="16" y="83"/>
                    </a:lnTo>
                    <a:lnTo>
                      <a:pt x="16" y="86"/>
                    </a:lnTo>
                    <a:lnTo>
                      <a:pt x="16" y="89"/>
                    </a:lnTo>
                    <a:lnTo>
                      <a:pt x="15" y="92"/>
                    </a:lnTo>
                    <a:lnTo>
                      <a:pt x="13" y="97"/>
                    </a:lnTo>
                    <a:lnTo>
                      <a:pt x="15" y="96"/>
                    </a:lnTo>
                    <a:lnTo>
                      <a:pt x="16" y="95"/>
                    </a:lnTo>
                    <a:lnTo>
                      <a:pt x="18" y="93"/>
                    </a:lnTo>
                    <a:lnTo>
                      <a:pt x="21" y="95"/>
                    </a:lnTo>
                    <a:lnTo>
                      <a:pt x="21" y="96"/>
                    </a:lnTo>
                    <a:lnTo>
                      <a:pt x="22" y="97"/>
                    </a:lnTo>
                    <a:lnTo>
                      <a:pt x="23" y="99"/>
                    </a:lnTo>
                    <a:lnTo>
                      <a:pt x="23" y="99"/>
                    </a:lnTo>
                    <a:lnTo>
                      <a:pt x="28" y="100"/>
                    </a:lnTo>
                    <a:lnTo>
                      <a:pt x="32" y="102"/>
                    </a:lnTo>
                    <a:lnTo>
                      <a:pt x="32" y="103"/>
                    </a:lnTo>
                    <a:lnTo>
                      <a:pt x="33" y="103"/>
                    </a:lnTo>
                    <a:lnTo>
                      <a:pt x="33" y="105"/>
                    </a:lnTo>
                    <a:lnTo>
                      <a:pt x="36" y="103"/>
                    </a:lnTo>
                    <a:lnTo>
                      <a:pt x="38" y="103"/>
                    </a:lnTo>
                    <a:lnTo>
                      <a:pt x="41" y="103"/>
                    </a:lnTo>
                    <a:lnTo>
                      <a:pt x="41" y="106"/>
                    </a:lnTo>
                    <a:lnTo>
                      <a:pt x="41" y="108"/>
                    </a:lnTo>
                    <a:lnTo>
                      <a:pt x="39" y="108"/>
                    </a:lnTo>
                    <a:lnTo>
                      <a:pt x="38" y="109"/>
                    </a:lnTo>
                    <a:lnTo>
                      <a:pt x="38" y="110"/>
                    </a:lnTo>
                    <a:lnTo>
                      <a:pt x="43" y="116"/>
                    </a:lnTo>
                    <a:lnTo>
                      <a:pt x="45" y="118"/>
                    </a:lnTo>
                    <a:lnTo>
                      <a:pt x="46" y="118"/>
                    </a:lnTo>
                    <a:lnTo>
                      <a:pt x="48" y="116"/>
                    </a:lnTo>
                    <a:lnTo>
                      <a:pt x="49" y="115"/>
                    </a:lnTo>
                    <a:lnTo>
                      <a:pt x="51" y="113"/>
                    </a:lnTo>
                    <a:lnTo>
                      <a:pt x="51" y="113"/>
                    </a:lnTo>
                    <a:lnTo>
                      <a:pt x="51" y="113"/>
                    </a:lnTo>
                    <a:lnTo>
                      <a:pt x="51" y="112"/>
                    </a:lnTo>
                    <a:lnTo>
                      <a:pt x="51" y="110"/>
                    </a:lnTo>
                    <a:lnTo>
                      <a:pt x="49" y="110"/>
                    </a:lnTo>
                    <a:lnTo>
                      <a:pt x="49" y="109"/>
                    </a:lnTo>
                    <a:lnTo>
                      <a:pt x="51" y="109"/>
                    </a:lnTo>
                    <a:lnTo>
                      <a:pt x="54" y="110"/>
                    </a:lnTo>
                    <a:lnTo>
                      <a:pt x="58" y="113"/>
                    </a:lnTo>
                    <a:lnTo>
                      <a:pt x="61" y="113"/>
                    </a:lnTo>
                    <a:lnTo>
                      <a:pt x="62" y="113"/>
                    </a:lnTo>
                    <a:lnTo>
                      <a:pt x="64" y="113"/>
                    </a:lnTo>
                    <a:lnTo>
                      <a:pt x="64" y="112"/>
                    </a:lnTo>
                    <a:lnTo>
                      <a:pt x="64" y="113"/>
                    </a:lnTo>
                    <a:lnTo>
                      <a:pt x="64" y="115"/>
                    </a:lnTo>
                    <a:lnTo>
                      <a:pt x="64" y="115"/>
                    </a:lnTo>
                    <a:lnTo>
                      <a:pt x="62" y="116"/>
                    </a:lnTo>
                    <a:lnTo>
                      <a:pt x="62" y="116"/>
                    </a:lnTo>
                    <a:lnTo>
                      <a:pt x="64" y="119"/>
                    </a:lnTo>
                    <a:lnTo>
                      <a:pt x="65" y="120"/>
                    </a:lnTo>
                    <a:lnTo>
                      <a:pt x="66" y="120"/>
                    </a:lnTo>
                    <a:lnTo>
                      <a:pt x="68" y="120"/>
                    </a:lnTo>
                    <a:lnTo>
                      <a:pt x="68" y="120"/>
                    </a:lnTo>
                    <a:lnTo>
                      <a:pt x="69" y="119"/>
                    </a:lnTo>
                    <a:lnTo>
                      <a:pt x="69" y="119"/>
                    </a:lnTo>
                    <a:lnTo>
                      <a:pt x="71" y="120"/>
                    </a:lnTo>
                    <a:lnTo>
                      <a:pt x="72" y="120"/>
                    </a:lnTo>
                    <a:lnTo>
                      <a:pt x="74" y="122"/>
                    </a:lnTo>
                    <a:lnTo>
                      <a:pt x="77" y="123"/>
                    </a:lnTo>
                    <a:lnTo>
                      <a:pt x="78" y="123"/>
                    </a:lnTo>
                    <a:lnTo>
                      <a:pt x="79" y="125"/>
                    </a:lnTo>
                    <a:lnTo>
                      <a:pt x="81" y="129"/>
                    </a:lnTo>
                    <a:lnTo>
                      <a:pt x="82" y="131"/>
                    </a:lnTo>
                    <a:lnTo>
                      <a:pt x="84" y="132"/>
                    </a:lnTo>
                    <a:lnTo>
                      <a:pt x="84" y="133"/>
                    </a:lnTo>
                    <a:lnTo>
                      <a:pt x="85" y="133"/>
                    </a:lnTo>
                    <a:lnTo>
                      <a:pt x="85" y="135"/>
                    </a:lnTo>
                    <a:lnTo>
                      <a:pt x="87" y="135"/>
                    </a:lnTo>
                    <a:lnTo>
                      <a:pt x="87" y="136"/>
                    </a:lnTo>
                    <a:lnTo>
                      <a:pt x="88" y="136"/>
                    </a:lnTo>
                    <a:lnTo>
                      <a:pt x="89" y="135"/>
                    </a:lnTo>
                    <a:lnTo>
                      <a:pt x="89" y="133"/>
                    </a:lnTo>
                    <a:lnTo>
                      <a:pt x="91" y="133"/>
                    </a:lnTo>
                    <a:lnTo>
                      <a:pt x="94" y="132"/>
                    </a:lnTo>
                    <a:lnTo>
                      <a:pt x="95" y="132"/>
                    </a:lnTo>
                    <a:lnTo>
                      <a:pt x="95" y="133"/>
                    </a:lnTo>
                    <a:lnTo>
                      <a:pt x="97" y="135"/>
                    </a:lnTo>
                    <a:lnTo>
                      <a:pt x="98" y="135"/>
                    </a:lnTo>
                    <a:lnTo>
                      <a:pt x="99" y="136"/>
                    </a:lnTo>
                    <a:lnTo>
                      <a:pt x="99" y="136"/>
                    </a:lnTo>
                    <a:lnTo>
                      <a:pt x="99" y="138"/>
                    </a:lnTo>
                    <a:lnTo>
                      <a:pt x="101" y="139"/>
                    </a:lnTo>
                    <a:lnTo>
                      <a:pt x="101" y="139"/>
                    </a:lnTo>
                    <a:lnTo>
                      <a:pt x="101" y="141"/>
                    </a:lnTo>
                    <a:lnTo>
                      <a:pt x="101" y="141"/>
                    </a:lnTo>
                    <a:lnTo>
                      <a:pt x="101" y="141"/>
                    </a:lnTo>
                    <a:lnTo>
                      <a:pt x="101" y="141"/>
                    </a:lnTo>
                    <a:lnTo>
                      <a:pt x="102" y="141"/>
                    </a:lnTo>
                    <a:lnTo>
                      <a:pt x="104" y="141"/>
                    </a:lnTo>
                    <a:lnTo>
                      <a:pt x="105" y="141"/>
                    </a:lnTo>
                    <a:lnTo>
                      <a:pt x="107" y="139"/>
                    </a:lnTo>
                    <a:lnTo>
                      <a:pt x="108" y="138"/>
                    </a:lnTo>
                    <a:lnTo>
                      <a:pt x="111" y="136"/>
                    </a:lnTo>
                    <a:lnTo>
                      <a:pt x="112" y="136"/>
                    </a:lnTo>
                    <a:lnTo>
                      <a:pt x="115" y="136"/>
                    </a:lnTo>
                    <a:lnTo>
                      <a:pt x="118" y="138"/>
                    </a:lnTo>
                    <a:lnTo>
                      <a:pt x="118" y="138"/>
                    </a:lnTo>
                    <a:lnTo>
                      <a:pt x="121" y="138"/>
                    </a:lnTo>
                    <a:lnTo>
                      <a:pt x="121" y="136"/>
                    </a:lnTo>
                    <a:lnTo>
                      <a:pt x="122" y="136"/>
                    </a:lnTo>
                    <a:lnTo>
                      <a:pt x="122" y="135"/>
                    </a:lnTo>
                    <a:lnTo>
                      <a:pt x="130" y="135"/>
                    </a:lnTo>
                    <a:lnTo>
                      <a:pt x="137" y="138"/>
                    </a:lnTo>
                    <a:lnTo>
                      <a:pt x="143" y="142"/>
                    </a:lnTo>
                    <a:lnTo>
                      <a:pt x="148" y="143"/>
                    </a:lnTo>
                    <a:lnTo>
                      <a:pt x="153" y="145"/>
                    </a:lnTo>
                    <a:lnTo>
                      <a:pt x="154" y="145"/>
                    </a:lnTo>
                    <a:lnTo>
                      <a:pt x="154" y="145"/>
                    </a:lnTo>
                    <a:lnTo>
                      <a:pt x="154" y="143"/>
                    </a:lnTo>
                    <a:lnTo>
                      <a:pt x="153" y="143"/>
                    </a:lnTo>
                    <a:lnTo>
                      <a:pt x="153" y="142"/>
                    </a:lnTo>
                    <a:lnTo>
                      <a:pt x="151" y="135"/>
                    </a:lnTo>
                    <a:lnTo>
                      <a:pt x="151" y="132"/>
                    </a:lnTo>
                    <a:lnTo>
                      <a:pt x="151" y="129"/>
                    </a:lnTo>
                    <a:lnTo>
                      <a:pt x="154" y="126"/>
                    </a:lnTo>
                    <a:lnTo>
                      <a:pt x="166" y="115"/>
                    </a:lnTo>
                    <a:lnTo>
                      <a:pt x="168" y="112"/>
                    </a:lnTo>
                    <a:lnTo>
                      <a:pt x="170" y="110"/>
                    </a:lnTo>
                    <a:lnTo>
                      <a:pt x="173" y="110"/>
                    </a:lnTo>
                    <a:lnTo>
                      <a:pt x="174" y="109"/>
                    </a:lnTo>
                    <a:lnTo>
                      <a:pt x="176" y="106"/>
                    </a:lnTo>
                    <a:lnTo>
                      <a:pt x="176" y="105"/>
                    </a:lnTo>
                    <a:lnTo>
                      <a:pt x="176" y="103"/>
                    </a:lnTo>
                    <a:lnTo>
                      <a:pt x="176" y="102"/>
                    </a:lnTo>
                    <a:lnTo>
                      <a:pt x="176" y="100"/>
                    </a:lnTo>
                    <a:lnTo>
                      <a:pt x="176" y="99"/>
                    </a:lnTo>
                    <a:lnTo>
                      <a:pt x="176" y="99"/>
                    </a:lnTo>
                    <a:lnTo>
                      <a:pt x="176" y="99"/>
                    </a:lnTo>
                    <a:lnTo>
                      <a:pt x="176" y="97"/>
                    </a:lnTo>
                    <a:lnTo>
                      <a:pt x="176" y="97"/>
                    </a:lnTo>
                    <a:lnTo>
                      <a:pt x="176" y="97"/>
                    </a:lnTo>
                    <a:lnTo>
                      <a:pt x="176" y="96"/>
                    </a:lnTo>
                    <a:lnTo>
                      <a:pt x="174" y="96"/>
                    </a:lnTo>
                    <a:lnTo>
                      <a:pt x="173" y="90"/>
                    </a:lnTo>
                    <a:lnTo>
                      <a:pt x="171" y="89"/>
                    </a:lnTo>
                    <a:lnTo>
                      <a:pt x="170" y="87"/>
                    </a:lnTo>
                    <a:lnTo>
                      <a:pt x="168" y="86"/>
                    </a:lnTo>
                    <a:lnTo>
                      <a:pt x="168" y="85"/>
                    </a:lnTo>
                    <a:lnTo>
                      <a:pt x="168" y="83"/>
                    </a:lnTo>
                    <a:lnTo>
                      <a:pt x="168" y="82"/>
                    </a:lnTo>
                    <a:lnTo>
                      <a:pt x="167" y="80"/>
                    </a:lnTo>
                    <a:lnTo>
                      <a:pt x="167" y="76"/>
                    </a:lnTo>
                    <a:lnTo>
                      <a:pt x="168" y="69"/>
                    </a:lnTo>
                    <a:lnTo>
                      <a:pt x="167" y="66"/>
                    </a:lnTo>
                    <a:lnTo>
                      <a:pt x="166" y="64"/>
                    </a:lnTo>
                    <a:lnTo>
                      <a:pt x="161" y="63"/>
                    </a:lnTo>
                    <a:lnTo>
                      <a:pt x="160" y="62"/>
                    </a:lnTo>
                    <a:lnTo>
                      <a:pt x="160" y="60"/>
                    </a:lnTo>
                    <a:lnTo>
                      <a:pt x="161" y="57"/>
                    </a:lnTo>
                    <a:lnTo>
                      <a:pt x="163" y="56"/>
                    </a:lnTo>
                    <a:lnTo>
                      <a:pt x="164" y="54"/>
                    </a:lnTo>
                    <a:lnTo>
                      <a:pt x="166" y="54"/>
                    </a:lnTo>
                    <a:lnTo>
                      <a:pt x="171" y="51"/>
                    </a:lnTo>
                    <a:lnTo>
                      <a:pt x="173" y="50"/>
                    </a:lnTo>
                    <a:lnTo>
                      <a:pt x="173" y="49"/>
                    </a:lnTo>
                    <a:lnTo>
                      <a:pt x="173" y="46"/>
                    </a:lnTo>
                    <a:lnTo>
                      <a:pt x="173" y="44"/>
                    </a:lnTo>
                    <a:lnTo>
                      <a:pt x="173" y="41"/>
                    </a:lnTo>
                    <a:lnTo>
                      <a:pt x="166" y="20"/>
                    </a:lnTo>
                    <a:lnTo>
                      <a:pt x="166" y="17"/>
                    </a:lnTo>
                    <a:lnTo>
                      <a:pt x="164" y="16"/>
                    </a:lnTo>
                    <a:lnTo>
                      <a:pt x="161" y="14"/>
                    </a:lnTo>
                    <a:lnTo>
                      <a:pt x="158" y="13"/>
                    </a:lnTo>
                    <a:lnTo>
                      <a:pt x="155" y="10"/>
                    </a:lnTo>
                    <a:lnTo>
                      <a:pt x="154" y="10"/>
                    </a:lnTo>
                    <a:lnTo>
                      <a:pt x="153" y="11"/>
                    </a:lnTo>
                    <a:lnTo>
                      <a:pt x="153" y="11"/>
                    </a:lnTo>
                    <a:lnTo>
                      <a:pt x="147" y="11"/>
                    </a:lnTo>
                    <a:lnTo>
                      <a:pt x="145" y="11"/>
                    </a:lnTo>
                    <a:lnTo>
                      <a:pt x="138" y="10"/>
                    </a:lnTo>
                    <a:lnTo>
                      <a:pt x="131" y="10"/>
                    </a:lnTo>
                    <a:lnTo>
                      <a:pt x="124" y="10"/>
                    </a:lnTo>
                    <a:lnTo>
                      <a:pt x="120" y="10"/>
                    </a:lnTo>
                    <a:lnTo>
                      <a:pt x="101" y="8"/>
                    </a:lnTo>
                    <a:lnTo>
                      <a:pt x="98" y="8"/>
                    </a:lnTo>
                    <a:lnTo>
                      <a:pt x="95" y="8"/>
                    </a:lnTo>
                    <a:lnTo>
                      <a:pt x="89" y="11"/>
                    </a:lnTo>
                    <a:lnTo>
                      <a:pt x="87" y="11"/>
                    </a:lnTo>
                    <a:lnTo>
                      <a:pt x="82" y="10"/>
                    </a:lnTo>
                    <a:lnTo>
                      <a:pt x="79" y="8"/>
                    </a:lnTo>
                    <a:lnTo>
                      <a:pt x="78" y="5"/>
                    </a:lnTo>
                    <a:lnTo>
                      <a:pt x="77" y="1"/>
                    </a:lnTo>
                    <a:lnTo>
                      <a:pt x="78" y="3"/>
                    </a:lnTo>
                    <a:lnTo>
                      <a:pt x="81" y="4"/>
                    </a:lnTo>
                    <a:lnTo>
                      <a:pt x="84" y="4"/>
                    </a:lnTo>
                    <a:lnTo>
                      <a:pt x="79" y="1"/>
                    </a:lnTo>
                    <a:lnTo>
                      <a:pt x="74" y="0"/>
                    </a:lnTo>
                    <a:lnTo>
                      <a:pt x="68" y="0"/>
                    </a:lnTo>
                    <a:lnTo>
                      <a:pt x="59" y="1"/>
                    </a:lnTo>
                    <a:lnTo>
                      <a:pt x="46" y="5"/>
                    </a:lnTo>
                    <a:lnTo>
                      <a:pt x="43" y="7"/>
                    </a:lnTo>
                    <a:lnTo>
                      <a:pt x="41" y="8"/>
                    </a:lnTo>
                    <a:lnTo>
                      <a:pt x="38" y="11"/>
                    </a:lnTo>
                    <a:lnTo>
                      <a:pt x="36" y="11"/>
                    </a:lnTo>
                    <a:lnTo>
                      <a:pt x="35" y="13"/>
                    </a:lnTo>
                    <a:lnTo>
                      <a:pt x="22" y="16"/>
                    </a:lnTo>
                    <a:lnTo>
                      <a:pt x="12" y="18"/>
                    </a:lnTo>
                    <a:lnTo>
                      <a:pt x="6" y="20"/>
                    </a:lnTo>
                    <a:lnTo>
                      <a:pt x="2" y="20"/>
                    </a:lnTo>
                    <a:lnTo>
                      <a:pt x="2" y="21"/>
                    </a:lnTo>
                    <a:lnTo>
                      <a:pt x="2" y="21"/>
                    </a:lnTo>
                    <a:lnTo>
                      <a:pt x="2" y="21"/>
                    </a:lnTo>
                    <a:lnTo>
                      <a:pt x="2" y="23"/>
                    </a:lnTo>
                    <a:lnTo>
                      <a:pt x="6" y="23"/>
                    </a:lnTo>
                    <a:lnTo>
                      <a:pt x="8" y="23"/>
                    </a:lnTo>
                    <a:lnTo>
                      <a:pt x="9" y="24"/>
                    </a:lnTo>
                    <a:lnTo>
                      <a:pt x="9" y="24"/>
                    </a:lnTo>
                    <a:lnTo>
                      <a:pt x="9" y="27"/>
                    </a:lnTo>
                    <a:lnTo>
                      <a:pt x="9" y="27"/>
                    </a:lnTo>
                    <a:lnTo>
                      <a:pt x="3" y="26"/>
                    </a:lnTo>
                    <a:lnTo>
                      <a:pt x="6" y="34"/>
                    </a:lnTo>
                    <a:lnTo>
                      <a:pt x="6" y="3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63" name="Freeform 69">
                <a:extLst>
                  <a:ext uri="{FF2B5EF4-FFF2-40B4-BE49-F238E27FC236}">
                    <a16:creationId xmlns:a16="http://schemas.microsoft.com/office/drawing/2014/main" id="{A83781B8-6A35-D94A-56CA-46318828C0B9}"/>
                  </a:ext>
                </a:extLst>
              </p:cNvPr>
              <p:cNvSpPr>
                <a:spLocks/>
              </p:cNvSpPr>
              <p:nvPr/>
            </p:nvSpPr>
            <p:spPr bwMode="auto">
              <a:xfrm>
                <a:off x="3782" y="1812"/>
                <a:ext cx="56" cy="33"/>
              </a:xfrm>
              <a:custGeom>
                <a:avLst/>
                <a:gdLst>
                  <a:gd name="T0" fmla="*/ 9 w 56"/>
                  <a:gd name="T1" fmla="*/ 33 h 33"/>
                  <a:gd name="T2" fmla="*/ 11 w 56"/>
                  <a:gd name="T3" fmla="*/ 32 h 33"/>
                  <a:gd name="T4" fmla="*/ 11 w 56"/>
                  <a:gd name="T5" fmla="*/ 32 h 33"/>
                  <a:gd name="T6" fmla="*/ 12 w 56"/>
                  <a:gd name="T7" fmla="*/ 32 h 33"/>
                  <a:gd name="T8" fmla="*/ 13 w 56"/>
                  <a:gd name="T9" fmla="*/ 32 h 33"/>
                  <a:gd name="T10" fmla="*/ 19 w 56"/>
                  <a:gd name="T11" fmla="*/ 30 h 33"/>
                  <a:gd name="T12" fmla="*/ 21 w 56"/>
                  <a:gd name="T13" fmla="*/ 29 h 33"/>
                  <a:gd name="T14" fmla="*/ 22 w 56"/>
                  <a:gd name="T15" fmla="*/ 27 h 33"/>
                  <a:gd name="T16" fmla="*/ 23 w 56"/>
                  <a:gd name="T17" fmla="*/ 30 h 33"/>
                  <a:gd name="T18" fmla="*/ 26 w 56"/>
                  <a:gd name="T19" fmla="*/ 32 h 33"/>
                  <a:gd name="T20" fmla="*/ 28 w 56"/>
                  <a:gd name="T21" fmla="*/ 32 h 33"/>
                  <a:gd name="T22" fmla="*/ 29 w 56"/>
                  <a:gd name="T23" fmla="*/ 32 h 33"/>
                  <a:gd name="T24" fmla="*/ 34 w 56"/>
                  <a:gd name="T25" fmla="*/ 33 h 33"/>
                  <a:gd name="T26" fmla="*/ 35 w 56"/>
                  <a:gd name="T27" fmla="*/ 32 h 33"/>
                  <a:gd name="T28" fmla="*/ 35 w 56"/>
                  <a:gd name="T29" fmla="*/ 30 h 33"/>
                  <a:gd name="T30" fmla="*/ 35 w 56"/>
                  <a:gd name="T31" fmla="*/ 29 h 33"/>
                  <a:gd name="T32" fmla="*/ 35 w 56"/>
                  <a:gd name="T33" fmla="*/ 27 h 33"/>
                  <a:gd name="T34" fmla="*/ 35 w 56"/>
                  <a:gd name="T35" fmla="*/ 27 h 33"/>
                  <a:gd name="T36" fmla="*/ 34 w 56"/>
                  <a:gd name="T37" fmla="*/ 26 h 33"/>
                  <a:gd name="T38" fmla="*/ 39 w 56"/>
                  <a:gd name="T39" fmla="*/ 25 h 33"/>
                  <a:gd name="T40" fmla="*/ 41 w 56"/>
                  <a:gd name="T41" fmla="*/ 22 h 33"/>
                  <a:gd name="T42" fmla="*/ 41 w 56"/>
                  <a:gd name="T43" fmla="*/ 17 h 33"/>
                  <a:gd name="T44" fmla="*/ 42 w 56"/>
                  <a:gd name="T45" fmla="*/ 14 h 33"/>
                  <a:gd name="T46" fmla="*/ 49 w 56"/>
                  <a:gd name="T47" fmla="*/ 10 h 33"/>
                  <a:gd name="T48" fmla="*/ 51 w 56"/>
                  <a:gd name="T49" fmla="*/ 10 h 33"/>
                  <a:gd name="T50" fmla="*/ 51 w 56"/>
                  <a:gd name="T51" fmla="*/ 10 h 33"/>
                  <a:gd name="T52" fmla="*/ 51 w 56"/>
                  <a:gd name="T53" fmla="*/ 7 h 33"/>
                  <a:gd name="T54" fmla="*/ 54 w 56"/>
                  <a:gd name="T55" fmla="*/ 7 h 33"/>
                  <a:gd name="T56" fmla="*/ 56 w 56"/>
                  <a:gd name="T57" fmla="*/ 7 h 33"/>
                  <a:gd name="T58" fmla="*/ 51 w 56"/>
                  <a:gd name="T59" fmla="*/ 0 h 33"/>
                  <a:gd name="T60" fmla="*/ 48 w 56"/>
                  <a:gd name="T61" fmla="*/ 0 h 33"/>
                  <a:gd name="T62" fmla="*/ 46 w 56"/>
                  <a:gd name="T63" fmla="*/ 3 h 33"/>
                  <a:gd name="T64" fmla="*/ 29 w 56"/>
                  <a:gd name="T65" fmla="*/ 4 h 33"/>
                  <a:gd name="T66" fmla="*/ 25 w 56"/>
                  <a:gd name="T67" fmla="*/ 7 h 33"/>
                  <a:gd name="T68" fmla="*/ 22 w 56"/>
                  <a:gd name="T69" fmla="*/ 9 h 33"/>
                  <a:gd name="T70" fmla="*/ 16 w 56"/>
                  <a:gd name="T71" fmla="*/ 9 h 33"/>
                  <a:gd name="T72" fmla="*/ 5 w 56"/>
                  <a:gd name="T73" fmla="*/ 9 h 33"/>
                  <a:gd name="T74" fmla="*/ 0 w 56"/>
                  <a:gd name="T75" fmla="*/ 12 h 33"/>
                  <a:gd name="T76" fmla="*/ 2 w 56"/>
                  <a:gd name="T77" fmla="*/ 14 h 33"/>
                  <a:gd name="T78" fmla="*/ 3 w 56"/>
                  <a:gd name="T79" fmla="*/ 14 h 33"/>
                  <a:gd name="T80" fmla="*/ 5 w 56"/>
                  <a:gd name="T81" fmla="*/ 16 h 33"/>
                  <a:gd name="T82" fmla="*/ 5 w 56"/>
                  <a:gd name="T83" fmla="*/ 16 h 33"/>
                  <a:gd name="T84" fmla="*/ 5 w 56"/>
                  <a:gd name="T85" fmla="*/ 16 h 33"/>
                  <a:gd name="T86" fmla="*/ 3 w 56"/>
                  <a:gd name="T87" fmla="*/ 17 h 33"/>
                  <a:gd name="T88" fmla="*/ 3 w 56"/>
                  <a:gd name="T89" fmla="*/ 19 h 33"/>
                  <a:gd name="T90" fmla="*/ 3 w 56"/>
                  <a:gd name="T91" fmla="*/ 20 h 33"/>
                  <a:gd name="T92" fmla="*/ 5 w 56"/>
                  <a:gd name="T93" fmla="*/ 20 h 33"/>
                  <a:gd name="T94" fmla="*/ 5 w 56"/>
                  <a:gd name="T95" fmla="*/ 25 h 33"/>
                  <a:gd name="T96" fmla="*/ 9 w 56"/>
                  <a:gd name="T97" fmla="*/ 29 h 33"/>
                  <a:gd name="T98" fmla="*/ 6 w 56"/>
                  <a:gd name="T99" fmla="*/ 29 h 33"/>
                  <a:gd name="T100" fmla="*/ 5 w 56"/>
                  <a:gd name="T101" fmla="*/ 30 h 33"/>
                  <a:gd name="T102" fmla="*/ 5 w 56"/>
                  <a:gd name="T103"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 h="33">
                    <a:moveTo>
                      <a:pt x="6" y="32"/>
                    </a:moveTo>
                    <a:lnTo>
                      <a:pt x="9" y="33"/>
                    </a:lnTo>
                    <a:lnTo>
                      <a:pt x="11" y="33"/>
                    </a:lnTo>
                    <a:lnTo>
                      <a:pt x="11" y="32"/>
                    </a:lnTo>
                    <a:lnTo>
                      <a:pt x="11" y="32"/>
                    </a:lnTo>
                    <a:lnTo>
                      <a:pt x="11" y="32"/>
                    </a:lnTo>
                    <a:lnTo>
                      <a:pt x="11" y="32"/>
                    </a:lnTo>
                    <a:lnTo>
                      <a:pt x="12" y="32"/>
                    </a:lnTo>
                    <a:lnTo>
                      <a:pt x="13" y="32"/>
                    </a:lnTo>
                    <a:lnTo>
                      <a:pt x="13" y="32"/>
                    </a:lnTo>
                    <a:lnTo>
                      <a:pt x="18" y="32"/>
                    </a:lnTo>
                    <a:lnTo>
                      <a:pt x="19" y="30"/>
                    </a:lnTo>
                    <a:lnTo>
                      <a:pt x="19" y="30"/>
                    </a:lnTo>
                    <a:lnTo>
                      <a:pt x="21" y="29"/>
                    </a:lnTo>
                    <a:lnTo>
                      <a:pt x="21" y="27"/>
                    </a:lnTo>
                    <a:lnTo>
                      <a:pt x="22" y="27"/>
                    </a:lnTo>
                    <a:lnTo>
                      <a:pt x="22" y="27"/>
                    </a:lnTo>
                    <a:lnTo>
                      <a:pt x="23" y="30"/>
                    </a:lnTo>
                    <a:lnTo>
                      <a:pt x="25" y="30"/>
                    </a:lnTo>
                    <a:lnTo>
                      <a:pt x="26" y="32"/>
                    </a:lnTo>
                    <a:lnTo>
                      <a:pt x="26" y="32"/>
                    </a:lnTo>
                    <a:lnTo>
                      <a:pt x="28" y="32"/>
                    </a:lnTo>
                    <a:lnTo>
                      <a:pt x="28" y="32"/>
                    </a:lnTo>
                    <a:lnTo>
                      <a:pt x="29" y="32"/>
                    </a:lnTo>
                    <a:lnTo>
                      <a:pt x="32" y="32"/>
                    </a:lnTo>
                    <a:lnTo>
                      <a:pt x="34" y="33"/>
                    </a:lnTo>
                    <a:lnTo>
                      <a:pt x="35" y="32"/>
                    </a:lnTo>
                    <a:lnTo>
                      <a:pt x="35" y="32"/>
                    </a:lnTo>
                    <a:lnTo>
                      <a:pt x="35" y="30"/>
                    </a:lnTo>
                    <a:lnTo>
                      <a:pt x="35" y="30"/>
                    </a:lnTo>
                    <a:lnTo>
                      <a:pt x="35" y="29"/>
                    </a:lnTo>
                    <a:lnTo>
                      <a:pt x="35" y="29"/>
                    </a:lnTo>
                    <a:lnTo>
                      <a:pt x="35" y="29"/>
                    </a:lnTo>
                    <a:lnTo>
                      <a:pt x="35" y="27"/>
                    </a:lnTo>
                    <a:lnTo>
                      <a:pt x="35" y="27"/>
                    </a:lnTo>
                    <a:lnTo>
                      <a:pt x="35" y="27"/>
                    </a:lnTo>
                    <a:lnTo>
                      <a:pt x="34" y="26"/>
                    </a:lnTo>
                    <a:lnTo>
                      <a:pt x="34" y="26"/>
                    </a:lnTo>
                    <a:lnTo>
                      <a:pt x="35" y="25"/>
                    </a:lnTo>
                    <a:lnTo>
                      <a:pt x="39" y="25"/>
                    </a:lnTo>
                    <a:lnTo>
                      <a:pt x="41" y="23"/>
                    </a:lnTo>
                    <a:lnTo>
                      <a:pt x="41" y="22"/>
                    </a:lnTo>
                    <a:lnTo>
                      <a:pt x="41" y="19"/>
                    </a:lnTo>
                    <a:lnTo>
                      <a:pt x="41" y="17"/>
                    </a:lnTo>
                    <a:lnTo>
                      <a:pt x="41" y="14"/>
                    </a:lnTo>
                    <a:lnTo>
                      <a:pt x="42" y="14"/>
                    </a:lnTo>
                    <a:lnTo>
                      <a:pt x="46" y="12"/>
                    </a:lnTo>
                    <a:lnTo>
                      <a:pt x="49" y="10"/>
                    </a:lnTo>
                    <a:lnTo>
                      <a:pt x="49" y="10"/>
                    </a:lnTo>
                    <a:lnTo>
                      <a:pt x="51" y="10"/>
                    </a:lnTo>
                    <a:lnTo>
                      <a:pt x="51" y="10"/>
                    </a:lnTo>
                    <a:lnTo>
                      <a:pt x="51" y="10"/>
                    </a:lnTo>
                    <a:lnTo>
                      <a:pt x="51" y="9"/>
                    </a:lnTo>
                    <a:lnTo>
                      <a:pt x="51" y="7"/>
                    </a:lnTo>
                    <a:lnTo>
                      <a:pt x="52" y="7"/>
                    </a:lnTo>
                    <a:lnTo>
                      <a:pt x="54" y="7"/>
                    </a:lnTo>
                    <a:lnTo>
                      <a:pt x="55" y="7"/>
                    </a:lnTo>
                    <a:lnTo>
                      <a:pt x="56" y="7"/>
                    </a:lnTo>
                    <a:lnTo>
                      <a:pt x="54" y="2"/>
                    </a:lnTo>
                    <a:lnTo>
                      <a:pt x="51" y="0"/>
                    </a:lnTo>
                    <a:lnTo>
                      <a:pt x="48" y="0"/>
                    </a:lnTo>
                    <a:lnTo>
                      <a:pt x="48" y="0"/>
                    </a:lnTo>
                    <a:lnTo>
                      <a:pt x="46" y="2"/>
                    </a:lnTo>
                    <a:lnTo>
                      <a:pt x="46" y="3"/>
                    </a:lnTo>
                    <a:lnTo>
                      <a:pt x="45" y="3"/>
                    </a:lnTo>
                    <a:lnTo>
                      <a:pt x="29" y="4"/>
                    </a:lnTo>
                    <a:lnTo>
                      <a:pt x="26" y="6"/>
                    </a:lnTo>
                    <a:lnTo>
                      <a:pt x="25" y="7"/>
                    </a:lnTo>
                    <a:lnTo>
                      <a:pt x="23" y="9"/>
                    </a:lnTo>
                    <a:lnTo>
                      <a:pt x="22" y="9"/>
                    </a:lnTo>
                    <a:lnTo>
                      <a:pt x="19" y="10"/>
                    </a:lnTo>
                    <a:lnTo>
                      <a:pt x="16" y="9"/>
                    </a:lnTo>
                    <a:lnTo>
                      <a:pt x="6" y="7"/>
                    </a:lnTo>
                    <a:lnTo>
                      <a:pt x="5" y="9"/>
                    </a:lnTo>
                    <a:lnTo>
                      <a:pt x="3" y="10"/>
                    </a:lnTo>
                    <a:lnTo>
                      <a:pt x="0" y="12"/>
                    </a:lnTo>
                    <a:lnTo>
                      <a:pt x="0" y="14"/>
                    </a:lnTo>
                    <a:lnTo>
                      <a:pt x="2" y="14"/>
                    </a:lnTo>
                    <a:lnTo>
                      <a:pt x="2" y="14"/>
                    </a:lnTo>
                    <a:lnTo>
                      <a:pt x="3" y="14"/>
                    </a:lnTo>
                    <a:lnTo>
                      <a:pt x="3" y="14"/>
                    </a:lnTo>
                    <a:lnTo>
                      <a:pt x="5" y="16"/>
                    </a:lnTo>
                    <a:lnTo>
                      <a:pt x="5" y="16"/>
                    </a:lnTo>
                    <a:lnTo>
                      <a:pt x="5" y="16"/>
                    </a:lnTo>
                    <a:lnTo>
                      <a:pt x="5" y="16"/>
                    </a:lnTo>
                    <a:lnTo>
                      <a:pt x="5" y="16"/>
                    </a:lnTo>
                    <a:lnTo>
                      <a:pt x="3" y="17"/>
                    </a:lnTo>
                    <a:lnTo>
                      <a:pt x="3" y="17"/>
                    </a:lnTo>
                    <a:lnTo>
                      <a:pt x="3" y="17"/>
                    </a:lnTo>
                    <a:lnTo>
                      <a:pt x="3" y="19"/>
                    </a:lnTo>
                    <a:lnTo>
                      <a:pt x="2" y="19"/>
                    </a:lnTo>
                    <a:lnTo>
                      <a:pt x="3" y="20"/>
                    </a:lnTo>
                    <a:lnTo>
                      <a:pt x="3" y="20"/>
                    </a:lnTo>
                    <a:lnTo>
                      <a:pt x="5" y="20"/>
                    </a:lnTo>
                    <a:lnTo>
                      <a:pt x="5" y="23"/>
                    </a:lnTo>
                    <a:lnTo>
                      <a:pt x="5" y="25"/>
                    </a:lnTo>
                    <a:lnTo>
                      <a:pt x="8" y="27"/>
                    </a:lnTo>
                    <a:lnTo>
                      <a:pt x="9" y="29"/>
                    </a:lnTo>
                    <a:lnTo>
                      <a:pt x="6" y="29"/>
                    </a:lnTo>
                    <a:lnTo>
                      <a:pt x="6" y="29"/>
                    </a:lnTo>
                    <a:lnTo>
                      <a:pt x="6" y="30"/>
                    </a:lnTo>
                    <a:lnTo>
                      <a:pt x="5" y="30"/>
                    </a:lnTo>
                    <a:lnTo>
                      <a:pt x="5" y="30"/>
                    </a:lnTo>
                    <a:lnTo>
                      <a:pt x="5" y="32"/>
                    </a:lnTo>
                    <a:lnTo>
                      <a:pt x="6" y="3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64" name="Freeform 70">
                <a:extLst>
                  <a:ext uri="{FF2B5EF4-FFF2-40B4-BE49-F238E27FC236}">
                    <a16:creationId xmlns:a16="http://schemas.microsoft.com/office/drawing/2014/main" id="{60AA6500-EFC7-88E5-B15B-9A16846416C6}"/>
                  </a:ext>
                </a:extLst>
              </p:cNvPr>
              <p:cNvSpPr>
                <a:spLocks/>
              </p:cNvSpPr>
              <p:nvPr/>
            </p:nvSpPr>
            <p:spPr bwMode="auto">
              <a:xfrm>
                <a:off x="3824" y="1848"/>
                <a:ext cx="68" cy="62"/>
              </a:xfrm>
              <a:custGeom>
                <a:avLst/>
                <a:gdLst>
                  <a:gd name="T0" fmla="*/ 48 w 68"/>
                  <a:gd name="T1" fmla="*/ 62 h 62"/>
                  <a:gd name="T2" fmla="*/ 49 w 68"/>
                  <a:gd name="T3" fmla="*/ 57 h 62"/>
                  <a:gd name="T4" fmla="*/ 48 w 68"/>
                  <a:gd name="T5" fmla="*/ 53 h 62"/>
                  <a:gd name="T6" fmla="*/ 49 w 68"/>
                  <a:gd name="T7" fmla="*/ 52 h 62"/>
                  <a:gd name="T8" fmla="*/ 50 w 68"/>
                  <a:gd name="T9" fmla="*/ 52 h 62"/>
                  <a:gd name="T10" fmla="*/ 52 w 68"/>
                  <a:gd name="T11" fmla="*/ 47 h 62"/>
                  <a:gd name="T12" fmla="*/ 53 w 68"/>
                  <a:gd name="T13" fmla="*/ 45 h 62"/>
                  <a:gd name="T14" fmla="*/ 58 w 68"/>
                  <a:gd name="T15" fmla="*/ 45 h 62"/>
                  <a:gd name="T16" fmla="*/ 58 w 68"/>
                  <a:gd name="T17" fmla="*/ 43 h 62"/>
                  <a:gd name="T18" fmla="*/ 56 w 68"/>
                  <a:gd name="T19" fmla="*/ 42 h 62"/>
                  <a:gd name="T20" fmla="*/ 58 w 68"/>
                  <a:gd name="T21" fmla="*/ 40 h 62"/>
                  <a:gd name="T22" fmla="*/ 60 w 68"/>
                  <a:gd name="T23" fmla="*/ 40 h 62"/>
                  <a:gd name="T24" fmla="*/ 63 w 68"/>
                  <a:gd name="T25" fmla="*/ 39 h 62"/>
                  <a:gd name="T26" fmla="*/ 66 w 68"/>
                  <a:gd name="T27" fmla="*/ 39 h 62"/>
                  <a:gd name="T28" fmla="*/ 66 w 68"/>
                  <a:gd name="T29" fmla="*/ 36 h 62"/>
                  <a:gd name="T30" fmla="*/ 63 w 68"/>
                  <a:gd name="T31" fmla="*/ 30 h 62"/>
                  <a:gd name="T32" fmla="*/ 68 w 68"/>
                  <a:gd name="T33" fmla="*/ 30 h 62"/>
                  <a:gd name="T34" fmla="*/ 66 w 68"/>
                  <a:gd name="T35" fmla="*/ 27 h 62"/>
                  <a:gd name="T36" fmla="*/ 62 w 68"/>
                  <a:gd name="T37" fmla="*/ 23 h 62"/>
                  <a:gd name="T38" fmla="*/ 60 w 68"/>
                  <a:gd name="T39" fmla="*/ 17 h 62"/>
                  <a:gd name="T40" fmla="*/ 62 w 68"/>
                  <a:gd name="T41" fmla="*/ 9 h 62"/>
                  <a:gd name="T42" fmla="*/ 56 w 68"/>
                  <a:gd name="T43" fmla="*/ 10 h 62"/>
                  <a:gd name="T44" fmla="*/ 52 w 68"/>
                  <a:gd name="T45" fmla="*/ 6 h 62"/>
                  <a:gd name="T46" fmla="*/ 49 w 68"/>
                  <a:gd name="T47" fmla="*/ 4 h 62"/>
                  <a:gd name="T48" fmla="*/ 39 w 68"/>
                  <a:gd name="T49" fmla="*/ 4 h 62"/>
                  <a:gd name="T50" fmla="*/ 25 w 68"/>
                  <a:gd name="T51" fmla="*/ 3 h 62"/>
                  <a:gd name="T52" fmla="*/ 22 w 68"/>
                  <a:gd name="T53" fmla="*/ 1 h 62"/>
                  <a:gd name="T54" fmla="*/ 20 w 68"/>
                  <a:gd name="T55" fmla="*/ 1 h 62"/>
                  <a:gd name="T56" fmla="*/ 16 w 68"/>
                  <a:gd name="T57" fmla="*/ 1 h 62"/>
                  <a:gd name="T58" fmla="*/ 14 w 68"/>
                  <a:gd name="T59" fmla="*/ 1 h 62"/>
                  <a:gd name="T60" fmla="*/ 13 w 68"/>
                  <a:gd name="T61" fmla="*/ 3 h 62"/>
                  <a:gd name="T62" fmla="*/ 12 w 68"/>
                  <a:gd name="T63" fmla="*/ 6 h 62"/>
                  <a:gd name="T64" fmla="*/ 9 w 68"/>
                  <a:gd name="T65" fmla="*/ 6 h 62"/>
                  <a:gd name="T66" fmla="*/ 6 w 68"/>
                  <a:gd name="T67" fmla="*/ 3 h 62"/>
                  <a:gd name="T68" fmla="*/ 2 w 68"/>
                  <a:gd name="T69" fmla="*/ 3 h 62"/>
                  <a:gd name="T70" fmla="*/ 0 w 68"/>
                  <a:gd name="T71" fmla="*/ 9 h 62"/>
                  <a:gd name="T72" fmla="*/ 3 w 68"/>
                  <a:gd name="T73" fmla="*/ 14 h 62"/>
                  <a:gd name="T74" fmla="*/ 7 w 68"/>
                  <a:gd name="T75" fmla="*/ 20 h 62"/>
                  <a:gd name="T76" fmla="*/ 9 w 68"/>
                  <a:gd name="T77" fmla="*/ 24 h 62"/>
                  <a:gd name="T78" fmla="*/ 12 w 68"/>
                  <a:gd name="T79" fmla="*/ 29 h 62"/>
                  <a:gd name="T80" fmla="*/ 27 w 68"/>
                  <a:gd name="T81" fmla="*/ 43 h 62"/>
                  <a:gd name="T82" fmla="*/ 27 w 68"/>
                  <a:gd name="T83" fmla="*/ 45 h 62"/>
                  <a:gd name="T84" fmla="*/ 29 w 68"/>
                  <a:gd name="T85" fmla="*/ 47 h 62"/>
                  <a:gd name="T86" fmla="*/ 33 w 68"/>
                  <a:gd name="T87" fmla="*/ 52 h 62"/>
                  <a:gd name="T88" fmla="*/ 35 w 68"/>
                  <a:gd name="T89" fmla="*/ 55 h 62"/>
                  <a:gd name="T90" fmla="*/ 45 w 68"/>
                  <a:gd name="T91" fmla="*/ 6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 h="62">
                    <a:moveTo>
                      <a:pt x="45" y="60"/>
                    </a:moveTo>
                    <a:lnTo>
                      <a:pt x="48" y="62"/>
                    </a:lnTo>
                    <a:lnTo>
                      <a:pt x="49" y="60"/>
                    </a:lnTo>
                    <a:lnTo>
                      <a:pt x="49" y="57"/>
                    </a:lnTo>
                    <a:lnTo>
                      <a:pt x="48" y="56"/>
                    </a:lnTo>
                    <a:lnTo>
                      <a:pt x="48" y="53"/>
                    </a:lnTo>
                    <a:lnTo>
                      <a:pt x="49" y="52"/>
                    </a:lnTo>
                    <a:lnTo>
                      <a:pt x="49" y="52"/>
                    </a:lnTo>
                    <a:lnTo>
                      <a:pt x="50" y="52"/>
                    </a:lnTo>
                    <a:lnTo>
                      <a:pt x="50" y="52"/>
                    </a:lnTo>
                    <a:lnTo>
                      <a:pt x="52" y="50"/>
                    </a:lnTo>
                    <a:lnTo>
                      <a:pt x="52" y="47"/>
                    </a:lnTo>
                    <a:lnTo>
                      <a:pt x="52" y="47"/>
                    </a:lnTo>
                    <a:lnTo>
                      <a:pt x="53" y="45"/>
                    </a:lnTo>
                    <a:lnTo>
                      <a:pt x="56" y="45"/>
                    </a:lnTo>
                    <a:lnTo>
                      <a:pt x="58" y="45"/>
                    </a:lnTo>
                    <a:lnTo>
                      <a:pt x="58" y="45"/>
                    </a:lnTo>
                    <a:lnTo>
                      <a:pt x="58" y="43"/>
                    </a:lnTo>
                    <a:lnTo>
                      <a:pt x="58" y="42"/>
                    </a:lnTo>
                    <a:lnTo>
                      <a:pt x="56" y="42"/>
                    </a:lnTo>
                    <a:lnTo>
                      <a:pt x="58" y="40"/>
                    </a:lnTo>
                    <a:lnTo>
                      <a:pt x="58" y="40"/>
                    </a:lnTo>
                    <a:lnTo>
                      <a:pt x="60" y="40"/>
                    </a:lnTo>
                    <a:lnTo>
                      <a:pt x="60" y="40"/>
                    </a:lnTo>
                    <a:lnTo>
                      <a:pt x="62" y="39"/>
                    </a:lnTo>
                    <a:lnTo>
                      <a:pt x="63" y="39"/>
                    </a:lnTo>
                    <a:lnTo>
                      <a:pt x="65" y="40"/>
                    </a:lnTo>
                    <a:lnTo>
                      <a:pt x="66" y="39"/>
                    </a:lnTo>
                    <a:lnTo>
                      <a:pt x="66" y="37"/>
                    </a:lnTo>
                    <a:lnTo>
                      <a:pt x="66" y="36"/>
                    </a:lnTo>
                    <a:lnTo>
                      <a:pt x="62" y="30"/>
                    </a:lnTo>
                    <a:lnTo>
                      <a:pt x="63" y="30"/>
                    </a:lnTo>
                    <a:lnTo>
                      <a:pt x="66" y="30"/>
                    </a:lnTo>
                    <a:lnTo>
                      <a:pt x="68" y="30"/>
                    </a:lnTo>
                    <a:lnTo>
                      <a:pt x="68" y="29"/>
                    </a:lnTo>
                    <a:lnTo>
                      <a:pt x="66" y="27"/>
                    </a:lnTo>
                    <a:lnTo>
                      <a:pt x="65" y="24"/>
                    </a:lnTo>
                    <a:lnTo>
                      <a:pt x="62" y="23"/>
                    </a:lnTo>
                    <a:lnTo>
                      <a:pt x="60" y="22"/>
                    </a:lnTo>
                    <a:lnTo>
                      <a:pt x="60" y="17"/>
                    </a:lnTo>
                    <a:lnTo>
                      <a:pt x="63" y="10"/>
                    </a:lnTo>
                    <a:lnTo>
                      <a:pt x="62" y="9"/>
                    </a:lnTo>
                    <a:lnTo>
                      <a:pt x="58" y="10"/>
                    </a:lnTo>
                    <a:lnTo>
                      <a:pt x="56" y="10"/>
                    </a:lnTo>
                    <a:lnTo>
                      <a:pt x="55" y="10"/>
                    </a:lnTo>
                    <a:lnTo>
                      <a:pt x="52" y="6"/>
                    </a:lnTo>
                    <a:lnTo>
                      <a:pt x="50" y="6"/>
                    </a:lnTo>
                    <a:lnTo>
                      <a:pt x="49" y="4"/>
                    </a:lnTo>
                    <a:lnTo>
                      <a:pt x="46" y="4"/>
                    </a:lnTo>
                    <a:lnTo>
                      <a:pt x="39" y="4"/>
                    </a:lnTo>
                    <a:lnTo>
                      <a:pt x="26" y="3"/>
                    </a:lnTo>
                    <a:lnTo>
                      <a:pt x="25" y="3"/>
                    </a:lnTo>
                    <a:lnTo>
                      <a:pt x="23" y="1"/>
                    </a:lnTo>
                    <a:lnTo>
                      <a:pt x="22" y="1"/>
                    </a:lnTo>
                    <a:lnTo>
                      <a:pt x="20" y="0"/>
                    </a:lnTo>
                    <a:lnTo>
                      <a:pt x="20" y="1"/>
                    </a:lnTo>
                    <a:lnTo>
                      <a:pt x="17" y="1"/>
                    </a:lnTo>
                    <a:lnTo>
                      <a:pt x="16" y="1"/>
                    </a:lnTo>
                    <a:lnTo>
                      <a:pt x="16" y="1"/>
                    </a:lnTo>
                    <a:lnTo>
                      <a:pt x="14" y="1"/>
                    </a:lnTo>
                    <a:lnTo>
                      <a:pt x="13" y="3"/>
                    </a:lnTo>
                    <a:lnTo>
                      <a:pt x="13" y="3"/>
                    </a:lnTo>
                    <a:lnTo>
                      <a:pt x="12" y="4"/>
                    </a:lnTo>
                    <a:lnTo>
                      <a:pt x="12" y="6"/>
                    </a:lnTo>
                    <a:lnTo>
                      <a:pt x="10" y="6"/>
                    </a:lnTo>
                    <a:lnTo>
                      <a:pt x="9" y="6"/>
                    </a:lnTo>
                    <a:lnTo>
                      <a:pt x="7" y="4"/>
                    </a:lnTo>
                    <a:lnTo>
                      <a:pt x="6" y="3"/>
                    </a:lnTo>
                    <a:lnTo>
                      <a:pt x="3" y="1"/>
                    </a:lnTo>
                    <a:lnTo>
                      <a:pt x="2" y="3"/>
                    </a:lnTo>
                    <a:lnTo>
                      <a:pt x="0" y="6"/>
                    </a:lnTo>
                    <a:lnTo>
                      <a:pt x="0" y="9"/>
                    </a:lnTo>
                    <a:lnTo>
                      <a:pt x="2" y="12"/>
                    </a:lnTo>
                    <a:lnTo>
                      <a:pt x="3" y="14"/>
                    </a:lnTo>
                    <a:lnTo>
                      <a:pt x="6" y="17"/>
                    </a:lnTo>
                    <a:lnTo>
                      <a:pt x="7" y="20"/>
                    </a:lnTo>
                    <a:lnTo>
                      <a:pt x="7" y="22"/>
                    </a:lnTo>
                    <a:lnTo>
                      <a:pt x="9" y="24"/>
                    </a:lnTo>
                    <a:lnTo>
                      <a:pt x="10" y="26"/>
                    </a:lnTo>
                    <a:lnTo>
                      <a:pt x="12" y="29"/>
                    </a:lnTo>
                    <a:lnTo>
                      <a:pt x="25" y="40"/>
                    </a:lnTo>
                    <a:lnTo>
                      <a:pt x="27" y="43"/>
                    </a:lnTo>
                    <a:lnTo>
                      <a:pt x="27" y="43"/>
                    </a:lnTo>
                    <a:lnTo>
                      <a:pt x="27" y="45"/>
                    </a:lnTo>
                    <a:lnTo>
                      <a:pt x="27" y="46"/>
                    </a:lnTo>
                    <a:lnTo>
                      <a:pt x="29" y="47"/>
                    </a:lnTo>
                    <a:lnTo>
                      <a:pt x="33" y="52"/>
                    </a:lnTo>
                    <a:lnTo>
                      <a:pt x="33" y="52"/>
                    </a:lnTo>
                    <a:lnTo>
                      <a:pt x="33" y="53"/>
                    </a:lnTo>
                    <a:lnTo>
                      <a:pt x="35" y="55"/>
                    </a:lnTo>
                    <a:lnTo>
                      <a:pt x="37" y="55"/>
                    </a:lnTo>
                    <a:lnTo>
                      <a:pt x="45" y="6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65" name="Freeform 71">
                <a:extLst>
                  <a:ext uri="{FF2B5EF4-FFF2-40B4-BE49-F238E27FC236}">
                    <a16:creationId xmlns:a16="http://schemas.microsoft.com/office/drawing/2014/main" id="{E8DC05A6-5071-836A-7F6E-29BA889E91DB}"/>
                  </a:ext>
                </a:extLst>
              </p:cNvPr>
              <p:cNvSpPr>
                <a:spLocks/>
              </p:cNvSpPr>
              <p:nvPr/>
            </p:nvSpPr>
            <p:spPr bwMode="auto">
              <a:xfrm>
                <a:off x="3382" y="1920"/>
                <a:ext cx="56" cy="108"/>
              </a:xfrm>
              <a:custGeom>
                <a:avLst/>
                <a:gdLst>
                  <a:gd name="T0" fmla="*/ 36 w 56"/>
                  <a:gd name="T1" fmla="*/ 92 h 108"/>
                  <a:gd name="T2" fmla="*/ 40 w 56"/>
                  <a:gd name="T3" fmla="*/ 88 h 108"/>
                  <a:gd name="T4" fmla="*/ 43 w 56"/>
                  <a:gd name="T5" fmla="*/ 85 h 108"/>
                  <a:gd name="T6" fmla="*/ 39 w 56"/>
                  <a:gd name="T7" fmla="*/ 82 h 108"/>
                  <a:gd name="T8" fmla="*/ 37 w 56"/>
                  <a:gd name="T9" fmla="*/ 75 h 108"/>
                  <a:gd name="T10" fmla="*/ 41 w 56"/>
                  <a:gd name="T11" fmla="*/ 69 h 108"/>
                  <a:gd name="T12" fmla="*/ 40 w 56"/>
                  <a:gd name="T13" fmla="*/ 63 h 108"/>
                  <a:gd name="T14" fmla="*/ 37 w 56"/>
                  <a:gd name="T15" fmla="*/ 57 h 108"/>
                  <a:gd name="T16" fmla="*/ 34 w 56"/>
                  <a:gd name="T17" fmla="*/ 54 h 108"/>
                  <a:gd name="T18" fmla="*/ 43 w 56"/>
                  <a:gd name="T19" fmla="*/ 50 h 108"/>
                  <a:gd name="T20" fmla="*/ 43 w 56"/>
                  <a:gd name="T21" fmla="*/ 43 h 108"/>
                  <a:gd name="T22" fmla="*/ 44 w 56"/>
                  <a:gd name="T23" fmla="*/ 39 h 108"/>
                  <a:gd name="T24" fmla="*/ 46 w 56"/>
                  <a:gd name="T25" fmla="*/ 31 h 108"/>
                  <a:gd name="T26" fmla="*/ 47 w 56"/>
                  <a:gd name="T27" fmla="*/ 20 h 108"/>
                  <a:gd name="T28" fmla="*/ 54 w 56"/>
                  <a:gd name="T29" fmla="*/ 11 h 108"/>
                  <a:gd name="T30" fmla="*/ 51 w 56"/>
                  <a:gd name="T31" fmla="*/ 10 h 108"/>
                  <a:gd name="T32" fmla="*/ 50 w 56"/>
                  <a:gd name="T33" fmla="*/ 8 h 108"/>
                  <a:gd name="T34" fmla="*/ 50 w 56"/>
                  <a:gd name="T35" fmla="*/ 4 h 108"/>
                  <a:gd name="T36" fmla="*/ 46 w 56"/>
                  <a:gd name="T37" fmla="*/ 3 h 108"/>
                  <a:gd name="T38" fmla="*/ 40 w 56"/>
                  <a:gd name="T39" fmla="*/ 4 h 108"/>
                  <a:gd name="T40" fmla="*/ 33 w 56"/>
                  <a:gd name="T41" fmla="*/ 6 h 108"/>
                  <a:gd name="T42" fmla="*/ 24 w 56"/>
                  <a:gd name="T43" fmla="*/ 6 h 108"/>
                  <a:gd name="T44" fmla="*/ 21 w 56"/>
                  <a:gd name="T45" fmla="*/ 6 h 108"/>
                  <a:gd name="T46" fmla="*/ 23 w 56"/>
                  <a:gd name="T47" fmla="*/ 1 h 108"/>
                  <a:gd name="T48" fmla="*/ 14 w 56"/>
                  <a:gd name="T49" fmla="*/ 1 h 108"/>
                  <a:gd name="T50" fmla="*/ 10 w 56"/>
                  <a:gd name="T51" fmla="*/ 7 h 108"/>
                  <a:gd name="T52" fmla="*/ 10 w 56"/>
                  <a:gd name="T53" fmla="*/ 11 h 108"/>
                  <a:gd name="T54" fmla="*/ 13 w 56"/>
                  <a:gd name="T55" fmla="*/ 23 h 108"/>
                  <a:gd name="T56" fmla="*/ 8 w 56"/>
                  <a:gd name="T57" fmla="*/ 44 h 108"/>
                  <a:gd name="T58" fmla="*/ 1 w 56"/>
                  <a:gd name="T59" fmla="*/ 59 h 108"/>
                  <a:gd name="T60" fmla="*/ 0 w 56"/>
                  <a:gd name="T61" fmla="*/ 72 h 108"/>
                  <a:gd name="T62" fmla="*/ 6 w 56"/>
                  <a:gd name="T63" fmla="*/ 72 h 108"/>
                  <a:gd name="T64" fmla="*/ 8 w 56"/>
                  <a:gd name="T65" fmla="*/ 66 h 108"/>
                  <a:gd name="T66" fmla="*/ 7 w 56"/>
                  <a:gd name="T67" fmla="*/ 72 h 108"/>
                  <a:gd name="T68" fmla="*/ 4 w 56"/>
                  <a:gd name="T69" fmla="*/ 75 h 108"/>
                  <a:gd name="T70" fmla="*/ 10 w 56"/>
                  <a:gd name="T71" fmla="*/ 77 h 108"/>
                  <a:gd name="T72" fmla="*/ 10 w 56"/>
                  <a:gd name="T73" fmla="*/ 79 h 108"/>
                  <a:gd name="T74" fmla="*/ 10 w 56"/>
                  <a:gd name="T75" fmla="*/ 82 h 108"/>
                  <a:gd name="T76" fmla="*/ 11 w 56"/>
                  <a:gd name="T77" fmla="*/ 96 h 108"/>
                  <a:gd name="T78" fmla="*/ 7 w 56"/>
                  <a:gd name="T79" fmla="*/ 108 h 108"/>
                  <a:gd name="T80" fmla="*/ 14 w 56"/>
                  <a:gd name="T81" fmla="*/ 106 h 108"/>
                  <a:gd name="T82" fmla="*/ 21 w 56"/>
                  <a:gd name="T83" fmla="*/ 106 h 108"/>
                  <a:gd name="T84" fmla="*/ 29 w 56"/>
                  <a:gd name="T85" fmla="*/ 108 h 108"/>
                  <a:gd name="T86" fmla="*/ 36 w 56"/>
                  <a:gd name="T87" fmla="*/ 10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8">
                    <a:moveTo>
                      <a:pt x="34" y="98"/>
                    </a:moveTo>
                    <a:lnTo>
                      <a:pt x="34" y="95"/>
                    </a:lnTo>
                    <a:lnTo>
                      <a:pt x="36" y="92"/>
                    </a:lnTo>
                    <a:lnTo>
                      <a:pt x="37" y="90"/>
                    </a:lnTo>
                    <a:lnTo>
                      <a:pt x="37" y="89"/>
                    </a:lnTo>
                    <a:lnTo>
                      <a:pt x="40" y="88"/>
                    </a:lnTo>
                    <a:lnTo>
                      <a:pt x="41" y="86"/>
                    </a:lnTo>
                    <a:lnTo>
                      <a:pt x="41" y="86"/>
                    </a:lnTo>
                    <a:lnTo>
                      <a:pt x="43" y="85"/>
                    </a:lnTo>
                    <a:lnTo>
                      <a:pt x="43" y="83"/>
                    </a:lnTo>
                    <a:lnTo>
                      <a:pt x="41" y="83"/>
                    </a:lnTo>
                    <a:lnTo>
                      <a:pt x="39" y="82"/>
                    </a:lnTo>
                    <a:lnTo>
                      <a:pt x="37" y="80"/>
                    </a:lnTo>
                    <a:lnTo>
                      <a:pt x="37" y="77"/>
                    </a:lnTo>
                    <a:lnTo>
                      <a:pt x="37" y="75"/>
                    </a:lnTo>
                    <a:lnTo>
                      <a:pt x="39" y="73"/>
                    </a:lnTo>
                    <a:lnTo>
                      <a:pt x="40" y="72"/>
                    </a:lnTo>
                    <a:lnTo>
                      <a:pt x="41" y="69"/>
                    </a:lnTo>
                    <a:lnTo>
                      <a:pt x="43" y="66"/>
                    </a:lnTo>
                    <a:lnTo>
                      <a:pt x="41" y="65"/>
                    </a:lnTo>
                    <a:lnTo>
                      <a:pt x="40" y="63"/>
                    </a:lnTo>
                    <a:lnTo>
                      <a:pt x="39" y="62"/>
                    </a:lnTo>
                    <a:lnTo>
                      <a:pt x="37" y="60"/>
                    </a:lnTo>
                    <a:lnTo>
                      <a:pt x="37" y="57"/>
                    </a:lnTo>
                    <a:lnTo>
                      <a:pt x="36" y="57"/>
                    </a:lnTo>
                    <a:lnTo>
                      <a:pt x="36" y="56"/>
                    </a:lnTo>
                    <a:lnTo>
                      <a:pt x="34" y="54"/>
                    </a:lnTo>
                    <a:lnTo>
                      <a:pt x="33" y="53"/>
                    </a:lnTo>
                    <a:lnTo>
                      <a:pt x="40" y="52"/>
                    </a:lnTo>
                    <a:lnTo>
                      <a:pt x="43" y="50"/>
                    </a:lnTo>
                    <a:lnTo>
                      <a:pt x="44" y="46"/>
                    </a:lnTo>
                    <a:lnTo>
                      <a:pt x="44" y="44"/>
                    </a:lnTo>
                    <a:lnTo>
                      <a:pt x="43" y="43"/>
                    </a:lnTo>
                    <a:lnTo>
                      <a:pt x="41" y="42"/>
                    </a:lnTo>
                    <a:lnTo>
                      <a:pt x="43" y="40"/>
                    </a:lnTo>
                    <a:lnTo>
                      <a:pt x="44" y="39"/>
                    </a:lnTo>
                    <a:lnTo>
                      <a:pt x="46" y="37"/>
                    </a:lnTo>
                    <a:lnTo>
                      <a:pt x="46" y="36"/>
                    </a:lnTo>
                    <a:lnTo>
                      <a:pt x="46" y="31"/>
                    </a:lnTo>
                    <a:lnTo>
                      <a:pt x="44" y="23"/>
                    </a:lnTo>
                    <a:lnTo>
                      <a:pt x="44" y="23"/>
                    </a:lnTo>
                    <a:lnTo>
                      <a:pt x="47" y="20"/>
                    </a:lnTo>
                    <a:lnTo>
                      <a:pt x="56" y="14"/>
                    </a:lnTo>
                    <a:lnTo>
                      <a:pt x="56" y="13"/>
                    </a:lnTo>
                    <a:lnTo>
                      <a:pt x="54" y="11"/>
                    </a:lnTo>
                    <a:lnTo>
                      <a:pt x="53" y="10"/>
                    </a:lnTo>
                    <a:lnTo>
                      <a:pt x="51" y="10"/>
                    </a:lnTo>
                    <a:lnTo>
                      <a:pt x="51" y="10"/>
                    </a:lnTo>
                    <a:lnTo>
                      <a:pt x="50" y="10"/>
                    </a:lnTo>
                    <a:lnTo>
                      <a:pt x="50" y="8"/>
                    </a:lnTo>
                    <a:lnTo>
                      <a:pt x="50" y="8"/>
                    </a:lnTo>
                    <a:lnTo>
                      <a:pt x="50" y="6"/>
                    </a:lnTo>
                    <a:lnTo>
                      <a:pt x="50" y="6"/>
                    </a:lnTo>
                    <a:lnTo>
                      <a:pt x="50" y="4"/>
                    </a:lnTo>
                    <a:lnTo>
                      <a:pt x="49" y="4"/>
                    </a:lnTo>
                    <a:lnTo>
                      <a:pt x="47" y="3"/>
                    </a:lnTo>
                    <a:lnTo>
                      <a:pt x="46" y="3"/>
                    </a:lnTo>
                    <a:lnTo>
                      <a:pt x="43" y="3"/>
                    </a:lnTo>
                    <a:lnTo>
                      <a:pt x="41" y="3"/>
                    </a:lnTo>
                    <a:lnTo>
                      <a:pt x="40" y="4"/>
                    </a:lnTo>
                    <a:lnTo>
                      <a:pt x="39" y="4"/>
                    </a:lnTo>
                    <a:lnTo>
                      <a:pt x="36" y="6"/>
                    </a:lnTo>
                    <a:lnTo>
                      <a:pt x="33" y="6"/>
                    </a:lnTo>
                    <a:lnTo>
                      <a:pt x="30" y="6"/>
                    </a:lnTo>
                    <a:lnTo>
                      <a:pt x="27" y="6"/>
                    </a:lnTo>
                    <a:lnTo>
                      <a:pt x="24" y="6"/>
                    </a:lnTo>
                    <a:lnTo>
                      <a:pt x="23" y="7"/>
                    </a:lnTo>
                    <a:lnTo>
                      <a:pt x="21" y="6"/>
                    </a:lnTo>
                    <a:lnTo>
                      <a:pt x="21" y="6"/>
                    </a:lnTo>
                    <a:lnTo>
                      <a:pt x="21" y="4"/>
                    </a:lnTo>
                    <a:lnTo>
                      <a:pt x="23" y="3"/>
                    </a:lnTo>
                    <a:lnTo>
                      <a:pt x="23" y="1"/>
                    </a:lnTo>
                    <a:lnTo>
                      <a:pt x="20" y="0"/>
                    </a:lnTo>
                    <a:lnTo>
                      <a:pt x="17" y="0"/>
                    </a:lnTo>
                    <a:lnTo>
                      <a:pt x="14" y="1"/>
                    </a:lnTo>
                    <a:lnTo>
                      <a:pt x="11" y="4"/>
                    </a:lnTo>
                    <a:lnTo>
                      <a:pt x="10" y="6"/>
                    </a:lnTo>
                    <a:lnTo>
                      <a:pt x="10" y="7"/>
                    </a:lnTo>
                    <a:lnTo>
                      <a:pt x="10" y="8"/>
                    </a:lnTo>
                    <a:lnTo>
                      <a:pt x="11" y="8"/>
                    </a:lnTo>
                    <a:lnTo>
                      <a:pt x="10" y="11"/>
                    </a:lnTo>
                    <a:lnTo>
                      <a:pt x="11" y="14"/>
                    </a:lnTo>
                    <a:lnTo>
                      <a:pt x="13" y="20"/>
                    </a:lnTo>
                    <a:lnTo>
                      <a:pt x="13" y="23"/>
                    </a:lnTo>
                    <a:lnTo>
                      <a:pt x="13" y="26"/>
                    </a:lnTo>
                    <a:lnTo>
                      <a:pt x="13" y="27"/>
                    </a:lnTo>
                    <a:lnTo>
                      <a:pt x="8" y="44"/>
                    </a:lnTo>
                    <a:lnTo>
                      <a:pt x="7" y="49"/>
                    </a:lnTo>
                    <a:lnTo>
                      <a:pt x="6" y="52"/>
                    </a:lnTo>
                    <a:lnTo>
                      <a:pt x="1" y="59"/>
                    </a:lnTo>
                    <a:lnTo>
                      <a:pt x="0" y="62"/>
                    </a:lnTo>
                    <a:lnTo>
                      <a:pt x="0" y="70"/>
                    </a:lnTo>
                    <a:lnTo>
                      <a:pt x="0" y="72"/>
                    </a:lnTo>
                    <a:lnTo>
                      <a:pt x="0" y="73"/>
                    </a:lnTo>
                    <a:lnTo>
                      <a:pt x="3" y="73"/>
                    </a:lnTo>
                    <a:lnTo>
                      <a:pt x="6" y="72"/>
                    </a:lnTo>
                    <a:lnTo>
                      <a:pt x="8" y="66"/>
                    </a:lnTo>
                    <a:lnTo>
                      <a:pt x="11" y="65"/>
                    </a:lnTo>
                    <a:lnTo>
                      <a:pt x="8" y="66"/>
                    </a:lnTo>
                    <a:lnTo>
                      <a:pt x="8" y="67"/>
                    </a:lnTo>
                    <a:lnTo>
                      <a:pt x="8" y="70"/>
                    </a:lnTo>
                    <a:lnTo>
                      <a:pt x="7" y="72"/>
                    </a:lnTo>
                    <a:lnTo>
                      <a:pt x="6" y="73"/>
                    </a:lnTo>
                    <a:lnTo>
                      <a:pt x="4" y="73"/>
                    </a:lnTo>
                    <a:lnTo>
                      <a:pt x="4" y="75"/>
                    </a:lnTo>
                    <a:lnTo>
                      <a:pt x="4" y="76"/>
                    </a:lnTo>
                    <a:lnTo>
                      <a:pt x="4" y="77"/>
                    </a:lnTo>
                    <a:lnTo>
                      <a:pt x="10" y="77"/>
                    </a:lnTo>
                    <a:lnTo>
                      <a:pt x="13" y="79"/>
                    </a:lnTo>
                    <a:lnTo>
                      <a:pt x="13" y="79"/>
                    </a:lnTo>
                    <a:lnTo>
                      <a:pt x="10" y="79"/>
                    </a:lnTo>
                    <a:lnTo>
                      <a:pt x="10" y="79"/>
                    </a:lnTo>
                    <a:lnTo>
                      <a:pt x="10" y="80"/>
                    </a:lnTo>
                    <a:lnTo>
                      <a:pt x="10" y="82"/>
                    </a:lnTo>
                    <a:lnTo>
                      <a:pt x="10" y="88"/>
                    </a:lnTo>
                    <a:lnTo>
                      <a:pt x="11" y="93"/>
                    </a:lnTo>
                    <a:lnTo>
                      <a:pt x="11" y="96"/>
                    </a:lnTo>
                    <a:lnTo>
                      <a:pt x="10" y="100"/>
                    </a:lnTo>
                    <a:lnTo>
                      <a:pt x="8" y="103"/>
                    </a:lnTo>
                    <a:lnTo>
                      <a:pt x="7" y="108"/>
                    </a:lnTo>
                    <a:lnTo>
                      <a:pt x="8" y="108"/>
                    </a:lnTo>
                    <a:lnTo>
                      <a:pt x="11" y="106"/>
                    </a:lnTo>
                    <a:lnTo>
                      <a:pt x="14" y="106"/>
                    </a:lnTo>
                    <a:lnTo>
                      <a:pt x="16" y="106"/>
                    </a:lnTo>
                    <a:lnTo>
                      <a:pt x="20" y="106"/>
                    </a:lnTo>
                    <a:lnTo>
                      <a:pt x="21" y="106"/>
                    </a:lnTo>
                    <a:lnTo>
                      <a:pt x="26" y="108"/>
                    </a:lnTo>
                    <a:lnTo>
                      <a:pt x="27" y="108"/>
                    </a:lnTo>
                    <a:lnTo>
                      <a:pt x="29" y="108"/>
                    </a:lnTo>
                    <a:lnTo>
                      <a:pt x="30" y="106"/>
                    </a:lnTo>
                    <a:lnTo>
                      <a:pt x="33" y="105"/>
                    </a:lnTo>
                    <a:lnTo>
                      <a:pt x="36" y="105"/>
                    </a:lnTo>
                    <a:lnTo>
                      <a:pt x="34" y="100"/>
                    </a:lnTo>
                    <a:lnTo>
                      <a:pt x="34" y="9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66" name="Freeform 72">
                <a:extLst>
                  <a:ext uri="{FF2B5EF4-FFF2-40B4-BE49-F238E27FC236}">
                    <a16:creationId xmlns:a16="http://schemas.microsoft.com/office/drawing/2014/main" id="{A2203481-DA5A-9707-403A-3911045CA861}"/>
                  </a:ext>
                </a:extLst>
              </p:cNvPr>
              <p:cNvSpPr>
                <a:spLocks/>
              </p:cNvSpPr>
              <p:nvPr/>
            </p:nvSpPr>
            <p:spPr bwMode="auto">
              <a:xfrm>
                <a:off x="3955" y="1584"/>
                <a:ext cx="168" cy="116"/>
              </a:xfrm>
              <a:custGeom>
                <a:avLst/>
                <a:gdLst>
                  <a:gd name="T0" fmla="*/ 77 w 168"/>
                  <a:gd name="T1" fmla="*/ 7 h 116"/>
                  <a:gd name="T2" fmla="*/ 62 w 168"/>
                  <a:gd name="T3" fmla="*/ 10 h 116"/>
                  <a:gd name="T4" fmla="*/ 60 w 168"/>
                  <a:gd name="T5" fmla="*/ 18 h 116"/>
                  <a:gd name="T6" fmla="*/ 59 w 168"/>
                  <a:gd name="T7" fmla="*/ 23 h 116"/>
                  <a:gd name="T8" fmla="*/ 50 w 168"/>
                  <a:gd name="T9" fmla="*/ 27 h 116"/>
                  <a:gd name="T10" fmla="*/ 46 w 168"/>
                  <a:gd name="T11" fmla="*/ 34 h 116"/>
                  <a:gd name="T12" fmla="*/ 43 w 168"/>
                  <a:gd name="T13" fmla="*/ 41 h 116"/>
                  <a:gd name="T14" fmla="*/ 46 w 168"/>
                  <a:gd name="T15" fmla="*/ 44 h 116"/>
                  <a:gd name="T16" fmla="*/ 40 w 168"/>
                  <a:gd name="T17" fmla="*/ 43 h 116"/>
                  <a:gd name="T18" fmla="*/ 31 w 168"/>
                  <a:gd name="T19" fmla="*/ 46 h 116"/>
                  <a:gd name="T20" fmla="*/ 29 w 168"/>
                  <a:gd name="T21" fmla="*/ 48 h 116"/>
                  <a:gd name="T22" fmla="*/ 20 w 168"/>
                  <a:gd name="T23" fmla="*/ 50 h 116"/>
                  <a:gd name="T24" fmla="*/ 13 w 168"/>
                  <a:gd name="T25" fmla="*/ 71 h 116"/>
                  <a:gd name="T26" fmla="*/ 6 w 168"/>
                  <a:gd name="T27" fmla="*/ 84 h 116"/>
                  <a:gd name="T28" fmla="*/ 1 w 168"/>
                  <a:gd name="T29" fmla="*/ 93 h 116"/>
                  <a:gd name="T30" fmla="*/ 7 w 168"/>
                  <a:gd name="T31" fmla="*/ 107 h 116"/>
                  <a:gd name="T32" fmla="*/ 17 w 168"/>
                  <a:gd name="T33" fmla="*/ 106 h 116"/>
                  <a:gd name="T34" fmla="*/ 44 w 168"/>
                  <a:gd name="T35" fmla="*/ 100 h 116"/>
                  <a:gd name="T36" fmla="*/ 72 w 168"/>
                  <a:gd name="T37" fmla="*/ 107 h 116"/>
                  <a:gd name="T38" fmla="*/ 77 w 168"/>
                  <a:gd name="T39" fmla="*/ 107 h 116"/>
                  <a:gd name="T40" fmla="*/ 79 w 168"/>
                  <a:gd name="T41" fmla="*/ 110 h 116"/>
                  <a:gd name="T42" fmla="*/ 83 w 168"/>
                  <a:gd name="T43" fmla="*/ 109 h 116"/>
                  <a:gd name="T44" fmla="*/ 96 w 168"/>
                  <a:gd name="T45" fmla="*/ 110 h 116"/>
                  <a:gd name="T46" fmla="*/ 100 w 168"/>
                  <a:gd name="T47" fmla="*/ 110 h 116"/>
                  <a:gd name="T48" fmla="*/ 120 w 168"/>
                  <a:gd name="T49" fmla="*/ 112 h 116"/>
                  <a:gd name="T50" fmla="*/ 126 w 168"/>
                  <a:gd name="T51" fmla="*/ 115 h 116"/>
                  <a:gd name="T52" fmla="*/ 130 w 168"/>
                  <a:gd name="T53" fmla="*/ 104 h 116"/>
                  <a:gd name="T54" fmla="*/ 151 w 168"/>
                  <a:gd name="T55" fmla="*/ 94 h 116"/>
                  <a:gd name="T56" fmla="*/ 148 w 168"/>
                  <a:gd name="T57" fmla="*/ 90 h 116"/>
                  <a:gd name="T58" fmla="*/ 148 w 168"/>
                  <a:gd name="T59" fmla="*/ 84 h 116"/>
                  <a:gd name="T60" fmla="*/ 148 w 168"/>
                  <a:gd name="T61" fmla="*/ 80 h 116"/>
                  <a:gd name="T62" fmla="*/ 143 w 168"/>
                  <a:gd name="T63" fmla="*/ 71 h 116"/>
                  <a:gd name="T64" fmla="*/ 149 w 168"/>
                  <a:gd name="T65" fmla="*/ 69 h 116"/>
                  <a:gd name="T66" fmla="*/ 158 w 168"/>
                  <a:gd name="T67" fmla="*/ 71 h 116"/>
                  <a:gd name="T68" fmla="*/ 165 w 168"/>
                  <a:gd name="T69" fmla="*/ 66 h 116"/>
                  <a:gd name="T70" fmla="*/ 168 w 168"/>
                  <a:gd name="T71" fmla="*/ 63 h 116"/>
                  <a:gd name="T72" fmla="*/ 164 w 168"/>
                  <a:gd name="T73" fmla="*/ 58 h 116"/>
                  <a:gd name="T74" fmla="*/ 156 w 168"/>
                  <a:gd name="T75" fmla="*/ 54 h 116"/>
                  <a:gd name="T76" fmla="*/ 151 w 168"/>
                  <a:gd name="T77" fmla="*/ 54 h 116"/>
                  <a:gd name="T78" fmla="*/ 151 w 168"/>
                  <a:gd name="T79" fmla="*/ 47 h 116"/>
                  <a:gd name="T80" fmla="*/ 139 w 168"/>
                  <a:gd name="T81" fmla="*/ 37 h 116"/>
                  <a:gd name="T82" fmla="*/ 139 w 168"/>
                  <a:gd name="T83" fmla="*/ 34 h 116"/>
                  <a:gd name="T84" fmla="*/ 135 w 168"/>
                  <a:gd name="T85" fmla="*/ 28 h 116"/>
                  <a:gd name="T86" fmla="*/ 136 w 168"/>
                  <a:gd name="T87" fmla="*/ 21 h 116"/>
                  <a:gd name="T88" fmla="*/ 135 w 168"/>
                  <a:gd name="T89" fmla="*/ 18 h 116"/>
                  <a:gd name="T90" fmla="*/ 136 w 168"/>
                  <a:gd name="T91" fmla="*/ 12 h 116"/>
                  <a:gd name="T92" fmla="*/ 130 w 168"/>
                  <a:gd name="T93" fmla="*/ 10 h 116"/>
                  <a:gd name="T94" fmla="*/ 125 w 168"/>
                  <a:gd name="T95" fmla="*/ 7 h 116"/>
                  <a:gd name="T96" fmla="*/ 119 w 168"/>
                  <a:gd name="T97" fmla="*/ 7 h 116"/>
                  <a:gd name="T98" fmla="*/ 116 w 168"/>
                  <a:gd name="T99" fmla="*/ 8 h 116"/>
                  <a:gd name="T100" fmla="*/ 110 w 168"/>
                  <a:gd name="T101" fmla="*/ 10 h 116"/>
                  <a:gd name="T102" fmla="*/ 109 w 168"/>
                  <a:gd name="T103" fmla="*/ 5 h 116"/>
                  <a:gd name="T104" fmla="*/ 105 w 168"/>
                  <a:gd name="T105" fmla="*/ 2 h 116"/>
                  <a:gd name="T106" fmla="*/ 99 w 168"/>
                  <a:gd name="T107" fmla="*/ 4 h 116"/>
                  <a:gd name="T108" fmla="*/ 92 w 168"/>
                  <a:gd name="T109" fmla="*/ 1 h 116"/>
                  <a:gd name="T110" fmla="*/ 87 w 168"/>
                  <a:gd name="T111"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116">
                    <a:moveTo>
                      <a:pt x="86" y="1"/>
                    </a:moveTo>
                    <a:lnTo>
                      <a:pt x="83" y="1"/>
                    </a:lnTo>
                    <a:lnTo>
                      <a:pt x="82" y="2"/>
                    </a:lnTo>
                    <a:lnTo>
                      <a:pt x="80" y="4"/>
                    </a:lnTo>
                    <a:lnTo>
                      <a:pt x="77" y="7"/>
                    </a:lnTo>
                    <a:lnTo>
                      <a:pt x="77" y="7"/>
                    </a:lnTo>
                    <a:lnTo>
                      <a:pt x="74" y="8"/>
                    </a:lnTo>
                    <a:lnTo>
                      <a:pt x="73" y="8"/>
                    </a:lnTo>
                    <a:lnTo>
                      <a:pt x="69" y="7"/>
                    </a:lnTo>
                    <a:lnTo>
                      <a:pt x="67" y="7"/>
                    </a:lnTo>
                    <a:lnTo>
                      <a:pt x="66" y="8"/>
                    </a:lnTo>
                    <a:lnTo>
                      <a:pt x="62" y="10"/>
                    </a:lnTo>
                    <a:lnTo>
                      <a:pt x="60" y="11"/>
                    </a:lnTo>
                    <a:lnTo>
                      <a:pt x="60" y="12"/>
                    </a:lnTo>
                    <a:lnTo>
                      <a:pt x="59" y="17"/>
                    </a:lnTo>
                    <a:lnTo>
                      <a:pt x="57" y="17"/>
                    </a:lnTo>
                    <a:lnTo>
                      <a:pt x="59" y="18"/>
                    </a:lnTo>
                    <a:lnTo>
                      <a:pt x="60" y="18"/>
                    </a:lnTo>
                    <a:lnTo>
                      <a:pt x="62" y="20"/>
                    </a:lnTo>
                    <a:lnTo>
                      <a:pt x="63" y="20"/>
                    </a:lnTo>
                    <a:lnTo>
                      <a:pt x="63" y="20"/>
                    </a:lnTo>
                    <a:lnTo>
                      <a:pt x="62" y="23"/>
                    </a:lnTo>
                    <a:lnTo>
                      <a:pt x="60" y="23"/>
                    </a:lnTo>
                    <a:lnTo>
                      <a:pt x="59" y="23"/>
                    </a:lnTo>
                    <a:lnTo>
                      <a:pt x="56" y="23"/>
                    </a:lnTo>
                    <a:lnTo>
                      <a:pt x="54" y="24"/>
                    </a:lnTo>
                    <a:lnTo>
                      <a:pt x="53" y="24"/>
                    </a:lnTo>
                    <a:lnTo>
                      <a:pt x="52" y="25"/>
                    </a:lnTo>
                    <a:lnTo>
                      <a:pt x="52" y="27"/>
                    </a:lnTo>
                    <a:lnTo>
                      <a:pt x="50" y="27"/>
                    </a:lnTo>
                    <a:lnTo>
                      <a:pt x="49" y="28"/>
                    </a:lnTo>
                    <a:lnTo>
                      <a:pt x="47" y="28"/>
                    </a:lnTo>
                    <a:lnTo>
                      <a:pt x="46" y="30"/>
                    </a:lnTo>
                    <a:lnTo>
                      <a:pt x="46" y="31"/>
                    </a:lnTo>
                    <a:lnTo>
                      <a:pt x="46" y="33"/>
                    </a:lnTo>
                    <a:lnTo>
                      <a:pt x="46" y="34"/>
                    </a:lnTo>
                    <a:lnTo>
                      <a:pt x="44" y="35"/>
                    </a:lnTo>
                    <a:lnTo>
                      <a:pt x="44" y="37"/>
                    </a:lnTo>
                    <a:lnTo>
                      <a:pt x="43" y="38"/>
                    </a:lnTo>
                    <a:lnTo>
                      <a:pt x="43" y="38"/>
                    </a:lnTo>
                    <a:lnTo>
                      <a:pt x="41" y="40"/>
                    </a:lnTo>
                    <a:lnTo>
                      <a:pt x="43" y="41"/>
                    </a:lnTo>
                    <a:lnTo>
                      <a:pt x="43" y="41"/>
                    </a:lnTo>
                    <a:lnTo>
                      <a:pt x="44" y="41"/>
                    </a:lnTo>
                    <a:lnTo>
                      <a:pt x="44" y="43"/>
                    </a:lnTo>
                    <a:lnTo>
                      <a:pt x="46" y="43"/>
                    </a:lnTo>
                    <a:lnTo>
                      <a:pt x="46" y="44"/>
                    </a:lnTo>
                    <a:lnTo>
                      <a:pt x="46" y="44"/>
                    </a:lnTo>
                    <a:lnTo>
                      <a:pt x="44" y="46"/>
                    </a:lnTo>
                    <a:lnTo>
                      <a:pt x="43" y="46"/>
                    </a:lnTo>
                    <a:lnTo>
                      <a:pt x="43" y="46"/>
                    </a:lnTo>
                    <a:lnTo>
                      <a:pt x="41" y="46"/>
                    </a:lnTo>
                    <a:lnTo>
                      <a:pt x="40" y="44"/>
                    </a:lnTo>
                    <a:lnTo>
                      <a:pt x="40" y="43"/>
                    </a:lnTo>
                    <a:lnTo>
                      <a:pt x="40" y="43"/>
                    </a:lnTo>
                    <a:lnTo>
                      <a:pt x="37" y="43"/>
                    </a:lnTo>
                    <a:lnTo>
                      <a:pt x="37" y="44"/>
                    </a:lnTo>
                    <a:lnTo>
                      <a:pt x="34" y="46"/>
                    </a:lnTo>
                    <a:lnTo>
                      <a:pt x="33" y="46"/>
                    </a:lnTo>
                    <a:lnTo>
                      <a:pt x="31" y="46"/>
                    </a:lnTo>
                    <a:lnTo>
                      <a:pt x="31" y="46"/>
                    </a:lnTo>
                    <a:lnTo>
                      <a:pt x="30" y="46"/>
                    </a:lnTo>
                    <a:lnTo>
                      <a:pt x="30" y="46"/>
                    </a:lnTo>
                    <a:lnTo>
                      <a:pt x="29" y="47"/>
                    </a:lnTo>
                    <a:lnTo>
                      <a:pt x="29" y="48"/>
                    </a:lnTo>
                    <a:lnTo>
                      <a:pt x="29" y="48"/>
                    </a:lnTo>
                    <a:lnTo>
                      <a:pt x="27" y="50"/>
                    </a:lnTo>
                    <a:lnTo>
                      <a:pt x="26" y="50"/>
                    </a:lnTo>
                    <a:lnTo>
                      <a:pt x="23" y="51"/>
                    </a:lnTo>
                    <a:lnTo>
                      <a:pt x="21" y="51"/>
                    </a:lnTo>
                    <a:lnTo>
                      <a:pt x="20" y="51"/>
                    </a:lnTo>
                    <a:lnTo>
                      <a:pt x="20" y="50"/>
                    </a:lnTo>
                    <a:lnTo>
                      <a:pt x="18" y="50"/>
                    </a:lnTo>
                    <a:lnTo>
                      <a:pt x="14" y="50"/>
                    </a:lnTo>
                    <a:lnTo>
                      <a:pt x="11" y="51"/>
                    </a:lnTo>
                    <a:lnTo>
                      <a:pt x="8" y="51"/>
                    </a:lnTo>
                    <a:lnTo>
                      <a:pt x="6" y="50"/>
                    </a:lnTo>
                    <a:lnTo>
                      <a:pt x="13" y="71"/>
                    </a:lnTo>
                    <a:lnTo>
                      <a:pt x="13" y="74"/>
                    </a:lnTo>
                    <a:lnTo>
                      <a:pt x="13" y="76"/>
                    </a:lnTo>
                    <a:lnTo>
                      <a:pt x="13" y="79"/>
                    </a:lnTo>
                    <a:lnTo>
                      <a:pt x="13" y="80"/>
                    </a:lnTo>
                    <a:lnTo>
                      <a:pt x="11" y="81"/>
                    </a:lnTo>
                    <a:lnTo>
                      <a:pt x="6" y="84"/>
                    </a:lnTo>
                    <a:lnTo>
                      <a:pt x="4" y="84"/>
                    </a:lnTo>
                    <a:lnTo>
                      <a:pt x="3" y="86"/>
                    </a:lnTo>
                    <a:lnTo>
                      <a:pt x="1" y="87"/>
                    </a:lnTo>
                    <a:lnTo>
                      <a:pt x="0" y="90"/>
                    </a:lnTo>
                    <a:lnTo>
                      <a:pt x="0" y="92"/>
                    </a:lnTo>
                    <a:lnTo>
                      <a:pt x="1" y="93"/>
                    </a:lnTo>
                    <a:lnTo>
                      <a:pt x="6" y="94"/>
                    </a:lnTo>
                    <a:lnTo>
                      <a:pt x="7" y="96"/>
                    </a:lnTo>
                    <a:lnTo>
                      <a:pt x="8" y="99"/>
                    </a:lnTo>
                    <a:lnTo>
                      <a:pt x="7" y="106"/>
                    </a:lnTo>
                    <a:lnTo>
                      <a:pt x="7" y="110"/>
                    </a:lnTo>
                    <a:lnTo>
                      <a:pt x="7" y="107"/>
                    </a:lnTo>
                    <a:lnTo>
                      <a:pt x="8" y="107"/>
                    </a:lnTo>
                    <a:lnTo>
                      <a:pt x="14" y="107"/>
                    </a:lnTo>
                    <a:lnTo>
                      <a:pt x="14" y="107"/>
                    </a:lnTo>
                    <a:lnTo>
                      <a:pt x="16" y="107"/>
                    </a:lnTo>
                    <a:lnTo>
                      <a:pt x="17" y="106"/>
                    </a:lnTo>
                    <a:lnTo>
                      <a:pt x="17" y="106"/>
                    </a:lnTo>
                    <a:lnTo>
                      <a:pt x="20" y="103"/>
                    </a:lnTo>
                    <a:lnTo>
                      <a:pt x="20" y="102"/>
                    </a:lnTo>
                    <a:lnTo>
                      <a:pt x="24" y="100"/>
                    </a:lnTo>
                    <a:lnTo>
                      <a:pt x="29" y="100"/>
                    </a:lnTo>
                    <a:lnTo>
                      <a:pt x="39" y="100"/>
                    </a:lnTo>
                    <a:lnTo>
                      <a:pt x="44" y="100"/>
                    </a:lnTo>
                    <a:lnTo>
                      <a:pt x="60" y="103"/>
                    </a:lnTo>
                    <a:lnTo>
                      <a:pt x="67" y="103"/>
                    </a:lnTo>
                    <a:lnTo>
                      <a:pt x="70" y="104"/>
                    </a:lnTo>
                    <a:lnTo>
                      <a:pt x="70" y="104"/>
                    </a:lnTo>
                    <a:lnTo>
                      <a:pt x="72" y="107"/>
                    </a:lnTo>
                    <a:lnTo>
                      <a:pt x="72" y="107"/>
                    </a:lnTo>
                    <a:lnTo>
                      <a:pt x="73" y="109"/>
                    </a:lnTo>
                    <a:lnTo>
                      <a:pt x="74" y="107"/>
                    </a:lnTo>
                    <a:lnTo>
                      <a:pt x="74" y="107"/>
                    </a:lnTo>
                    <a:lnTo>
                      <a:pt x="76" y="107"/>
                    </a:lnTo>
                    <a:lnTo>
                      <a:pt x="77" y="107"/>
                    </a:lnTo>
                    <a:lnTo>
                      <a:pt x="77" y="107"/>
                    </a:lnTo>
                    <a:lnTo>
                      <a:pt x="77" y="109"/>
                    </a:lnTo>
                    <a:lnTo>
                      <a:pt x="79" y="109"/>
                    </a:lnTo>
                    <a:lnTo>
                      <a:pt x="79" y="109"/>
                    </a:lnTo>
                    <a:lnTo>
                      <a:pt x="79" y="110"/>
                    </a:lnTo>
                    <a:lnTo>
                      <a:pt x="79" y="110"/>
                    </a:lnTo>
                    <a:lnTo>
                      <a:pt x="79" y="110"/>
                    </a:lnTo>
                    <a:lnTo>
                      <a:pt x="80" y="110"/>
                    </a:lnTo>
                    <a:lnTo>
                      <a:pt x="80" y="110"/>
                    </a:lnTo>
                    <a:lnTo>
                      <a:pt x="80" y="110"/>
                    </a:lnTo>
                    <a:lnTo>
                      <a:pt x="82" y="110"/>
                    </a:lnTo>
                    <a:lnTo>
                      <a:pt x="82" y="110"/>
                    </a:lnTo>
                    <a:lnTo>
                      <a:pt x="83" y="109"/>
                    </a:lnTo>
                    <a:lnTo>
                      <a:pt x="87" y="107"/>
                    </a:lnTo>
                    <a:lnTo>
                      <a:pt x="90" y="109"/>
                    </a:lnTo>
                    <a:lnTo>
                      <a:pt x="92" y="109"/>
                    </a:lnTo>
                    <a:lnTo>
                      <a:pt x="93" y="109"/>
                    </a:lnTo>
                    <a:lnTo>
                      <a:pt x="96" y="110"/>
                    </a:lnTo>
                    <a:lnTo>
                      <a:pt x="96" y="110"/>
                    </a:lnTo>
                    <a:lnTo>
                      <a:pt x="96" y="112"/>
                    </a:lnTo>
                    <a:lnTo>
                      <a:pt x="96" y="112"/>
                    </a:lnTo>
                    <a:lnTo>
                      <a:pt x="97" y="112"/>
                    </a:lnTo>
                    <a:lnTo>
                      <a:pt x="97" y="112"/>
                    </a:lnTo>
                    <a:lnTo>
                      <a:pt x="99" y="110"/>
                    </a:lnTo>
                    <a:lnTo>
                      <a:pt x="100" y="110"/>
                    </a:lnTo>
                    <a:lnTo>
                      <a:pt x="103" y="107"/>
                    </a:lnTo>
                    <a:lnTo>
                      <a:pt x="105" y="109"/>
                    </a:lnTo>
                    <a:lnTo>
                      <a:pt x="106" y="112"/>
                    </a:lnTo>
                    <a:lnTo>
                      <a:pt x="109" y="113"/>
                    </a:lnTo>
                    <a:lnTo>
                      <a:pt x="110" y="113"/>
                    </a:lnTo>
                    <a:lnTo>
                      <a:pt x="120" y="112"/>
                    </a:lnTo>
                    <a:lnTo>
                      <a:pt x="122" y="112"/>
                    </a:lnTo>
                    <a:lnTo>
                      <a:pt x="123" y="112"/>
                    </a:lnTo>
                    <a:lnTo>
                      <a:pt x="125" y="112"/>
                    </a:lnTo>
                    <a:lnTo>
                      <a:pt x="125" y="113"/>
                    </a:lnTo>
                    <a:lnTo>
                      <a:pt x="125" y="115"/>
                    </a:lnTo>
                    <a:lnTo>
                      <a:pt x="126" y="115"/>
                    </a:lnTo>
                    <a:lnTo>
                      <a:pt x="129" y="116"/>
                    </a:lnTo>
                    <a:lnTo>
                      <a:pt x="130" y="116"/>
                    </a:lnTo>
                    <a:lnTo>
                      <a:pt x="130" y="115"/>
                    </a:lnTo>
                    <a:lnTo>
                      <a:pt x="130" y="112"/>
                    </a:lnTo>
                    <a:lnTo>
                      <a:pt x="130" y="107"/>
                    </a:lnTo>
                    <a:lnTo>
                      <a:pt x="130" y="104"/>
                    </a:lnTo>
                    <a:lnTo>
                      <a:pt x="132" y="103"/>
                    </a:lnTo>
                    <a:lnTo>
                      <a:pt x="136" y="99"/>
                    </a:lnTo>
                    <a:lnTo>
                      <a:pt x="141" y="96"/>
                    </a:lnTo>
                    <a:lnTo>
                      <a:pt x="145" y="96"/>
                    </a:lnTo>
                    <a:lnTo>
                      <a:pt x="151" y="96"/>
                    </a:lnTo>
                    <a:lnTo>
                      <a:pt x="151" y="94"/>
                    </a:lnTo>
                    <a:lnTo>
                      <a:pt x="149" y="92"/>
                    </a:lnTo>
                    <a:lnTo>
                      <a:pt x="149" y="92"/>
                    </a:lnTo>
                    <a:lnTo>
                      <a:pt x="149" y="92"/>
                    </a:lnTo>
                    <a:lnTo>
                      <a:pt x="149" y="92"/>
                    </a:lnTo>
                    <a:lnTo>
                      <a:pt x="148" y="90"/>
                    </a:lnTo>
                    <a:lnTo>
                      <a:pt x="148" y="90"/>
                    </a:lnTo>
                    <a:lnTo>
                      <a:pt x="148" y="90"/>
                    </a:lnTo>
                    <a:lnTo>
                      <a:pt x="148" y="89"/>
                    </a:lnTo>
                    <a:lnTo>
                      <a:pt x="148" y="89"/>
                    </a:lnTo>
                    <a:lnTo>
                      <a:pt x="148" y="87"/>
                    </a:lnTo>
                    <a:lnTo>
                      <a:pt x="148" y="86"/>
                    </a:lnTo>
                    <a:lnTo>
                      <a:pt x="148" y="84"/>
                    </a:lnTo>
                    <a:lnTo>
                      <a:pt x="148" y="83"/>
                    </a:lnTo>
                    <a:lnTo>
                      <a:pt x="146" y="81"/>
                    </a:lnTo>
                    <a:lnTo>
                      <a:pt x="146" y="81"/>
                    </a:lnTo>
                    <a:lnTo>
                      <a:pt x="146" y="80"/>
                    </a:lnTo>
                    <a:lnTo>
                      <a:pt x="148" y="80"/>
                    </a:lnTo>
                    <a:lnTo>
                      <a:pt x="148" y="80"/>
                    </a:lnTo>
                    <a:lnTo>
                      <a:pt x="148" y="79"/>
                    </a:lnTo>
                    <a:lnTo>
                      <a:pt x="148" y="79"/>
                    </a:lnTo>
                    <a:lnTo>
                      <a:pt x="148" y="79"/>
                    </a:lnTo>
                    <a:lnTo>
                      <a:pt x="148" y="79"/>
                    </a:lnTo>
                    <a:lnTo>
                      <a:pt x="142" y="73"/>
                    </a:lnTo>
                    <a:lnTo>
                      <a:pt x="143" y="71"/>
                    </a:lnTo>
                    <a:lnTo>
                      <a:pt x="145" y="69"/>
                    </a:lnTo>
                    <a:lnTo>
                      <a:pt x="145" y="69"/>
                    </a:lnTo>
                    <a:lnTo>
                      <a:pt x="146" y="69"/>
                    </a:lnTo>
                    <a:lnTo>
                      <a:pt x="148" y="69"/>
                    </a:lnTo>
                    <a:lnTo>
                      <a:pt x="148" y="69"/>
                    </a:lnTo>
                    <a:lnTo>
                      <a:pt x="149" y="69"/>
                    </a:lnTo>
                    <a:lnTo>
                      <a:pt x="151" y="69"/>
                    </a:lnTo>
                    <a:lnTo>
                      <a:pt x="152" y="70"/>
                    </a:lnTo>
                    <a:lnTo>
                      <a:pt x="152" y="70"/>
                    </a:lnTo>
                    <a:lnTo>
                      <a:pt x="155" y="70"/>
                    </a:lnTo>
                    <a:lnTo>
                      <a:pt x="156" y="71"/>
                    </a:lnTo>
                    <a:lnTo>
                      <a:pt x="158" y="71"/>
                    </a:lnTo>
                    <a:lnTo>
                      <a:pt x="159" y="70"/>
                    </a:lnTo>
                    <a:lnTo>
                      <a:pt x="161" y="70"/>
                    </a:lnTo>
                    <a:lnTo>
                      <a:pt x="162" y="69"/>
                    </a:lnTo>
                    <a:lnTo>
                      <a:pt x="162" y="67"/>
                    </a:lnTo>
                    <a:lnTo>
                      <a:pt x="164" y="67"/>
                    </a:lnTo>
                    <a:lnTo>
                      <a:pt x="165" y="66"/>
                    </a:lnTo>
                    <a:lnTo>
                      <a:pt x="165" y="66"/>
                    </a:lnTo>
                    <a:lnTo>
                      <a:pt x="166" y="66"/>
                    </a:lnTo>
                    <a:lnTo>
                      <a:pt x="168" y="64"/>
                    </a:lnTo>
                    <a:lnTo>
                      <a:pt x="168" y="64"/>
                    </a:lnTo>
                    <a:lnTo>
                      <a:pt x="168" y="63"/>
                    </a:lnTo>
                    <a:lnTo>
                      <a:pt x="168" y="63"/>
                    </a:lnTo>
                    <a:lnTo>
                      <a:pt x="168" y="63"/>
                    </a:lnTo>
                    <a:lnTo>
                      <a:pt x="165" y="61"/>
                    </a:lnTo>
                    <a:lnTo>
                      <a:pt x="165" y="60"/>
                    </a:lnTo>
                    <a:lnTo>
                      <a:pt x="164" y="60"/>
                    </a:lnTo>
                    <a:lnTo>
                      <a:pt x="164" y="60"/>
                    </a:lnTo>
                    <a:lnTo>
                      <a:pt x="164" y="58"/>
                    </a:lnTo>
                    <a:lnTo>
                      <a:pt x="164" y="58"/>
                    </a:lnTo>
                    <a:lnTo>
                      <a:pt x="164" y="57"/>
                    </a:lnTo>
                    <a:lnTo>
                      <a:pt x="164" y="57"/>
                    </a:lnTo>
                    <a:lnTo>
                      <a:pt x="164" y="56"/>
                    </a:lnTo>
                    <a:lnTo>
                      <a:pt x="159" y="54"/>
                    </a:lnTo>
                    <a:lnTo>
                      <a:pt x="156" y="54"/>
                    </a:lnTo>
                    <a:lnTo>
                      <a:pt x="155" y="54"/>
                    </a:lnTo>
                    <a:lnTo>
                      <a:pt x="153" y="54"/>
                    </a:lnTo>
                    <a:lnTo>
                      <a:pt x="153" y="54"/>
                    </a:lnTo>
                    <a:lnTo>
                      <a:pt x="152" y="54"/>
                    </a:lnTo>
                    <a:lnTo>
                      <a:pt x="152" y="54"/>
                    </a:lnTo>
                    <a:lnTo>
                      <a:pt x="151" y="54"/>
                    </a:lnTo>
                    <a:lnTo>
                      <a:pt x="152" y="53"/>
                    </a:lnTo>
                    <a:lnTo>
                      <a:pt x="152" y="51"/>
                    </a:lnTo>
                    <a:lnTo>
                      <a:pt x="152" y="50"/>
                    </a:lnTo>
                    <a:lnTo>
                      <a:pt x="152" y="50"/>
                    </a:lnTo>
                    <a:lnTo>
                      <a:pt x="152" y="48"/>
                    </a:lnTo>
                    <a:lnTo>
                      <a:pt x="151" y="47"/>
                    </a:lnTo>
                    <a:lnTo>
                      <a:pt x="145" y="44"/>
                    </a:lnTo>
                    <a:lnTo>
                      <a:pt x="143" y="43"/>
                    </a:lnTo>
                    <a:lnTo>
                      <a:pt x="142" y="40"/>
                    </a:lnTo>
                    <a:lnTo>
                      <a:pt x="141" y="38"/>
                    </a:lnTo>
                    <a:lnTo>
                      <a:pt x="139" y="37"/>
                    </a:lnTo>
                    <a:lnTo>
                      <a:pt x="139" y="37"/>
                    </a:lnTo>
                    <a:lnTo>
                      <a:pt x="139" y="37"/>
                    </a:lnTo>
                    <a:lnTo>
                      <a:pt x="139" y="37"/>
                    </a:lnTo>
                    <a:lnTo>
                      <a:pt x="139" y="35"/>
                    </a:lnTo>
                    <a:lnTo>
                      <a:pt x="141" y="34"/>
                    </a:lnTo>
                    <a:lnTo>
                      <a:pt x="141" y="34"/>
                    </a:lnTo>
                    <a:lnTo>
                      <a:pt x="139" y="34"/>
                    </a:lnTo>
                    <a:lnTo>
                      <a:pt x="138" y="33"/>
                    </a:lnTo>
                    <a:lnTo>
                      <a:pt x="136" y="33"/>
                    </a:lnTo>
                    <a:lnTo>
                      <a:pt x="135" y="31"/>
                    </a:lnTo>
                    <a:lnTo>
                      <a:pt x="133" y="30"/>
                    </a:lnTo>
                    <a:lnTo>
                      <a:pt x="133" y="30"/>
                    </a:lnTo>
                    <a:lnTo>
                      <a:pt x="135" y="28"/>
                    </a:lnTo>
                    <a:lnTo>
                      <a:pt x="135" y="27"/>
                    </a:lnTo>
                    <a:lnTo>
                      <a:pt x="135" y="27"/>
                    </a:lnTo>
                    <a:lnTo>
                      <a:pt x="136" y="25"/>
                    </a:lnTo>
                    <a:lnTo>
                      <a:pt x="138" y="24"/>
                    </a:lnTo>
                    <a:lnTo>
                      <a:pt x="138" y="23"/>
                    </a:lnTo>
                    <a:lnTo>
                      <a:pt x="136" y="21"/>
                    </a:lnTo>
                    <a:lnTo>
                      <a:pt x="135" y="21"/>
                    </a:lnTo>
                    <a:lnTo>
                      <a:pt x="135" y="20"/>
                    </a:lnTo>
                    <a:lnTo>
                      <a:pt x="135" y="20"/>
                    </a:lnTo>
                    <a:lnTo>
                      <a:pt x="135" y="20"/>
                    </a:lnTo>
                    <a:lnTo>
                      <a:pt x="135" y="18"/>
                    </a:lnTo>
                    <a:lnTo>
                      <a:pt x="135" y="18"/>
                    </a:lnTo>
                    <a:lnTo>
                      <a:pt x="135" y="18"/>
                    </a:lnTo>
                    <a:lnTo>
                      <a:pt x="136" y="17"/>
                    </a:lnTo>
                    <a:lnTo>
                      <a:pt x="136" y="15"/>
                    </a:lnTo>
                    <a:lnTo>
                      <a:pt x="136" y="14"/>
                    </a:lnTo>
                    <a:lnTo>
                      <a:pt x="136" y="12"/>
                    </a:lnTo>
                    <a:lnTo>
                      <a:pt x="136" y="12"/>
                    </a:lnTo>
                    <a:lnTo>
                      <a:pt x="135" y="12"/>
                    </a:lnTo>
                    <a:lnTo>
                      <a:pt x="135" y="12"/>
                    </a:lnTo>
                    <a:lnTo>
                      <a:pt x="135" y="12"/>
                    </a:lnTo>
                    <a:lnTo>
                      <a:pt x="132" y="11"/>
                    </a:lnTo>
                    <a:lnTo>
                      <a:pt x="130" y="11"/>
                    </a:lnTo>
                    <a:lnTo>
                      <a:pt x="130" y="10"/>
                    </a:lnTo>
                    <a:lnTo>
                      <a:pt x="130" y="10"/>
                    </a:lnTo>
                    <a:lnTo>
                      <a:pt x="130" y="10"/>
                    </a:lnTo>
                    <a:lnTo>
                      <a:pt x="129" y="10"/>
                    </a:lnTo>
                    <a:lnTo>
                      <a:pt x="129" y="8"/>
                    </a:lnTo>
                    <a:lnTo>
                      <a:pt x="128" y="8"/>
                    </a:lnTo>
                    <a:lnTo>
                      <a:pt x="125" y="7"/>
                    </a:lnTo>
                    <a:lnTo>
                      <a:pt x="122" y="7"/>
                    </a:lnTo>
                    <a:lnTo>
                      <a:pt x="120" y="7"/>
                    </a:lnTo>
                    <a:lnTo>
                      <a:pt x="120" y="7"/>
                    </a:lnTo>
                    <a:lnTo>
                      <a:pt x="119" y="7"/>
                    </a:lnTo>
                    <a:lnTo>
                      <a:pt x="119" y="7"/>
                    </a:lnTo>
                    <a:lnTo>
                      <a:pt x="119" y="7"/>
                    </a:lnTo>
                    <a:lnTo>
                      <a:pt x="118" y="7"/>
                    </a:lnTo>
                    <a:lnTo>
                      <a:pt x="118" y="7"/>
                    </a:lnTo>
                    <a:lnTo>
                      <a:pt x="118" y="7"/>
                    </a:lnTo>
                    <a:lnTo>
                      <a:pt x="118" y="8"/>
                    </a:lnTo>
                    <a:lnTo>
                      <a:pt x="118" y="8"/>
                    </a:lnTo>
                    <a:lnTo>
                      <a:pt x="116" y="8"/>
                    </a:lnTo>
                    <a:lnTo>
                      <a:pt x="116" y="8"/>
                    </a:lnTo>
                    <a:lnTo>
                      <a:pt x="115" y="8"/>
                    </a:lnTo>
                    <a:lnTo>
                      <a:pt x="115" y="8"/>
                    </a:lnTo>
                    <a:lnTo>
                      <a:pt x="113" y="8"/>
                    </a:lnTo>
                    <a:lnTo>
                      <a:pt x="113" y="10"/>
                    </a:lnTo>
                    <a:lnTo>
                      <a:pt x="110" y="10"/>
                    </a:lnTo>
                    <a:lnTo>
                      <a:pt x="110" y="10"/>
                    </a:lnTo>
                    <a:lnTo>
                      <a:pt x="109" y="10"/>
                    </a:lnTo>
                    <a:lnTo>
                      <a:pt x="109" y="8"/>
                    </a:lnTo>
                    <a:lnTo>
                      <a:pt x="109" y="8"/>
                    </a:lnTo>
                    <a:lnTo>
                      <a:pt x="109" y="7"/>
                    </a:lnTo>
                    <a:lnTo>
                      <a:pt x="109" y="5"/>
                    </a:lnTo>
                    <a:lnTo>
                      <a:pt x="109" y="5"/>
                    </a:lnTo>
                    <a:lnTo>
                      <a:pt x="109" y="5"/>
                    </a:lnTo>
                    <a:lnTo>
                      <a:pt x="109" y="5"/>
                    </a:lnTo>
                    <a:lnTo>
                      <a:pt x="109" y="4"/>
                    </a:lnTo>
                    <a:lnTo>
                      <a:pt x="108" y="4"/>
                    </a:lnTo>
                    <a:lnTo>
                      <a:pt x="105" y="2"/>
                    </a:lnTo>
                    <a:lnTo>
                      <a:pt x="103" y="2"/>
                    </a:lnTo>
                    <a:lnTo>
                      <a:pt x="102" y="2"/>
                    </a:lnTo>
                    <a:lnTo>
                      <a:pt x="100" y="4"/>
                    </a:lnTo>
                    <a:lnTo>
                      <a:pt x="99" y="4"/>
                    </a:lnTo>
                    <a:lnTo>
                      <a:pt x="99" y="4"/>
                    </a:lnTo>
                    <a:lnTo>
                      <a:pt x="99" y="4"/>
                    </a:lnTo>
                    <a:lnTo>
                      <a:pt x="99" y="4"/>
                    </a:lnTo>
                    <a:lnTo>
                      <a:pt x="97" y="4"/>
                    </a:lnTo>
                    <a:lnTo>
                      <a:pt x="97" y="2"/>
                    </a:lnTo>
                    <a:lnTo>
                      <a:pt x="96" y="1"/>
                    </a:lnTo>
                    <a:lnTo>
                      <a:pt x="95" y="1"/>
                    </a:lnTo>
                    <a:lnTo>
                      <a:pt x="92" y="1"/>
                    </a:lnTo>
                    <a:lnTo>
                      <a:pt x="92" y="1"/>
                    </a:lnTo>
                    <a:lnTo>
                      <a:pt x="90" y="2"/>
                    </a:lnTo>
                    <a:lnTo>
                      <a:pt x="90" y="2"/>
                    </a:lnTo>
                    <a:lnTo>
                      <a:pt x="89" y="1"/>
                    </a:lnTo>
                    <a:lnTo>
                      <a:pt x="89" y="1"/>
                    </a:lnTo>
                    <a:lnTo>
                      <a:pt x="87" y="1"/>
                    </a:lnTo>
                    <a:lnTo>
                      <a:pt x="87" y="0"/>
                    </a:lnTo>
                    <a:lnTo>
                      <a:pt x="87" y="0"/>
                    </a:lnTo>
                    <a:lnTo>
                      <a:pt x="86" y="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67" name="Freeform 73">
                <a:extLst>
                  <a:ext uri="{FF2B5EF4-FFF2-40B4-BE49-F238E27FC236}">
                    <a16:creationId xmlns:a16="http://schemas.microsoft.com/office/drawing/2014/main" id="{16C0D53E-BA4C-2F4F-7646-3FAF7D89AF21}"/>
                  </a:ext>
                </a:extLst>
              </p:cNvPr>
              <p:cNvSpPr>
                <a:spLocks/>
              </p:cNvSpPr>
              <p:nvPr/>
            </p:nvSpPr>
            <p:spPr bwMode="auto">
              <a:xfrm>
                <a:off x="3916" y="1539"/>
                <a:ext cx="128" cy="56"/>
              </a:xfrm>
              <a:custGeom>
                <a:avLst/>
                <a:gdLst>
                  <a:gd name="T0" fmla="*/ 22 w 128"/>
                  <a:gd name="T1" fmla="*/ 40 h 56"/>
                  <a:gd name="T2" fmla="*/ 62 w 128"/>
                  <a:gd name="T3" fmla="*/ 42 h 56"/>
                  <a:gd name="T4" fmla="*/ 68 w 128"/>
                  <a:gd name="T5" fmla="*/ 39 h 56"/>
                  <a:gd name="T6" fmla="*/ 70 w 128"/>
                  <a:gd name="T7" fmla="*/ 42 h 56"/>
                  <a:gd name="T8" fmla="*/ 73 w 128"/>
                  <a:gd name="T9" fmla="*/ 43 h 56"/>
                  <a:gd name="T10" fmla="*/ 83 w 128"/>
                  <a:gd name="T11" fmla="*/ 46 h 56"/>
                  <a:gd name="T12" fmla="*/ 93 w 128"/>
                  <a:gd name="T13" fmla="*/ 53 h 56"/>
                  <a:gd name="T14" fmla="*/ 101 w 128"/>
                  <a:gd name="T15" fmla="*/ 55 h 56"/>
                  <a:gd name="T16" fmla="*/ 108 w 128"/>
                  <a:gd name="T17" fmla="*/ 52 h 56"/>
                  <a:gd name="T18" fmla="*/ 116 w 128"/>
                  <a:gd name="T19" fmla="*/ 52 h 56"/>
                  <a:gd name="T20" fmla="*/ 121 w 128"/>
                  <a:gd name="T21" fmla="*/ 47 h 56"/>
                  <a:gd name="T22" fmla="*/ 126 w 128"/>
                  <a:gd name="T23" fmla="*/ 45 h 56"/>
                  <a:gd name="T24" fmla="*/ 126 w 128"/>
                  <a:gd name="T25" fmla="*/ 45 h 56"/>
                  <a:gd name="T26" fmla="*/ 128 w 128"/>
                  <a:gd name="T27" fmla="*/ 42 h 56"/>
                  <a:gd name="T28" fmla="*/ 126 w 128"/>
                  <a:gd name="T29" fmla="*/ 39 h 56"/>
                  <a:gd name="T30" fmla="*/ 122 w 128"/>
                  <a:gd name="T31" fmla="*/ 30 h 56"/>
                  <a:gd name="T32" fmla="*/ 121 w 128"/>
                  <a:gd name="T33" fmla="*/ 29 h 56"/>
                  <a:gd name="T34" fmla="*/ 118 w 128"/>
                  <a:gd name="T35" fmla="*/ 29 h 56"/>
                  <a:gd name="T36" fmla="*/ 118 w 128"/>
                  <a:gd name="T37" fmla="*/ 27 h 56"/>
                  <a:gd name="T38" fmla="*/ 119 w 128"/>
                  <a:gd name="T39" fmla="*/ 26 h 56"/>
                  <a:gd name="T40" fmla="*/ 119 w 128"/>
                  <a:gd name="T41" fmla="*/ 24 h 56"/>
                  <a:gd name="T42" fmla="*/ 121 w 128"/>
                  <a:gd name="T43" fmla="*/ 22 h 56"/>
                  <a:gd name="T44" fmla="*/ 121 w 128"/>
                  <a:gd name="T45" fmla="*/ 20 h 56"/>
                  <a:gd name="T46" fmla="*/ 116 w 128"/>
                  <a:gd name="T47" fmla="*/ 14 h 56"/>
                  <a:gd name="T48" fmla="*/ 111 w 128"/>
                  <a:gd name="T49" fmla="*/ 13 h 56"/>
                  <a:gd name="T50" fmla="*/ 103 w 128"/>
                  <a:gd name="T51" fmla="*/ 11 h 56"/>
                  <a:gd name="T52" fmla="*/ 95 w 128"/>
                  <a:gd name="T53" fmla="*/ 11 h 56"/>
                  <a:gd name="T54" fmla="*/ 89 w 128"/>
                  <a:gd name="T55" fmla="*/ 6 h 56"/>
                  <a:gd name="T56" fmla="*/ 76 w 128"/>
                  <a:gd name="T57" fmla="*/ 0 h 56"/>
                  <a:gd name="T58" fmla="*/ 68 w 128"/>
                  <a:gd name="T59" fmla="*/ 0 h 56"/>
                  <a:gd name="T60" fmla="*/ 59 w 128"/>
                  <a:gd name="T61" fmla="*/ 7 h 56"/>
                  <a:gd name="T62" fmla="*/ 59 w 128"/>
                  <a:gd name="T63" fmla="*/ 22 h 56"/>
                  <a:gd name="T64" fmla="*/ 52 w 128"/>
                  <a:gd name="T65" fmla="*/ 26 h 56"/>
                  <a:gd name="T66" fmla="*/ 46 w 128"/>
                  <a:gd name="T67" fmla="*/ 26 h 56"/>
                  <a:gd name="T68" fmla="*/ 42 w 128"/>
                  <a:gd name="T69" fmla="*/ 23 h 56"/>
                  <a:gd name="T70" fmla="*/ 34 w 128"/>
                  <a:gd name="T71" fmla="*/ 14 h 56"/>
                  <a:gd name="T72" fmla="*/ 26 w 128"/>
                  <a:gd name="T73" fmla="*/ 9 h 56"/>
                  <a:gd name="T74" fmla="*/ 12 w 128"/>
                  <a:gd name="T75" fmla="*/ 14 h 56"/>
                  <a:gd name="T76" fmla="*/ 7 w 128"/>
                  <a:gd name="T77" fmla="*/ 22 h 56"/>
                  <a:gd name="T78" fmla="*/ 7 w 128"/>
                  <a:gd name="T79" fmla="*/ 26 h 56"/>
                  <a:gd name="T80" fmla="*/ 1 w 128"/>
                  <a:gd name="T81" fmla="*/ 30 h 56"/>
                  <a:gd name="T82" fmla="*/ 1 w 128"/>
                  <a:gd name="T83"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8" h="56">
                    <a:moveTo>
                      <a:pt x="14" y="40"/>
                    </a:moveTo>
                    <a:lnTo>
                      <a:pt x="19" y="40"/>
                    </a:lnTo>
                    <a:lnTo>
                      <a:pt x="22" y="40"/>
                    </a:lnTo>
                    <a:lnTo>
                      <a:pt x="59" y="42"/>
                    </a:lnTo>
                    <a:lnTo>
                      <a:pt x="60" y="42"/>
                    </a:lnTo>
                    <a:lnTo>
                      <a:pt x="62" y="42"/>
                    </a:lnTo>
                    <a:lnTo>
                      <a:pt x="63" y="42"/>
                    </a:lnTo>
                    <a:lnTo>
                      <a:pt x="66" y="40"/>
                    </a:lnTo>
                    <a:lnTo>
                      <a:pt x="68" y="39"/>
                    </a:lnTo>
                    <a:lnTo>
                      <a:pt x="69" y="40"/>
                    </a:lnTo>
                    <a:lnTo>
                      <a:pt x="69" y="40"/>
                    </a:lnTo>
                    <a:lnTo>
                      <a:pt x="70" y="42"/>
                    </a:lnTo>
                    <a:lnTo>
                      <a:pt x="72" y="42"/>
                    </a:lnTo>
                    <a:lnTo>
                      <a:pt x="72" y="43"/>
                    </a:lnTo>
                    <a:lnTo>
                      <a:pt x="73" y="43"/>
                    </a:lnTo>
                    <a:lnTo>
                      <a:pt x="75" y="45"/>
                    </a:lnTo>
                    <a:lnTo>
                      <a:pt x="79" y="45"/>
                    </a:lnTo>
                    <a:lnTo>
                      <a:pt x="83" y="46"/>
                    </a:lnTo>
                    <a:lnTo>
                      <a:pt x="86" y="47"/>
                    </a:lnTo>
                    <a:lnTo>
                      <a:pt x="89" y="49"/>
                    </a:lnTo>
                    <a:lnTo>
                      <a:pt x="93" y="53"/>
                    </a:lnTo>
                    <a:lnTo>
                      <a:pt x="96" y="55"/>
                    </a:lnTo>
                    <a:lnTo>
                      <a:pt x="99" y="56"/>
                    </a:lnTo>
                    <a:lnTo>
                      <a:pt x="101" y="55"/>
                    </a:lnTo>
                    <a:lnTo>
                      <a:pt x="105" y="53"/>
                    </a:lnTo>
                    <a:lnTo>
                      <a:pt x="106" y="52"/>
                    </a:lnTo>
                    <a:lnTo>
                      <a:pt x="108" y="52"/>
                    </a:lnTo>
                    <a:lnTo>
                      <a:pt x="112" y="53"/>
                    </a:lnTo>
                    <a:lnTo>
                      <a:pt x="113" y="53"/>
                    </a:lnTo>
                    <a:lnTo>
                      <a:pt x="116" y="52"/>
                    </a:lnTo>
                    <a:lnTo>
                      <a:pt x="116" y="52"/>
                    </a:lnTo>
                    <a:lnTo>
                      <a:pt x="119" y="49"/>
                    </a:lnTo>
                    <a:lnTo>
                      <a:pt x="121" y="47"/>
                    </a:lnTo>
                    <a:lnTo>
                      <a:pt x="122" y="46"/>
                    </a:lnTo>
                    <a:lnTo>
                      <a:pt x="125" y="46"/>
                    </a:lnTo>
                    <a:lnTo>
                      <a:pt x="126" y="45"/>
                    </a:lnTo>
                    <a:lnTo>
                      <a:pt x="126" y="45"/>
                    </a:lnTo>
                    <a:lnTo>
                      <a:pt x="126" y="45"/>
                    </a:lnTo>
                    <a:lnTo>
                      <a:pt x="126" y="45"/>
                    </a:lnTo>
                    <a:lnTo>
                      <a:pt x="128" y="43"/>
                    </a:lnTo>
                    <a:lnTo>
                      <a:pt x="128" y="42"/>
                    </a:lnTo>
                    <a:lnTo>
                      <a:pt x="128" y="42"/>
                    </a:lnTo>
                    <a:lnTo>
                      <a:pt x="126" y="40"/>
                    </a:lnTo>
                    <a:lnTo>
                      <a:pt x="126" y="39"/>
                    </a:lnTo>
                    <a:lnTo>
                      <a:pt x="126" y="39"/>
                    </a:lnTo>
                    <a:lnTo>
                      <a:pt x="125" y="36"/>
                    </a:lnTo>
                    <a:lnTo>
                      <a:pt x="124" y="33"/>
                    </a:lnTo>
                    <a:lnTo>
                      <a:pt x="122" y="30"/>
                    </a:lnTo>
                    <a:lnTo>
                      <a:pt x="122" y="30"/>
                    </a:lnTo>
                    <a:lnTo>
                      <a:pt x="122" y="30"/>
                    </a:lnTo>
                    <a:lnTo>
                      <a:pt x="121" y="29"/>
                    </a:lnTo>
                    <a:lnTo>
                      <a:pt x="121" y="29"/>
                    </a:lnTo>
                    <a:lnTo>
                      <a:pt x="118" y="30"/>
                    </a:lnTo>
                    <a:lnTo>
                      <a:pt x="118" y="29"/>
                    </a:lnTo>
                    <a:lnTo>
                      <a:pt x="118" y="29"/>
                    </a:lnTo>
                    <a:lnTo>
                      <a:pt x="118" y="29"/>
                    </a:lnTo>
                    <a:lnTo>
                      <a:pt x="118" y="27"/>
                    </a:lnTo>
                    <a:lnTo>
                      <a:pt x="118" y="27"/>
                    </a:lnTo>
                    <a:lnTo>
                      <a:pt x="119" y="27"/>
                    </a:lnTo>
                    <a:lnTo>
                      <a:pt x="119" y="26"/>
                    </a:lnTo>
                    <a:lnTo>
                      <a:pt x="119" y="26"/>
                    </a:lnTo>
                    <a:lnTo>
                      <a:pt x="119" y="24"/>
                    </a:lnTo>
                    <a:lnTo>
                      <a:pt x="119" y="24"/>
                    </a:lnTo>
                    <a:lnTo>
                      <a:pt x="119" y="23"/>
                    </a:lnTo>
                    <a:lnTo>
                      <a:pt x="121" y="23"/>
                    </a:lnTo>
                    <a:lnTo>
                      <a:pt x="121" y="22"/>
                    </a:lnTo>
                    <a:lnTo>
                      <a:pt x="121" y="22"/>
                    </a:lnTo>
                    <a:lnTo>
                      <a:pt x="121" y="20"/>
                    </a:lnTo>
                    <a:lnTo>
                      <a:pt x="121" y="20"/>
                    </a:lnTo>
                    <a:lnTo>
                      <a:pt x="121" y="19"/>
                    </a:lnTo>
                    <a:lnTo>
                      <a:pt x="118" y="16"/>
                    </a:lnTo>
                    <a:lnTo>
                      <a:pt x="116" y="14"/>
                    </a:lnTo>
                    <a:lnTo>
                      <a:pt x="115" y="13"/>
                    </a:lnTo>
                    <a:lnTo>
                      <a:pt x="112" y="13"/>
                    </a:lnTo>
                    <a:lnTo>
                      <a:pt x="111" y="13"/>
                    </a:lnTo>
                    <a:lnTo>
                      <a:pt x="106" y="11"/>
                    </a:lnTo>
                    <a:lnTo>
                      <a:pt x="105" y="10"/>
                    </a:lnTo>
                    <a:lnTo>
                      <a:pt x="103" y="11"/>
                    </a:lnTo>
                    <a:lnTo>
                      <a:pt x="99" y="13"/>
                    </a:lnTo>
                    <a:lnTo>
                      <a:pt x="98" y="13"/>
                    </a:lnTo>
                    <a:lnTo>
                      <a:pt x="95" y="11"/>
                    </a:lnTo>
                    <a:lnTo>
                      <a:pt x="93" y="10"/>
                    </a:lnTo>
                    <a:lnTo>
                      <a:pt x="89" y="6"/>
                    </a:lnTo>
                    <a:lnTo>
                      <a:pt x="89" y="6"/>
                    </a:lnTo>
                    <a:lnTo>
                      <a:pt x="88" y="4"/>
                    </a:lnTo>
                    <a:lnTo>
                      <a:pt x="86" y="4"/>
                    </a:lnTo>
                    <a:lnTo>
                      <a:pt x="76" y="0"/>
                    </a:lnTo>
                    <a:lnTo>
                      <a:pt x="75" y="0"/>
                    </a:lnTo>
                    <a:lnTo>
                      <a:pt x="70" y="0"/>
                    </a:lnTo>
                    <a:lnTo>
                      <a:pt x="68" y="0"/>
                    </a:lnTo>
                    <a:lnTo>
                      <a:pt x="62" y="3"/>
                    </a:lnTo>
                    <a:lnTo>
                      <a:pt x="59" y="4"/>
                    </a:lnTo>
                    <a:lnTo>
                      <a:pt x="59" y="7"/>
                    </a:lnTo>
                    <a:lnTo>
                      <a:pt x="60" y="14"/>
                    </a:lnTo>
                    <a:lnTo>
                      <a:pt x="60" y="19"/>
                    </a:lnTo>
                    <a:lnTo>
                      <a:pt x="59" y="22"/>
                    </a:lnTo>
                    <a:lnTo>
                      <a:pt x="57" y="23"/>
                    </a:lnTo>
                    <a:lnTo>
                      <a:pt x="55" y="24"/>
                    </a:lnTo>
                    <a:lnTo>
                      <a:pt x="52" y="26"/>
                    </a:lnTo>
                    <a:lnTo>
                      <a:pt x="50" y="26"/>
                    </a:lnTo>
                    <a:lnTo>
                      <a:pt x="49" y="26"/>
                    </a:lnTo>
                    <a:lnTo>
                      <a:pt x="46" y="26"/>
                    </a:lnTo>
                    <a:lnTo>
                      <a:pt x="45" y="26"/>
                    </a:lnTo>
                    <a:lnTo>
                      <a:pt x="43" y="24"/>
                    </a:lnTo>
                    <a:lnTo>
                      <a:pt x="42" y="23"/>
                    </a:lnTo>
                    <a:lnTo>
                      <a:pt x="39" y="20"/>
                    </a:lnTo>
                    <a:lnTo>
                      <a:pt x="37" y="17"/>
                    </a:lnTo>
                    <a:lnTo>
                      <a:pt x="34" y="14"/>
                    </a:lnTo>
                    <a:lnTo>
                      <a:pt x="30" y="10"/>
                    </a:lnTo>
                    <a:lnTo>
                      <a:pt x="27" y="9"/>
                    </a:lnTo>
                    <a:lnTo>
                      <a:pt x="26" y="9"/>
                    </a:lnTo>
                    <a:lnTo>
                      <a:pt x="17" y="11"/>
                    </a:lnTo>
                    <a:lnTo>
                      <a:pt x="14" y="13"/>
                    </a:lnTo>
                    <a:lnTo>
                      <a:pt x="12" y="14"/>
                    </a:lnTo>
                    <a:lnTo>
                      <a:pt x="10" y="17"/>
                    </a:lnTo>
                    <a:lnTo>
                      <a:pt x="9" y="20"/>
                    </a:lnTo>
                    <a:lnTo>
                      <a:pt x="7" y="22"/>
                    </a:lnTo>
                    <a:lnTo>
                      <a:pt x="7" y="23"/>
                    </a:lnTo>
                    <a:lnTo>
                      <a:pt x="7" y="24"/>
                    </a:lnTo>
                    <a:lnTo>
                      <a:pt x="7" y="26"/>
                    </a:lnTo>
                    <a:lnTo>
                      <a:pt x="6" y="27"/>
                    </a:lnTo>
                    <a:lnTo>
                      <a:pt x="3" y="29"/>
                    </a:lnTo>
                    <a:lnTo>
                      <a:pt x="1" y="30"/>
                    </a:lnTo>
                    <a:lnTo>
                      <a:pt x="1" y="34"/>
                    </a:lnTo>
                    <a:lnTo>
                      <a:pt x="0" y="39"/>
                    </a:lnTo>
                    <a:lnTo>
                      <a:pt x="1" y="46"/>
                    </a:lnTo>
                    <a:lnTo>
                      <a:pt x="9" y="43"/>
                    </a:lnTo>
                    <a:lnTo>
                      <a:pt x="14" y="4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68" name="Freeform 74">
                <a:extLst>
                  <a:ext uri="{FF2B5EF4-FFF2-40B4-BE49-F238E27FC236}">
                    <a16:creationId xmlns:a16="http://schemas.microsoft.com/office/drawing/2014/main" id="{28754CD9-1005-214F-9909-605583F4ADA5}"/>
                  </a:ext>
                </a:extLst>
              </p:cNvPr>
              <p:cNvSpPr>
                <a:spLocks/>
              </p:cNvSpPr>
              <p:nvPr/>
            </p:nvSpPr>
            <p:spPr bwMode="auto">
              <a:xfrm>
                <a:off x="3118" y="1283"/>
                <a:ext cx="191" cy="107"/>
              </a:xfrm>
              <a:custGeom>
                <a:avLst/>
                <a:gdLst>
                  <a:gd name="T0" fmla="*/ 165 w 191"/>
                  <a:gd name="T1" fmla="*/ 81 h 107"/>
                  <a:gd name="T2" fmla="*/ 175 w 191"/>
                  <a:gd name="T3" fmla="*/ 72 h 107"/>
                  <a:gd name="T4" fmla="*/ 179 w 191"/>
                  <a:gd name="T5" fmla="*/ 66 h 107"/>
                  <a:gd name="T6" fmla="*/ 186 w 191"/>
                  <a:gd name="T7" fmla="*/ 59 h 107"/>
                  <a:gd name="T8" fmla="*/ 191 w 191"/>
                  <a:gd name="T9" fmla="*/ 53 h 107"/>
                  <a:gd name="T10" fmla="*/ 189 w 191"/>
                  <a:gd name="T11" fmla="*/ 46 h 107"/>
                  <a:gd name="T12" fmla="*/ 189 w 191"/>
                  <a:gd name="T13" fmla="*/ 42 h 107"/>
                  <a:gd name="T14" fmla="*/ 188 w 191"/>
                  <a:gd name="T15" fmla="*/ 38 h 107"/>
                  <a:gd name="T16" fmla="*/ 178 w 191"/>
                  <a:gd name="T17" fmla="*/ 35 h 107"/>
                  <a:gd name="T18" fmla="*/ 173 w 191"/>
                  <a:gd name="T19" fmla="*/ 27 h 107"/>
                  <a:gd name="T20" fmla="*/ 172 w 191"/>
                  <a:gd name="T21" fmla="*/ 22 h 107"/>
                  <a:gd name="T22" fmla="*/ 168 w 191"/>
                  <a:gd name="T23" fmla="*/ 10 h 107"/>
                  <a:gd name="T24" fmla="*/ 158 w 191"/>
                  <a:gd name="T25" fmla="*/ 10 h 107"/>
                  <a:gd name="T26" fmla="*/ 149 w 191"/>
                  <a:gd name="T27" fmla="*/ 0 h 107"/>
                  <a:gd name="T28" fmla="*/ 140 w 191"/>
                  <a:gd name="T29" fmla="*/ 9 h 107"/>
                  <a:gd name="T30" fmla="*/ 130 w 191"/>
                  <a:gd name="T31" fmla="*/ 13 h 107"/>
                  <a:gd name="T32" fmla="*/ 120 w 191"/>
                  <a:gd name="T33" fmla="*/ 22 h 107"/>
                  <a:gd name="T34" fmla="*/ 110 w 191"/>
                  <a:gd name="T35" fmla="*/ 30 h 107"/>
                  <a:gd name="T36" fmla="*/ 89 w 191"/>
                  <a:gd name="T37" fmla="*/ 17 h 107"/>
                  <a:gd name="T38" fmla="*/ 73 w 191"/>
                  <a:gd name="T39" fmla="*/ 17 h 107"/>
                  <a:gd name="T40" fmla="*/ 67 w 191"/>
                  <a:gd name="T41" fmla="*/ 33 h 107"/>
                  <a:gd name="T42" fmla="*/ 60 w 191"/>
                  <a:gd name="T43" fmla="*/ 40 h 107"/>
                  <a:gd name="T44" fmla="*/ 54 w 191"/>
                  <a:gd name="T45" fmla="*/ 36 h 107"/>
                  <a:gd name="T46" fmla="*/ 50 w 191"/>
                  <a:gd name="T47" fmla="*/ 32 h 107"/>
                  <a:gd name="T48" fmla="*/ 53 w 191"/>
                  <a:gd name="T49" fmla="*/ 19 h 107"/>
                  <a:gd name="T50" fmla="*/ 35 w 191"/>
                  <a:gd name="T51" fmla="*/ 4 h 107"/>
                  <a:gd name="T52" fmla="*/ 24 w 191"/>
                  <a:gd name="T53" fmla="*/ 7 h 107"/>
                  <a:gd name="T54" fmla="*/ 27 w 191"/>
                  <a:gd name="T55" fmla="*/ 12 h 107"/>
                  <a:gd name="T56" fmla="*/ 34 w 191"/>
                  <a:gd name="T57" fmla="*/ 23 h 107"/>
                  <a:gd name="T58" fmla="*/ 30 w 191"/>
                  <a:gd name="T59" fmla="*/ 19 h 107"/>
                  <a:gd name="T60" fmla="*/ 17 w 191"/>
                  <a:gd name="T61" fmla="*/ 19 h 107"/>
                  <a:gd name="T62" fmla="*/ 12 w 191"/>
                  <a:gd name="T63" fmla="*/ 22 h 107"/>
                  <a:gd name="T64" fmla="*/ 14 w 191"/>
                  <a:gd name="T65" fmla="*/ 29 h 107"/>
                  <a:gd name="T66" fmla="*/ 14 w 191"/>
                  <a:gd name="T67" fmla="*/ 32 h 107"/>
                  <a:gd name="T68" fmla="*/ 7 w 191"/>
                  <a:gd name="T69" fmla="*/ 33 h 107"/>
                  <a:gd name="T70" fmla="*/ 1 w 191"/>
                  <a:gd name="T71" fmla="*/ 36 h 107"/>
                  <a:gd name="T72" fmla="*/ 15 w 191"/>
                  <a:gd name="T73" fmla="*/ 40 h 107"/>
                  <a:gd name="T74" fmla="*/ 34 w 191"/>
                  <a:gd name="T75" fmla="*/ 38 h 107"/>
                  <a:gd name="T76" fmla="*/ 45 w 191"/>
                  <a:gd name="T77" fmla="*/ 40 h 107"/>
                  <a:gd name="T78" fmla="*/ 37 w 191"/>
                  <a:gd name="T79" fmla="*/ 52 h 107"/>
                  <a:gd name="T80" fmla="*/ 44 w 191"/>
                  <a:gd name="T81" fmla="*/ 55 h 107"/>
                  <a:gd name="T82" fmla="*/ 25 w 191"/>
                  <a:gd name="T83" fmla="*/ 58 h 107"/>
                  <a:gd name="T84" fmla="*/ 10 w 191"/>
                  <a:gd name="T85" fmla="*/ 59 h 107"/>
                  <a:gd name="T86" fmla="*/ 20 w 191"/>
                  <a:gd name="T87" fmla="*/ 63 h 107"/>
                  <a:gd name="T88" fmla="*/ 37 w 191"/>
                  <a:gd name="T89" fmla="*/ 69 h 107"/>
                  <a:gd name="T90" fmla="*/ 44 w 191"/>
                  <a:gd name="T91" fmla="*/ 73 h 107"/>
                  <a:gd name="T92" fmla="*/ 44 w 191"/>
                  <a:gd name="T93" fmla="*/ 79 h 107"/>
                  <a:gd name="T94" fmla="*/ 44 w 191"/>
                  <a:gd name="T95" fmla="*/ 85 h 107"/>
                  <a:gd name="T96" fmla="*/ 33 w 191"/>
                  <a:gd name="T97" fmla="*/ 89 h 107"/>
                  <a:gd name="T98" fmla="*/ 31 w 191"/>
                  <a:gd name="T99" fmla="*/ 94 h 107"/>
                  <a:gd name="T100" fmla="*/ 54 w 191"/>
                  <a:gd name="T101" fmla="*/ 94 h 107"/>
                  <a:gd name="T102" fmla="*/ 66 w 191"/>
                  <a:gd name="T103" fmla="*/ 96 h 107"/>
                  <a:gd name="T104" fmla="*/ 70 w 191"/>
                  <a:gd name="T105" fmla="*/ 96 h 107"/>
                  <a:gd name="T106" fmla="*/ 70 w 191"/>
                  <a:gd name="T107" fmla="*/ 101 h 107"/>
                  <a:gd name="T108" fmla="*/ 109 w 191"/>
                  <a:gd name="T109" fmla="*/ 105 h 107"/>
                  <a:gd name="T110" fmla="*/ 116 w 191"/>
                  <a:gd name="T111"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1" h="107">
                    <a:moveTo>
                      <a:pt x="136" y="94"/>
                    </a:moveTo>
                    <a:lnTo>
                      <a:pt x="142" y="91"/>
                    </a:lnTo>
                    <a:lnTo>
                      <a:pt x="149" y="85"/>
                    </a:lnTo>
                    <a:lnTo>
                      <a:pt x="152" y="84"/>
                    </a:lnTo>
                    <a:lnTo>
                      <a:pt x="155" y="82"/>
                    </a:lnTo>
                    <a:lnTo>
                      <a:pt x="165" y="81"/>
                    </a:lnTo>
                    <a:lnTo>
                      <a:pt x="168" y="79"/>
                    </a:lnTo>
                    <a:lnTo>
                      <a:pt x="170" y="78"/>
                    </a:lnTo>
                    <a:lnTo>
                      <a:pt x="173" y="76"/>
                    </a:lnTo>
                    <a:lnTo>
                      <a:pt x="175" y="73"/>
                    </a:lnTo>
                    <a:lnTo>
                      <a:pt x="175" y="73"/>
                    </a:lnTo>
                    <a:lnTo>
                      <a:pt x="175" y="72"/>
                    </a:lnTo>
                    <a:lnTo>
                      <a:pt x="175" y="71"/>
                    </a:lnTo>
                    <a:lnTo>
                      <a:pt x="175" y="71"/>
                    </a:lnTo>
                    <a:lnTo>
                      <a:pt x="176" y="68"/>
                    </a:lnTo>
                    <a:lnTo>
                      <a:pt x="176" y="66"/>
                    </a:lnTo>
                    <a:lnTo>
                      <a:pt x="176" y="66"/>
                    </a:lnTo>
                    <a:lnTo>
                      <a:pt x="179" y="66"/>
                    </a:lnTo>
                    <a:lnTo>
                      <a:pt x="180" y="66"/>
                    </a:lnTo>
                    <a:lnTo>
                      <a:pt x="182" y="66"/>
                    </a:lnTo>
                    <a:lnTo>
                      <a:pt x="185" y="65"/>
                    </a:lnTo>
                    <a:lnTo>
                      <a:pt x="185" y="62"/>
                    </a:lnTo>
                    <a:lnTo>
                      <a:pt x="185" y="61"/>
                    </a:lnTo>
                    <a:lnTo>
                      <a:pt x="186" y="59"/>
                    </a:lnTo>
                    <a:lnTo>
                      <a:pt x="186" y="58"/>
                    </a:lnTo>
                    <a:lnTo>
                      <a:pt x="188" y="56"/>
                    </a:lnTo>
                    <a:lnTo>
                      <a:pt x="189" y="56"/>
                    </a:lnTo>
                    <a:lnTo>
                      <a:pt x="191" y="56"/>
                    </a:lnTo>
                    <a:lnTo>
                      <a:pt x="191" y="55"/>
                    </a:lnTo>
                    <a:lnTo>
                      <a:pt x="191" y="53"/>
                    </a:lnTo>
                    <a:lnTo>
                      <a:pt x="191" y="52"/>
                    </a:lnTo>
                    <a:lnTo>
                      <a:pt x="189" y="50"/>
                    </a:lnTo>
                    <a:lnTo>
                      <a:pt x="188" y="50"/>
                    </a:lnTo>
                    <a:lnTo>
                      <a:pt x="189" y="49"/>
                    </a:lnTo>
                    <a:lnTo>
                      <a:pt x="189" y="48"/>
                    </a:lnTo>
                    <a:lnTo>
                      <a:pt x="189" y="46"/>
                    </a:lnTo>
                    <a:lnTo>
                      <a:pt x="188" y="46"/>
                    </a:lnTo>
                    <a:lnTo>
                      <a:pt x="188" y="45"/>
                    </a:lnTo>
                    <a:lnTo>
                      <a:pt x="186" y="43"/>
                    </a:lnTo>
                    <a:lnTo>
                      <a:pt x="188" y="43"/>
                    </a:lnTo>
                    <a:lnTo>
                      <a:pt x="189" y="42"/>
                    </a:lnTo>
                    <a:lnTo>
                      <a:pt x="189" y="42"/>
                    </a:lnTo>
                    <a:lnTo>
                      <a:pt x="189" y="40"/>
                    </a:lnTo>
                    <a:lnTo>
                      <a:pt x="191" y="39"/>
                    </a:lnTo>
                    <a:lnTo>
                      <a:pt x="189" y="38"/>
                    </a:lnTo>
                    <a:lnTo>
                      <a:pt x="189" y="38"/>
                    </a:lnTo>
                    <a:lnTo>
                      <a:pt x="189" y="38"/>
                    </a:lnTo>
                    <a:lnTo>
                      <a:pt x="188" y="38"/>
                    </a:lnTo>
                    <a:lnTo>
                      <a:pt x="188" y="38"/>
                    </a:lnTo>
                    <a:lnTo>
                      <a:pt x="188" y="38"/>
                    </a:lnTo>
                    <a:lnTo>
                      <a:pt x="186" y="36"/>
                    </a:lnTo>
                    <a:lnTo>
                      <a:pt x="183" y="35"/>
                    </a:lnTo>
                    <a:lnTo>
                      <a:pt x="180" y="33"/>
                    </a:lnTo>
                    <a:lnTo>
                      <a:pt x="178" y="35"/>
                    </a:lnTo>
                    <a:lnTo>
                      <a:pt x="175" y="36"/>
                    </a:lnTo>
                    <a:lnTo>
                      <a:pt x="176" y="35"/>
                    </a:lnTo>
                    <a:lnTo>
                      <a:pt x="178" y="32"/>
                    </a:lnTo>
                    <a:lnTo>
                      <a:pt x="178" y="29"/>
                    </a:lnTo>
                    <a:lnTo>
                      <a:pt x="175" y="27"/>
                    </a:lnTo>
                    <a:lnTo>
                      <a:pt x="173" y="27"/>
                    </a:lnTo>
                    <a:lnTo>
                      <a:pt x="172" y="29"/>
                    </a:lnTo>
                    <a:lnTo>
                      <a:pt x="170" y="29"/>
                    </a:lnTo>
                    <a:lnTo>
                      <a:pt x="169" y="29"/>
                    </a:lnTo>
                    <a:lnTo>
                      <a:pt x="169" y="27"/>
                    </a:lnTo>
                    <a:lnTo>
                      <a:pt x="170" y="23"/>
                    </a:lnTo>
                    <a:lnTo>
                      <a:pt x="172" y="22"/>
                    </a:lnTo>
                    <a:lnTo>
                      <a:pt x="170" y="19"/>
                    </a:lnTo>
                    <a:lnTo>
                      <a:pt x="169" y="17"/>
                    </a:lnTo>
                    <a:lnTo>
                      <a:pt x="166" y="17"/>
                    </a:lnTo>
                    <a:lnTo>
                      <a:pt x="163" y="16"/>
                    </a:lnTo>
                    <a:lnTo>
                      <a:pt x="165" y="13"/>
                    </a:lnTo>
                    <a:lnTo>
                      <a:pt x="168" y="10"/>
                    </a:lnTo>
                    <a:lnTo>
                      <a:pt x="173" y="6"/>
                    </a:lnTo>
                    <a:lnTo>
                      <a:pt x="170" y="6"/>
                    </a:lnTo>
                    <a:lnTo>
                      <a:pt x="168" y="6"/>
                    </a:lnTo>
                    <a:lnTo>
                      <a:pt x="165" y="7"/>
                    </a:lnTo>
                    <a:lnTo>
                      <a:pt x="160" y="10"/>
                    </a:lnTo>
                    <a:lnTo>
                      <a:pt x="158" y="10"/>
                    </a:lnTo>
                    <a:lnTo>
                      <a:pt x="156" y="10"/>
                    </a:lnTo>
                    <a:lnTo>
                      <a:pt x="153" y="9"/>
                    </a:lnTo>
                    <a:lnTo>
                      <a:pt x="153" y="7"/>
                    </a:lnTo>
                    <a:lnTo>
                      <a:pt x="152" y="4"/>
                    </a:lnTo>
                    <a:lnTo>
                      <a:pt x="150" y="3"/>
                    </a:lnTo>
                    <a:lnTo>
                      <a:pt x="149" y="0"/>
                    </a:lnTo>
                    <a:lnTo>
                      <a:pt x="146" y="0"/>
                    </a:lnTo>
                    <a:lnTo>
                      <a:pt x="143" y="0"/>
                    </a:lnTo>
                    <a:lnTo>
                      <a:pt x="142" y="2"/>
                    </a:lnTo>
                    <a:lnTo>
                      <a:pt x="139" y="2"/>
                    </a:lnTo>
                    <a:lnTo>
                      <a:pt x="139" y="4"/>
                    </a:lnTo>
                    <a:lnTo>
                      <a:pt x="140" y="9"/>
                    </a:lnTo>
                    <a:lnTo>
                      <a:pt x="140" y="10"/>
                    </a:lnTo>
                    <a:lnTo>
                      <a:pt x="139" y="13"/>
                    </a:lnTo>
                    <a:lnTo>
                      <a:pt x="136" y="13"/>
                    </a:lnTo>
                    <a:lnTo>
                      <a:pt x="135" y="15"/>
                    </a:lnTo>
                    <a:lnTo>
                      <a:pt x="132" y="15"/>
                    </a:lnTo>
                    <a:lnTo>
                      <a:pt x="130" y="13"/>
                    </a:lnTo>
                    <a:lnTo>
                      <a:pt x="129" y="12"/>
                    </a:lnTo>
                    <a:lnTo>
                      <a:pt x="127" y="12"/>
                    </a:lnTo>
                    <a:lnTo>
                      <a:pt x="126" y="15"/>
                    </a:lnTo>
                    <a:lnTo>
                      <a:pt x="124" y="16"/>
                    </a:lnTo>
                    <a:lnTo>
                      <a:pt x="123" y="19"/>
                    </a:lnTo>
                    <a:lnTo>
                      <a:pt x="120" y="22"/>
                    </a:lnTo>
                    <a:lnTo>
                      <a:pt x="114" y="15"/>
                    </a:lnTo>
                    <a:lnTo>
                      <a:pt x="112" y="13"/>
                    </a:lnTo>
                    <a:lnTo>
                      <a:pt x="107" y="15"/>
                    </a:lnTo>
                    <a:lnTo>
                      <a:pt x="107" y="17"/>
                    </a:lnTo>
                    <a:lnTo>
                      <a:pt x="112" y="26"/>
                    </a:lnTo>
                    <a:lnTo>
                      <a:pt x="110" y="30"/>
                    </a:lnTo>
                    <a:lnTo>
                      <a:pt x="106" y="20"/>
                    </a:lnTo>
                    <a:lnTo>
                      <a:pt x="102" y="15"/>
                    </a:lnTo>
                    <a:lnTo>
                      <a:pt x="97" y="13"/>
                    </a:lnTo>
                    <a:lnTo>
                      <a:pt x="96" y="13"/>
                    </a:lnTo>
                    <a:lnTo>
                      <a:pt x="90" y="16"/>
                    </a:lnTo>
                    <a:lnTo>
                      <a:pt x="89" y="17"/>
                    </a:lnTo>
                    <a:lnTo>
                      <a:pt x="87" y="20"/>
                    </a:lnTo>
                    <a:lnTo>
                      <a:pt x="89" y="26"/>
                    </a:lnTo>
                    <a:lnTo>
                      <a:pt x="87" y="27"/>
                    </a:lnTo>
                    <a:lnTo>
                      <a:pt x="84" y="27"/>
                    </a:lnTo>
                    <a:lnTo>
                      <a:pt x="76" y="17"/>
                    </a:lnTo>
                    <a:lnTo>
                      <a:pt x="73" y="17"/>
                    </a:lnTo>
                    <a:lnTo>
                      <a:pt x="71" y="22"/>
                    </a:lnTo>
                    <a:lnTo>
                      <a:pt x="71" y="29"/>
                    </a:lnTo>
                    <a:lnTo>
                      <a:pt x="71" y="35"/>
                    </a:lnTo>
                    <a:lnTo>
                      <a:pt x="68" y="36"/>
                    </a:lnTo>
                    <a:lnTo>
                      <a:pt x="67" y="35"/>
                    </a:lnTo>
                    <a:lnTo>
                      <a:pt x="67" y="33"/>
                    </a:lnTo>
                    <a:lnTo>
                      <a:pt x="66" y="33"/>
                    </a:lnTo>
                    <a:lnTo>
                      <a:pt x="64" y="33"/>
                    </a:lnTo>
                    <a:lnTo>
                      <a:pt x="63" y="33"/>
                    </a:lnTo>
                    <a:lnTo>
                      <a:pt x="63" y="35"/>
                    </a:lnTo>
                    <a:lnTo>
                      <a:pt x="61" y="38"/>
                    </a:lnTo>
                    <a:lnTo>
                      <a:pt x="60" y="40"/>
                    </a:lnTo>
                    <a:lnTo>
                      <a:pt x="58" y="48"/>
                    </a:lnTo>
                    <a:lnTo>
                      <a:pt x="57" y="43"/>
                    </a:lnTo>
                    <a:lnTo>
                      <a:pt x="56" y="40"/>
                    </a:lnTo>
                    <a:lnTo>
                      <a:pt x="53" y="40"/>
                    </a:lnTo>
                    <a:lnTo>
                      <a:pt x="54" y="38"/>
                    </a:lnTo>
                    <a:lnTo>
                      <a:pt x="54" y="36"/>
                    </a:lnTo>
                    <a:lnTo>
                      <a:pt x="54" y="36"/>
                    </a:lnTo>
                    <a:lnTo>
                      <a:pt x="53" y="36"/>
                    </a:lnTo>
                    <a:lnTo>
                      <a:pt x="53" y="36"/>
                    </a:lnTo>
                    <a:lnTo>
                      <a:pt x="53" y="35"/>
                    </a:lnTo>
                    <a:lnTo>
                      <a:pt x="51" y="33"/>
                    </a:lnTo>
                    <a:lnTo>
                      <a:pt x="50" y="32"/>
                    </a:lnTo>
                    <a:lnTo>
                      <a:pt x="48" y="30"/>
                    </a:lnTo>
                    <a:lnTo>
                      <a:pt x="53" y="30"/>
                    </a:lnTo>
                    <a:lnTo>
                      <a:pt x="54" y="27"/>
                    </a:lnTo>
                    <a:lnTo>
                      <a:pt x="54" y="25"/>
                    </a:lnTo>
                    <a:lnTo>
                      <a:pt x="51" y="22"/>
                    </a:lnTo>
                    <a:lnTo>
                      <a:pt x="53" y="19"/>
                    </a:lnTo>
                    <a:lnTo>
                      <a:pt x="51" y="16"/>
                    </a:lnTo>
                    <a:lnTo>
                      <a:pt x="44" y="10"/>
                    </a:lnTo>
                    <a:lnTo>
                      <a:pt x="40" y="9"/>
                    </a:lnTo>
                    <a:lnTo>
                      <a:pt x="38" y="7"/>
                    </a:lnTo>
                    <a:lnTo>
                      <a:pt x="37" y="6"/>
                    </a:lnTo>
                    <a:lnTo>
                      <a:pt x="35" y="4"/>
                    </a:lnTo>
                    <a:lnTo>
                      <a:pt x="34" y="3"/>
                    </a:lnTo>
                    <a:lnTo>
                      <a:pt x="33" y="3"/>
                    </a:lnTo>
                    <a:lnTo>
                      <a:pt x="28" y="3"/>
                    </a:lnTo>
                    <a:lnTo>
                      <a:pt x="24" y="4"/>
                    </a:lnTo>
                    <a:lnTo>
                      <a:pt x="23" y="7"/>
                    </a:lnTo>
                    <a:lnTo>
                      <a:pt x="24" y="7"/>
                    </a:lnTo>
                    <a:lnTo>
                      <a:pt x="27" y="7"/>
                    </a:lnTo>
                    <a:lnTo>
                      <a:pt x="30" y="7"/>
                    </a:lnTo>
                    <a:lnTo>
                      <a:pt x="31" y="7"/>
                    </a:lnTo>
                    <a:lnTo>
                      <a:pt x="34" y="9"/>
                    </a:lnTo>
                    <a:lnTo>
                      <a:pt x="27" y="10"/>
                    </a:lnTo>
                    <a:lnTo>
                      <a:pt x="27" y="12"/>
                    </a:lnTo>
                    <a:lnTo>
                      <a:pt x="30" y="15"/>
                    </a:lnTo>
                    <a:lnTo>
                      <a:pt x="34" y="16"/>
                    </a:lnTo>
                    <a:lnTo>
                      <a:pt x="35" y="17"/>
                    </a:lnTo>
                    <a:lnTo>
                      <a:pt x="35" y="20"/>
                    </a:lnTo>
                    <a:lnTo>
                      <a:pt x="35" y="22"/>
                    </a:lnTo>
                    <a:lnTo>
                      <a:pt x="34" y="23"/>
                    </a:lnTo>
                    <a:lnTo>
                      <a:pt x="33" y="23"/>
                    </a:lnTo>
                    <a:lnTo>
                      <a:pt x="31" y="25"/>
                    </a:lnTo>
                    <a:lnTo>
                      <a:pt x="33" y="22"/>
                    </a:lnTo>
                    <a:lnTo>
                      <a:pt x="31" y="20"/>
                    </a:lnTo>
                    <a:lnTo>
                      <a:pt x="31" y="19"/>
                    </a:lnTo>
                    <a:lnTo>
                      <a:pt x="30" y="19"/>
                    </a:lnTo>
                    <a:lnTo>
                      <a:pt x="27" y="20"/>
                    </a:lnTo>
                    <a:lnTo>
                      <a:pt x="25" y="20"/>
                    </a:lnTo>
                    <a:lnTo>
                      <a:pt x="23" y="16"/>
                    </a:lnTo>
                    <a:lnTo>
                      <a:pt x="18" y="13"/>
                    </a:lnTo>
                    <a:lnTo>
                      <a:pt x="15" y="15"/>
                    </a:lnTo>
                    <a:lnTo>
                      <a:pt x="17" y="19"/>
                    </a:lnTo>
                    <a:lnTo>
                      <a:pt x="15" y="19"/>
                    </a:lnTo>
                    <a:lnTo>
                      <a:pt x="14" y="17"/>
                    </a:lnTo>
                    <a:lnTo>
                      <a:pt x="12" y="17"/>
                    </a:lnTo>
                    <a:lnTo>
                      <a:pt x="11" y="19"/>
                    </a:lnTo>
                    <a:lnTo>
                      <a:pt x="12" y="20"/>
                    </a:lnTo>
                    <a:lnTo>
                      <a:pt x="12" y="22"/>
                    </a:lnTo>
                    <a:lnTo>
                      <a:pt x="15" y="25"/>
                    </a:lnTo>
                    <a:lnTo>
                      <a:pt x="14" y="25"/>
                    </a:lnTo>
                    <a:lnTo>
                      <a:pt x="11" y="25"/>
                    </a:lnTo>
                    <a:lnTo>
                      <a:pt x="11" y="26"/>
                    </a:lnTo>
                    <a:lnTo>
                      <a:pt x="12" y="27"/>
                    </a:lnTo>
                    <a:lnTo>
                      <a:pt x="14" y="29"/>
                    </a:lnTo>
                    <a:lnTo>
                      <a:pt x="15" y="29"/>
                    </a:lnTo>
                    <a:lnTo>
                      <a:pt x="18" y="29"/>
                    </a:lnTo>
                    <a:lnTo>
                      <a:pt x="20" y="29"/>
                    </a:lnTo>
                    <a:lnTo>
                      <a:pt x="17" y="32"/>
                    </a:lnTo>
                    <a:lnTo>
                      <a:pt x="15" y="32"/>
                    </a:lnTo>
                    <a:lnTo>
                      <a:pt x="14" y="32"/>
                    </a:lnTo>
                    <a:lnTo>
                      <a:pt x="12" y="32"/>
                    </a:lnTo>
                    <a:lnTo>
                      <a:pt x="11" y="30"/>
                    </a:lnTo>
                    <a:lnTo>
                      <a:pt x="8" y="29"/>
                    </a:lnTo>
                    <a:lnTo>
                      <a:pt x="7" y="29"/>
                    </a:lnTo>
                    <a:lnTo>
                      <a:pt x="7" y="30"/>
                    </a:lnTo>
                    <a:lnTo>
                      <a:pt x="7" y="33"/>
                    </a:lnTo>
                    <a:lnTo>
                      <a:pt x="8" y="36"/>
                    </a:lnTo>
                    <a:lnTo>
                      <a:pt x="10" y="38"/>
                    </a:lnTo>
                    <a:lnTo>
                      <a:pt x="8" y="36"/>
                    </a:lnTo>
                    <a:lnTo>
                      <a:pt x="5" y="35"/>
                    </a:lnTo>
                    <a:lnTo>
                      <a:pt x="2" y="35"/>
                    </a:lnTo>
                    <a:lnTo>
                      <a:pt x="1" y="36"/>
                    </a:lnTo>
                    <a:lnTo>
                      <a:pt x="0" y="38"/>
                    </a:lnTo>
                    <a:lnTo>
                      <a:pt x="1" y="39"/>
                    </a:lnTo>
                    <a:lnTo>
                      <a:pt x="4" y="40"/>
                    </a:lnTo>
                    <a:lnTo>
                      <a:pt x="7" y="40"/>
                    </a:lnTo>
                    <a:lnTo>
                      <a:pt x="11" y="42"/>
                    </a:lnTo>
                    <a:lnTo>
                      <a:pt x="15" y="40"/>
                    </a:lnTo>
                    <a:lnTo>
                      <a:pt x="21" y="38"/>
                    </a:lnTo>
                    <a:lnTo>
                      <a:pt x="25" y="36"/>
                    </a:lnTo>
                    <a:lnTo>
                      <a:pt x="30" y="36"/>
                    </a:lnTo>
                    <a:lnTo>
                      <a:pt x="31" y="36"/>
                    </a:lnTo>
                    <a:lnTo>
                      <a:pt x="34" y="38"/>
                    </a:lnTo>
                    <a:lnTo>
                      <a:pt x="34" y="38"/>
                    </a:lnTo>
                    <a:lnTo>
                      <a:pt x="35" y="39"/>
                    </a:lnTo>
                    <a:lnTo>
                      <a:pt x="37" y="39"/>
                    </a:lnTo>
                    <a:lnTo>
                      <a:pt x="38" y="39"/>
                    </a:lnTo>
                    <a:lnTo>
                      <a:pt x="41" y="39"/>
                    </a:lnTo>
                    <a:lnTo>
                      <a:pt x="43" y="39"/>
                    </a:lnTo>
                    <a:lnTo>
                      <a:pt x="45" y="40"/>
                    </a:lnTo>
                    <a:lnTo>
                      <a:pt x="43" y="43"/>
                    </a:lnTo>
                    <a:lnTo>
                      <a:pt x="37" y="48"/>
                    </a:lnTo>
                    <a:lnTo>
                      <a:pt x="34" y="49"/>
                    </a:lnTo>
                    <a:lnTo>
                      <a:pt x="34" y="50"/>
                    </a:lnTo>
                    <a:lnTo>
                      <a:pt x="35" y="50"/>
                    </a:lnTo>
                    <a:lnTo>
                      <a:pt x="37" y="52"/>
                    </a:lnTo>
                    <a:lnTo>
                      <a:pt x="40" y="52"/>
                    </a:lnTo>
                    <a:lnTo>
                      <a:pt x="43" y="52"/>
                    </a:lnTo>
                    <a:lnTo>
                      <a:pt x="44" y="52"/>
                    </a:lnTo>
                    <a:lnTo>
                      <a:pt x="47" y="50"/>
                    </a:lnTo>
                    <a:lnTo>
                      <a:pt x="45" y="53"/>
                    </a:lnTo>
                    <a:lnTo>
                      <a:pt x="44" y="55"/>
                    </a:lnTo>
                    <a:lnTo>
                      <a:pt x="40" y="55"/>
                    </a:lnTo>
                    <a:lnTo>
                      <a:pt x="31" y="55"/>
                    </a:lnTo>
                    <a:lnTo>
                      <a:pt x="30" y="56"/>
                    </a:lnTo>
                    <a:lnTo>
                      <a:pt x="28" y="56"/>
                    </a:lnTo>
                    <a:lnTo>
                      <a:pt x="27" y="58"/>
                    </a:lnTo>
                    <a:lnTo>
                      <a:pt x="25" y="58"/>
                    </a:lnTo>
                    <a:lnTo>
                      <a:pt x="24" y="58"/>
                    </a:lnTo>
                    <a:lnTo>
                      <a:pt x="23" y="58"/>
                    </a:lnTo>
                    <a:lnTo>
                      <a:pt x="21" y="58"/>
                    </a:lnTo>
                    <a:lnTo>
                      <a:pt x="20" y="58"/>
                    </a:lnTo>
                    <a:lnTo>
                      <a:pt x="17" y="59"/>
                    </a:lnTo>
                    <a:lnTo>
                      <a:pt x="10" y="59"/>
                    </a:lnTo>
                    <a:lnTo>
                      <a:pt x="8" y="61"/>
                    </a:lnTo>
                    <a:lnTo>
                      <a:pt x="8" y="63"/>
                    </a:lnTo>
                    <a:lnTo>
                      <a:pt x="11" y="65"/>
                    </a:lnTo>
                    <a:lnTo>
                      <a:pt x="14" y="65"/>
                    </a:lnTo>
                    <a:lnTo>
                      <a:pt x="17" y="63"/>
                    </a:lnTo>
                    <a:lnTo>
                      <a:pt x="20" y="63"/>
                    </a:lnTo>
                    <a:lnTo>
                      <a:pt x="23" y="63"/>
                    </a:lnTo>
                    <a:lnTo>
                      <a:pt x="31" y="63"/>
                    </a:lnTo>
                    <a:lnTo>
                      <a:pt x="35" y="65"/>
                    </a:lnTo>
                    <a:lnTo>
                      <a:pt x="37" y="66"/>
                    </a:lnTo>
                    <a:lnTo>
                      <a:pt x="37" y="68"/>
                    </a:lnTo>
                    <a:lnTo>
                      <a:pt x="37" y="69"/>
                    </a:lnTo>
                    <a:lnTo>
                      <a:pt x="38" y="72"/>
                    </a:lnTo>
                    <a:lnTo>
                      <a:pt x="43" y="72"/>
                    </a:lnTo>
                    <a:lnTo>
                      <a:pt x="47" y="69"/>
                    </a:lnTo>
                    <a:lnTo>
                      <a:pt x="50" y="69"/>
                    </a:lnTo>
                    <a:lnTo>
                      <a:pt x="47" y="71"/>
                    </a:lnTo>
                    <a:lnTo>
                      <a:pt x="44" y="73"/>
                    </a:lnTo>
                    <a:lnTo>
                      <a:pt x="43" y="76"/>
                    </a:lnTo>
                    <a:lnTo>
                      <a:pt x="44" y="78"/>
                    </a:lnTo>
                    <a:lnTo>
                      <a:pt x="44" y="78"/>
                    </a:lnTo>
                    <a:lnTo>
                      <a:pt x="43" y="78"/>
                    </a:lnTo>
                    <a:lnTo>
                      <a:pt x="41" y="79"/>
                    </a:lnTo>
                    <a:lnTo>
                      <a:pt x="44" y="79"/>
                    </a:lnTo>
                    <a:lnTo>
                      <a:pt x="47" y="78"/>
                    </a:lnTo>
                    <a:lnTo>
                      <a:pt x="50" y="78"/>
                    </a:lnTo>
                    <a:lnTo>
                      <a:pt x="53" y="78"/>
                    </a:lnTo>
                    <a:lnTo>
                      <a:pt x="48" y="79"/>
                    </a:lnTo>
                    <a:lnTo>
                      <a:pt x="47" y="82"/>
                    </a:lnTo>
                    <a:lnTo>
                      <a:pt x="44" y="85"/>
                    </a:lnTo>
                    <a:lnTo>
                      <a:pt x="41" y="88"/>
                    </a:lnTo>
                    <a:lnTo>
                      <a:pt x="40" y="88"/>
                    </a:lnTo>
                    <a:lnTo>
                      <a:pt x="37" y="89"/>
                    </a:lnTo>
                    <a:lnTo>
                      <a:pt x="35" y="89"/>
                    </a:lnTo>
                    <a:lnTo>
                      <a:pt x="34" y="89"/>
                    </a:lnTo>
                    <a:lnTo>
                      <a:pt x="33" y="89"/>
                    </a:lnTo>
                    <a:lnTo>
                      <a:pt x="31" y="88"/>
                    </a:lnTo>
                    <a:lnTo>
                      <a:pt x="31" y="88"/>
                    </a:lnTo>
                    <a:lnTo>
                      <a:pt x="30" y="88"/>
                    </a:lnTo>
                    <a:lnTo>
                      <a:pt x="30" y="91"/>
                    </a:lnTo>
                    <a:lnTo>
                      <a:pt x="30" y="92"/>
                    </a:lnTo>
                    <a:lnTo>
                      <a:pt x="31" y="94"/>
                    </a:lnTo>
                    <a:lnTo>
                      <a:pt x="31" y="95"/>
                    </a:lnTo>
                    <a:lnTo>
                      <a:pt x="33" y="95"/>
                    </a:lnTo>
                    <a:lnTo>
                      <a:pt x="40" y="95"/>
                    </a:lnTo>
                    <a:lnTo>
                      <a:pt x="50" y="95"/>
                    </a:lnTo>
                    <a:lnTo>
                      <a:pt x="53" y="94"/>
                    </a:lnTo>
                    <a:lnTo>
                      <a:pt x="54" y="94"/>
                    </a:lnTo>
                    <a:lnTo>
                      <a:pt x="56" y="92"/>
                    </a:lnTo>
                    <a:lnTo>
                      <a:pt x="57" y="92"/>
                    </a:lnTo>
                    <a:lnTo>
                      <a:pt x="58" y="92"/>
                    </a:lnTo>
                    <a:lnTo>
                      <a:pt x="58" y="94"/>
                    </a:lnTo>
                    <a:lnTo>
                      <a:pt x="60" y="95"/>
                    </a:lnTo>
                    <a:lnTo>
                      <a:pt x="66" y="96"/>
                    </a:lnTo>
                    <a:lnTo>
                      <a:pt x="66" y="96"/>
                    </a:lnTo>
                    <a:lnTo>
                      <a:pt x="66" y="96"/>
                    </a:lnTo>
                    <a:lnTo>
                      <a:pt x="67" y="98"/>
                    </a:lnTo>
                    <a:lnTo>
                      <a:pt x="67" y="98"/>
                    </a:lnTo>
                    <a:lnTo>
                      <a:pt x="68" y="98"/>
                    </a:lnTo>
                    <a:lnTo>
                      <a:pt x="70" y="96"/>
                    </a:lnTo>
                    <a:lnTo>
                      <a:pt x="70" y="96"/>
                    </a:lnTo>
                    <a:lnTo>
                      <a:pt x="71" y="96"/>
                    </a:lnTo>
                    <a:lnTo>
                      <a:pt x="70" y="98"/>
                    </a:lnTo>
                    <a:lnTo>
                      <a:pt x="70" y="98"/>
                    </a:lnTo>
                    <a:lnTo>
                      <a:pt x="70" y="99"/>
                    </a:lnTo>
                    <a:lnTo>
                      <a:pt x="70" y="101"/>
                    </a:lnTo>
                    <a:lnTo>
                      <a:pt x="73" y="102"/>
                    </a:lnTo>
                    <a:lnTo>
                      <a:pt x="76" y="104"/>
                    </a:lnTo>
                    <a:lnTo>
                      <a:pt x="83" y="104"/>
                    </a:lnTo>
                    <a:lnTo>
                      <a:pt x="96" y="107"/>
                    </a:lnTo>
                    <a:lnTo>
                      <a:pt x="103" y="107"/>
                    </a:lnTo>
                    <a:lnTo>
                      <a:pt x="109" y="105"/>
                    </a:lnTo>
                    <a:lnTo>
                      <a:pt x="109" y="104"/>
                    </a:lnTo>
                    <a:lnTo>
                      <a:pt x="110" y="104"/>
                    </a:lnTo>
                    <a:lnTo>
                      <a:pt x="112" y="105"/>
                    </a:lnTo>
                    <a:lnTo>
                      <a:pt x="114" y="104"/>
                    </a:lnTo>
                    <a:lnTo>
                      <a:pt x="114" y="102"/>
                    </a:lnTo>
                    <a:lnTo>
                      <a:pt x="116" y="101"/>
                    </a:lnTo>
                    <a:lnTo>
                      <a:pt x="116" y="99"/>
                    </a:lnTo>
                    <a:lnTo>
                      <a:pt x="119" y="98"/>
                    </a:lnTo>
                    <a:lnTo>
                      <a:pt x="124" y="96"/>
                    </a:lnTo>
                    <a:lnTo>
                      <a:pt x="136" y="9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69" name="Freeform 75">
                <a:extLst>
                  <a:ext uri="{FF2B5EF4-FFF2-40B4-BE49-F238E27FC236}">
                    <a16:creationId xmlns:a16="http://schemas.microsoft.com/office/drawing/2014/main" id="{E5E8EBC9-35A2-76CF-9F27-D6C67303FE4E}"/>
                  </a:ext>
                </a:extLst>
              </p:cNvPr>
              <p:cNvSpPr>
                <a:spLocks/>
              </p:cNvSpPr>
              <p:nvPr/>
            </p:nvSpPr>
            <p:spPr bwMode="auto">
              <a:xfrm>
                <a:off x="3464" y="1624"/>
                <a:ext cx="7" cy="7"/>
              </a:xfrm>
              <a:custGeom>
                <a:avLst/>
                <a:gdLst>
                  <a:gd name="T0" fmla="*/ 3 w 7"/>
                  <a:gd name="T1" fmla="*/ 1 h 7"/>
                  <a:gd name="T2" fmla="*/ 1 w 7"/>
                  <a:gd name="T3" fmla="*/ 4 h 7"/>
                  <a:gd name="T4" fmla="*/ 0 w 7"/>
                  <a:gd name="T5" fmla="*/ 7 h 7"/>
                  <a:gd name="T6" fmla="*/ 3 w 7"/>
                  <a:gd name="T7" fmla="*/ 7 h 7"/>
                  <a:gd name="T8" fmla="*/ 5 w 7"/>
                  <a:gd name="T9" fmla="*/ 6 h 7"/>
                  <a:gd name="T10" fmla="*/ 7 w 7"/>
                  <a:gd name="T11" fmla="*/ 4 h 7"/>
                  <a:gd name="T12" fmla="*/ 7 w 7"/>
                  <a:gd name="T13" fmla="*/ 1 h 7"/>
                  <a:gd name="T14" fmla="*/ 5 w 7"/>
                  <a:gd name="T15" fmla="*/ 0 h 7"/>
                  <a:gd name="T16" fmla="*/ 3 w 7"/>
                  <a:gd name="T17"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1"/>
                    </a:moveTo>
                    <a:lnTo>
                      <a:pt x="1" y="4"/>
                    </a:lnTo>
                    <a:lnTo>
                      <a:pt x="0" y="7"/>
                    </a:lnTo>
                    <a:lnTo>
                      <a:pt x="3" y="7"/>
                    </a:lnTo>
                    <a:lnTo>
                      <a:pt x="5" y="6"/>
                    </a:lnTo>
                    <a:lnTo>
                      <a:pt x="7" y="4"/>
                    </a:lnTo>
                    <a:lnTo>
                      <a:pt x="7" y="1"/>
                    </a:lnTo>
                    <a:lnTo>
                      <a:pt x="5" y="0"/>
                    </a:lnTo>
                    <a:lnTo>
                      <a:pt x="3" y="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70" name="Freeform 76">
                <a:extLst>
                  <a:ext uri="{FF2B5EF4-FFF2-40B4-BE49-F238E27FC236}">
                    <a16:creationId xmlns:a16="http://schemas.microsoft.com/office/drawing/2014/main" id="{E3E8C212-1621-999F-618B-083D0703818D}"/>
                  </a:ext>
                </a:extLst>
              </p:cNvPr>
              <p:cNvSpPr>
                <a:spLocks/>
              </p:cNvSpPr>
              <p:nvPr/>
            </p:nvSpPr>
            <p:spPr bwMode="auto">
              <a:xfrm>
                <a:off x="3508" y="1753"/>
                <a:ext cx="4" cy="3"/>
              </a:xfrm>
              <a:custGeom>
                <a:avLst/>
                <a:gdLst>
                  <a:gd name="T0" fmla="*/ 3 w 4"/>
                  <a:gd name="T1" fmla="*/ 0 h 3"/>
                  <a:gd name="T2" fmla="*/ 4 w 4"/>
                  <a:gd name="T3" fmla="*/ 2 h 3"/>
                  <a:gd name="T4" fmla="*/ 3 w 4"/>
                  <a:gd name="T5" fmla="*/ 2 h 3"/>
                  <a:gd name="T6" fmla="*/ 3 w 4"/>
                  <a:gd name="T7" fmla="*/ 3 h 3"/>
                  <a:gd name="T8" fmla="*/ 0 w 4"/>
                  <a:gd name="T9" fmla="*/ 3 h 3"/>
                  <a:gd name="T10" fmla="*/ 0 w 4"/>
                  <a:gd name="T11" fmla="*/ 0 h 3"/>
                  <a:gd name="T12" fmla="*/ 2 w 4"/>
                  <a:gd name="T13" fmla="*/ 0 h 3"/>
                  <a:gd name="T14" fmla="*/ 3 w 4"/>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3" y="0"/>
                    </a:moveTo>
                    <a:lnTo>
                      <a:pt x="4" y="2"/>
                    </a:lnTo>
                    <a:lnTo>
                      <a:pt x="3" y="2"/>
                    </a:lnTo>
                    <a:lnTo>
                      <a:pt x="3" y="3"/>
                    </a:lnTo>
                    <a:lnTo>
                      <a:pt x="0" y="3"/>
                    </a:lnTo>
                    <a:lnTo>
                      <a:pt x="0" y="0"/>
                    </a:lnTo>
                    <a:lnTo>
                      <a:pt x="2" y="0"/>
                    </a:lnTo>
                    <a:lnTo>
                      <a:pt x="3"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71" name="Freeform 77">
                <a:extLst>
                  <a:ext uri="{FF2B5EF4-FFF2-40B4-BE49-F238E27FC236}">
                    <a16:creationId xmlns:a16="http://schemas.microsoft.com/office/drawing/2014/main" id="{E23151FF-1A53-1373-9ED8-B79669218F9B}"/>
                  </a:ext>
                </a:extLst>
              </p:cNvPr>
              <p:cNvSpPr>
                <a:spLocks/>
              </p:cNvSpPr>
              <p:nvPr/>
            </p:nvSpPr>
            <p:spPr bwMode="auto">
              <a:xfrm>
                <a:off x="3501" y="1747"/>
                <a:ext cx="3" cy="2"/>
              </a:xfrm>
              <a:custGeom>
                <a:avLst/>
                <a:gdLst>
                  <a:gd name="T0" fmla="*/ 1 w 3"/>
                  <a:gd name="T1" fmla="*/ 0 h 2"/>
                  <a:gd name="T2" fmla="*/ 0 w 3"/>
                  <a:gd name="T3" fmla="*/ 0 h 2"/>
                  <a:gd name="T4" fmla="*/ 0 w 3"/>
                  <a:gd name="T5" fmla="*/ 0 h 2"/>
                  <a:gd name="T6" fmla="*/ 1 w 3"/>
                  <a:gd name="T7" fmla="*/ 2 h 2"/>
                  <a:gd name="T8" fmla="*/ 1 w 3"/>
                  <a:gd name="T9" fmla="*/ 2 h 2"/>
                  <a:gd name="T10" fmla="*/ 1 w 3"/>
                  <a:gd name="T11" fmla="*/ 2 h 2"/>
                  <a:gd name="T12" fmla="*/ 3 w 3"/>
                  <a:gd name="T13" fmla="*/ 0 h 2"/>
                  <a:gd name="T14" fmla="*/ 1 w 3"/>
                  <a:gd name="T15" fmla="*/ 0 h 2"/>
                  <a:gd name="T16" fmla="*/ 1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1" y="0"/>
                    </a:moveTo>
                    <a:lnTo>
                      <a:pt x="0" y="0"/>
                    </a:lnTo>
                    <a:lnTo>
                      <a:pt x="0" y="0"/>
                    </a:lnTo>
                    <a:lnTo>
                      <a:pt x="1" y="2"/>
                    </a:lnTo>
                    <a:lnTo>
                      <a:pt x="1" y="2"/>
                    </a:lnTo>
                    <a:lnTo>
                      <a:pt x="1" y="2"/>
                    </a:lnTo>
                    <a:lnTo>
                      <a:pt x="3" y="0"/>
                    </a:lnTo>
                    <a:lnTo>
                      <a:pt x="1" y="0"/>
                    </a:lnTo>
                    <a:lnTo>
                      <a:pt x="1"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72" name="Freeform 78">
                <a:extLst>
                  <a:ext uri="{FF2B5EF4-FFF2-40B4-BE49-F238E27FC236}">
                    <a16:creationId xmlns:a16="http://schemas.microsoft.com/office/drawing/2014/main" id="{9589A65D-35BD-33C2-B10D-950C7575E64A}"/>
                  </a:ext>
                </a:extLst>
              </p:cNvPr>
              <p:cNvSpPr>
                <a:spLocks noEditPoints="1"/>
              </p:cNvSpPr>
              <p:nvPr/>
            </p:nvSpPr>
            <p:spPr bwMode="auto">
              <a:xfrm>
                <a:off x="3366" y="1602"/>
                <a:ext cx="76" cy="94"/>
              </a:xfrm>
              <a:custGeom>
                <a:avLst/>
                <a:gdLst>
                  <a:gd name="T0" fmla="*/ 4 w 76"/>
                  <a:gd name="T1" fmla="*/ 74 h 94"/>
                  <a:gd name="T2" fmla="*/ 9 w 76"/>
                  <a:gd name="T3" fmla="*/ 71 h 94"/>
                  <a:gd name="T4" fmla="*/ 29 w 76"/>
                  <a:gd name="T5" fmla="*/ 63 h 94"/>
                  <a:gd name="T6" fmla="*/ 24 w 76"/>
                  <a:gd name="T7" fmla="*/ 61 h 94"/>
                  <a:gd name="T8" fmla="*/ 10 w 76"/>
                  <a:gd name="T9" fmla="*/ 65 h 94"/>
                  <a:gd name="T10" fmla="*/ 17 w 76"/>
                  <a:gd name="T11" fmla="*/ 58 h 94"/>
                  <a:gd name="T12" fmla="*/ 20 w 76"/>
                  <a:gd name="T13" fmla="*/ 53 h 94"/>
                  <a:gd name="T14" fmla="*/ 24 w 76"/>
                  <a:gd name="T15" fmla="*/ 51 h 94"/>
                  <a:gd name="T16" fmla="*/ 14 w 76"/>
                  <a:gd name="T17" fmla="*/ 49 h 94"/>
                  <a:gd name="T18" fmla="*/ 11 w 76"/>
                  <a:gd name="T19" fmla="*/ 46 h 94"/>
                  <a:gd name="T20" fmla="*/ 7 w 76"/>
                  <a:gd name="T21" fmla="*/ 45 h 94"/>
                  <a:gd name="T22" fmla="*/ 7 w 76"/>
                  <a:gd name="T23" fmla="*/ 40 h 94"/>
                  <a:gd name="T24" fmla="*/ 9 w 76"/>
                  <a:gd name="T25" fmla="*/ 38 h 94"/>
                  <a:gd name="T26" fmla="*/ 14 w 76"/>
                  <a:gd name="T27" fmla="*/ 33 h 94"/>
                  <a:gd name="T28" fmla="*/ 9 w 76"/>
                  <a:gd name="T29" fmla="*/ 35 h 94"/>
                  <a:gd name="T30" fmla="*/ 7 w 76"/>
                  <a:gd name="T31" fmla="*/ 28 h 94"/>
                  <a:gd name="T32" fmla="*/ 7 w 76"/>
                  <a:gd name="T33" fmla="*/ 25 h 94"/>
                  <a:gd name="T34" fmla="*/ 20 w 76"/>
                  <a:gd name="T35" fmla="*/ 25 h 94"/>
                  <a:gd name="T36" fmla="*/ 24 w 76"/>
                  <a:gd name="T37" fmla="*/ 25 h 94"/>
                  <a:gd name="T38" fmla="*/ 33 w 76"/>
                  <a:gd name="T39" fmla="*/ 25 h 94"/>
                  <a:gd name="T40" fmla="*/ 37 w 76"/>
                  <a:gd name="T41" fmla="*/ 19 h 94"/>
                  <a:gd name="T42" fmla="*/ 34 w 76"/>
                  <a:gd name="T43" fmla="*/ 16 h 94"/>
                  <a:gd name="T44" fmla="*/ 30 w 76"/>
                  <a:gd name="T45" fmla="*/ 13 h 94"/>
                  <a:gd name="T46" fmla="*/ 34 w 76"/>
                  <a:gd name="T47" fmla="*/ 9 h 94"/>
                  <a:gd name="T48" fmla="*/ 40 w 76"/>
                  <a:gd name="T49" fmla="*/ 3 h 94"/>
                  <a:gd name="T50" fmla="*/ 47 w 76"/>
                  <a:gd name="T51" fmla="*/ 2 h 94"/>
                  <a:gd name="T52" fmla="*/ 49 w 76"/>
                  <a:gd name="T53" fmla="*/ 7 h 94"/>
                  <a:gd name="T54" fmla="*/ 52 w 76"/>
                  <a:gd name="T55" fmla="*/ 2 h 94"/>
                  <a:gd name="T56" fmla="*/ 56 w 76"/>
                  <a:gd name="T57" fmla="*/ 0 h 94"/>
                  <a:gd name="T58" fmla="*/ 56 w 76"/>
                  <a:gd name="T59" fmla="*/ 5 h 94"/>
                  <a:gd name="T60" fmla="*/ 49 w 76"/>
                  <a:gd name="T61" fmla="*/ 13 h 94"/>
                  <a:gd name="T62" fmla="*/ 43 w 76"/>
                  <a:gd name="T63" fmla="*/ 15 h 94"/>
                  <a:gd name="T64" fmla="*/ 43 w 76"/>
                  <a:gd name="T65" fmla="*/ 19 h 94"/>
                  <a:gd name="T66" fmla="*/ 42 w 76"/>
                  <a:gd name="T67" fmla="*/ 25 h 94"/>
                  <a:gd name="T68" fmla="*/ 50 w 76"/>
                  <a:gd name="T69" fmla="*/ 28 h 94"/>
                  <a:gd name="T70" fmla="*/ 52 w 76"/>
                  <a:gd name="T71" fmla="*/ 28 h 94"/>
                  <a:gd name="T72" fmla="*/ 56 w 76"/>
                  <a:gd name="T73" fmla="*/ 25 h 94"/>
                  <a:gd name="T74" fmla="*/ 60 w 76"/>
                  <a:gd name="T75" fmla="*/ 22 h 94"/>
                  <a:gd name="T76" fmla="*/ 63 w 76"/>
                  <a:gd name="T77" fmla="*/ 26 h 94"/>
                  <a:gd name="T78" fmla="*/ 66 w 76"/>
                  <a:gd name="T79" fmla="*/ 29 h 94"/>
                  <a:gd name="T80" fmla="*/ 69 w 76"/>
                  <a:gd name="T81" fmla="*/ 29 h 94"/>
                  <a:gd name="T82" fmla="*/ 69 w 76"/>
                  <a:gd name="T83" fmla="*/ 29 h 94"/>
                  <a:gd name="T84" fmla="*/ 72 w 76"/>
                  <a:gd name="T85" fmla="*/ 29 h 94"/>
                  <a:gd name="T86" fmla="*/ 73 w 76"/>
                  <a:gd name="T87" fmla="*/ 29 h 94"/>
                  <a:gd name="T88" fmla="*/ 72 w 76"/>
                  <a:gd name="T89" fmla="*/ 30 h 94"/>
                  <a:gd name="T90" fmla="*/ 73 w 76"/>
                  <a:gd name="T91" fmla="*/ 39 h 94"/>
                  <a:gd name="T92" fmla="*/ 73 w 76"/>
                  <a:gd name="T93" fmla="*/ 66 h 94"/>
                  <a:gd name="T94" fmla="*/ 70 w 76"/>
                  <a:gd name="T95" fmla="*/ 74 h 94"/>
                  <a:gd name="T96" fmla="*/ 62 w 76"/>
                  <a:gd name="T97" fmla="*/ 75 h 94"/>
                  <a:gd name="T98" fmla="*/ 55 w 76"/>
                  <a:gd name="T99" fmla="*/ 76 h 94"/>
                  <a:gd name="T100" fmla="*/ 47 w 76"/>
                  <a:gd name="T101" fmla="*/ 81 h 94"/>
                  <a:gd name="T102" fmla="*/ 43 w 76"/>
                  <a:gd name="T103" fmla="*/ 82 h 94"/>
                  <a:gd name="T104" fmla="*/ 39 w 76"/>
                  <a:gd name="T105" fmla="*/ 84 h 94"/>
                  <a:gd name="T106" fmla="*/ 34 w 76"/>
                  <a:gd name="T107" fmla="*/ 88 h 94"/>
                  <a:gd name="T108" fmla="*/ 23 w 76"/>
                  <a:gd name="T109" fmla="*/ 92 h 94"/>
                  <a:gd name="T110" fmla="*/ 11 w 76"/>
                  <a:gd name="T111" fmla="*/ 91 h 94"/>
                  <a:gd name="T112" fmla="*/ 7 w 76"/>
                  <a:gd name="T113" fmla="*/ 89 h 94"/>
                  <a:gd name="T114" fmla="*/ 11 w 76"/>
                  <a:gd name="T115" fmla="*/ 84 h 94"/>
                  <a:gd name="T116" fmla="*/ 1 w 76"/>
                  <a:gd name="T117" fmla="*/ 85 h 94"/>
                  <a:gd name="T118" fmla="*/ 9 w 76"/>
                  <a:gd name="T119" fmla="*/ 76 h 94"/>
                  <a:gd name="T120" fmla="*/ 7 w 76"/>
                  <a:gd name="T121" fmla="*/ 33 h 94"/>
                  <a:gd name="T122" fmla="*/ 7 w 76"/>
                  <a:gd name="T123" fmla="*/ 32 h 94"/>
                  <a:gd name="T124" fmla="*/ 3 w 76"/>
                  <a:gd name="T125" fmla="*/ 3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 h="94">
                    <a:moveTo>
                      <a:pt x="1" y="76"/>
                    </a:moveTo>
                    <a:lnTo>
                      <a:pt x="0" y="76"/>
                    </a:lnTo>
                    <a:lnTo>
                      <a:pt x="1" y="74"/>
                    </a:lnTo>
                    <a:lnTo>
                      <a:pt x="4" y="74"/>
                    </a:lnTo>
                    <a:lnTo>
                      <a:pt x="7" y="74"/>
                    </a:lnTo>
                    <a:lnTo>
                      <a:pt x="11" y="74"/>
                    </a:lnTo>
                    <a:lnTo>
                      <a:pt x="10" y="72"/>
                    </a:lnTo>
                    <a:lnTo>
                      <a:pt x="9" y="71"/>
                    </a:lnTo>
                    <a:lnTo>
                      <a:pt x="9" y="69"/>
                    </a:lnTo>
                    <a:lnTo>
                      <a:pt x="13" y="68"/>
                    </a:lnTo>
                    <a:lnTo>
                      <a:pt x="14" y="66"/>
                    </a:lnTo>
                    <a:lnTo>
                      <a:pt x="29" y="63"/>
                    </a:lnTo>
                    <a:lnTo>
                      <a:pt x="27" y="62"/>
                    </a:lnTo>
                    <a:lnTo>
                      <a:pt x="26" y="62"/>
                    </a:lnTo>
                    <a:lnTo>
                      <a:pt x="26" y="62"/>
                    </a:lnTo>
                    <a:lnTo>
                      <a:pt x="24" y="61"/>
                    </a:lnTo>
                    <a:lnTo>
                      <a:pt x="23" y="63"/>
                    </a:lnTo>
                    <a:lnTo>
                      <a:pt x="20" y="63"/>
                    </a:lnTo>
                    <a:lnTo>
                      <a:pt x="16" y="63"/>
                    </a:lnTo>
                    <a:lnTo>
                      <a:pt x="10" y="65"/>
                    </a:lnTo>
                    <a:lnTo>
                      <a:pt x="9" y="65"/>
                    </a:lnTo>
                    <a:lnTo>
                      <a:pt x="11" y="63"/>
                    </a:lnTo>
                    <a:lnTo>
                      <a:pt x="14" y="61"/>
                    </a:lnTo>
                    <a:lnTo>
                      <a:pt x="17" y="58"/>
                    </a:lnTo>
                    <a:lnTo>
                      <a:pt x="16" y="56"/>
                    </a:lnTo>
                    <a:lnTo>
                      <a:pt x="17" y="55"/>
                    </a:lnTo>
                    <a:lnTo>
                      <a:pt x="19" y="53"/>
                    </a:lnTo>
                    <a:lnTo>
                      <a:pt x="20" y="53"/>
                    </a:lnTo>
                    <a:lnTo>
                      <a:pt x="22" y="52"/>
                    </a:lnTo>
                    <a:lnTo>
                      <a:pt x="23" y="52"/>
                    </a:lnTo>
                    <a:lnTo>
                      <a:pt x="23" y="51"/>
                    </a:lnTo>
                    <a:lnTo>
                      <a:pt x="24" y="51"/>
                    </a:lnTo>
                    <a:lnTo>
                      <a:pt x="26" y="51"/>
                    </a:lnTo>
                    <a:lnTo>
                      <a:pt x="23" y="49"/>
                    </a:lnTo>
                    <a:lnTo>
                      <a:pt x="17" y="49"/>
                    </a:lnTo>
                    <a:lnTo>
                      <a:pt x="14" y="49"/>
                    </a:lnTo>
                    <a:lnTo>
                      <a:pt x="14" y="49"/>
                    </a:lnTo>
                    <a:lnTo>
                      <a:pt x="13" y="48"/>
                    </a:lnTo>
                    <a:lnTo>
                      <a:pt x="13" y="46"/>
                    </a:lnTo>
                    <a:lnTo>
                      <a:pt x="11" y="46"/>
                    </a:lnTo>
                    <a:lnTo>
                      <a:pt x="10" y="46"/>
                    </a:lnTo>
                    <a:lnTo>
                      <a:pt x="9" y="46"/>
                    </a:lnTo>
                    <a:lnTo>
                      <a:pt x="10" y="45"/>
                    </a:lnTo>
                    <a:lnTo>
                      <a:pt x="7" y="45"/>
                    </a:lnTo>
                    <a:lnTo>
                      <a:pt x="6" y="45"/>
                    </a:lnTo>
                    <a:lnTo>
                      <a:pt x="6" y="43"/>
                    </a:lnTo>
                    <a:lnTo>
                      <a:pt x="6" y="42"/>
                    </a:lnTo>
                    <a:lnTo>
                      <a:pt x="7" y="40"/>
                    </a:lnTo>
                    <a:lnTo>
                      <a:pt x="10" y="40"/>
                    </a:lnTo>
                    <a:lnTo>
                      <a:pt x="11" y="40"/>
                    </a:lnTo>
                    <a:lnTo>
                      <a:pt x="9" y="39"/>
                    </a:lnTo>
                    <a:lnTo>
                      <a:pt x="9" y="38"/>
                    </a:lnTo>
                    <a:lnTo>
                      <a:pt x="11" y="36"/>
                    </a:lnTo>
                    <a:lnTo>
                      <a:pt x="14" y="36"/>
                    </a:lnTo>
                    <a:lnTo>
                      <a:pt x="14" y="35"/>
                    </a:lnTo>
                    <a:lnTo>
                      <a:pt x="14" y="33"/>
                    </a:lnTo>
                    <a:lnTo>
                      <a:pt x="13" y="33"/>
                    </a:lnTo>
                    <a:lnTo>
                      <a:pt x="11" y="33"/>
                    </a:lnTo>
                    <a:lnTo>
                      <a:pt x="10" y="33"/>
                    </a:lnTo>
                    <a:lnTo>
                      <a:pt x="9" y="35"/>
                    </a:lnTo>
                    <a:lnTo>
                      <a:pt x="9" y="30"/>
                    </a:lnTo>
                    <a:lnTo>
                      <a:pt x="9" y="29"/>
                    </a:lnTo>
                    <a:lnTo>
                      <a:pt x="9" y="29"/>
                    </a:lnTo>
                    <a:lnTo>
                      <a:pt x="7" y="28"/>
                    </a:lnTo>
                    <a:lnTo>
                      <a:pt x="7" y="28"/>
                    </a:lnTo>
                    <a:lnTo>
                      <a:pt x="6" y="26"/>
                    </a:lnTo>
                    <a:lnTo>
                      <a:pt x="6" y="28"/>
                    </a:lnTo>
                    <a:lnTo>
                      <a:pt x="7" y="25"/>
                    </a:lnTo>
                    <a:lnTo>
                      <a:pt x="11" y="23"/>
                    </a:lnTo>
                    <a:lnTo>
                      <a:pt x="16" y="23"/>
                    </a:lnTo>
                    <a:lnTo>
                      <a:pt x="19" y="25"/>
                    </a:lnTo>
                    <a:lnTo>
                      <a:pt x="20" y="25"/>
                    </a:lnTo>
                    <a:lnTo>
                      <a:pt x="22" y="26"/>
                    </a:lnTo>
                    <a:lnTo>
                      <a:pt x="23" y="26"/>
                    </a:lnTo>
                    <a:lnTo>
                      <a:pt x="23" y="26"/>
                    </a:lnTo>
                    <a:lnTo>
                      <a:pt x="24" y="25"/>
                    </a:lnTo>
                    <a:lnTo>
                      <a:pt x="24" y="25"/>
                    </a:lnTo>
                    <a:lnTo>
                      <a:pt x="26" y="25"/>
                    </a:lnTo>
                    <a:lnTo>
                      <a:pt x="30" y="25"/>
                    </a:lnTo>
                    <a:lnTo>
                      <a:pt x="33" y="25"/>
                    </a:lnTo>
                    <a:lnTo>
                      <a:pt x="32" y="23"/>
                    </a:lnTo>
                    <a:lnTo>
                      <a:pt x="32" y="22"/>
                    </a:lnTo>
                    <a:lnTo>
                      <a:pt x="33" y="22"/>
                    </a:lnTo>
                    <a:lnTo>
                      <a:pt x="37" y="19"/>
                    </a:lnTo>
                    <a:lnTo>
                      <a:pt x="39" y="17"/>
                    </a:lnTo>
                    <a:lnTo>
                      <a:pt x="40" y="16"/>
                    </a:lnTo>
                    <a:lnTo>
                      <a:pt x="36" y="16"/>
                    </a:lnTo>
                    <a:lnTo>
                      <a:pt x="34" y="16"/>
                    </a:lnTo>
                    <a:lnTo>
                      <a:pt x="32" y="16"/>
                    </a:lnTo>
                    <a:lnTo>
                      <a:pt x="29" y="15"/>
                    </a:lnTo>
                    <a:lnTo>
                      <a:pt x="30" y="15"/>
                    </a:lnTo>
                    <a:lnTo>
                      <a:pt x="30" y="13"/>
                    </a:lnTo>
                    <a:lnTo>
                      <a:pt x="32" y="13"/>
                    </a:lnTo>
                    <a:lnTo>
                      <a:pt x="33" y="12"/>
                    </a:lnTo>
                    <a:lnTo>
                      <a:pt x="34" y="10"/>
                    </a:lnTo>
                    <a:lnTo>
                      <a:pt x="34" y="9"/>
                    </a:lnTo>
                    <a:lnTo>
                      <a:pt x="36" y="9"/>
                    </a:lnTo>
                    <a:lnTo>
                      <a:pt x="36" y="7"/>
                    </a:lnTo>
                    <a:lnTo>
                      <a:pt x="37" y="5"/>
                    </a:lnTo>
                    <a:lnTo>
                      <a:pt x="40" y="3"/>
                    </a:lnTo>
                    <a:lnTo>
                      <a:pt x="43" y="3"/>
                    </a:lnTo>
                    <a:lnTo>
                      <a:pt x="46" y="3"/>
                    </a:lnTo>
                    <a:lnTo>
                      <a:pt x="46" y="2"/>
                    </a:lnTo>
                    <a:lnTo>
                      <a:pt x="47" y="2"/>
                    </a:lnTo>
                    <a:lnTo>
                      <a:pt x="49" y="3"/>
                    </a:lnTo>
                    <a:lnTo>
                      <a:pt x="49" y="5"/>
                    </a:lnTo>
                    <a:lnTo>
                      <a:pt x="49" y="6"/>
                    </a:lnTo>
                    <a:lnTo>
                      <a:pt x="49" y="7"/>
                    </a:lnTo>
                    <a:lnTo>
                      <a:pt x="47" y="9"/>
                    </a:lnTo>
                    <a:lnTo>
                      <a:pt x="50" y="6"/>
                    </a:lnTo>
                    <a:lnTo>
                      <a:pt x="50" y="5"/>
                    </a:lnTo>
                    <a:lnTo>
                      <a:pt x="52" y="2"/>
                    </a:lnTo>
                    <a:lnTo>
                      <a:pt x="55" y="2"/>
                    </a:lnTo>
                    <a:lnTo>
                      <a:pt x="53" y="0"/>
                    </a:lnTo>
                    <a:lnTo>
                      <a:pt x="55" y="0"/>
                    </a:lnTo>
                    <a:lnTo>
                      <a:pt x="56" y="0"/>
                    </a:lnTo>
                    <a:lnTo>
                      <a:pt x="59" y="2"/>
                    </a:lnTo>
                    <a:lnTo>
                      <a:pt x="60" y="2"/>
                    </a:lnTo>
                    <a:lnTo>
                      <a:pt x="59" y="3"/>
                    </a:lnTo>
                    <a:lnTo>
                      <a:pt x="56" y="5"/>
                    </a:lnTo>
                    <a:lnTo>
                      <a:pt x="55" y="6"/>
                    </a:lnTo>
                    <a:lnTo>
                      <a:pt x="52" y="7"/>
                    </a:lnTo>
                    <a:lnTo>
                      <a:pt x="50" y="10"/>
                    </a:lnTo>
                    <a:lnTo>
                      <a:pt x="49" y="13"/>
                    </a:lnTo>
                    <a:lnTo>
                      <a:pt x="46" y="15"/>
                    </a:lnTo>
                    <a:lnTo>
                      <a:pt x="45" y="15"/>
                    </a:lnTo>
                    <a:lnTo>
                      <a:pt x="45" y="15"/>
                    </a:lnTo>
                    <a:lnTo>
                      <a:pt x="43" y="15"/>
                    </a:lnTo>
                    <a:lnTo>
                      <a:pt x="43" y="15"/>
                    </a:lnTo>
                    <a:lnTo>
                      <a:pt x="43" y="16"/>
                    </a:lnTo>
                    <a:lnTo>
                      <a:pt x="46" y="16"/>
                    </a:lnTo>
                    <a:lnTo>
                      <a:pt x="43" y="19"/>
                    </a:lnTo>
                    <a:lnTo>
                      <a:pt x="40" y="19"/>
                    </a:lnTo>
                    <a:lnTo>
                      <a:pt x="39" y="20"/>
                    </a:lnTo>
                    <a:lnTo>
                      <a:pt x="40" y="22"/>
                    </a:lnTo>
                    <a:lnTo>
                      <a:pt x="42" y="25"/>
                    </a:lnTo>
                    <a:lnTo>
                      <a:pt x="45" y="26"/>
                    </a:lnTo>
                    <a:lnTo>
                      <a:pt x="47" y="28"/>
                    </a:lnTo>
                    <a:lnTo>
                      <a:pt x="50" y="28"/>
                    </a:lnTo>
                    <a:lnTo>
                      <a:pt x="50" y="28"/>
                    </a:lnTo>
                    <a:lnTo>
                      <a:pt x="52" y="28"/>
                    </a:lnTo>
                    <a:lnTo>
                      <a:pt x="52" y="28"/>
                    </a:lnTo>
                    <a:lnTo>
                      <a:pt x="52" y="28"/>
                    </a:lnTo>
                    <a:lnTo>
                      <a:pt x="52" y="28"/>
                    </a:lnTo>
                    <a:lnTo>
                      <a:pt x="53" y="28"/>
                    </a:lnTo>
                    <a:lnTo>
                      <a:pt x="53" y="28"/>
                    </a:lnTo>
                    <a:lnTo>
                      <a:pt x="55" y="26"/>
                    </a:lnTo>
                    <a:lnTo>
                      <a:pt x="56" y="25"/>
                    </a:lnTo>
                    <a:lnTo>
                      <a:pt x="56" y="23"/>
                    </a:lnTo>
                    <a:lnTo>
                      <a:pt x="57" y="22"/>
                    </a:lnTo>
                    <a:lnTo>
                      <a:pt x="59" y="22"/>
                    </a:lnTo>
                    <a:lnTo>
                      <a:pt x="60" y="22"/>
                    </a:lnTo>
                    <a:lnTo>
                      <a:pt x="62" y="23"/>
                    </a:lnTo>
                    <a:lnTo>
                      <a:pt x="62" y="25"/>
                    </a:lnTo>
                    <a:lnTo>
                      <a:pt x="63" y="26"/>
                    </a:lnTo>
                    <a:lnTo>
                      <a:pt x="63" y="26"/>
                    </a:lnTo>
                    <a:lnTo>
                      <a:pt x="65" y="26"/>
                    </a:lnTo>
                    <a:lnTo>
                      <a:pt x="66" y="28"/>
                    </a:lnTo>
                    <a:lnTo>
                      <a:pt x="66" y="28"/>
                    </a:lnTo>
                    <a:lnTo>
                      <a:pt x="66" y="29"/>
                    </a:lnTo>
                    <a:lnTo>
                      <a:pt x="66" y="29"/>
                    </a:lnTo>
                    <a:lnTo>
                      <a:pt x="66" y="29"/>
                    </a:lnTo>
                    <a:lnTo>
                      <a:pt x="67" y="29"/>
                    </a:lnTo>
                    <a:lnTo>
                      <a:pt x="69" y="29"/>
                    </a:lnTo>
                    <a:lnTo>
                      <a:pt x="69" y="29"/>
                    </a:lnTo>
                    <a:lnTo>
                      <a:pt x="69" y="29"/>
                    </a:lnTo>
                    <a:lnTo>
                      <a:pt x="69" y="29"/>
                    </a:lnTo>
                    <a:lnTo>
                      <a:pt x="69" y="29"/>
                    </a:lnTo>
                    <a:lnTo>
                      <a:pt x="69" y="29"/>
                    </a:lnTo>
                    <a:lnTo>
                      <a:pt x="70" y="29"/>
                    </a:lnTo>
                    <a:lnTo>
                      <a:pt x="70" y="29"/>
                    </a:lnTo>
                    <a:lnTo>
                      <a:pt x="72" y="29"/>
                    </a:lnTo>
                    <a:lnTo>
                      <a:pt x="72" y="29"/>
                    </a:lnTo>
                    <a:lnTo>
                      <a:pt x="73" y="29"/>
                    </a:lnTo>
                    <a:lnTo>
                      <a:pt x="73" y="29"/>
                    </a:lnTo>
                    <a:lnTo>
                      <a:pt x="73" y="29"/>
                    </a:lnTo>
                    <a:lnTo>
                      <a:pt x="75" y="30"/>
                    </a:lnTo>
                    <a:lnTo>
                      <a:pt x="75" y="30"/>
                    </a:lnTo>
                    <a:lnTo>
                      <a:pt x="75" y="30"/>
                    </a:lnTo>
                    <a:lnTo>
                      <a:pt x="72" y="30"/>
                    </a:lnTo>
                    <a:lnTo>
                      <a:pt x="72" y="32"/>
                    </a:lnTo>
                    <a:lnTo>
                      <a:pt x="72" y="35"/>
                    </a:lnTo>
                    <a:lnTo>
                      <a:pt x="73" y="38"/>
                    </a:lnTo>
                    <a:lnTo>
                      <a:pt x="73" y="39"/>
                    </a:lnTo>
                    <a:lnTo>
                      <a:pt x="75" y="48"/>
                    </a:lnTo>
                    <a:lnTo>
                      <a:pt x="76" y="53"/>
                    </a:lnTo>
                    <a:lnTo>
                      <a:pt x="76" y="56"/>
                    </a:lnTo>
                    <a:lnTo>
                      <a:pt x="73" y="66"/>
                    </a:lnTo>
                    <a:lnTo>
                      <a:pt x="72" y="69"/>
                    </a:lnTo>
                    <a:lnTo>
                      <a:pt x="69" y="71"/>
                    </a:lnTo>
                    <a:lnTo>
                      <a:pt x="69" y="72"/>
                    </a:lnTo>
                    <a:lnTo>
                      <a:pt x="70" y="74"/>
                    </a:lnTo>
                    <a:lnTo>
                      <a:pt x="72" y="74"/>
                    </a:lnTo>
                    <a:lnTo>
                      <a:pt x="69" y="75"/>
                    </a:lnTo>
                    <a:lnTo>
                      <a:pt x="65" y="75"/>
                    </a:lnTo>
                    <a:lnTo>
                      <a:pt x="62" y="75"/>
                    </a:lnTo>
                    <a:lnTo>
                      <a:pt x="60" y="74"/>
                    </a:lnTo>
                    <a:lnTo>
                      <a:pt x="59" y="75"/>
                    </a:lnTo>
                    <a:lnTo>
                      <a:pt x="57" y="76"/>
                    </a:lnTo>
                    <a:lnTo>
                      <a:pt x="55" y="76"/>
                    </a:lnTo>
                    <a:lnTo>
                      <a:pt x="52" y="76"/>
                    </a:lnTo>
                    <a:lnTo>
                      <a:pt x="50" y="78"/>
                    </a:lnTo>
                    <a:lnTo>
                      <a:pt x="49" y="79"/>
                    </a:lnTo>
                    <a:lnTo>
                      <a:pt x="47" y="81"/>
                    </a:lnTo>
                    <a:lnTo>
                      <a:pt x="47" y="81"/>
                    </a:lnTo>
                    <a:lnTo>
                      <a:pt x="45" y="81"/>
                    </a:lnTo>
                    <a:lnTo>
                      <a:pt x="45" y="82"/>
                    </a:lnTo>
                    <a:lnTo>
                      <a:pt x="43" y="82"/>
                    </a:lnTo>
                    <a:lnTo>
                      <a:pt x="43" y="84"/>
                    </a:lnTo>
                    <a:lnTo>
                      <a:pt x="42" y="84"/>
                    </a:lnTo>
                    <a:lnTo>
                      <a:pt x="42" y="84"/>
                    </a:lnTo>
                    <a:lnTo>
                      <a:pt x="39" y="84"/>
                    </a:lnTo>
                    <a:lnTo>
                      <a:pt x="36" y="82"/>
                    </a:lnTo>
                    <a:lnTo>
                      <a:pt x="34" y="82"/>
                    </a:lnTo>
                    <a:lnTo>
                      <a:pt x="36" y="85"/>
                    </a:lnTo>
                    <a:lnTo>
                      <a:pt x="34" y="88"/>
                    </a:lnTo>
                    <a:lnTo>
                      <a:pt x="30" y="89"/>
                    </a:lnTo>
                    <a:lnTo>
                      <a:pt x="27" y="91"/>
                    </a:lnTo>
                    <a:lnTo>
                      <a:pt x="24" y="91"/>
                    </a:lnTo>
                    <a:lnTo>
                      <a:pt x="23" y="92"/>
                    </a:lnTo>
                    <a:lnTo>
                      <a:pt x="17" y="92"/>
                    </a:lnTo>
                    <a:lnTo>
                      <a:pt x="11" y="94"/>
                    </a:lnTo>
                    <a:lnTo>
                      <a:pt x="10" y="94"/>
                    </a:lnTo>
                    <a:lnTo>
                      <a:pt x="11" y="91"/>
                    </a:lnTo>
                    <a:lnTo>
                      <a:pt x="11" y="91"/>
                    </a:lnTo>
                    <a:lnTo>
                      <a:pt x="16" y="88"/>
                    </a:lnTo>
                    <a:lnTo>
                      <a:pt x="13" y="88"/>
                    </a:lnTo>
                    <a:lnTo>
                      <a:pt x="7" y="89"/>
                    </a:lnTo>
                    <a:lnTo>
                      <a:pt x="4" y="89"/>
                    </a:lnTo>
                    <a:lnTo>
                      <a:pt x="6" y="88"/>
                    </a:lnTo>
                    <a:lnTo>
                      <a:pt x="9" y="86"/>
                    </a:lnTo>
                    <a:lnTo>
                      <a:pt x="11" y="84"/>
                    </a:lnTo>
                    <a:lnTo>
                      <a:pt x="14" y="84"/>
                    </a:lnTo>
                    <a:lnTo>
                      <a:pt x="7" y="85"/>
                    </a:lnTo>
                    <a:lnTo>
                      <a:pt x="4" y="85"/>
                    </a:lnTo>
                    <a:lnTo>
                      <a:pt x="1" y="85"/>
                    </a:lnTo>
                    <a:lnTo>
                      <a:pt x="0" y="82"/>
                    </a:lnTo>
                    <a:lnTo>
                      <a:pt x="3" y="81"/>
                    </a:lnTo>
                    <a:lnTo>
                      <a:pt x="6" y="79"/>
                    </a:lnTo>
                    <a:lnTo>
                      <a:pt x="9" y="76"/>
                    </a:lnTo>
                    <a:lnTo>
                      <a:pt x="6" y="76"/>
                    </a:lnTo>
                    <a:lnTo>
                      <a:pt x="1" y="76"/>
                    </a:lnTo>
                    <a:close/>
                    <a:moveTo>
                      <a:pt x="6" y="32"/>
                    </a:moveTo>
                    <a:lnTo>
                      <a:pt x="7" y="33"/>
                    </a:lnTo>
                    <a:lnTo>
                      <a:pt x="7" y="33"/>
                    </a:lnTo>
                    <a:lnTo>
                      <a:pt x="7" y="33"/>
                    </a:lnTo>
                    <a:lnTo>
                      <a:pt x="7" y="32"/>
                    </a:lnTo>
                    <a:lnTo>
                      <a:pt x="7" y="32"/>
                    </a:lnTo>
                    <a:lnTo>
                      <a:pt x="7" y="30"/>
                    </a:lnTo>
                    <a:lnTo>
                      <a:pt x="6" y="30"/>
                    </a:lnTo>
                    <a:lnTo>
                      <a:pt x="4" y="30"/>
                    </a:lnTo>
                    <a:lnTo>
                      <a:pt x="3" y="30"/>
                    </a:lnTo>
                    <a:lnTo>
                      <a:pt x="1" y="32"/>
                    </a:lnTo>
                    <a:lnTo>
                      <a:pt x="4" y="32"/>
                    </a:lnTo>
                    <a:lnTo>
                      <a:pt x="6" y="3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73" name="Freeform 79">
                <a:extLst>
                  <a:ext uri="{FF2B5EF4-FFF2-40B4-BE49-F238E27FC236}">
                    <a16:creationId xmlns:a16="http://schemas.microsoft.com/office/drawing/2014/main" id="{9A3B8244-06CF-38DD-73E1-38D4ACAC85AB}"/>
                  </a:ext>
                </a:extLst>
              </p:cNvPr>
              <p:cNvSpPr>
                <a:spLocks noEditPoints="1"/>
              </p:cNvSpPr>
              <p:nvPr/>
            </p:nvSpPr>
            <p:spPr bwMode="auto">
              <a:xfrm>
                <a:off x="3405" y="1463"/>
                <a:ext cx="174" cy="270"/>
              </a:xfrm>
              <a:custGeom>
                <a:avLst/>
                <a:gdLst>
                  <a:gd name="T0" fmla="*/ 123 w 174"/>
                  <a:gd name="T1" fmla="*/ 4 h 270"/>
                  <a:gd name="T2" fmla="*/ 119 w 174"/>
                  <a:gd name="T3" fmla="*/ 17 h 270"/>
                  <a:gd name="T4" fmla="*/ 119 w 174"/>
                  <a:gd name="T5" fmla="*/ 8 h 270"/>
                  <a:gd name="T6" fmla="*/ 115 w 174"/>
                  <a:gd name="T7" fmla="*/ 16 h 270"/>
                  <a:gd name="T8" fmla="*/ 122 w 174"/>
                  <a:gd name="T9" fmla="*/ 251 h 270"/>
                  <a:gd name="T10" fmla="*/ 84 w 174"/>
                  <a:gd name="T11" fmla="*/ 53 h 270"/>
                  <a:gd name="T12" fmla="*/ 62 w 174"/>
                  <a:gd name="T13" fmla="*/ 185 h 270"/>
                  <a:gd name="T14" fmla="*/ 86 w 174"/>
                  <a:gd name="T15" fmla="*/ 50 h 270"/>
                  <a:gd name="T16" fmla="*/ 99 w 174"/>
                  <a:gd name="T17" fmla="*/ 43 h 270"/>
                  <a:gd name="T18" fmla="*/ 93 w 174"/>
                  <a:gd name="T19" fmla="*/ 46 h 270"/>
                  <a:gd name="T20" fmla="*/ 4 w 174"/>
                  <a:gd name="T21" fmla="*/ 154 h 270"/>
                  <a:gd name="T22" fmla="*/ 13 w 174"/>
                  <a:gd name="T23" fmla="*/ 167 h 270"/>
                  <a:gd name="T24" fmla="*/ 23 w 174"/>
                  <a:gd name="T25" fmla="*/ 164 h 270"/>
                  <a:gd name="T26" fmla="*/ 30 w 174"/>
                  <a:gd name="T27" fmla="*/ 168 h 270"/>
                  <a:gd name="T28" fmla="*/ 40 w 174"/>
                  <a:gd name="T29" fmla="*/ 165 h 270"/>
                  <a:gd name="T30" fmla="*/ 44 w 174"/>
                  <a:gd name="T31" fmla="*/ 155 h 270"/>
                  <a:gd name="T32" fmla="*/ 23 w 174"/>
                  <a:gd name="T33" fmla="*/ 142 h 270"/>
                  <a:gd name="T34" fmla="*/ 28 w 174"/>
                  <a:gd name="T35" fmla="*/ 109 h 270"/>
                  <a:gd name="T36" fmla="*/ 44 w 174"/>
                  <a:gd name="T37" fmla="*/ 100 h 270"/>
                  <a:gd name="T38" fmla="*/ 47 w 174"/>
                  <a:gd name="T39" fmla="*/ 110 h 270"/>
                  <a:gd name="T40" fmla="*/ 41 w 174"/>
                  <a:gd name="T41" fmla="*/ 138 h 270"/>
                  <a:gd name="T42" fmla="*/ 53 w 174"/>
                  <a:gd name="T43" fmla="*/ 121 h 270"/>
                  <a:gd name="T44" fmla="*/ 59 w 174"/>
                  <a:gd name="T45" fmla="*/ 126 h 270"/>
                  <a:gd name="T46" fmla="*/ 56 w 174"/>
                  <a:gd name="T47" fmla="*/ 154 h 270"/>
                  <a:gd name="T48" fmla="*/ 79 w 174"/>
                  <a:gd name="T49" fmla="*/ 149 h 270"/>
                  <a:gd name="T50" fmla="*/ 92 w 174"/>
                  <a:gd name="T51" fmla="*/ 171 h 270"/>
                  <a:gd name="T52" fmla="*/ 87 w 174"/>
                  <a:gd name="T53" fmla="*/ 185 h 270"/>
                  <a:gd name="T54" fmla="*/ 70 w 174"/>
                  <a:gd name="T55" fmla="*/ 197 h 270"/>
                  <a:gd name="T56" fmla="*/ 51 w 174"/>
                  <a:gd name="T57" fmla="*/ 225 h 270"/>
                  <a:gd name="T58" fmla="*/ 70 w 174"/>
                  <a:gd name="T59" fmla="*/ 228 h 270"/>
                  <a:gd name="T60" fmla="*/ 93 w 174"/>
                  <a:gd name="T61" fmla="*/ 234 h 270"/>
                  <a:gd name="T62" fmla="*/ 63 w 174"/>
                  <a:gd name="T63" fmla="*/ 247 h 270"/>
                  <a:gd name="T64" fmla="*/ 53 w 174"/>
                  <a:gd name="T65" fmla="*/ 270 h 270"/>
                  <a:gd name="T66" fmla="*/ 80 w 174"/>
                  <a:gd name="T67" fmla="*/ 261 h 270"/>
                  <a:gd name="T68" fmla="*/ 106 w 174"/>
                  <a:gd name="T69" fmla="*/ 256 h 270"/>
                  <a:gd name="T70" fmla="*/ 139 w 174"/>
                  <a:gd name="T71" fmla="*/ 250 h 270"/>
                  <a:gd name="T72" fmla="*/ 163 w 174"/>
                  <a:gd name="T73" fmla="*/ 241 h 270"/>
                  <a:gd name="T74" fmla="*/ 152 w 174"/>
                  <a:gd name="T75" fmla="*/ 231 h 270"/>
                  <a:gd name="T76" fmla="*/ 163 w 174"/>
                  <a:gd name="T77" fmla="*/ 223 h 270"/>
                  <a:gd name="T78" fmla="*/ 172 w 174"/>
                  <a:gd name="T79" fmla="*/ 214 h 270"/>
                  <a:gd name="T80" fmla="*/ 146 w 174"/>
                  <a:gd name="T81" fmla="*/ 198 h 270"/>
                  <a:gd name="T82" fmla="*/ 130 w 174"/>
                  <a:gd name="T83" fmla="*/ 177 h 270"/>
                  <a:gd name="T84" fmla="*/ 119 w 174"/>
                  <a:gd name="T85" fmla="*/ 151 h 270"/>
                  <a:gd name="T86" fmla="*/ 82 w 174"/>
                  <a:gd name="T87" fmla="*/ 125 h 270"/>
                  <a:gd name="T88" fmla="*/ 93 w 174"/>
                  <a:gd name="T89" fmla="*/ 116 h 270"/>
                  <a:gd name="T90" fmla="*/ 102 w 174"/>
                  <a:gd name="T91" fmla="*/ 85 h 270"/>
                  <a:gd name="T92" fmla="*/ 79 w 174"/>
                  <a:gd name="T93" fmla="*/ 73 h 270"/>
                  <a:gd name="T94" fmla="*/ 63 w 174"/>
                  <a:gd name="T95" fmla="*/ 62 h 270"/>
                  <a:gd name="T96" fmla="*/ 51 w 174"/>
                  <a:gd name="T97" fmla="*/ 70 h 270"/>
                  <a:gd name="T98" fmla="*/ 41 w 174"/>
                  <a:gd name="T99" fmla="*/ 85 h 270"/>
                  <a:gd name="T100" fmla="*/ 36 w 174"/>
                  <a:gd name="T101" fmla="*/ 129 h 270"/>
                  <a:gd name="T102" fmla="*/ 31 w 174"/>
                  <a:gd name="T103" fmla="*/ 132 h 270"/>
                  <a:gd name="T104" fmla="*/ 36 w 174"/>
                  <a:gd name="T105" fmla="*/ 118 h 270"/>
                  <a:gd name="T106" fmla="*/ 14 w 174"/>
                  <a:gd name="T107" fmla="*/ 96 h 270"/>
                  <a:gd name="T108" fmla="*/ 30 w 174"/>
                  <a:gd name="T109" fmla="*/ 96 h 270"/>
                  <a:gd name="T110" fmla="*/ 33 w 174"/>
                  <a:gd name="T111" fmla="*/ 86 h 270"/>
                  <a:gd name="T112" fmla="*/ 24 w 174"/>
                  <a:gd name="T113" fmla="*/ 72 h 270"/>
                  <a:gd name="T114" fmla="*/ 18 w 174"/>
                  <a:gd name="T115" fmla="*/ 80 h 270"/>
                  <a:gd name="T116" fmla="*/ 33 w 174"/>
                  <a:gd name="T117" fmla="*/ 63 h 270"/>
                  <a:gd name="T118" fmla="*/ 36 w 174"/>
                  <a:gd name="T119" fmla="*/ 12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4" h="270">
                    <a:moveTo>
                      <a:pt x="126" y="3"/>
                    </a:moveTo>
                    <a:lnTo>
                      <a:pt x="126" y="1"/>
                    </a:lnTo>
                    <a:lnTo>
                      <a:pt x="128" y="0"/>
                    </a:lnTo>
                    <a:lnTo>
                      <a:pt x="129" y="0"/>
                    </a:lnTo>
                    <a:lnTo>
                      <a:pt x="129" y="1"/>
                    </a:lnTo>
                    <a:lnTo>
                      <a:pt x="128" y="3"/>
                    </a:lnTo>
                    <a:lnTo>
                      <a:pt x="128" y="4"/>
                    </a:lnTo>
                    <a:lnTo>
                      <a:pt x="126" y="3"/>
                    </a:lnTo>
                    <a:close/>
                    <a:moveTo>
                      <a:pt x="125" y="7"/>
                    </a:moveTo>
                    <a:lnTo>
                      <a:pt x="125" y="4"/>
                    </a:lnTo>
                    <a:lnTo>
                      <a:pt x="125" y="4"/>
                    </a:lnTo>
                    <a:lnTo>
                      <a:pt x="123" y="3"/>
                    </a:lnTo>
                    <a:lnTo>
                      <a:pt x="123" y="4"/>
                    </a:lnTo>
                    <a:lnTo>
                      <a:pt x="123" y="7"/>
                    </a:lnTo>
                    <a:lnTo>
                      <a:pt x="123" y="8"/>
                    </a:lnTo>
                    <a:lnTo>
                      <a:pt x="125" y="7"/>
                    </a:lnTo>
                    <a:close/>
                    <a:moveTo>
                      <a:pt x="115" y="16"/>
                    </a:moveTo>
                    <a:lnTo>
                      <a:pt x="113" y="16"/>
                    </a:lnTo>
                    <a:lnTo>
                      <a:pt x="115" y="16"/>
                    </a:lnTo>
                    <a:lnTo>
                      <a:pt x="115" y="16"/>
                    </a:lnTo>
                    <a:close/>
                    <a:moveTo>
                      <a:pt x="116" y="17"/>
                    </a:moveTo>
                    <a:lnTo>
                      <a:pt x="116" y="17"/>
                    </a:lnTo>
                    <a:lnTo>
                      <a:pt x="116" y="19"/>
                    </a:lnTo>
                    <a:lnTo>
                      <a:pt x="118" y="19"/>
                    </a:lnTo>
                    <a:lnTo>
                      <a:pt x="118" y="17"/>
                    </a:lnTo>
                    <a:lnTo>
                      <a:pt x="119" y="17"/>
                    </a:lnTo>
                    <a:lnTo>
                      <a:pt x="119" y="19"/>
                    </a:lnTo>
                    <a:lnTo>
                      <a:pt x="120" y="20"/>
                    </a:lnTo>
                    <a:lnTo>
                      <a:pt x="119" y="24"/>
                    </a:lnTo>
                    <a:lnTo>
                      <a:pt x="119" y="26"/>
                    </a:lnTo>
                    <a:lnTo>
                      <a:pt x="123" y="14"/>
                    </a:lnTo>
                    <a:lnTo>
                      <a:pt x="123" y="10"/>
                    </a:lnTo>
                    <a:lnTo>
                      <a:pt x="123" y="11"/>
                    </a:lnTo>
                    <a:lnTo>
                      <a:pt x="122" y="11"/>
                    </a:lnTo>
                    <a:lnTo>
                      <a:pt x="122" y="10"/>
                    </a:lnTo>
                    <a:lnTo>
                      <a:pt x="120" y="10"/>
                    </a:lnTo>
                    <a:lnTo>
                      <a:pt x="120" y="10"/>
                    </a:lnTo>
                    <a:lnTo>
                      <a:pt x="119" y="8"/>
                    </a:lnTo>
                    <a:lnTo>
                      <a:pt x="119" y="8"/>
                    </a:lnTo>
                    <a:lnTo>
                      <a:pt x="119" y="7"/>
                    </a:lnTo>
                    <a:lnTo>
                      <a:pt x="119" y="6"/>
                    </a:lnTo>
                    <a:lnTo>
                      <a:pt x="118" y="6"/>
                    </a:lnTo>
                    <a:lnTo>
                      <a:pt x="118" y="7"/>
                    </a:lnTo>
                    <a:lnTo>
                      <a:pt x="115" y="8"/>
                    </a:lnTo>
                    <a:lnTo>
                      <a:pt x="116" y="10"/>
                    </a:lnTo>
                    <a:lnTo>
                      <a:pt x="116" y="10"/>
                    </a:lnTo>
                    <a:lnTo>
                      <a:pt x="118" y="11"/>
                    </a:lnTo>
                    <a:lnTo>
                      <a:pt x="118" y="11"/>
                    </a:lnTo>
                    <a:lnTo>
                      <a:pt x="118" y="13"/>
                    </a:lnTo>
                    <a:lnTo>
                      <a:pt x="118" y="14"/>
                    </a:lnTo>
                    <a:lnTo>
                      <a:pt x="118" y="14"/>
                    </a:lnTo>
                    <a:lnTo>
                      <a:pt x="115" y="16"/>
                    </a:lnTo>
                    <a:lnTo>
                      <a:pt x="115" y="16"/>
                    </a:lnTo>
                    <a:lnTo>
                      <a:pt x="116" y="17"/>
                    </a:lnTo>
                    <a:lnTo>
                      <a:pt x="116" y="17"/>
                    </a:lnTo>
                    <a:close/>
                    <a:moveTo>
                      <a:pt x="51" y="136"/>
                    </a:moveTo>
                    <a:lnTo>
                      <a:pt x="53" y="136"/>
                    </a:lnTo>
                    <a:lnTo>
                      <a:pt x="53" y="133"/>
                    </a:lnTo>
                    <a:lnTo>
                      <a:pt x="51" y="132"/>
                    </a:lnTo>
                    <a:lnTo>
                      <a:pt x="50" y="131"/>
                    </a:lnTo>
                    <a:lnTo>
                      <a:pt x="49" y="131"/>
                    </a:lnTo>
                    <a:lnTo>
                      <a:pt x="47" y="133"/>
                    </a:lnTo>
                    <a:lnTo>
                      <a:pt x="49" y="135"/>
                    </a:lnTo>
                    <a:lnTo>
                      <a:pt x="51" y="136"/>
                    </a:lnTo>
                    <a:close/>
                    <a:moveTo>
                      <a:pt x="122" y="251"/>
                    </a:moveTo>
                    <a:lnTo>
                      <a:pt x="123" y="253"/>
                    </a:lnTo>
                    <a:lnTo>
                      <a:pt x="122" y="256"/>
                    </a:lnTo>
                    <a:lnTo>
                      <a:pt x="120" y="256"/>
                    </a:lnTo>
                    <a:lnTo>
                      <a:pt x="118" y="254"/>
                    </a:lnTo>
                    <a:lnTo>
                      <a:pt x="115" y="254"/>
                    </a:lnTo>
                    <a:lnTo>
                      <a:pt x="118" y="251"/>
                    </a:lnTo>
                    <a:lnTo>
                      <a:pt x="119" y="251"/>
                    </a:lnTo>
                    <a:lnTo>
                      <a:pt x="122" y="251"/>
                    </a:lnTo>
                    <a:close/>
                    <a:moveTo>
                      <a:pt x="86" y="56"/>
                    </a:moveTo>
                    <a:lnTo>
                      <a:pt x="87" y="54"/>
                    </a:lnTo>
                    <a:lnTo>
                      <a:pt x="86" y="54"/>
                    </a:lnTo>
                    <a:lnTo>
                      <a:pt x="86" y="53"/>
                    </a:lnTo>
                    <a:lnTo>
                      <a:pt x="84" y="53"/>
                    </a:lnTo>
                    <a:lnTo>
                      <a:pt x="83" y="52"/>
                    </a:lnTo>
                    <a:lnTo>
                      <a:pt x="83" y="53"/>
                    </a:lnTo>
                    <a:lnTo>
                      <a:pt x="84" y="54"/>
                    </a:lnTo>
                    <a:lnTo>
                      <a:pt x="86" y="56"/>
                    </a:lnTo>
                    <a:close/>
                    <a:moveTo>
                      <a:pt x="62" y="185"/>
                    </a:moveTo>
                    <a:lnTo>
                      <a:pt x="63" y="188"/>
                    </a:lnTo>
                    <a:lnTo>
                      <a:pt x="66" y="190"/>
                    </a:lnTo>
                    <a:lnTo>
                      <a:pt x="69" y="190"/>
                    </a:lnTo>
                    <a:lnTo>
                      <a:pt x="72" y="187"/>
                    </a:lnTo>
                    <a:lnTo>
                      <a:pt x="69" y="187"/>
                    </a:lnTo>
                    <a:lnTo>
                      <a:pt x="67" y="185"/>
                    </a:lnTo>
                    <a:lnTo>
                      <a:pt x="64" y="184"/>
                    </a:lnTo>
                    <a:lnTo>
                      <a:pt x="62" y="185"/>
                    </a:lnTo>
                    <a:close/>
                    <a:moveTo>
                      <a:pt x="90" y="54"/>
                    </a:moveTo>
                    <a:lnTo>
                      <a:pt x="89" y="54"/>
                    </a:lnTo>
                    <a:lnTo>
                      <a:pt x="89" y="56"/>
                    </a:lnTo>
                    <a:lnTo>
                      <a:pt x="90" y="56"/>
                    </a:lnTo>
                    <a:lnTo>
                      <a:pt x="90" y="56"/>
                    </a:lnTo>
                    <a:lnTo>
                      <a:pt x="90" y="57"/>
                    </a:lnTo>
                    <a:lnTo>
                      <a:pt x="92" y="56"/>
                    </a:lnTo>
                    <a:lnTo>
                      <a:pt x="92" y="54"/>
                    </a:lnTo>
                    <a:lnTo>
                      <a:pt x="92" y="54"/>
                    </a:lnTo>
                    <a:lnTo>
                      <a:pt x="90" y="54"/>
                    </a:lnTo>
                    <a:lnTo>
                      <a:pt x="90" y="54"/>
                    </a:lnTo>
                    <a:lnTo>
                      <a:pt x="90" y="54"/>
                    </a:lnTo>
                    <a:close/>
                    <a:moveTo>
                      <a:pt x="86" y="50"/>
                    </a:moveTo>
                    <a:lnTo>
                      <a:pt x="87" y="52"/>
                    </a:lnTo>
                    <a:lnTo>
                      <a:pt x="92" y="52"/>
                    </a:lnTo>
                    <a:lnTo>
                      <a:pt x="93" y="52"/>
                    </a:lnTo>
                    <a:lnTo>
                      <a:pt x="89" y="50"/>
                    </a:lnTo>
                    <a:lnTo>
                      <a:pt x="89" y="49"/>
                    </a:lnTo>
                    <a:lnTo>
                      <a:pt x="89" y="47"/>
                    </a:lnTo>
                    <a:lnTo>
                      <a:pt x="89" y="47"/>
                    </a:lnTo>
                    <a:lnTo>
                      <a:pt x="87" y="46"/>
                    </a:lnTo>
                    <a:lnTo>
                      <a:pt x="84" y="46"/>
                    </a:lnTo>
                    <a:lnTo>
                      <a:pt x="83" y="49"/>
                    </a:lnTo>
                    <a:lnTo>
                      <a:pt x="84" y="50"/>
                    </a:lnTo>
                    <a:lnTo>
                      <a:pt x="86" y="50"/>
                    </a:lnTo>
                    <a:close/>
                    <a:moveTo>
                      <a:pt x="99" y="43"/>
                    </a:moveTo>
                    <a:lnTo>
                      <a:pt x="99" y="43"/>
                    </a:lnTo>
                    <a:lnTo>
                      <a:pt x="100" y="42"/>
                    </a:lnTo>
                    <a:lnTo>
                      <a:pt x="99" y="42"/>
                    </a:lnTo>
                    <a:lnTo>
                      <a:pt x="97" y="42"/>
                    </a:lnTo>
                    <a:lnTo>
                      <a:pt x="96" y="43"/>
                    </a:lnTo>
                    <a:lnTo>
                      <a:pt x="96" y="44"/>
                    </a:lnTo>
                    <a:lnTo>
                      <a:pt x="97" y="44"/>
                    </a:lnTo>
                    <a:lnTo>
                      <a:pt x="99" y="43"/>
                    </a:lnTo>
                    <a:close/>
                    <a:moveTo>
                      <a:pt x="92" y="44"/>
                    </a:moveTo>
                    <a:lnTo>
                      <a:pt x="92" y="44"/>
                    </a:lnTo>
                    <a:lnTo>
                      <a:pt x="93" y="44"/>
                    </a:lnTo>
                    <a:lnTo>
                      <a:pt x="93" y="46"/>
                    </a:lnTo>
                    <a:lnTo>
                      <a:pt x="93" y="46"/>
                    </a:lnTo>
                    <a:lnTo>
                      <a:pt x="95" y="44"/>
                    </a:lnTo>
                    <a:lnTo>
                      <a:pt x="93" y="43"/>
                    </a:lnTo>
                    <a:lnTo>
                      <a:pt x="92" y="42"/>
                    </a:lnTo>
                    <a:lnTo>
                      <a:pt x="90" y="42"/>
                    </a:lnTo>
                    <a:lnTo>
                      <a:pt x="89" y="42"/>
                    </a:lnTo>
                    <a:lnTo>
                      <a:pt x="90" y="42"/>
                    </a:lnTo>
                    <a:lnTo>
                      <a:pt x="92" y="44"/>
                    </a:lnTo>
                    <a:close/>
                    <a:moveTo>
                      <a:pt x="11" y="149"/>
                    </a:moveTo>
                    <a:lnTo>
                      <a:pt x="10" y="152"/>
                    </a:lnTo>
                    <a:lnTo>
                      <a:pt x="7" y="154"/>
                    </a:lnTo>
                    <a:lnTo>
                      <a:pt x="6" y="154"/>
                    </a:lnTo>
                    <a:lnTo>
                      <a:pt x="6" y="154"/>
                    </a:lnTo>
                    <a:lnTo>
                      <a:pt x="4" y="154"/>
                    </a:lnTo>
                    <a:lnTo>
                      <a:pt x="4" y="154"/>
                    </a:lnTo>
                    <a:lnTo>
                      <a:pt x="4" y="155"/>
                    </a:lnTo>
                    <a:lnTo>
                      <a:pt x="7" y="155"/>
                    </a:lnTo>
                    <a:lnTo>
                      <a:pt x="4" y="158"/>
                    </a:lnTo>
                    <a:lnTo>
                      <a:pt x="1" y="158"/>
                    </a:lnTo>
                    <a:lnTo>
                      <a:pt x="0" y="159"/>
                    </a:lnTo>
                    <a:lnTo>
                      <a:pt x="1" y="161"/>
                    </a:lnTo>
                    <a:lnTo>
                      <a:pt x="3" y="164"/>
                    </a:lnTo>
                    <a:lnTo>
                      <a:pt x="6" y="165"/>
                    </a:lnTo>
                    <a:lnTo>
                      <a:pt x="8" y="167"/>
                    </a:lnTo>
                    <a:lnTo>
                      <a:pt x="11" y="167"/>
                    </a:lnTo>
                    <a:lnTo>
                      <a:pt x="11" y="167"/>
                    </a:lnTo>
                    <a:lnTo>
                      <a:pt x="13" y="167"/>
                    </a:lnTo>
                    <a:lnTo>
                      <a:pt x="13" y="167"/>
                    </a:lnTo>
                    <a:lnTo>
                      <a:pt x="13" y="167"/>
                    </a:lnTo>
                    <a:lnTo>
                      <a:pt x="13" y="167"/>
                    </a:lnTo>
                    <a:lnTo>
                      <a:pt x="14" y="167"/>
                    </a:lnTo>
                    <a:lnTo>
                      <a:pt x="14" y="167"/>
                    </a:lnTo>
                    <a:lnTo>
                      <a:pt x="16" y="165"/>
                    </a:lnTo>
                    <a:lnTo>
                      <a:pt x="17" y="164"/>
                    </a:lnTo>
                    <a:lnTo>
                      <a:pt x="17" y="162"/>
                    </a:lnTo>
                    <a:lnTo>
                      <a:pt x="18" y="161"/>
                    </a:lnTo>
                    <a:lnTo>
                      <a:pt x="20" y="161"/>
                    </a:lnTo>
                    <a:lnTo>
                      <a:pt x="21" y="161"/>
                    </a:lnTo>
                    <a:lnTo>
                      <a:pt x="23" y="162"/>
                    </a:lnTo>
                    <a:lnTo>
                      <a:pt x="23" y="164"/>
                    </a:lnTo>
                    <a:lnTo>
                      <a:pt x="24" y="165"/>
                    </a:lnTo>
                    <a:lnTo>
                      <a:pt x="24" y="165"/>
                    </a:lnTo>
                    <a:lnTo>
                      <a:pt x="26" y="165"/>
                    </a:lnTo>
                    <a:lnTo>
                      <a:pt x="27" y="167"/>
                    </a:lnTo>
                    <a:lnTo>
                      <a:pt x="27" y="167"/>
                    </a:lnTo>
                    <a:lnTo>
                      <a:pt x="27" y="168"/>
                    </a:lnTo>
                    <a:lnTo>
                      <a:pt x="27" y="168"/>
                    </a:lnTo>
                    <a:lnTo>
                      <a:pt x="27" y="168"/>
                    </a:lnTo>
                    <a:lnTo>
                      <a:pt x="28" y="168"/>
                    </a:lnTo>
                    <a:lnTo>
                      <a:pt x="30" y="168"/>
                    </a:lnTo>
                    <a:lnTo>
                      <a:pt x="30" y="168"/>
                    </a:lnTo>
                    <a:lnTo>
                      <a:pt x="30" y="168"/>
                    </a:lnTo>
                    <a:lnTo>
                      <a:pt x="30" y="168"/>
                    </a:lnTo>
                    <a:lnTo>
                      <a:pt x="30" y="168"/>
                    </a:lnTo>
                    <a:lnTo>
                      <a:pt x="30" y="168"/>
                    </a:lnTo>
                    <a:lnTo>
                      <a:pt x="31" y="168"/>
                    </a:lnTo>
                    <a:lnTo>
                      <a:pt x="31" y="168"/>
                    </a:lnTo>
                    <a:lnTo>
                      <a:pt x="33" y="168"/>
                    </a:lnTo>
                    <a:lnTo>
                      <a:pt x="33" y="168"/>
                    </a:lnTo>
                    <a:lnTo>
                      <a:pt x="34" y="168"/>
                    </a:lnTo>
                    <a:lnTo>
                      <a:pt x="34" y="168"/>
                    </a:lnTo>
                    <a:lnTo>
                      <a:pt x="34" y="168"/>
                    </a:lnTo>
                    <a:lnTo>
                      <a:pt x="37" y="168"/>
                    </a:lnTo>
                    <a:lnTo>
                      <a:pt x="39" y="168"/>
                    </a:lnTo>
                    <a:lnTo>
                      <a:pt x="39" y="167"/>
                    </a:lnTo>
                    <a:lnTo>
                      <a:pt x="40" y="165"/>
                    </a:lnTo>
                    <a:lnTo>
                      <a:pt x="41" y="164"/>
                    </a:lnTo>
                    <a:lnTo>
                      <a:pt x="43" y="164"/>
                    </a:lnTo>
                    <a:lnTo>
                      <a:pt x="44" y="164"/>
                    </a:lnTo>
                    <a:lnTo>
                      <a:pt x="44" y="161"/>
                    </a:lnTo>
                    <a:lnTo>
                      <a:pt x="43" y="161"/>
                    </a:lnTo>
                    <a:lnTo>
                      <a:pt x="43" y="159"/>
                    </a:lnTo>
                    <a:lnTo>
                      <a:pt x="43" y="156"/>
                    </a:lnTo>
                    <a:lnTo>
                      <a:pt x="44" y="158"/>
                    </a:lnTo>
                    <a:lnTo>
                      <a:pt x="44" y="158"/>
                    </a:lnTo>
                    <a:lnTo>
                      <a:pt x="46" y="159"/>
                    </a:lnTo>
                    <a:lnTo>
                      <a:pt x="46" y="159"/>
                    </a:lnTo>
                    <a:lnTo>
                      <a:pt x="46" y="156"/>
                    </a:lnTo>
                    <a:lnTo>
                      <a:pt x="44" y="155"/>
                    </a:lnTo>
                    <a:lnTo>
                      <a:pt x="41" y="155"/>
                    </a:lnTo>
                    <a:lnTo>
                      <a:pt x="39" y="155"/>
                    </a:lnTo>
                    <a:lnTo>
                      <a:pt x="40" y="152"/>
                    </a:lnTo>
                    <a:lnTo>
                      <a:pt x="41" y="152"/>
                    </a:lnTo>
                    <a:lnTo>
                      <a:pt x="41" y="151"/>
                    </a:lnTo>
                    <a:lnTo>
                      <a:pt x="37" y="146"/>
                    </a:lnTo>
                    <a:lnTo>
                      <a:pt x="37" y="145"/>
                    </a:lnTo>
                    <a:lnTo>
                      <a:pt x="36" y="144"/>
                    </a:lnTo>
                    <a:lnTo>
                      <a:pt x="33" y="142"/>
                    </a:lnTo>
                    <a:lnTo>
                      <a:pt x="30" y="142"/>
                    </a:lnTo>
                    <a:lnTo>
                      <a:pt x="27" y="142"/>
                    </a:lnTo>
                    <a:lnTo>
                      <a:pt x="26" y="142"/>
                    </a:lnTo>
                    <a:lnTo>
                      <a:pt x="23" y="142"/>
                    </a:lnTo>
                    <a:lnTo>
                      <a:pt x="23" y="142"/>
                    </a:lnTo>
                    <a:lnTo>
                      <a:pt x="21" y="142"/>
                    </a:lnTo>
                    <a:lnTo>
                      <a:pt x="21" y="142"/>
                    </a:lnTo>
                    <a:lnTo>
                      <a:pt x="20" y="144"/>
                    </a:lnTo>
                    <a:lnTo>
                      <a:pt x="20" y="144"/>
                    </a:lnTo>
                    <a:lnTo>
                      <a:pt x="20" y="145"/>
                    </a:lnTo>
                    <a:lnTo>
                      <a:pt x="18" y="145"/>
                    </a:lnTo>
                    <a:lnTo>
                      <a:pt x="18" y="145"/>
                    </a:lnTo>
                    <a:lnTo>
                      <a:pt x="17" y="145"/>
                    </a:lnTo>
                    <a:lnTo>
                      <a:pt x="16" y="145"/>
                    </a:lnTo>
                    <a:lnTo>
                      <a:pt x="13" y="146"/>
                    </a:lnTo>
                    <a:lnTo>
                      <a:pt x="11" y="149"/>
                    </a:lnTo>
                    <a:close/>
                    <a:moveTo>
                      <a:pt x="28" y="109"/>
                    </a:moveTo>
                    <a:lnTo>
                      <a:pt x="28" y="110"/>
                    </a:lnTo>
                    <a:lnTo>
                      <a:pt x="27" y="110"/>
                    </a:lnTo>
                    <a:lnTo>
                      <a:pt x="26" y="110"/>
                    </a:lnTo>
                    <a:lnTo>
                      <a:pt x="26" y="112"/>
                    </a:lnTo>
                    <a:lnTo>
                      <a:pt x="26" y="110"/>
                    </a:lnTo>
                    <a:lnTo>
                      <a:pt x="27" y="110"/>
                    </a:lnTo>
                    <a:lnTo>
                      <a:pt x="27" y="109"/>
                    </a:lnTo>
                    <a:lnTo>
                      <a:pt x="28" y="109"/>
                    </a:lnTo>
                    <a:close/>
                    <a:moveTo>
                      <a:pt x="41" y="93"/>
                    </a:moveTo>
                    <a:lnTo>
                      <a:pt x="43" y="93"/>
                    </a:lnTo>
                    <a:lnTo>
                      <a:pt x="43" y="95"/>
                    </a:lnTo>
                    <a:lnTo>
                      <a:pt x="44" y="98"/>
                    </a:lnTo>
                    <a:lnTo>
                      <a:pt x="44" y="100"/>
                    </a:lnTo>
                    <a:lnTo>
                      <a:pt x="43" y="102"/>
                    </a:lnTo>
                    <a:lnTo>
                      <a:pt x="40" y="105"/>
                    </a:lnTo>
                    <a:lnTo>
                      <a:pt x="40" y="105"/>
                    </a:lnTo>
                    <a:lnTo>
                      <a:pt x="41" y="105"/>
                    </a:lnTo>
                    <a:lnTo>
                      <a:pt x="41" y="105"/>
                    </a:lnTo>
                    <a:lnTo>
                      <a:pt x="40" y="106"/>
                    </a:lnTo>
                    <a:lnTo>
                      <a:pt x="36" y="108"/>
                    </a:lnTo>
                    <a:lnTo>
                      <a:pt x="34" y="109"/>
                    </a:lnTo>
                    <a:lnTo>
                      <a:pt x="37" y="109"/>
                    </a:lnTo>
                    <a:lnTo>
                      <a:pt x="40" y="112"/>
                    </a:lnTo>
                    <a:lnTo>
                      <a:pt x="41" y="112"/>
                    </a:lnTo>
                    <a:lnTo>
                      <a:pt x="44" y="112"/>
                    </a:lnTo>
                    <a:lnTo>
                      <a:pt x="47" y="110"/>
                    </a:lnTo>
                    <a:lnTo>
                      <a:pt x="49" y="109"/>
                    </a:lnTo>
                    <a:lnTo>
                      <a:pt x="51" y="108"/>
                    </a:lnTo>
                    <a:lnTo>
                      <a:pt x="49" y="112"/>
                    </a:lnTo>
                    <a:lnTo>
                      <a:pt x="47" y="115"/>
                    </a:lnTo>
                    <a:lnTo>
                      <a:pt x="46" y="118"/>
                    </a:lnTo>
                    <a:lnTo>
                      <a:pt x="44" y="121"/>
                    </a:lnTo>
                    <a:lnTo>
                      <a:pt x="44" y="125"/>
                    </a:lnTo>
                    <a:lnTo>
                      <a:pt x="44" y="128"/>
                    </a:lnTo>
                    <a:lnTo>
                      <a:pt x="46" y="129"/>
                    </a:lnTo>
                    <a:lnTo>
                      <a:pt x="44" y="131"/>
                    </a:lnTo>
                    <a:lnTo>
                      <a:pt x="43" y="132"/>
                    </a:lnTo>
                    <a:lnTo>
                      <a:pt x="41" y="135"/>
                    </a:lnTo>
                    <a:lnTo>
                      <a:pt x="41" y="138"/>
                    </a:lnTo>
                    <a:lnTo>
                      <a:pt x="41" y="139"/>
                    </a:lnTo>
                    <a:lnTo>
                      <a:pt x="43" y="139"/>
                    </a:lnTo>
                    <a:lnTo>
                      <a:pt x="44" y="139"/>
                    </a:lnTo>
                    <a:lnTo>
                      <a:pt x="44" y="138"/>
                    </a:lnTo>
                    <a:lnTo>
                      <a:pt x="46" y="136"/>
                    </a:lnTo>
                    <a:lnTo>
                      <a:pt x="47" y="133"/>
                    </a:lnTo>
                    <a:lnTo>
                      <a:pt x="47" y="131"/>
                    </a:lnTo>
                    <a:lnTo>
                      <a:pt x="47" y="129"/>
                    </a:lnTo>
                    <a:lnTo>
                      <a:pt x="47" y="126"/>
                    </a:lnTo>
                    <a:lnTo>
                      <a:pt x="47" y="125"/>
                    </a:lnTo>
                    <a:lnTo>
                      <a:pt x="49" y="123"/>
                    </a:lnTo>
                    <a:lnTo>
                      <a:pt x="50" y="122"/>
                    </a:lnTo>
                    <a:lnTo>
                      <a:pt x="53" y="121"/>
                    </a:lnTo>
                    <a:lnTo>
                      <a:pt x="54" y="119"/>
                    </a:lnTo>
                    <a:lnTo>
                      <a:pt x="53" y="121"/>
                    </a:lnTo>
                    <a:lnTo>
                      <a:pt x="51" y="122"/>
                    </a:lnTo>
                    <a:lnTo>
                      <a:pt x="50" y="125"/>
                    </a:lnTo>
                    <a:lnTo>
                      <a:pt x="50" y="126"/>
                    </a:lnTo>
                    <a:lnTo>
                      <a:pt x="56" y="122"/>
                    </a:lnTo>
                    <a:lnTo>
                      <a:pt x="59" y="121"/>
                    </a:lnTo>
                    <a:lnTo>
                      <a:pt x="57" y="122"/>
                    </a:lnTo>
                    <a:lnTo>
                      <a:pt x="59" y="123"/>
                    </a:lnTo>
                    <a:lnTo>
                      <a:pt x="60" y="125"/>
                    </a:lnTo>
                    <a:lnTo>
                      <a:pt x="62" y="125"/>
                    </a:lnTo>
                    <a:lnTo>
                      <a:pt x="60" y="125"/>
                    </a:lnTo>
                    <a:lnTo>
                      <a:pt x="59" y="126"/>
                    </a:lnTo>
                    <a:lnTo>
                      <a:pt x="57" y="126"/>
                    </a:lnTo>
                    <a:lnTo>
                      <a:pt x="57" y="128"/>
                    </a:lnTo>
                    <a:lnTo>
                      <a:pt x="57" y="131"/>
                    </a:lnTo>
                    <a:lnTo>
                      <a:pt x="57" y="132"/>
                    </a:lnTo>
                    <a:lnTo>
                      <a:pt x="59" y="132"/>
                    </a:lnTo>
                    <a:lnTo>
                      <a:pt x="60" y="133"/>
                    </a:lnTo>
                    <a:lnTo>
                      <a:pt x="60" y="136"/>
                    </a:lnTo>
                    <a:lnTo>
                      <a:pt x="57" y="141"/>
                    </a:lnTo>
                    <a:lnTo>
                      <a:pt x="53" y="146"/>
                    </a:lnTo>
                    <a:lnTo>
                      <a:pt x="51" y="148"/>
                    </a:lnTo>
                    <a:lnTo>
                      <a:pt x="53" y="149"/>
                    </a:lnTo>
                    <a:lnTo>
                      <a:pt x="54" y="152"/>
                    </a:lnTo>
                    <a:lnTo>
                      <a:pt x="56" y="154"/>
                    </a:lnTo>
                    <a:lnTo>
                      <a:pt x="57" y="151"/>
                    </a:lnTo>
                    <a:lnTo>
                      <a:pt x="59" y="151"/>
                    </a:lnTo>
                    <a:lnTo>
                      <a:pt x="62" y="152"/>
                    </a:lnTo>
                    <a:lnTo>
                      <a:pt x="64" y="152"/>
                    </a:lnTo>
                    <a:lnTo>
                      <a:pt x="64" y="152"/>
                    </a:lnTo>
                    <a:lnTo>
                      <a:pt x="67" y="151"/>
                    </a:lnTo>
                    <a:lnTo>
                      <a:pt x="69" y="151"/>
                    </a:lnTo>
                    <a:lnTo>
                      <a:pt x="69" y="151"/>
                    </a:lnTo>
                    <a:lnTo>
                      <a:pt x="70" y="152"/>
                    </a:lnTo>
                    <a:lnTo>
                      <a:pt x="70" y="152"/>
                    </a:lnTo>
                    <a:lnTo>
                      <a:pt x="73" y="152"/>
                    </a:lnTo>
                    <a:lnTo>
                      <a:pt x="74" y="151"/>
                    </a:lnTo>
                    <a:lnTo>
                      <a:pt x="79" y="149"/>
                    </a:lnTo>
                    <a:lnTo>
                      <a:pt x="80" y="148"/>
                    </a:lnTo>
                    <a:lnTo>
                      <a:pt x="83" y="148"/>
                    </a:lnTo>
                    <a:lnTo>
                      <a:pt x="86" y="148"/>
                    </a:lnTo>
                    <a:lnTo>
                      <a:pt x="89" y="148"/>
                    </a:lnTo>
                    <a:lnTo>
                      <a:pt x="83" y="151"/>
                    </a:lnTo>
                    <a:lnTo>
                      <a:pt x="80" y="155"/>
                    </a:lnTo>
                    <a:lnTo>
                      <a:pt x="80" y="161"/>
                    </a:lnTo>
                    <a:lnTo>
                      <a:pt x="86" y="165"/>
                    </a:lnTo>
                    <a:lnTo>
                      <a:pt x="87" y="167"/>
                    </a:lnTo>
                    <a:lnTo>
                      <a:pt x="90" y="167"/>
                    </a:lnTo>
                    <a:lnTo>
                      <a:pt x="92" y="167"/>
                    </a:lnTo>
                    <a:lnTo>
                      <a:pt x="92" y="168"/>
                    </a:lnTo>
                    <a:lnTo>
                      <a:pt x="92" y="171"/>
                    </a:lnTo>
                    <a:lnTo>
                      <a:pt x="90" y="172"/>
                    </a:lnTo>
                    <a:lnTo>
                      <a:pt x="89" y="175"/>
                    </a:lnTo>
                    <a:lnTo>
                      <a:pt x="92" y="177"/>
                    </a:lnTo>
                    <a:lnTo>
                      <a:pt x="89" y="179"/>
                    </a:lnTo>
                    <a:lnTo>
                      <a:pt x="89" y="182"/>
                    </a:lnTo>
                    <a:lnTo>
                      <a:pt x="90" y="185"/>
                    </a:lnTo>
                    <a:lnTo>
                      <a:pt x="95" y="187"/>
                    </a:lnTo>
                    <a:lnTo>
                      <a:pt x="92" y="187"/>
                    </a:lnTo>
                    <a:lnTo>
                      <a:pt x="92" y="187"/>
                    </a:lnTo>
                    <a:lnTo>
                      <a:pt x="90" y="185"/>
                    </a:lnTo>
                    <a:lnTo>
                      <a:pt x="89" y="184"/>
                    </a:lnTo>
                    <a:lnTo>
                      <a:pt x="87" y="184"/>
                    </a:lnTo>
                    <a:lnTo>
                      <a:pt x="87" y="185"/>
                    </a:lnTo>
                    <a:lnTo>
                      <a:pt x="87" y="187"/>
                    </a:lnTo>
                    <a:lnTo>
                      <a:pt x="87" y="188"/>
                    </a:lnTo>
                    <a:lnTo>
                      <a:pt x="84" y="187"/>
                    </a:lnTo>
                    <a:lnTo>
                      <a:pt x="79" y="187"/>
                    </a:lnTo>
                    <a:lnTo>
                      <a:pt x="74" y="187"/>
                    </a:lnTo>
                    <a:lnTo>
                      <a:pt x="70" y="188"/>
                    </a:lnTo>
                    <a:lnTo>
                      <a:pt x="67" y="190"/>
                    </a:lnTo>
                    <a:lnTo>
                      <a:pt x="64" y="192"/>
                    </a:lnTo>
                    <a:lnTo>
                      <a:pt x="62" y="197"/>
                    </a:lnTo>
                    <a:lnTo>
                      <a:pt x="60" y="198"/>
                    </a:lnTo>
                    <a:lnTo>
                      <a:pt x="63" y="198"/>
                    </a:lnTo>
                    <a:lnTo>
                      <a:pt x="67" y="197"/>
                    </a:lnTo>
                    <a:lnTo>
                      <a:pt x="70" y="197"/>
                    </a:lnTo>
                    <a:lnTo>
                      <a:pt x="70" y="198"/>
                    </a:lnTo>
                    <a:lnTo>
                      <a:pt x="70" y="201"/>
                    </a:lnTo>
                    <a:lnTo>
                      <a:pt x="72" y="204"/>
                    </a:lnTo>
                    <a:lnTo>
                      <a:pt x="73" y="205"/>
                    </a:lnTo>
                    <a:lnTo>
                      <a:pt x="69" y="211"/>
                    </a:lnTo>
                    <a:lnTo>
                      <a:pt x="66" y="213"/>
                    </a:lnTo>
                    <a:lnTo>
                      <a:pt x="63" y="215"/>
                    </a:lnTo>
                    <a:lnTo>
                      <a:pt x="56" y="218"/>
                    </a:lnTo>
                    <a:lnTo>
                      <a:pt x="53" y="220"/>
                    </a:lnTo>
                    <a:lnTo>
                      <a:pt x="50" y="221"/>
                    </a:lnTo>
                    <a:lnTo>
                      <a:pt x="51" y="223"/>
                    </a:lnTo>
                    <a:lnTo>
                      <a:pt x="51" y="224"/>
                    </a:lnTo>
                    <a:lnTo>
                      <a:pt x="51" y="225"/>
                    </a:lnTo>
                    <a:lnTo>
                      <a:pt x="53" y="227"/>
                    </a:lnTo>
                    <a:lnTo>
                      <a:pt x="54" y="228"/>
                    </a:lnTo>
                    <a:lnTo>
                      <a:pt x="56" y="228"/>
                    </a:lnTo>
                    <a:lnTo>
                      <a:pt x="57" y="227"/>
                    </a:lnTo>
                    <a:lnTo>
                      <a:pt x="59" y="227"/>
                    </a:lnTo>
                    <a:lnTo>
                      <a:pt x="60" y="227"/>
                    </a:lnTo>
                    <a:lnTo>
                      <a:pt x="62" y="225"/>
                    </a:lnTo>
                    <a:lnTo>
                      <a:pt x="63" y="225"/>
                    </a:lnTo>
                    <a:lnTo>
                      <a:pt x="64" y="225"/>
                    </a:lnTo>
                    <a:lnTo>
                      <a:pt x="66" y="225"/>
                    </a:lnTo>
                    <a:lnTo>
                      <a:pt x="69" y="227"/>
                    </a:lnTo>
                    <a:lnTo>
                      <a:pt x="70" y="227"/>
                    </a:lnTo>
                    <a:lnTo>
                      <a:pt x="70" y="228"/>
                    </a:lnTo>
                    <a:lnTo>
                      <a:pt x="69" y="230"/>
                    </a:lnTo>
                    <a:lnTo>
                      <a:pt x="70" y="230"/>
                    </a:lnTo>
                    <a:lnTo>
                      <a:pt x="72" y="230"/>
                    </a:lnTo>
                    <a:lnTo>
                      <a:pt x="74" y="230"/>
                    </a:lnTo>
                    <a:lnTo>
                      <a:pt x="76" y="230"/>
                    </a:lnTo>
                    <a:lnTo>
                      <a:pt x="77" y="231"/>
                    </a:lnTo>
                    <a:lnTo>
                      <a:pt x="80" y="233"/>
                    </a:lnTo>
                    <a:lnTo>
                      <a:pt x="82" y="234"/>
                    </a:lnTo>
                    <a:lnTo>
                      <a:pt x="84" y="234"/>
                    </a:lnTo>
                    <a:lnTo>
                      <a:pt x="86" y="234"/>
                    </a:lnTo>
                    <a:lnTo>
                      <a:pt x="89" y="231"/>
                    </a:lnTo>
                    <a:lnTo>
                      <a:pt x="100" y="225"/>
                    </a:lnTo>
                    <a:lnTo>
                      <a:pt x="93" y="234"/>
                    </a:lnTo>
                    <a:lnTo>
                      <a:pt x="89" y="237"/>
                    </a:lnTo>
                    <a:lnTo>
                      <a:pt x="86" y="240"/>
                    </a:lnTo>
                    <a:lnTo>
                      <a:pt x="83" y="240"/>
                    </a:lnTo>
                    <a:lnTo>
                      <a:pt x="77" y="238"/>
                    </a:lnTo>
                    <a:lnTo>
                      <a:pt x="74" y="238"/>
                    </a:lnTo>
                    <a:lnTo>
                      <a:pt x="72" y="238"/>
                    </a:lnTo>
                    <a:lnTo>
                      <a:pt x="70" y="240"/>
                    </a:lnTo>
                    <a:lnTo>
                      <a:pt x="69" y="241"/>
                    </a:lnTo>
                    <a:lnTo>
                      <a:pt x="67" y="244"/>
                    </a:lnTo>
                    <a:lnTo>
                      <a:pt x="66" y="244"/>
                    </a:lnTo>
                    <a:lnTo>
                      <a:pt x="64" y="246"/>
                    </a:lnTo>
                    <a:lnTo>
                      <a:pt x="63" y="246"/>
                    </a:lnTo>
                    <a:lnTo>
                      <a:pt x="63" y="247"/>
                    </a:lnTo>
                    <a:lnTo>
                      <a:pt x="62" y="250"/>
                    </a:lnTo>
                    <a:lnTo>
                      <a:pt x="62" y="251"/>
                    </a:lnTo>
                    <a:lnTo>
                      <a:pt x="60" y="253"/>
                    </a:lnTo>
                    <a:lnTo>
                      <a:pt x="56" y="257"/>
                    </a:lnTo>
                    <a:lnTo>
                      <a:pt x="50" y="263"/>
                    </a:lnTo>
                    <a:lnTo>
                      <a:pt x="49" y="264"/>
                    </a:lnTo>
                    <a:lnTo>
                      <a:pt x="44" y="266"/>
                    </a:lnTo>
                    <a:lnTo>
                      <a:pt x="43" y="267"/>
                    </a:lnTo>
                    <a:lnTo>
                      <a:pt x="44" y="270"/>
                    </a:lnTo>
                    <a:lnTo>
                      <a:pt x="46" y="269"/>
                    </a:lnTo>
                    <a:lnTo>
                      <a:pt x="49" y="269"/>
                    </a:lnTo>
                    <a:lnTo>
                      <a:pt x="50" y="270"/>
                    </a:lnTo>
                    <a:lnTo>
                      <a:pt x="53" y="270"/>
                    </a:lnTo>
                    <a:lnTo>
                      <a:pt x="53" y="269"/>
                    </a:lnTo>
                    <a:lnTo>
                      <a:pt x="56" y="266"/>
                    </a:lnTo>
                    <a:lnTo>
                      <a:pt x="57" y="264"/>
                    </a:lnTo>
                    <a:lnTo>
                      <a:pt x="59" y="264"/>
                    </a:lnTo>
                    <a:lnTo>
                      <a:pt x="62" y="263"/>
                    </a:lnTo>
                    <a:lnTo>
                      <a:pt x="66" y="261"/>
                    </a:lnTo>
                    <a:lnTo>
                      <a:pt x="67" y="261"/>
                    </a:lnTo>
                    <a:lnTo>
                      <a:pt x="69" y="261"/>
                    </a:lnTo>
                    <a:lnTo>
                      <a:pt x="72" y="263"/>
                    </a:lnTo>
                    <a:lnTo>
                      <a:pt x="74" y="264"/>
                    </a:lnTo>
                    <a:lnTo>
                      <a:pt x="76" y="264"/>
                    </a:lnTo>
                    <a:lnTo>
                      <a:pt x="79" y="264"/>
                    </a:lnTo>
                    <a:lnTo>
                      <a:pt x="80" y="261"/>
                    </a:lnTo>
                    <a:lnTo>
                      <a:pt x="82" y="257"/>
                    </a:lnTo>
                    <a:lnTo>
                      <a:pt x="83" y="254"/>
                    </a:lnTo>
                    <a:lnTo>
                      <a:pt x="86" y="253"/>
                    </a:lnTo>
                    <a:lnTo>
                      <a:pt x="89" y="253"/>
                    </a:lnTo>
                    <a:lnTo>
                      <a:pt x="92" y="253"/>
                    </a:lnTo>
                    <a:lnTo>
                      <a:pt x="95" y="253"/>
                    </a:lnTo>
                    <a:lnTo>
                      <a:pt x="96" y="254"/>
                    </a:lnTo>
                    <a:lnTo>
                      <a:pt x="97" y="254"/>
                    </a:lnTo>
                    <a:lnTo>
                      <a:pt x="99" y="256"/>
                    </a:lnTo>
                    <a:lnTo>
                      <a:pt x="100" y="256"/>
                    </a:lnTo>
                    <a:lnTo>
                      <a:pt x="102" y="254"/>
                    </a:lnTo>
                    <a:lnTo>
                      <a:pt x="102" y="254"/>
                    </a:lnTo>
                    <a:lnTo>
                      <a:pt x="106" y="256"/>
                    </a:lnTo>
                    <a:lnTo>
                      <a:pt x="107" y="254"/>
                    </a:lnTo>
                    <a:lnTo>
                      <a:pt x="107" y="253"/>
                    </a:lnTo>
                    <a:lnTo>
                      <a:pt x="110" y="253"/>
                    </a:lnTo>
                    <a:lnTo>
                      <a:pt x="113" y="251"/>
                    </a:lnTo>
                    <a:lnTo>
                      <a:pt x="116" y="251"/>
                    </a:lnTo>
                    <a:lnTo>
                      <a:pt x="119" y="250"/>
                    </a:lnTo>
                    <a:lnTo>
                      <a:pt x="119" y="248"/>
                    </a:lnTo>
                    <a:lnTo>
                      <a:pt x="118" y="248"/>
                    </a:lnTo>
                    <a:lnTo>
                      <a:pt x="118" y="247"/>
                    </a:lnTo>
                    <a:lnTo>
                      <a:pt x="122" y="250"/>
                    </a:lnTo>
                    <a:lnTo>
                      <a:pt x="128" y="250"/>
                    </a:lnTo>
                    <a:lnTo>
                      <a:pt x="136" y="250"/>
                    </a:lnTo>
                    <a:lnTo>
                      <a:pt x="139" y="250"/>
                    </a:lnTo>
                    <a:lnTo>
                      <a:pt x="145" y="251"/>
                    </a:lnTo>
                    <a:lnTo>
                      <a:pt x="148" y="251"/>
                    </a:lnTo>
                    <a:lnTo>
                      <a:pt x="151" y="250"/>
                    </a:lnTo>
                    <a:lnTo>
                      <a:pt x="153" y="247"/>
                    </a:lnTo>
                    <a:lnTo>
                      <a:pt x="156" y="247"/>
                    </a:lnTo>
                    <a:lnTo>
                      <a:pt x="156" y="247"/>
                    </a:lnTo>
                    <a:lnTo>
                      <a:pt x="158" y="247"/>
                    </a:lnTo>
                    <a:lnTo>
                      <a:pt x="159" y="247"/>
                    </a:lnTo>
                    <a:lnTo>
                      <a:pt x="159" y="247"/>
                    </a:lnTo>
                    <a:lnTo>
                      <a:pt x="159" y="246"/>
                    </a:lnTo>
                    <a:lnTo>
                      <a:pt x="159" y="246"/>
                    </a:lnTo>
                    <a:lnTo>
                      <a:pt x="161" y="244"/>
                    </a:lnTo>
                    <a:lnTo>
                      <a:pt x="163" y="241"/>
                    </a:lnTo>
                    <a:lnTo>
                      <a:pt x="165" y="241"/>
                    </a:lnTo>
                    <a:lnTo>
                      <a:pt x="166" y="240"/>
                    </a:lnTo>
                    <a:lnTo>
                      <a:pt x="168" y="237"/>
                    </a:lnTo>
                    <a:lnTo>
                      <a:pt x="168" y="236"/>
                    </a:lnTo>
                    <a:lnTo>
                      <a:pt x="165" y="234"/>
                    </a:lnTo>
                    <a:lnTo>
                      <a:pt x="163" y="234"/>
                    </a:lnTo>
                    <a:lnTo>
                      <a:pt x="161" y="236"/>
                    </a:lnTo>
                    <a:lnTo>
                      <a:pt x="158" y="236"/>
                    </a:lnTo>
                    <a:lnTo>
                      <a:pt x="156" y="234"/>
                    </a:lnTo>
                    <a:lnTo>
                      <a:pt x="153" y="233"/>
                    </a:lnTo>
                    <a:lnTo>
                      <a:pt x="152" y="233"/>
                    </a:lnTo>
                    <a:lnTo>
                      <a:pt x="151" y="233"/>
                    </a:lnTo>
                    <a:lnTo>
                      <a:pt x="152" y="231"/>
                    </a:lnTo>
                    <a:lnTo>
                      <a:pt x="155" y="231"/>
                    </a:lnTo>
                    <a:lnTo>
                      <a:pt x="156" y="230"/>
                    </a:lnTo>
                    <a:lnTo>
                      <a:pt x="158" y="228"/>
                    </a:lnTo>
                    <a:lnTo>
                      <a:pt x="159" y="227"/>
                    </a:lnTo>
                    <a:lnTo>
                      <a:pt x="158" y="227"/>
                    </a:lnTo>
                    <a:lnTo>
                      <a:pt x="156" y="225"/>
                    </a:lnTo>
                    <a:lnTo>
                      <a:pt x="158" y="224"/>
                    </a:lnTo>
                    <a:lnTo>
                      <a:pt x="159" y="224"/>
                    </a:lnTo>
                    <a:lnTo>
                      <a:pt x="161" y="224"/>
                    </a:lnTo>
                    <a:lnTo>
                      <a:pt x="161" y="224"/>
                    </a:lnTo>
                    <a:lnTo>
                      <a:pt x="162" y="224"/>
                    </a:lnTo>
                    <a:lnTo>
                      <a:pt x="163" y="224"/>
                    </a:lnTo>
                    <a:lnTo>
                      <a:pt x="163" y="223"/>
                    </a:lnTo>
                    <a:lnTo>
                      <a:pt x="165" y="223"/>
                    </a:lnTo>
                    <a:lnTo>
                      <a:pt x="165" y="221"/>
                    </a:lnTo>
                    <a:lnTo>
                      <a:pt x="163" y="221"/>
                    </a:lnTo>
                    <a:lnTo>
                      <a:pt x="163" y="220"/>
                    </a:lnTo>
                    <a:lnTo>
                      <a:pt x="165" y="220"/>
                    </a:lnTo>
                    <a:lnTo>
                      <a:pt x="165" y="220"/>
                    </a:lnTo>
                    <a:lnTo>
                      <a:pt x="165" y="220"/>
                    </a:lnTo>
                    <a:lnTo>
                      <a:pt x="165" y="220"/>
                    </a:lnTo>
                    <a:lnTo>
                      <a:pt x="166" y="218"/>
                    </a:lnTo>
                    <a:lnTo>
                      <a:pt x="168" y="218"/>
                    </a:lnTo>
                    <a:lnTo>
                      <a:pt x="169" y="217"/>
                    </a:lnTo>
                    <a:lnTo>
                      <a:pt x="171" y="215"/>
                    </a:lnTo>
                    <a:lnTo>
                      <a:pt x="172" y="214"/>
                    </a:lnTo>
                    <a:lnTo>
                      <a:pt x="174" y="207"/>
                    </a:lnTo>
                    <a:lnTo>
                      <a:pt x="172" y="201"/>
                    </a:lnTo>
                    <a:lnTo>
                      <a:pt x="169" y="198"/>
                    </a:lnTo>
                    <a:lnTo>
                      <a:pt x="163" y="195"/>
                    </a:lnTo>
                    <a:lnTo>
                      <a:pt x="156" y="194"/>
                    </a:lnTo>
                    <a:lnTo>
                      <a:pt x="155" y="194"/>
                    </a:lnTo>
                    <a:lnTo>
                      <a:pt x="153" y="195"/>
                    </a:lnTo>
                    <a:lnTo>
                      <a:pt x="152" y="195"/>
                    </a:lnTo>
                    <a:lnTo>
                      <a:pt x="151" y="197"/>
                    </a:lnTo>
                    <a:lnTo>
                      <a:pt x="151" y="197"/>
                    </a:lnTo>
                    <a:lnTo>
                      <a:pt x="148" y="198"/>
                    </a:lnTo>
                    <a:lnTo>
                      <a:pt x="148" y="198"/>
                    </a:lnTo>
                    <a:lnTo>
                      <a:pt x="146" y="198"/>
                    </a:lnTo>
                    <a:lnTo>
                      <a:pt x="143" y="197"/>
                    </a:lnTo>
                    <a:lnTo>
                      <a:pt x="148" y="192"/>
                    </a:lnTo>
                    <a:lnTo>
                      <a:pt x="149" y="190"/>
                    </a:lnTo>
                    <a:lnTo>
                      <a:pt x="149" y="188"/>
                    </a:lnTo>
                    <a:lnTo>
                      <a:pt x="148" y="187"/>
                    </a:lnTo>
                    <a:lnTo>
                      <a:pt x="146" y="184"/>
                    </a:lnTo>
                    <a:lnTo>
                      <a:pt x="145" y="182"/>
                    </a:lnTo>
                    <a:lnTo>
                      <a:pt x="142" y="179"/>
                    </a:lnTo>
                    <a:lnTo>
                      <a:pt x="139" y="178"/>
                    </a:lnTo>
                    <a:lnTo>
                      <a:pt x="138" y="178"/>
                    </a:lnTo>
                    <a:lnTo>
                      <a:pt x="136" y="177"/>
                    </a:lnTo>
                    <a:lnTo>
                      <a:pt x="133" y="177"/>
                    </a:lnTo>
                    <a:lnTo>
                      <a:pt x="130" y="177"/>
                    </a:lnTo>
                    <a:lnTo>
                      <a:pt x="135" y="177"/>
                    </a:lnTo>
                    <a:lnTo>
                      <a:pt x="138" y="177"/>
                    </a:lnTo>
                    <a:lnTo>
                      <a:pt x="141" y="178"/>
                    </a:lnTo>
                    <a:lnTo>
                      <a:pt x="145" y="179"/>
                    </a:lnTo>
                    <a:lnTo>
                      <a:pt x="141" y="172"/>
                    </a:lnTo>
                    <a:lnTo>
                      <a:pt x="139" y="169"/>
                    </a:lnTo>
                    <a:lnTo>
                      <a:pt x="141" y="167"/>
                    </a:lnTo>
                    <a:lnTo>
                      <a:pt x="139" y="165"/>
                    </a:lnTo>
                    <a:lnTo>
                      <a:pt x="132" y="159"/>
                    </a:lnTo>
                    <a:lnTo>
                      <a:pt x="130" y="158"/>
                    </a:lnTo>
                    <a:lnTo>
                      <a:pt x="125" y="156"/>
                    </a:lnTo>
                    <a:lnTo>
                      <a:pt x="122" y="155"/>
                    </a:lnTo>
                    <a:lnTo>
                      <a:pt x="119" y="151"/>
                    </a:lnTo>
                    <a:lnTo>
                      <a:pt x="118" y="146"/>
                    </a:lnTo>
                    <a:lnTo>
                      <a:pt x="116" y="141"/>
                    </a:lnTo>
                    <a:lnTo>
                      <a:pt x="115" y="135"/>
                    </a:lnTo>
                    <a:lnTo>
                      <a:pt x="112" y="132"/>
                    </a:lnTo>
                    <a:lnTo>
                      <a:pt x="106" y="128"/>
                    </a:lnTo>
                    <a:lnTo>
                      <a:pt x="102" y="125"/>
                    </a:lnTo>
                    <a:lnTo>
                      <a:pt x="97" y="123"/>
                    </a:lnTo>
                    <a:lnTo>
                      <a:pt x="95" y="123"/>
                    </a:lnTo>
                    <a:lnTo>
                      <a:pt x="93" y="123"/>
                    </a:lnTo>
                    <a:lnTo>
                      <a:pt x="90" y="125"/>
                    </a:lnTo>
                    <a:lnTo>
                      <a:pt x="89" y="125"/>
                    </a:lnTo>
                    <a:lnTo>
                      <a:pt x="86" y="125"/>
                    </a:lnTo>
                    <a:lnTo>
                      <a:pt x="82" y="125"/>
                    </a:lnTo>
                    <a:lnTo>
                      <a:pt x="79" y="123"/>
                    </a:lnTo>
                    <a:lnTo>
                      <a:pt x="76" y="122"/>
                    </a:lnTo>
                    <a:lnTo>
                      <a:pt x="77" y="123"/>
                    </a:lnTo>
                    <a:lnTo>
                      <a:pt x="80" y="123"/>
                    </a:lnTo>
                    <a:lnTo>
                      <a:pt x="82" y="123"/>
                    </a:lnTo>
                    <a:lnTo>
                      <a:pt x="84" y="123"/>
                    </a:lnTo>
                    <a:lnTo>
                      <a:pt x="86" y="123"/>
                    </a:lnTo>
                    <a:lnTo>
                      <a:pt x="89" y="121"/>
                    </a:lnTo>
                    <a:lnTo>
                      <a:pt x="89" y="121"/>
                    </a:lnTo>
                    <a:lnTo>
                      <a:pt x="92" y="121"/>
                    </a:lnTo>
                    <a:lnTo>
                      <a:pt x="93" y="119"/>
                    </a:lnTo>
                    <a:lnTo>
                      <a:pt x="96" y="118"/>
                    </a:lnTo>
                    <a:lnTo>
                      <a:pt x="93" y="116"/>
                    </a:lnTo>
                    <a:lnTo>
                      <a:pt x="84" y="116"/>
                    </a:lnTo>
                    <a:lnTo>
                      <a:pt x="89" y="115"/>
                    </a:lnTo>
                    <a:lnTo>
                      <a:pt x="95" y="113"/>
                    </a:lnTo>
                    <a:lnTo>
                      <a:pt x="97" y="110"/>
                    </a:lnTo>
                    <a:lnTo>
                      <a:pt x="102" y="106"/>
                    </a:lnTo>
                    <a:lnTo>
                      <a:pt x="103" y="103"/>
                    </a:lnTo>
                    <a:lnTo>
                      <a:pt x="106" y="98"/>
                    </a:lnTo>
                    <a:lnTo>
                      <a:pt x="107" y="95"/>
                    </a:lnTo>
                    <a:lnTo>
                      <a:pt x="109" y="93"/>
                    </a:lnTo>
                    <a:lnTo>
                      <a:pt x="110" y="92"/>
                    </a:lnTo>
                    <a:lnTo>
                      <a:pt x="110" y="89"/>
                    </a:lnTo>
                    <a:lnTo>
                      <a:pt x="109" y="85"/>
                    </a:lnTo>
                    <a:lnTo>
                      <a:pt x="102" y="85"/>
                    </a:lnTo>
                    <a:lnTo>
                      <a:pt x="90" y="85"/>
                    </a:lnTo>
                    <a:lnTo>
                      <a:pt x="83" y="85"/>
                    </a:lnTo>
                    <a:lnTo>
                      <a:pt x="80" y="85"/>
                    </a:lnTo>
                    <a:lnTo>
                      <a:pt x="73" y="87"/>
                    </a:lnTo>
                    <a:lnTo>
                      <a:pt x="70" y="87"/>
                    </a:lnTo>
                    <a:lnTo>
                      <a:pt x="70" y="86"/>
                    </a:lnTo>
                    <a:lnTo>
                      <a:pt x="72" y="85"/>
                    </a:lnTo>
                    <a:lnTo>
                      <a:pt x="73" y="83"/>
                    </a:lnTo>
                    <a:lnTo>
                      <a:pt x="74" y="82"/>
                    </a:lnTo>
                    <a:lnTo>
                      <a:pt x="73" y="80"/>
                    </a:lnTo>
                    <a:lnTo>
                      <a:pt x="72" y="80"/>
                    </a:lnTo>
                    <a:lnTo>
                      <a:pt x="73" y="76"/>
                    </a:lnTo>
                    <a:lnTo>
                      <a:pt x="79" y="73"/>
                    </a:lnTo>
                    <a:lnTo>
                      <a:pt x="83" y="70"/>
                    </a:lnTo>
                    <a:lnTo>
                      <a:pt x="87" y="66"/>
                    </a:lnTo>
                    <a:lnTo>
                      <a:pt x="87" y="64"/>
                    </a:lnTo>
                    <a:lnTo>
                      <a:pt x="89" y="63"/>
                    </a:lnTo>
                    <a:lnTo>
                      <a:pt x="89" y="60"/>
                    </a:lnTo>
                    <a:lnTo>
                      <a:pt x="89" y="59"/>
                    </a:lnTo>
                    <a:lnTo>
                      <a:pt x="86" y="59"/>
                    </a:lnTo>
                    <a:lnTo>
                      <a:pt x="83" y="59"/>
                    </a:lnTo>
                    <a:lnTo>
                      <a:pt x="69" y="62"/>
                    </a:lnTo>
                    <a:lnTo>
                      <a:pt x="64" y="63"/>
                    </a:lnTo>
                    <a:lnTo>
                      <a:pt x="64" y="62"/>
                    </a:lnTo>
                    <a:lnTo>
                      <a:pt x="64" y="62"/>
                    </a:lnTo>
                    <a:lnTo>
                      <a:pt x="63" y="62"/>
                    </a:lnTo>
                    <a:lnTo>
                      <a:pt x="63" y="62"/>
                    </a:lnTo>
                    <a:lnTo>
                      <a:pt x="62" y="62"/>
                    </a:lnTo>
                    <a:lnTo>
                      <a:pt x="60" y="63"/>
                    </a:lnTo>
                    <a:lnTo>
                      <a:pt x="60" y="63"/>
                    </a:lnTo>
                    <a:lnTo>
                      <a:pt x="59" y="62"/>
                    </a:lnTo>
                    <a:lnTo>
                      <a:pt x="57" y="62"/>
                    </a:lnTo>
                    <a:lnTo>
                      <a:pt x="56" y="62"/>
                    </a:lnTo>
                    <a:lnTo>
                      <a:pt x="53" y="63"/>
                    </a:lnTo>
                    <a:lnTo>
                      <a:pt x="53" y="64"/>
                    </a:lnTo>
                    <a:lnTo>
                      <a:pt x="53" y="66"/>
                    </a:lnTo>
                    <a:lnTo>
                      <a:pt x="53" y="67"/>
                    </a:lnTo>
                    <a:lnTo>
                      <a:pt x="54" y="69"/>
                    </a:lnTo>
                    <a:lnTo>
                      <a:pt x="51" y="70"/>
                    </a:lnTo>
                    <a:lnTo>
                      <a:pt x="50" y="70"/>
                    </a:lnTo>
                    <a:lnTo>
                      <a:pt x="50" y="70"/>
                    </a:lnTo>
                    <a:lnTo>
                      <a:pt x="49" y="72"/>
                    </a:lnTo>
                    <a:lnTo>
                      <a:pt x="49" y="75"/>
                    </a:lnTo>
                    <a:lnTo>
                      <a:pt x="49" y="76"/>
                    </a:lnTo>
                    <a:lnTo>
                      <a:pt x="50" y="77"/>
                    </a:lnTo>
                    <a:lnTo>
                      <a:pt x="51" y="79"/>
                    </a:lnTo>
                    <a:lnTo>
                      <a:pt x="50" y="79"/>
                    </a:lnTo>
                    <a:lnTo>
                      <a:pt x="47" y="79"/>
                    </a:lnTo>
                    <a:lnTo>
                      <a:pt x="44" y="80"/>
                    </a:lnTo>
                    <a:lnTo>
                      <a:pt x="43" y="80"/>
                    </a:lnTo>
                    <a:lnTo>
                      <a:pt x="41" y="83"/>
                    </a:lnTo>
                    <a:lnTo>
                      <a:pt x="41" y="85"/>
                    </a:lnTo>
                    <a:lnTo>
                      <a:pt x="43" y="87"/>
                    </a:lnTo>
                    <a:lnTo>
                      <a:pt x="44" y="89"/>
                    </a:lnTo>
                    <a:lnTo>
                      <a:pt x="43" y="89"/>
                    </a:lnTo>
                    <a:lnTo>
                      <a:pt x="41" y="89"/>
                    </a:lnTo>
                    <a:lnTo>
                      <a:pt x="41" y="90"/>
                    </a:lnTo>
                    <a:lnTo>
                      <a:pt x="40" y="90"/>
                    </a:lnTo>
                    <a:lnTo>
                      <a:pt x="40" y="92"/>
                    </a:lnTo>
                    <a:lnTo>
                      <a:pt x="41" y="93"/>
                    </a:lnTo>
                    <a:close/>
                    <a:moveTo>
                      <a:pt x="31" y="132"/>
                    </a:moveTo>
                    <a:lnTo>
                      <a:pt x="31" y="133"/>
                    </a:lnTo>
                    <a:lnTo>
                      <a:pt x="34" y="132"/>
                    </a:lnTo>
                    <a:lnTo>
                      <a:pt x="36" y="131"/>
                    </a:lnTo>
                    <a:lnTo>
                      <a:pt x="36" y="129"/>
                    </a:lnTo>
                    <a:lnTo>
                      <a:pt x="34" y="126"/>
                    </a:lnTo>
                    <a:lnTo>
                      <a:pt x="33" y="126"/>
                    </a:lnTo>
                    <a:lnTo>
                      <a:pt x="28" y="128"/>
                    </a:lnTo>
                    <a:lnTo>
                      <a:pt x="28" y="129"/>
                    </a:lnTo>
                    <a:lnTo>
                      <a:pt x="28" y="131"/>
                    </a:lnTo>
                    <a:lnTo>
                      <a:pt x="28" y="131"/>
                    </a:lnTo>
                    <a:lnTo>
                      <a:pt x="28" y="131"/>
                    </a:lnTo>
                    <a:lnTo>
                      <a:pt x="30" y="131"/>
                    </a:lnTo>
                    <a:lnTo>
                      <a:pt x="31" y="129"/>
                    </a:lnTo>
                    <a:lnTo>
                      <a:pt x="31" y="129"/>
                    </a:lnTo>
                    <a:lnTo>
                      <a:pt x="31" y="131"/>
                    </a:lnTo>
                    <a:lnTo>
                      <a:pt x="31" y="131"/>
                    </a:lnTo>
                    <a:lnTo>
                      <a:pt x="31" y="132"/>
                    </a:lnTo>
                    <a:close/>
                    <a:moveTo>
                      <a:pt x="39" y="118"/>
                    </a:moveTo>
                    <a:lnTo>
                      <a:pt x="41" y="116"/>
                    </a:lnTo>
                    <a:lnTo>
                      <a:pt x="41" y="113"/>
                    </a:lnTo>
                    <a:lnTo>
                      <a:pt x="40" y="112"/>
                    </a:lnTo>
                    <a:lnTo>
                      <a:pt x="36" y="110"/>
                    </a:lnTo>
                    <a:lnTo>
                      <a:pt x="34" y="110"/>
                    </a:lnTo>
                    <a:lnTo>
                      <a:pt x="31" y="110"/>
                    </a:lnTo>
                    <a:lnTo>
                      <a:pt x="31" y="112"/>
                    </a:lnTo>
                    <a:lnTo>
                      <a:pt x="34" y="113"/>
                    </a:lnTo>
                    <a:lnTo>
                      <a:pt x="34" y="116"/>
                    </a:lnTo>
                    <a:lnTo>
                      <a:pt x="31" y="118"/>
                    </a:lnTo>
                    <a:lnTo>
                      <a:pt x="33" y="118"/>
                    </a:lnTo>
                    <a:lnTo>
                      <a:pt x="36" y="118"/>
                    </a:lnTo>
                    <a:lnTo>
                      <a:pt x="39" y="118"/>
                    </a:lnTo>
                    <a:close/>
                    <a:moveTo>
                      <a:pt x="11" y="103"/>
                    </a:moveTo>
                    <a:lnTo>
                      <a:pt x="11" y="102"/>
                    </a:lnTo>
                    <a:lnTo>
                      <a:pt x="10" y="102"/>
                    </a:lnTo>
                    <a:lnTo>
                      <a:pt x="11" y="103"/>
                    </a:lnTo>
                    <a:lnTo>
                      <a:pt x="11" y="103"/>
                    </a:lnTo>
                    <a:close/>
                    <a:moveTo>
                      <a:pt x="13" y="92"/>
                    </a:moveTo>
                    <a:lnTo>
                      <a:pt x="13" y="95"/>
                    </a:lnTo>
                    <a:lnTo>
                      <a:pt x="13" y="98"/>
                    </a:lnTo>
                    <a:lnTo>
                      <a:pt x="13" y="99"/>
                    </a:lnTo>
                    <a:lnTo>
                      <a:pt x="14" y="99"/>
                    </a:lnTo>
                    <a:lnTo>
                      <a:pt x="16" y="99"/>
                    </a:lnTo>
                    <a:lnTo>
                      <a:pt x="14" y="96"/>
                    </a:lnTo>
                    <a:lnTo>
                      <a:pt x="14" y="93"/>
                    </a:lnTo>
                    <a:lnTo>
                      <a:pt x="13" y="92"/>
                    </a:lnTo>
                    <a:close/>
                    <a:moveTo>
                      <a:pt x="31" y="86"/>
                    </a:moveTo>
                    <a:lnTo>
                      <a:pt x="26" y="87"/>
                    </a:lnTo>
                    <a:lnTo>
                      <a:pt x="26" y="89"/>
                    </a:lnTo>
                    <a:lnTo>
                      <a:pt x="24" y="90"/>
                    </a:lnTo>
                    <a:lnTo>
                      <a:pt x="24" y="90"/>
                    </a:lnTo>
                    <a:lnTo>
                      <a:pt x="24" y="93"/>
                    </a:lnTo>
                    <a:lnTo>
                      <a:pt x="26" y="93"/>
                    </a:lnTo>
                    <a:lnTo>
                      <a:pt x="28" y="93"/>
                    </a:lnTo>
                    <a:lnTo>
                      <a:pt x="28" y="95"/>
                    </a:lnTo>
                    <a:lnTo>
                      <a:pt x="30" y="95"/>
                    </a:lnTo>
                    <a:lnTo>
                      <a:pt x="30" y="96"/>
                    </a:lnTo>
                    <a:lnTo>
                      <a:pt x="31" y="96"/>
                    </a:lnTo>
                    <a:lnTo>
                      <a:pt x="33" y="98"/>
                    </a:lnTo>
                    <a:lnTo>
                      <a:pt x="33" y="98"/>
                    </a:lnTo>
                    <a:lnTo>
                      <a:pt x="34" y="98"/>
                    </a:lnTo>
                    <a:lnTo>
                      <a:pt x="36" y="98"/>
                    </a:lnTo>
                    <a:lnTo>
                      <a:pt x="37" y="100"/>
                    </a:lnTo>
                    <a:lnTo>
                      <a:pt x="41" y="99"/>
                    </a:lnTo>
                    <a:lnTo>
                      <a:pt x="43" y="96"/>
                    </a:lnTo>
                    <a:lnTo>
                      <a:pt x="39" y="96"/>
                    </a:lnTo>
                    <a:lnTo>
                      <a:pt x="36" y="95"/>
                    </a:lnTo>
                    <a:lnTo>
                      <a:pt x="36" y="95"/>
                    </a:lnTo>
                    <a:lnTo>
                      <a:pt x="34" y="90"/>
                    </a:lnTo>
                    <a:lnTo>
                      <a:pt x="33" y="86"/>
                    </a:lnTo>
                    <a:lnTo>
                      <a:pt x="31" y="86"/>
                    </a:lnTo>
                    <a:close/>
                    <a:moveTo>
                      <a:pt x="31" y="103"/>
                    </a:moveTo>
                    <a:lnTo>
                      <a:pt x="33" y="102"/>
                    </a:lnTo>
                    <a:lnTo>
                      <a:pt x="31" y="102"/>
                    </a:lnTo>
                    <a:lnTo>
                      <a:pt x="31" y="100"/>
                    </a:lnTo>
                    <a:lnTo>
                      <a:pt x="30" y="102"/>
                    </a:lnTo>
                    <a:lnTo>
                      <a:pt x="30" y="102"/>
                    </a:lnTo>
                    <a:lnTo>
                      <a:pt x="30" y="103"/>
                    </a:lnTo>
                    <a:lnTo>
                      <a:pt x="31" y="103"/>
                    </a:lnTo>
                    <a:lnTo>
                      <a:pt x="31" y="103"/>
                    </a:lnTo>
                    <a:close/>
                    <a:moveTo>
                      <a:pt x="24" y="69"/>
                    </a:moveTo>
                    <a:lnTo>
                      <a:pt x="23" y="69"/>
                    </a:lnTo>
                    <a:lnTo>
                      <a:pt x="24" y="72"/>
                    </a:lnTo>
                    <a:lnTo>
                      <a:pt x="23" y="72"/>
                    </a:lnTo>
                    <a:lnTo>
                      <a:pt x="21" y="70"/>
                    </a:lnTo>
                    <a:lnTo>
                      <a:pt x="20" y="70"/>
                    </a:lnTo>
                    <a:lnTo>
                      <a:pt x="18" y="72"/>
                    </a:lnTo>
                    <a:lnTo>
                      <a:pt x="18" y="72"/>
                    </a:lnTo>
                    <a:lnTo>
                      <a:pt x="18" y="73"/>
                    </a:lnTo>
                    <a:lnTo>
                      <a:pt x="18" y="75"/>
                    </a:lnTo>
                    <a:lnTo>
                      <a:pt x="20" y="75"/>
                    </a:lnTo>
                    <a:lnTo>
                      <a:pt x="18" y="76"/>
                    </a:lnTo>
                    <a:lnTo>
                      <a:pt x="20" y="77"/>
                    </a:lnTo>
                    <a:lnTo>
                      <a:pt x="20" y="77"/>
                    </a:lnTo>
                    <a:lnTo>
                      <a:pt x="21" y="79"/>
                    </a:lnTo>
                    <a:lnTo>
                      <a:pt x="18" y="80"/>
                    </a:lnTo>
                    <a:lnTo>
                      <a:pt x="18" y="82"/>
                    </a:lnTo>
                    <a:lnTo>
                      <a:pt x="20" y="83"/>
                    </a:lnTo>
                    <a:lnTo>
                      <a:pt x="21" y="82"/>
                    </a:lnTo>
                    <a:lnTo>
                      <a:pt x="26" y="79"/>
                    </a:lnTo>
                    <a:lnTo>
                      <a:pt x="27" y="77"/>
                    </a:lnTo>
                    <a:lnTo>
                      <a:pt x="28" y="76"/>
                    </a:lnTo>
                    <a:lnTo>
                      <a:pt x="30" y="75"/>
                    </a:lnTo>
                    <a:lnTo>
                      <a:pt x="27" y="73"/>
                    </a:lnTo>
                    <a:lnTo>
                      <a:pt x="30" y="73"/>
                    </a:lnTo>
                    <a:lnTo>
                      <a:pt x="31" y="70"/>
                    </a:lnTo>
                    <a:lnTo>
                      <a:pt x="33" y="67"/>
                    </a:lnTo>
                    <a:lnTo>
                      <a:pt x="34" y="64"/>
                    </a:lnTo>
                    <a:lnTo>
                      <a:pt x="33" y="63"/>
                    </a:lnTo>
                    <a:lnTo>
                      <a:pt x="31" y="64"/>
                    </a:lnTo>
                    <a:lnTo>
                      <a:pt x="27" y="66"/>
                    </a:lnTo>
                    <a:lnTo>
                      <a:pt x="26" y="67"/>
                    </a:lnTo>
                    <a:lnTo>
                      <a:pt x="24" y="69"/>
                    </a:lnTo>
                    <a:close/>
                    <a:moveTo>
                      <a:pt x="40" y="123"/>
                    </a:moveTo>
                    <a:lnTo>
                      <a:pt x="41" y="123"/>
                    </a:lnTo>
                    <a:lnTo>
                      <a:pt x="41" y="122"/>
                    </a:lnTo>
                    <a:lnTo>
                      <a:pt x="40" y="122"/>
                    </a:lnTo>
                    <a:lnTo>
                      <a:pt x="39" y="122"/>
                    </a:lnTo>
                    <a:lnTo>
                      <a:pt x="37" y="123"/>
                    </a:lnTo>
                    <a:lnTo>
                      <a:pt x="39" y="125"/>
                    </a:lnTo>
                    <a:lnTo>
                      <a:pt x="37" y="126"/>
                    </a:lnTo>
                    <a:lnTo>
                      <a:pt x="36" y="128"/>
                    </a:lnTo>
                    <a:lnTo>
                      <a:pt x="37" y="128"/>
                    </a:lnTo>
                    <a:lnTo>
                      <a:pt x="40" y="123"/>
                    </a:lnTo>
                    <a:close/>
                    <a:moveTo>
                      <a:pt x="14" y="89"/>
                    </a:moveTo>
                    <a:lnTo>
                      <a:pt x="17" y="89"/>
                    </a:lnTo>
                    <a:lnTo>
                      <a:pt x="18" y="86"/>
                    </a:lnTo>
                    <a:lnTo>
                      <a:pt x="17" y="86"/>
                    </a:lnTo>
                    <a:lnTo>
                      <a:pt x="11" y="86"/>
                    </a:lnTo>
                    <a:lnTo>
                      <a:pt x="11" y="86"/>
                    </a:lnTo>
                    <a:lnTo>
                      <a:pt x="13" y="87"/>
                    </a:lnTo>
                    <a:lnTo>
                      <a:pt x="14" y="8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74" name="Freeform 80">
                <a:extLst>
                  <a:ext uri="{FF2B5EF4-FFF2-40B4-BE49-F238E27FC236}">
                    <a16:creationId xmlns:a16="http://schemas.microsoft.com/office/drawing/2014/main" id="{26283D86-8B5C-EBBD-3710-4F76BF716CB5}"/>
                  </a:ext>
                </a:extLst>
              </p:cNvPr>
              <p:cNvSpPr>
                <a:spLocks noEditPoints="1"/>
              </p:cNvSpPr>
              <p:nvPr/>
            </p:nvSpPr>
            <p:spPr bwMode="auto">
              <a:xfrm>
                <a:off x="3418" y="1420"/>
                <a:ext cx="17" cy="26"/>
              </a:xfrm>
              <a:custGeom>
                <a:avLst/>
                <a:gdLst>
                  <a:gd name="T0" fmla="*/ 14 w 17"/>
                  <a:gd name="T1" fmla="*/ 1 h 26"/>
                  <a:gd name="T2" fmla="*/ 14 w 17"/>
                  <a:gd name="T3" fmla="*/ 0 h 26"/>
                  <a:gd name="T4" fmla="*/ 15 w 17"/>
                  <a:gd name="T5" fmla="*/ 0 h 26"/>
                  <a:gd name="T6" fmla="*/ 17 w 17"/>
                  <a:gd name="T7" fmla="*/ 3 h 26"/>
                  <a:gd name="T8" fmla="*/ 15 w 17"/>
                  <a:gd name="T9" fmla="*/ 4 h 26"/>
                  <a:gd name="T10" fmla="*/ 15 w 17"/>
                  <a:gd name="T11" fmla="*/ 4 h 26"/>
                  <a:gd name="T12" fmla="*/ 14 w 17"/>
                  <a:gd name="T13" fmla="*/ 1 h 26"/>
                  <a:gd name="T14" fmla="*/ 7 w 17"/>
                  <a:gd name="T15" fmla="*/ 7 h 26"/>
                  <a:gd name="T16" fmla="*/ 8 w 17"/>
                  <a:gd name="T17" fmla="*/ 8 h 26"/>
                  <a:gd name="T18" fmla="*/ 11 w 17"/>
                  <a:gd name="T19" fmla="*/ 10 h 26"/>
                  <a:gd name="T20" fmla="*/ 11 w 17"/>
                  <a:gd name="T21" fmla="*/ 8 h 26"/>
                  <a:gd name="T22" fmla="*/ 10 w 17"/>
                  <a:gd name="T23" fmla="*/ 7 h 26"/>
                  <a:gd name="T24" fmla="*/ 10 w 17"/>
                  <a:gd name="T25" fmla="*/ 5 h 26"/>
                  <a:gd name="T26" fmla="*/ 13 w 17"/>
                  <a:gd name="T27" fmla="*/ 7 h 26"/>
                  <a:gd name="T28" fmla="*/ 13 w 17"/>
                  <a:gd name="T29" fmla="*/ 4 h 26"/>
                  <a:gd name="T30" fmla="*/ 13 w 17"/>
                  <a:gd name="T31" fmla="*/ 3 h 26"/>
                  <a:gd name="T32" fmla="*/ 8 w 17"/>
                  <a:gd name="T33" fmla="*/ 1 h 26"/>
                  <a:gd name="T34" fmla="*/ 5 w 17"/>
                  <a:gd name="T35" fmla="*/ 1 h 26"/>
                  <a:gd name="T36" fmla="*/ 4 w 17"/>
                  <a:gd name="T37" fmla="*/ 1 h 26"/>
                  <a:gd name="T38" fmla="*/ 5 w 17"/>
                  <a:gd name="T39" fmla="*/ 4 h 26"/>
                  <a:gd name="T40" fmla="*/ 7 w 17"/>
                  <a:gd name="T41" fmla="*/ 7 h 26"/>
                  <a:gd name="T42" fmla="*/ 8 w 17"/>
                  <a:gd name="T43" fmla="*/ 23 h 26"/>
                  <a:gd name="T44" fmla="*/ 10 w 17"/>
                  <a:gd name="T45" fmla="*/ 24 h 26"/>
                  <a:gd name="T46" fmla="*/ 13 w 17"/>
                  <a:gd name="T47" fmla="*/ 26 h 26"/>
                  <a:gd name="T48" fmla="*/ 11 w 17"/>
                  <a:gd name="T49" fmla="*/ 23 h 26"/>
                  <a:gd name="T50" fmla="*/ 11 w 17"/>
                  <a:gd name="T51" fmla="*/ 21 h 26"/>
                  <a:gd name="T52" fmla="*/ 10 w 17"/>
                  <a:gd name="T53" fmla="*/ 21 h 26"/>
                  <a:gd name="T54" fmla="*/ 7 w 17"/>
                  <a:gd name="T55" fmla="*/ 20 h 26"/>
                  <a:gd name="T56" fmla="*/ 8 w 17"/>
                  <a:gd name="T57" fmla="*/ 21 h 26"/>
                  <a:gd name="T58" fmla="*/ 8 w 17"/>
                  <a:gd name="T59" fmla="*/ 23 h 26"/>
                  <a:gd name="T60" fmla="*/ 1 w 17"/>
                  <a:gd name="T61" fmla="*/ 8 h 26"/>
                  <a:gd name="T62" fmla="*/ 4 w 17"/>
                  <a:gd name="T63" fmla="*/ 8 h 26"/>
                  <a:gd name="T64" fmla="*/ 5 w 17"/>
                  <a:gd name="T65" fmla="*/ 7 h 26"/>
                  <a:gd name="T66" fmla="*/ 5 w 17"/>
                  <a:gd name="T67" fmla="*/ 7 h 26"/>
                  <a:gd name="T68" fmla="*/ 4 w 17"/>
                  <a:gd name="T69" fmla="*/ 5 h 26"/>
                  <a:gd name="T70" fmla="*/ 4 w 17"/>
                  <a:gd name="T71" fmla="*/ 5 h 26"/>
                  <a:gd name="T72" fmla="*/ 3 w 17"/>
                  <a:gd name="T73" fmla="*/ 5 h 26"/>
                  <a:gd name="T74" fmla="*/ 1 w 17"/>
                  <a:gd name="T75" fmla="*/ 5 h 26"/>
                  <a:gd name="T76" fmla="*/ 0 w 17"/>
                  <a:gd name="T77" fmla="*/ 5 h 26"/>
                  <a:gd name="T78" fmla="*/ 0 w 17"/>
                  <a:gd name="T79" fmla="*/ 7 h 26"/>
                  <a:gd name="T80" fmla="*/ 1 w 17"/>
                  <a:gd name="T81" fmla="*/ 8 h 26"/>
                  <a:gd name="T82" fmla="*/ 11 w 17"/>
                  <a:gd name="T83" fmla="*/ 13 h 26"/>
                  <a:gd name="T84" fmla="*/ 10 w 17"/>
                  <a:gd name="T85" fmla="*/ 11 h 26"/>
                  <a:gd name="T86" fmla="*/ 8 w 17"/>
                  <a:gd name="T87" fmla="*/ 11 h 26"/>
                  <a:gd name="T88" fmla="*/ 10 w 17"/>
                  <a:gd name="T89" fmla="*/ 13 h 26"/>
                  <a:gd name="T90" fmla="*/ 11 w 17"/>
                  <a:gd name="T91" fmla="*/ 14 h 26"/>
                  <a:gd name="T92" fmla="*/ 13 w 17"/>
                  <a:gd name="T93" fmla="*/ 16 h 26"/>
                  <a:gd name="T94" fmla="*/ 13 w 17"/>
                  <a:gd name="T95" fmla="*/ 14 h 26"/>
                  <a:gd name="T96" fmla="*/ 13 w 17"/>
                  <a:gd name="T97" fmla="*/ 13 h 26"/>
                  <a:gd name="T98" fmla="*/ 11 w 17"/>
                  <a:gd name="T9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 h="26">
                    <a:moveTo>
                      <a:pt x="14" y="1"/>
                    </a:moveTo>
                    <a:lnTo>
                      <a:pt x="14" y="0"/>
                    </a:lnTo>
                    <a:lnTo>
                      <a:pt x="15" y="0"/>
                    </a:lnTo>
                    <a:lnTo>
                      <a:pt x="17" y="3"/>
                    </a:lnTo>
                    <a:lnTo>
                      <a:pt x="15" y="4"/>
                    </a:lnTo>
                    <a:lnTo>
                      <a:pt x="15" y="4"/>
                    </a:lnTo>
                    <a:lnTo>
                      <a:pt x="14" y="1"/>
                    </a:lnTo>
                    <a:close/>
                    <a:moveTo>
                      <a:pt x="7" y="7"/>
                    </a:moveTo>
                    <a:lnTo>
                      <a:pt x="8" y="8"/>
                    </a:lnTo>
                    <a:lnTo>
                      <a:pt x="11" y="10"/>
                    </a:lnTo>
                    <a:lnTo>
                      <a:pt x="11" y="8"/>
                    </a:lnTo>
                    <a:lnTo>
                      <a:pt x="10" y="7"/>
                    </a:lnTo>
                    <a:lnTo>
                      <a:pt x="10" y="5"/>
                    </a:lnTo>
                    <a:lnTo>
                      <a:pt x="13" y="7"/>
                    </a:lnTo>
                    <a:lnTo>
                      <a:pt x="13" y="4"/>
                    </a:lnTo>
                    <a:lnTo>
                      <a:pt x="13" y="3"/>
                    </a:lnTo>
                    <a:lnTo>
                      <a:pt x="8" y="1"/>
                    </a:lnTo>
                    <a:lnTo>
                      <a:pt x="5" y="1"/>
                    </a:lnTo>
                    <a:lnTo>
                      <a:pt x="4" y="1"/>
                    </a:lnTo>
                    <a:lnTo>
                      <a:pt x="5" y="4"/>
                    </a:lnTo>
                    <a:lnTo>
                      <a:pt x="7" y="7"/>
                    </a:lnTo>
                    <a:close/>
                    <a:moveTo>
                      <a:pt x="8" y="23"/>
                    </a:moveTo>
                    <a:lnTo>
                      <a:pt x="10" y="24"/>
                    </a:lnTo>
                    <a:lnTo>
                      <a:pt x="13" y="26"/>
                    </a:lnTo>
                    <a:lnTo>
                      <a:pt x="11" y="23"/>
                    </a:lnTo>
                    <a:lnTo>
                      <a:pt x="11" y="21"/>
                    </a:lnTo>
                    <a:lnTo>
                      <a:pt x="10" y="21"/>
                    </a:lnTo>
                    <a:lnTo>
                      <a:pt x="7" y="20"/>
                    </a:lnTo>
                    <a:lnTo>
                      <a:pt x="8" y="21"/>
                    </a:lnTo>
                    <a:lnTo>
                      <a:pt x="8" y="23"/>
                    </a:lnTo>
                    <a:close/>
                    <a:moveTo>
                      <a:pt x="1" y="8"/>
                    </a:moveTo>
                    <a:lnTo>
                      <a:pt x="4" y="8"/>
                    </a:lnTo>
                    <a:lnTo>
                      <a:pt x="5" y="7"/>
                    </a:lnTo>
                    <a:lnTo>
                      <a:pt x="5" y="7"/>
                    </a:lnTo>
                    <a:lnTo>
                      <a:pt x="4" y="5"/>
                    </a:lnTo>
                    <a:lnTo>
                      <a:pt x="4" y="5"/>
                    </a:lnTo>
                    <a:lnTo>
                      <a:pt x="3" y="5"/>
                    </a:lnTo>
                    <a:lnTo>
                      <a:pt x="1" y="5"/>
                    </a:lnTo>
                    <a:lnTo>
                      <a:pt x="0" y="5"/>
                    </a:lnTo>
                    <a:lnTo>
                      <a:pt x="0" y="7"/>
                    </a:lnTo>
                    <a:lnTo>
                      <a:pt x="1" y="8"/>
                    </a:lnTo>
                    <a:close/>
                    <a:moveTo>
                      <a:pt x="11" y="13"/>
                    </a:moveTo>
                    <a:lnTo>
                      <a:pt x="10" y="11"/>
                    </a:lnTo>
                    <a:lnTo>
                      <a:pt x="8" y="11"/>
                    </a:lnTo>
                    <a:lnTo>
                      <a:pt x="10" y="13"/>
                    </a:lnTo>
                    <a:lnTo>
                      <a:pt x="11" y="14"/>
                    </a:lnTo>
                    <a:lnTo>
                      <a:pt x="13" y="16"/>
                    </a:lnTo>
                    <a:lnTo>
                      <a:pt x="13" y="14"/>
                    </a:lnTo>
                    <a:lnTo>
                      <a:pt x="13" y="13"/>
                    </a:lnTo>
                    <a:lnTo>
                      <a:pt x="11" y="1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75" name="Freeform 81">
                <a:extLst>
                  <a:ext uri="{FF2B5EF4-FFF2-40B4-BE49-F238E27FC236}">
                    <a16:creationId xmlns:a16="http://schemas.microsoft.com/office/drawing/2014/main" id="{1F849A6B-9453-590D-9CBF-D47943442ABE}"/>
                  </a:ext>
                </a:extLst>
              </p:cNvPr>
              <p:cNvSpPr>
                <a:spLocks noEditPoints="1"/>
              </p:cNvSpPr>
              <p:nvPr/>
            </p:nvSpPr>
            <p:spPr bwMode="auto">
              <a:xfrm>
                <a:off x="3936" y="1673"/>
                <a:ext cx="318" cy="195"/>
              </a:xfrm>
              <a:custGeom>
                <a:avLst/>
                <a:gdLst>
                  <a:gd name="T0" fmla="*/ 264 w 318"/>
                  <a:gd name="T1" fmla="*/ 138 h 195"/>
                  <a:gd name="T2" fmla="*/ 249 w 318"/>
                  <a:gd name="T3" fmla="*/ 143 h 195"/>
                  <a:gd name="T4" fmla="*/ 231 w 318"/>
                  <a:gd name="T5" fmla="*/ 152 h 195"/>
                  <a:gd name="T6" fmla="*/ 236 w 318"/>
                  <a:gd name="T7" fmla="*/ 174 h 195"/>
                  <a:gd name="T8" fmla="*/ 237 w 318"/>
                  <a:gd name="T9" fmla="*/ 179 h 195"/>
                  <a:gd name="T10" fmla="*/ 214 w 318"/>
                  <a:gd name="T11" fmla="*/ 194 h 195"/>
                  <a:gd name="T12" fmla="*/ 200 w 318"/>
                  <a:gd name="T13" fmla="*/ 178 h 195"/>
                  <a:gd name="T14" fmla="*/ 187 w 318"/>
                  <a:gd name="T15" fmla="*/ 169 h 195"/>
                  <a:gd name="T16" fmla="*/ 201 w 318"/>
                  <a:gd name="T17" fmla="*/ 156 h 195"/>
                  <a:gd name="T18" fmla="*/ 171 w 318"/>
                  <a:gd name="T19" fmla="*/ 152 h 195"/>
                  <a:gd name="T20" fmla="*/ 184 w 318"/>
                  <a:gd name="T21" fmla="*/ 145 h 195"/>
                  <a:gd name="T22" fmla="*/ 172 w 318"/>
                  <a:gd name="T23" fmla="*/ 139 h 195"/>
                  <a:gd name="T24" fmla="*/ 152 w 318"/>
                  <a:gd name="T25" fmla="*/ 146 h 195"/>
                  <a:gd name="T26" fmla="*/ 129 w 318"/>
                  <a:gd name="T27" fmla="*/ 174 h 195"/>
                  <a:gd name="T28" fmla="*/ 112 w 318"/>
                  <a:gd name="T29" fmla="*/ 169 h 195"/>
                  <a:gd name="T30" fmla="*/ 121 w 318"/>
                  <a:gd name="T31" fmla="*/ 158 h 195"/>
                  <a:gd name="T32" fmla="*/ 127 w 318"/>
                  <a:gd name="T33" fmla="*/ 148 h 195"/>
                  <a:gd name="T34" fmla="*/ 138 w 318"/>
                  <a:gd name="T35" fmla="*/ 141 h 195"/>
                  <a:gd name="T36" fmla="*/ 125 w 318"/>
                  <a:gd name="T37" fmla="*/ 125 h 195"/>
                  <a:gd name="T38" fmla="*/ 116 w 318"/>
                  <a:gd name="T39" fmla="*/ 109 h 195"/>
                  <a:gd name="T40" fmla="*/ 92 w 318"/>
                  <a:gd name="T41" fmla="*/ 102 h 195"/>
                  <a:gd name="T42" fmla="*/ 71 w 318"/>
                  <a:gd name="T43" fmla="*/ 110 h 195"/>
                  <a:gd name="T44" fmla="*/ 35 w 318"/>
                  <a:gd name="T45" fmla="*/ 113 h 195"/>
                  <a:gd name="T46" fmla="*/ 13 w 318"/>
                  <a:gd name="T47" fmla="*/ 110 h 195"/>
                  <a:gd name="T48" fmla="*/ 13 w 318"/>
                  <a:gd name="T49" fmla="*/ 86 h 195"/>
                  <a:gd name="T50" fmla="*/ 29 w 318"/>
                  <a:gd name="T51" fmla="*/ 51 h 195"/>
                  <a:gd name="T52" fmla="*/ 35 w 318"/>
                  <a:gd name="T53" fmla="*/ 38 h 195"/>
                  <a:gd name="T54" fmla="*/ 27 w 318"/>
                  <a:gd name="T55" fmla="*/ 23 h 195"/>
                  <a:gd name="T56" fmla="*/ 43 w 318"/>
                  <a:gd name="T57" fmla="*/ 11 h 195"/>
                  <a:gd name="T58" fmla="*/ 93 w 318"/>
                  <a:gd name="T59" fmla="*/ 18 h 195"/>
                  <a:gd name="T60" fmla="*/ 99 w 318"/>
                  <a:gd name="T61" fmla="*/ 21 h 195"/>
                  <a:gd name="T62" fmla="*/ 115 w 318"/>
                  <a:gd name="T63" fmla="*/ 21 h 195"/>
                  <a:gd name="T64" fmla="*/ 129 w 318"/>
                  <a:gd name="T65" fmla="*/ 24 h 195"/>
                  <a:gd name="T66" fmla="*/ 149 w 318"/>
                  <a:gd name="T67" fmla="*/ 23 h 195"/>
                  <a:gd name="T68" fmla="*/ 174 w 318"/>
                  <a:gd name="T69" fmla="*/ 8 h 195"/>
                  <a:gd name="T70" fmla="*/ 181 w 318"/>
                  <a:gd name="T71" fmla="*/ 1 h 195"/>
                  <a:gd name="T72" fmla="*/ 195 w 318"/>
                  <a:gd name="T73" fmla="*/ 0 h 195"/>
                  <a:gd name="T74" fmla="*/ 208 w 318"/>
                  <a:gd name="T75" fmla="*/ 3 h 195"/>
                  <a:gd name="T76" fmla="*/ 217 w 318"/>
                  <a:gd name="T77" fmla="*/ 15 h 195"/>
                  <a:gd name="T78" fmla="*/ 213 w 318"/>
                  <a:gd name="T79" fmla="*/ 21 h 195"/>
                  <a:gd name="T80" fmla="*/ 213 w 318"/>
                  <a:gd name="T81" fmla="*/ 28 h 195"/>
                  <a:gd name="T82" fmla="*/ 228 w 318"/>
                  <a:gd name="T83" fmla="*/ 30 h 195"/>
                  <a:gd name="T84" fmla="*/ 233 w 318"/>
                  <a:gd name="T85" fmla="*/ 34 h 195"/>
                  <a:gd name="T86" fmla="*/ 234 w 318"/>
                  <a:gd name="T87" fmla="*/ 44 h 195"/>
                  <a:gd name="T88" fmla="*/ 241 w 318"/>
                  <a:gd name="T89" fmla="*/ 50 h 195"/>
                  <a:gd name="T90" fmla="*/ 251 w 318"/>
                  <a:gd name="T91" fmla="*/ 53 h 195"/>
                  <a:gd name="T92" fmla="*/ 264 w 318"/>
                  <a:gd name="T93" fmla="*/ 51 h 195"/>
                  <a:gd name="T94" fmla="*/ 273 w 318"/>
                  <a:gd name="T95" fmla="*/ 57 h 195"/>
                  <a:gd name="T96" fmla="*/ 283 w 318"/>
                  <a:gd name="T97" fmla="*/ 63 h 195"/>
                  <a:gd name="T98" fmla="*/ 300 w 318"/>
                  <a:gd name="T99" fmla="*/ 66 h 195"/>
                  <a:gd name="T100" fmla="*/ 313 w 318"/>
                  <a:gd name="T101" fmla="*/ 72 h 195"/>
                  <a:gd name="T102" fmla="*/ 318 w 318"/>
                  <a:gd name="T103" fmla="*/ 79 h 195"/>
                  <a:gd name="T104" fmla="*/ 312 w 318"/>
                  <a:gd name="T105" fmla="*/ 86 h 195"/>
                  <a:gd name="T106" fmla="*/ 313 w 318"/>
                  <a:gd name="T107" fmla="*/ 92 h 195"/>
                  <a:gd name="T108" fmla="*/ 312 w 318"/>
                  <a:gd name="T109" fmla="*/ 97 h 195"/>
                  <a:gd name="T110" fmla="*/ 315 w 318"/>
                  <a:gd name="T111" fmla="*/ 105 h 195"/>
                  <a:gd name="T112" fmla="*/ 310 w 318"/>
                  <a:gd name="T113" fmla="*/ 115 h 195"/>
                  <a:gd name="T114" fmla="*/ 292 w 318"/>
                  <a:gd name="T115" fmla="*/ 119 h 195"/>
                  <a:gd name="T116" fmla="*/ 284 w 318"/>
                  <a:gd name="T117" fmla="*/ 126 h 195"/>
                  <a:gd name="T118" fmla="*/ 283 w 318"/>
                  <a:gd name="T119" fmla="*/ 13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8" h="195">
                    <a:moveTo>
                      <a:pt x="283" y="130"/>
                    </a:moveTo>
                    <a:lnTo>
                      <a:pt x="283" y="130"/>
                    </a:lnTo>
                    <a:lnTo>
                      <a:pt x="283" y="133"/>
                    </a:lnTo>
                    <a:lnTo>
                      <a:pt x="279" y="133"/>
                    </a:lnTo>
                    <a:lnTo>
                      <a:pt x="274" y="133"/>
                    </a:lnTo>
                    <a:lnTo>
                      <a:pt x="272" y="133"/>
                    </a:lnTo>
                    <a:lnTo>
                      <a:pt x="270" y="135"/>
                    </a:lnTo>
                    <a:lnTo>
                      <a:pt x="269" y="136"/>
                    </a:lnTo>
                    <a:lnTo>
                      <a:pt x="267" y="138"/>
                    </a:lnTo>
                    <a:lnTo>
                      <a:pt x="266" y="138"/>
                    </a:lnTo>
                    <a:lnTo>
                      <a:pt x="264" y="138"/>
                    </a:lnTo>
                    <a:lnTo>
                      <a:pt x="263" y="138"/>
                    </a:lnTo>
                    <a:lnTo>
                      <a:pt x="262" y="139"/>
                    </a:lnTo>
                    <a:lnTo>
                      <a:pt x="260" y="141"/>
                    </a:lnTo>
                    <a:lnTo>
                      <a:pt x="259" y="141"/>
                    </a:lnTo>
                    <a:lnTo>
                      <a:pt x="259" y="141"/>
                    </a:lnTo>
                    <a:lnTo>
                      <a:pt x="257" y="141"/>
                    </a:lnTo>
                    <a:lnTo>
                      <a:pt x="257" y="141"/>
                    </a:lnTo>
                    <a:lnTo>
                      <a:pt x="256" y="141"/>
                    </a:lnTo>
                    <a:lnTo>
                      <a:pt x="254" y="141"/>
                    </a:lnTo>
                    <a:lnTo>
                      <a:pt x="250" y="143"/>
                    </a:lnTo>
                    <a:lnTo>
                      <a:pt x="249" y="143"/>
                    </a:lnTo>
                    <a:lnTo>
                      <a:pt x="246" y="143"/>
                    </a:lnTo>
                    <a:lnTo>
                      <a:pt x="244" y="143"/>
                    </a:lnTo>
                    <a:lnTo>
                      <a:pt x="241" y="145"/>
                    </a:lnTo>
                    <a:lnTo>
                      <a:pt x="240" y="145"/>
                    </a:lnTo>
                    <a:lnTo>
                      <a:pt x="237" y="146"/>
                    </a:lnTo>
                    <a:lnTo>
                      <a:pt x="236" y="148"/>
                    </a:lnTo>
                    <a:lnTo>
                      <a:pt x="230" y="155"/>
                    </a:lnTo>
                    <a:lnTo>
                      <a:pt x="228" y="155"/>
                    </a:lnTo>
                    <a:lnTo>
                      <a:pt x="227" y="156"/>
                    </a:lnTo>
                    <a:lnTo>
                      <a:pt x="228" y="155"/>
                    </a:lnTo>
                    <a:lnTo>
                      <a:pt x="231" y="152"/>
                    </a:lnTo>
                    <a:lnTo>
                      <a:pt x="233" y="151"/>
                    </a:lnTo>
                    <a:lnTo>
                      <a:pt x="231" y="148"/>
                    </a:lnTo>
                    <a:lnTo>
                      <a:pt x="228" y="151"/>
                    </a:lnTo>
                    <a:lnTo>
                      <a:pt x="226" y="153"/>
                    </a:lnTo>
                    <a:lnTo>
                      <a:pt x="224" y="155"/>
                    </a:lnTo>
                    <a:lnTo>
                      <a:pt x="224" y="159"/>
                    </a:lnTo>
                    <a:lnTo>
                      <a:pt x="226" y="162"/>
                    </a:lnTo>
                    <a:lnTo>
                      <a:pt x="227" y="165"/>
                    </a:lnTo>
                    <a:lnTo>
                      <a:pt x="228" y="168"/>
                    </a:lnTo>
                    <a:lnTo>
                      <a:pt x="231" y="171"/>
                    </a:lnTo>
                    <a:lnTo>
                      <a:pt x="236" y="174"/>
                    </a:lnTo>
                    <a:lnTo>
                      <a:pt x="241" y="174"/>
                    </a:lnTo>
                    <a:lnTo>
                      <a:pt x="249" y="172"/>
                    </a:lnTo>
                    <a:lnTo>
                      <a:pt x="254" y="172"/>
                    </a:lnTo>
                    <a:lnTo>
                      <a:pt x="253" y="176"/>
                    </a:lnTo>
                    <a:lnTo>
                      <a:pt x="251" y="179"/>
                    </a:lnTo>
                    <a:lnTo>
                      <a:pt x="250" y="181"/>
                    </a:lnTo>
                    <a:lnTo>
                      <a:pt x="249" y="181"/>
                    </a:lnTo>
                    <a:lnTo>
                      <a:pt x="246" y="181"/>
                    </a:lnTo>
                    <a:lnTo>
                      <a:pt x="243" y="181"/>
                    </a:lnTo>
                    <a:lnTo>
                      <a:pt x="241" y="181"/>
                    </a:lnTo>
                    <a:lnTo>
                      <a:pt x="237" y="179"/>
                    </a:lnTo>
                    <a:lnTo>
                      <a:pt x="236" y="179"/>
                    </a:lnTo>
                    <a:lnTo>
                      <a:pt x="234" y="181"/>
                    </a:lnTo>
                    <a:lnTo>
                      <a:pt x="233" y="182"/>
                    </a:lnTo>
                    <a:lnTo>
                      <a:pt x="230" y="185"/>
                    </a:lnTo>
                    <a:lnTo>
                      <a:pt x="228" y="187"/>
                    </a:lnTo>
                    <a:lnTo>
                      <a:pt x="226" y="187"/>
                    </a:lnTo>
                    <a:lnTo>
                      <a:pt x="224" y="187"/>
                    </a:lnTo>
                    <a:lnTo>
                      <a:pt x="221" y="187"/>
                    </a:lnTo>
                    <a:lnTo>
                      <a:pt x="220" y="188"/>
                    </a:lnTo>
                    <a:lnTo>
                      <a:pt x="217" y="189"/>
                    </a:lnTo>
                    <a:lnTo>
                      <a:pt x="214" y="194"/>
                    </a:lnTo>
                    <a:lnTo>
                      <a:pt x="210" y="195"/>
                    </a:lnTo>
                    <a:lnTo>
                      <a:pt x="206" y="195"/>
                    </a:lnTo>
                    <a:lnTo>
                      <a:pt x="201" y="195"/>
                    </a:lnTo>
                    <a:lnTo>
                      <a:pt x="200" y="192"/>
                    </a:lnTo>
                    <a:lnTo>
                      <a:pt x="200" y="189"/>
                    </a:lnTo>
                    <a:lnTo>
                      <a:pt x="201" y="187"/>
                    </a:lnTo>
                    <a:lnTo>
                      <a:pt x="203" y="185"/>
                    </a:lnTo>
                    <a:lnTo>
                      <a:pt x="203" y="182"/>
                    </a:lnTo>
                    <a:lnTo>
                      <a:pt x="201" y="181"/>
                    </a:lnTo>
                    <a:lnTo>
                      <a:pt x="201" y="179"/>
                    </a:lnTo>
                    <a:lnTo>
                      <a:pt x="200" y="178"/>
                    </a:lnTo>
                    <a:lnTo>
                      <a:pt x="198" y="178"/>
                    </a:lnTo>
                    <a:lnTo>
                      <a:pt x="197" y="178"/>
                    </a:lnTo>
                    <a:lnTo>
                      <a:pt x="195" y="178"/>
                    </a:lnTo>
                    <a:lnTo>
                      <a:pt x="195" y="176"/>
                    </a:lnTo>
                    <a:lnTo>
                      <a:pt x="191" y="174"/>
                    </a:lnTo>
                    <a:lnTo>
                      <a:pt x="190" y="174"/>
                    </a:lnTo>
                    <a:lnTo>
                      <a:pt x="188" y="174"/>
                    </a:lnTo>
                    <a:lnTo>
                      <a:pt x="187" y="174"/>
                    </a:lnTo>
                    <a:lnTo>
                      <a:pt x="185" y="174"/>
                    </a:lnTo>
                    <a:lnTo>
                      <a:pt x="184" y="172"/>
                    </a:lnTo>
                    <a:lnTo>
                      <a:pt x="187" y="169"/>
                    </a:lnTo>
                    <a:lnTo>
                      <a:pt x="191" y="166"/>
                    </a:lnTo>
                    <a:lnTo>
                      <a:pt x="194" y="164"/>
                    </a:lnTo>
                    <a:lnTo>
                      <a:pt x="198" y="164"/>
                    </a:lnTo>
                    <a:lnTo>
                      <a:pt x="200" y="162"/>
                    </a:lnTo>
                    <a:lnTo>
                      <a:pt x="201" y="161"/>
                    </a:lnTo>
                    <a:lnTo>
                      <a:pt x="203" y="159"/>
                    </a:lnTo>
                    <a:lnTo>
                      <a:pt x="204" y="158"/>
                    </a:lnTo>
                    <a:lnTo>
                      <a:pt x="203" y="158"/>
                    </a:lnTo>
                    <a:lnTo>
                      <a:pt x="203" y="156"/>
                    </a:lnTo>
                    <a:lnTo>
                      <a:pt x="201" y="156"/>
                    </a:lnTo>
                    <a:lnTo>
                      <a:pt x="201" y="156"/>
                    </a:lnTo>
                    <a:lnTo>
                      <a:pt x="200" y="156"/>
                    </a:lnTo>
                    <a:lnTo>
                      <a:pt x="198" y="156"/>
                    </a:lnTo>
                    <a:lnTo>
                      <a:pt x="197" y="155"/>
                    </a:lnTo>
                    <a:lnTo>
                      <a:pt x="194" y="155"/>
                    </a:lnTo>
                    <a:lnTo>
                      <a:pt x="193" y="155"/>
                    </a:lnTo>
                    <a:lnTo>
                      <a:pt x="185" y="156"/>
                    </a:lnTo>
                    <a:lnTo>
                      <a:pt x="183" y="156"/>
                    </a:lnTo>
                    <a:lnTo>
                      <a:pt x="181" y="155"/>
                    </a:lnTo>
                    <a:lnTo>
                      <a:pt x="180" y="155"/>
                    </a:lnTo>
                    <a:lnTo>
                      <a:pt x="177" y="153"/>
                    </a:lnTo>
                    <a:lnTo>
                      <a:pt x="171" y="152"/>
                    </a:lnTo>
                    <a:lnTo>
                      <a:pt x="171" y="151"/>
                    </a:lnTo>
                    <a:lnTo>
                      <a:pt x="172" y="151"/>
                    </a:lnTo>
                    <a:lnTo>
                      <a:pt x="174" y="149"/>
                    </a:lnTo>
                    <a:lnTo>
                      <a:pt x="174" y="149"/>
                    </a:lnTo>
                    <a:lnTo>
                      <a:pt x="172" y="148"/>
                    </a:lnTo>
                    <a:lnTo>
                      <a:pt x="168" y="146"/>
                    </a:lnTo>
                    <a:lnTo>
                      <a:pt x="167" y="146"/>
                    </a:lnTo>
                    <a:lnTo>
                      <a:pt x="171" y="146"/>
                    </a:lnTo>
                    <a:lnTo>
                      <a:pt x="175" y="146"/>
                    </a:lnTo>
                    <a:lnTo>
                      <a:pt x="180" y="146"/>
                    </a:lnTo>
                    <a:lnTo>
                      <a:pt x="184" y="145"/>
                    </a:lnTo>
                    <a:lnTo>
                      <a:pt x="181" y="145"/>
                    </a:lnTo>
                    <a:lnTo>
                      <a:pt x="178" y="145"/>
                    </a:lnTo>
                    <a:lnTo>
                      <a:pt x="175" y="143"/>
                    </a:lnTo>
                    <a:lnTo>
                      <a:pt x="174" y="141"/>
                    </a:lnTo>
                    <a:lnTo>
                      <a:pt x="174" y="138"/>
                    </a:lnTo>
                    <a:lnTo>
                      <a:pt x="172" y="136"/>
                    </a:lnTo>
                    <a:lnTo>
                      <a:pt x="172" y="133"/>
                    </a:lnTo>
                    <a:lnTo>
                      <a:pt x="170" y="130"/>
                    </a:lnTo>
                    <a:lnTo>
                      <a:pt x="171" y="133"/>
                    </a:lnTo>
                    <a:lnTo>
                      <a:pt x="172" y="136"/>
                    </a:lnTo>
                    <a:lnTo>
                      <a:pt x="172" y="139"/>
                    </a:lnTo>
                    <a:lnTo>
                      <a:pt x="172" y="142"/>
                    </a:lnTo>
                    <a:lnTo>
                      <a:pt x="171" y="143"/>
                    </a:lnTo>
                    <a:lnTo>
                      <a:pt x="168" y="143"/>
                    </a:lnTo>
                    <a:lnTo>
                      <a:pt x="167" y="143"/>
                    </a:lnTo>
                    <a:lnTo>
                      <a:pt x="167" y="141"/>
                    </a:lnTo>
                    <a:lnTo>
                      <a:pt x="164" y="143"/>
                    </a:lnTo>
                    <a:lnTo>
                      <a:pt x="162" y="143"/>
                    </a:lnTo>
                    <a:lnTo>
                      <a:pt x="161" y="145"/>
                    </a:lnTo>
                    <a:lnTo>
                      <a:pt x="157" y="145"/>
                    </a:lnTo>
                    <a:lnTo>
                      <a:pt x="154" y="145"/>
                    </a:lnTo>
                    <a:lnTo>
                      <a:pt x="152" y="146"/>
                    </a:lnTo>
                    <a:lnTo>
                      <a:pt x="151" y="149"/>
                    </a:lnTo>
                    <a:lnTo>
                      <a:pt x="148" y="155"/>
                    </a:lnTo>
                    <a:lnTo>
                      <a:pt x="147" y="158"/>
                    </a:lnTo>
                    <a:lnTo>
                      <a:pt x="144" y="161"/>
                    </a:lnTo>
                    <a:lnTo>
                      <a:pt x="141" y="162"/>
                    </a:lnTo>
                    <a:lnTo>
                      <a:pt x="135" y="165"/>
                    </a:lnTo>
                    <a:lnTo>
                      <a:pt x="132" y="166"/>
                    </a:lnTo>
                    <a:lnTo>
                      <a:pt x="132" y="169"/>
                    </a:lnTo>
                    <a:lnTo>
                      <a:pt x="134" y="172"/>
                    </a:lnTo>
                    <a:lnTo>
                      <a:pt x="134" y="175"/>
                    </a:lnTo>
                    <a:lnTo>
                      <a:pt x="129" y="174"/>
                    </a:lnTo>
                    <a:lnTo>
                      <a:pt x="124" y="174"/>
                    </a:lnTo>
                    <a:lnTo>
                      <a:pt x="119" y="174"/>
                    </a:lnTo>
                    <a:lnTo>
                      <a:pt x="118" y="176"/>
                    </a:lnTo>
                    <a:lnTo>
                      <a:pt x="115" y="176"/>
                    </a:lnTo>
                    <a:lnTo>
                      <a:pt x="112" y="175"/>
                    </a:lnTo>
                    <a:lnTo>
                      <a:pt x="109" y="174"/>
                    </a:lnTo>
                    <a:lnTo>
                      <a:pt x="108" y="171"/>
                    </a:lnTo>
                    <a:lnTo>
                      <a:pt x="109" y="171"/>
                    </a:lnTo>
                    <a:lnTo>
                      <a:pt x="111" y="171"/>
                    </a:lnTo>
                    <a:lnTo>
                      <a:pt x="112" y="169"/>
                    </a:lnTo>
                    <a:lnTo>
                      <a:pt x="112" y="169"/>
                    </a:lnTo>
                    <a:lnTo>
                      <a:pt x="112" y="168"/>
                    </a:lnTo>
                    <a:lnTo>
                      <a:pt x="112" y="168"/>
                    </a:lnTo>
                    <a:lnTo>
                      <a:pt x="114" y="168"/>
                    </a:lnTo>
                    <a:lnTo>
                      <a:pt x="114" y="166"/>
                    </a:lnTo>
                    <a:lnTo>
                      <a:pt x="114" y="165"/>
                    </a:lnTo>
                    <a:lnTo>
                      <a:pt x="114" y="165"/>
                    </a:lnTo>
                    <a:lnTo>
                      <a:pt x="115" y="164"/>
                    </a:lnTo>
                    <a:lnTo>
                      <a:pt x="115" y="164"/>
                    </a:lnTo>
                    <a:lnTo>
                      <a:pt x="118" y="159"/>
                    </a:lnTo>
                    <a:lnTo>
                      <a:pt x="119" y="158"/>
                    </a:lnTo>
                    <a:lnTo>
                      <a:pt x="121" y="158"/>
                    </a:lnTo>
                    <a:lnTo>
                      <a:pt x="121" y="156"/>
                    </a:lnTo>
                    <a:lnTo>
                      <a:pt x="121" y="155"/>
                    </a:lnTo>
                    <a:lnTo>
                      <a:pt x="121" y="153"/>
                    </a:lnTo>
                    <a:lnTo>
                      <a:pt x="121" y="151"/>
                    </a:lnTo>
                    <a:lnTo>
                      <a:pt x="121" y="149"/>
                    </a:lnTo>
                    <a:lnTo>
                      <a:pt x="121" y="148"/>
                    </a:lnTo>
                    <a:lnTo>
                      <a:pt x="124" y="146"/>
                    </a:lnTo>
                    <a:lnTo>
                      <a:pt x="125" y="146"/>
                    </a:lnTo>
                    <a:lnTo>
                      <a:pt x="125" y="149"/>
                    </a:lnTo>
                    <a:lnTo>
                      <a:pt x="127" y="149"/>
                    </a:lnTo>
                    <a:lnTo>
                      <a:pt x="127" y="148"/>
                    </a:lnTo>
                    <a:lnTo>
                      <a:pt x="127" y="148"/>
                    </a:lnTo>
                    <a:lnTo>
                      <a:pt x="129" y="148"/>
                    </a:lnTo>
                    <a:lnTo>
                      <a:pt x="134" y="148"/>
                    </a:lnTo>
                    <a:lnTo>
                      <a:pt x="134" y="148"/>
                    </a:lnTo>
                    <a:lnTo>
                      <a:pt x="137" y="151"/>
                    </a:lnTo>
                    <a:lnTo>
                      <a:pt x="139" y="151"/>
                    </a:lnTo>
                    <a:lnTo>
                      <a:pt x="141" y="149"/>
                    </a:lnTo>
                    <a:lnTo>
                      <a:pt x="139" y="146"/>
                    </a:lnTo>
                    <a:lnTo>
                      <a:pt x="138" y="145"/>
                    </a:lnTo>
                    <a:lnTo>
                      <a:pt x="138" y="143"/>
                    </a:lnTo>
                    <a:lnTo>
                      <a:pt x="138" y="141"/>
                    </a:lnTo>
                    <a:lnTo>
                      <a:pt x="137" y="139"/>
                    </a:lnTo>
                    <a:lnTo>
                      <a:pt x="134" y="138"/>
                    </a:lnTo>
                    <a:lnTo>
                      <a:pt x="131" y="136"/>
                    </a:lnTo>
                    <a:lnTo>
                      <a:pt x="131" y="135"/>
                    </a:lnTo>
                    <a:lnTo>
                      <a:pt x="131" y="133"/>
                    </a:lnTo>
                    <a:lnTo>
                      <a:pt x="131" y="132"/>
                    </a:lnTo>
                    <a:lnTo>
                      <a:pt x="131" y="130"/>
                    </a:lnTo>
                    <a:lnTo>
                      <a:pt x="131" y="129"/>
                    </a:lnTo>
                    <a:lnTo>
                      <a:pt x="129" y="128"/>
                    </a:lnTo>
                    <a:lnTo>
                      <a:pt x="128" y="128"/>
                    </a:lnTo>
                    <a:lnTo>
                      <a:pt x="125" y="125"/>
                    </a:lnTo>
                    <a:lnTo>
                      <a:pt x="125" y="125"/>
                    </a:lnTo>
                    <a:lnTo>
                      <a:pt x="124" y="123"/>
                    </a:lnTo>
                    <a:lnTo>
                      <a:pt x="124" y="122"/>
                    </a:lnTo>
                    <a:lnTo>
                      <a:pt x="125" y="119"/>
                    </a:lnTo>
                    <a:lnTo>
                      <a:pt x="125" y="118"/>
                    </a:lnTo>
                    <a:lnTo>
                      <a:pt x="125" y="115"/>
                    </a:lnTo>
                    <a:lnTo>
                      <a:pt x="124" y="113"/>
                    </a:lnTo>
                    <a:lnTo>
                      <a:pt x="122" y="112"/>
                    </a:lnTo>
                    <a:lnTo>
                      <a:pt x="121" y="112"/>
                    </a:lnTo>
                    <a:lnTo>
                      <a:pt x="119" y="112"/>
                    </a:lnTo>
                    <a:lnTo>
                      <a:pt x="116" y="109"/>
                    </a:lnTo>
                    <a:lnTo>
                      <a:pt x="114" y="107"/>
                    </a:lnTo>
                    <a:lnTo>
                      <a:pt x="112" y="109"/>
                    </a:lnTo>
                    <a:lnTo>
                      <a:pt x="111" y="109"/>
                    </a:lnTo>
                    <a:lnTo>
                      <a:pt x="111" y="109"/>
                    </a:lnTo>
                    <a:lnTo>
                      <a:pt x="109" y="107"/>
                    </a:lnTo>
                    <a:lnTo>
                      <a:pt x="108" y="106"/>
                    </a:lnTo>
                    <a:lnTo>
                      <a:pt x="105" y="103"/>
                    </a:lnTo>
                    <a:lnTo>
                      <a:pt x="99" y="102"/>
                    </a:lnTo>
                    <a:lnTo>
                      <a:pt x="96" y="100"/>
                    </a:lnTo>
                    <a:lnTo>
                      <a:pt x="95" y="100"/>
                    </a:lnTo>
                    <a:lnTo>
                      <a:pt x="92" y="102"/>
                    </a:lnTo>
                    <a:lnTo>
                      <a:pt x="89" y="102"/>
                    </a:lnTo>
                    <a:lnTo>
                      <a:pt x="83" y="103"/>
                    </a:lnTo>
                    <a:lnTo>
                      <a:pt x="82" y="103"/>
                    </a:lnTo>
                    <a:lnTo>
                      <a:pt x="79" y="105"/>
                    </a:lnTo>
                    <a:lnTo>
                      <a:pt x="76" y="106"/>
                    </a:lnTo>
                    <a:lnTo>
                      <a:pt x="76" y="106"/>
                    </a:lnTo>
                    <a:lnTo>
                      <a:pt x="75" y="107"/>
                    </a:lnTo>
                    <a:lnTo>
                      <a:pt x="75" y="107"/>
                    </a:lnTo>
                    <a:lnTo>
                      <a:pt x="73" y="109"/>
                    </a:lnTo>
                    <a:lnTo>
                      <a:pt x="73" y="109"/>
                    </a:lnTo>
                    <a:lnTo>
                      <a:pt x="71" y="110"/>
                    </a:lnTo>
                    <a:lnTo>
                      <a:pt x="69" y="112"/>
                    </a:lnTo>
                    <a:lnTo>
                      <a:pt x="59" y="115"/>
                    </a:lnTo>
                    <a:lnTo>
                      <a:pt x="56" y="115"/>
                    </a:lnTo>
                    <a:lnTo>
                      <a:pt x="52" y="118"/>
                    </a:lnTo>
                    <a:lnTo>
                      <a:pt x="50" y="118"/>
                    </a:lnTo>
                    <a:lnTo>
                      <a:pt x="49" y="118"/>
                    </a:lnTo>
                    <a:lnTo>
                      <a:pt x="46" y="115"/>
                    </a:lnTo>
                    <a:lnTo>
                      <a:pt x="43" y="113"/>
                    </a:lnTo>
                    <a:lnTo>
                      <a:pt x="42" y="113"/>
                    </a:lnTo>
                    <a:lnTo>
                      <a:pt x="36" y="113"/>
                    </a:lnTo>
                    <a:lnTo>
                      <a:pt x="35" y="113"/>
                    </a:lnTo>
                    <a:lnTo>
                      <a:pt x="29" y="112"/>
                    </a:lnTo>
                    <a:lnTo>
                      <a:pt x="26" y="112"/>
                    </a:lnTo>
                    <a:lnTo>
                      <a:pt x="25" y="112"/>
                    </a:lnTo>
                    <a:lnTo>
                      <a:pt x="23" y="112"/>
                    </a:lnTo>
                    <a:lnTo>
                      <a:pt x="20" y="110"/>
                    </a:lnTo>
                    <a:lnTo>
                      <a:pt x="20" y="109"/>
                    </a:lnTo>
                    <a:lnTo>
                      <a:pt x="19" y="110"/>
                    </a:lnTo>
                    <a:lnTo>
                      <a:pt x="17" y="110"/>
                    </a:lnTo>
                    <a:lnTo>
                      <a:pt x="16" y="112"/>
                    </a:lnTo>
                    <a:lnTo>
                      <a:pt x="13" y="113"/>
                    </a:lnTo>
                    <a:lnTo>
                      <a:pt x="13" y="110"/>
                    </a:lnTo>
                    <a:lnTo>
                      <a:pt x="12" y="109"/>
                    </a:lnTo>
                    <a:lnTo>
                      <a:pt x="7" y="107"/>
                    </a:lnTo>
                    <a:lnTo>
                      <a:pt x="6" y="106"/>
                    </a:lnTo>
                    <a:lnTo>
                      <a:pt x="4" y="103"/>
                    </a:lnTo>
                    <a:lnTo>
                      <a:pt x="3" y="102"/>
                    </a:lnTo>
                    <a:lnTo>
                      <a:pt x="0" y="102"/>
                    </a:lnTo>
                    <a:lnTo>
                      <a:pt x="2" y="97"/>
                    </a:lnTo>
                    <a:lnTo>
                      <a:pt x="6" y="89"/>
                    </a:lnTo>
                    <a:lnTo>
                      <a:pt x="7" y="84"/>
                    </a:lnTo>
                    <a:lnTo>
                      <a:pt x="12" y="86"/>
                    </a:lnTo>
                    <a:lnTo>
                      <a:pt x="13" y="86"/>
                    </a:lnTo>
                    <a:lnTo>
                      <a:pt x="13" y="86"/>
                    </a:lnTo>
                    <a:lnTo>
                      <a:pt x="13" y="84"/>
                    </a:lnTo>
                    <a:lnTo>
                      <a:pt x="12" y="84"/>
                    </a:lnTo>
                    <a:lnTo>
                      <a:pt x="12" y="83"/>
                    </a:lnTo>
                    <a:lnTo>
                      <a:pt x="10" y="76"/>
                    </a:lnTo>
                    <a:lnTo>
                      <a:pt x="10" y="73"/>
                    </a:lnTo>
                    <a:lnTo>
                      <a:pt x="10" y="70"/>
                    </a:lnTo>
                    <a:lnTo>
                      <a:pt x="13" y="67"/>
                    </a:lnTo>
                    <a:lnTo>
                      <a:pt x="25" y="56"/>
                    </a:lnTo>
                    <a:lnTo>
                      <a:pt x="27" y="53"/>
                    </a:lnTo>
                    <a:lnTo>
                      <a:pt x="29" y="51"/>
                    </a:lnTo>
                    <a:lnTo>
                      <a:pt x="32" y="51"/>
                    </a:lnTo>
                    <a:lnTo>
                      <a:pt x="33" y="50"/>
                    </a:lnTo>
                    <a:lnTo>
                      <a:pt x="35" y="47"/>
                    </a:lnTo>
                    <a:lnTo>
                      <a:pt x="35" y="46"/>
                    </a:lnTo>
                    <a:lnTo>
                      <a:pt x="35" y="44"/>
                    </a:lnTo>
                    <a:lnTo>
                      <a:pt x="35" y="43"/>
                    </a:lnTo>
                    <a:lnTo>
                      <a:pt x="35" y="41"/>
                    </a:lnTo>
                    <a:lnTo>
                      <a:pt x="35" y="40"/>
                    </a:lnTo>
                    <a:lnTo>
                      <a:pt x="35" y="40"/>
                    </a:lnTo>
                    <a:lnTo>
                      <a:pt x="35" y="40"/>
                    </a:lnTo>
                    <a:lnTo>
                      <a:pt x="35" y="38"/>
                    </a:lnTo>
                    <a:lnTo>
                      <a:pt x="35" y="38"/>
                    </a:lnTo>
                    <a:lnTo>
                      <a:pt x="35" y="38"/>
                    </a:lnTo>
                    <a:lnTo>
                      <a:pt x="35" y="37"/>
                    </a:lnTo>
                    <a:lnTo>
                      <a:pt x="33" y="37"/>
                    </a:lnTo>
                    <a:lnTo>
                      <a:pt x="32" y="31"/>
                    </a:lnTo>
                    <a:lnTo>
                      <a:pt x="30" y="30"/>
                    </a:lnTo>
                    <a:lnTo>
                      <a:pt x="29" y="28"/>
                    </a:lnTo>
                    <a:lnTo>
                      <a:pt x="27" y="27"/>
                    </a:lnTo>
                    <a:lnTo>
                      <a:pt x="27" y="26"/>
                    </a:lnTo>
                    <a:lnTo>
                      <a:pt x="27" y="24"/>
                    </a:lnTo>
                    <a:lnTo>
                      <a:pt x="27" y="23"/>
                    </a:lnTo>
                    <a:lnTo>
                      <a:pt x="26" y="21"/>
                    </a:lnTo>
                    <a:lnTo>
                      <a:pt x="26" y="18"/>
                    </a:lnTo>
                    <a:lnTo>
                      <a:pt x="27" y="18"/>
                    </a:lnTo>
                    <a:lnTo>
                      <a:pt x="33" y="18"/>
                    </a:lnTo>
                    <a:lnTo>
                      <a:pt x="33" y="18"/>
                    </a:lnTo>
                    <a:lnTo>
                      <a:pt x="35" y="18"/>
                    </a:lnTo>
                    <a:lnTo>
                      <a:pt x="36" y="17"/>
                    </a:lnTo>
                    <a:lnTo>
                      <a:pt x="36" y="17"/>
                    </a:lnTo>
                    <a:lnTo>
                      <a:pt x="39" y="14"/>
                    </a:lnTo>
                    <a:lnTo>
                      <a:pt x="39" y="13"/>
                    </a:lnTo>
                    <a:lnTo>
                      <a:pt x="43" y="11"/>
                    </a:lnTo>
                    <a:lnTo>
                      <a:pt x="48" y="11"/>
                    </a:lnTo>
                    <a:lnTo>
                      <a:pt x="58" y="11"/>
                    </a:lnTo>
                    <a:lnTo>
                      <a:pt x="63" y="11"/>
                    </a:lnTo>
                    <a:lnTo>
                      <a:pt x="79" y="14"/>
                    </a:lnTo>
                    <a:lnTo>
                      <a:pt x="86" y="14"/>
                    </a:lnTo>
                    <a:lnTo>
                      <a:pt x="89" y="15"/>
                    </a:lnTo>
                    <a:lnTo>
                      <a:pt x="89" y="15"/>
                    </a:lnTo>
                    <a:lnTo>
                      <a:pt x="91" y="18"/>
                    </a:lnTo>
                    <a:lnTo>
                      <a:pt x="91" y="18"/>
                    </a:lnTo>
                    <a:lnTo>
                      <a:pt x="92" y="20"/>
                    </a:lnTo>
                    <a:lnTo>
                      <a:pt x="93" y="18"/>
                    </a:lnTo>
                    <a:lnTo>
                      <a:pt x="93" y="18"/>
                    </a:lnTo>
                    <a:lnTo>
                      <a:pt x="95" y="18"/>
                    </a:lnTo>
                    <a:lnTo>
                      <a:pt x="96" y="18"/>
                    </a:lnTo>
                    <a:lnTo>
                      <a:pt x="96" y="18"/>
                    </a:lnTo>
                    <a:lnTo>
                      <a:pt x="96" y="20"/>
                    </a:lnTo>
                    <a:lnTo>
                      <a:pt x="98" y="20"/>
                    </a:lnTo>
                    <a:lnTo>
                      <a:pt x="98" y="20"/>
                    </a:lnTo>
                    <a:lnTo>
                      <a:pt x="98" y="21"/>
                    </a:lnTo>
                    <a:lnTo>
                      <a:pt x="98" y="21"/>
                    </a:lnTo>
                    <a:lnTo>
                      <a:pt x="98" y="21"/>
                    </a:lnTo>
                    <a:lnTo>
                      <a:pt x="99" y="21"/>
                    </a:lnTo>
                    <a:lnTo>
                      <a:pt x="99" y="21"/>
                    </a:lnTo>
                    <a:lnTo>
                      <a:pt x="99" y="21"/>
                    </a:lnTo>
                    <a:lnTo>
                      <a:pt x="101" y="21"/>
                    </a:lnTo>
                    <a:lnTo>
                      <a:pt x="101" y="21"/>
                    </a:lnTo>
                    <a:lnTo>
                      <a:pt x="102" y="20"/>
                    </a:lnTo>
                    <a:lnTo>
                      <a:pt x="106" y="18"/>
                    </a:lnTo>
                    <a:lnTo>
                      <a:pt x="109" y="20"/>
                    </a:lnTo>
                    <a:lnTo>
                      <a:pt x="111" y="20"/>
                    </a:lnTo>
                    <a:lnTo>
                      <a:pt x="112" y="20"/>
                    </a:lnTo>
                    <a:lnTo>
                      <a:pt x="115" y="21"/>
                    </a:lnTo>
                    <a:lnTo>
                      <a:pt x="115" y="21"/>
                    </a:lnTo>
                    <a:lnTo>
                      <a:pt x="115" y="23"/>
                    </a:lnTo>
                    <a:lnTo>
                      <a:pt x="115" y="23"/>
                    </a:lnTo>
                    <a:lnTo>
                      <a:pt x="116" y="23"/>
                    </a:lnTo>
                    <a:lnTo>
                      <a:pt x="116" y="23"/>
                    </a:lnTo>
                    <a:lnTo>
                      <a:pt x="118" y="21"/>
                    </a:lnTo>
                    <a:lnTo>
                      <a:pt x="119" y="21"/>
                    </a:lnTo>
                    <a:lnTo>
                      <a:pt x="122" y="18"/>
                    </a:lnTo>
                    <a:lnTo>
                      <a:pt x="124" y="20"/>
                    </a:lnTo>
                    <a:lnTo>
                      <a:pt x="125" y="23"/>
                    </a:lnTo>
                    <a:lnTo>
                      <a:pt x="128" y="24"/>
                    </a:lnTo>
                    <a:lnTo>
                      <a:pt x="129" y="24"/>
                    </a:lnTo>
                    <a:lnTo>
                      <a:pt x="139" y="23"/>
                    </a:lnTo>
                    <a:lnTo>
                      <a:pt x="141" y="23"/>
                    </a:lnTo>
                    <a:lnTo>
                      <a:pt x="142" y="23"/>
                    </a:lnTo>
                    <a:lnTo>
                      <a:pt x="144" y="23"/>
                    </a:lnTo>
                    <a:lnTo>
                      <a:pt x="144" y="24"/>
                    </a:lnTo>
                    <a:lnTo>
                      <a:pt x="144" y="26"/>
                    </a:lnTo>
                    <a:lnTo>
                      <a:pt x="145" y="26"/>
                    </a:lnTo>
                    <a:lnTo>
                      <a:pt x="148" y="27"/>
                    </a:lnTo>
                    <a:lnTo>
                      <a:pt x="149" y="27"/>
                    </a:lnTo>
                    <a:lnTo>
                      <a:pt x="149" y="26"/>
                    </a:lnTo>
                    <a:lnTo>
                      <a:pt x="149" y="23"/>
                    </a:lnTo>
                    <a:lnTo>
                      <a:pt x="149" y="18"/>
                    </a:lnTo>
                    <a:lnTo>
                      <a:pt x="149" y="15"/>
                    </a:lnTo>
                    <a:lnTo>
                      <a:pt x="151" y="14"/>
                    </a:lnTo>
                    <a:lnTo>
                      <a:pt x="155" y="10"/>
                    </a:lnTo>
                    <a:lnTo>
                      <a:pt x="160" y="7"/>
                    </a:lnTo>
                    <a:lnTo>
                      <a:pt x="164" y="7"/>
                    </a:lnTo>
                    <a:lnTo>
                      <a:pt x="170" y="7"/>
                    </a:lnTo>
                    <a:lnTo>
                      <a:pt x="171" y="7"/>
                    </a:lnTo>
                    <a:lnTo>
                      <a:pt x="171" y="7"/>
                    </a:lnTo>
                    <a:lnTo>
                      <a:pt x="172" y="7"/>
                    </a:lnTo>
                    <a:lnTo>
                      <a:pt x="174" y="8"/>
                    </a:lnTo>
                    <a:lnTo>
                      <a:pt x="174" y="8"/>
                    </a:lnTo>
                    <a:lnTo>
                      <a:pt x="175" y="8"/>
                    </a:lnTo>
                    <a:lnTo>
                      <a:pt x="177" y="7"/>
                    </a:lnTo>
                    <a:lnTo>
                      <a:pt x="177" y="7"/>
                    </a:lnTo>
                    <a:lnTo>
                      <a:pt x="178" y="7"/>
                    </a:lnTo>
                    <a:lnTo>
                      <a:pt x="178" y="7"/>
                    </a:lnTo>
                    <a:lnTo>
                      <a:pt x="180" y="5"/>
                    </a:lnTo>
                    <a:lnTo>
                      <a:pt x="180" y="4"/>
                    </a:lnTo>
                    <a:lnTo>
                      <a:pt x="181" y="3"/>
                    </a:lnTo>
                    <a:lnTo>
                      <a:pt x="181" y="1"/>
                    </a:lnTo>
                    <a:lnTo>
                      <a:pt x="181" y="1"/>
                    </a:lnTo>
                    <a:lnTo>
                      <a:pt x="181" y="1"/>
                    </a:lnTo>
                    <a:lnTo>
                      <a:pt x="183" y="1"/>
                    </a:lnTo>
                    <a:lnTo>
                      <a:pt x="183" y="1"/>
                    </a:lnTo>
                    <a:lnTo>
                      <a:pt x="185" y="1"/>
                    </a:lnTo>
                    <a:lnTo>
                      <a:pt x="188" y="3"/>
                    </a:lnTo>
                    <a:lnTo>
                      <a:pt x="190" y="3"/>
                    </a:lnTo>
                    <a:lnTo>
                      <a:pt x="193" y="1"/>
                    </a:lnTo>
                    <a:lnTo>
                      <a:pt x="193" y="1"/>
                    </a:lnTo>
                    <a:lnTo>
                      <a:pt x="194" y="1"/>
                    </a:lnTo>
                    <a:lnTo>
                      <a:pt x="194" y="0"/>
                    </a:lnTo>
                    <a:lnTo>
                      <a:pt x="195" y="0"/>
                    </a:lnTo>
                    <a:lnTo>
                      <a:pt x="197" y="0"/>
                    </a:lnTo>
                    <a:lnTo>
                      <a:pt x="197" y="0"/>
                    </a:lnTo>
                    <a:lnTo>
                      <a:pt x="198" y="0"/>
                    </a:lnTo>
                    <a:lnTo>
                      <a:pt x="198" y="0"/>
                    </a:lnTo>
                    <a:lnTo>
                      <a:pt x="200" y="0"/>
                    </a:lnTo>
                    <a:lnTo>
                      <a:pt x="201" y="1"/>
                    </a:lnTo>
                    <a:lnTo>
                      <a:pt x="203" y="1"/>
                    </a:lnTo>
                    <a:lnTo>
                      <a:pt x="204" y="0"/>
                    </a:lnTo>
                    <a:lnTo>
                      <a:pt x="204" y="0"/>
                    </a:lnTo>
                    <a:lnTo>
                      <a:pt x="206" y="1"/>
                    </a:lnTo>
                    <a:lnTo>
                      <a:pt x="208" y="3"/>
                    </a:lnTo>
                    <a:lnTo>
                      <a:pt x="208" y="4"/>
                    </a:lnTo>
                    <a:lnTo>
                      <a:pt x="210" y="4"/>
                    </a:lnTo>
                    <a:lnTo>
                      <a:pt x="210" y="5"/>
                    </a:lnTo>
                    <a:lnTo>
                      <a:pt x="210" y="7"/>
                    </a:lnTo>
                    <a:lnTo>
                      <a:pt x="210" y="7"/>
                    </a:lnTo>
                    <a:lnTo>
                      <a:pt x="211" y="10"/>
                    </a:lnTo>
                    <a:lnTo>
                      <a:pt x="213" y="11"/>
                    </a:lnTo>
                    <a:lnTo>
                      <a:pt x="217" y="14"/>
                    </a:lnTo>
                    <a:lnTo>
                      <a:pt x="217" y="15"/>
                    </a:lnTo>
                    <a:lnTo>
                      <a:pt x="217" y="15"/>
                    </a:lnTo>
                    <a:lnTo>
                      <a:pt x="217" y="15"/>
                    </a:lnTo>
                    <a:lnTo>
                      <a:pt x="216" y="15"/>
                    </a:lnTo>
                    <a:lnTo>
                      <a:pt x="214" y="17"/>
                    </a:lnTo>
                    <a:lnTo>
                      <a:pt x="213" y="17"/>
                    </a:lnTo>
                    <a:lnTo>
                      <a:pt x="213" y="17"/>
                    </a:lnTo>
                    <a:lnTo>
                      <a:pt x="211" y="17"/>
                    </a:lnTo>
                    <a:lnTo>
                      <a:pt x="211" y="18"/>
                    </a:lnTo>
                    <a:lnTo>
                      <a:pt x="211" y="18"/>
                    </a:lnTo>
                    <a:lnTo>
                      <a:pt x="211" y="18"/>
                    </a:lnTo>
                    <a:lnTo>
                      <a:pt x="213" y="20"/>
                    </a:lnTo>
                    <a:lnTo>
                      <a:pt x="213" y="20"/>
                    </a:lnTo>
                    <a:lnTo>
                      <a:pt x="213" y="21"/>
                    </a:lnTo>
                    <a:lnTo>
                      <a:pt x="213" y="23"/>
                    </a:lnTo>
                    <a:lnTo>
                      <a:pt x="213" y="23"/>
                    </a:lnTo>
                    <a:lnTo>
                      <a:pt x="213" y="24"/>
                    </a:lnTo>
                    <a:lnTo>
                      <a:pt x="214" y="24"/>
                    </a:lnTo>
                    <a:lnTo>
                      <a:pt x="214" y="26"/>
                    </a:lnTo>
                    <a:lnTo>
                      <a:pt x="214" y="27"/>
                    </a:lnTo>
                    <a:lnTo>
                      <a:pt x="213" y="27"/>
                    </a:lnTo>
                    <a:lnTo>
                      <a:pt x="213" y="28"/>
                    </a:lnTo>
                    <a:lnTo>
                      <a:pt x="213" y="28"/>
                    </a:lnTo>
                    <a:lnTo>
                      <a:pt x="213" y="28"/>
                    </a:lnTo>
                    <a:lnTo>
                      <a:pt x="213" y="28"/>
                    </a:lnTo>
                    <a:lnTo>
                      <a:pt x="214" y="28"/>
                    </a:lnTo>
                    <a:lnTo>
                      <a:pt x="216" y="28"/>
                    </a:lnTo>
                    <a:lnTo>
                      <a:pt x="217" y="28"/>
                    </a:lnTo>
                    <a:lnTo>
                      <a:pt x="218" y="28"/>
                    </a:lnTo>
                    <a:lnTo>
                      <a:pt x="221" y="30"/>
                    </a:lnTo>
                    <a:lnTo>
                      <a:pt x="223" y="30"/>
                    </a:lnTo>
                    <a:lnTo>
                      <a:pt x="224" y="30"/>
                    </a:lnTo>
                    <a:lnTo>
                      <a:pt x="226" y="30"/>
                    </a:lnTo>
                    <a:lnTo>
                      <a:pt x="227" y="30"/>
                    </a:lnTo>
                    <a:lnTo>
                      <a:pt x="228" y="30"/>
                    </a:lnTo>
                    <a:lnTo>
                      <a:pt x="228" y="30"/>
                    </a:lnTo>
                    <a:lnTo>
                      <a:pt x="228" y="30"/>
                    </a:lnTo>
                    <a:lnTo>
                      <a:pt x="228" y="31"/>
                    </a:lnTo>
                    <a:lnTo>
                      <a:pt x="228" y="31"/>
                    </a:lnTo>
                    <a:lnTo>
                      <a:pt x="230" y="33"/>
                    </a:lnTo>
                    <a:lnTo>
                      <a:pt x="230" y="33"/>
                    </a:lnTo>
                    <a:lnTo>
                      <a:pt x="230" y="34"/>
                    </a:lnTo>
                    <a:lnTo>
                      <a:pt x="230" y="34"/>
                    </a:lnTo>
                    <a:lnTo>
                      <a:pt x="231" y="33"/>
                    </a:lnTo>
                    <a:lnTo>
                      <a:pt x="233" y="34"/>
                    </a:lnTo>
                    <a:lnTo>
                      <a:pt x="233" y="34"/>
                    </a:lnTo>
                    <a:lnTo>
                      <a:pt x="233" y="34"/>
                    </a:lnTo>
                    <a:lnTo>
                      <a:pt x="233" y="34"/>
                    </a:lnTo>
                    <a:lnTo>
                      <a:pt x="233" y="36"/>
                    </a:lnTo>
                    <a:lnTo>
                      <a:pt x="233" y="38"/>
                    </a:lnTo>
                    <a:lnTo>
                      <a:pt x="233" y="40"/>
                    </a:lnTo>
                    <a:lnTo>
                      <a:pt x="234" y="40"/>
                    </a:lnTo>
                    <a:lnTo>
                      <a:pt x="234" y="40"/>
                    </a:lnTo>
                    <a:lnTo>
                      <a:pt x="234" y="41"/>
                    </a:lnTo>
                    <a:lnTo>
                      <a:pt x="234" y="41"/>
                    </a:lnTo>
                    <a:lnTo>
                      <a:pt x="234" y="43"/>
                    </a:lnTo>
                    <a:lnTo>
                      <a:pt x="234" y="43"/>
                    </a:lnTo>
                    <a:lnTo>
                      <a:pt x="234" y="44"/>
                    </a:lnTo>
                    <a:lnTo>
                      <a:pt x="234" y="46"/>
                    </a:lnTo>
                    <a:lnTo>
                      <a:pt x="234" y="47"/>
                    </a:lnTo>
                    <a:lnTo>
                      <a:pt x="236" y="49"/>
                    </a:lnTo>
                    <a:lnTo>
                      <a:pt x="237" y="50"/>
                    </a:lnTo>
                    <a:lnTo>
                      <a:pt x="239" y="51"/>
                    </a:lnTo>
                    <a:lnTo>
                      <a:pt x="239" y="51"/>
                    </a:lnTo>
                    <a:lnTo>
                      <a:pt x="239" y="51"/>
                    </a:lnTo>
                    <a:lnTo>
                      <a:pt x="239" y="51"/>
                    </a:lnTo>
                    <a:lnTo>
                      <a:pt x="240" y="51"/>
                    </a:lnTo>
                    <a:lnTo>
                      <a:pt x="240" y="51"/>
                    </a:lnTo>
                    <a:lnTo>
                      <a:pt x="241" y="50"/>
                    </a:lnTo>
                    <a:lnTo>
                      <a:pt x="243" y="50"/>
                    </a:lnTo>
                    <a:lnTo>
                      <a:pt x="243" y="50"/>
                    </a:lnTo>
                    <a:lnTo>
                      <a:pt x="243" y="50"/>
                    </a:lnTo>
                    <a:lnTo>
                      <a:pt x="244" y="50"/>
                    </a:lnTo>
                    <a:lnTo>
                      <a:pt x="244" y="50"/>
                    </a:lnTo>
                    <a:lnTo>
                      <a:pt x="246" y="50"/>
                    </a:lnTo>
                    <a:lnTo>
                      <a:pt x="247" y="51"/>
                    </a:lnTo>
                    <a:lnTo>
                      <a:pt x="247" y="51"/>
                    </a:lnTo>
                    <a:lnTo>
                      <a:pt x="249" y="53"/>
                    </a:lnTo>
                    <a:lnTo>
                      <a:pt x="250" y="54"/>
                    </a:lnTo>
                    <a:lnTo>
                      <a:pt x="251" y="53"/>
                    </a:lnTo>
                    <a:lnTo>
                      <a:pt x="253" y="54"/>
                    </a:lnTo>
                    <a:lnTo>
                      <a:pt x="254" y="54"/>
                    </a:lnTo>
                    <a:lnTo>
                      <a:pt x="254" y="56"/>
                    </a:lnTo>
                    <a:lnTo>
                      <a:pt x="256" y="56"/>
                    </a:lnTo>
                    <a:lnTo>
                      <a:pt x="257" y="54"/>
                    </a:lnTo>
                    <a:lnTo>
                      <a:pt x="259" y="54"/>
                    </a:lnTo>
                    <a:lnTo>
                      <a:pt x="260" y="53"/>
                    </a:lnTo>
                    <a:lnTo>
                      <a:pt x="262" y="53"/>
                    </a:lnTo>
                    <a:lnTo>
                      <a:pt x="263" y="53"/>
                    </a:lnTo>
                    <a:lnTo>
                      <a:pt x="263" y="53"/>
                    </a:lnTo>
                    <a:lnTo>
                      <a:pt x="264" y="51"/>
                    </a:lnTo>
                    <a:lnTo>
                      <a:pt x="264" y="51"/>
                    </a:lnTo>
                    <a:lnTo>
                      <a:pt x="266" y="51"/>
                    </a:lnTo>
                    <a:lnTo>
                      <a:pt x="266" y="51"/>
                    </a:lnTo>
                    <a:lnTo>
                      <a:pt x="267" y="51"/>
                    </a:lnTo>
                    <a:lnTo>
                      <a:pt x="267" y="50"/>
                    </a:lnTo>
                    <a:lnTo>
                      <a:pt x="269" y="50"/>
                    </a:lnTo>
                    <a:lnTo>
                      <a:pt x="270" y="51"/>
                    </a:lnTo>
                    <a:lnTo>
                      <a:pt x="270" y="51"/>
                    </a:lnTo>
                    <a:lnTo>
                      <a:pt x="273" y="54"/>
                    </a:lnTo>
                    <a:lnTo>
                      <a:pt x="273" y="56"/>
                    </a:lnTo>
                    <a:lnTo>
                      <a:pt x="273" y="57"/>
                    </a:lnTo>
                    <a:lnTo>
                      <a:pt x="274" y="59"/>
                    </a:lnTo>
                    <a:lnTo>
                      <a:pt x="274" y="59"/>
                    </a:lnTo>
                    <a:lnTo>
                      <a:pt x="276" y="60"/>
                    </a:lnTo>
                    <a:lnTo>
                      <a:pt x="277" y="60"/>
                    </a:lnTo>
                    <a:lnTo>
                      <a:pt x="279" y="61"/>
                    </a:lnTo>
                    <a:lnTo>
                      <a:pt x="280" y="63"/>
                    </a:lnTo>
                    <a:lnTo>
                      <a:pt x="280" y="63"/>
                    </a:lnTo>
                    <a:lnTo>
                      <a:pt x="282" y="63"/>
                    </a:lnTo>
                    <a:lnTo>
                      <a:pt x="282" y="63"/>
                    </a:lnTo>
                    <a:lnTo>
                      <a:pt x="282" y="63"/>
                    </a:lnTo>
                    <a:lnTo>
                      <a:pt x="283" y="63"/>
                    </a:lnTo>
                    <a:lnTo>
                      <a:pt x="283" y="60"/>
                    </a:lnTo>
                    <a:lnTo>
                      <a:pt x="284" y="60"/>
                    </a:lnTo>
                    <a:lnTo>
                      <a:pt x="289" y="61"/>
                    </a:lnTo>
                    <a:lnTo>
                      <a:pt x="295" y="64"/>
                    </a:lnTo>
                    <a:lnTo>
                      <a:pt x="296" y="66"/>
                    </a:lnTo>
                    <a:lnTo>
                      <a:pt x="296" y="66"/>
                    </a:lnTo>
                    <a:lnTo>
                      <a:pt x="297" y="66"/>
                    </a:lnTo>
                    <a:lnTo>
                      <a:pt x="297" y="66"/>
                    </a:lnTo>
                    <a:lnTo>
                      <a:pt x="299" y="66"/>
                    </a:lnTo>
                    <a:lnTo>
                      <a:pt x="300" y="64"/>
                    </a:lnTo>
                    <a:lnTo>
                      <a:pt x="300" y="66"/>
                    </a:lnTo>
                    <a:lnTo>
                      <a:pt x="302" y="67"/>
                    </a:lnTo>
                    <a:lnTo>
                      <a:pt x="302" y="67"/>
                    </a:lnTo>
                    <a:lnTo>
                      <a:pt x="303" y="69"/>
                    </a:lnTo>
                    <a:lnTo>
                      <a:pt x="305" y="69"/>
                    </a:lnTo>
                    <a:lnTo>
                      <a:pt x="306" y="69"/>
                    </a:lnTo>
                    <a:lnTo>
                      <a:pt x="306" y="69"/>
                    </a:lnTo>
                    <a:lnTo>
                      <a:pt x="307" y="70"/>
                    </a:lnTo>
                    <a:lnTo>
                      <a:pt x="309" y="70"/>
                    </a:lnTo>
                    <a:lnTo>
                      <a:pt x="310" y="73"/>
                    </a:lnTo>
                    <a:lnTo>
                      <a:pt x="312" y="73"/>
                    </a:lnTo>
                    <a:lnTo>
                      <a:pt x="313" y="72"/>
                    </a:lnTo>
                    <a:lnTo>
                      <a:pt x="315" y="72"/>
                    </a:lnTo>
                    <a:lnTo>
                      <a:pt x="315" y="72"/>
                    </a:lnTo>
                    <a:lnTo>
                      <a:pt x="316" y="72"/>
                    </a:lnTo>
                    <a:lnTo>
                      <a:pt x="316" y="73"/>
                    </a:lnTo>
                    <a:lnTo>
                      <a:pt x="316" y="73"/>
                    </a:lnTo>
                    <a:lnTo>
                      <a:pt x="316" y="74"/>
                    </a:lnTo>
                    <a:lnTo>
                      <a:pt x="316" y="76"/>
                    </a:lnTo>
                    <a:lnTo>
                      <a:pt x="316" y="77"/>
                    </a:lnTo>
                    <a:lnTo>
                      <a:pt x="318" y="77"/>
                    </a:lnTo>
                    <a:lnTo>
                      <a:pt x="318" y="77"/>
                    </a:lnTo>
                    <a:lnTo>
                      <a:pt x="318" y="79"/>
                    </a:lnTo>
                    <a:lnTo>
                      <a:pt x="318" y="79"/>
                    </a:lnTo>
                    <a:lnTo>
                      <a:pt x="318" y="79"/>
                    </a:lnTo>
                    <a:lnTo>
                      <a:pt x="318" y="80"/>
                    </a:lnTo>
                    <a:lnTo>
                      <a:pt x="316" y="80"/>
                    </a:lnTo>
                    <a:lnTo>
                      <a:pt x="316" y="82"/>
                    </a:lnTo>
                    <a:lnTo>
                      <a:pt x="316" y="82"/>
                    </a:lnTo>
                    <a:lnTo>
                      <a:pt x="313" y="84"/>
                    </a:lnTo>
                    <a:lnTo>
                      <a:pt x="313" y="84"/>
                    </a:lnTo>
                    <a:lnTo>
                      <a:pt x="313" y="86"/>
                    </a:lnTo>
                    <a:lnTo>
                      <a:pt x="312" y="86"/>
                    </a:lnTo>
                    <a:lnTo>
                      <a:pt x="312" y="86"/>
                    </a:lnTo>
                    <a:lnTo>
                      <a:pt x="312" y="86"/>
                    </a:lnTo>
                    <a:lnTo>
                      <a:pt x="310" y="86"/>
                    </a:lnTo>
                    <a:lnTo>
                      <a:pt x="310" y="86"/>
                    </a:lnTo>
                    <a:lnTo>
                      <a:pt x="309" y="87"/>
                    </a:lnTo>
                    <a:lnTo>
                      <a:pt x="310" y="89"/>
                    </a:lnTo>
                    <a:lnTo>
                      <a:pt x="312" y="89"/>
                    </a:lnTo>
                    <a:lnTo>
                      <a:pt x="313" y="90"/>
                    </a:lnTo>
                    <a:lnTo>
                      <a:pt x="315" y="92"/>
                    </a:lnTo>
                    <a:lnTo>
                      <a:pt x="315" y="92"/>
                    </a:lnTo>
                    <a:lnTo>
                      <a:pt x="315" y="92"/>
                    </a:lnTo>
                    <a:lnTo>
                      <a:pt x="313" y="92"/>
                    </a:lnTo>
                    <a:lnTo>
                      <a:pt x="313" y="92"/>
                    </a:lnTo>
                    <a:lnTo>
                      <a:pt x="312" y="92"/>
                    </a:lnTo>
                    <a:lnTo>
                      <a:pt x="312" y="92"/>
                    </a:lnTo>
                    <a:lnTo>
                      <a:pt x="312" y="92"/>
                    </a:lnTo>
                    <a:lnTo>
                      <a:pt x="310" y="92"/>
                    </a:lnTo>
                    <a:lnTo>
                      <a:pt x="310" y="93"/>
                    </a:lnTo>
                    <a:lnTo>
                      <a:pt x="309" y="95"/>
                    </a:lnTo>
                    <a:lnTo>
                      <a:pt x="309" y="96"/>
                    </a:lnTo>
                    <a:lnTo>
                      <a:pt x="309" y="97"/>
                    </a:lnTo>
                    <a:lnTo>
                      <a:pt x="310" y="97"/>
                    </a:lnTo>
                    <a:lnTo>
                      <a:pt x="312" y="97"/>
                    </a:lnTo>
                    <a:lnTo>
                      <a:pt x="312" y="99"/>
                    </a:lnTo>
                    <a:lnTo>
                      <a:pt x="313" y="100"/>
                    </a:lnTo>
                    <a:lnTo>
                      <a:pt x="313" y="103"/>
                    </a:lnTo>
                    <a:lnTo>
                      <a:pt x="313" y="103"/>
                    </a:lnTo>
                    <a:lnTo>
                      <a:pt x="312" y="103"/>
                    </a:lnTo>
                    <a:lnTo>
                      <a:pt x="312" y="105"/>
                    </a:lnTo>
                    <a:lnTo>
                      <a:pt x="312" y="105"/>
                    </a:lnTo>
                    <a:lnTo>
                      <a:pt x="313" y="105"/>
                    </a:lnTo>
                    <a:lnTo>
                      <a:pt x="313" y="105"/>
                    </a:lnTo>
                    <a:lnTo>
                      <a:pt x="313" y="105"/>
                    </a:lnTo>
                    <a:lnTo>
                      <a:pt x="315" y="105"/>
                    </a:lnTo>
                    <a:lnTo>
                      <a:pt x="315" y="106"/>
                    </a:lnTo>
                    <a:lnTo>
                      <a:pt x="315" y="106"/>
                    </a:lnTo>
                    <a:lnTo>
                      <a:pt x="313" y="107"/>
                    </a:lnTo>
                    <a:lnTo>
                      <a:pt x="312" y="109"/>
                    </a:lnTo>
                    <a:lnTo>
                      <a:pt x="310" y="112"/>
                    </a:lnTo>
                    <a:lnTo>
                      <a:pt x="310" y="112"/>
                    </a:lnTo>
                    <a:lnTo>
                      <a:pt x="310" y="112"/>
                    </a:lnTo>
                    <a:lnTo>
                      <a:pt x="310" y="112"/>
                    </a:lnTo>
                    <a:lnTo>
                      <a:pt x="310" y="112"/>
                    </a:lnTo>
                    <a:lnTo>
                      <a:pt x="310" y="113"/>
                    </a:lnTo>
                    <a:lnTo>
                      <a:pt x="310" y="115"/>
                    </a:lnTo>
                    <a:lnTo>
                      <a:pt x="310" y="115"/>
                    </a:lnTo>
                    <a:lnTo>
                      <a:pt x="305" y="116"/>
                    </a:lnTo>
                    <a:lnTo>
                      <a:pt x="299" y="115"/>
                    </a:lnTo>
                    <a:lnTo>
                      <a:pt x="296" y="115"/>
                    </a:lnTo>
                    <a:lnTo>
                      <a:pt x="295" y="115"/>
                    </a:lnTo>
                    <a:lnTo>
                      <a:pt x="295" y="116"/>
                    </a:lnTo>
                    <a:lnTo>
                      <a:pt x="293" y="116"/>
                    </a:lnTo>
                    <a:lnTo>
                      <a:pt x="293" y="118"/>
                    </a:lnTo>
                    <a:lnTo>
                      <a:pt x="293" y="118"/>
                    </a:lnTo>
                    <a:lnTo>
                      <a:pt x="292" y="119"/>
                    </a:lnTo>
                    <a:lnTo>
                      <a:pt x="292" y="119"/>
                    </a:lnTo>
                    <a:lnTo>
                      <a:pt x="292" y="119"/>
                    </a:lnTo>
                    <a:lnTo>
                      <a:pt x="289" y="120"/>
                    </a:lnTo>
                    <a:lnTo>
                      <a:pt x="286" y="120"/>
                    </a:lnTo>
                    <a:lnTo>
                      <a:pt x="286" y="122"/>
                    </a:lnTo>
                    <a:lnTo>
                      <a:pt x="284" y="122"/>
                    </a:lnTo>
                    <a:lnTo>
                      <a:pt x="284" y="123"/>
                    </a:lnTo>
                    <a:lnTo>
                      <a:pt x="284" y="123"/>
                    </a:lnTo>
                    <a:lnTo>
                      <a:pt x="284" y="125"/>
                    </a:lnTo>
                    <a:lnTo>
                      <a:pt x="284" y="125"/>
                    </a:lnTo>
                    <a:lnTo>
                      <a:pt x="284" y="126"/>
                    </a:lnTo>
                    <a:lnTo>
                      <a:pt x="284" y="126"/>
                    </a:lnTo>
                    <a:lnTo>
                      <a:pt x="283" y="126"/>
                    </a:lnTo>
                    <a:lnTo>
                      <a:pt x="283" y="128"/>
                    </a:lnTo>
                    <a:lnTo>
                      <a:pt x="283" y="128"/>
                    </a:lnTo>
                    <a:lnTo>
                      <a:pt x="283" y="128"/>
                    </a:lnTo>
                    <a:lnTo>
                      <a:pt x="284" y="129"/>
                    </a:lnTo>
                    <a:lnTo>
                      <a:pt x="284" y="129"/>
                    </a:lnTo>
                    <a:lnTo>
                      <a:pt x="284" y="129"/>
                    </a:lnTo>
                    <a:lnTo>
                      <a:pt x="284" y="130"/>
                    </a:lnTo>
                    <a:lnTo>
                      <a:pt x="284" y="130"/>
                    </a:lnTo>
                    <a:lnTo>
                      <a:pt x="283" y="130"/>
                    </a:lnTo>
                    <a:lnTo>
                      <a:pt x="283" y="130"/>
                    </a:lnTo>
                    <a:close/>
                    <a:moveTo>
                      <a:pt x="170" y="153"/>
                    </a:moveTo>
                    <a:lnTo>
                      <a:pt x="174" y="155"/>
                    </a:lnTo>
                    <a:lnTo>
                      <a:pt x="177" y="155"/>
                    </a:lnTo>
                    <a:lnTo>
                      <a:pt x="174" y="153"/>
                    </a:lnTo>
                    <a:lnTo>
                      <a:pt x="171" y="153"/>
                    </a:lnTo>
                    <a:lnTo>
                      <a:pt x="168" y="152"/>
                    </a:lnTo>
                    <a:lnTo>
                      <a:pt x="165" y="149"/>
                    </a:lnTo>
                    <a:lnTo>
                      <a:pt x="167" y="152"/>
                    </a:lnTo>
                    <a:lnTo>
                      <a:pt x="170" y="15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76" name="Freeform 82">
                <a:extLst>
                  <a:ext uri="{FF2B5EF4-FFF2-40B4-BE49-F238E27FC236}">
                    <a16:creationId xmlns:a16="http://schemas.microsoft.com/office/drawing/2014/main" id="{E49908C4-57BE-C759-2A59-72AB7F1CD634}"/>
                  </a:ext>
                </a:extLst>
              </p:cNvPr>
              <p:cNvSpPr>
                <a:spLocks/>
              </p:cNvSpPr>
              <p:nvPr/>
            </p:nvSpPr>
            <p:spPr bwMode="auto">
              <a:xfrm>
                <a:off x="4116" y="2055"/>
                <a:ext cx="38" cy="22"/>
              </a:xfrm>
              <a:custGeom>
                <a:avLst/>
                <a:gdLst>
                  <a:gd name="T0" fmla="*/ 31 w 38"/>
                  <a:gd name="T1" fmla="*/ 4 h 22"/>
                  <a:gd name="T2" fmla="*/ 37 w 38"/>
                  <a:gd name="T3" fmla="*/ 1 h 22"/>
                  <a:gd name="T4" fmla="*/ 38 w 38"/>
                  <a:gd name="T5" fmla="*/ 0 h 22"/>
                  <a:gd name="T6" fmla="*/ 36 w 38"/>
                  <a:gd name="T7" fmla="*/ 1 h 22"/>
                  <a:gd name="T8" fmla="*/ 26 w 38"/>
                  <a:gd name="T9" fmla="*/ 6 h 22"/>
                  <a:gd name="T10" fmla="*/ 23 w 38"/>
                  <a:gd name="T11" fmla="*/ 6 h 22"/>
                  <a:gd name="T12" fmla="*/ 18 w 38"/>
                  <a:gd name="T13" fmla="*/ 6 h 22"/>
                  <a:gd name="T14" fmla="*/ 14 w 38"/>
                  <a:gd name="T15" fmla="*/ 6 h 22"/>
                  <a:gd name="T16" fmla="*/ 11 w 38"/>
                  <a:gd name="T17" fmla="*/ 6 h 22"/>
                  <a:gd name="T18" fmla="*/ 10 w 38"/>
                  <a:gd name="T19" fmla="*/ 7 h 22"/>
                  <a:gd name="T20" fmla="*/ 10 w 38"/>
                  <a:gd name="T21" fmla="*/ 9 h 22"/>
                  <a:gd name="T22" fmla="*/ 8 w 38"/>
                  <a:gd name="T23" fmla="*/ 9 h 22"/>
                  <a:gd name="T24" fmla="*/ 7 w 38"/>
                  <a:gd name="T25" fmla="*/ 10 h 22"/>
                  <a:gd name="T26" fmla="*/ 3 w 38"/>
                  <a:gd name="T27" fmla="*/ 11 h 22"/>
                  <a:gd name="T28" fmla="*/ 1 w 38"/>
                  <a:gd name="T29" fmla="*/ 11 h 22"/>
                  <a:gd name="T30" fmla="*/ 0 w 38"/>
                  <a:gd name="T31" fmla="*/ 11 h 22"/>
                  <a:gd name="T32" fmla="*/ 0 w 38"/>
                  <a:gd name="T33" fmla="*/ 14 h 22"/>
                  <a:gd name="T34" fmla="*/ 1 w 38"/>
                  <a:gd name="T35" fmla="*/ 17 h 22"/>
                  <a:gd name="T36" fmla="*/ 3 w 38"/>
                  <a:gd name="T37" fmla="*/ 19 h 22"/>
                  <a:gd name="T38" fmla="*/ 5 w 38"/>
                  <a:gd name="T39" fmla="*/ 20 h 22"/>
                  <a:gd name="T40" fmla="*/ 11 w 38"/>
                  <a:gd name="T41" fmla="*/ 22 h 22"/>
                  <a:gd name="T42" fmla="*/ 13 w 38"/>
                  <a:gd name="T43" fmla="*/ 22 h 22"/>
                  <a:gd name="T44" fmla="*/ 13 w 38"/>
                  <a:gd name="T45" fmla="*/ 22 h 22"/>
                  <a:gd name="T46" fmla="*/ 13 w 38"/>
                  <a:gd name="T47" fmla="*/ 20 h 22"/>
                  <a:gd name="T48" fmla="*/ 14 w 38"/>
                  <a:gd name="T49" fmla="*/ 20 h 22"/>
                  <a:gd name="T50" fmla="*/ 14 w 38"/>
                  <a:gd name="T51" fmla="*/ 19 h 22"/>
                  <a:gd name="T52" fmla="*/ 15 w 38"/>
                  <a:gd name="T53" fmla="*/ 19 h 22"/>
                  <a:gd name="T54" fmla="*/ 18 w 38"/>
                  <a:gd name="T55" fmla="*/ 19 h 22"/>
                  <a:gd name="T56" fmla="*/ 20 w 38"/>
                  <a:gd name="T57" fmla="*/ 17 h 22"/>
                  <a:gd name="T58" fmla="*/ 21 w 38"/>
                  <a:gd name="T59" fmla="*/ 17 h 22"/>
                  <a:gd name="T60" fmla="*/ 24 w 38"/>
                  <a:gd name="T61" fmla="*/ 14 h 22"/>
                  <a:gd name="T62" fmla="*/ 24 w 38"/>
                  <a:gd name="T63" fmla="*/ 14 h 22"/>
                  <a:gd name="T64" fmla="*/ 26 w 38"/>
                  <a:gd name="T65" fmla="*/ 13 h 22"/>
                  <a:gd name="T66" fmla="*/ 28 w 38"/>
                  <a:gd name="T67" fmla="*/ 13 h 22"/>
                  <a:gd name="T68" fmla="*/ 30 w 38"/>
                  <a:gd name="T69" fmla="*/ 13 h 22"/>
                  <a:gd name="T70" fmla="*/ 28 w 38"/>
                  <a:gd name="T71" fmla="*/ 10 h 22"/>
                  <a:gd name="T72" fmla="*/ 28 w 38"/>
                  <a:gd name="T73" fmla="*/ 9 h 22"/>
                  <a:gd name="T74" fmla="*/ 28 w 38"/>
                  <a:gd name="T75" fmla="*/ 7 h 22"/>
                  <a:gd name="T76" fmla="*/ 31 w 38"/>
                  <a:gd name="T77"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 h="22">
                    <a:moveTo>
                      <a:pt x="31" y="4"/>
                    </a:moveTo>
                    <a:lnTo>
                      <a:pt x="37" y="1"/>
                    </a:lnTo>
                    <a:lnTo>
                      <a:pt x="38" y="0"/>
                    </a:lnTo>
                    <a:lnTo>
                      <a:pt x="36" y="1"/>
                    </a:lnTo>
                    <a:lnTo>
                      <a:pt x="26" y="6"/>
                    </a:lnTo>
                    <a:lnTo>
                      <a:pt x="23" y="6"/>
                    </a:lnTo>
                    <a:lnTo>
                      <a:pt x="18" y="6"/>
                    </a:lnTo>
                    <a:lnTo>
                      <a:pt x="14" y="6"/>
                    </a:lnTo>
                    <a:lnTo>
                      <a:pt x="11" y="6"/>
                    </a:lnTo>
                    <a:lnTo>
                      <a:pt x="10" y="7"/>
                    </a:lnTo>
                    <a:lnTo>
                      <a:pt x="10" y="9"/>
                    </a:lnTo>
                    <a:lnTo>
                      <a:pt x="8" y="9"/>
                    </a:lnTo>
                    <a:lnTo>
                      <a:pt x="7" y="10"/>
                    </a:lnTo>
                    <a:lnTo>
                      <a:pt x="3" y="11"/>
                    </a:lnTo>
                    <a:lnTo>
                      <a:pt x="1" y="11"/>
                    </a:lnTo>
                    <a:lnTo>
                      <a:pt x="0" y="11"/>
                    </a:lnTo>
                    <a:lnTo>
                      <a:pt x="0" y="14"/>
                    </a:lnTo>
                    <a:lnTo>
                      <a:pt x="1" y="17"/>
                    </a:lnTo>
                    <a:lnTo>
                      <a:pt x="3" y="19"/>
                    </a:lnTo>
                    <a:lnTo>
                      <a:pt x="5" y="20"/>
                    </a:lnTo>
                    <a:lnTo>
                      <a:pt x="11" y="22"/>
                    </a:lnTo>
                    <a:lnTo>
                      <a:pt x="13" y="22"/>
                    </a:lnTo>
                    <a:lnTo>
                      <a:pt x="13" y="22"/>
                    </a:lnTo>
                    <a:lnTo>
                      <a:pt x="13" y="20"/>
                    </a:lnTo>
                    <a:lnTo>
                      <a:pt x="14" y="20"/>
                    </a:lnTo>
                    <a:lnTo>
                      <a:pt x="14" y="19"/>
                    </a:lnTo>
                    <a:lnTo>
                      <a:pt x="15" y="19"/>
                    </a:lnTo>
                    <a:lnTo>
                      <a:pt x="18" y="19"/>
                    </a:lnTo>
                    <a:lnTo>
                      <a:pt x="20" y="17"/>
                    </a:lnTo>
                    <a:lnTo>
                      <a:pt x="21" y="17"/>
                    </a:lnTo>
                    <a:lnTo>
                      <a:pt x="24" y="14"/>
                    </a:lnTo>
                    <a:lnTo>
                      <a:pt x="24" y="14"/>
                    </a:lnTo>
                    <a:lnTo>
                      <a:pt x="26" y="13"/>
                    </a:lnTo>
                    <a:lnTo>
                      <a:pt x="28" y="13"/>
                    </a:lnTo>
                    <a:lnTo>
                      <a:pt x="30" y="13"/>
                    </a:lnTo>
                    <a:lnTo>
                      <a:pt x="28" y="10"/>
                    </a:lnTo>
                    <a:lnTo>
                      <a:pt x="28" y="9"/>
                    </a:lnTo>
                    <a:lnTo>
                      <a:pt x="28" y="7"/>
                    </a:lnTo>
                    <a:lnTo>
                      <a:pt x="31" y="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77" name="Freeform 83">
                <a:extLst>
                  <a:ext uri="{FF2B5EF4-FFF2-40B4-BE49-F238E27FC236}">
                    <a16:creationId xmlns:a16="http://schemas.microsoft.com/office/drawing/2014/main" id="{42084421-CBE2-70BD-CF0A-BBC4BB16EF64}"/>
                  </a:ext>
                </a:extLst>
              </p:cNvPr>
              <p:cNvSpPr>
                <a:spLocks noEditPoints="1"/>
              </p:cNvSpPr>
              <p:nvPr/>
            </p:nvSpPr>
            <p:spPr bwMode="auto">
              <a:xfrm>
                <a:off x="3606" y="1642"/>
                <a:ext cx="69" cy="72"/>
              </a:xfrm>
              <a:custGeom>
                <a:avLst/>
                <a:gdLst>
                  <a:gd name="T0" fmla="*/ 52 w 69"/>
                  <a:gd name="T1" fmla="*/ 3 h 72"/>
                  <a:gd name="T2" fmla="*/ 43 w 69"/>
                  <a:gd name="T3" fmla="*/ 5 h 72"/>
                  <a:gd name="T4" fmla="*/ 43 w 69"/>
                  <a:gd name="T5" fmla="*/ 3 h 72"/>
                  <a:gd name="T6" fmla="*/ 43 w 69"/>
                  <a:gd name="T7" fmla="*/ 5 h 72"/>
                  <a:gd name="T8" fmla="*/ 59 w 69"/>
                  <a:gd name="T9" fmla="*/ 0 h 72"/>
                  <a:gd name="T10" fmla="*/ 36 w 69"/>
                  <a:gd name="T11" fmla="*/ 5 h 72"/>
                  <a:gd name="T12" fmla="*/ 33 w 69"/>
                  <a:gd name="T13" fmla="*/ 5 h 72"/>
                  <a:gd name="T14" fmla="*/ 6 w 69"/>
                  <a:gd name="T15" fmla="*/ 57 h 72"/>
                  <a:gd name="T16" fmla="*/ 1 w 69"/>
                  <a:gd name="T17" fmla="*/ 58 h 72"/>
                  <a:gd name="T18" fmla="*/ 13 w 69"/>
                  <a:gd name="T19" fmla="*/ 59 h 72"/>
                  <a:gd name="T20" fmla="*/ 11 w 69"/>
                  <a:gd name="T21" fmla="*/ 57 h 72"/>
                  <a:gd name="T22" fmla="*/ 13 w 69"/>
                  <a:gd name="T23" fmla="*/ 48 h 72"/>
                  <a:gd name="T24" fmla="*/ 7 w 69"/>
                  <a:gd name="T25" fmla="*/ 48 h 72"/>
                  <a:gd name="T26" fmla="*/ 60 w 69"/>
                  <a:gd name="T27" fmla="*/ 5 h 72"/>
                  <a:gd name="T28" fmla="*/ 33 w 69"/>
                  <a:gd name="T29" fmla="*/ 13 h 72"/>
                  <a:gd name="T30" fmla="*/ 26 w 69"/>
                  <a:gd name="T31" fmla="*/ 18 h 72"/>
                  <a:gd name="T32" fmla="*/ 23 w 69"/>
                  <a:gd name="T33" fmla="*/ 23 h 72"/>
                  <a:gd name="T34" fmla="*/ 17 w 69"/>
                  <a:gd name="T35" fmla="*/ 36 h 72"/>
                  <a:gd name="T36" fmla="*/ 13 w 69"/>
                  <a:gd name="T37" fmla="*/ 46 h 72"/>
                  <a:gd name="T38" fmla="*/ 13 w 69"/>
                  <a:gd name="T39" fmla="*/ 51 h 72"/>
                  <a:gd name="T40" fmla="*/ 17 w 69"/>
                  <a:gd name="T41" fmla="*/ 54 h 72"/>
                  <a:gd name="T42" fmla="*/ 3 w 69"/>
                  <a:gd name="T43" fmla="*/ 51 h 72"/>
                  <a:gd name="T44" fmla="*/ 18 w 69"/>
                  <a:gd name="T45" fmla="*/ 57 h 72"/>
                  <a:gd name="T46" fmla="*/ 20 w 69"/>
                  <a:gd name="T47" fmla="*/ 54 h 72"/>
                  <a:gd name="T48" fmla="*/ 21 w 69"/>
                  <a:gd name="T49" fmla="*/ 54 h 72"/>
                  <a:gd name="T50" fmla="*/ 26 w 69"/>
                  <a:gd name="T51" fmla="*/ 54 h 72"/>
                  <a:gd name="T52" fmla="*/ 30 w 69"/>
                  <a:gd name="T53" fmla="*/ 54 h 72"/>
                  <a:gd name="T54" fmla="*/ 30 w 69"/>
                  <a:gd name="T55" fmla="*/ 55 h 72"/>
                  <a:gd name="T56" fmla="*/ 33 w 69"/>
                  <a:gd name="T57" fmla="*/ 58 h 72"/>
                  <a:gd name="T58" fmla="*/ 37 w 69"/>
                  <a:gd name="T59" fmla="*/ 58 h 72"/>
                  <a:gd name="T60" fmla="*/ 41 w 69"/>
                  <a:gd name="T61" fmla="*/ 68 h 72"/>
                  <a:gd name="T62" fmla="*/ 43 w 69"/>
                  <a:gd name="T63" fmla="*/ 72 h 72"/>
                  <a:gd name="T64" fmla="*/ 47 w 69"/>
                  <a:gd name="T65" fmla="*/ 72 h 72"/>
                  <a:gd name="T66" fmla="*/ 47 w 69"/>
                  <a:gd name="T67" fmla="*/ 68 h 72"/>
                  <a:gd name="T68" fmla="*/ 46 w 69"/>
                  <a:gd name="T69" fmla="*/ 67 h 72"/>
                  <a:gd name="T70" fmla="*/ 46 w 69"/>
                  <a:gd name="T71" fmla="*/ 65 h 72"/>
                  <a:gd name="T72" fmla="*/ 49 w 69"/>
                  <a:gd name="T73" fmla="*/ 62 h 72"/>
                  <a:gd name="T74" fmla="*/ 50 w 69"/>
                  <a:gd name="T75" fmla="*/ 52 h 72"/>
                  <a:gd name="T76" fmla="*/ 47 w 69"/>
                  <a:gd name="T77" fmla="*/ 45 h 72"/>
                  <a:gd name="T78" fmla="*/ 59 w 69"/>
                  <a:gd name="T79" fmla="*/ 44 h 72"/>
                  <a:gd name="T80" fmla="*/ 60 w 69"/>
                  <a:gd name="T81" fmla="*/ 38 h 72"/>
                  <a:gd name="T82" fmla="*/ 63 w 69"/>
                  <a:gd name="T83" fmla="*/ 36 h 72"/>
                  <a:gd name="T84" fmla="*/ 60 w 69"/>
                  <a:gd name="T85" fmla="*/ 25 h 72"/>
                  <a:gd name="T86" fmla="*/ 66 w 69"/>
                  <a:gd name="T87" fmla="*/ 23 h 72"/>
                  <a:gd name="T88" fmla="*/ 26 w 69"/>
                  <a:gd name="T89" fmla="*/ 15 h 72"/>
                  <a:gd name="T90" fmla="*/ 24 w 69"/>
                  <a:gd name="T91" fmla="*/ 13 h 72"/>
                  <a:gd name="T92" fmla="*/ 30 w 69"/>
                  <a:gd name="T93" fmla="*/ 8 h 72"/>
                  <a:gd name="T94" fmla="*/ 29 w 69"/>
                  <a:gd name="T95"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9" h="72">
                    <a:moveTo>
                      <a:pt x="50" y="3"/>
                    </a:moveTo>
                    <a:lnTo>
                      <a:pt x="50" y="3"/>
                    </a:lnTo>
                    <a:lnTo>
                      <a:pt x="50" y="3"/>
                    </a:lnTo>
                    <a:lnTo>
                      <a:pt x="52" y="3"/>
                    </a:lnTo>
                    <a:lnTo>
                      <a:pt x="53" y="2"/>
                    </a:lnTo>
                    <a:lnTo>
                      <a:pt x="52" y="3"/>
                    </a:lnTo>
                    <a:lnTo>
                      <a:pt x="50" y="3"/>
                    </a:lnTo>
                    <a:close/>
                    <a:moveTo>
                      <a:pt x="43" y="5"/>
                    </a:moveTo>
                    <a:lnTo>
                      <a:pt x="44" y="5"/>
                    </a:lnTo>
                    <a:lnTo>
                      <a:pt x="46" y="3"/>
                    </a:lnTo>
                    <a:lnTo>
                      <a:pt x="44" y="3"/>
                    </a:lnTo>
                    <a:lnTo>
                      <a:pt x="43" y="3"/>
                    </a:lnTo>
                    <a:lnTo>
                      <a:pt x="41" y="3"/>
                    </a:lnTo>
                    <a:lnTo>
                      <a:pt x="41" y="3"/>
                    </a:lnTo>
                    <a:lnTo>
                      <a:pt x="41" y="5"/>
                    </a:lnTo>
                    <a:lnTo>
                      <a:pt x="43" y="5"/>
                    </a:lnTo>
                    <a:close/>
                    <a:moveTo>
                      <a:pt x="60" y="0"/>
                    </a:moveTo>
                    <a:lnTo>
                      <a:pt x="62" y="0"/>
                    </a:lnTo>
                    <a:lnTo>
                      <a:pt x="60" y="0"/>
                    </a:lnTo>
                    <a:lnTo>
                      <a:pt x="59" y="0"/>
                    </a:lnTo>
                    <a:lnTo>
                      <a:pt x="59" y="0"/>
                    </a:lnTo>
                    <a:lnTo>
                      <a:pt x="59" y="0"/>
                    </a:lnTo>
                    <a:lnTo>
                      <a:pt x="60" y="0"/>
                    </a:lnTo>
                    <a:close/>
                    <a:moveTo>
                      <a:pt x="36" y="5"/>
                    </a:moveTo>
                    <a:lnTo>
                      <a:pt x="40" y="5"/>
                    </a:lnTo>
                    <a:lnTo>
                      <a:pt x="39" y="5"/>
                    </a:lnTo>
                    <a:lnTo>
                      <a:pt x="36" y="5"/>
                    </a:lnTo>
                    <a:lnTo>
                      <a:pt x="33" y="5"/>
                    </a:lnTo>
                    <a:lnTo>
                      <a:pt x="34" y="6"/>
                    </a:lnTo>
                    <a:lnTo>
                      <a:pt x="36" y="5"/>
                    </a:lnTo>
                    <a:close/>
                    <a:moveTo>
                      <a:pt x="11" y="57"/>
                    </a:moveTo>
                    <a:lnTo>
                      <a:pt x="6" y="57"/>
                    </a:lnTo>
                    <a:lnTo>
                      <a:pt x="4" y="55"/>
                    </a:lnTo>
                    <a:lnTo>
                      <a:pt x="3" y="55"/>
                    </a:lnTo>
                    <a:lnTo>
                      <a:pt x="0" y="55"/>
                    </a:lnTo>
                    <a:lnTo>
                      <a:pt x="1" y="58"/>
                    </a:lnTo>
                    <a:lnTo>
                      <a:pt x="3" y="59"/>
                    </a:lnTo>
                    <a:lnTo>
                      <a:pt x="7" y="59"/>
                    </a:lnTo>
                    <a:lnTo>
                      <a:pt x="10" y="59"/>
                    </a:lnTo>
                    <a:lnTo>
                      <a:pt x="13" y="59"/>
                    </a:lnTo>
                    <a:lnTo>
                      <a:pt x="14" y="58"/>
                    </a:lnTo>
                    <a:lnTo>
                      <a:pt x="16" y="55"/>
                    </a:lnTo>
                    <a:lnTo>
                      <a:pt x="14" y="57"/>
                    </a:lnTo>
                    <a:lnTo>
                      <a:pt x="11" y="57"/>
                    </a:lnTo>
                    <a:close/>
                    <a:moveTo>
                      <a:pt x="10" y="49"/>
                    </a:moveTo>
                    <a:lnTo>
                      <a:pt x="13" y="49"/>
                    </a:lnTo>
                    <a:lnTo>
                      <a:pt x="13" y="48"/>
                    </a:lnTo>
                    <a:lnTo>
                      <a:pt x="13" y="48"/>
                    </a:lnTo>
                    <a:lnTo>
                      <a:pt x="11" y="46"/>
                    </a:lnTo>
                    <a:lnTo>
                      <a:pt x="11" y="46"/>
                    </a:lnTo>
                    <a:lnTo>
                      <a:pt x="7" y="46"/>
                    </a:lnTo>
                    <a:lnTo>
                      <a:pt x="7" y="48"/>
                    </a:lnTo>
                    <a:lnTo>
                      <a:pt x="10" y="49"/>
                    </a:lnTo>
                    <a:close/>
                    <a:moveTo>
                      <a:pt x="66" y="8"/>
                    </a:moveTo>
                    <a:lnTo>
                      <a:pt x="62" y="5"/>
                    </a:lnTo>
                    <a:lnTo>
                      <a:pt x="60" y="5"/>
                    </a:lnTo>
                    <a:lnTo>
                      <a:pt x="57" y="5"/>
                    </a:lnTo>
                    <a:lnTo>
                      <a:pt x="49" y="5"/>
                    </a:lnTo>
                    <a:lnTo>
                      <a:pt x="41" y="8"/>
                    </a:lnTo>
                    <a:lnTo>
                      <a:pt x="33" y="13"/>
                    </a:lnTo>
                    <a:lnTo>
                      <a:pt x="27" y="18"/>
                    </a:lnTo>
                    <a:lnTo>
                      <a:pt x="26" y="18"/>
                    </a:lnTo>
                    <a:lnTo>
                      <a:pt x="26" y="18"/>
                    </a:lnTo>
                    <a:lnTo>
                      <a:pt x="26" y="18"/>
                    </a:lnTo>
                    <a:lnTo>
                      <a:pt x="24" y="19"/>
                    </a:lnTo>
                    <a:lnTo>
                      <a:pt x="24" y="19"/>
                    </a:lnTo>
                    <a:lnTo>
                      <a:pt x="23" y="21"/>
                    </a:lnTo>
                    <a:lnTo>
                      <a:pt x="23" y="23"/>
                    </a:lnTo>
                    <a:lnTo>
                      <a:pt x="21" y="29"/>
                    </a:lnTo>
                    <a:lnTo>
                      <a:pt x="20" y="32"/>
                    </a:lnTo>
                    <a:lnTo>
                      <a:pt x="18" y="35"/>
                    </a:lnTo>
                    <a:lnTo>
                      <a:pt x="17" y="36"/>
                    </a:lnTo>
                    <a:lnTo>
                      <a:pt x="13" y="41"/>
                    </a:lnTo>
                    <a:lnTo>
                      <a:pt x="13" y="42"/>
                    </a:lnTo>
                    <a:lnTo>
                      <a:pt x="11" y="45"/>
                    </a:lnTo>
                    <a:lnTo>
                      <a:pt x="13" y="46"/>
                    </a:lnTo>
                    <a:lnTo>
                      <a:pt x="14" y="48"/>
                    </a:lnTo>
                    <a:lnTo>
                      <a:pt x="16" y="49"/>
                    </a:lnTo>
                    <a:lnTo>
                      <a:pt x="14" y="49"/>
                    </a:lnTo>
                    <a:lnTo>
                      <a:pt x="13" y="51"/>
                    </a:lnTo>
                    <a:lnTo>
                      <a:pt x="11" y="51"/>
                    </a:lnTo>
                    <a:lnTo>
                      <a:pt x="13" y="51"/>
                    </a:lnTo>
                    <a:lnTo>
                      <a:pt x="16" y="52"/>
                    </a:lnTo>
                    <a:lnTo>
                      <a:pt x="17" y="54"/>
                    </a:lnTo>
                    <a:lnTo>
                      <a:pt x="14" y="52"/>
                    </a:lnTo>
                    <a:lnTo>
                      <a:pt x="10" y="51"/>
                    </a:lnTo>
                    <a:lnTo>
                      <a:pt x="6" y="49"/>
                    </a:lnTo>
                    <a:lnTo>
                      <a:pt x="3" y="51"/>
                    </a:lnTo>
                    <a:lnTo>
                      <a:pt x="4" y="54"/>
                    </a:lnTo>
                    <a:lnTo>
                      <a:pt x="8" y="54"/>
                    </a:lnTo>
                    <a:lnTo>
                      <a:pt x="16" y="55"/>
                    </a:lnTo>
                    <a:lnTo>
                      <a:pt x="18" y="57"/>
                    </a:lnTo>
                    <a:lnTo>
                      <a:pt x="18" y="55"/>
                    </a:lnTo>
                    <a:lnTo>
                      <a:pt x="18" y="55"/>
                    </a:lnTo>
                    <a:lnTo>
                      <a:pt x="20" y="54"/>
                    </a:lnTo>
                    <a:lnTo>
                      <a:pt x="20" y="54"/>
                    </a:lnTo>
                    <a:lnTo>
                      <a:pt x="21" y="54"/>
                    </a:lnTo>
                    <a:lnTo>
                      <a:pt x="21" y="54"/>
                    </a:lnTo>
                    <a:lnTo>
                      <a:pt x="21" y="54"/>
                    </a:lnTo>
                    <a:lnTo>
                      <a:pt x="21" y="54"/>
                    </a:lnTo>
                    <a:lnTo>
                      <a:pt x="23" y="54"/>
                    </a:lnTo>
                    <a:lnTo>
                      <a:pt x="24" y="54"/>
                    </a:lnTo>
                    <a:lnTo>
                      <a:pt x="24" y="54"/>
                    </a:lnTo>
                    <a:lnTo>
                      <a:pt x="26" y="54"/>
                    </a:lnTo>
                    <a:lnTo>
                      <a:pt x="27" y="55"/>
                    </a:lnTo>
                    <a:lnTo>
                      <a:pt x="29" y="55"/>
                    </a:lnTo>
                    <a:lnTo>
                      <a:pt x="29" y="55"/>
                    </a:lnTo>
                    <a:lnTo>
                      <a:pt x="30" y="54"/>
                    </a:lnTo>
                    <a:lnTo>
                      <a:pt x="30" y="54"/>
                    </a:lnTo>
                    <a:lnTo>
                      <a:pt x="30" y="54"/>
                    </a:lnTo>
                    <a:lnTo>
                      <a:pt x="30" y="55"/>
                    </a:lnTo>
                    <a:lnTo>
                      <a:pt x="30" y="55"/>
                    </a:lnTo>
                    <a:lnTo>
                      <a:pt x="31" y="55"/>
                    </a:lnTo>
                    <a:lnTo>
                      <a:pt x="31" y="57"/>
                    </a:lnTo>
                    <a:lnTo>
                      <a:pt x="33" y="58"/>
                    </a:lnTo>
                    <a:lnTo>
                      <a:pt x="33" y="58"/>
                    </a:lnTo>
                    <a:lnTo>
                      <a:pt x="34" y="58"/>
                    </a:lnTo>
                    <a:lnTo>
                      <a:pt x="36" y="58"/>
                    </a:lnTo>
                    <a:lnTo>
                      <a:pt x="37" y="58"/>
                    </a:lnTo>
                    <a:lnTo>
                      <a:pt x="37" y="58"/>
                    </a:lnTo>
                    <a:lnTo>
                      <a:pt x="43" y="61"/>
                    </a:lnTo>
                    <a:lnTo>
                      <a:pt x="43" y="64"/>
                    </a:lnTo>
                    <a:lnTo>
                      <a:pt x="43" y="67"/>
                    </a:lnTo>
                    <a:lnTo>
                      <a:pt x="41" y="68"/>
                    </a:lnTo>
                    <a:lnTo>
                      <a:pt x="41" y="71"/>
                    </a:lnTo>
                    <a:lnTo>
                      <a:pt x="41" y="72"/>
                    </a:lnTo>
                    <a:lnTo>
                      <a:pt x="41" y="72"/>
                    </a:lnTo>
                    <a:lnTo>
                      <a:pt x="43" y="72"/>
                    </a:lnTo>
                    <a:lnTo>
                      <a:pt x="43" y="72"/>
                    </a:lnTo>
                    <a:lnTo>
                      <a:pt x="43" y="72"/>
                    </a:lnTo>
                    <a:lnTo>
                      <a:pt x="46" y="72"/>
                    </a:lnTo>
                    <a:lnTo>
                      <a:pt x="47" y="72"/>
                    </a:lnTo>
                    <a:lnTo>
                      <a:pt x="47" y="69"/>
                    </a:lnTo>
                    <a:lnTo>
                      <a:pt x="47" y="69"/>
                    </a:lnTo>
                    <a:lnTo>
                      <a:pt x="47" y="68"/>
                    </a:lnTo>
                    <a:lnTo>
                      <a:pt x="47" y="68"/>
                    </a:lnTo>
                    <a:lnTo>
                      <a:pt x="46" y="67"/>
                    </a:lnTo>
                    <a:lnTo>
                      <a:pt x="46" y="67"/>
                    </a:lnTo>
                    <a:lnTo>
                      <a:pt x="46" y="67"/>
                    </a:lnTo>
                    <a:lnTo>
                      <a:pt x="46" y="67"/>
                    </a:lnTo>
                    <a:lnTo>
                      <a:pt x="44" y="65"/>
                    </a:lnTo>
                    <a:lnTo>
                      <a:pt x="44" y="65"/>
                    </a:lnTo>
                    <a:lnTo>
                      <a:pt x="44" y="65"/>
                    </a:lnTo>
                    <a:lnTo>
                      <a:pt x="46" y="65"/>
                    </a:lnTo>
                    <a:lnTo>
                      <a:pt x="46" y="65"/>
                    </a:lnTo>
                    <a:lnTo>
                      <a:pt x="46" y="65"/>
                    </a:lnTo>
                    <a:lnTo>
                      <a:pt x="47" y="64"/>
                    </a:lnTo>
                    <a:lnTo>
                      <a:pt x="49" y="62"/>
                    </a:lnTo>
                    <a:lnTo>
                      <a:pt x="49" y="61"/>
                    </a:lnTo>
                    <a:lnTo>
                      <a:pt x="49" y="61"/>
                    </a:lnTo>
                    <a:lnTo>
                      <a:pt x="50" y="55"/>
                    </a:lnTo>
                    <a:lnTo>
                      <a:pt x="50" y="52"/>
                    </a:lnTo>
                    <a:lnTo>
                      <a:pt x="49" y="51"/>
                    </a:lnTo>
                    <a:lnTo>
                      <a:pt x="47" y="48"/>
                    </a:lnTo>
                    <a:lnTo>
                      <a:pt x="47" y="46"/>
                    </a:lnTo>
                    <a:lnTo>
                      <a:pt x="47" y="45"/>
                    </a:lnTo>
                    <a:lnTo>
                      <a:pt x="49" y="44"/>
                    </a:lnTo>
                    <a:lnTo>
                      <a:pt x="52" y="44"/>
                    </a:lnTo>
                    <a:lnTo>
                      <a:pt x="56" y="44"/>
                    </a:lnTo>
                    <a:lnTo>
                      <a:pt x="59" y="44"/>
                    </a:lnTo>
                    <a:lnTo>
                      <a:pt x="60" y="41"/>
                    </a:lnTo>
                    <a:lnTo>
                      <a:pt x="60" y="41"/>
                    </a:lnTo>
                    <a:lnTo>
                      <a:pt x="60" y="39"/>
                    </a:lnTo>
                    <a:lnTo>
                      <a:pt x="60" y="38"/>
                    </a:lnTo>
                    <a:lnTo>
                      <a:pt x="60" y="38"/>
                    </a:lnTo>
                    <a:lnTo>
                      <a:pt x="62" y="36"/>
                    </a:lnTo>
                    <a:lnTo>
                      <a:pt x="62" y="36"/>
                    </a:lnTo>
                    <a:lnTo>
                      <a:pt x="63" y="36"/>
                    </a:lnTo>
                    <a:lnTo>
                      <a:pt x="64" y="32"/>
                    </a:lnTo>
                    <a:lnTo>
                      <a:pt x="63" y="29"/>
                    </a:lnTo>
                    <a:lnTo>
                      <a:pt x="60" y="26"/>
                    </a:lnTo>
                    <a:lnTo>
                      <a:pt x="60" y="25"/>
                    </a:lnTo>
                    <a:lnTo>
                      <a:pt x="60" y="23"/>
                    </a:lnTo>
                    <a:lnTo>
                      <a:pt x="63" y="23"/>
                    </a:lnTo>
                    <a:lnTo>
                      <a:pt x="64" y="23"/>
                    </a:lnTo>
                    <a:lnTo>
                      <a:pt x="66" y="23"/>
                    </a:lnTo>
                    <a:lnTo>
                      <a:pt x="67" y="13"/>
                    </a:lnTo>
                    <a:lnTo>
                      <a:pt x="69" y="8"/>
                    </a:lnTo>
                    <a:lnTo>
                      <a:pt x="66" y="8"/>
                    </a:lnTo>
                    <a:close/>
                    <a:moveTo>
                      <a:pt x="26" y="15"/>
                    </a:moveTo>
                    <a:lnTo>
                      <a:pt x="27" y="13"/>
                    </a:lnTo>
                    <a:lnTo>
                      <a:pt x="27" y="11"/>
                    </a:lnTo>
                    <a:lnTo>
                      <a:pt x="26" y="12"/>
                    </a:lnTo>
                    <a:lnTo>
                      <a:pt x="24" y="13"/>
                    </a:lnTo>
                    <a:lnTo>
                      <a:pt x="24" y="15"/>
                    </a:lnTo>
                    <a:lnTo>
                      <a:pt x="26" y="15"/>
                    </a:lnTo>
                    <a:close/>
                    <a:moveTo>
                      <a:pt x="30" y="9"/>
                    </a:moveTo>
                    <a:lnTo>
                      <a:pt x="30" y="8"/>
                    </a:lnTo>
                    <a:lnTo>
                      <a:pt x="31" y="8"/>
                    </a:lnTo>
                    <a:lnTo>
                      <a:pt x="30" y="8"/>
                    </a:lnTo>
                    <a:lnTo>
                      <a:pt x="30" y="8"/>
                    </a:lnTo>
                    <a:lnTo>
                      <a:pt x="29" y="8"/>
                    </a:lnTo>
                    <a:lnTo>
                      <a:pt x="27" y="9"/>
                    </a:lnTo>
                    <a:lnTo>
                      <a:pt x="29" y="9"/>
                    </a:lnTo>
                    <a:lnTo>
                      <a:pt x="30" y="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78" name="Freeform 84">
                <a:extLst>
                  <a:ext uri="{FF2B5EF4-FFF2-40B4-BE49-F238E27FC236}">
                    <a16:creationId xmlns:a16="http://schemas.microsoft.com/office/drawing/2014/main" id="{8B8D59B6-FA07-FB6F-01BB-BEBDDE1C4A58}"/>
                  </a:ext>
                </a:extLst>
              </p:cNvPr>
              <p:cNvSpPr>
                <a:spLocks noEditPoints="1"/>
              </p:cNvSpPr>
              <p:nvPr/>
            </p:nvSpPr>
            <p:spPr bwMode="auto">
              <a:xfrm>
                <a:off x="3785" y="1819"/>
                <a:ext cx="104" cy="94"/>
              </a:xfrm>
              <a:custGeom>
                <a:avLst/>
                <a:gdLst>
                  <a:gd name="T0" fmla="*/ 69 w 104"/>
                  <a:gd name="T1" fmla="*/ 85 h 94"/>
                  <a:gd name="T2" fmla="*/ 84 w 104"/>
                  <a:gd name="T3" fmla="*/ 89 h 94"/>
                  <a:gd name="T4" fmla="*/ 65 w 104"/>
                  <a:gd name="T5" fmla="*/ 81 h 94"/>
                  <a:gd name="T6" fmla="*/ 88 w 104"/>
                  <a:gd name="T7" fmla="*/ 94 h 94"/>
                  <a:gd name="T8" fmla="*/ 65 w 104"/>
                  <a:gd name="T9" fmla="*/ 78 h 94"/>
                  <a:gd name="T10" fmla="*/ 55 w 104"/>
                  <a:gd name="T11" fmla="*/ 75 h 94"/>
                  <a:gd name="T12" fmla="*/ 58 w 104"/>
                  <a:gd name="T13" fmla="*/ 74 h 94"/>
                  <a:gd name="T14" fmla="*/ 55 w 104"/>
                  <a:gd name="T15" fmla="*/ 81 h 94"/>
                  <a:gd name="T16" fmla="*/ 59 w 104"/>
                  <a:gd name="T17" fmla="*/ 84 h 94"/>
                  <a:gd name="T18" fmla="*/ 64 w 104"/>
                  <a:gd name="T19" fmla="*/ 75 h 94"/>
                  <a:gd name="T20" fmla="*/ 43 w 104"/>
                  <a:gd name="T21" fmla="*/ 69 h 94"/>
                  <a:gd name="T22" fmla="*/ 31 w 104"/>
                  <a:gd name="T23" fmla="*/ 56 h 94"/>
                  <a:gd name="T24" fmla="*/ 35 w 104"/>
                  <a:gd name="T25" fmla="*/ 52 h 94"/>
                  <a:gd name="T26" fmla="*/ 23 w 104"/>
                  <a:gd name="T27" fmla="*/ 35 h 94"/>
                  <a:gd name="T28" fmla="*/ 12 w 104"/>
                  <a:gd name="T29" fmla="*/ 30 h 94"/>
                  <a:gd name="T30" fmla="*/ 2 w 104"/>
                  <a:gd name="T31" fmla="*/ 32 h 94"/>
                  <a:gd name="T32" fmla="*/ 6 w 104"/>
                  <a:gd name="T33" fmla="*/ 26 h 94"/>
                  <a:gd name="T34" fmla="*/ 8 w 104"/>
                  <a:gd name="T35" fmla="*/ 25 h 94"/>
                  <a:gd name="T36" fmla="*/ 16 w 104"/>
                  <a:gd name="T37" fmla="*/ 23 h 94"/>
                  <a:gd name="T38" fmla="*/ 19 w 104"/>
                  <a:gd name="T39" fmla="*/ 20 h 94"/>
                  <a:gd name="T40" fmla="*/ 25 w 104"/>
                  <a:gd name="T41" fmla="*/ 25 h 94"/>
                  <a:gd name="T42" fmla="*/ 32 w 104"/>
                  <a:gd name="T43" fmla="*/ 25 h 94"/>
                  <a:gd name="T44" fmla="*/ 32 w 104"/>
                  <a:gd name="T45" fmla="*/ 22 h 94"/>
                  <a:gd name="T46" fmla="*/ 31 w 104"/>
                  <a:gd name="T47" fmla="*/ 19 h 94"/>
                  <a:gd name="T48" fmla="*/ 38 w 104"/>
                  <a:gd name="T49" fmla="*/ 15 h 94"/>
                  <a:gd name="T50" fmla="*/ 43 w 104"/>
                  <a:gd name="T51" fmla="*/ 5 h 94"/>
                  <a:gd name="T52" fmla="*/ 48 w 104"/>
                  <a:gd name="T53" fmla="*/ 3 h 94"/>
                  <a:gd name="T54" fmla="*/ 52 w 104"/>
                  <a:gd name="T55" fmla="*/ 0 h 94"/>
                  <a:gd name="T56" fmla="*/ 76 w 104"/>
                  <a:gd name="T57" fmla="*/ 18 h 94"/>
                  <a:gd name="T58" fmla="*/ 88 w 104"/>
                  <a:gd name="T59" fmla="*/ 16 h 94"/>
                  <a:gd name="T60" fmla="*/ 95 w 104"/>
                  <a:gd name="T61" fmla="*/ 13 h 94"/>
                  <a:gd name="T62" fmla="*/ 97 w 104"/>
                  <a:gd name="T63" fmla="*/ 26 h 94"/>
                  <a:gd name="T64" fmla="*/ 101 w 104"/>
                  <a:gd name="T65" fmla="*/ 32 h 94"/>
                  <a:gd name="T66" fmla="*/ 95 w 104"/>
                  <a:gd name="T67" fmla="*/ 39 h 94"/>
                  <a:gd name="T68" fmla="*/ 85 w 104"/>
                  <a:gd name="T69" fmla="*/ 33 h 94"/>
                  <a:gd name="T70" fmla="*/ 61 w 104"/>
                  <a:gd name="T71" fmla="*/ 30 h 94"/>
                  <a:gd name="T72" fmla="*/ 55 w 104"/>
                  <a:gd name="T73" fmla="*/ 30 h 94"/>
                  <a:gd name="T74" fmla="*/ 51 w 104"/>
                  <a:gd name="T75" fmla="*/ 35 h 94"/>
                  <a:gd name="T76" fmla="*/ 42 w 104"/>
                  <a:gd name="T77" fmla="*/ 30 h 94"/>
                  <a:gd name="T78" fmla="*/ 42 w 104"/>
                  <a:gd name="T79" fmla="*/ 43 h 94"/>
                  <a:gd name="T80" fmla="*/ 49 w 104"/>
                  <a:gd name="T81" fmla="*/ 55 h 94"/>
                  <a:gd name="T82" fmla="*/ 66 w 104"/>
                  <a:gd name="T83" fmla="*/ 74 h 94"/>
                  <a:gd name="T84" fmla="*/ 32 w 104"/>
                  <a:gd name="T85" fmla="*/ 59 h 94"/>
                  <a:gd name="T86" fmla="*/ 33 w 104"/>
                  <a:gd name="T87" fmla="*/ 61 h 94"/>
                  <a:gd name="T88" fmla="*/ 20 w 104"/>
                  <a:gd name="T89" fmla="*/ 36 h 94"/>
                  <a:gd name="T90" fmla="*/ 18 w 104"/>
                  <a:gd name="T91" fmla="*/ 33 h 94"/>
                  <a:gd name="T92" fmla="*/ 15 w 104"/>
                  <a:gd name="T93" fmla="*/ 32 h 94"/>
                  <a:gd name="T94" fmla="*/ 15 w 104"/>
                  <a:gd name="T95" fmla="*/ 39 h 94"/>
                  <a:gd name="T96" fmla="*/ 15 w 104"/>
                  <a:gd name="T97" fmla="*/ 33 h 94"/>
                  <a:gd name="T98" fmla="*/ 22 w 104"/>
                  <a:gd name="T99" fmla="*/ 39 h 94"/>
                  <a:gd name="T100" fmla="*/ 25 w 104"/>
                  <a:gd name="T101" fmla="*/ 48 h 94"/>
                  <a:gd name="T102" fmla="*/ 22 w 104"/>
                  <a:gd name="T103" fmla="*/ 43 h 94"/>
                  <a:gd name="T104" fmla="*/ 29 w 104"/>
                  <a:gd name="T105" fmla="*/ 56 h 94"/>
                  <a:gd name="T106" fmla="*/ 31 w 104"/>
                  <a:gd name="T107" fmla="*/ 58 h 94"/>
                  <a:gd name="T108" fmla="*/ 29 w 104"/>
                  <a:gd name="T109" fmla="*/ 59 h 94"/>
                  <a:gd name="T110" fmla="*/ 26 w 104"/>
                  <a:gd name="T111" fmla="*/ 5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4" h="94">
                    <a:moveTo>
                      <a:pt x="71" y="86"/>
                    </a:moveTo>
                    <a:lnTo>
                      <a:pt x="74" y="86"/>
                    </a:lnTo>
                    <a:lnTo>
                      <a:pt x="75" y="88"/>
                    </a:lnTo>
                    <a:lnTo>
                      <a:pt x="68" y="85"/>
                    </a:lnTo>
                    <a:lnTo>
                      <a:pt x="69" y="85"/>
                    </a:lnTo>
                    <a:lnTo>
                      <a:pt x="71" y="86"/>
                    </a:lnTo>
                    <a:close/>
                    <a:moveTo>
                      <a:pt x="87" y="92"/>
                    </a:moveTo>
                    <a:lnTo>
                      <a:pt x="87" y="92"/>
                    </a:lnTo>
                    <a:lnTo>
                      <a:pt x="87" y="91"/>
                    </a:lnTo>
                    <a:lnTo>
                      <a:pt x="84" y="89"/>
                    </a:lnTo>
                    <a:lnTo>
                      <a:pt x="76" y="84"/>
                    </a:lnTo>
                    <a:lnTo>
                      <a:pt x="74" y="84"/>
                    </a:lnTo>
                    <a:lnTo>
                      <a:pt x="74" y="85"/>
                    </a:lnTo>
                    <a:lnTo>
                      <a:pt x="68" y="82"/>
                    </a:lnTo>
                    <a:lnTo>
                      <a:pt x="65" y="81"/>
                    </a:lnTo>
                    <a:lnTo>
                      <a:pt x="62" y="81"/>
                    </a:lnTo>
                    <a:lnTo>
                      <a:pt x="69" y="84"/>
                    </a:lnTo>
                    <a:lnTo>
                      <a:pt x="75" y="86"/>
                    </a:lnTo>
                    <a:lnTo>
                      <a:pt x="88" y="94"/>
                    </a:lnTo>
                    <a:lnTo>
                      <a:pt x="88" y="94"/>
                    </a:lnTo>
                    <a:lnTo>
                      <a:pt x="87" y="92"/>
                    </a:lnTo>
                    <a:close/>
                    <a:moveTo>
                      <a:pt x="51" y="76"/>
                    </a:moveTo>
                    <a:lnTo>
                      <a:pt x="53" y="76"/>
                    </a:lnTo>
                    <a:lnTo>
                      <a:pt x="58" y="76"/>
                    </a:lnTo>
                    <a:lnTo>
                      <a:pt x="65" y="78"/>
                    </a:lnTo>
                    <a:lnTo>
                      <a:pt x="61" y="79"/>
                    </a:lnTo>
                    <a:lnTo>
                      <a:pt x="58" y="78"/>
                    </a:lnTo>
                    <a:lnTo>
                      <a:pt x="53" y="78"/>
                    </a:lnTo>
                    <a:lnTo>
                      <a:pt x="51" y="76"/>
                    </a:lnTo>
                    <a:close/>
                    <a:moveTo>
                      <a:pt x="55" y="75"/>
                    </a:moveTo>
                    <a:lnTo>
                      <a:pt x="52" y="75"/>
                    </a:lnTo>
                    <a:lnTo>
                      <a:pt x="52" y="74"/>
                    </a:lnTo>
                    <a:lnTo>
                      <a:pt x="52" y="72"/>
                    </a:lnTo>
                    <a:lnTo>
                      <a:pt x="55" y="72"/>
                    </a:lnTo>
                    <a:lnTo>
                      <a:pt x="58" y="74"/>
                    </a:lnTo>
                    <a:lnTo>
                      <a:pt x="59" y="74"/>
                    </a:lnTo>
                    <a:lnTo>
                      <a:pt x="58" y="75"/>
                    </a:lnTo>
                    <a:lnTo>
                      <a:pt x="55" y="75"/>
                    </a:lnTo>
                    <a:close/>
                    <a:moveTo>
                      <a:pt x="56" y="84"/>
                    </a:moveTo>
                    <a:lnTo>
                      <a:pt x="55" y="81"/>
                    </a:lnTo>
                    <a:lnTo>
                      <a:pt x="58" y="82"/>
                    </a:lnTo>
                    <a:lnTo>
                      <a:pt x="61" y="82"/>
                    </a:lnTo>
                    <a:lnTo>
                      <a:pt x="62" y="82"/>
                    </a:lnTo>
                    <a:lnTo>
                      <a:pt x="65" y="84"/>
                    </a:lnTo>
                    <a:lnTo>
                      <a:pt x="59" y="84"/>
                    </a:lnTo>
                    <a:lnTo>
                      <a:pt x="56" y="84"/>
                    </a:lnTo>
                    <a:close/>
                    <a:moveTo>
                      <a:pt x="72" y="81"/>
                    </a:moveTo>
                    <a:lnTo>
                      <a:pt x="72" y="82"/>
                    </a:lnTo>
                    <a:lnTo>
                      <a:pt x="69" y="81"/>
                    </a:lnTo>
                    <a:lnTo>
                      <a:pt x="64" y="75"/>
                    </a:lnTo>
                    <a:lnTo>
                      <a:pt x="61" y="72"/>
                    </a:lnTo>
                    <a:lnTo>
                      <a:pt x="59" y="72"/>
                    </a:lnTo>
                    <a:lnTo>
                      <a:pt x="52" y="69"/>
                    </a:lnTo>
                    <a:lnTo>
                      <a:pt x="46" y="69"/>
                    </a:lnTo>
                    <a:lnTo>
                      <a:pt x="43" y="69"/>
                    </a:lnTo>
                    <a:lnTo>
                      <a:pt x="42" y="68"/>
                    </a:lnTo>
                    <a:lnTo>
                      <a:pt x="41" y="66"/>
                    </a:lnTo>
                    <a:lnTo>
                      <a:pt x="39" y="64"/>
                    </a:lnTo>
                    <a:lnTo>
                      <a:pt x="33" y="59"/>
                    </a:lnTo>
                    <a:lnTo>
                      <a:pt x="31" y="56"/>
                    </a:lnTo>
                    <a:lnTo>
                      <a:pt x="29" y="53"/>
                    </a:lnTo>
                    <a:lnTo>
                      <a:pt x="31" y="52"/>
                    </a:lnTo>
                    <a:lnTo>
                      <a:pt x="32" y="52"/>
                    </a:lnTo>
                    <a:lnTo>
                      <a:pt x="33" y="52"/>
                    </a:lnTo>
                    <a:lnTo>
                      <a:pt x="35" y="52"/>
                    </a:lnTo>
                    <a:lnTo>
                      <a:pt x="28" y="46"/>
                    </a:lnTo>
                    <a:lnTo>
                      <a:pt x="26" y="43"/>
                    </a:lnTo>
                    <a:lnTo>
                      <a:pt x="25" y="39"/>
                    </a:lnTo>
                    <a:lnTo>
                      <a:pt x="23" y="36"/>
                    </a:lnTo>
                    <a:lnTo>
                      <a:pt x="23" y="35"/>
                    </a:lnTo>
                    <a:lnTo>
                      <a:pt x="22" y="33"/>
                    </a:lnTo>
                    <a:lnTo>
                      <a:pt x="18" y="29"/>
                    </a:lnTo>
                    <a:lnTo>
                      <a:pt x="16" y="28"/>
                    </a:lnTo>
                    <a:lnTo>
                      <a:pt x="13" y="28"/>
                    </a:lnTo>
                    <a:lnTo>
                      <a:pt x="12" y="30"/>
                    </a:lnTo>
                    <a:lnTo>
                      <a:pt x="10" y="35"/>
                    </a:lnTo>
                    <a:lnTo>
                      <a:pt x="9" y="39"/>
                    </a:lnTo>
                    <a:lnTo>
                      <a:pt x="6" y="39"/>
                    </a:lnTo>
                    <a:lnTo>
                      <a:pt x="3" y="36"/>
                    </a:lnTo>
                    <a:lnTo>
                      <a:pt x="2" y="32"/>
                    </a:lnTo>
                    <a:lnTo>
                      <a:pt x="0" y="26"/>
                    </a:lnTo>
                    <a:lnTo>
                      <a:pt x="2" y="23"/>
                    </a:lnTo>
                    <a:lnTo>
                      <a:pt x="2" y="25"/>
                    </a:lnTo>
                    <a:lnTo>
                      <a:pt x="3" y="25"/>
                    </a:lnTo>
                    <a:lnTo>
                      <a:pt x="6" y="26"/>
                    </a:lnTo>
                    <a:lnTo>
                      <a:pt x="8" y="26"/>
                    </a:lnTo>
                    <a:lnTo>
                      <a:pt x="8" y="25"/>
                    </a:lnTo>
                    <a:lnTo>
                      <a:pt x="8" y="25"/>
                    </a:lnTo>
                    <a:lnTo>
                      <a:pt x="8" y="25"/>
                    </a:lnTo>
                    <a:lnTo>
                      <a:pt x="8" y="25"/>
                    </a:lnTo>
                    <a:lnTo>
                      <a:pt x="9" y="25"/>
                    </a:lnTo>
                    <a:lnTo>
                      <a:pt x="10" y="25"/>
                    </a:lnTo>
                    <a:lnTo>
                      <a:pt x="10" y="25"/>
                    </a:lnTo>
                    <a:lnTo>
                      <a:pt x="15" y="25"/>
                    </a:lnTo>
                    <a:lnTo>
                      <a:pt x="16" y="23"/>
                    </a:lnTo>
                    <a:lnTo>
                      <a:pt x="16" y="23"/>
                    </a:lnTo>
                    <a:lnTo>
                      <a:pt x="18" y="22"/>
                    </a:lnTo>
                    <a:lnTo>
                      <a:pt x="18" y="20"/>
                    </a:lnTo>
                    <a:lnTo>
                      <a:pt x="19" y="20"/>
                    </a:lnTo>
                    <a:lnTo>
                      <a:pt x="19" y="20"/>
                    </a:lnTo>
                    <a:lnTo>
                      <a:pt x="20" y="23"/>
                    </a:lnTo>
                    <a:lnTo>
                      <a:pt x="22" y="23"/>
                    </a:lnTo>
                    <a:lnTo>
                      <a:pt x="23" y="25"/>
                    </a:lnTo>
                    <a:lnTo>
                      <a:pt x="23" y="25"/>
                    </a:lnTo>
                    <a:lnTo>
                      <a:pt x="25" y="25"/>
                    </a:lnTo>
                    <a:lnTo>
                      <a:pt x="25" y="25"/>
                    </a:lnTo>
                    <a:lnTo>
                      <a:pt x="26" y="25"/>
                    </a:lnTo>
                    <a:lnTo>
                      <a:pt x="29" y="25"/>
                    </a:lnTo>
                    <a:lnTo>
                      <a:pt x="31" y="26"/>
                    </a:lnTo>
                    <a:lnTo>
                      <a:pt x="32" y="25"/>
                    </a:lnTo>
                    <a:lnTo>
                      <a:pt x="32" y="25"/>
                    </a:lnTo>
                    <a:lnTo>
                      <a:pt x="32" y="23"/>
                    </a:lnTo>
                    <a:lnTo>
                      <a:pt x="32" y="23"/>
                    </a:lnTo>
                    <a:lnTo>
                      <a:pt x="32" y="22"/>
                    </a:lnTo>
                    <a:lnTo>
                      <a:pt x="32" y="22"/>
                    </a:lnTo>
                    <a:lnTo>
                      <a:pt x="32" y="22"/>
                    </a:lnTo>
                    <a:lnTo>
                      <a:pt x="32" y="20"/>
                    </a:lnTo>
                    <a:lnTo>
                      <a:pt x="32" y="20"/>
                    </a:lnTo>
                    <a:lnTo>
                      <a:pt x="32" y="20"/>
                    </a:lnTo>
                    <a:lnTo>
                      <a:pt x="31" y="19"/>
                    </a:lnTo>
                    <a:lnTo>
                      <a:pt x="31" y="19"/>
                    </a:lnTo>
                    <a:lnTo>
                      <a:pt x="32" y="18"/>
                    </a:lnTo>
                    <a:lnTo>
                      <a:pt x="36" y="18"/>
                    </a:lnTo>
                    <a:lnTo>
                      <a:pt x="38" y="16"/>
                    </a:lnTo>
                    <a:lnTo>
                      <a:pt x="38" y="15"/>
                    </a:lnTo>
                    <a:lnTo>
                      <a:pt x="38" y="12"/>
                    </a:lnTo>
                    <a:lnTo>
                      <a:pt x="38" y="10"/>
                    </a:lnTo>
                    <a:lnTo>
                      <a:pt x="38" y="7"/>
                    </a:lnTo>
                    <a:lnTo>
                      <a:pt x="39" y="7"/>
                    </a:lnTo>
                    <a:lnTo>
                      <a:pt x="43" y="5"/>
                    </a:lnTo>
                    <a:lnTo>
                      <a:pt x="46" y="3"/>
                    </a:lnTo>
                    <a:lnTo>
                      <a:pt x="46" y="3"/>
                    </a:lnTo>
                    <a:lnTo>
                      <a:pt x="48" y="3"/>
                    </a:lnTo>
                    <a:lnTo>
                      <a:pt x="48" y="3"/>
                    </a:lnTo>
                    <a:lnTo>
                      <a:pt x="48" y="3"/>
                    </a:lnTo>
                    <a:lnTo>
                      <a:pt x="48" y="2"/>
                    </a:lnTo>
                    <a:lnTo>
                      <a:pt x="48" y="0"/>
                    </a:lnTo>
                    <a:lnTo>
                      <a:pt x="49" y="0"/>
                    </a:lnTo>
                    <a:lnTo>
                      <a:pt x="51" y="0"/>
                    </a:lnTo>
                    <a:lnTo>
                      <a:pt x="52" y="0"/>
                    </a:lnTo>
                    <a:lnTo>
                      <a:pt x="53" y="0"/>
                    </a:lnTo>
                    <a:lnTo>
                      <a:pt x="58" y="5"/>
                    </a:lnTo>
                    <a:lnTo>
                      <a:pt x="68" y="12"/>
                    </a:lnTo>
                    <a:lnTo>
                      <a:pt x="74" y="16"/>
                    </a:lnTo>
                    <a:lnTo>
                      <a:pt x="76" y="18"/>
                    </a:lnTo>
                    <a:lnTo>
                      <a:pt x="79" y="18"/>
                    </a:lnTo>
                    <a:lnTo>
                      <a:pt x="82" y="19"/>
                    </a:lnTo>
                    <a:lnTo>
                      <a:pt x="85" y="18"/>
                    </a:lnTo>
                    <a:lnTo>
                      <a:pt x="87" y="18"/>
                    </a:lnTo>
                    <a:lnTo>
                      <a:pt x="88" y="16"/>
                    </a:lnTo>
                    <a:lnTo>
                      <a:pt x="89" y="16"/>
                    </a:lnTo>
                    <a:lnTo>
                      <a:pt x="91" y="15"/>
                    </a:lnTo>
                    <a:lnTo>
                      <a:pt x="91" y="15"/>
                    </a:lnTo>
                    <a:lnTo>
                      <a:pt x="94" y="15"/>
                    </a:lnTo>
                    <a:lnTo>
                      <a:pt x="95" y="13"/>
                    </a:lnTo>
                    <a:lnTo>
                      <a:pt x="94" y="16"/>
                    </a:lnTo>
                    <a:lnTo>
                      <a:pt x="95" y="19"/>
                    </a:lnTo>
                    <a:lnTo>
                      <a:pt x="95" y="22"/>
                    </a:lnTo>
                    <a:lnTo>
                      <a:pt x="98" y="23"/>
                    </a:lnTo>
                    <a:lnTo>
                      <a:pt x="97" y="26"/>
                    </a:lnTo>
                    <a:lnTo>
                      <a:pt x="98" y="28"/>
                    </a:lnTo>
                    <a:lnTo>
                      <a:pt x="102" y="29"/>
                    </a:lnTo>
                    <a:lnTo>
                      <a:pt x="104" y="30"/>
                    </a:lnTo>
                    <a:lnTo>
                      <a:pt x="102" y="32"/>
                    </a:lnTo>
                    <a:lnTo>
                      <a:pt x="101" y="32"/>
                    </a:lnTo>
                    <a:lnTo>
                      <a:pt x="99" y="32"/>
                    </a:lnTo>
                    <a:lnTo>
                      <a:pt x="98" y="33"/>
                    </a:lnTo>
                    <a:lnTo>
                      <a:pt x="98" y="38"/>
                    </a:lnTo>
                    <a:lnTo>
                      <a:pt x="97" y="39"/>
                    </a:lnTo>
                    <a:lnTo>
                      <a:pt x="95" y="39"/>
                    </a:lnTo>
                    <a:lnTo>
                      <a:pt x="94" y="39"/>
                    </a:lnTo>
                    <a:lnTo>
                      <a:pt x="91" y="35"/>
                    </a:lnTo>
                    <a:lnTo>
                      <a:pt x="89" y="35"/>
                    </a:lnTo>
                    <a:lnTo>
                      <a:pt x="88" y="33"/>
                    </a:lnTo>
                    <a:lnTo>
                      <a:pt x="85" y="33"/>
                    </a:lnTo>
                    <a:lnTo>
                      <a:pt x="78" y="33"/>
                    </a:lnTo>
                    <a:lnTo>
                      <a:pt x="65" y="32"/>
                    </a:lnTo>
                    <a:lnTo>
                      <a:pt x="64" y="32"/>
                    </a:lnTo>
                    <a:lnTo>
                      <a:pt x="62" y="30"/>
                    </a:lnTo>
                    <a:lnTo>
                      <a:pt x="61" y="30"/>
                    </a:lnTo>
                    <a:lnTo>
                      <a:pt x="59" y="29"/>
                    </a:lnTo>
                    <a:lnTo>
                      <a:pt x="59" y="30"/>
                    </a:lnTo>
                    <a:lnTo>
                      <a:pt x="56" y="30"/>
                    </a:lnTo>
                    <a:lnTo>
                      <a:pt x="55" y="30"/>
                    </a:lnTo>
                    <a:lnTo>
                      <a:pt x="55" y="30"/>
                    </a:lnTo>
                    <a:lnTo>
                      <a:pt x="53" y="30"/>
                    </a:lnTo>
                    <a:lnTo>
                      <a:pt x="52" y="32"/>
                    </a:lnTo>
                    <a:lnTo>
                      <a:pt x="52" y="32"/>
                    </a:lnTo>
                    <a:lnTo>
                      <a:pt x="51" y="33"/>
                    </a:lnTo>
                    <a:lnTo>
                      <a:pt x="51" y="35"/>
                    </a:lnTo>
                    <a:lnTo>
                      <a:pt x="49" y="35"/>
                    </a:lnTo>
                    <a:lnTo>
                      <a:pt x="48" y="35"/>
                    </a:lnTo>
                    <a:lnTo>
                      <a:pt x="46" y="33"/>
                    </a:lnTo>
                    <a:lnTo>
                      <a:pt x="45" y="32"/>
                    </a:lnTo>
                    <a:lnTo>
                      <a:pt x="42" y="30"/>
                    </a:lnTo>
                    <a:lnTo>
                      <a:pt x="41" y="32"/>
                    </a:lnTo>
                    <a:lnTo>
                      <a:pt x="39" y="35"/>
                    </a:lnTo>
                    <a:lnTo>
                      <a:pt x="39" y="38"/>
                    </a:lnTo>
                    <a:lnTo>
                      <a:pt x="41" y="41"/>
                    </a:lnTo>
                    <a:lnTo>
                      <a:pt x="42" y="43"/>
                    </a:lnTo>
                    <a:lnTo>
                      <a:pt x="45" y="46"/>
                    </a:lnTo>
                    <a:lnTo>
                      <a:pt x="46" y="49"/>
                    </a:lnTo>
                    <a:lnTo>
                      <a:pt x="46" y="51"/>
                    </a:lnTo>
                    <a:lnTo>
                      <a:pt x="48" y="53"/>
                    </a:lnTo>
                    <a:lnTo>
                      <a:pt x="49" y="55"/>
                    </a:lnTo>
                    <a:lnTo>
                      <a:pt x="51" y="58"/>
                    </a:lnTo>
                    <a:lnTo>
                      <a:pt x="64" y="69"/>
                    </a:lnTo>
                    <a:lnTo>
                      <a:pt x="66" y="72"/>
                    </a:lnTo>
                    <a:lnTo>
                      <a:pt x="66" y="72"/>
                    </a:lnTo>
                    <a:lnTo>
                      <a:pt x="66" y="74"/>
                    </a:lnTo>
                    <a:lnTo>
                      <a:pt x="66" y="75"/>
                    </a:lnTo>
                    <a:lnTo>
                      <a:pt x="68" y="76"/>
                    </a:lnTo>
                    <a:lnTo>
                      <a:pt x="72" y="81"/>
                    </a:lnTo>
                    <a:lnTo>
                      <a:pt x="72" y="81"/>
                    </a:lnTo>
                    <a:close/>
                    <a:moveTo>
                      <a:pt x="32" y="59"/>
                    </a:moveTo>
                    <a:lnTo>
                      <a:pt x="31" y="58"/>
                    </a:lnTo>
                    <a:lnTo>
                      <a:pt x="32" y="59"/>
                    </a:lnTo>
                    <a:lnTo>
                      <a:pt x="32" y="61"/>
                    </a:lnTo>
                    <a:lnTo>
                      <a:pt x="33" y="61"/>
                    </a:lnTo>
                    <a:lnTo>
                      <a:pt x="33" y="61"/>
                    </a:lnTo>
                    <a:lnTo>
                      <a:pt x="33" y="61"/>
                    </a:lnTo>
                    <a:lnTo>
                      <a:pt x="33" y="59"/>
                    </a:lnTo>
                    <a:lnTo>
                      <a:pt x="32" y="59"/>
                    </a:lnTo>
                    <a:close/>
                    <a:moveTo>
                      <a:pt x="19" y="35"/>
                    </a:moveTo>
                    <a:lnTo>
                      <a:pt x="20" y="36"/>
                    </a:lnTo>
                    <a:lnTo>
                      <a:pt x="22" y="36"/>
                    </a:lnTo>
                    <a:lnTo>
                      <a:pt x="23" y="36"/>
                    </a:lnTo>
                    <a:lnTo>
                      <a:pt x="20" y="33"/>
                    </a:lnTo>
                    <a:lnTo>
                      <a:pt x="19" y="30"/>
                    </a:lnTo>
                    <a:lnTo>
                      <a:pt x="18" y="33"/>
                    </a:lnTo>
                    <a:lnTo>
                      <a:pt x="16" y="33"/>
                    </a:lnTo>
                    <a:lnTo>
                      <a:pt x="18" y="35"/>
                    </a:lnTo>
                    <a:lnTo>
                      <a:pt x="19" y="35"/>
                    </a:lnTo>
                    <a:close/>
                    <a:moveTo>
                      <a:pt x="15" y="33"/>
                    </a:moveTo>
                    <a:lnTo>
                      <a:pt x="15" y="32"/>
                    </a:lnTo>
                    <a:lnTo>
                      <a:pt x="15" y="32"/>
                    </a:lnTo>
                    <a:lnTo>
                      <a:pt x="15" y="32"/>
                    </a:lnTo>
                    <a:lnTo>
                      <a:pt x="13" y="32"/>
                    </a:lnTo>
                    <a:lnTo>
                      <a:pt x="15" y="35"/>
                    </a:lnTo>
                    <a:lnTo>
                      <a:pt x="15" y="39"/>
                    </a:lnTo>
                    <a:lnTo>
                      <a:pt x="15" y="42"/>
                    </a:lnTo>
                    <a:lnTo>
                      <a:pt x="18" y="45"/>
                    </a:lnTo>
                    <a:lnTo>
                      <a:pt x="18" y="42"/>
                    </a:lnTo>
                    <a:lnTo>
                      <a:pt x="16" y="39"/>
                    </a:lnTo>
                    <a:lnTo>
                      <a:pt x="15" y="33"/>
                    </a:lnTo>
                    <a:close/>
                    <a:moveTo>
                      <a:pt x="22" y="42"/>
                    </a:moveTo>
                    <a:lnTo>
                      <a:pt x="23" y="42"/>
                    </a:lnTo>
                    <a:lnTo>
                      <a:pt x="23" y="42"/>
                    </a:lnTo>
                    <a:lnTo>
                      <a:pt x="23" y="41"/>
                    </a:lnTo>
                    <a:lnTo>
                      <a:pt x="22" y="39"/>
                    </a:lnTo>
                    <a:lnTo>
                      <a:pt x="22" y="39"/>
                    </a:lnTo>
                    <a:lnTo>
                      <a:pt x="20" y="41"/>
                    </a:lnTo>
                    <a:lnTo>
                      <a:pt x="20" y="41"/>
                    </a:lnTo>
                    <a:lnTo>
                      <a:pt x="22" y="42"/>
                    </a:lnTo>
                    <a:close/>
                    <a:moveTo>
                      <a:pt x="25" y="48"/>
                    </a:moveTo>
                    <a:lnTo>
                      <a:pt x="28" y="49"/>
                    </a:lnTo>
                    <a:lnTo>
                      <a:pt x="29" y="52"/>
                    </a:lnTo>
                    <a:lnTo>
                      <a:pt x="31" y="51"/>
                    </a:lnTo>
                    <a:lnTo>
                      <a:pt x="26" y="46"/>
                    </a:lnTo>
                    <a:lnTo>
                      <a:pt x="22" y="43"/>
                    </a:lnTo>
                    <a:lnTo>
                      <a:pt x="23" y="45"/>
                    </a:lnTo>
                    <a:lnTo>
                      <a:pt x="25" y="48"/>
                    </a:lnTo>
                    <a:close/>
                    <a:moveTo>
                      <a:pt x="31" y="58"/>
                    </a:moveTo>
                    <a:lnTo>
                      <a:pt x="29" y="56"/>
                    </a:lnTo>
                    <a:lnTo>
                      <a:pt x="29" y="56"/>
                    </a:lnTo>
                    <a:lnTo>
                      <a:pt x="28" y="55"/>
                    </a:lnTo>
                    <a:lnTo>
                      <a:pt x="28" y="56"/>
                    </a:lnTo>
                    <a:lnTo>
                      <a:pt x="29" y="56"/>
                    </a:lnTo>
                    <a:lnTo>
                      <a:pt x="29" y="58"/>
                    </a:lnTo>
                    <a:lnTo>
                      <a:pt x="31" y="58"/>
                    </a:lnTo>
                    <a:lnTo>
                      <a:pt x="31" y="58"/>
                    </a:lnTo>
                    <a:close/>
                    <a:moveTo>
                      <a:pt x="26" y="59"/>
                    </a:moveTo>
                    <a:lnTo>
                      <a:pt x="28" y="61"/>
                    </a:lnTo>
                    <a:lnTo>
                      <a:pt x="31" y="61"/>
                    </a:lnTo>
                    <a:lnTo>
                      <a:pt x="29" y="59"/>
                    </a:lnTo>
                    <a:lnTo>
                      <a:pt x="28" y="58"/>
                    </a:lnTo>
                    <a:lnTo>
                      <a:pt x="26" y="56"/>
                    </a:lnTo>
                    <a:lnTo>
                      <a:pt x="23" y="55"/>
                    </a:lnTo>
                    <a:lnTo>
                      <a:pt x="25" y="56"/>
                    </a:lnTo>
                    <a:lnTo>
                      <a:pt x="26" y="5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79" name="Freeform 85">
                <a:extLst>
                  <a:ext uri="{FF2B5EF4-FFF2-40B4-BE49-F238E27FC236}">
                    <a16:creationId xmlns:a16="http://schemas.microsoft.com/office/drawing/2014/main" id="{3D8E78BF-278B-1573-09C0-03F8BDB25F26}"/>
                  </a:ext>
                </a:extLst>
              </p:cNvPr>
              <p:cNvSpPr>
                <a:spLocks noEditPoints="1"/>
              </p:cNvSpPr>
              <p:nvPr/>
            </p:nvSpPr>
            <p:spPr bwMode="auto">
              <a:xfrm>
                <a:off x="3632" y="1149"/>
                <a:ext cx="459" cy="389"/>
              </a:xfrm>
              <a:custGeom>
                <a:avLst/>
                <a:gdLst>
                  <a:gd name="T0" fmla="*/ 237 w 459"/>
                  <a:gd name="T1" fmla="*/ 49 h 389"/>
                  <a:gd name="T2" fmla="*/ 254 w 459"/>
                  <a:gd name="T3" fmla="*/ 31 h 389"/>
                  <a:gd name="T4" fmla="*/ 274 w 459"/>
                  <a:gd name="T5" fmla="*/ 32 h 389"/>
                  <a:gd name="T6" fmla="*/ 303 w 459"/>
                  <a:gd name="T7" fmla="*/ 15 h 389"/>
                  <a:gd name="T8" fmla="*/ 324 w 459"/>
                  <a:gd name="T9" fmla="*/ 19 h 389"/>
                  <a:gd name="T10" fmla="*/ 175 w 459"/>
                  <a:gd name="T11" fmla="*/ 71 h 389"/>
                  <a:gd name="T12" fmla="*/ 175 w 459"/>
                  <a:gd name="T13" fmla="*/ 67 h 389"/>
                  <a:gd name="T14" fmla="*/ 149 w 459"/>
                  <a:gd name="T15" fmla="*/ 85 h 389"/>
                  <a:gd name="T16" fmla="*/ 145 w 459"/>
                  <a:gd name="T17" fmla="*/ 91 h 389"/>
                  <a:gd name="T18" fmla="*/ 113 w 459"/>
                  <a:gd name="T19" fmla="*/ 195 h 389"/>
                  <a:gd name="T20" fmla="*/ 127 w 459"/>
                  <a:gd name="T21" fmla="*/ 338 h 389"/>
                  <a:gd name="T22" fmla="*/ 130 w 459"/>
                  <a:gd name="T23" fmla="*/ 288 h 389"/>
                  <a:gd name="T24" fmla="*/ 139 w 459"/>
                  <a:gd name="T25" fmla="*/ 225 h 389"/>
                  <a:gd name="T26" fmla="*/ 172 w 459"/>
                  <a:gd name="T27" fmla="*/ 156 h 389"/>
                  <a:gd name="T28" fmla="*/ 208 w 459"/>
                  <a:gd name="T29" fmla="*/ 98 h 389"/>
                  <a:gd name="T30" fmla="*/ 238 w 459"/>
                  <a:gd name="T31" fmla="*/ 74 h 389"/>
                  <a:gd name="T32" fmla="*/ 293 w 459"/>
                  <a:gd name="T33" fmla="*/ 55 h 389"/>
                  <a:gd name="T34" fmla="*/ 366 w 459"/>
                  <a:gd name="T35" fmla="*/ 64 h 389"/>
                  <a:gd name="T36" fmla="*/ 399 w 459"/>
                  <a:gd name="T37" fmla="*/ 36 h 389"/>
                  <a:gd name="T38" fmla="*/ 432 w 459"/>
                  <a:gd name="T39" fmla="*/ 55 h 389"/>
                  <a:gd name="T40" fmla="*/ 448 w 459"/>
                  <a:gd name="T41" fmla="*/ 48 h 389"/>
                  <a:gd name="T42" fmla="*/ 458 w 459"/>
                  <a:gd name="T43" fmla="*/ 44 h 389"/>
                  <a:gd name="T44" fmla="*/ 423 w 459"/>
                  <a:gd name="T45" fmla="*/ 34 h 389"/>
                  <a:gd name="T46" fmla="*/ 445 w 459"/>
                  <a:gd name="T47" fmla="*/ 15 h 389"/>
                  <a:gd name="T48" fmla="*/ 409 w 459"/>
                  <a:gd name="T49" fmla="*/ 12 h 389"/>
                  <a:gd name="T50" fmla="*/ 385 w 459"/>
                  <a:gd name="T51" fmla="*/ 22 h 389"/>
                  <a:gd name="T52" fmla="*/ 354 w 459"/>
                  <a:gd name="T53" fmla="*/ 31 h 389"/>
                  <a:gd name="T54" fmla="*/ 349 w 459"/>
                  <a:gd name="T55" fmla="*/ 5 h 389"/>
                  <a:gd name="T56" fmla="*/ 324 w 459"/>
                  <a:gd name="T57" fmla="*/ 38 h 389"/>
                  <a:gd name="T58" fmla="*/ 293 w 459"/>
                  <a:gd name="T59" fmla="*/ 28 h 389"/>
                  <a:gd name="T60" fmla="*/ 277 w 459"/>
                  <a:gd name="T61" fmla="*/ 42 h 389"/>
                  <a:gd name="T62" fmla="*/ 257 w 459"/>
                  <a:gd name="T63" fmla="*/ 44 h 389"/>
                  <a:gd name="T64" fmla="*/ 231 w 459"/>
                  <a:gd name="T65" fmla="*/ 59 h 389"/>
                  <a:gd name="T66" fmla="*/ 201 w 459"/>
                  <a:gd name="T67" fmla="*/ 81 h 389"/>
                  <a:gd name="T68" fmla="*/ 182 w 459"/>
                  <a:gd name="T69" fmla="*/ 90 h 389"/>
                  <a:gd name="T70" fmla="*/ 189 w 459"/>
                  <a:gd name="T71" fmla="*/ 108 h 389"/>
                  <a:gd name="T72" fmla="*/ 156 w 459"/>
                  <a:gd name="T73" fmla="*/ 121 h 389"/>
                  <a:gd name="T74" fmla="*/ 158 w 459"/>
                  <a:gd name="T75" fmla="*/ 146 h 389"/>
                  <a:gd name="T76" fmla="*/ 133 w 459"/>
                  <a:gd name="T77" fmla="*/ 184 h 389"/>
                  <a:gd name="T78" fmla="*/ 120 w 459"/>
                  <a:gd name="T79" fmla="*/ 197 h 389"/>
                  <a:gd name="T80" fmla="*/ 107 w 459"/>
                  <a:gd name="T81" fmla="*/ 226 h 389"/>
                  <a:gd name="T82" fmla="*/ 90 w 459"/>
                  <a:gd name="T83" fmla="*/ 242 h 389"/>
                  <a:gd name="T84" fmla="*/ 63 w 459"/>
                  <a:gd name="T85" fmla="*/ 239 h 389"/>
                  <a:gd name="T86" fmla="*/ 34 w 459"/>
                  <a:gd name="T87" fmla="*/ 261 h 389"/>
                  <a:gd name="T88" fmla="*/ 36 w 459"/>
                  <a:gd name="T89" fmla="*/ 264 h 389"/>
                  <a:gd name="T90" fmla="*/ 11 w 459"/>
                  <a:gd name="T91" fmla="*/ 275 h 389"/>
                  <a:gd name="T92" fmla="*/ 10 w 459"/>
                  <a:gd name="T93" fmla="*/ 282 h 389"/>
                  <a:gd name="T94" fmla="*/ 27 w 459"/>
                  <a:gd name="T95" fmla="*/ 305 h 389"/>
                  <a:gd name="T96" fmla="*/ 40 w 459"/>
                  <a:gd name="T97" fmla="*/ 310 h 389"/>
                  <a:gd name="T98" fmla="*/ 13 w 459"/>
                  <a:gd name="T99" fmla="*/ 318 h 389"/>
                  <a:gd name="T100" fmla="*/ 38 w 459"/>
                  <a:gd name="T101" fmla="*/ 322 h 389"/>
                  <a:gd name="T102" fmla="*/ 23 w 459"/>
                  <a:gd name="T103" fmla="*/ 343 h 389"/>
                  <a:gd name="T104" fmla="*/ 21 w 459"/>
                  <a:gd name="T105" fmla="*/ 356 h 389"/>
                  <a:gd name="T106" fmla="*/ 13 w 459"/>
                  <a:gd name="T107" fmla="*/ 370 h 389"/>
                  <a:gd name="T108" fmla="*/ 46 w 459"/>
                  <a:gd name="T109" fmla="*/ 389 h 389"/>
                  <a:gd name="T110" fmla="*/ 99 w 459"/>
                  <a:gd name="T111" fmla="*/ 358 h 389"/>
                  <a:gd name="T112" fmla="*/ 117 w 459"/>
                  <a:gd name="T113" fmla="*/ 366 h 389"/>
                  <a:gd name="T114" fmla="*/ 53 w 459"/>
                  <a:gd name="T115" fmla="*/ 242 h 389"/>
                  <a:gd name="T116" fmla="*/ 179 w 459"/>
                  <a:gd name="T117" fmla="*/ 77 h 389"/>
                  <a:gd name="T118" fmla="*/ 192 w 459"/>
                  <a:gd name="T119" fmla="*/ 74 h 389"/>
                  <a:gd name="T120" fmla="*/ 191 w 459"/>
                  <a:gd name="T121" fmla="*/ 80 h 389"/>
                  <a:gd name="T122" fmla="*/ 221 w 459"/>
                  <a:gd name="T123" fmla="*/ 52 h 389"/>
                  <a:gd name="T124" fmla="*/ 231 w 459"/>
                  <a:gd name="T125" fmla="*/ 58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9" h="389">
                    <a:moveTo>
                      <a:pt x="337" y="15"/>
                    </a:moveTo>
                    <a:lnTo>
                      <a:pt x="339" y="16"/>
                    </a:lnTo>
                    <a:lnTo>
                      <a:pt x="337" y="19"/>
                    </a:lnTo>
                    <a:lnTo>
                      <a:pt x="334" y="19"/>
                    </a:lnTo>
                    <a:lnTo>
                      <a:pt x="333" y="18"/>
                    </a:lnTo>
                    <a:lnTo>
                      <a:pt x="331" y="15"/>
                    </a:lnTo>
                    <a:lnTo>
                      <a:pt x="333" y="13"/>
                    </a:lnTo>
                    <a:lnTo>
                      <a:pt x="336" y="13"/>
                    </a:lnTo>
                    <a:lnTo>
                      <a:pt x="337" y="15"/>
                    </a:lnTo>
                    <a:close/>
                    <a:moveTo>
                      <a:pt x="367" y="0"/>
                    </a:moveTo>
                    <a:lnTo>
                      <a:pt x="366" y="0"/>
                    </a:lnTo>
                    <a:lnTo>
                      <a:pt x="363" y="2"/>
                    </a:lnTo>
                    <a:lnTo>
                      <a:pt x="362" y="2"/>
                    </a:lnTo>
                    <a:lnTo>
                      <a:pt x="360" y="3"/>
                    </a:lnTo>
                    <a:lnTo>
                      <a:pt x="369" y="6"/>
                    </a:lnTo>
                    <a:lnTo>
                      <a:pt x="373" y="6"/>
                    </a:lnTo>
                    <a:lnTo>
                      <a:pt x="376" y="3"/>
                    </a:lnTo>
                    <a:lnTo>
                      <a:pt x="373" y="3"/>
                    </a:lnTo>
                    <a:lnTo>
                      <a:pt x="369" y="2"/>
                    </a:lnTo>
                    <a:lnTo>
                      <a:pt x="367" y="0"/>
                    </a:lnTo>
                    <a:close/>
                    <a:moveTo>
                      <a:pt x="237" y="49"/>
                    </a:moveTo>
                    <a:lnTo>
                      <a:pt x="240" y="49"/>
                    </a:lnTo>
                    <a:lnTo>
                      <a:pt x="242" y="49"/>
                    </a:lnTo>
                    <a:lnTo>
                      <a:pt x="245" y="49"/>
                    </a:lnTo>
                    <a:lnTo>
                      <a:pt x="245" y="48"/>
                    </a:lnTo>
                    <a:lnTo>
                      <a:pt x="248" y="45"/>
                    </a:lnTo>
                    <a:lnTo>
                      <a:pt x="250" y="45"/>
                    </a:lnTo>
                    <a:lnTo>
                      <a:pt x="254" y="44"/>
                    </a:lnTo>
                    <a:lnTo>
                      <a:pt x="255" y="42"/>
                    </a:lnTo>
                    <a:lnTo>
                      <a:pt x="257" y="41"/>
                    </a:lnTo>
                    <a:lnTo>
                      <a:pt x="258" y="39"/>
                    </a:lnTo>
                    <a:lnTo>
                      <a:pt x="260" y="38"/>
                    </a:lnTo>
                    <a:lnTo>
                      <a:pt x="260" y="36"/>
                    </a:lnTo>
                    <a:lnTo>
                      <a:pt x="258" y="35"/>
                    </a:lnTo>
                    <a:lnTo>
                      <a:pt x="258" y="35"/>
                    </a:lnTo>
                    <a:lnTo>
                      <a:pt x="257" y="36"/>
                    </a:lnTo>
                    <a:lnTo>
                      <a:pt x="257" y="36"/>
                    </a:lnTo>
                    <a:lnTo>
                      <a:pt x="255" y="36"/>
                    </a:lnTo>
                    <a:lnTo>
                      <a:pt x="255" y="35"/>
                    </a:lnTo>
                    <a:lnTo>
                      <a:pt x="254" y="35"/>
                    </a:lnTo>
                    <a:lnTo>
                      <a:pt x="254" y="32"/>
                    </a:lnTo>
                    <a:lnTo>
                      <a:pt x="254" y="31"/>
                    </a:lnTo>
                    <a:lnTo>
                      <a:pt x="252" y="29"/>
                    </a:lnTo>
                    <a:lnTo>
                      <a:pt x="252" y="29"/>
                    </a:lnTo>
                    <a:lnTo>
                      <a:pt x="251" y="32"/>
                    </a:lnTo>
                    <a:lnTo>
                      <a:pt x="251" y="32"/>
                    </a:lnTo>
                    <a:lnTo>
                      <a:pt x="251" y="35"/>
                    </a:lnTo>
                    <a:lnTo>
                      <a:pt x="251" y="35"/>
                    </a:lnTo>
                    <a:lnTo>
                      <a:pt x="250" y="35"/>
                    </a:lnTo>
                    <a:lnTo>
                      <a:pt x="247" y="38"/>
                    </a:lnTo>
                    <a:lnTo>
                      <a:pt x="245" y="39"/>
                    </a:lnTo>
                    <a:lnTo>
                      <a:pt x="244" y="41"/>
                    </a:lnTo>
                    <a:lnTo>
                      <a:pt x="244" y="42"/>
                    </a:lnTo>
                    <a:lnTo>
                      <a:pt x="244" y="44"/>
                    </a:lnTo>
                    <a:lnTo>
                      <a:pt x="241" y="44"/>
                    </a:lnTo>
                    <a:lnTo>
                      <a:pt x="238" y="45"/>
                    </a:lnTo>
                    <a:lnTo>
                      <a:pt x="235" y="46"/>
                    </a:lnTo>
                    <a:lnTo>
                      <a:pt x="234" y="48"/>
                    </a:lnTo>
                    <a:lnTo>
                      <a:pt x="234" y="49"/>
                    </a:lnTo>
                    <a:lnTo>
                      <a:pt x="237" y="49"/>
                    </a:lnTo>
                    <a:close/>
                    <a:moveTo>
                      <a:pt x="278" y="29"/>
                    </a:moveTo>
                    <a:lnTo>
                      <a:pt x="275" y="31"/>
                    </a:lnTo>
                    <a:lnTo>
                      <a:pt x="274" y="32"/>
                    </a:lnTo>
                    <a:lnTo>
                      <a:pt x="275" y="35"/>
                    </a:lnTo>
                    <a:lnTo>
                      <a:pt x="278" y="35"/>
                    </a:lnTo>
                    <a:lnTo>
                      <a:pt x="280" y="34"/>
                    </a:lnTo>
                    <a:lnTo>
                      <a:pt x="281" y="32"/>
                    </a:lnTo>
                    <a:lnTo>
                      <a:pt x="280" y="29"/>
                    </a:lnTo>
                    <a:lnTo>
                      <a:pt x="278" y="29"/>
                    </a:lnTo>
                    <a:close/>
                    <a:moveTo>
                      <a:pt x="324" y="15"/>
                    </a:moveTo>
                    <a:lnTo>
                      <a:pt x="326" y="13"/>
                    </a:lnTo>
                    <a:lnTo>
                      <a:pt x="327" y="12"/>
                    </a:lnTo>
                    <a:lnTo>
                      <a:pt x="327" y="11"/>
                    </a:lnTo>
                    <a:lnTo>
                      <a:pt x="324" y="11"/>
                    </a:lnTo>
                    <a:lnTo>
                      <a:pt x="318" y="13"/>
                    </a:lnTo>
                    <a:lnTo>
                      <a:pt x="316" y="13"/>
                    </a:lnTo>
                    <a:lnTo>
                      <a:pt x="311" y="13"/>
                    </a:lnTo>
                    <a:lnTo>
                      <a:pt x="310" y="13"/>
                    </a:lnTo>
                    <a:lnTo>
                      <a:pt x="308" y="13"/>
                    </a:lnTo>
                    <a:lnTo>
                      <a:pt x="307" y="15"/>
                    </a:lnTo>
                    <a:lnTo>
                      <a:pt x="307" y="15"/>
                    </a:lnTo>
                    <a:lnTo>
                      <a:pt x="304" y="15"/>
                    </a:lnTo>
                    <a:lnTo>
                      <a:pt x="303" y="15"/>
                    </a:lnTo>
                    <a:lnTo>
                      <a:pt x="303" y="15"/>
                    </a:lnTo>
                    <a:lnTo>
                      <a:pt x="306" y="18"/>
                    </a:lnTo>
                    <a:lnTo>
                      <a:pt x="308" y="19"/>
                    </a:lnTo>
                    <a:lnTo>
                      <a:pt x="311" y="19"/>
                    </a:lnTo>
                    <a:lnTo>
                      <a:pt x="314" y="19"/>
                    </a:lnTo>
                    <a:lnTo>
                      <a:pt x="316" y="18"/>
                    </a:lnTo>
                    <a:lnTo>
                      <a:pt x="317" y="18"/>
                    </a:lnTo>
                    <a:lnTo>
                      <a:pt x="318" y="18"/>
                    </a:lnTo>
                    <a:lnTo>
                      <a:pt x="320" y="18"/>
                    </a:lnTo>
                    <a:lnTo>
                      <a:pt x="324" y="15"/>
                    </a:lnTo>
                    <a:close/>
                    <a:moveTo>
                      <a:pt x="320" y="25"/>
                    </a:moveTo>
                    <a:lnTo>
                      <a:pt x="320" y="25"/>
                    </a:lnTo>
                    <a:lnTo>
                      <a:pt x="321" y="25"/>
                    </a:lnTo>
                    <a:lnTo>
                      <a:pt x="323" y="26"/>
                    </a:lnTo>
                    <a:lnTo>
                      <a:pt x="326" y="26"/>
                    </a:lnTo>
                    <a:lnTo>
                      <a:pt x="330" y="23"/>
                    </a:lnTo>
                    <a:lnTo>
                      <a:pt x="331" y="21"/>
                    </a:lnTo>
                    <a:lnTo>
                      <a:pt x="331" y="18"/>
                    </a:lnTo>
                    <a:lnTo>
                      <a:pt x="330" y="18"/>
                    </a:lnTo>
                    <a:lnTo>
                      <a:pt x="327" y="18"/>
                    </a:lnTo>
                    <a:lnTo>
                      <a:pt x="326" y="19"/>
                    </a:lnTo>
                    <a:lnTo>
                      <a:pt x="324" y="19"/>
                    </a:lnTo>
                    <a:lnTo>
                      <a:pt x="321" y="21"/>
                    </a:lnTo>
                    <a:lnTo>
                      <a:pt x="320" y="21"/>
                    </a:lnTo>
                    <a:lnTo>
                      <a:pt x="318" y="23"/>
                    </a:lnTo>
                    <a:lnTo>
                      <a:pt x="318" y="23"/>
                    </a:lnTo>
                    <a:lnTo>
                      <a:pt x="320" y="25"/>
                    </a:lnTo>
                    <a:close/>
                    <a:moveTo>
                      <a:pt x="264" y="29"/>
                    </a:moveTo>
                    <a:lnTo>
                      <a:pt x="261" y="28"/>
                    </a:lnTo>
                    <a:lnTo>
                      <a:pt x="261" y="29"/>
                    </a:lnTo>
                    <a:lnTo>
                      <a:pt x="261" y="31"/>
                    </a:lnTo>
                    <a:lnTo>
                      <a:pt x="262" y="34"/>
                    </a:lnTo>
                    <a:lnTo>
                      <a:pt x="264" y="35"/>
                    </a:lnTo>
                    <a:lnTo>
                      <a:pt x="267" y="35"/>
                    </a:lnTo>
                    <a:lnTo>
                      <a:pt x="268" y="35"/>
                    </a:lnTo>
                    <a:lnTo>
                      <a:pt x="268" y="34"/>
                    </a:lnTo>
                    <a:lnTo>
                      <a:pt x="267" y="32"/>
                    </a:lnTo>
                    <a:lnTo>
                      <a:pt x="265" y="31"/>
                    </a:lnTo>
                    <a:lnTo>
                      <a:pt x="264" y="29"/>
                    </a:lnTo>
                    <a:close/>
                    <a:moveTo>
                      <a:pt x="172" y="71"/>
                    </a:moveTo>
                    <a:lnTo>
                      <a:pt x="172" y="71"/>
                    </a:lnTo>
                    <a:lnTo>
                      <a:pt x="173" y="71"/>
                    </a:lnTo>
                    <a:lnTo>
                      <a:pt x="175" y="71"/>
                    </a:lnTo>
                    <a:lnTo>
                      <a:pt x="175" y="71"/>
                    </a:lnTo>
                    <a:lnTo>
                      <a:pt x="176" y="72"/>
                    </a:lnTo>
                    <a:lnTo>
                      <a:pt x="178" y="72"/>
                    </a:lnTo>
                    <a:lnTo>
                      <a:pt x="181" y="72"/>
                    </a:lnTo>
                    <a:lnTo>
                      <a:pt x="184" y="72"/>
                    </a:lnTo>
                    <a:lnTo>
                      <a:pt x="185" y="71"/>
                    </a:lnTo>
                    <a:lnTo>
                      <a:pt x="186" y="68"/>
                    </a:lnTo>
                    <a:lnTo>
                      <a:pt x="185" y="65"/>
                    </a:lnTo>
                    <a:lnTo>
                      <a:pt x="182" y="64"/>
                    </a:lnTo>
                    <a:lnTo>
                      <a:pt x="181" y="62"/>
                    </a:lnTo>
                    <a:lnTo>
                      <a:pt x="181" y="65"/>
                    </a:lnTo>
                    <a:lnTo>
                      <a:pt x="178" y="65"/>
                    </a:lnTo>
                    <a:lnTo>
                      <a:pt x="178" y="65"/>
                    </a:lnTo>
                    <a:lnTo>
                      <a:pt x="178" y="65"/>
                    </a:lnTo>
                    <a:lnTo>
                      <a:pt x="176" y="65"/>
                    </a:lnTo>
                    <a:lnTo>
                      <a:pt x="176" y="67"/>
                    </a:lnTo>
                    <a:lnTo>
                      <a:pt x="176" y="67"/>
                    </a:lnTo>
                    <a:lnTo>
                      <a:pt x="176" y="67"/>
                    </a:lnTo>
                    <a:lnTo>
                      <a:pt x="176" y="68"/>
                    </a:lnTo>
                    <a:lnTo>
                      <a:pt x="175" y="68"/>
                    </a:lnTo>
                    <a:lnTo>
                      <a:pt x="175" y="67"/>
                    </a:lnTo>
                    <a:lnTo>
                      <a:pt x="173" y="67"/>
                    </a:lnTo>
                    <a:lnTo>
                      <a:pt x="173" y="68"/>
                    </a:lnTo>
                    <a:lnTo>
                      <a:pt x="172" y="68"/>
                    </a:lnTo>
                    <a:lnTo>
                      <a:pt x="172" y="68"/>
                    </a:lnTo>
                    <a:lnTo>
                      <a:pt x="171" y="68"/>
                    </a:lnTo>
                    <a:lnTo>
                      <a:pt x="169" y="69"/>
                    </a:lnTo>
                    <a:lnTo>
                      <a:pt x="169" y="69"/>
                    </a:lnTo>
                    <a:lnTo>
                      <a:pt x="169" y="71"/>
                    </a:lnTo>
                    <a:lnTo>
                      <a:pt x="171" y="71"/>
                    </a:lnTo>
                    <a:lnTo>
                      <a:pt x="172" y="71"/>
                    </a:lnTo>
                    <a:close/>
                    <a:moveTo>
                      <a:pt x="162" y="81"/>
                    </a:moveTo>
                    <a:lnTo>
                      <a:pt x="163" y="82"/>
                    </a:lnTo>
                    <a:lnTo>
                      <a:pt x="162" y="84"/>
                    </a:lnTo>
                    <a:lnTo>
                      <a:pt x="158" y="85"/>
                    </a:lnTo>
                    <a:lnTo>
                      <a:pt x="155" y="87"/>
                    </a:lnTo>
                    <a:lnTo>
                      <a:pt x="152" y="87"/>
                    </a:lnTo>
                    <a:lnTo>
                      <a:pt x="150" y="88"/>
                    </a:lnTo>
                    <a:lnTo>
                      <a:pt x="149" y="88"/>
                    </a:lnTo>
                    <a:lnTo>
                      <a:pt x="148" y="88"/>
                    </a:lnTo>
                    <a:lnTo>
                      <a:pt x="148" y="87"/>
                    </a:lnTo>
                    <a:lnTo>
                      <a:pt x="149" y="85"/>
                    </a:lnTo>
                    <a:lnTo>
                      <a:pt x="149" y="85"/>
                    </a:lnTo>
                    <a:lnTo>
                      <a:pt x="150" y="84"/>
                    </a:lnTo>
                    <a:lnTo>
                      <a:pt x="150" y="84"/>
                    </a:lnTo>
                    <a:lnTo>
                      <a:pt x="153" y="82"/>
                    </a:lnTo>
                    <a:lnTo>
                      <a:pt x="155" y="81"/>
                    </a:lnTo>
                    <a:lnTo>
                      <a:pt x="158" y="81"/>
                    </a:lnTo>
                    <a:lnTo>
                      <a:pt x="159" y="81"/>
                    </a:lnTo>
                    <a:lnTo>
                      <a:pt x="162" y="81"/>
                    </a:lnTo>
                    <a:close/>
                    <a:moveTo>
                      <a:pt x="135" y="151"/>
                    </a:moveTo>
                    <a:lnTo>
                      <a:pt x="132" y="153"/>
                    </a:lnTo>
                    <a:lnTo>
                      <a:pt x="133" y="150"/>
                    </a:lnTo>
                    <a:lnTo>
                      <a:pt x="133" y="149"/>
                    </a:lnTo>
                    <a:lnTo>
                      <a:pt x="135" y="146"/>
                    </a:lnTo>
                    <a:lnTo>
                      <a:pt x="136" y="146"/>
                    </a:lnTo>
                    <a:lnTo>
                      <a:pt x="138" y="149"/>
                    </a:lnTo>
                    <a:lnTo>
                      <a:pt x="136" y="150"/>
                    </a:lnTo>
                    <a:lnTo>
                      <a:pt x="135" y="151"/>
                    </a:lnTo>
                    <a:close/>
                    <a:moveTo>
                      <a:pt x="142" y="91"/>
                    </a:moveTo>
                    <a:lnTo>
                      <a:pt x="140" y="94"/>
                    </a:lnTo>
                    <a:lnTo>
                      <a:pt x="143" y="92"/>
                    </a:lnTo>
                    <a:lnTo>
                      <a:pt x="145" y="91"/>
                    </a:lnTo>
                    <a:lnTo>
                      <a:pt x="146" y="90"/>
                    </a:lnTo>
                    <a:lnTo>
                      <a:pt x="146" y="88"/>
                    </a:lnTo>
                    <a:lnTo>
                      <a:pt x="145" y="87"/>
                    </a:lnTo>
                    <a:lnTo>
                      <a:pt x="143" y="88"/>
                    </a:lnTo>
                    <a:lnTo>
                      <a:pt x="142" y="91"/>
                    </a:lnTo>
                    <a:close/>
                    <a:moveTo>
                      <a:pt x="138" y="156"/>
                    </a:moveTo>
                    <a:lnTo>
                      <a:pt x="140" y="154"/>
                    </a:lnTo>
                    <a:lnTo>
                      <a:pt x="139" y="153"/>
                    </a:lnTo>
                    <a:lnTo>
                      <a:pt x="138" y="153"/>
                    </a:lnTo>
                    <a:lnTo>
                      <a:pt x="136" y="154"/>
                    </a:lnTo>
                    <a:lnTo>
                      <a:pt x="135" y="156"/>
                    </a:lnTo>
                    <a:lnTo>
                      <a:pt x="135" y="157"/>
                    </a:lnTo>
                    <a:lnTo>
                      <a:pt x="136" y="157"/>
                    </a:lnTo>
                    <a:lnTo>
                      <a:pt x="138" y="156"/>
                    </a:lnTo>
                    <a:close/>
                    <a:moveTo>
                      <a:pt x="109" y="192"/>
                    </a:moveTo>
                    <a:lnTo>
                      <a:pt x="106" y="193"/>
                    </a:lnTo>
                    <a:lnTo>
                      <a:pt x="105" y="196"/>
                    </a:lnTo>
                    <a:lnTo>
                      <a:pt x="106" y="196"/>
                    </a:lnTo>
                    <a:lnTo>
                      <a:pt x="110" y="196"/>
                    </a:lnTo>
                    <a:lnTo>
                      <a:pt x="112" y="196"/>
                    </a:lnTo>
                    <a:lnTo>
                      <a:pt x="113" y="195"/>
                    </a:lnTo>
                    <a:lnTo>
                      <a:pt x="112" y="192"/>
                    </a:lnTo>
                    <a:lnTo>
                      <a:pt x="109" y="192"/>
                    </a:lnTo>
                    <a:close/>
                    <a:moveTo>
                      <a:pt x="125" y="166"/>
                    </a:moveTo>
                    <a:lnTo>
                      <a:pt x="123" y="167"/>
                    </a:lnTo>
                    <a:lnTo>
                      <a:pt x="122" y="169"/>
                    </a:lnTo>
                    <a:lnTo>
                      <a:pt x="123" y="169"/>
                    </a:lnTo>
                    <a:lnTo>
                      <a:pt x="125" y="169"/>
                    </a:lnTo>
                    <a:lnTo>
                      <a:pt x="126" y="167"/>
                    </a:lnTo>
                    <a:lnTo>
                      <a:pt x="126" y="166"/>
                    </a:lnTo>
                    <a:lnTo>
                      <a:pt x="126" y="166"/>
                    </a:lnTo>
                    <a:lnTo>
                      <a:pt x="125" y="166"/>
                    </a:lnTo>
                    <a:close/>
                    <a:moveTo>
                      <a:pt x="119" y="366"/>
                    </a:moveTo>
                    <a:lnTo>
                      <a:pt x="120" y="363"/>
                    </a:lnTo>
                    <a:lnTo>
                      <a:pt x="122" y="360"/>
                    </a:lnTo>
                    <a:lnTo>
                      <a:pt x="122" y="357"/>
                    </a:lnTo>
                    <a:lnTo>
                      <a:pt x="122" y="351"/>
                    </a:lnTo>
                    <a:lnTo>
                      <a:pt x="120" y="348"/>
                    </a:lnTo>
                    <a:lnTo>
                      <a:pt x="122" y="347"/>
                    </a:lnTo>
                    <a:lnTo>
                      <a:pt x="125" y="341"/>
                    </a:lnTo>
                    <a:lnTo>
                      <a:pt x="126" y="340"/>
                    </a:lnTo>
                    <a:lnTo>
                      <a:pt x="127" y="338"/>
                    </a:lnTo>
                    <a:lnTo>
                      <a:pt x="130" y="338"/>
                    </a:lnTo>
                    <a:lnTo>
                      <a:pt x="133" y="337"/>
                    </a:lnTo>
                    <a:lnTo>
                      <a:pt x="135" y="334"/>
                    </a:lnTo>
                    <a:lnTo>
                      <a:pt x="136" y="330"/>
                    </a:lnTo>
                    <a:lnTo>
                      <a:pt x="136" y="324"/>
                    </a:lnTo>
                    <a:lnTo>
                      <a:pt x="135" y="320"/>
                    </a:lnTo>
                    <a:lnTo>
                      <a:pt x="132" y="311"/>
                    </a:lnTo>
                    <a:lnTo>
                      <a:pt x="132" y="310"/>
                    </a:lnTo>
                    <a:lnTo>
                      <a:pt x="132" y="308"/>
                    </a:lnTo>
                    <a:lnTo>
                      <a:pt x="133" y="308"/>
                    </a:lnTo>
                    <a:lnTo>
                      <a:pt x="135" y="308"/>
                    </a:lnTo>
                    <a:lnTo>
                      <a:pt x="136" y="308"/>
                    </a:lnTo>
                    <a:lnTo>
                      <a:pt x="138" y="307"/>
                    </a:lnTo>
                    <a:lnTo>
                      <a:pt x="139" y="307"/>
                    </a:lnTo>
                    <a:lnTo>
                      <a:pt x="140" y="304"/>
                    </a:lnTo>
                    <a:lnTo>
                      <a:pt x="142" y="301"/>
                    </a:lnTo>
                    <a:lnTo>
                      <a:pt x="142" y="299"/>
                    </a:lnTo>
                    <a:lnTo>
                      <a:pt x="140" y="297"/>
                    </a:lnTo>
                    <a:lnTo>
                      <a:pt x="139" y="295"/>
                    </a:lnTo>
                    <a:lnTo>
                      <a:pt x="132" y="289"/>
                    </a:lnTo>
                    <a:lnTo>
                      <a:pt x="130" y="288"/>
                    </a:lnTo>
                    <a:lnTo>
                      <a:pt x="130" y="285"/>
                    </a:lnTo>
                    <a:lnTo>
                      <a:pt x="132" y="276"/>
                    </a:lnTo>
                    <a:lnTo>
                      <a:pt x="132" y="274"/>
                    </a:lnTo>
                    <a:lnTo>
                      <a:pt x="132" y="271"/>
                    </a:lnTo>
                    <a:lnTo>
                      <a:pt x="129" y="264"/>
                    </a:lnTo>
                    <a:lnTo>
                      <a:pt x="129" y="255"/>
                    </a:lnTo>
                    <a:lnTo>
                      <a:pt x="129" y="255"/>
                    </a:lnTo>
                    <a:lnTo>
                      <a:pt x="130" y="253"/>
                    </a:lnTo>
                    <a:lnTo>
                      <a:pt x="130" y="253"/>
                    </a:lnTo>
                    <a:lnTo>
                      <a:pt x="130" y="252"/>
                    </a:lnTo>
                    <a:lnTo>
                      <a:pt x="129" y="252"/>
                    </a:lnTo>
                    <a:lnTo>
                      <a:pt x="129" y="251"/>
                    </a:lnTo>
                    <a:lnTo>
                      <a:pt x="127" y="246"/>
                    </a:lnTo>
                    <a:lnTo>
                      <a:pt x="127" y="245"/>
                    </a:lnTo>
                    <a:lnTo>
                      <a:pt x="129" y="239"/>
                    </a:lnTo>
                    <a:lnTo>
                      <a:pt x="130" y="236"/>
                    </a:lnTo>
                    <a:lnTo>
                      <a:pt x="130" y="235"/>
                    </a:lnTo>
                    <a:lnTo>
                      <a:pt x="130" y="235"/>
                    </a:lnTo>
                    <a:lnTo>
                      <a:pt x="133" y="230"/>
                    </a:lnTo>
                    <a:lnTo>
                      <a:pt x="138" y="228"/>
                    </a:lnTo>
                    <a:lnTo>
                      <a:pt x="139" y="225"/>
                    </a:lnTo>
                    <a:lnTo>
                      <a:pt x="140" y="223"/>
                    </a:lnTo>
                    <a:lnTo>
                      <a:pt x="143" y="222"/>
                    </a:lnTo>
                    <a:lnTo>
                      <a:pt x="146" y="222"/>
                    </a:lnTo>
                    <a:lnTo>
                      <a:pt x="148" y="222"/>
                    </a:lnTo>
                    <a:lnTo>
                      <a:pt x="150" y="222"/>
                    </a:lnTo>
                    <a:lnTo>
                      <a:pt x="156" y="223"/>
                    </a:lnTo>
                    <a:lnTo>
                      <a:pt x="159" y="223"/>
                    </a:lnTo>
                    <a:lnTo>
                      <a:pt x="162" y="222"/>
                    </a:lnTo>
                    <a:lnTo>
                      <a:pt x="163" y="220"/>
                    </a:lnTo>
                    <a:lnTo>
                      <a:pt x="165" y="218"/>
                    </a:lnTo>
                    <a:lnTo>
                      <a:pt x="165" y="215"/>
                    </a:lnTo>
                    <a:lnTo>
                      <a:pt x="163" y="212"/>
                    </a:lnTo>
                    <a:lnTo>
                      <a:pt x="162" y="209"/>
                    </a:lnTo>
                    <a:lnTo>
                      <a:pt x="161" y="207"/>
                    </a:lnTo>
                    <a:lnTo>
                      <a:pt x="156" y="205"/>
                    </a:lnTo>
                    <a:lnTo>
                      <a:pt x="163" y="193"/>
                    </a:lnTo>
                    <a:lnTo>
                      <a:pt x="168" y="186"/>
                    </a:lnTo>
                    <a:lnTo>
                      <a:pt x="171" y="180"/>
                    </a:lnTo>
                    <a:lnTo>
                      <a:pt x="172" y="172"/>
                    </a:lnTo>
                    <a:lnTo>
                      <a:pt x="172" y="164"/>
                    </a:lnTo>
                    <a:lnTo>
                      <a:pt x="172" y="156"/>
                    </a:lnTo>
                    <a:lnTo>
                      <a:pt x="171" y="149"/>
                    </a:lnTo>
                    <a:lnTo>
                      <a:pt x="181" y="147"/>
                    </a:lnTo>
                    <a:lnTo>
                      <a:pt x="185" y="146"/>
                    </a:lnTo>
                    <a:lnTo>
                      <a:pt x="188" y="141"/>
                    </a:lnTo>
                    <a:lnTo>
                      <a:pt x="188" y="140"/>
                    </a:lnTo>
                    <a:lnTo>
                      <a:pt x="186" y="137"/>
                    </a:lnTo>
                    <a:lnTo>
                      <a:pt x="186" y="136"/>
                    </a:lnTo>
                    <a:lnTo>
                      <a:pt x="188" y="136"/>
                    </a:lnTo>
                    <a:lnTo>
                      <a:pt x="188" y="134"/>
                    </a:lnTo>
                    <a:lnTo>
                      <a:pt x="188" y="134"/>
                    </a:lnTo>
                    <a:lnTo>
                      <a:pt x="195" y="126"/>
                    </a:lnTo>
                    <a:lnTo>
                      <a:pt x="201" y="121"/>
                    </a:lnTo>
                    <a:lnTo>
                      <a:pt x="204" y="118"/>
                    </a:lnTo>
                    <a:lnTo>
                      <a:pt x="205" y="114"/>
                    </a:lnTo>
                    <a:lnTo>
                      <a:pt x="204" y="111"/>
                    </a:lnTo>
                    <a:lnTo>
                      <a:pt x="201" y="108"/>
                    </a:lnTo>
                    <a:lnTo>
                      <a:pt x="199" y="105"/>
                    </a:lnTo>
                    <a:lnTo>
                      <a:pt x="202" y="103"/>
                    </a:lnTo>
                    <a:lnTo>
                      <a:pt x="205" y="101"/>
                    </a:lnTo>
                    <a:lnTo>
                      <a:pt x="206" y="100"/>
                    </a:lnTo>
                    <a:lnTo>
                      <a:pt x="208" y="98"/>
                    </a:lnTo>
                    <a:lnTo>
                      <a:pt x="208" y="97"/>
                    </a:lnTo>
                    <a:lnTo>
                      <a:pt x="209" y="92"/>
                    </a:lnTo>
                    <a:lnTo>
                      <a:pt x="211" y="91"/>
                    </a:lnTo>
                    <a:lnTo>
                      <a:pt x="212" y="90"/>
                    </a:lnTo>
                    <a:lnTo>
                      <a:pt x="214" y="90"/>
                    </a:lnTo>
                    <a:lnTo>
                      <a:pt x="219" y="87"/>
                    </a:lnTo>
                    <a:lnTo>
                      <a:pt x="221" y="87"/>
                    </a:lnTo>
                    <a:lnTo>
                      <a:pt x="222" y="87"/>
                    </a:lnTo>
                    <a:lnTo>
                      <a:pt x="228" y="88"/>
                    </a:lnTo>
                    <a:lnTo>
                      <a:pt x="229" y="88"/>
                    </a:lnTo>
                    <a:lnTo>
                      <a:pt x="232" y="88"/>
                    </a:lnTo>
                    <a:lnTo>
                      <a:pt x="234" y="87"/>
                    </a:lnTo>
                    <a:lnTo>
                      <a:pt x="234" y="85"/>
                    </a:lnTo>
                    <a:lnTo>
                      <a:pt x="235" y="84"/>
                    </a:lnTo>
                    <a:lnTo>
                      <a:pt x="235" y="82"/>
                    </a:lnTo>
                    <a:lnTo>
                      <a:pt x="235" y="80"/>
                    </a:lnTo>
                    <a:lnTo>
                      <a:pt x="235" y="78"/>
                    </a:lnTo>
                    <a:lnTo>
                      <a:pt x="234" y="75"/>
                    </a:lnTo>
                    <a:lnTo>
                      <a:pt x="235" y="74"/>
                    </a:lnTo>
                    <a:lnTo>
                      <a:pt x="237" y="74"/>
                    </a:lnTo>
                    <a:lnTo>
                      <a:pt x="238" y="74"/>
                    </a:lnTo>
                    <a:lnTo>
                      <a:pt x="252" y="75"/>
                    </a:lnTo>
                    <a:lnTo>
                      <a:pt x="261" y="78"/>
                    </a:lnTo>
                    <a:lnTo>
                      <a:pt x="264" y="78"/>
                    </a:lnTo>
                    <a:lnTo>
                      <a:pt x="268" y="78"/>
                    </a:lnTo>
                    <a:lnTo>
                      <a:pt x="271" y="75"/>
                    </a:lnTo>
                    <a:lnTo>
                      <a:pt x="267" y="74"/>
                    </a:lnTo>
                    <a:lnTo>
                      <a:pt x="271" y="71"/>
                    </a:lnTo>
                    <a:lnTo>
                      <a:pt x="273" y="68"/>
                    </a:lnTo>
                    <a:lnTo>
                      <a:pt x="273" y="65"/>
                    </a:lnTo>
                    <a:lnTo>
                      <a:pt x="270" y="62"/>
                    </a:lnTo>
                    <a:lnTo>
                      <a:pt x="278" y="61"/>
                    </a:lnTo>
                    <a:lnTo>
                      <a:pt x="280" y="61"/>
                    </a:lnTo>
                    <a:lnTo>
                      <a:pt x="285" y="61"/>
                    </a:lnTo>
                    <a:lnTo>
                      <a:pt x="287" y="61"/>
                    </a:lnTo>
                    <a:lnTo>
                      <a:pt x="287" y="59"/>
                    </a:lnTo>
                    <a:lnTo>
                      <a:pt x="287" y="59"/>
                    </a:lnTo>
                    <a:lnTo>
                      <a:pt x="287" y="58"/>
                    </a:lnTo>
                    <a:lnTo>
                      <a:pt x="287" y="57"/>
                    </a:lnTo>
                    <a:lnTo>
                      <a:pt x="288" y="57"/>
                    </a:lnTo>
                    <a:lnTo>
                      <a:pt x="290" y="55"/>
                    </a:lnTo>
                    <a:lnTo>
                      <a:pt x="293" y="55"/>
                    </a:lnTo>
                    <a:lnTo>
                      <a:pt x="296" y="57"/>
                    </a:lnTo>
                    <a:lnTo>
                      <a:pt x="297" y="58"/>
                    </a:lnTo>
                    <a:lnTo>
                      <a:pt x="306" y="64"/>
                    </a:lnTo>
                    <a:lnTo>
                      <a:pt x="307" y="65"/>
                    </a:lnTo>
                    <a:lnTo>
                      <a:pt x="308" y="67"/>
                    </a:lnTo>
                    <a:lnTo>
                      <a:pt x="308" y="68"/>
                    </a:lnTo>
                    <a:lnTo>
                      <a:pt x="310" y="69"/>
                    </a:lnTo>
                    <a:lnTo>
                      <a:pt x="311" y="69"/>
                    </a:lnTo>
                    <a:lnTo>
                      <a:pt x="326" y="71"/>
                    </a:lnTo>
                    <a:lnTo>
                      <a:pt x="329" y="71"/>
                    </a:lnTo>
                    <a:lnTo>
                      <a:pt x="331" y="69"/>
                    </a:lnTo>
                    <a:lnTo>
                      <a:pt x="334" y="68"/>
                    </a:lnTo>
                    <a:lnTo>
                      <a:pt x="336" y="68"/>
                    </a:lnTo>
                    <a:lnTo>
                      <a:pt x="337" y="68"/>
                    </a:lnTo>
                    <a:lnTo>
                      <a:pt x="353" y="72"/>
                    </a:lnTo>
                    <a:lnTo>
                      <a:pt x="354" y="72"/>
                    </a:lnTo>
                    <a:lnTo>
                      <a:pt x="356" y="71"/>
                    </a:lnTo>
                    <a:lnTo>
                      <a:pt x="359" y="68"/>
                    </a:lnTo>
                    <a:lnTo>
                      <a:pt x="360" y="67"/>
                    </a:lnTo>
                    <a:lnTo>
                      <a:pt x="364" y="65"/>
                    </a:lnTo>
                    <a:lnTo>
                      <a:pt x="366" y="64"/>
                    </a:lnTo>
                    <a:lnTo>
                      <a:pt x="367" y="62"/>
                    </a:lnTo>
                    <a:lnTo>
                      <a:pt x="369" y="61"/>
                    </a:lnTo>
                    <a:lnTo>
                      <a:pt x="369" y="58"/>
                    </a:lnTo>
                    <a:lnTo>
                      <a:pt x="369" y="55"/>
                    </a:lnTo>
                    <a:lnTo>
                      <a:pt x="370" y="54"/>
                    </a:lnTo>
                    <a:lnTo>
                      <a:pt x="370" y="51"/>
                    </a:lnTo>
                    <a:lnTo>
                      <a:pt x="372" y="48"/>
                    </a:lnTo>
                    <a:lnTo>
                      <a:pt x="373" y="46"/>
                    </a:lnTo>
                    <a:lnTo>
                      <a:pt x="375" y="46"/>
                    </a:lnTo>
                    <a:lnTo>
                      <a:pt x="377" y="45"/>
                    </a:lnTo>
                    <a:lnTo>
                      <a:pt x="379" y="44"/>
                    </a:lnTo>
                    <a:lnTo>
                      <a:pt x="379" y="44"/>
                    </a:lnTo>
                    <a:lnTo>
                      <a:pt x="380" y="41"/>
                    </a:lnTo>
                    <a:lnTo>
                      <a:pt x="382" y="39"/>
                    </a:lnTo>
                    <a:lnTo>
                      <a:pt x="385" y="39"/>
                    </a:lnTo>
                    <a:lnTo>
                      <a:pt x="386" y="39"/>
                    </a:lnTo>
                    <a:lnTo>
                      <a:pt x="389" y="39"/>
                    </a:lnTo>
                    <a:lnTo>
                      <a:pt x="392" y="39"/>
                    </a:lnTo>
                    <a:lnTo>
                      <a:pt x="395" y="39"/>
                    </a:lnTo>
                    <a:lnTo>
                      <a:pt x="396" y="38"/>
                    </a:lnTo>
                    <a:lnTo>
                      <a:pt x="399" y="36"/>
                    </a:lnTo>
                    <a:lnTo>
                      <a:pt x="400" y="35"/>
                    </a:lnTo>
                    <a:lnTo>
                      <a:pt x="403" y="35"/>
                    </a:lnTo>
                    <a:lnTo>
                      <a:pt x="405" y="35"/>
                    </a:lnTo>
                    <a:lnTo>
                      <a:pt x="408" y="36"/>
                    </a:lnTo>
                    <a:lnTo>
                      <a:pt x="412" y="41"/>
                    </a:lnTo>
                    <a:lnTo>
                      <a:pt x="413" y="42"/>
                    </a:lnTo>
                    <a:lnTo>
                      <a:pt x="416" y="44"/>
                    </a:lnTo>
                    <a:lnTo>
                      <a:pt x="419" y="45"/>
                    </a:lnTo>
                    <a:lnTo>
                      <a:pt x="425" y="45"/>
                    </a:lnTo>
                    <a:lnTo>
                      <a:pt x="426" y="46"/>
                    </a:lnTo>
                    <a:lnTo>
                      <a:pt x="429" y="48"/>
                    </a:lnTo>
                    <a:lnTo>
                      <a:pt x="431" y="52"/>
                    </a:lnTo>
                    <a:lnTo>
                      <a:pt x="423" y="59"/>
                    </a:lnTo>
                    <a:lnTo>
                      <a:pt x="425" y="62"/>
                    </a:lnTo>
                    <a:lnTo>
                      <a:pt x="426" y="62"/>
                    </a:lnTo>
                    <a:lnTo>
                      <a:pt x="426" y="61"/>
                    </a:lnTo>
                    <a:lnTo>
                      <a:pt x="428" y="61"/>
                    </a:lnTo>
                    <a:lnTo>
                      <a:pt x="429" y="61"/>
                    </a:lnTo>
                    <a:lnTo>
                      <a:pt x="429" y="59"/>
                    </a:lnTo>
                    <a:lnTo>
                      <a:pt x="432" y="57"/>
                    </a:lnTo>
                    <a:lnTo>
                      <a:pt x="432" y="55"/>
                    </a:lnTo>
                    <a:lnTo>
                      <a:pt x="435" y="55"/>
                    </a:lnTo>
                    <a:lnTo>
                      <a:pt x="441" y="54"/>
                    </a:lnTo>
                    <a:lnTo>
                      <a:pt x="443" y="54"/>
                    </a:lnTo>
                    <a:lnTo>
                      <a:pt x="443" y="52"/>
                    </a:lnTo>
                    <a:lnTo>
                      <a:pt x="443" y="52"/>
                    </a:lnTo>
                    <a:lnTo>
                      <a:pt x="445" y="52"/>
                    </a:lnTo>
                    <a:lnTo>
                      <a:pt x="445" y="52"/>
                    </a:lnTo>
                    <a:lnTo>
                      <a:pt x="445" y="52"/>
                    </a:lnTo>
                    <a:lnTo>
                      <a:pt x="445" y="51"/>
                    </a:lnTo>
                    <a:lnTo>
                      <a:pt x="445" y="51"/>
                    </a:lnTo>
                    <a:lnTo>
                      <a:pt x="446" y="51"/>
                    </a:lnTo>
                    <a:lnTo>
                      <a:pt x="446" y="51"/>
                    </a:lnTo>
                    <a:lnTo>
                      <a:pt x="446" y="51"/>
                    </a:lnTo>
                    <a:lnTo>
                      <a:pt x="446" y="49"/>
                    </a:lnTo>
                    <a:lnTo>
                      <a:pt x="446" y="49"/>
                    </a:lnTo>
                    <a:lnTo>
                      <a:pt x="446" y="49"/>
                    </a:lnTo>
                    <a:lnTo>
                      <a:pt x="446" y="48"/>
                    </a:lnTo>
                    <a:lnTo>
                      <a:pt x="446" y="48"/>
                    </a:lnTo>
                    <a:lnTo>
                      <a:pt x="446" y="48"/>
                    </a:lnTo>
                    <a:lnTo>
                      <a:pt x="446" y="48"/>
                    </a:lnTo>
                    <a:lnTo>
                      <a:pt x="448" y="48"/>
                    </a:lnTo>
                    <a:lnTo>
                      <a:pt x="448" y="48"/>
                    </a:lnTo>
                    <a:lnTo>
                      <a:pt x="449" y="48"/>
                    </a:lnTo>
                    <a:lnTo>
                      <a:pt x="449" y="49"/>
                    </a:lnTo>
                    <a:lnTo>
                      <a:pt x="452" y="49"/>
                    </a:lnTo>
                    <a:lnTo>
                      <a:pt x="453" y="49"/>
                    </a:lnTo>
                    <a:lnTo>
                      <a:pt x="455" y="49"/>
                    </a:lnTo>
                    <a:lnTo>
                      <a:pt x="455" y="49"/>
                    </a:lnTo>
                    <a:lnTo>
                      <a:pt x="456" y="49"/>
                    </a:lnTo>
                    <a:lnTo>
                      <a:pt x="458" y="49"/>
                    </a:lnTo>
                    <a:lnTo>
                      <a:pt x="458" y="49"/>
                    </a:lnTo>
                    <a:lnTo>
                      <a:pt x="458" y="49"/>
                    </a:lnTo>
                    <a:lnTo>
                      <a:pt x="458" y="49"/>
                    </a:lnTo>
                    <a:lnTo>
                      <a:pt x="459" y="49"/>
                    </a:lnTo>
                    <a:lnTo>
                      <a:pt x="459" y="49"/>
                    </a:lnTo>
                    <a:lnTo>
                      <a:pt x="459" y="48"/>
                    </a:lnTo>
                    <a:lnTo>
                      <a:pt x="459" y="48"/>
                    </a:lnTo>
                    <a:lnTo>
                      <a:pt x="459" y="48"/>
                    </a:lnTo>
                    <a:lnTo>
                      <a:pt x="459" y="46"/>
                    </a:lnTo>
                    <a:lnTo>
                      <a:pt x="459" y="46"/>
                    </a:lnTo>
                    <a:lnTo>
                      <a:pt x="459" y="45"/>
                    </a:lnTo>
                    <a:lnTo>
                      <a:pt x="458" y="44"/>
                    </a:lnTo>
                    <a:lnTo>
                      <a:pt x="455" y="44"/>
                    </a:lnTo>
                    <a:lnTo>
                      <a:pt x="452" y="44"/>
                    </a:lnTo>
                    <a:lnTo>
                      <a:pt x="451" y="45"/>
                    </a:lnTo>
                    <a:lnTo>
                      <a:pt x="449" y="44"/>
                    </a:lnTo>
                    <a:lnTo>
                      <a:pt x="449" y="42"/>
                    </a:lnTo>
                    <a:lnTo>
                      <a:pt x="448" y="42"/>
                    </a:lnTo>
                    <a:lnTo>
                      <a:pt x="446" y="42"/>
                    </a:lnTo>
                    <a:lnTo>
                      <a:pt x="446" y="44"/>
                    </a:lnTo>
                    <a:lnTo>
                      <a:pt x="446" y="44"/>
                    </a:lnTo>
                    <a:lnTo>
                      <a:pt x="446" y="45"/>
                    </a:lnTo>
                    <a:lnTo>
                      <a:pt x="443" y="45"/>
                    </a:lnTo>
                    <a:lnTo>
                      <a:pt x="441" y="45"/>
                    </a:lnTo>
                    <a:lnTo>
                      <a:pt x="438" y="45"/>
                    </a:lnTo>
                    <a:lnTo>
                      <a:pt x="436" y="44"/>
                    </a:lnTo>
                    <a:lnTo>
                      <a:pt x="436" y="42"/>
                    </a:lnTo>
                    <a:lnTo>
                      <a:pt x="436" y="41"/>
                    </a:lnTo>
                    <a:lnTo>
                      <a:pt x="436" y="39"/>
                    </a:lnTo>
                    <a:lnTo>
                      <a:pt x="433" y="36"/>
                    </a:lnTo>
                    <a:lnTo>
                      <a:pt x="431" y="36"/>
                    </a:lnTo>
                    <a:lnTo>
                      <a:pt x="426" y="35"/>
                    </a:lnTo>
                    <a:lnTo>
                      <a:pt x="423" y="34"/>
                    </a:lnTo>
                    <a:lnTo>
                      <a:pt x="422" y="32"/>
                    </a:lnTo>
                    <a:lnTo>
                      <a:pt x="439" y="34"/>
                    </a:lnTo>
                    <a:lnTo>
                      <a:pt x="442" y="34"/>
                    </a:lnTo>
                    <a:lnTo>
                      <a:pt x="445" y="32"/>
                    </a:lnTo>
                    <a:lnTo>
                      <a:pt x="448" y="32"/>
                    </a:lnTo>
                    <a:lnTo>
                      <a:pt x="451" y="31"/>
                    </a:lnTo>
                    <a:lnTo>
                      <a:pt x="458" y="28"/>
                    </a:lnTo>
                    <a:lnTo>
                      <a:pt x="459" y="26"/>
                    </a:lnTo>
                    <a:lnTo>
                      <a:pt x="458" y="22"/>
                    </a:lnTo>
                    <a:lnTo>
                      <a:pt x="456" y="22"/>
                    </a:lnTo>
                    <a:lnTo>
                      <a:pt x="455" y="21"/>
                    </a:lnTo>
                    <a:lnTo>
                      <a:pt x="453" y="19"/>
                    </a:lnTo>
                    <a:lnTo>
                      <a:pt x="451" y="19"/>
                    </a:lnTo>
                    <a:lnTo>
                      <a:pt x="449" y="19"/>
                    </a:lnTo>
                    <a:lnTo>
                      <a:pt x="448" y="18"/>
                    </a:lnTo>
                    <a:lnTo>
                      <a:pt x="446" y="18"/>
                    </a:lnTo>
                    <a:lnTo>
                      <a:pt x="446" y="18"/>
                    </a:lnTo>
                    <a:lnTo>
                      <a:pt x="446" y="16"/>
                    </a:lnTo>
                    <a:lnTo>
                      <a:pt x="446" y="16"/>
                    </a:lnTo>
                    <a:lnTo>
                      <a:pt x="446" y="15"/>
                    </a:lnTo>
                    <a:lnTo>
                      <a:pt x="445" y="15"/>
                    </a:lnTo>
                    <a:lnTo>
                      <a:pt x="443" y="13"/>
                    </a:lnTo>
                    <a:lnTo>
                      <a:pt x="443" y="13"/>
                    </a:lnTo>
                    <a:lnTo>
                      <a:pt x="442" y="15"/>
                    </a:lnTo>
                    <a:lnTo>
                      <a:pt x="441" y="15"/>
                    </a:lnTo>
                    <a:lnTo>
                      <a:pt x="439" y="15"/>
                    </a:lnTo>
                    <a:lnTo>
                      <a:pt x="438" y="15"/>
                    </a:lnTo>
                    <a:lnTo>
                      <a:pt x="435" y="13"/>
                    </a:lnTo>
                    <a:lnTo>
                      <a:pt x="429" y="11"/>
                    </a:lnTo>
                    <a:lnTo>
                      <a:pt x="428" y="9"/>
                    </a:lnTo>
                    <a:lnTo>
                      <a:pt x="423" y="9"/>
                    </a:lnTo>
                    <a:lnTo>
                      <a:pt x="420" y="11"/>
                    </a:lnTo>
                    <a:lnTo>
                      <a:pt x="418" y="13"/>
                    </a:lnTo>
                    <a:lnTo>
                      <a:pt x="412" y="25"/>
                    </a:lnTo>
                    <a:lnTo>
                      <a:pt x="412" y="28"/>
                    </a:lnTo>
                    <a:lnTo>
                      <a:pt x="410" y="26"/>
                    </a:lnTo>
                    <a:lnTo>
                      <a:pt x="410" y="23"/>
                    </a:lnTo>
                    <a:lnTo>
                      <a:pt x="412" y="15"/>
                    </a:lnTo>
                    <a:lnTo>
                      <a:pt x="410" y="15"/>
                    </a:lnTo>
                    <a:lnTo>
                      <a:pt x="409" y="15"/>
                    </a:lnTo>
                    <a:lnTo>
                      <a:pt x="406" y="15"/>
                    </a:lnTo>
                    <a:lnTo>
                      <a:pt x="409" y="12"/>
                    </a:lnTo>
                    <a:lnTo>
                      <a:pt x="413" y="11"/>
                    </a:lnTo>
                    <a:lnTo>
                      <a:pt x="415" y="8"/>
                    </a:lnTo>
                    <a:lnTo>
                      <a:pt x="412" y="5"/>
                    </a:lnTo>
                    <a:lnTo>
                      <a:pt x="408" y="3"/>
                    </a:lnTo>
                    <a:lnTo>
                      <a:pt x="403" y="2"/>
                    </a:lnTo>
                    <a:lnTo>
                      <a:pt x="399" y="3"/>
                    </a:lnTo>
                    <a:lnTo>
                      <a:pt x="396" y="5"/>
                    </a:lnTo>
                    <a:lnTo>
                      <a:pt x="395" y="8"/>
                    </a:lnTo>
                    <a:lnTo>
                      <a:pt x="396" y="8"/>
                    </a:lnTo>
                    <a:lnTo>
                      <a:pt x="397" y="8"/>
                    </a:lnTo>
                    <a:lnTo>
                      <a:pt x="399" y="9"/>
                    </a:lnTo>
                    <a:lnTo>
                      <a:pt x="399" y="11"/>
                    </a:lnTo>
                    <a:lnTo>
                      <a:pt x="397" y="11"/>
                    </a:lnTo>
                    <a:lnTo>
                      <a:pt x="396" y="11"/>
                    </a:lnTo>
                    <a:lnTo>
                      <a:pt x="395" y="12"/>
                    </a:lnTo>
                    <a:lnTo>
                      <a:pt x="393" y="13"/>
                    </a:lnTo>
                    <a:lnTo>
                      <a:pt x="392" y="18"/>
                    </a:lnTo>
                    <a:lnTo>
                      <a:pt x="390" y="19"/>
                    </a:lnTo>
                    <a:lnTo>
                      <a:pt x="389" y="21"/>
                    </a:lnTo>
                    <a:lnTo>
                      <a:pt x="387" y="22"/>
                    </a:lnTo>
                    <a:lnTo>
                      <a:pt x="385" y="22"/>
                    </a:lnTo>
                    <a:lnTo>
                      <a:pt x="383" y="23"/>
                    </a:lnTo>
                    <a:lnTo>
                      <a:pt x="383" y="21"/>
                    </a:lnTo>
                    <a:lnTo>
                      <a:pt x="383" y="19"/>
                    </a:lnTo>
                    <a:lnTo>
                      <a:pt x="383" y="16"/>
                    </a:lnTo>
                    <a:lnTo>
                      <a:pt x="383" y="15"/>
                    </a:lnTo>
                    <a:lnTo>
                      <a:pt x="383" y="13"/>
                    </a:lnTo>
                    <a:lnTo>
                      <a:pt x="385" y="12"/>
                    </a:lnTo>
                    <a:lnTo>
                      <a:pt x="386" y="11"/>
                    </a:lnTo>
                    <a:lnTo>
                      <a:pt x="385" y="9"/>
                    </a:lnTo>
                    <a:lnTo>
                      <a:pt x="385" y="8"/>
                    </a:lnTo>
                    <a:lnTo>
                      <a:pt x="383" y="8"/>
                    </a:lnTo>
                    <a:lnTo>
                      <a:pt x="380" y="8"/>
                    </a:lnTo>
                    <a:lnTo>
                      <a:pt x="376" y="12"/>
                    </a:lnTo>
                    <a:lnTo>
                      <a:pt x="366" y="22"/>
                    </a:lnTo>
                    <a:lnTo>
                      <a:pt x="363" y="28"/>
                    </a:lnTo>
                    <a:lnTo>
                      <a:pt x="362" y="31"/>
                    </a:lnTo>
                    <a:lnTo>
                      <a:pt x="360" y="32"/>
                    </a:lnTo>
                    <a:lnTo>
                      <a:pt x="359" y="32"/>
                    </a:lnTo>
                    <a:lnTo>
                      <a:pt x="356" y="32"/>
                    </a:lnTo>
                    <a:lnTo>
                      <a:pt x="356" y="32"/>
                    </a:lnTo>
                    <a:lnTo>
                      <a:pt x="354" y="31"/>
                    </a:lnTo>
                    <a:lnTo>
                      <a:pt x="356" y="29"/>
                    </a:lnTo>
                    <a:lnTo>
                      <a:pt x="356" y="28"/>
                    </a:lnTo>
                    <a:lnTo>
                      <a:pt x="357" y="26"/>
                    </a:lnTo>
                    <a:lnTo>
                      <a:pt x="357" y="25"/>
                    </a:lnTo>
                    <a:lnTo>
                      <a:pt x="359" y="25"/>
                    </a:lnTo>
                    <a:lnTo>
                      <a:pt x="359" y="22"/>
                    </a:lnTo>
                    <a:lnTo>
                      <a:pt x="359" y="21"/>
                    </a:lnTo>
                    <a:lnTo>
                      <a:pt x="360" y="18"/>
                    </a:lnTo>
                    <a:lnTo>
                      <a:pt x="367" y="13"/>
                    </a:lnTo>
                    <a:lnTo>
                      <a:pt x="369" y="11"/>
                    </a:lnTo>
                    <a:lnTo>
                      <a:pt x="369" y="9"/>
                    </a:lnTo>
                    <a:lnTo>
                      <a:pt x="367" y="9"/>
                    </a:lnTo>
                    <a:lnTo>
                      <a:pt x="367" y="9"/>
                    </a:lnTo>
                    <a:lnTo>
                      <a:pt x="366" y="8"/>
                    </a:lnTo>
                    <a:lnTo>
                      <a:pt x="364" y="8"/>
                    </a:lnTo>
                    <a:lnTo>
                      <a:pt x="363" y="8"/>
                    </a:lnTo>
                    <a:lnTo>
                      <a:pt x="362" y="9"/>
                    </a:lnTo>
                    <a:lnTo>
                      <a:pt x="362" y="9"/>
                    </a:lnTo>
                    <a:lnTo>
                      <a:pt x="359" y="8"/>
                    </a:lnTo>
                    <a:lnTo>
                      <a:pt x="352" y="5"/>
                    </a:lnTo>
                    <a:lnTo>
                      <a:pt x="349" y="5"/>
                    </a:lnTo>
                    <a:lnTo>
                      <a:pt x="344" y="9"/>
                    </a:lnTo>
                    <a:lnTo>
                      <a:pt x="343" y="9"/>
                    </a:lnTo>
                    <a:lnTo>
                      <a:pt x="343" y="11"/>
                    </a:lnTo>
                    <a:lnTo>
                      <a:pt x="343" y="12"/>
                    </a:lnTo>
                    <a:lnTo>
                      <a:pt x="344" y="13"/>
                    </a:lnTo>
                    <a:lnTo>
                      <a:pt x="344" y="13"/>
                    </a:lnTo>
                    <a:lnTo>
                      <a:pt x="343" y="15"/>
                    </a:lnTo>
                    <a:lnTo>
                      <a:pt x="343" y="15"/>
                    </a:lnTo>
                    <a:lnTo>
                      <a:pt x="340" y="18"/>
                    </a:lnTo>
                    <a:lnTo>
                      <a:pt x="339" y="19"/>
                    </a:lnTo>
                    <a:lnTo>
                      <a:pt x="339" y="21"/>
                    </a:lnTo>
                    <a:lnTo>
                      <a:pt x="336" y="21"/>
                    </a:lnTo>
                    <a:lnTo>
                      <a:pt x="333" y="23"/>
                    </a:lnTo>
                    <a:lnTo>
                      <a:pt x="329" y="26"/>
                    </a:lnTo>
                    <a:lnTo>
                      <a:pt x="326" y="29"/>
                    </a:lnTo>
                    <a:lnTo>
                      <a:pt x="326" y="32"/>
                    </a:lnTo>
                    <a:lnTo>
                      <a:pt x="326" y="34"/>
                    </a:lnTo>
                    <a:lnTo>
                      <a:pt x="326" y="35"/>
                    </a:lnTo>
                    <a:lnTo>
                      <a:pt x="327" y="36"/>
                    </a:lnTo>
                    <a:lnTo>
                      <a:pt x="326" y="38"/>
                    </a:lnTo>
                    <a:lnTo>
                      <a:pt x="324" y="38"/>
                    </a:lnTo>
                    <a:lnTo>
                      <a:pt x="323" y="36"/>
                    </a:lnTo>
                    <a:lnTo>
                      <a:pt x="321" y="35"/>
                    </a:lnTo>
                    <a:lnTo>
                      <a:pt x="321" y="34"/>
                    </a:lnTo>
                    <a:lnTo>
                      <a:pt x="318" y="28"/>
                    </a:lnTo>
                    <a:lnTo>
                      <a:pt x="317" y="25"/>
                    </a:lnTo>
                    <a:lnTo>
                      <a:pt x="313" y="25"/>
                    </a:lnTo>
                    <a:lnTo>
                      <a:pt x="311" y="25"/>
                    </a:lnTo>
                    <a:lnTo>
                      <a:pt x="310" y="26"/>
                    </a:lnTo>
                    <a:lnTo>
                      <a:pt x="310" y="28"/>
                    </a:lnTo>
                    <a:lnTo>
                      <a:pt x="308" y="28"/>
                    </a:lnTo>
                    <a:lnTo>
                      <a:pt x="307" y="28"/>
                    </a:lnTo>
                    <a:lnTo>
                      <a:pt x="306" y="26"/>
                    </a:lnTo>
                    <a:lnTo>
                      <a:pt x="306" y="26"/>
                    </a:lnTo>
                    <a:lnTo>
                      <a:pt x="303" y="26"/>
                    </a:lnTo>
                    <a:lnTo>
                      <a:pt x="301" y="28"/>
                    </a:lnTo>
                    <a:lnTo>
                      <a:pt x="300" y="29"/>
                    </a:lnTo>
                    <a:lnTo>
                      <a:pt x="298" y="29"/>
                    </a:lnTo>
                    <a:lnTo>
                      <a:pt x="298" y="29"/>
                    </a:lnTo>
                    <a:lnTo>
                      <a:pt x="296" y="28"/>
                    </a:lnTo>
                    <a:lnTo>
                      <a:pt x="296" y="28"/>
                    </a:lnTo>
                    <a:lnTo>
                      <a:pt x="293" y="28"/>
                    </a:lnTo>
                    <a:lnTo>
                      <a:pt x="291" y="29"/>
                    </a:lnTo>
                    <a:lnTo>
                      <a:pt x="291" y="29"/>
                    </a:lnTo>
                    <a:lnTo>
                      <a:pt x="291" y="31"/>
                    </a:lnTo>
                    <a:lnTo>
                      <a:pt x="294" y="34"/>
                    </a:lnTo>
                    <a:lnTo>
                      <a:pt x="297" y="35"/>
                    </a:lnTo>
                    <a:lnTo>
                      <a:pt x="300" y="36"/>
                    </a:lnTo>
                    <a:lnTo>
                      <a:pt x="301" y="41"/>
                    </a:lnTo>
                    <a:lnTo>
                      <a:pt x="301" y="42"/>
                    </a:lnTo>
                    <a:lnTo>
                      <a:pt x="301" y="42"/>
                    </a:lnTo>
                    <a:lnTo>
                      <a:pt x="298" y="41"/>
                    </a:lnTo>
                    <a:lnTo>
                      <a:pt x="294" y="38"/>
                    </a:lnTo>
                    <a:lnTo>
                      <a:pt x="293" y="38"/>
                    </a:lnTo>
                    <a:lnTo>
                      <a:pt x="291" y="36"/>
                    </a:lnTo>
                    <a:lnTo>
                      <a:pt x="290" y="38"/>
                    </a:lnTo>
                    <a:lnTo>
                      <a:pt x="290" y="39"/>
                    </a:lnTo>
                    <a:lnTo>
                      <a:pt x="288" y="41"/>
                    </a:lnTo>
                    <a:lnTo>
                      <a:pt x="287" y="41"/>
                    </a:lnTo>
                    <a:lnTo>
                      <a:pt x="281" y="41"/>
                    </a:lnTo>
                    <a:lnTo>
                      <a:pt x="280" y="41"/>
                    </a:lnTo>
                    <a:lnTo>
                      <a:pt x="278" y="41"/>
                    </a:lnTo>
                    <a:lnTo>
                      <a:pt x="277" y="42"/>
                    </a:lnTo>
                    <a:lnTo>
                      <a:pt x="277" y="44"/>
                    </a:lnTo>
                    <a:lnTo>
                      <a:pt x="277" y="46"/>
                    </a:lnTo>
                    <a:lnTo>
                      <a:pt x="278" y="48"/>
                    </a:lnTo>
                    <a:lnTo>
                      <a:pt x="278" y="48"/>
                    </a:lnTo>
                    <a:lnTo>
                      <a:pt x="280" y="51"/>
                    </a:lnTo>
                    <a:lnTo>
                      <a:pt x="277" y="51"/>
                    </a:lnTo>
                    <a:lnTo>
                      <a:pt x="274" y="52"/>
                    </a:lnTo>
                    <a:lnTo>
                      <a:pt x="271" y="54"/>
                    </a:lnTo>
                    <a:lnTo>
                      <a:pt x="268" y="55"/>
                    </a:lnTo>
                    <a:lnTo>
                      <a:pt x="273" y="46"/>
                    </a:lnTo>
                    <a:lnTo>
                      <a:pt x="275" y="42"/>
                    </a:lnTo>
                    <a:lnTo>
                      <a:pt x="273" y="39"/>
                    </a:lnTo>
                    <a:lnTo>
                      <a:pt x="270" y="39"/>
                    </a:lnTo>
                    <a:lnTo>
                      <a:pt x="265" y="44"/>
                    </a:lnTo>
                    <a:lnTo>
                      <a:pt x="261" y="52"/>
                    </a:lnTo>
                    <a:lnTo>
                      <a:pt x="261" y="51"/>
                    </a:lnTo>
                    <a:lnTo>
                      <a:pt x="262" y="48"/>
                    </a:lnTo>
                    <a:lnTo>
                      <a:pt x="262" y="45"/>
                    </a:lnTo>
                    <a:lnTo>
                      <a:pt x="261" y="44"/>
                    </a:lnTo>
                    <a:lnTo>
                      <a:pt x="260" y="44"/>
                    </a:lnTo>
                    <a:lnTo>
                      <a:pt x="257" y="44"/>
                    </a:lnTo>
                    <a:lnTo>
                      <a:pt x="252" y="45"/>
                    </a:lnTo>
                    <a:lnTo>
                      <a:pt x="251" y="46"/>
                    </a:lnTo>
                    <a:lnTo>
                      <a:pt x="250" y="48"/>
                    </a:lnTo>
                    <a:lnTo>
                      <a:pt x="250" y="48"/>
                    </a:lnTo>
                    <a:lnTo>
                      <a:pt x="250" y="49"/>
                    </a:lnTo>
                    <a:lnTo>
                      <a:pt x="248" y="49"/>
                    </a:lnTo>
                    <a:lnTo>
                      <a:pt x="247" y="49"/>
                    </a:lnTo>
                    <a:lnTo>
                      <a:pt x="245" y="51"/>
                    </a:lnTo>
                    <a:lnTo>
                      <a:pt x="244" y="52"/>
                    </a:lnTo>
                    <a:lnTo>
                      <a:pt x="244" y="52"/>
                    </a:lnTo>
                    <a:lnTo>
                      <a:pt x="245" y="54"/>
                    </a:lnTo>
                    <a:lnTo>
                      <a:pt x="248" y="54"/>
                    </a:lnTo>
                    <a:lnTo>
                      <a:pt x="244" y="54"/>
                    </a:lnTo>
                    <a:lnTo>
                      <a:pt x="240" y="52"/>
                    </a:lnTo>
                    <a:lnTo>
                      <a:pt x="237" y="52"/>
                    </a:lnTo>
                    <a:lnTo>
                      <a:pt x="234" y="55"/>
                    </a:lnTo>
                    <a:lnTo>
                      <a:pt x="234" y="55"/>
                    </a:lnTo>
                    <a:lnTo>
                      <a:pt x="234" y="58"/>
                    </a:lnTo>
                    <a:lnTo>
                      <a:pt x="234" y="58"/>
                    </a:lnTo>
                    <a:lnTo>
                      <a:pt x="232" y="59"/>
                    </a:lnTo>
                    <a:lnTo>
                      <a:pt x="231" y="59"/>
                    </a:lnTo>
                    <a:lnTo>
                      <a:pt x="229" y="59"/>
                    </a:lnTo>
                    <a:lnTo>
                      <a:pt x="229" y="59"/>
                    </a:lnTo>
                    <a:lnTo>
                      <a:pt x="227" y="61"/>
                    </a:lnTo>
                    <a:lnTo>
                      <a:pt x="225" y="62"/>
                    </a:lnTo>
                    <a:lnTo>
                      <a:pt x="222" y="67"/>
                    </a:lnTo>
                    <a:lnTo>
                      <a:pt x="221" y="68"/>
                    </a:lnTo>
                    <a:lnTo>
                      <a:pt x="218" y="69"/>
                    </a:lnTo>
                    <a:lnTo>
                      <a:pt x="211" y="71"/>
                    </a:lnTo>
                    <a:lnTo>
                      <a:pt x="208" y="72"/>
                    </a:lnTo>
                    <a:lnTo>
                      <a:pt x="206" y="72"/>
                    </a:lnTo>
                    <a:lnTo>
                      <a:pt x="206" y="75"/>
                    </a:lnTo>
                    <a:lnTo>
                      <a:pt x="209" y="77"/>
                    </a:lnTo>
                    <a:lnTo>
                      <a:pt x="221" y="75"/>
                    </a:lnTo>
                    <a:lnTo>
                      <a:pt x="225" y="77"/>
                    </a:lnTo>
                    <a:lnTo>
                      <a:pt x="221" y="78"/>
                    </a:lnTo>
                    <a:lnTo>
                      <a:pt x="217" y="78"/>
                    </a:lnTo>
                    <a:lnTo>
                      <a:pt x="206" y="78"/>
                    </a:lnTo>
                    <a:lnTo>
                      <a:pt x="204" y="78"/>
                    </a:lnTo>
                    <a:lnTo>
                      <a:pt x="202" y="78"/>
                    </a:lnTo>
                    <a:lnTo>
                      <a:pt x="201" y="80"/>
                    </a:lnTo>
                    <a:lnTo>
                      <a:pt x="201" y="81"/>
                    </a:lnTo>
                    <a:lnTo>
                      <a:pt x="201" y="84"/>
                    </a:lnTo>
                    <a:lnTo>
                      <a:pt x="202" y="85"/>
                    </a:lnTo>
                    <a:lnTo>
                      <a:pt x="204" y="85"/>
                    </a:lnTo>
                    <a:lnTo>
                      <a:pt x="202" y="87"/>
                    </a:lnTo>
                    <a:lnTo>
                      <a:pt x="202" y="88"/>
                    </a:lnTo>
                    <a:lnTo>
                      <a:pt x="202" y="90"/>
                    </a:lnTo>
                    <a:lnTo>
                      <a:pt x="202" y="92"/>
                    </a:lnTo>
                    <a:lnTo>
                      <a:pt x="201" y="90"/>
                    </a:lnTo>
                    <a:lnTo>
                      <a:pt x="198" y="84"/>
                    </a:lnTo>
                    <a:lnTo>
                      <a:pt x="196" y="82"/>
                    </a:lnTo>
                    <a:lnTo>
                      <a:pt x="195" y="82"/>
                    </a:lnTo>
                    <a:lnTo>
                      <a:pt x="191" y="84"/>
                    </a:lnTo>
                    <a:lnTo>
                      <a:pt x="186" y="85"/>
                    </a:lnTo>
                    <a:lnTo>
                      <a:pt x="185" y="87"/>
                    </a:lnTo>
                    <a:lnTo>
                      <a:pt x="185" y="88"/>
                    </a:lnTo>
                    <a:lnTo>
                      <a:pt x="189" y="88"/>
                    </a:lnTo>
                    <a:lnTo>
                      <a:pt x="191" y="90"/>
                    </a:lnTo>
                    <a:lnTo>
                      <a:pt x="189" y="91"/>
                    </a:lnTo>
                    <a:lnTo>
                      <a:pt x="188" y="91"/>
                    </a:lnTo>
                    <a:lnTo>
                      <a:pt x="184" y="90"/>
                    </a:lnTo>
                    <a:lnTo>
                      <a:pt x="182" y="90"/>
                    </a:lnTo>
                    <a:lnTo>
                      <a:pt x="181" y="90"/>
                    </a:lnTo>
                    <a:lnTo>
                      <a:pt x="179" y="91"/>
                    </a:lnTo>
                    <a:lnTo>
                      <a:pt x="178" y="92"/>
                    </a:lnTo>
                    <a:lnTo>
                      <a:pt x="176" y="94"/>
                    </a:lnTo>
                    <a:lnTo>
                      <a:pt x="176" y="95"/>
                    </a:lnTo>
                    <a:lnTo>
                      <a:pt x="176" y="97"/>
                    </a:lnTo>
                    <a:lnTo>
                      <a:pt x="175" y="98"/>
                    </a:lnTo>
                    <a:lnTo>
                      <a:pt x="178" y="98"/>
                    </a:lnTo>
                    <a:lnTo>
                      <a:pt x="184" y="95"/>
                    </a:lnTo>
                    <a:lnTo>
                      <a:pt x="185" y="97"/>
                    </a:lnTo>
                    <a:lnTo>
                      <a:pt x="184" y="97"/>
                    </a:lnTo>
                    <a:lnTo>
                      <a:pt x="184" y="98"/>
                    </a:lnTo>
                    <a:lnTo>
                      <a:pt x="184" y="100"/>
                    </a:lnTo>
                    <a:lnTo>
                      <a:pt x="185" y="101"/>
                    </a:lnTo>
                    <a:lnTo>
                      <a:pt x="186" y="103"/>
                    </a:lnTo>
                    <a:lnTo>
                      <a:pt x="191" y="103"/>
                    </a:lnTo>
                    <a:lnTo>
                      <a:pt x="192" y="103"/>
                    </a:lnTo>
                    <a:lnTo>
                      <a:pt x="191" y="104"/>
                    </a:lnTo>
                    <a:lnTo>
                      <a:pt x="189" y="105"/>
                    </a:lnTo>
                    <a:lnTo>
                      <a:pt x="189" y="107"/>
                    </a:lnTo>
                    <a:lnTo>
                      <a:pt x="189" y="108"/>
                    </a:lnTo>
                    <a:lnTo>
                      <a:pt x="189" y="107"/>
                    </a:lnTo>
                    <a:lnTo>
                      <a:pt x="188" y="105"/>
                    </a:lnTo>
                    <a:lnTo>
                      <a:pt x="188" y="104"/>
                    </a:lnTo>
                    <a:lnTo>
                      <a:pt x="186" y="104"/>
                    </a:lnTo>
                    <a:lnTo>
                      <a:pt x="182" y="101"/>
                    </a:lnTo>
                    <a:lnTo>
                      <a:pt x="179" y="101"/>
                    </a:lnTo>
                    <a:lnTo>
                      <a:pt x="176" y="103"/>
                    </a:lnTo>
                    <a:lnTo>
                      <a:pt x="173" y="104"/>
                    </a:lnTo>
                    <a:lnTo>
                      <a:pt x="172" y="107"/>
                    </a:lnTo>
                    <a:lnTo>
                      <a:pt x="171" y="108"/>
                    </a:lnTo>
                    <a:lnTo>
                      <a:pt x="171" y="110"/>
                    </a:lnTo>
                    <a:lnTo>
                      <a:pt x="171" y="110"/>
                    </a:lnTo>
                    <a:lnTo>
                      <a:pt x="184" y="110"/>
                    </a:lnTo>
                    <a:lnTo>
                      <a:pt x="186" y="111"/>
                    </a:lnTo>
                    <a:lnTo>
                      <a:pt x="184" y="113"/>
                    </a:lnTo>
                    <a:lnTo>
                      <a:pt x="166" y="114"/>
                    </a:lnTo>
                    <a:lnTo>
                      <a:pt x="165" y="115"/>
                    </a:lnTo>
                    <a:lnTo>
                      <a:pt x="162" y="117"/>
                    </a:lnTo>
                    <a:lnTo>
                      <a:pt x="158" y="120"/>
                    </a:lnTo>
                    <a:lnTo>
                      <a:pt x="158" y="121"/>
                    </a:lnTo>
                    <a:lnTo>
                      <a:pt x="156" y="121"/>
                    </a:lnTo>
                    <a:lnTo>
                      <a:pt x="156" y="123"/>
                    </a:lnTo>
                    <a:lnTo>
                      <a:pt x="156" y="124"/>
                    </a:lnTo>
                    <a:lnTo>
                      <a:pt x="158" y="124"/>
                    </a:lnTo>
                    <a:lnTo>
                      <a:pt x="161" y="124"/>
                    </a:lnTo>
                    <a:lnTo>
                      <a:pt x="161" y="126"/>
                    </a:lnTo>
                    <a:lnTo>
                      <a:pt x="155" y="126"/>
                    </a:lnTo>
                    <a:lnTo>
                      <a:pt x="153" y="127"/>
                    </a:lnTo>
                    <a:lnTo>
                      <a:pt x="150" y="128"/>
                    </a:lnTo>
                    <a:lnTo>
                      <a:pt x="149" y="130"/>
                    </a:lnTo>
                    <a:lnTo>
                      <a:pt x="149" y="130"/>
                    </a:lnTo>
                    <a:lnTo>
                      <a:pt x="148" y="133"/>
                    </a:lnTo>
                    <a:lnTo>
                      <a:pt x="148" y="134"/>
                    </a:lnTo>
                    <a:lnTo>
                      <a:pt x="146" y="134"/>
                    </a:lnTo>
                    <a:lnTo>
                      <a:pt x="146" y="136"/>
                    </a:lnTo>
                    <a:lnTo>
                      <a:pt x="145" y="137"/>
                    </a:lnTo>
                    <a:lnTo>
                      <a:pt x="146" y="144"/>
                    </a:lnTo>
                    <a:lnTo>
                      <a:pt x="150" y="144"/>
                    </a:lnTo>
                    <a:lnTo>
                      <a:pt x="158" y="141"/>
                    </a:lnTo>
                    <a:lnTo>
                      <a:pt x="162" y="143"/>
                    </a:lnTo>
                    <a:lnTo>
                      <a:pt x="161" y="144"/>
                    </a:lnTo>
                    <a:lnTo>
                      <a:pt x="158" y="146"/>
                    </a:lnTo>
                    <a:lnTo>
                      <a:pt x="155" y="146"/>
                    </a:lnTo>
                    <a:lnTo>
                      <a:pt x="146" y="147"/>
                    </a:lnTo>
                    <a:lnTo>
                      <a:pt x="143" y="149"/>
                    </a:lnTo>
                    <a:lnTo>
                      <a:pt x="142" y="150"/>
                    </a:lnTo>
                    <a:lnTo>
                      <a:pt x="140" y="151"/>
                    </a:lnTo>
                    <a:lnTo>
                      <a:pt x="145" y="154"/>
                    </a:lnTo>
                    <a:lnTo>
                      <a:pt x="145" y="156"/>
                    </a:lnTo>
                    <a:lnTo>
                      <a:pt x="143" y="156"/>
                    </a:lnTo>
                    <a:lnTo>
                      <a:pt x="143" y="156"/>
                    </a:lnTo>
                    <a:lnTo>
                      <a:pt x="142" y="156"/>
                    </a:lnTo>
                    <a:lnTo>
                      <a:pt x="140" y="156"/>
                    </a:lnTo>
                    <a:lnTo>
                      <a:pt x="139" y="157"/>
                    </a:lnTo>
                    <a:lnTo>
                      <a:pt x="139" y="159"/>
                    </a:lnTo>
                    <a:lnTo>
                      <a:pt x="139" y="159"/>
                    </a:lnTo>
                    <a:lnTo>
                      <a:pt x="138" y="160"/>
                    </a:lnTo>
                    <a:lnTo>
                      <a:pt x="132" y="170"/>
                    </a:lnTo>
                    <a:lnTo>
                      <a:pt x="129" y="176"/>
                    </a:lnTo>
                    <a:lnTo>
                      <a:pt x="129" y="180"/>
                    </a:lnTo>
                    <a:lnTo>
                      <a:pt x="129" y="182"/>
                    </a:lnTo>
                    <a:lnTo>
                      <a:pt x="133" y="183"/>
                    </a:lnTo>
                    <a:lnTo>
                      <a:pt x="133" y="184"/>
                    </a:lnTo>
                    <a:lnTo>
                      <a:pt x="136" y="184"/>
                    </a:lnTo>
                    <a:lnTo>
                      <a:pt x="139" y="182"/>
                    </a:lnTo>
                    <a:lnTo>
                      <a:pt x="140" y="180"/>
                    </a:lnTo>
                    <a:lnTo>
                      <a:pt x="143" y="179"/>
                    </a:lnTo>
                    <a:lnTo>
                      <a:pt x="139" y="183"/>
                    </a:lnTo>
                    <a:lnTo>
                      <a:pt x="138" y="186"/>
                    </a:lnTo>
                    <a:lnTo>
                      <a:pt x="136" y="187"/>
                    </a:lnTo>
                    <a:lnTo>
                      <a:pt x="133" y="187"/>
                    </a:lnTo>
                    <a:lnTo>
                      <a:pt x="132" y="187"/>
                    </a:lnTo>
                    <a:lnTo>
                      <a:pt x="130" y="186"/>
                    </a:lnTo>
                    <a:lnTo>
                      <a:pt x="129" y="184"/>
                    </a:lnTo>
                    <a:lnTo>
                      <a:pt x="126" y="186"/>
                    </a:lnTo>
                    <a:lnTo>
                      <a:pt x="123" y="187"/>
                    </a:lnTo>
                    <a:lnTo>
                      <a:pt x="117" y="192"/>
                    </a:lnTo>
                    <a:lnTo>
                      <a:pt x="116" y="193"/>
                    </a:lnTo>
                    <a:lnTo>
                      <a:pt x="115" y="195"/>
                    </a:lnTo>
                    <a:lnTo>
                      <a:pt x="115" y="197"/>
                    </a:lnTo>
                    <a:lnTo>
                      <a:pt x="115" y="199"/>
                    </a:lnTo>
                    <a:lnTo>
                      <a:pt x="117" y="197"/>
                    </a:lnTo>
                    <a:lnTo>
                      <a:pt x="119" y="197"/>
                    </a:lnTo>
                    <a:lnTo>
                      <a:pt x="120" y="197"/>
                    </a:lnTo>
                    <a:lnTo>
                      <a:pt x="117" y="200"/>
                    </a:lnTo>
                    <a:lnTo>
                      <a:pt x="115" y="202"/>
                    </a:lnTo>
                    <a:lnTo>
                      <a:pt x="112" y="203"/>
                    </a:lnTo>
                    <a:lnTo>
                      <a:pt x="109" y="205"/>
                    </a:lnTo>
                    <a:lnTo>
                      <a:pt x="100" y="212"/>
                    </a:lnTo>
                    <a:lnTo>
                      <a:pt x="93" y="220"/>
                    </a:lnTo>
                    <a:lnTo>
                      <a:pt x="90" y="225"/>
                    </a:lnTo>
                    <a:lnTo>
                      <a:pt x="86" y="229"/>
                    </a:lnTo>
                    <a:lnTo>
                      <a:pt x="84" y="230"/>
                    </a:lnTo>
                    <a:lnTo>
                      <a:pt x="84" y="233"/>
                    </a:lnTo>
                    <a:lnTo>
                      <a:pt x="86" y="233"/>
                    </a:lnTo>
                    <a:lnTo>
                      <a:pt x="87" y="233"/>
                    </a:lnTo>
                    <a:lnTo>
                      <a:pt x="89" y="235"/>
                    </a:lnTo>
                    <a:lnTo>
                      <a:pt x="90" y="238"/>
                    </a:lnTo>
                    <a:lnTo>
                      <a:pt x="92" y="238"/>
                    </a:lnTo>
                    <a:lnTo>
                      <a:pt x="93" y="238"/>
                    </a:lnTo>
                    <a:lnTo>
                      <a:pt x="94" y="238"/>
                    </a:lnTo>
                    <a:lnTo>
                      <a:pt x="102" y="235"/>
                    </a:lnTo>
                    <a:lnTo>
                      <a:pt x="106" y="232"/>
                    </a:lnTo>
                    <a:lnTo>
                      <a:pt x="109" y="229"/>
                    </a:lnTo>
                    <a:lnTo>
                      <a:pt x="107" y="226"/>
                    </a:lnTo>
                    <a:lnTo>
                      <a:pt x="110" y="225"/>
                    </a:lnTo>
                    <a:lnTo>
                      <a:pt x="112" y="223"/>
                    </a:lnTo>
                    <a:lnTo>
                      <a:pt x="115" y="222"/>
                    </a:lnTo>
                    <a:lnTo>
                      <a:pt x="117" y="223"/>
                    </a:lnTo>
                    <a:lnTo>
                      <a:pt x="115" y="225"/>
                    </a:lnTo>
                    <a:lnTo>
                      <a:pt x="112" y="226"/>
                    </a:lnTo>
                    <a:lnTo>
                      <a:pt x="115" y="228"/>
                    </a:lnTo>
                    <a:lnTo>
                      <a:pt x="115" y="229"/>
                    </a:lnTo>
                    <a:lnTo>
                      <a:pt x="113" y="230"/>
                    </a:lnTo>
                    <a:lnTo>
                      <a:pt x="110" y="232"/>
                    </a:lnTo>
                    <a:lnTo>
                      <a:pt x="107" y="233"/>
                    </a:lnTo>
                    <a:lnTo>
                      <a:pt x="105" y="235"/>
                    </a:lnTo>
                    <a:lnTo>
                      <a:pt x="103" y="236"/>
                    </a:lnTo>
                    <a:lnTo>
                      <a:pt x="105" y="241"/>
                    </a:lnTo>
                    <a:lnTo>
                      <a:pt x="102" y="241"/>
                    </a:lnTo>
                    <a:lnTo>
                      <a:pt x="96" y="241"/>
                    </a:lnTo>
                    <a:lnTo>
                      <a:pt x="93" y="241"/>
                    </a:lnTo>
                    <a:lnTo>
                      <a:pt x="93" y="241"/>
                    </a:lnTo>
                    <a:lnTo>
                      <a:pt x="92" y="242"/>
                    </a:lnTo>
                    <a:lnTo>
                      <a:pt x="92" y="242"/>
                    </a:lnTo>
                    <a:lnTo>
                      <a:pt x="90" y="242"/>
                    </a:lnTo>
                    <a:lnTo>
                      <a:pt x="90" y="241"/>
                    </a:lnTo>
                    <a:lnTo>
                      <a:pt x="87" y="236"/>
                    </a:lnTo>
                    <a:lnTo>
                      <a:pt x="86" y="236"/>
                    </a:lnTo>
                    <a:lnTo>
                      <a:pt x="86" y="236"/>
                    </a:lnTo>
                    <a:lnTo>
                      <a:pt x="84" y="236"/>
                    </a:lnTo>
                    <a:lnTo>
                      <a:pt x="83" y="236"/>
                    </a:lnTo>
                    <a:lnTo>
                      <a:pt x="80" y="236"/>
                    </a:lnTo>
                    <a:lnTo>
                      <a:pt x="79" y="238"/>
                    </a:lnTo>
                    <a:lnTo>
                      <a:pt x="79" y="238"/>
                    </a:lnTo>
                    <a:lnTo>
                      <a:pt x="77" y="239"/>
                    </a:lnTo>
                    <a:lnTo>
                      <a:pt x="76" y="241"/>
                    </a:lnTo>
                    <a:lnTo>
                      <a:pt x="76" y="239"/>
                    </a:lnTo>
                    <a:lnTo>
                      <a:pt x="76" y="239"/>
                    </a:lnTo>
                    <a:lnTo>
                      <a:pt x="76" y="238"/>
                    </a:lnTo>
                    <a:lnTo>
                      <a:pt x="76" y="238"/>
                    </a:lnTo>
                    <a:lnTo>
                      <a:pt x="76" y="236"/>
                    </a:lnTo>
                    <a:lnTo>
                      <a:pt x="74" y="235"/>
                    </a:lnTo>
                    <a:lnTo>
                      <a:pt x="70" y="235"/>
                    </a:lnTo>
                    <a:lnTo>
                      <a:pt x="67" y="236"/>
                    </a:lnTo>
                    <a:lnTo>
                      <a:pt x="64" y="236"/>
                    </a:lnTo>
                    <a:lnTo>
                      <a:pt x="63" y="239"/>
                    </a:lnTo>
                    <a:lnTo>
                      <a:pt x="64" y="241"/>
                    </a:lnTo>
                    <a:lnTo>
                      <a:pt x="66" y="241"/>
                    </a:lnTo>
                    <a:lnTo>
                      <a:pt x="67" y="243"/>
                    </a:lnTo>
                    <a:lnTo>
                      <a:pt x="66" y="245"/>
                    </a:lnTo>
                    <a:lnTo>
                      <a:pt x="63" y="245"/>
                    </a:lnTo>
                    <a:lnTo>
                      <a:pt x="60" y="246"/>
                    </a:lnTo>
                    <a:lnTo>
                      <a:pt x="59" y="249"/>
                    </a:lnTo>
                    <a:lnTo>
                      <a:pt x="60" y="251"/>
                    </a:lnTo>
                    <a:lnTo>
                      <a:pt x="66" y="255"/>
                    </a:lnTo>
                    <a:lnTo>
                      <a:pt x="67" y="258"/>
                    </a:lnTo>
                    <a:lnTo>
                      <a:pt x="60" y="252"/>
                    </a:lnTo>
                    <a:lnTo>
                      <a:pt x="56" y="251"/>
                    </a:lnTo>
                    <a:lnTo>
                      <a:pt x="51" y="251"/>
                    </a:lnTo>
                    <a:lnTo>
                      <a:pt x="49" y="251"/>
                    </a:lnTo>
                    <a:lnTo>
                      <a:pt x="44" y="252"/>
                    </a:lnTo>
                    <a:lnTo>
                      <a:pt x="40" y="253"/>
                    </a:lnTo>
                    <a:lnTo>
                      <a:pt x="37" y="255"/>
                    </a:lnTo>
                    <a:lnTo>
                      <a:pt x="37" y="256"/>
                    </a:lnTo>
                    <a:lnTo>
                      <a:pt x="36" y="258"/>
                    </a:lnTo>
                    <a:lnTo>
                      <a:pt x="34" y="261"/>
                    </a:lnTo>
                    <a:lnTo>
                      <a:pt x="34" y="261"/>
                    </a:lnTo>
                    <a:lnTo>
                      <a:pt x="36" y="262"/>
                    </a:lnTo>
                    <a:lnTo>
                      <a:pt x="38" y="261"/>
                    </a:lnTo>
                    <a:lnTo>
                      <a:pt x="40" y="261"/>
                    </a:lnTo>
                    <a:lnTo>
                      <a:pt x="41" y="261"/>
                    </a:lnTo>
                    <a:lnTo>
                      <a:pt x="47" y="261"/>
                    </a:lnTo>
                    <a:lnTo>
                      <a:pt x="49" y="261"/>
                    </a:lnTo>
                    <a:lnTo>
                      <a:pt x="54" y="259"/>
                    </a:lnTo>
                    <a:lnTo>
                      <a:pt x="56" y="259"/>
                    </a:lnTo>
                    <a:lnTo>
                      <a:pt x="59" y="261"/>
                    </a:lnTo>
                    <a:lnTo>
                      <a:pt x="53" y="261"/>
                    </a:lnTo>
                    <a:lnTo>
                      <a:pt x="51" y="261"/>
                    </a:lnTo>
                    <a:lnTo>
                      <a:pt x="49" y="262"/>
                    </a:lnTo>
                    <a:lnTo>
                      <a:pt x="49" y="264"/>
                    </a:lnTo>
                    <a:lnTo>
                      <a:pt x="49" y="264"/>
                    </a:lnTo>
                    <a:lnTo>
                      <a:pt x="49" y="265"/>
                    </a:lnTo>
                    <a:lnTo>
                      <a:pt x="51" y="265"/>
                    </a:lnTo>
                    <a:lnTo>
                      <a:pt x="49" y="265"/>
                    </a:lnTo>
                    <a:lnTo>
                      <a:pt x="47" y="265"/>
                    </a:lnTo>
                    <a:lnTo>
                      <a:pt x="43" y="264"/>
                    </a:lnTo>
                    <a:lnTo>
                      <a:pt x="38" y="264"/>
                    </a:lnTo>
                    <a:lnTo>
                      <a:pt x="36" y="264"/>
                    </a:lnTo>
                    <a:lnTo>
                      <a:pt x="33" y="264"/>
                    </a:lnTo>
                    <a:lnTo>
                      <a:pt x="30" y="264"/>
                    </a:lnTo>
                    <a:lnTo>
                      <a:pt x="28" y="264"/>
                    </a:lnTo>
                    <a:lnTo>
                      <a:pt x="26" y="265"/>
                    </a:lnTo>
                    <a:lnTo>
                      <a:pt x="24" y="266"/>
                    </a:lnTo>
                    <a:lnTo>
                      <a:pt x="23" y="268"/>
                    </a:lnTo>
                    <a:lnTo>
                      <a:pt x="24" y="269"/>
                    </a:lnTo>
                    <a:lnTo>
                      <a:pt x="28" y="269"/>
                    </a:lnTo>
                    <a:lnTo>
                      <a:pt x="33" y="268"/>
                    </a:lnTo>
                    <a:lnTo>
                      <a:pt x="31" y="269"/>
                    </a:lnTo>
                    <a:lnTo>
                      <a:pt x="30" y="269"/>
                    </a:lnTo>
                    <a:lnTo>
                      <a:pt x="27" y="271"/>
                    </a:lnTo>
                    <a:lnTo>
                      <a:pt x="26" y="271"/>
                    </a:lnTo>
                    <a:lnTo>
                      <a:pt x="24" y="271"/>
                    </a:lnTo>
                    <a:lnTo>
                      <a:pt x="21" y="269"/>
                    </a:lnTo>
                    <a:lnTo>
                      <a:pt x="20" y="269"/>
                    </a:lnTo>
                    <a:lnTo>
                      <a:pt x="18" y="269"/>
                    </a:lnTo>
                    <a:lnTo>
                      <a:pt x="15" y="271"/>
                    </a:lnTo>
                    <a:lnTo>
                      <a:pt x="14" y="272"/>
                    </a:lnTo>
                    <a:lnTo>
                      <a:pt x="13" y="272"/>
                    </a:lnTo>
                    <a:lnTo>
                      <a:pt x="11" y="275"/>
                    </a:lnTo>
                    <a:lnTo>
                      <a:pt x="10" y="275"/>
                    </a:lnTo>
                    <a:lnTo>
                      <a:pt x="10" y="276"/>
                    </a:lnTo>
                    <a:lnTo>
                      <a:pt x="8" y="275"/>
                    </a:lnTo>
                    <a:lnTo>
                      <a:pt x="8" y="275"/>
                    </a:lnTo>
                    <a:lnTo>
                      <a:pt x="7" y="275"/>
                    </a:lnTo>
                    <a:lnTo>
                      <a:pt x="5" y="278"/>
                    </a:lnTo>
                    <a:lnTo>
                      <a:pt x="7" y="281"/>
                    </a:lnTo>
                    <a:lnTo>
                      <a:pt x="11" y="281"/>
                    </a:lnTo>
                    <a:lnTo>
                      <a:pt x="15" y="282"/>
                    </a:lnTo>
                    <a:lnTo>
                      <a:pt x="23" y="284"/>
                    </a:lnTo>
                    <a:lnTo>
                      <a:pt x="26" y="284"/>
                    </a:lnTo>
                    <a:lnTo>
                      <a:pt x="27" y="284"/>
                    </a:lnTo>
                    <a:lnTo>
                      <a:pt x="31" y="284"/>
                    </a:lnTo>
                    <a:lnTo>
                      <a:pt x="34" y="284"/>
                    </a:lnTo>
                    <a:lnTo>
                      <a:pt x="31" y="285"/>
                    </a:lnTo>
                    <a:lnTo>
                      <a:pt x="28" y="285"/>
                    </a:lnTo>
                    <a:lnTo>
                      <a:pt x="24" y="287"/>
                    </a:lnTo>
                    <a:lnTo>
                      <a:pt x="21" y="287"/>
                    </a:lnTo>
                    <a:lnTo>
                      <a:pt x="18" y="285"/>
                    </a:lnTo>
                    <a:lnTo>
                      <a:pt x="13" y="284"/>
                    </a:lnTo>
                    <a:lnTo>
                      <a:pt x="10" y="282"/>
                    </a:lnTo>
                    <a:lnTo>
                      <a:pt x="7" y="282"/>
                    </a:lnTo>
                    <a:lnTo>
                      <a:pt x="4" y="282"/>
                    </a:lnTo>
                    <a:lnTo>
                      <a:pt x="3" y="284"/>
                    </a:lnTo>
                    <a:lnTo>
                      <a:pt x="3" y="288"/>
                    </a:lnTo>
                    <a:lnTo>
                      <a:pt x="3" y="289"/>
                    </a:lnTo>
                    <a:lnTo>
                      <a:pt x="5" y="292"/>
                    </a:lnTo>
                    <a:lnTo>
                      <a:pt x="7" y="294"/>
                    </a:lnTo>
                    <a:lnTo>
                      <a:pt x="10" y="295"/>
                    </a:lnTo>
                    <a:lnTo>
                      <a:pt x="4" y="297"/>
                    </a:lnTo>
                    <a:lnTo>
                      <a:pt x="4" y="298"/>
                    </a:lnTo>
                    <a:lnTo>
                      <a:pt x="4" y="301"/>
                    </a:lnTo>
                    <a:lnTo>
                      <a:pt x="5" y="302"/>
                    </a:lnTo>
                    <a:lnTo>
                      <a:pt x="7" y="304"/>
                    </a:lnTo>
                    <a:lnTo>
                      <a:pt x="8" y="305"/>
                    </a:lnTo>
                    <a:lnTo>
                      <a:pt x="11" y="305"/>
                    </a:lnTo>
                    <a:lnTo>
                      <a:pt x="14" y="305"/>
                    </a:lnTo>
                    <a:lnTo>
                      <a:pt x="20" y="304"/>
                    </a:lnTo>
                    <a:lnTo>
                      <a:pt x="23" y="304"/>
                    </a:lnTo>
                    <a:lnTo>
                      <a:pt x="24" y="304"/>
                    </a:lnTo>
                    <a:lnTo>
                      <a:pt x="26" y="305"/>
                    </a:lnTo>
                    <a:lnTo>
                      <a:pt x="27" y="305"/>
                    </a:lnTo>
                    <a:lnTo>
                      <a:pt x="28" y="305"/>
                    </a:lnTo>
                    <a:lnTo>
                      <a:pt x="30" y="304"/>
                    </a:lnTo>
                    <a:lnTo>
                      <a:pt x="30" y="302"/>
                    </a:lnTo>
                    <a:lnTo>
                      <a:pt x="31" y="301"/>
                    </a:lnTo>
                    <a:lnTo>
                      <a:pt x="31" y="301"/>
                    </a:lnTo>
                    <a:lnTo>
                      <a:pt x="33" y="302"/>
                    </a:lnTo>
                    <a:lnTo>
                      <a:pt x="34" y="304"/>
                    </a:lnTo>
                    <a:lnTo>
                      <a:pt x="37" y="304"/>
                    </a:lnTo>
                    <a:lnTo>
                      <a:pt x="40" y="304"/>
                    </a:lnTo>
                    <a:lnTo>
                      <a:pt x="43" y="302"/>
                    </a:lnTo>
                    <a:lnTo>
                      <a:pt x="44" y="301"/>
                    </a:lnTo>
                    <a:lnTo>
                      <a:pt x="44" y="298"/>
                    </a:lnTo>
                    <a:lnTo>
                      <a:pt x="47" y="297"/>
                    </a:lnTo>
                    <a:lnTo>
                      <a:pt x="46" y="301"/>
                    </a:lnTo>
                    <a:lnTo>
                      <a:pt x="46" y="302"/>
                    </a:lnTo>
                    <a:lnTo>
                      <a:pt x="49" y="302"/>
                    </a:lnTo>
                    <a:lnTo>
                      <a:pt x="46" y="304"/>
                    </a:lnTo>
                    <a:lnTo>
                      <a:pt x="43" y="305"/>
                    </a:lnTo>
                    <a:lnTo>
                      <a:pt x="40" y="307"/>
                    </a:lnTo>
                    <a:lnTo>
                      <a:pt x="40" y="310"/>
                    </a:lnTo>
                    <a:lnTo>
                      <a:pt x="40" y="310"/>
                    </a:lnTo>
                    <a:lnTo>
                      <a:pt x="37" y="307"/>
                    </a:lnTo>
                    <a:lnTo>
                      <a:pt x="34" y="305"/>
                    </a:lnTo>
                    <a:lnTo>
                      <a:pt x="33" y="305"/>
                    </a:lnTo>
                    <a:lnTo>
                      <a:pt x="28" y="307"/>
                    </a:lnTo>
                    <a:lnTo>
                      <a:pt x="26" y="307"/>
                    </a:lnTo>
                    <a:lnTo>
                      <a:pt x="21" y="305"/>
                    </a:lnTo>
                    <a:lnTo>
                      <a:pt x="20" y="305"/>
                    </a:lnTo>
                    <a:lnTo>
                      <a:pt x="17" y="305"/>
                    </a:lnTo>
                    <a:lnTo>
                      <a:pt x="13" y="307"/>
                    </a:lnTo>
                    <a:lnTo>
                      <a:pt x="10" y="307"/>
                    </a:lnTo>
                    <a:lnTo>
                      <a:pt x="7" y="307"/>
                    </a:lnTo>
                    <a:lnTo>
                      <a:pt x="5" y="307"/>
                    </a:lnTo>
                    <a:lnTo>
                      <a:pt x="4" y="308"/>
                    </a:lnTo>
                    <a:lnTo>
                      <a:pt x="4" y="310"/>
                    </a:lnTo>
                    <a:lnTo>
                      <a:pt x="4" y="315"/>
                    </a:lnTo>
                    <a:lnTo>
                      <a:pt x="4" y="317"/>
                    </a:lnTo>
                    <a:lnTo>
                      <a:pt x="5" y="318"/>
                    </a:lnTo>
                    <a:lnTo>
                      <a:pt x="7" y="320"/>
                    </a:lnTo>
                    <a:lnTo>
                      <a:pt x="8" y="321"/>
                    </a:lnTo>
                    <a:lnTo>
                      <a:pt x="10" y="321"/>
                    </a:lnTo>
                    <a:lnTo>
                      <a:pt x="13" y="318"/>
                    </a:lnTo>
                    <a:lnTo>
                      <a:pt x="15" y="318"/>
                    </a:lnTo>
                    <a:lnTo>
                      <a:pt x="11" y="320"/>
                    </a:lnTo>
                    <a:lnTo>
                      <a:pt x="8" y="322"/>
                    </a:lnTo>
                    <a:lnTo>
                      <a:pt x="7" y="324"/>
                    </a:lnTo>
                    <a:lnTo>
                      <a:pt x="7" y="328"/>
                    </a:lnTo>
                    <a:lnTo>
                      <a:pt x="8" y="331"/>
                    </a:lnTo>
                    <a:lnTo>
                      <a:pt x="11" y="331"/>
                    </a:lnTo>
                    <a:lnTo>
                      <a:pt x="13" y="333"/>
                    </a:lnTo>
                    <a:lnTo>
                      <a:pt x="15" y="334"/>
                    </a:lnTo>
                    <a:lnTo>
                      <a:pt x="14" y="334"/>
                    </a:lnTo>
                    <a:lnTo>
                      <a:pt x="10" y="334"/>
                    </a:lnTo>
                    <a:lnTo>
                      <a:pt x="7" y="334"/>
                    </a:lnTo>
                    <a:lnTo>
                      <a:pt x="7" y="335"/>
                    </a:lnTo>
                    <a:lnTo>
                      <a:pt x="5" y="341"/>
                    </a:lnTo>
                    <a:lnTo>
                      <a:pt x="5" y="345"/>
                    </a:lnTo>
                    <a:lnTo>
                      <a:pt x="7" y="345"/>
                    </a:lnTo>
                    <a:lnTo>
                      <a:pt x="10" y="344"/>
                    </a:lnTo>
                    <a:lnTo>
                      <a:pt x="13" y="341"/>
                    </a:lnTo>
                    <a:lnTo>
                      <a:pt x="23" y="330"/>
                    </a:lnTo>
                    <a:lnTo>
                      <a:pt x="30" y="324"/>
                    </a:lnTo>
                    <a:lnTo>
                      <a:pt x="38" y="322"/>
                    </a:lnTo>
                    <a:lnTo>
                      <a:pt x="37" y="324"/>
                    </a:lnTo>
                    <a:lnTo>
                      <a:pt x="34" y="325"/>
                    </a:lnTo>
                    <a:lnTo>
                      <a:pt x="33" y="325"/>
                    </a:lnTo>
                    <a:lnTo>
                      <a:pt x="33" y="327"/>
                    </a:lnTo>
                    <a:lnTo>
                      <a:pt x="31" y="330"/>
                    </a:lnTo>
                    <a:lnTo>
                      <a:pt x="30" y="333"/>
                    </a:lnTo>
                    <a:lnTo>
                      <a:pt x="31" y="328"/>
                    </a:lnTo>
                    <a:lnTo>
                      <a:pt x="30" y="327"/>
                    </a:lnTo>
                    <a:lnTo>
                      <a:pt x="27" y="327"/>
                    </a:lnTo>
                    <a:lnTo>
                      <a:pt x="26" y="328"/>
                    </a:lnTo>
                    <a:lnTo>
                      <a:pt x="24" y="330"/>
                    </a:lnTo>
                    <a:lnTo>
                      <a:pt x="23" y="334"/>
                    </a:lnTo>
                    <a:lnTo>
                      <a:pt x="21" y="335"/>
                    </a:lnTo>
                    <a:lnTo>
                      <a:pt x="18" y="337"/>
                    </a:lnTo>
                    <a:lnTo>
                      <a:pt x="17" y="340"/>
                    </a:lnTo>
                    <a:lnTo>
                      <a:pt x="17" y="341"/>
                    </a:lnTo>
                    <a:lnTo>
                      <a:pt x="18" y="343"/>
                    </a:lnTo>
                    <a:lnTo>
                      <a:pt x="20" y="343"/>
                    </a:lnTo>
                    <a:lnTo>
                      <a:pt x="24" y="341"/>
                    </a:lnTo>
                    <a:lnTo>
                      <a:pt x="24" y="343"/>
                    </a:lnTo>
                    <a:lnTo>
                      <a:pt x="23" y="343"/>
                    </a:lnTo>
                    <a:lnTo>
                      <a:pt x="18" y="344"/>
                    </a:lnTo>
                    <a:lnTo>
                      <a:pt x="18" y="344"/>
                    </a:lnTo>
                    <a:lnTo>
                      <a:pt x="17" y="345"/>
                    </a:lnTo>
                    <a:lnTo>
                      <a:pt x="17" y="345"/>
                    </a:lnTo>
                    <a:lnTo>
                      <a:pt x="15" y="345"/>
                    </a:lnTo>
                    <a:lnTo>
                      <a:pt x="15" y="345"/>
                    </a:lnTo>
                    <a:lnTo>
                      <a:pt x="14" y="345"/>
                    </a:lnTo>
                    <a:lnTo>
                      <a:pt x="13" y="345"/>
                    </a:lnTo>
                    <a:lnTo>
                      <a:pt x="10" y="345"/>
                    </a:lnTo>
                    <a:lnTo>
                      <a:pt x="8" y="348"/>
                    </a:lnTo>
                    <a:lnTo>
                      <a:pt x="7" y="353"/>
                    </a:lnTo>
                    <a:lnTo>
                      <a:pt x="5" y="356"/>
                    </a:lnTo>
                    <a:lnTo>
                      <a:pt x="7" y="360"/>
                    </a:lnTo>
                    <a:lnTo>
                      <a:pt x="10" y="358"/>
                    </a:lnTo>
                    <a:lnTo>
                      <a:pt x="23" y="351"/>
                    </a:lnTo>
                    <a:lnTo>
                      <a:pt x="26" y="350"/>
                    </a:lnTo>
                    <a:lnTo>
                      <a:pt x="28" y="350"/>
                    </a:lnTo>
                    <a:lnTo>
                      <a:pt x="27" y="350"/>
                    </a:lnTo>
                    <a:lnTo>
                      <a:pt x="26" y="351"/>
                    </a:lnTo>
                    <a:lnTo>
                      <a:pt x="23" y="354"/>
                    </a:lnTo>
                    <a:lnTo>
                      <a:pt x="21" y="356"/>
                    </a:lnTo>
                    <a:lnTo>
                      <a:pt x="21" y="356"/>
                    </a:lnTo>
                    <a:lnTo>
                      <a:pt x="20" y="360"/>
                    </a:lnTo>
                    <a:lnTo>
                      <a:pt x="20" y="361"/>
                    </a:lnTo>
                    <a:lnTo>
                      <a:pt x="20" y="361"/>
                    </a:lnTo>
                    <a:lnTo>
                      <a:pt x="20" y="363"/>
                    </a:lnTo>
                    <a:lnTo>
                      <a:pt x="21" y="364"/>
                    </a:lnTo>
                    <a:lnTo>
                      <a:pt x="23" y="364"/>
                    </a:lnTo>
                    <a:lnTo>
                      <a:pt x="24" y="364"/>
                    </a:lnTo>
                    <a:lnTo>
                      <a:pt x="26" y="364"/>
                    </a:lnTo>
                    <a:lnTo>
                      <a:pt x="27" y="364"/>
                    </a:lnTo>
                    <a:lnTo>
                      <a:pt x="26" y="364"/>
                    </a:lnTo>
                    <a:lnTo>
                      <a:pt x="24" y="366"/>
                    </a:lnTo>
                    <a:lnTo>
                      <a:pt x="24" y="367"/>
                    </a:lnTo>
                    <a:lnTo>
                      <a:pt x="21" y="367"/>
                    </a:lnTo>
                    <a:lnTo>
                      <a:pt x="20" y="366"/>
                    </a:lnTo>
                    <a:lnTo>
                      <a:pt x="18" y="364"/>
                    </a:lnTo>
                    <a:lnTo>
                      <a:pt x="15" y="364"/>
                    </a:lnTo>
                    <a:lnTo>
                      <a:pt x="14" y="364"/>
                    </a:lnTo>
                    <a:lnTo>
                      <a:pt x="13" y="366"/>
                    </a:lnTo>
                    <a:lnTo>
                      <a:pt x="13" y="367"/>
                    </a:lnTo>
                    <a:lnTo>
                      <a:pt x="13" y="370"/>
                    </a:lnTo>
                    <a:lnTo>
                      <a:pt x="13" y="371"/>
                    </a:lnTo>
                    <a:lnTo>
                      <a:pt x="14" y="374"/>
                    </a:lnTo>
                    <a:lnTo>
                      <a:pt x="15" y="376"/>
                    </a:lnTo>
                    <a:lnTo>
                      <a:pt x="20" y="378"/>
                    </a:lnTo>
                    <a:lnTo>
                      <a:pt x="24" y="381"/>
                    </a:lnTo>
                    <a:lnTo>
                      <a:pt x="26" y="383"/>
                    </a:lnTo>
                    <a:lnTo>
                      <a:pt x="28" y="383"/>
                    </a:lnTo>
                    <a:lnTo>
                      <a:pt x="30" y="383"/>
                    </a:lnTo>
                    <a:lnTo>
                      <a:pt x="31" y="383"/>
                    </a:lnTo>
                    <a:lnTo>
                      <a:pt x="33" y="383"/>
                    </a:lnTo>
                    <a:lnTo>
                      <a:pt x="33" y="384"/>
                    </a:lnTo>
                    <a:lnTo>
                      <a:pt x="33" y="386"/>
                    </a:lnTo>
                    <a:lnTo>
                      <a:pt x="31" y="387"/>
                    </a:lnTo>
                    <a:lnTo>
                      <a:pt x="31" y="389"/>
                    </a:lnTo>
                    <a:lnTo>
                      <a:pt x="34" y="389"/>
                    </a:lnTo>
                    <a:lnTo>
                      <a:pt x="34" y="389"/>
                    </a:lnTo>
                    <a:lnTo>
                      <a:pt x="36" y="387"/>
                    </a:lnTo>
                    <a:lnTo>
                      <a:pt x="36" y="386"/>
                    </a:lnTo>
                    <a:lnTo>
                      <a:pt x="37" y="387"/>
                    </a:lnTo>
                    <a:lnTo>
                      <a:pt x="38" y="389"/>
                    </a:lnTo>
                    <a:lnTo>
                      <a:pt x="46" y="389"/>
                    </a:lnTo>
                    <a:lnTo>
                      <a:pt x="54" y="387"/>
                    </a:lnTo>
                    <a:lnTo>
                      <a:pt x="60" y="386"/>
                    </a:lnTo>
                    <a:lnTo>
                      <a:pt x="63" y="384"/>
                    </a:lnTo>
                    <a:lnTo>
                      <a:pt x="73" y="376"/>
                    </a:lnTo>
                    <a:lnTo>
                      <a:pt x="77" y="371"/>
                    </a:lnTo>
                    <a:lnTo>
                      <a:pt x="80" y="370"/>
                    </a:lnTo>
                    <a:lnTo>
                      <a:pt x="79" y="367"/>
                    </a:lnTo>
                    <a:lnTo>
                      <a:pt x="82" y="367"/>
                    </a:lnTo>
                    <a:lnTo>
                      <a:pt x="84" y="366"/>
                    </a:lnTo>
                    <a:lnTo>
                      <a:pt x="86" y="363"/>
                    </a:lnTo>
                    <a:lnTo>
                      <a:pt x="83" y="361"/>
                    </a:lnTo>
                    <a:lnTo>
                      <a:pt x="84" y="361"/>
                    </a:lnTo>
                    <a:lnTo>
                      <a:pt x="86" y="361"/>
                    </a:lnTo>
                    <a:lnTo>
                      <a:pt x="89" y="364"/>
                    </a:lnTo>
                    <a:lnTo>
                      <a:pt x="89" y="364"/>
                    </a:lnTo>
                    <a:lnTo>
                      <a:pt x="90" y="364"/>
                    </a:lnTo>
                    <a:lnTo>
                      <a:pt x="92" y="364"/>
                    </a:lnTo>
                    <a:lnTo>
                      <a:pt x="93" y="364"/>
                    </a:lnTo>
                    <a:lnTo>
                      <a:pt x="94" y="363"/>
                    </a:lnTo>
                    <a:lnTo>
                      <a:pt x="96" y="361"/>
                    </a:lnTo>
                    <a:lnTo>
                      <a:pt x="99" y="358"/>
                    </a:lnTo>
                    <a:lnTo>
                      <a:pt x="99" y="357"/>
                    </a:lnTo>
                    <a:lnTo>
                      <a:pt x="99" y="356"/>
                    </a:lnTo>
                    <a:lnTo>
                      <a:pt x="99" y="354"/>
                    </a:lnTo>
                    <a:lnTo>
                      <a:pt x="99" y="351"/>
                    </a:lnTo>
                    <a:lnTo>
                      <a:pt x="99" y="351"/>
                    </a:lnTo>
                    <a:lnTo>
                      <a:pt x="100" y="350"/>
                    </a:lnTo>
                    <a:lnTo>
                      <a:pt x="100" y="350"/>
                    </a:lnTo>
                    <a:lnTo>
                      <a:pt x="100" y="348"/>
                    </a:lnTo>
                    <a:lnTo>
                      <a:pt x="102" y="347"/>
                    </a:lnTo>
                    <a:lnTo>
                      <a:pt x="100" y="345"/>
                    </a:lnTo>
                    <a:lnTo>
                      <a:pt x="102" y="344"/>
                    </a:lnTo>
                    <a:lnTo>
                      <a:pt x="102" y="343"/>
                    </a:lnTo>
                    <a:lnTo>
                      <a:pt x="102" y="347"/>
                    </a:lnTo>
                    <a:lnTo>
                      <a:pt x="102" y="351"/>
                    </a:lnTo>
                    <a:lnTo>
                      <a:pt x="103" y="356"/>
                    </a:lnTo>
                    <a:lnTo>
                      <a:pt x="106" y="358"/>
                    </a:lnTo>
                    <a:lnTo>
                      <a:pt x="107" y="358"/>
                    </a:lnTo>
                    <a:lnTo>
                      <a:pt x="112" y="360"/>
                    </a:lnTo>
                    <a:lnTo>
                      <a:pt x="115" y="361"/>
                    </a:lnTo>
                    <a:lnTo>
                      <a:pt x="116" y="363"/>
                    </a:lnTo>
                    <a:lnTo>
                      <a:pt x="117" y="366"/>
                    </a:lnTo>
                    <a:lnTo>
                      <a:pt x="119" y="366"/>
                    </a:lnTo>
                    <a:close/>
                    <a:moveTo>
                      <a:pt x="5" y="330"/>
                    </a:moveTo>
                    <a:lnTo>
                      <a:pt x="5" y="331"/>
                    </a:lnTo>
                    <a:lnTo>
                      <a:pt x="4" y="331"/>
                    </a:lnTo>
                    <a:lnTo>
                      <a:pt x="3" y="330"/>
                    </a:lnTo>
                    <a:lnTo>
                      <a:pt x="3" y="327"/>
                    </a:lnTo>
                    <a:lnTo>
                      <a:pt x="3" y="325"/>
                    </a:lnTo>
                    <a:lnTo>
                      <a:pt x="4" y="325"/>
                    </a:lnTo>
                    <a:lnTo>
                      <a:pt x="4" y="327"/>
                    </a:lnTo>
                    <a:lnTo>
                      <a:pt x="5" y="330"/>
                    </a:lnTo>
                    <a:close/>
                    <a:moveTo>
                      <a:pt x="63" y="233"/>
                    </a:moveTo>
                    <a:lnTo>
                      <a:pt x="61" y="233"/>
                    </a:lnTo>
                    <a:lnTo>
                      <a:pt x="64" y="232"/>
                    </a:lnTo>
                    <a:lnTo>
                      <a:pt x="67" y="230"/>
                    </a:lnTo>
                    <a:lnTo>
                      <a:pt x="69" y="230"/>
                    </a:lnTo>
                    <a:lnTo>
                      <a:pt x="70" y="232"/>
                    </a:lnTo>
                    <a:lnTo>
                      <a:pt x="69" y="233"/>
                    </a:lnTo>
                    <a:lnTo>
                      <a:pt x="66" y="233"/>
                    </a:lnTo>
                    <a:lnTo>
                      <a:pt x="63" y="233"/>
                    </a:lnTo>
                    <a:close/>
                    <a:moveTo>
                      <a:pt x="53" y="243"/>
                    </a:moveTo>
                    <a:lnTo>
                      <a:pt x="53" y="242"/>
                    </a:lnTo>
                    <a:lnTo>
                      <a:pt x="54" y="241"/>
                    </a:lnTo>
                    <a:lnTo>
                      <a:pt x="56" y="241"/>
                    </a:lnTo>
                    <a:lnTo>
                      <a:pt x="59" y="241"/>
                    </a:lnTo>
                    <a:lnTo>
                      <a:pt x="59" y="243"/>
                    </a:lnTo>
                    <a:lnTo>
                      <a:pt x="57" y="243"/>
                    </a:lnTo>
                    <a:lnTo>
                      <a:pt x="56" y="243"/>
                    </a:lnTo>
                    <a:lnTo>
                      <a:pt x="53" y="243"/>
                    </a:lnTo>
                    <a:close/>
                    <a:moveTo>
                      <a:pt x="0" y="307"/>
                    </a:moveTo>
                    <a:lnTo>
                      <a:pt x="0" y="305"/>
                    </a:lnTo>
                    <a:lnTo>
                      <a:pt x="0" y="304"/>
                    </a:lnTo>
                    <a:lnTo>
                      <a:pt x="1" y="304"/>
                    </a:lnTo>
                    <a:lnTo>
                      <a:pt x="3" y="302"/>
                    </a:lnTo>
                    <a:lnTo>
                      <a:pt x="3" y="305"/>
                    </a:lnTo>
                    <a:lnTo>
                      <a:pt x="3" y="307"/>
                    </a:lnTo>
                    <a:lnTo>
                      <a:pt x="1" y="307"/>
                    </a:lnTo>
                    <a:lnTo>
                      <a:pt x="0" y="307"/>
                    </a:lnTo>
                    <a:close/>
                    <a:moveTo>
                      <a:pt x="168" y="80"/>
                    </a:moveTo>
                    <a:lnTo>
                      <a:pt x="171" y="80"/>
                    </a:lnTo>
                    <a:lnTo>
                      <a:pt x="172" y="78"/>
                    </a:lnTo>
                    <a:lnTo>
                      <a:pt x="175" y="77"/>
                    </a:lnTo>
                    <a:lnTo>
                      <a:pt x="179" y="77"/>
                    </a:lnTo>
                    <a:lnTo>
                      <a:pt x="182" y="75"/>
                    </a:lnTo>
                    <a:lnTo>
                      <a:pt x="185" y="74"/>
                    </a:lnTo>
                    <a:lnTo>
                      <a:pt x="186" y="72"/>
                    </a:lnTo>
                    <a:lnTo>
                      <a:pt x="188" y="69"/>
                    </a:lnTo>
                    <a:lnTo>
                      <a:pt x="188" y="68"/>
                    </a:lnTo>
                    <a:lnTo>
                      <a:pt x="189" y="67"/>
                    </a:lnTo>
                    <a:lnTo>
                      <a:pt x="188" y="65"/>
                    </a:lnTo>
                    <a:lnTo>
                      <a:pt x="188" y="64"/>
                    </a:lnTo>
                    <a:lnTo>
                      <a:pt x="188" y="62"/>
                    </a:lnTo>
                    <a:lnTo>
                      <a:pt x="188" y="61"/>
                    </a:lnTo>
                    <a:lnTo>
                      <a:pt x="192" y="58"/>
                    </a:lnTo>
                    <a:lnTo>
                      <a:pt x="196" y="57"/>
                    </a:lnTo>
                    <a:lnTo>
                      <a:pt x="199" y="57"/>
                    </a:lnTo>
                    <a:lnTo>
                      <a:pt x="196" y="59"/>
                    </a:lnTo>
                    <a:lnTo>
                      <a:pt x="195" y="61"/>
                    </a:lnTo>
                    <a:lnTo>
                      <a:pt x="195" y="62"/>
                    </a:lnTo>
                    <a:lnTo>
                      <a:pt x="195" y="65"/>
                    </a:lnTo>
                    <a:lnTo>
                      <a:pt x="195" y="68"/>
                    </a:lnTo>
                    <a:lnTo>
                      <a:pt x="195" y="69"/>
                    </a:lnTo>
                    <a:lnTo>
                      <a:pt x="194" y="71"/>
                    </a:lnTo>
                    <a:lnTo>
                      <a:pt x="192" y="74"/>
                    </a:lnTo>
                    <a:lnTo>
                      <a:pt x="196" y="71"/>
                    </a:lnTo>
                    <a:lnTo>
                      <a:pt x="198" y="71"/>
                    </a:lnTo>
                    <a:lnTo>
                      <a:pt x="198" y="69"/>
                    </a:lnTo>
                    <a:lnTo>
                      <a:pt x="199" y="67"/>
                    </a:lnTo>
                    <a:lnTo>
                      <a:pt x="199" y="67"/>
                    </a:lnTo>
                    <a:lnTo>
                      <a:pt x="202" y="65"/>
                    </a:lnTo>
                    <a:lnTo>
                      <a:pt x="205" y="67"/>
                    </a:lnTo>
                    <a:lnTo>
                      <a:pt x="206" y="69"/>
                    </a:lnTo>
                    <a:lnTo>
                      <a:pt x="206" y="71"/>
                    </a:lnTo>
                    <a:lnTo>
                      <a:pt x="205" y="72"/>
                    </a:lnTo>
                    <a:lnTo>
                      <a:pt x="204" y="74"/>
                    </a:lnTo>
                    <a:lnTo>
                      <a:pt x="201" y="74"/>
                    </a:lnTo>
                    <a:lnTo>
                      <a:pt x="199" y="75"/>
                    </a:lnTo>
                    <a:lnTo>
                      <a:pt x="196" y="77"/>
                    </a:lnTo>
                    <a:lnTo>
                      <a:pt x="195" y="78"/>
                    </a:lnTo>
                    <a:lnTo>
                      <a:pt x="195" y="78"/>
                    </a:lnTo>
                    <a:lnTo>
                      <a:pt x="194" y="78"/>
                    </a:lnTo>
                    <a:lnTo>
                      <a:pt x="194" y="78"/>
                    </a:lnTo>
                    <a:lnTo>
                      <a:pt x="192" y="78"/>
                    </a:lnTo>
                    <a:lnTo>
                      <a:pt x="192" y="78"/>
                    </a:lnTo>
                    <a:lnTo>
                      <a:pt x="191" y="80"/>
                    </a:lnTo>
                    <a:lnTo>
                      <a:pt x="189" y="80"/>
                    </a:lnTo>
                    <a:lnTo>
                      <a:pt x="188" y="80"/>
                    </a:lnTo>
                    <a:lnTo>
                      <a:pt x="186" y="80"/>
                    </a:lnTo>
                    <a:lnTo>
                      <a:pt x="185" y="78"/>
                    </a:lnTo>
                    <a:lnTo>
                      <a:pt x="175" y="82"/>
                    </a:lnTo>
                    <a:lnTo>
                      <a:pt x="169" y="84"/>
                    </a:lnTo>
                    <a:lnTo>
                      <a:pt x="166" y="81"/>
                    </a:lnTo>
                    <a:lnTo>
                      <a:pt x="168" y="80"/>
                    </a:lnTo>
                    <a:close/>
                    <a:moveTo>
                      <a:pt x="232" y="54"/>
                    </a:moveTo>
                    <a:lnTo>
                      <a:pt x="234" y="52"/>
                    </a:lnTo>
                    <a:lnTo>
                      <a:pt x="232" y="51"/>
                    </a:lnTo>
                    <a:lnTo>
                      <a:pt x="231" y="51"/>
                    </a:lnTo>
                    <a:lnTo>
                      <a:pt x="229" y="49"/>
                    </a:lnTo>
                    <a:lnTo>
                      <a:pt x="228" y="49"/>
                    </a:lnTo>
                    <a:lnTo>
                      <a:pt x="227" y="49"/>
                    </a:lnTo>
                    <a:lnTo>
                      <a:pt x="224" y="49"/>
                    </a:lnTo>
                    <a:lnTo>
                      <a:pt x="221" y="49"/>
                    </a:lnTo>
                    <a:lnTo>
                      <a:pt x="218" y="51"/>
                    </a:lnTo>
                    <a:lnTo>
                      <a:pt x="219" y="51"/>
                    </a:lnTo>
                    <a:lnTo>
                      <a:pt x="221" y="52"/>
                    </a:lnTo>
                    <a:lnTo>
                      <a:pt x="221" y="52"/>
                    </a:lnTo>
                    <a:lnTo>
                      <a:pt x="221" y="54"/>
                    </a:lnTo>
                    <a:lnTo>
                      <a:pt x="219" y="54"/>
                    </a:lnTo>
                    <a:lnTo>
                      <a:pt x="218" y="54"/>
                    </a:lnTo>
                    <a:lnTo>
                      <a:pt x="217" y="54"/>
                    </a:lnTo>
                    <a:lnTo>
                      <a:pt x="215" y="54"/>
                    </a:lnTo>
                    <a:lnTo>
                      <a:pt x="214" y="55"/>
                    </a:lnTo>
                    <a:lnTo>
                      <a:pt x="214" y="58"/>
                    </a:lnTo>
                    <a:lnTo>
                      <a:pt x="214" y="58"/>
                    </a:lnTo>
                    <a:lnTo>
                      <a:pt x="214" y="59"/>
                    </a:lnTo>
                    <a:lnTo>
                      <a:pt x="212" y="59"/>
                    </a:lnTo>
                    <a:lnTo>
                      <a:pt x="211" y="61"/>
                    </a:lnTo>
                    <a:lnTo>
                      <a:pt x="212" y="61"/>
                    </a:lnTo>
                    <a:lnTo>
                      <a:pt x="215" y="61"/>
                    </a:lnTo>
                    <a:lnTo>
                      <a:pt x="217" y="62"/>
                    </a:lnTo>
                    <a:lnTo>
                      <a:pt x="217" y="61"/>
                    </a:lnTo>
                    <a:lnTo>
                      <a:pt x="218" y="61"/>
                    </a:lnTo>
                    <a:lnTo>
                      <a:pt x="218" y="61"/>
                    </a:lnTo>
                    <a:lnTo>
                      <a:pt x="219" y="59"/>
                    </a:lnTo>
                    <a:lnTo>
                      <a:pt x="222" y="58"/>
                    </a:lnTo>
                    <a:lnTo>
                      <a:pt x="228" y="58"/>
                    </a:lnTo>
                    <a:lnTo>
                      <a:pt x="231" y="58"/>
                    </a:lnTo>
                    <a:lnTo>
                      <a:pt x="231" y="55"/>
                    </a:lnTo>
                    <a:lnTo>
                      <a:pt x="231" y="55"/>
                    </a:lnTo>
                    <a:lnTo>
                      <a:pt x="232" y="54"/>
                    </a:lnTo>
                    <a:close/>
                    <a:moveTo>
                      <a:pt x="439" y="42"/>
                    </a:moveTo>
                    <a:lnTo>
                      <a:pt x="441" y="45"/>
                    </a:lnTo>
                    <a:lnTo>
                      <a:pt x="443" y="42"/>
                    </a:lnTo>
                    <a:lnTo>
                      <a:pt x="441" y="41"/>
                    </a:lnTo>
                    <a:lnTo>
                      <a:pt x="439" y="4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80" name="Freeform 86">
                <a:extLst>
                  <a:ext uri="{FF2B5EF4-FFF2-40B4-BE49-F238E27FC236}">
                    <a16:creationId xmlns:a16="http://schemas.microsoft.com/office/drawing/2014/main" id="{083D9D04-6071-AEBC-7292-4511CB17EAE5}"/>
                  </a:ext>
                </a:extLst>
              </p:cNvPr>
              <p:cNvSpPr>
                <a:spLocks noEditPoints="1"/>
              </p:cNvSpPr>
              <p:nvPr/>
            </p:nvSpPr>
            <p:spPr bwMode="auto">
              <a:xfrm>
                <a:off x="3932" y="1496"/>
                <a:ext cx="110" cy="56"/>
              </a:xfrm>
              <a:custGeom>
                <a:avLst/>
                <a:gdLst>
                  <a:gd name="T0" fmla="*/ 47 w 110"/>
                  <a:gd name="T1" fmla="*/ 36 h 56"/>
                  <a:gd name="T2" fmla="*/ 44 w 110"/>
                  <a:gd name="T3" fmla="*/ 33 h 56"/>
                  <a:gd name="T4" fmla="*/ 40 w 110"/>
                  <a:gd name="T5" fmla="*/ 36 h 56"/>
                  <a:gd name="T6" fmla="*/ 34 w 110"/>
                  <a:gd name="T7" fmla="*/ 34 h 56"/>
                  <a:gd name="T8" fmla="*/ 30 w 110"/>
                  <a:gd name="T9" fmla="*/ 24 h 56"/>
                  <a:gd name="T10" fmla="*/ 29 w 110"/>
                  <a:gd name="T11" fmla="*/ 17 h 56"/>
                  <a:gd name="T12" fmla="*/ 34 w 110"/>
                  <a:gd name="T13" fmla="*/ 10 h 56"/>
                  <a:gd name="T14" fmla="*/ 41 w 110"/>
                  <a:gd name="T15" fmla="*/ 6 h 56"/>
                  <a:gd name="T16" fmla="*/ 47 w 110"/>
                  <a:gd name="T17" fmla="*/ 4 h 56"/>
                  <a:gd name="T18" fmla="*/ 53 w 110"/>
                  <a:gd name="T19" fmla="*/ 3 h 56"/>
                  <a:gd name="T20" fmla="*/ 82 w 110"/>
                  <a:gd name="T21" fmla="*/ 3 h 56"/>
                  <a:gd name="T22" fmla="*/ 108 w 110"/>
                  <a:gd name="T23" fmla="*/ 4 h 56"/>
                  <a:gd name="T24" fmla="*/ 110 w 110"/>
                  <a:gd name="T25" fmla="*/ 7 h 56"/>
                  <a:gd name="T26" fmla="*/ 109 w 110"/>
                  <a:gd name="T27" fmla="*/ 9 h 56"/>
                  <a:gd name="T28" fmla="*/ 106 w 110"/>
                  <a:gd name="T29" fmla="*/ 9 h 56"/>
                  <a:gd name="T30" fmla="*/ 103 w 110"/>
                  <a:gd name="T31" fmla="*/ 16 h 56"/>
                  <a:gd name="T32" fmla="*/ 100 w 110"/>
                  <a:gd name="T33" fmla="*/ 20 h 56"/>
                  <a:gd name="T34" fmla="*/ 99 w 110"/>
                  <a:gd name="T35" fmla="*/ 20 h 56"/>
                  <a:gd name="T36" fmla="*/ 97 w 110"/>
                  <a:gd name="T37" fmla="*/ 23 h 56"/>
                  <a:gd name="T38" fmla="*/ 99 w 110"/>
                  <a:gd name="T39" fmla="*/ 34 h 56"/>
                  <a:gd name="T40" fmla="*/ 100 w 110"/>
                  <a:gd name="T41" fmla="*/ 39 h 56"/>
                  <a:gd name="T42" fmla="*/ 102 w 110"/>
                  <a:gd name="T43" fmla="*/ 44 h 56"/>
                  <a:gd name="T44" fmla="*/ 103 w 110"/>
                  <a:gd name="T45" fmla="*/ 47 h 56"/>
                  <a:gd name="T46" fmla="*/ 99 w 110"/>
                  <a:gd name="T47" fmla="*/ 50 h 56"/>
                  <a:gd name="T48" fmla="*/ 96 w 110"/>
                  <a:gd name="T49" fmla="*/ 54 h 56"/>
                  <a:gd name="T50" fmla="*/ 95 w 110"/>
                  <a:gd name="T51" fmla="*/ 56 h 56"/>
                  <a:gd name="T52" fmla="*/ 83 w 110"/>
                  <a:gd name="T53" fmla="*/ 56 h 56"/>
                  <a:gd name="T54" fmla="*/ 73 w 110"/>
                  <a:gd name="T55" fmla="*/ 49 h 56"/>
                  <a:gd name="T56" fmla="*/ 60 w 110"/>
                  <a:gd name="T57" fmla="*/ 43 h 56"/>
                  <a:gd name="T58" fmla="*/ 46 w 110"/>
                  <a:gd name="T59" fmla="*/ 46 h 56"/>
                  <a:gd name="T60" fmla="*/ 8 w 110"/>
                  <a:gd name="T61" fmla="*/ 20 h 56"/>
                  <a:gd name="T62" fmla="*/ 11 w 110"/>
                  <a:gd name="T63" fmla="*/ 23 h 56"/>
                  <a:gd name="T64" fmla="*/ 16 w 110"/>
                  <a:gd name="T65" fmla="*/ 21 h 56"/>
                  <a:gd name="T66" fmla="*/ 20 w 110"/>
                  <a:gd name="T67" fmla="*/ 21 h 56"/>
                  <a:gd name="T68" fmla="*/ 17 w 110"/>
                  <a:gd name="T69" fmla="*/ 17 h 56"/>
                  <a:gd name="T70" fmla="*/ 13 w 110"/>
                  <a:gd name="T71" fmla="*/ 16 h 56"/>
                  <a:gd name="T72" fmla="*/ 8 w 110"/>
                  <a:gd name="T73" fmla="*/ 19 h 56"/>
                  <a:gd name="T74" fmla="*/ 26 w 110"/>
                  <a:gd name="T75" fmla="*/ 29 h 56"/>
                  <a:gd name="T76" fmla="*/ 21 w 110"/>
                  <a:gd name="T77" fmla="*/ 27 h 56"/>
                  <a:gd name="T78" fmla="*/ 0 w 110"/>
                  <a:gd name="T79" fmla="*/ 30 h 56"/>
                  <a:gd name="T80" fmla="*/ 0 w 110"/>
                  <a:gd name="T81" fmla="*/ 36 h 56"/>
                  <a:gd name="T82" fmla="*/ 3 w 110"/>
                  <a:gd name="T83" fmla="*/ 43 h 56"/>
                  <a:gd name="T84" fmla="*/ 7 w 110"/>
                  <a:gd name="T85" fmla="*/ 39 h 56"/>
                  <a:gd name="T86" fmla="*/ 14 w 110"/>
                  <a:gd name="T87" fmla="*/ 37 h 56"/>
                  <a:gd name="T88" fmla="*/ 26 w 110"/>
                  <a:gd name="T89" fmla="*/ 31 h 56"/>
                  <a:gd name="T90" fmla="*/ 17 w 110"/>
                  <a:gd name="T91" fmla="*/ 27 h 56"/>
                  <a:gd name="T92" fmla="*/ 8 w 110"/>
                  <a:gd name="T93" fmla="*/ 29 h 56"/>
                  <a:gd name="T94" fmla="*/ 1 w 110"/>
                  <a:gd name="T95" fmla="*/ 3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 h="56">
                    <a:moveTo>
                      <a:pt x="46" y="46"/>
                    </a:moveTo>
                    <a:lnTo>
                      <a:pt x="43" y="47"/>
                    </a:lnTo>
                    <a:lnTo>
                      <a:pt x="46" y="39"/>
                    </a:lnTo>
                    <a:lnTo>
                      <a:pt x="47" y="36"/>
                    </a:lnTo>
                    <a:lnTo>
                      <a:pt x="47" y="34"/>
                    </a:lnTo>
                    <a:lnTo>
                      <a:pt x="46" y="34"/>
                    </a:lnTo>
                    <a:lnTo>
                      <a:pt x="44" y="33"/>
                    </a:lnTo>
                    <a:lnTo>
                      <a:pt x="44" y="33"/>
                    </a:lnTo>
                    <a:lnTo>
                      <a:pt x="43" y="34"/>
                    </a:lnTo>
                    <a:lnTo>
                      <a:pt x="43" y="34"/>
                    </a:lnTo>
                    <a:lnTo>
                      <a:pt x="41" y="36"/>
                    </a:lnTo>
                    <a:lnTo>
                      <a:pt x="40" y="36"/>
                    </a:lnTo>
                    <a:lnTo>
                      <a:pt x="39" y="36"/>
                    </a:lnTo>
                    <a:lnTo>
                      <a:pt x="37" y="36"/>
                    </a:lnTo>
                    <a:lnTo>
                      <a:pt x="36" y="34"/>
                    </a:lnTo>
                    <a:lnTo>
                      <a:pt x="34" y="34"/>
                    </a:lnTo>
                    <a:lnTo>
                      <a:pt x="33" y="33"/>
                    </a:lnTo>
                    <a:lnTo>
                      <a:pt x="31" y="30"/>
                    </a:lnTo>
                    <a:lnTo>
                      <a:pt x="30" y="26"/>
                    </a:lnTo>
                    <a:lnTo>
                      <a:pt x="30" y="24"/>
                    </a:lnTo>
                    <a:lnTo>
                      <a:pt x="31" y="23"/>
                    </a:lnTo>
                    <a:lnTo>
                      <a:pt x="29" y="23"/>
                    </a:lnTo>
                    <a:lnTo>
                      <a:pt x="29" y="20"/>
                    </a:lnTo>
                    <a:lnTo>
                      <a:pt x="29" y="17"/>
                    </a:lnTo>
                    <a:lnTo>
                      <a:pt x="29" y="16"/>
                    </a:lnTo>
                    <a:lnTo>
                      <a:pt x="30" y="11"/>
                    </a:lnTo>
                    <a:lnTo>
                      <a:pt x="31" y="10"/>
                    </a:lnTo>
                    <a:lnTo>
                      <a:pt x="34" y="10"/>
                    </a:lnTo>
                    <a:lnTo>
                      <a:pt x="39" y="9"/>
                    </a:lnTo>
                    <a:lnTo>
                      <a:pt x="39" y="7"/>
                    </a:lnTo>
                    <a:lnTo>
                      <a:pt x="40" y="7"/>
                    </a:lnTo>
                    <a:lnTo>
                      <a:pt x="41" y="6"/>
                    </a:lnTo>
                    <a:lnTo>
                      <a:pt x="43" y="6"/>
                    </a:lnTo>
                    <a:lnTo>
                      <a:pt x="44" y="4"/>
                    </a:lnTo>
                    <a:lnTo>
                      <a:pt x="46" y="4"/>
                    </a:lnTo>
                    <a:lnTo>
                      <a:pt x="47" y="4"/>
                    </a:lnTo>
                    <a:lnTo>
                      <a:pt x="49" y="4"/>
                    </a:lnTo>
                    <a:lnTo>
                      <a:pt x="50" y="4"/>
                    </a:lnTo>
                    <a:lnTo>
                      <a:pt x="52" y="3"/>
                    </a:lnTo>
                    <a:lnTo>
                      <a:pt x="53" y="3"/>
                    </a:lnTo>
                    <a:lnTo>
                      <a:pt x="60" y="3"/>
                    </a:lnTo>
                    <a:lnTo>
                      <a:pt x="63" y="3"/>
                    </a:lnTo>
                    <a:lnTo>
                      <a:pt x="64" y="0"/>
                    </a:lnTo>
                    <a:lnTo>
                      <a:pt x="82" y="3"/>
                    </a:lnTo>
                    <a:lnTo>
                      <a:pt x="92" y="6"/>
                    </a:lnTo>
                    <a:lnTo>
                      <a:pt x="99" y="6"/>
                    </a:lnTo>
                    <a:lnTo>
                      <a:pt x="105" y="6"/>
                    </a:lnTo>
                    <a:lnTo>
                      <a:pt x="108" y="4"/>
                    </a:lnTo>
                    <a:lnTo>
                      <a:pt x="109" y="4"/>
                    </a:lnTo>
                    <a:lnTo>
                      <a:pt x="110" y="6"/>
                    </a:lnTo>
                    <a:lnTo>
                      <a:pt x="110" y="6"/>
                    </a:lnTo>
                    <a:lnTo>
                      <a:pt x="110" y="7"/>
                    </a:lnTo>
                    <a:lnTo>
                      <a:pt x="109" y="7"/>
                    </a:lnTo>
                    <a:lnTo>
                      <a:pt x="109" y="9"/>
                    </a:lnTo>
                    <a:lnTo>
                      <a:pt x="109" y="9"/>
                    </a:lnTo>
                    <a:lnTo>
                      <a:pt x="109" y="9"/>
                    </a:lnTo>
                    <a:lnTo>
                      <a:pt x="108" y="9"/>
                    </a:lnTo>
                    <a:lnTo>
                      <a:pt x="108" y="9"/>
                    </a:lnTo>
                    <a:lnTo>
                      <a:pt x="108" y="9"/>
                    </a:lnTo>
                    <a:lnTo>
                      <a:pt x="106" y="9"/>
                    </a:lnTo>
                    <a:lnTo>
                      <a:pt x="106" y="10"/>
                    </a:lnTo>
                    <a:lnTo>
                      <a:pt x="105" y="14"/>
                    </a:lnTo>
                    <a:lnTo>
                      <a:pt x="103" y="14"/>
                    </a:lnTo>
                    <a:lnTo>
                      <a:pt x="103" y="16"/>
                    </a:lnTo>
                    <a:lnTo>
                      <a:pt x="103" y="16"/>
                    </a:lnTo>
                    <a:lnTo>
                      <a:pt x="102" y="17"/>
                    </a:lnTo>
                    <a:lnTo>
                      <a:pt x="102" y="19"/>
                    </a:lnTo>
                    <a:lnTo>
                      <a:pt x="100" y="20"/>
                    </a:lnTo>
                    <a:lnTo>
                      <a:pt x="99" y="20"/>
                    </a:lnTo>
                    <a:lnTo>
                      <a:pt x="99" y="20"/>
                    </a:lnTo>
                    <a:lnTo>
                      <a:pt x="99" y="20"/>
                    </a:lnTo>
                    <a:lnTo>
                      <a:pt x="99" y="20"/>
                    </a:lnTo>
                    <a:lnTo>
                      <a:pt x="99" y="21"/>
                    </a:lnTo>
                    <a:lnTo>
                      <a:pt x="99" y="21"/>
                    </a:lnTo>
                    <a:lnTo>
                      <a:pt x="97" y="21"/>
                    </a:lnTo>
                    <a:lnTo>
                      <a:pt x="97" y="23"/>
                    </a:lnTo>
                    <a:lnTo>
                      <a:pt x="97" y="24"/>
                    </a:lnTo>
                    <a:lnTo>
                      <a:pt x="99" y="31"/>
                    </a:lnTo>
                    <a:lnTo>
                      <a:pt x="99" y="33"/>
                    </a:lnTo>
                    <a:lnTo>
                      <a:pt x="99" y="34"/>
                    </a:lnTo>
                    <a:lnTo>
                      <a:pt x="99" y="36"/>
                    </a:lnTo>
                    <a:lnTo>
                      <a:pt x="99" y="37"/>
                    </a:lnTo>
                    <a:lnTo>
                      <a:pt x="99" y="37"/>
                    </a:lnTo>
                    <a:lnTo>
                      <a:pt x="100" y="39"/>
                    </a:lnTo>
                    <a:lnTo>
                      <a:pt x="100" y="40"/>
                    </a:lnTo>
                    <a:lnTo>
                      <a:pt x="102" y="42"/>
                    </a:lnTo>
                    <a:lnTo>
                      <a:pt x="102" y="43"/>
                    </a:lnTo>
                    <a:lnTo>
                      <a:pt x="102" y="44"/>
                    </a:lnTo>
                    <a:lnTo>
                      <a:pt x="103" y="46"/>
                    </a:lnTo>
                    <a:lnTo>
                      <a:pt x="105" y="47"/>
                    </a:lnTo>
                    <a:lnTo>
                      <a:pt x="103" y="47"/>
                    </a:lnTo>
                    <a:lnTo>
                      <a:pt x="103" y="47"/>
                    </a:lnTo>
                    <a:lnTo>
                      <a:pt x="102" y="47"/>
                    </a:lnTo>
                    <a:lnTo>
                      <a:pt x="100" y="49"/>
                    </a:lnTo>
                    <a:lnTo>
                      <a:pt x="99" y="50"/>
                    </a:lnTo>
                    <a:lnTo>
                      <a:pt x="99" y="50"/>
                    </a:lnTo>
                    <a:lnTo>
                      <a:pt x="97" y="52"/>
                    </a:lnTo>
                    <a:lnTo>
                      <a:pt x="97" y="52"/>
                    </a:lnTo>
                    <a:lnTo>
                      <a:pt x="97" y="53"/>
                    </a:lnTo>
                    <a:lnTo>
                      <a:pt x="96" y="54"/>
                    </a:lnTo>
                    <a:lnTo>
                      <a:pt x="96" y="56"/>
                    </a:lnTo>
                    <a:lnTo>
                      <a:pt x="96" y="56"/>
                    </a:lnTo>
                    <a:lnTo>
                      <a:pt x="96" y="56"/>
                    </a:lnTo>
                    <a:lnTo>
                      <a:pt x="95" y="56"/>
                    </a:lnTo>
                    <a:lnTo>
                      <a:pt x="90" y="54"/>
                    </a:lnTo>
                    <a:lnTo>
                      <a:pt x="89" y="53"/>
                    </a:lnTo>
                    <a:lnTo>
                      <a:pt x="87" y="54"/>
                    </a:lnTo>
                    <a:lnTo>
                      <a:pt x="83" y="56"/>
                    </a:lnTo>
                    <a:lnTo>
                      <a:pt x="82" y="56"/>
                    </a:lnTo>
                    <a:lnTo>
                      <a:pt x="79" y="54"/>
                    </a:lnTo>
                    <a:lnTo>
                      <a:pt x="77" y="53"/>
                    </a:lnTo>
                    <a:lnTo>
                      <a:pt x="73" y="49"/>
                    </a:lnTo>
                    <a:lnTo>
                      <a:pt x="73" y="49"/>
                    </a:lnTo>
                    <a:lnTo>
                      <a:pt x="72" y="47"/>
                    </a:lnTo>
                    <a:lnTo>
                      <a:pt x="70" y="47"/>
                    </a:lnTo>
                    <a:lnTo>
                      <a:pt x="60" y="43"/>
                    </a:lnTo>
                    <a:lnTo>
                      <a:pt x="59" y="43"/>
                    </a:lnTo>
                    <a:lnTo>
                      <a:pt x="54" y="43"/>
                    </a:lnTo>
                    <a:lnTo>
                      <a:pt x="52" y="43"/>
                    </a:lnTo>
                    <a:lnTo>
                      <a:pt x="46" y="46"/>
                    </a:lnTo>
                    <a:close/>
                    <a:moveTo>
                      <a:pt x="4" y="19"/>
                    </a:moveTo>
                    <a:lnTo>
                      <a:pt x="6" y="19"/>
                    </a:lnTo>
                    <a:lnTo>
                      <a:pt x="7" y="19"/>
                    </a:lnTo>
                    <a:lnTo>
                      <a:pt x="8" y="20"/>
                    </a:lnTo>
                    <a:lnTo>
                      <a:pt x="8" y="20"/>
                    </a:lnTo>
                    <a:lnTo>
                      <a:pt x="10" y="21"/>
                    </a:lnTo>
                    <a:lnTo>
                      <a:pt x="10" y="23"/>
                    </a:lnTo>
                    <a:lnTo>
                      <a:pt x="11" y="23"/>
                    </a:lnTo>
                    <a:lnTo>
                      <a:pt x="11" y="24"/>
                    </a:lnTo>
                    <a:lnTo>
                      <a:pt x="13" y="24"/>
                    </a:lnTo>
                    <a:lnTo>
                      <a:pt x="14" y="24"/>
                    </a:lnTo>
                    <a:lnTo>
                      <a:pt x="16" y="21"/>
                    </a:lnTo>
                    <a:lnTo>
                      <a:pt x="17" y="23"/>
                    </a:lnTo>
                    <a:lnTo>
                      <a:pt x="18" y="23"/>
                    </a:lnTo>
                    <a:lnTo>
                      <a:pt x="18" y="21"/>
                    </a:lnTo>
                    <a:lnTo>
                      <a:pt x="20" y="21"/>
                    </a:lnTo>
                    <a:lnTo>
                      <a:pt x="20" y="20"/>
                    </a:lnTo>
                    <a:lnTo>
                      <a:pt x="20" y="19"/>
                    </a:lnTo>
                    <a:lnTo>
                      <a:pt x="17" y="17"/>
                    </a:lnTo>
                    <a:lnTo>
                      <a:pt x="17" y="17"/>
                    </a:lnTo>
                    <a:lnTo>
                      <a:pt x="16" y="16"/>
                    </a:lnTo>
                    <a:lnTo>
                      <a:pt x="14" y="16"/>
                    </a:lnTo>
                    <a:lnTo>
                      <a:pt x="14" y="14"/>
                    </a:lnTo>
                    <a:lnTo>
                      <a:pt x="13" y="16"/>
                    </a:lnTo>
                    <a:lnTo>
                      <a:pt x="11" y="16"/>
                    </a:lnTo>
                    <a:lnTo>
                      <a:pt x="11" y="17"/>
                    </a:lnTo>
                    <a:lnTo>
                      <a:pt x="10" y="17"/>
                    </a:lnTo>
                    <a:lnTo>
                      <a:pt x="8" y="19"/>
                    </a:lnTo>
                    <a:lnTo>
                      <a:pt x="3" y="19"/>
                    </a:lnTo>
                    <a:lnTo>
                      <a:pt x="4" y="19"/>
                    </a:lnTo>
                    <a:close/>
                    <a:moveTo>
                      <a:pt x="26" y="29"/>
                    </a:moveTo>
                    <a:lnTo>
                      <a:pt x="26" y="29"/>
                    </a:lnTo>
                    <a:lnTo>
                      <a:pt x="26" y="26"/>
                    </a:lnTo>
                    <a:lnTo>
                      <a:pt x="24" y="26"/>
                    </a:lnTo>
                    <a:lnTo>
                      <a:pt x="23" y="26"/>
                    </a:lnTo>
                    <a:lnTo>
                      <a:pt x="21" y="27"/>
                    </a:lnTo>
                    <a:lnTo>
                      <a:pt x="23" y="29"/>
                    </a:lnTo>
                    <a:lnTo>
                      <a:pt x="24" y="29"/>
                    </a:lnTo>
                    <a:lnTo>
                      <a:pt x="26" y="29"/>
                    </a:lnTo>
                    <a:close/>
                    <a:moveTo>
                      <a:pt x="0" y="30"/>
                    </a:moveTo>
                    <a:lnTo>
                      <a:pt x="1" y="31"/>
                    </a:lnTo>
                    <a:lnTo>
                      <a:pt x="1" y="33"/>
                    </a:lnTo>
                    <a:lnTo>
                      <a:pt x="1" y="34"/>
                    </a:lnTo>
                    <a:lnTo>
                      <a:pt x="0" y="36"/>
                    </a:lnTo>
                    <a:lnTo>
                      <a:pt x="1" y="37"/>
                    </a:lnTo>
                    <a:lnTo>
                      <a:pt x="3" y="37"/>
                    </a:lnTo>
                    <a:lnTo>
                      <a:pt x="6" y="39"/>
                    </a:lnTo>
                    <a:lnTo>
                      <a:pt x="3" y="43"/>
                    </a:lnTo>
                    <a:lnTo>
                      <a:pt x="3" y="44"/>
                    </a:lnTo>
                    <a:lnTo>
                      <a:pt x="4" y="44"/>
                    </a:lnTo>
                    <a:lnTo>
                      <a:pt x="6" y="43"/>
                    </a:lnTo>
                    <a:lnTo>
                      <a:pt x="7" y="39"/>
                    </a:lnTo>
                    <a:lnTo>
                      <a:pt x="10" y="37"/>
                    </a:lnTo>
                    <a:lnTo>
                      <a:pt x="10" y="37"/>
                    </a:lnTo>
                    <a:lnTo>
                      <a:pt x="13" y="37"/>
                    </a:lnTo>
                    <a:lnTo>
                      <a:pt x="14" y="37"/>
                    </a:lnTo>
                    <a:lnTo>
                      <a:pt x="16" y="37"/>
                    </a:lnTo>
                    <a:lnTo>
                      <a:pt x="21" y="33"/>
                    </a:lnTo>
                    <a:lnTo>
                      <a:pt x="23" y="31"/>
                    </a:lnTo>
                    <a:lnTo>
                      <a:pt x="26" y="31"/>
                    </a:lnTo>
                    <a:lnTo>
                      <a:pt x="24" y="30"/>
                    </a:lnTo>
                    <a:lnTo>
                      <a:pt x="23" y="29"/>
                    </a:lnTo>
                    <a:lnTo>
                      <a:pt x="20" y="27"/>
                    </a:lnTo>
                    <a:lnTo>
                      <a:pt x="17" y="27"/>
                    </a:lnTo>
                    <a:lnTo>
                      <a:pt x="14" y="27"/>
                    </a:lnTo>
                    <a:lnTo>
                      <a:pt x="11" y="27"/>
                    </a:lnTo>
                    <a:lnTo>
                      <a:pt x="8" y="27"/>
                    </a:lnTo>
                    <a:lnTo>
                      <a:pt x="8" y="29"/>
                    </a:lnTo>
                    <a:lnTo>
                      <a:pt x="7" y="29"/>
                    </a:lnTo>
                    <a:lnTo>
                      <a:pt x="6" y="30"/>
                    </a:lnTo>
                    <a:lnTo>
                      <a:pt x="4" y="30"/>
                    </a:lnTo>
                    <a:lnTo>
                      <a:pt x="1" y="30"/>
                    </a:lnTo>
                    <a:lnTo>
                      <a:pt x="0" y="3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81" name="Freeform 87">
                <a:extLst>
                  <a:ext uri="{FF2B5EF4-FFF2-40B4-BE49-F238E27FC236}">
                    <a16:creationId xmlns:a16="http://schemas.microsoft.com/office/drawing/2014/main" id="{54E50801-2414-F6DE-D80F-34A3E7475988}"/>
                  </a:ext>
                </a:extLst>
              </p:cNvPr>
              <p:cNvSpPr>
                <a:spLocks noEditPoints="1"/>
              </p:cNvSpPr>
              <p:nvPr/>
            </p:nvSpPr>
            <p:spPr bwMode="auto">
              <a:xfrm>
                <a:off x="3892" y="1184"/>
                <a:ext cx="211" cy="306"/>
              </a:xfrm>
              <a:custGeom>
                <a:avLst/>
                <a:gdLst>
                  <a:gd name="T0" fmla="*/ 156 w 211"/>
                  <a:gd name="T1" fmla="*/ 276 h 306"/>
                  <a:gd name="T2" fmla="*/ 169 w 211"/>
                  <a:gd name="T3" fmla="*/ 266 h 306"/>
                  <a:gd name="T4" fmla="*/ 199 w 211"/>
                  <a:gd name="T5" fmla="*/ 237 h 306"/>
                  <a:gd name="T6" fmla="*/ 209 w 211"/>
                  <a:gd name="T7" fmla="*/ 223 h 306"/>
                  <a:gd name="T8" fmla="*/ 202 w 211"/>
                  <a:gd name="T9" fmla="*/ 211 h 306"/>
                  <a:gd name="T10" fmla="*/ 186 w 211"/>
                  <a:gd name="T11" fmla="*/ 194 h 306"/>
                  <a:gd name="T12" fmla="*/ 192 w 211"/>
                  <a:gd name="T13" fmla="*/ 187 h 306"/>
                  <a:gd name="T14" fmla="*/ 185 w 211"/>
                  <a:gd name="T15" fmla="*/ 177 h 306"/>
                  <a:gd name="T16" fmla="*/ 185 w 211"/>
                  <a:gd name="T17" fmla="*/ 167 h 306"/>
                  <a:gd name="T18" fmla="*/ 176 w 211"/>
                  <a:gd name="T19" fmla="*/ 154 h 306"/>
                  <a:gd name="T20" fmla="*/ 178 w 211"/>
                  <a:gd name="T21" fmla="*/ 148 h 306"/>
                  <a:gd name="T22" fmla="*/ 176 w 211"/>
                  <a:gd name="T23" fmla="*/ 145 h 306"/>
                  <a:gd name="T24" fmla="*/ 179 w 211"/>
                  <a:gd name="T25" fmla="*/ 135 h 306"/>
                  <a:gd name="T26" fmla="*/ 185 w 211"/>
                  <a:gd name="T27" fmla="*/ 129 h 306"/>
                  <a:gd name="T28" fmla="*/ 173 w 211"/>
                  <a:gd name="T29" fmla="*/ 99 h 306"/>
                  <a:gd name="T30" fmla="*/ 168 w 211"/>
                  <a:gd name="T31" fmla="*/ 83 h 306"/>
                  <a:gd name="T32" fmla="*/ 182 w 211"/>
                  <a:gd name="T33" fmla="*/ 65 h 306"/>
                  <a:gd name="T34" fmla="*/ 169 w 211"/>
                  <a:gd name="T35" fmla="*/ 50 h 306"/>
                  <a:gd name="T36" fmla="*/ 162 w 211"/>
                  <a:gd name="T37" fmla="*/ 32 h 306"/>
                  <a:gd name="T38" fmla="*/ 163 w 211"/>
                  <a:gd name="T39" fmla="*/ 27 h 306"/>
                  <a:gd name="T40" fmla="*/ 152 w 211"/>
                  <a:gd name="T41" fmla="*/ 6 h 306"/>
                  <a:gd name="T42" fmla="*/ 126 w 211"/>
                  <a:gd name="T43" fmla="*/ 4 h 306"/>
                  <a:gd name="T44" fmla="*/ 110 w 211"/>
                  <a:gd name="T45" fmla="*/ 16 h 306"/>
                  <a:gd name="T46" fmla="*/ 96 w 211"/>
                  <a:gd name="T47" fmla="*/ 36 h 306"/>
                  <a:gd name="T48" fmla="*/ 50 w 211"/>
                  <a:gd name="T49" fmla="*/ 34 h 306"/>
                  <a:gd name="T50" fmla="*/ 27 w 211"/>
                  <a:gd name="T51" fmla="*/ 22 h 306"/>
                  <a:gd name="T52" fmla="*/ 44 w 211"/>
                  <a:gd name="T53" fmla="*/ 40 h 306"/>
                  <a:gd name="T54" fmla="*/ 66 w 211"/>
                  <a:gd name="T55" fmla="*/ 52 h 306"/>
                  <a:gd name="T56" fmla="*/ 69 w 211"/>
                  <a:gd name="T57" fmla="*/ 69 h 306"/>
                  <a:gd name="T58" fmla="*/ 71 w 211"/>
                  <a:gd name="T59" fmla="*/ 79 h 306"/>
                  <a:gd name="T60" fmla="*/ 73 w 211"/>
                  <a:gd name="T61" fmla="*/ 102 h 306"/>
                  <a:gd name="T62" fmla="*/ 79 w 211"/>
                  <a:gd name="T63" fmla="*/ 118 h 306"/>
                  <a:gd name="T64" fmla="*/ 90 w 211"/>
                  <a:gd name="T65" fmla="*/ 131 h 306"/>
                  <a:gd name="T66" fmla="*/ 100 w 211"/>
                  <a:gd name="T67" fmla="*/ 152 h 306"/>
                  <a:gd name="T68" fmla="*/ 100 w 211"/>
                  <a:gd name="T69" fmla="*/ 160 h 306"/>
                  <a:gd name="T70" fmla="*/ 73 w 211"/>
                  <a:gd name="T71" fmla="*/ 183 h 306"/>
                  <a:gd name="T72" fmla="*/ 53 w 211"/>
                  <a:gd name="T73" fmla="*/ 198 h 306"/>
                  <a:gd name="T74" fmla="*/ 47 w 211"/>
                  <a:gd name="T75" fmla="*/ 206 h 306"/>
                  <a:gd name="T76" fmla="*/ 34 w 211"/>
                  <a:gd name="T77" fmla="*/ 218 h 306"/>
                  <a:gd name="T78" fmla="*/ 30 w 211"/>
                  <a:gd name="T79" fmla="*/ 246 h 306"/>
                  <a:gd name="T80" fmla="*/ 34 w 211"/>
                  <a:gd name="T81" fmla="*/ 259 h 306"/>
                  <a:gd name="T82" fmla="*/ 34 w 211"/>
                  <a:gd name="T83" fmla="*/ 286 h 306"/>
                  <a:gd name="T84" fmla="*/ 46 w 211"/>
                  <a:gd name="T85" fmla="*/ 290 h 306"/>
                  <a:gd name="T86" fmla="*/ 51 w 211"/>
                  <a:gd name="T87" fmla="*/ 296 h 306"/>
                  <a:gd name="T88" fmla="*/ 58 w 211"/>
                  <a:gd name="T89" fmla="*/ 296 h 306"/>
                  <a:gd name="T90" fmla="*/ 67 w 211"/>
                  <a:gd name="T91" fmla="*/ 303 h 306"/>
                  <a:gd name="T92" fmla="*/ 107 w 211"/>
                  <a:gd name="T93" fmla="*/ 293 h 306"/>
                  <a:gd name="T94" fmla="*/ 115 w 211"/>
                  <a:gd name="T95" fmla="*/ 289 h 306"/>
                  <a:gd name="T96" fmla="*/ 125 w 211"/>
                  <a:gd name="T97" fmla="*/ 290 h 306"/>
                  <a:gd name="T98" fmla="*/ 139 w 211"/>
                  <a:gd name="T99" fmla="*/ 287 h 306"/>
                  <a:gd name="T100" fmla="*/ 38 w 211"/>
                  <a:gd name="T101" fmla="*/ 298 h 306"/>
                  <a:gd name="T102" fmla="*/ 28 w 211"/>
                  <a:gd name="T103" fmla="*/ 211 h 306"/>
                  <a:gd name="T104" fmla="*/ 41 w 211"/>
                  <a:gd name="T105" fmla="*/ 292 h 306"/>
                  <a:gd name="T106" fmla="*/ 48 w 211"/>
                  <a:gd name="T107" fmla="*/ 295 h 306"/>
                  <a:gd name="T108" fmla="*/ 50 w 211"/>
                  <a:gd name="T109" fmla="*/ 293 h 306"/>
                  <a:gd name="T110" fmla="*/ 30 w 211"/>
                  <a:gd name="T111" fmla="*/ 285 h 306"/>
                  <a:gd name="T112" fmla="*/ 1 w 211"/>
                  <a:gd name="T113" fmla="*/ 298 h 306"/>
                  <a:gd name="T114" fmla="*/ 11 w 211"/>
                  <a:gd name="T115" fmla="*/ 295 h 306"/>
                  <a:gd name="T116" fmla="*/ 1 w 211"/>
                  <a:gd name="T117" fmla="*/ 295 h 306"/>
                  <a:gd name="T118" fmla="*/ 17 w 211"/>
                  <a:gd name="T119" fmla="*/ 30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1" h="306">
                    <a:moveTo>
                      <a:pt x="90" y="157"/>
                    </a:moveTo>
                    <a:lnTo>
                      <a:pt x="89" y="157"/>
                    </a:lnTo>
                    <a:lnTo>
                      <a:pt x="87" y="154"/>
                    </a:lnTo>
                    <a:lnTo>
                      <a:pt x="90" y="154"/>
                    </a:lnTo>
                    <a:lnTo>
                      <a:pt x="92" y="152"/>
                    </a:lnTo>
                    <a:lnTo>
                      <a:pt x="93" y="154"/>
                    </a:lnTo>
                    <a:lnTo>
                      <a:pt x="94" y="155"/>
                    </a:lnTo>
                    <a:lnTo>
                      <a:pt x="90" y="157"/>
                    </a:lnTo>
                    <a:close/>
                    <a:moveTo>
                      <a:pt x="155" y="276"/>
                    </a:moveTo>
                    <a:lnTo>
                      <a:pt x="156" y="276"/>
                    </a:lnTo>
                    <a:lnTo>
                      <a:pt x="156" y="276"/>
                    </a:lnTo>
                    <a:lnTo>
                      <a:pt x="158" y="275"/>
                    </a:lnTo>
                    <a:lnTo>
                      <a:pt x="159" y="275"/>
                    </a:lnTo>
                    <a:lnTo>
                      <a:pt x="159" y="273"/>
                    </a:lnTo>
                    <a:lnTo>
                      <a:pt x="160" y="273"/>
                    </a:lnTo>
                    <a:lnTo>
                      <a:pt x="160" y="273"/>
                    </a:lnTo>
                    <a:lnTo>
                      <a:pt x="160" y="272"/>
                    </a:lnTo>
                    <a:lnTo>
                      <a:pt x="163" y="270"/>
                    </a:lnTo>
                    <a:lnTo>
                      <a:pt x="168" y="267"/>
                    </a:lnTo>
                    <a:lnTo>
                      <a:pt x="169" y="266"/>
                    </a:lnTo>
                    <a:lnTo>
                      <a:pt x="171" y="264"/>
                    </a:lnTo>
                    <a:lnTo>
                      <a:pt x="172" y="263"/>
                    </a:lnTo>
                    <a:lnTo>
                      <a:pt x="178" y="257"/>
                    </a:lnTo>
                    <a:lnTo>
                      <a:pt x="179" y="256"/>
                    </a:lnTo>
                    <a:lnTo>
                      <a:pt x="182" y="253"/>
                    </a:lnTo>
                    <a:lnTo>
                      <a:pt x="189" y="246"/>
                    </a:lnTo>
                    <a:lnTo>
                      <a:pt x="192" y="243"/>
                    </a:lnTo>
                    <a:lnTo>
                      <a:pt x="193" y="241"/>
                    </a:lnTo>
                    <a:lnTo>
                      <a:pt x="195" y="240"/>
                    </a:lnTo>
                    <a:lnTo>
                      <a:pt x="199" y="237"/>
                    </a:lnTo>
                    <a:lnTo>
                      <a:pt x="202" y="234"/>
                    </a:lnTo>
                    <a:lnTo>
                      <a:pt x="204" y="233"/>
                    </a:lnTo>
                    <a:lnTo>
                      <a:pt x="204" y="231"/>
                    </a:lnTo>
                    <a:lnTo>
                      <a:pt x="205" y="231"/>
                    </a:lnTo>
                    <a:lnTo>
                      <a:pt x="205" y="230"/>
                    </a:lnTo>
                    <a:lnTo>
                      <a:pt x="206" y="229"/>
                    </a:lnTo>
                    <a:lnTo>
                      <a:pt x="208" y="224"/>
                    </a:lnTo>
                    <a:lnTo>
                      <a:pt x="208" y="224"/>
                    </a:lnTo>
                    <a:lnTo>
                      <a:pt x="209" y="224"/>
                    </a:lnTo>
                    <a:lnTo>
                      <a:pt x="209" y="223"/>
                    </a:lnTo>
                    <a:lnTo>
                      <a:pt x="209" y="223"/>
                    </a:lnTo>
                    <a:lnTo>
                      <a:pt x="209" y="221"/>
                    </a:lnTo>
                    <a:lnTo>
                      <a:pt x="211" y="220"/>
                    </a:lnTo>
                    <a:lnTo>
                      <a:pt x="209" y="218"/>
                    </a:lnTo>
                    <a:lnTo>
                      <a:pt x="206" y="216"/>
                    </a:lnTo>
                    <a:lnTo>
                      <a:pt x="205" y="214"/>
                    </a:lnTo>
                    <a:lnTo>
                      <a:pt x="205" y="213"/>
                    </a:lnTo>
                    <a:lnTo>
                      <a:pt x="204" y="213"/>
                    </a:lnTo>
                    <a:lnTo>
                      <a:pt x="204" y="211"/>
                    </a:lnTo>
                    <a:lnTo>
                      <a:pt x="202" y="211"/>
                    </a:lnTo>
                    <a:lnTo>
                      <a:pt x="195" y="206"/>
                    </a:lnTo>
                    <a:lnTo>
                      <a:pt x="191" y="203"/>
                    </a:lnTo>
                    <a:lnTo>
                      <a:pt x="189" y="203"/>
                    </a:lnTo>
                    <a:lnTo>
                      <a:pt x="183" y="198"/>
                    </a:lnTo>
                    <a:lnTo>
                      <a:pt x="183" y="197"/>
                    </a:lnTo>
                    <a:lnTo>
                      <a:pt x="183" y="197"/>
                    </a:lnTo>
                    <a:lnTo>
                      <a:pt x="183" y="195"/>
                    </a:lnTo>
                    <a:lnTo>
                      <a:pt x="185" y="195"/>
                    </a:lnTo>
                    <a:lnTo>
                      <a:pt x="186" y="195"/>
                    </a:lnTo>
                    <a:lnTo>
                      <a:pt x="186" y="194"/>
                    </a:lnTo>
                    <a:lnTo>
                      <a:pt x="188" y="194"/>
                    </a:lnTo>
                    <a:lnTo>
                      <a:pt x="189" y="193"/>
                    </a:lnTo>
                    <a:lnTo>
                      <a:pt x="191" y="190"/>
                    </a:lnTo>
                    <a:lnTo>
                      <a:pt x="192" y="188"/>
                    </a:lnTo>
                    <a:lnTo>
                      <a:pt x="192" y="188"/>
                    </a:lnTo>
                    <a:lnTo>
                      <a:pt x="192" y="188"/>
                    </a:lnTo>
                    <a:lnTo>
                      <a:pt x="192" y="187"/>
                    </a:lnTo>
                    <a:lnTo>
                      <a:pt x="192" y="187"/>
                    </a:lnTo>
                    <a:lnTo>
                      <a:pt x="192" y="187"/>
                    </a:lnTo>
                    <a:lnTo>
                      <a:pt x="192" y="187"/>
                    </a:lnTo>
                    <a:lnTo>
                      <a:pt x="192" y="185"/>
                    </a:lnTo>
                    <a:lnTo>
                      <a:pt x="192" y="185"/>
                    </a:lnTo>
                    <a:lnTo>
                      <a:pt x="192" y="184"/>
                    </a:lnTo>
                    <a:lnTo>
                      <a:pt x="192" y="184"/>
                    </a:lnTo>
                    <a:lnTo>
                      <a:pt x="192" y="183"/>
                    </a:lnTo>
                    <a:lnTo>
                      <a:pt x="192" y="181"/>
                    </a:lnTo>
                    <a:lnTo>
                      <a:pt x="191" y="181"/>
                    </a:lnTo>
                    <a:lnTo>
                      <a:pt x="189" y="180"/>
                    </a:lnTo>
                    <a:lnTo>
                      <a:pt x="186" y="178"/>
                    </a:lnTo>
                    <a:lnTo>
                      <a:pt x="185" y="177"/>
                    </a:lnTo>
                    <a:lnTo>
                      <a:pt x="183" y="174"/>
                    </a:lnTo>
                    <a:lnTo>
                      <a:pt x="183" y="174"/>
                    </a:lnTo>
                    <a:lnTo>
                      <a:pt x="183" y="172"/>
                    </a:lnTo>
                    <a:lnTo>
                      <a:pt x="183" y="172"/>
                    </a:lnTo>
                    <a:lnTo>
                      <a:pt x="183" y="171"/>
                    </a:lnTo>
                    <a:lnTo>
                      <a:pt x="183" y="170"/>
                    </a:lnTo>
                    <a:lnTo>
                      <a:pt x="185" y="168"/>
                    </a:lnTo>
                    <a:lnTo>
                      <a:pt x="185" y="168"/>
                    </a:lnTo>
                    <a:lnTo>
                      <a:pt x="185" y="167"/>
                    </a:lnTo>
                    <a:lnTo>
                      <a:pt x="185" y="167"/>
                    </a:lnTo>
                    <a:lnTo>
                      <a:pt x="185" y="165"/>
                    </a:lnTo>
                    <a:lnTo>
                      <a:pt x="183" y="164"/>
                    </a:lnTo>
                    <a:lnTo>
                      <a:pt x="179" y="162"/>
                    </a:lnTo>
                    <a:lnTo>
                      <a:pt x="178" y="161"/>
                    </a:lnTo>
                    <a:lnTo>
                      <a:pt x="176" y="160"/>
                    </a:lnTo>
                    <a:lnTo>
                      <a:pt x="176" y="157"/>
                    </a:lnTo>
                    <a:lnTo>
                      <a:pt x="176" y="157"/>
                    </a:lnTo>
                    <a:lnTo>
                      <a:pt x="176" y="155"/>
                    </a:lnTo>
                    <a:lnTo>
                      <a:pt x="176" y="155"/>
                    </a:lnTo>
                    <a:lnTo>
                      <a:pt x="176" y="154"/>
                    </a:lnTo>
                    <a:lnTo>
                      <a:pt x="178" y="152"/>
                    </a:lnTo>
                    <a:lnTo>
                      <a:pt x="179" y="152"/>
                    </a:lnTo>
                    <a:lnTo>
                      <a:pt x="181" y="151"/>
                    </a:lnTo>
                    <a:lnTo>
                      <a:pt x="181" y="151"/>
                    </a:lnTo>
                    <a:lnTo>
                      <a:pt x="181" y="151"/>
                    </a:lnTo>
                    <a:lnTo>
                      <a:pt x="181" y="149"/>
                    </a:lnTo>
                    <a:lnTo>
                      <a:pt x="181" y="149"/>
                    </a:lnTo>
                    <a:lnTo>
                      <a:pt x="179" y="148"/>
                    </a:lnTo>
                    <a:lnTo>
                      <a:pt x="179" y="148"/>
                    </a:lnTo>
                    <a:lnTo>
                      <a:pt x="178" y="148"/>
                    </a:lnTo>
                    <a:lnTo>
                      <a:pt x="176" y="148"/>
                    </a:lnTo>
                    <a:lnTo>
                      <a:pt x="176" y="148"/>
                    </a:lnTo>
                    <a:lnTo>
                      <a:pt x="176" y="147"/>
                    </a:lnTo>
                    <a:lnTo>
                      <a:pt x="176" y="147"/>
                    </a:lnTo>
                    <a:lnTo>
                      <a:pt x="176" y="147"/>
                    </a:lnTo>
                    <a:lnTo>
                      <a:pt x="176" y="147"/>
                    </a:lnTo>
                    <a:lnTo>
                      <a:pt x="176" y="147"/>
                    </a:lnTo>
                    <a:lnTo>
                      <a:pt x="176" y="147"/>
                    </a:lnTo>
                    <a:lnTo>
                      <a:pt x="176" y="147"/>
                    </a:lnTo>
                    <a:lnTo>
                      <a:pt x="176" y="145"/>
                    </a:lnTo>
                    <a:lnTo>
                      <a:pt x="178" y="145"/>
                    </a:lnTo>
                    <a:lnTo>
                      <a:pt x="178" y="144"/>
                    </a:lnTo>
                    <a:lnTo>
                      <a:pt x="178" y="144"/>
                    </a:lnTo>
                    <a:lnTo>
                      <a:pt x="178" y="142"/>
                    </a:lnTo>
                    <a:lnTo>
                      <a:pt x="178" y="141"/>
                    </a:lnTo>
                    <a:lnTo>
                      <a:pt x="178" y="139"/>
                    </a:lnTo>
                    <a:lnTo>
                      <a:pt x="178" y="138"/>
                    </a:lnTo>
                    <a:lnTo>
                      <a:pt x="179" y="137"/>
                    </a:lnTo>
                    <a:lnTo>
                      <a:pt x="179" y="137"/>
                    </a:lnTo>
                    <a:lnTo>
                      <a:pt x="179" y="135"/>
                    </a:lnTo>
                    <a:lnTo>
                      <a:pt x="179" y="134"/>
                    </a:lnTo>
                    <a:lnTo>
                      <a:pt x="178" y="134"/>
                    </a:lnTo>
                    <a:lnTo>
                      <a:pt x="178" y="132"/>
                    </a:lnTo>
                    <a:lnTo>
                      <a:pt x="181" y="132"/>
                    </a:lnTo>
                    <a:lnTo>
                      <a:pt x="182" y="132"/>
                    </a:lnTo>
                    <a:lnTo>
                      <a:pt x="183" y="131"/>
                    </a:lnTo>
                    <a:lnTo>
                      <a:pt x="185" y="131"/>
                    </a:lnTo>
                    <a:lnTo>
                      <a:pt x="185" y="131"/>
                    </a:lnTo>
                    <a:lnTo>
                      <a:pt x="185" y="131"/>
                    </a:lnTo>
                    <a:lnTo>
                      <a:pt x="185" y="129"/>
                    </a:lnTo>
                    <a:lnTo>
                      <a:pt x="185" y="128"/>
                    </a:lnTo>
                    <a:lnTo>
                      <a:pt x="185" y="126"/>
                    </a:lnTo>
                    <a:lnTo>
                      <a:pt x="183" y="122"/>
                    </a:lnTo>
                    <a:lnTo>
                      <a:pt x="181" y="114"/>
                    </a:lnTo>
                    <a:lnTo>
                      <a:pt x="179" y="112"/>
                    </a:lnTo>
                    <a:lnTo>
                      <a:pt x="178" y="108"/>
                    </a:lnTo>
                    <a:lnTo>
                      <a:pt x="176" y="105"/>
                    </a:lnTo>
                    <a:lnTo>
                      <a:pt x="175" y="103"/>
                    </a:lnTo>
                    <a:lnTo>
                      <a:pt x="175" y="101"/>
                    </a:lnTo>
                    <a:lnTo>
                      <a:pt x="173" y="99"/>
                    </a:lnTo>
                    <a:lnTo>
                      <a:pt x="172" y="96"/>
                    </a:lnTo>
                    <a:lnTo>
                      <a:pt x="171" y="93"/>
                    </a:lnTo>
                    <a:lnTo>
                      <a:pt x="169" y="91"/>
                    </a:lnTo>
                    <a:lnTo>
                      <a:pt x="168" y="91"/>
                    </a:lnTo>
                    <a:lnTo>
                      <a:pt x="168" y="89"/>
                    </a:lnTo>
                    <a:lnTo>
                      <a:pt x="168" y="88"/>
                    </a:lnTo>
                    <a:lnTo>
                      <a:pt x="166" y="88"/>
                    </a:lnTo>
                    <a:lnTo>
                      <a:pt x="166" y="86"/>
                    </a:lnTo>
                    <a:lnTo>
                      <a:pt x="168" y="85"/>
                    </a:lnTo>
                    <a:lnTo>
                      <a:pt x="168" y="83"/>
                    </a:lnTo>
                    <a:lnTo>
                      <a:pt x="169" y="82"/>
                    </a:lnTo>
                    <a:lnTo>
                      <a:pt x="171" y="79"/>
                    </a:lnTo>
                    <a:lnTo>
                      <a:pt x="173" y="75"/>
                    </a:lnTo>
                    <a:lnTo>
                      <a:pt x="175" y="73"/>
                    </a:lnTo>
                    <a:lnTo>
                      <a:pt x="181" y="69"/>
                    </a:lnTo>
                    <a:lnTo>
                      <a:pt x="181" y="68"/>
                    </a:lnTo>
                    <a:lnTo>
                      <a:pt x="182" y="68"/>
                    </a:lnTo>
                    <a:lnTo>
                      <a:pt x="182" y="66"/>
                    </a:lnTo>
                    <a:lnTo>
                      <a:pt x="182" y="65"/>
                    </a:lnTo>
                    <a:lnTo>
                      <a:pt x="182" y="65"/>
                    </a:lnTo>
                    <a:lnTo>
                      <a:pt x="182" y="63"/>
                    </a:lnTo>
                    <a:lnTo>
                      <a:pt x="183" y="63"/>
                    </a:lnTo>
                    <a:lnTo>
                      <a:pt x="182" y="62"/>
                    </a:lnTo>
                    <a:lnTo>
                      <a:pt x="181" y="62"/>
                    </a:lnTo>
                    <a:lnTo>
                      <a:pt x="179" y="60"/>
                    </a:lnTo>
                    <a:lnTo>
                      <a:pt x="178" y="57"/>
                    </a:lnTo>
                    <a:lnTo>
                      <a:pt x="175" y="56"/>
                    </a:lnTo>
                    <a:lnTo>
                      <a:pt x="173" y="53"/>
                    </a:lnTo>
                    <a:lnTo>
                      <a:pt x="172" y="52"/>
                    </a:lnTo>
                    <a:lnTo>
                      <a:pt x="169" y="50"/>
                    </a:lnTo>
                    <a:lnTo>
                      <a:pt x="165" y="50"/>
                    </a:lnTo>
                    <a:lnTo>
                      <a:pt x="163" y="49"/>
                    </a:lnTo>
                    <a:lnTo>
                      <a:pt x="160" y="49"/>
                    </a:lnTo>
                    <a:lnTo>
                      <a:pt x="158" y="46"/>
                    </a:lnTo>
                    <a:lnTo>
                      <a:pt x="156" y="42"/>
                    </a:lnTo>
                    <a:lnTo>
                      <a:pt x="156" y="39"/>
                    </a:lnTo>
                    <a:lnTo>
                      <a:pt x="160" y="33"/>
                    </a:lnTo>
                    <a:lnTo>
                      <a:pt x="162" y="32"/>
                    </a:lnTo>
                    <a:lnTo>
                      <a:pt x="162" y="32"/>
                    </a:lnTo>
                    <a:lnTo>
                      <a:pt x="162" y="32"/>
                    </a:lnTo>
                    <a:lnTo>
                      <a:pt x="162" y="32"/>
                    </a:lnTo>
                    <a:lnTo>
                      <a:pt x="160" y="32"/>
                    </a:lnTo>
                    <a:lnTo>
                      <a:pt x="159" y="30"/>
                    </a:lnTo>
                    <a:lnTo>
                      <a:pt x="158" y="30"/>
                    </a:lnTo>
                    <a:lnTo>
                      <a:pt x="156" y="30"/>
                    </a:lnTo>
                    <a:lnTo>
                      <a:pt x="155" y="30"/>
                    </a:lnTo>
                    <a:lnTo>
                      <a:pt x="158" y="29"/>
                    </a:lnTo>
                    <a:lnTo>
                      <a:pt x="159" y="29"/>
                    </a:lnTo>
                    <a:lnTo>
                      <a:pt x="162" y="27"/>
                    </a:lnTo>
                    <a:lnTo>
                      <a:pt x="163" y="27"/>
                    </a:lnTo>
                    <a:lnTo>
                      <a:pt x="165" y="27"/>
                    </a:lnTo>
                    <a:lnTo>
                      <a:pt x="163" y="24"/>
                    </a:lnTo>
                    <a:lnTo>
                      <a:pt x="171" y="17"/>
                    </a:lnTo>
                    <a:lnTo>
                      <a:pt x="169" y="13"/>
                    </a:lnTo>
                    <a:lnTo>
                      <a:pt x="166" y="11"/>
                    </a:lnTo>
                    <a:lnTo>
                      <a:pt x="165" y="10"/>
                    </a:lnTo>
                    <a:lnTo>
                      <a:pt x="159" y="10"/>
                    </a:lnTo>
                    <a:lnTo>
                      <a:pt x="156" y="9"/>
                    </a:lnTo>
                    <a:lnTo>
                      <a:pt x="153" y="7"/>
                    </a:lnTo>
                    <a:lnTo>
                      <a:pt x="152" y="6"/>
                    </a:lnTo>
                    <a:lnTo>
                      <a:pt x="148" y="1"/>
                    </a:lnTo>
                    <a:lnTo>
                      <a:pt x="145" y="0"/>
                    </a:lnTo>
                    <a:lnTo>
                      <a:pt x="143" y="0"/>
                    </a:lnTo>
                    <a:lnTo>
                      <a:pt x="140" y="0"/>
                    </a:lnTo>
                    <a:lnTo>
                      <a:pt x="139" y="1"/>
                    </a:lnTo>
                    <a:lnTo>
                      <a:pt x="136" y="3"/>
                    </a:lnTo>
                    <a:lnTo>
                      <a:pt x="135" y="4"/>
                    </a:lnTo>
                    <a:lnTo>
                      <a:pt x="132" y="4"/>
                    </a:lnTo>
                    <a:lnTo>
                      <a:pt x="129" y="4"/>
                    </a:lnTo>
                    <a:lnTo>
                      <a:pt x="126" y="4"/>
                    </a:lnTo>
                    <a:lnTo>
                      <a:pt x="125" y="4"/>
                    </a:lnTo>
                    <a:lnTo>
                      <a:pt x="122" y="4"/>
                    </a:lnTo>
                    <a:lnTo>
                      <a:pt x="120" y="6"/>
                    </a:lnTo>
                    <a:lnTo>
                      <a:pt x="119" y="9"/>
                    </a:lnTo>
                    <a:lnTo>
                      <a:pt x="119" y="9"/>
                    </a:lnTo>
                    <a:lnTo>
                      <a:pt x="117" y="10"/>
                    </a:lnTo>
                    <a:lnTo>
                      <a:pt x="115" y="11"/>
                    </a:lnTo>
                    <a:lnTo>
                      <a:pt x="113" y="11"/>
                    </a:lnTo>
                    <a:lnTo>
                      <a:pt x="112" y="13"/>
                    </a:lnTo>
                    <a:lnTo>
                      <a:pt x="110" y="16"/>
                    </a:lnTo>
                    <a:lnTo>
                      <a:pt x="110" y="19"/>
                    </a:lnTo>
                    <a:lnTo>
                      <a:pt x="109" y="20"/>
                    </a:lnTo>
                    <a:lnTo>
                      <a:pt x="109" y="23"/>
                    </a:lnTo>
                    <a:lnTo>
                      <a:pt x="109" y="26"/>
                    </a:lnTo>
                    <a:lnTo>
                      <a:pt x="107" y="27"/>
                    </a:lnTo>
                    <a:lnTo>
                      <a:pt x="106" y="29"/>
                    </a:lnTo>
                    <a:lnTo>
                      <a:pt x="104" y="30"/>
                    </a:lnTo>
                    <a:lnTo>
                      <a:pt x="100" y="32"/>
                    </a:lnTo>
                    <a:lnTo>
                      <a:pt x="99" y="33"/>
                    </a:lnTo>
                    <a:lnTo>
                      <a:pt x="96" y="36"/>
                    </a:lnTo>
                    <a:lnTo>
                      <a:pt x="94" y="37"/>
                    </a:lnTo>
                    <a:lnTo>
                      <a:pt x="93" y="37"/>
                    </a:lnTo>
                    <a:lnTo>
                      <a:pt x="77" y="33"/>
                    </a:lnTo>
                    <a:lnTo>
                      <a:pt x="76" y="33"/>
                    </a:lnTo>
                    <a:lnTo>
                      <a:pt x="74" y="33"/>
                    </a:lnTo>
                    <a:lnTo>
                      <a:pt x="71" y="34"/>
                    </a:lnTo>
                    <a:lnTo>
                      <a:pt x="69" y="36"/>
                    </a:lnTo>
                    <a:lnTo>
                      <a:pt x="66" y="36"/>
                    </a:lnTo>
                    <a:lnTo>
                      <a:pt x="51" y="34"/>
                    </a:lnTo>
                    <a:lnTo>
                      <a:pt x="50" y="34"/>
                    </a:lnTo>
                    <a:lnTo>
                      <a:pt x="48" y="33"/>
                    </a:lnTo>
                    <a:lnTo>
                      <a:pt x="48" y="32"/>
                    </a:lnTo>
                    <a:lnTo>
                      <a:pt x="47" y="30"/>
                    </a:lnTo>
                    <a:lnTo>
                      <a:pt x="46" y="29"/>
                    </a:lnTo>
                    <a:lnTo>
                      <a:pt x="37" y="23"/>
                    </a:lnTo>
                    <a:lnTo>
                      <a:pt x="36" y="22"/>
                    </a:lnTo>
                    <a:lnTo>
                      <a:pt x="33" y="20"/>
                    </a:lnTo>
                    <a:lnTo>
                      <a:pt x="30" y="20"/>
                    </a:lnTo>
                    <a:lnTo>
                      <a:pt x="28" y="22"/>
                    </a:lnTo>
                    <a:lnTo>
                      <a:pt x="27" y="22"/>
                    </a:lnTo>
                    <a:lnTo>
                      <a:pt x="27" y="23"/>
                    </a:lnTo>
                    <a:lnTo>
                      <a:pt x="27" y="24"/>
                    </a:lnTo>
                    <a:lnTo>
                      <a:pt x="27" y="24"/>
                    </a:lnTo>
                    <a:lnTo>
                      <a:pt x="27" y="26"/>
                    </a:lnTo>
                    <a:lnTo>
                      <a:pt x="25" y="26"/>
                    </a:lnTo>
                    <a:lnTo>
                      <a:pt x="20" y="26"/>
                    </a:lnTo>
                    <a:lnTo>
                      <a:pt x="18" y="26"/>
                    </a:lnTo>
                    <a:lnTo>
                      <a:pt x="21" y="27"/>
                    </a:lnTo>
                    <a:lnTo>
                      <a:pt x="40" y="39"/>
                    </a:lnTo>
                    <a:lnTo>
                      <a:pt x="44" y="40"/>
                    </a:lnTo>
                    <a:lnTo>
                      <a:pt x="56" y="43"/>
                    </a:lnTo>
                    <a:lnTo>
                      <a:pt x="58" y="45"/>
                    </a:lnTo>
                    <a:lnTo>
                      <a:pt x="61" y="47"/>
                    </a:lnTo>
                    <a:lnTo>
                      <a:pt x="63" y="47"/>
                    </a:lnTo>
                    <a:lnTo>
                      <a:pt x="63" y="49"/>
                    </a:lnTo>
                    <a:lnTo>
                      <a:pt x="63" y="50"/>
                    </a:lnTo>
                    <a:lnTo>
                      <a:pt x="63" y="50"/>
                    </a:lnTo>
                    <a:lnTo>
                      <a:pt x="64" y="50"/>
                    </a:lnTo>
                    <a:lnTo>
                      <a:pt x="64" y="50"/>
                    </a:lnTo>
                    <a:lnTo>
                      <a:pt x="66" y="52"/>
                    </a:lnTo>
                    <a:lnTo>
                      <a:pt x="70" y="53"/>
                    </a:lnTo>
                    <a:lnTo>
                      <a:pt x="70" y="55"/>
                    </a:lnTo>
                    <a:lnTo>
                      <a:pt x="71" y="56"/>
                    </a:lnTo>
                    <a:lnTo>
                      <a:pt x="70" y="56"/>
                    </a:lnTo>
                    <a:lnTo>
                      <a:pt x="69" y="57"/>
                    </a:lnTo>
                    <a:lnTo>
                      <a:pt x="69" y="59"/>
                    </a:lnTo>
                    <a:lnTo>
                      <a:pt x="69" y="59"/>
                    </a:lnTo>
                    <a:lnTo>
                      <a:pt x="69" y="62"/>
                    </a:lnTo>
                    <a:lnTo>
                      <a:pt x="69" y="66"/>
                    </a:lnTo>
                    <a:lnTo>
                      <a:pt x="69" y="69"/>
                    </a:lnTo>
                    <a:lnTo>
                      <a:pt x="69" y="69"/>
                    </a:lnTo>
                    <a:lnTo>
                      <a:pt x="69" y="69"/>
                    </a:lnTo>
                    <a:lnTo>
                      <a:pt x="71" y="70"/>
                    </a:lnTo>
                    <a:lnTo>
                      <a:pt x="73" y="70"/>
                    </a:lnTo>
                    <a:lnTo>
                      <a:pt x="73" y="72"/>
                    </a:lnTo>
                    <a:lnTo>
                      <a:pt x="73" y="73"/>
                    </a:lnTo>
                    <a:lnTo>
                      <a:pt x="73" y="75"/>
                    </a:lnTo>
                    <a:lnTo>
                      <a:pt x="71" y="76"/>
                    </a:lnTo>
                    <a:lnTo>
                      <a:pt x="71" y="78"/>
                    </a:lnTo>
                    <a:lnTo>
                      <a:pt x="71" y="79"/>
                    </a:lnTo>
                    <a:lnTo>
                      <a:pt x="71" y="82"/>
                    </a:lnTo>
                    <a:lnTo>
                      <a:pt x="73" y="83"/>
                    </a:lnTo>
                    <a:lnTo>
                      <a:pt x="76" y="86"/>
                    </a:lnTo>
                    <a:lnTo>
                      <a:pt x="77" y="89"/>
                    </a:lnTo>
                    <a:lnTo>
                      <a:pt x="77" y="92"/>
                    </a:lnTo>
                    <a:lnTo>
                      <a:pt x="76" y="95"/>
                    </a:lnTo>
                    <a:lnTo>
                      <a:pt x="74" y="98"/>
                    </a:lnTo>
                    <a:lnTo>
                      <a:pt x="74" y="99"/>
                    </a:lnTo>
                    <a:lnTo>
                      <a:pt x="73" y="101"/>
                    </a:lnTo>
                    <a:lnTo>
                      <a:pt x="73" y="102"/>
                    </a:lnTo>
                    <a:lnTo>
                      <a:pt x="71" y="105"/>
                    </a:lnTo>
                    <a:lnTo>
                      <a:pt x="71" y="106"/>
                    </a:lnTo>
                    <a:lnTo>
                      <a:pt x="71" y="108"/>
                    </a:lnTo>
                    <a:lnTo>
                      <a:pt x="73" y="109"/>
                    </a:lnTo>
                    <a:lnTo>
                      <a:pt x="73" y="111"/>
                    </a:lnTo>
                    <a:lnTo>
                      <a:pt x="74" y="112"/>
                    </a:lnTo>
                    <a:lnTo>
                      <a:pt x="76" y="114"/>
                    </a:lnTo>
                    <a:lnTo>
                      <a:pt x="76" y="114"/>
                    </a:lnTo>
                    <a:lnTo>
                      <a:pt x="77" y="115"/>
                    </a:lnTo>
                    <a:lnTo>
                      <a:pt x="79" y="118"/>
                    </a:lnTo>
                    <a:lnTo>
                      <a:pt x="80" y="126"/>
                    </a:lnTo>
                    <a:lnTo>
                      <a:pt x="81" y="126"/>
                    </a:lnTo>
                    <a:lnTo>
                      <a:pt x="84" y="126"/>
                    </a:lnTo>
                    <a:lnTo>
                      <a:pt x="86" y="126"/>
                    </a:lnTo>
                    <a:lnTo>
                      <a:pt x="86" y="126"/>
                    </a:lnTo>
                    <a:lnTo>
                      <a:pt x="89" y="124"/>
                    </a:lnTo>
                    <a:lnTo>
                      <a:pt x="87" y="128"/>
                    </a:lnTo>
                    <a:lnTo>
                      <a:pt x="89" y="129"/>
                    </a:lnTo>
                    <a:lnTo>
                      <a:pt x="89" y="131"/>
                    </a:lnTo>
                    <a:lnTo>
                      <a:pt x="90" y="131"/>
                    </a:lnTo>
                    <a:lnTo>
                      <a:pt x="92" y="131"/>
                    </a:lnTo>
                    <a:lnTo>
                      <a:pt x="93" y="132"/>
                    </a:lnTo>
                    <a:lnTo>
                      <a:pt x="94" y="134"/>
                    </a:lnTo>
                    <a:lnTo>
                      <a:pt x="97" y="135"/>
                    </a:lnTo>
                    <a:lnTo>
                      <a:pt x="100" y="137"/>
                    </a:lnTo>
                    <a:lnTo>
                      <a:pt x="102" y="139"/>
                    </a:lnTo>
                    <a:lnTo>
                      <a:pt x="102" y="142"/>
                    </a:lnTo>
                    <a:lnTo>
                      <a:pt x="100" y="149"/>
                    </a:lnTo>
                    <a:lnTo>
                      <a:pt x="100" y="151"/>
                    </a:lnTo>
                    <a:lnTo>
                      <a:pt x="100" y="152"/>
                    </a:lnTo>
                    <a:lnTo>
                      <a:pt x="102" y="152"/>
                    </a:lnTo>
                    <a:lnTo>
                      <a:pt x="102" y="154"/>
                    </a:lnTo>
                    <a:lnTo>
                      <a:pt x="102" y="154"/>
                    </a:lnTo>
                    <a:lnTo>
                      <a:pt x="102" y="155"/>
                    </a:lnTo>
                    <a:lnTo>
                      <a:pt x="102" y="155"/>
                    </a:lnTo>
                    <a:lnTo>
                      <a:pt x="100" y="155"/>
                    </a:lnTo>
                    <a:lnTo>
                      <a:pt x="99" y="158"/>
                    </a:lnTo>
                    <a:lnTo>
                      <a:pt x="100" y="158"/>
                    </a:lnTo>
                    <a:lnTo>
                      <a:pt x="100" y="160"/>
                    </a:lnTo>
                    <a:lnTo>
                      <a:pt x="100" y="160"/>
                    </a:lnTo>
                    <a:lnTo>
                      <a:pt x="100" y="161"/>
                    </a:lnTo>
                    <a:lnTo>
                      <a:pt x="99" y="161"/>
                    </a:lnTo>
                    <a:lnTo>
                      <a:pt x="93" y="161"/>
                    </a:lnTo>
                    <a:lnTo>
                      <a:pt x="90" y="161"/>
                    </a:lnTo>
                    <a:lnTo>
                      <a:pt x="89" y="162"/>
                    </a:lnTo>
                    <a:lnTo>
                      <a:pt x="86" y="165"/>
                    </a:lnTo>
                    <a:lnTo>
                      <a:pt x="83" y="170"/>
                    </a:lnTo>
                    <a:lnTo>
                      <a:pt x="76" y="180"/>
                    </a:lnTo>
                    <a:lnTo>
                      <a:pt x="76" y="181"/>
                    </a:lnTo>
                    <a:lnTo>
                      <a:pt x="73" y="183"/>
                    </a:lnTo>
                    <a:lnTo>
                      <a:pt x="71" y="184"/>
                    </a:lnTo>
                    <a:lnTo>
                      <a:pt x="71" y="185"/>
                    </a:lnTo>
                    <a:lnTo>
                      <a:pt x="71" y="187"/>
                    </a:lnTo>
                    <a:lnTo>
                      <a:pt x="70" y="187"/>
                    </a:lnTo>
                    <a:lnTo>
                      <a:pt x="70" y="187"/>
                    </a:lnTo>
                    <a:lnTo>
                      <a:pt x="69" y="188"/>
                    </a:lnTo>
                    <a:lnTo>
                      <a:pt x="69" y="188"/>
                    </a:lnTo>
                    <a:lnTo>
                      <a:pt x="58" y="197"/>
                    </a:lnTo>
                    <a:lnTo>
                      <a:pt x="56" y="197"/>
                    </a:lnTo>
                    <a:lnTo>
                      <a:pt x="53" y="198"/>
                    </a:lnTo>
                    <a:lnTo>
                      <a:pt x="51" y="200"/>
                    </a:lnTo>
                    <a:lnTo>
                      <a:pt x="51" y="201"/>
                    </a:lnTo>
                    <a:lnTo>
                      <a:pt x="50" y="203"/>
                    </a:lnTo>
                    <a:lnTo>
                      <a:pt x="50" y="204"/>
                    </a:lnTo>
                    <a:lnTo>
                      <a:pt x="48" y="204"/>
                    </a:lnTo>
                    <a:lnTo>
                      <a:pt x="48" y="204"/>
                    </a:lnTo>
                    <a:lnTo>
                      <a:pt x="48" y="206"/>
                    </a:lnTo>
                    <a:lnTo>
                      <a:pt x="48" y="206"/>
                    </a:lnTo>
                    <a:lnTo>
                      <a:pt x="47" y="206"/>
                    </a:lnTo>
                    <a:lnTo>
                      <a:pt x="47" y="206"/>
                    </a:lnTo>
                    <a:lnTo>
                      <a:pt x="47" y="207"/>
                    </a:lnTo>
                    <a:lnTo>
                      <a:pt x="48" y="208"/>
                    </a:lnTo>
                    <a:lnTo>
                      <a:pt x="47" y="210"/>
                    </a:lnTo>
                    <a:lnTo>
                      <a:pt x="46" y="211"/>
                    </a:lnTo>
                    <a:lnTo>
                      <a:pt x="44" y="211"/>
                    </a:lnTo>
                    <a:lnTo>
                      <a:pt x="43" y="211"/>
                    </a:lnTo>
                    <a:lnTo>
                      <a:pt x="36" y="213"/>
                    </a:lnTo>
                    <a:lnTo>
                      <a:pt x="34" y="214"/>
                    </a:lnTo>
                    <a:lnTo>
                      <a:pt x="36" y="217"/>
                    </a:lnTo>
                    <a:lnTo>
                      <a:pt x="34" y="218"/>
                    </a:lnTo>
                    <a:lnTo>
                      <a:pt x="31" y="220"/>
                    </a:lnTo>
                    <a:lnTo>
                      <a:pt x="28" y="224"/>
                    </a:lnTo>
                    <a:lnTo>
                      <a:pt x="27" y="227"/>
                    </a:lnTo>
                    <a:lnTo>
                      <a:pt x="27" y="231"/>
                    </a:lnTo>
                    <a:lnTo>
                      <a:pt x="30" y="237"/>
                    </a:lnTo>
                    <a:lnTo>
                      <a:pt x="31" y="240"/>
                    </a:lnTo>
                    <a:lnTo>
                      <a:pt x="30" y="241"/>
                    </a:lnTo>
                    <a:lnTo>
                      <a:pt x="30" y="243"/>
                    </a:lnTo>
                    <a:lnTo>
                      <a:pt x="30" y="244"/>
                    </a:lnTo>
                    <a:lnTo>
                      <a:pt x="30" y="246"/>
                    </a:lnTo>
                    <a:lnTo>
                      <a:pt x="30" y="246"/>
                    </a:lnTo>
                    <a:lnTo>
                      <a:pt x="31" y="246"/>
                    </a:lnTo>
                    <a:lnTo>
                      <a:pt x="31" y="247"/>
                    </a:lnTo>
                    <a:lnTo>
                      <a:pt x="33" y="250"/>
                    </a:lnTo>
                    <a:lnTo>
                      <a:pt x="34" y="253"/>
                    </a:lnTo>
                    <a:lnTo>
                      <a:pt x="34" y="254"/>
                    </a:lnTo>
                    <a:lnTo>
                      <a:pt x="34" y="256"/>
                    </a:lnTo>
                    <a:lnTo>
                      <a:pt x="34" y="257"/>
                    </a:lnTo>
                    <a:lnTo>
                      <a:pt x="34" y="259"/>
                    </a:lnTo>
                    <a:lnTo>
                      <a:pt x="34" y="259"/>
                    </a:lnTo>
                    <a:lnTo>
                      <a:pt x="34" y="260"/>
                    </a:lnTo>
                    <a:lnTo>
                      <a:pt x="34" y="262"/>
                    </a:lnTo>
                    <a:lnTo>
                      <a:pt x="33" y="267"/>
                    </a:lnTo>
                    <a:lnTo>
                      <a:pt x="31" y="273"/>
                    </a:lnTo>
                    <a:lnTo>
                      <a:pt x="31" y="277"/>
                    </a:lnTo>
                    <a:lnTo>
                      <a:pt x="31" y="280"/>
                    </a:lnTo>
                    <a:lnTo>
                      <a:pt x="33" y="283"/>
                    </a:lnTo>
                    <a:lnTo>
                      <a:pt x="33" y="285"/>
                    </a:lnTo>
                    <a:lnTo>
                      <a:pt x="34" y="286"/>
                    </a:lnTo>
                    <a:lnTo>
                      <a:pt x="34" y="286"/>
                    </a:lnTo>
                    <a:lnTo>
                      <a:pt x="36" y="286"/>
                    </a:lnTo>
                    <a:lnTo>
                      <a:pt x="37" y="286"/>
                    </a:lnTo>
                    <a:lnTo>
                      <a:pt x="37" y="286"/>
                    </a:lnTo>
                    <a:lnTo>
                      <a:pt x="38" y="286"/>
                    </a:lnTo>
                    <a:lnTo>
                      <a:pt x="38" y="286"/>
                    </a:lnTo>
                    <a:lnTo>
                      <a:pt x="40" y="286"/>
                    </a:lnTo>
                    <a:lnTo>
                      <a:pt x="40" y="287"/>
                    </a:lnTo>
                    <a:lnTo>
                      <a:pt x="40" y="287"/>
                    </a:lnTo>
                    <a:lnTo>
                      <a:pt x="43" y="289"/>
                    </a:lnTo>
                    <a:lnTo>
                      <a:pt x="46" y="290"/>
                    </a:lnTo>
                    <a:lnTo>
                      <a:pt x="50" y="292"/>
                    </a:lnTo>
                    <a:lnTo>
                      <a:pt x="53" y="292"/>
                    </a:lnTo>
                    <a:lnTo>
                      <a:pt x="53" y="293"/>
                    </a:lnTo>
                    <a:lnTo>
                      <a:pt x="53" y="293"/>
                    </a:lnTo>
                    <a:lnTo>
                      <a:pt x="53" y="295"/>
                    </a:lnTo>
                    <a:lnTo>
                      <a:pt x="53" y="295"/>
                    </a:lnTo>
                    <a:lnTo>
                      <a:pt x="53" y="295"/>
                    </a:lnTo>
                    <a:lnTo>
                      <a:pt x="51" y="296"/>
                    </a:lnTo>
                    <a:lnTo>
                      <a:pt x="51" y="296"/>
                    </a:lnTo>
                    <a:lnTo>
                      <a:pt x="51" y="296"/>
                    </a:lnTo>
                    <a:lnTo>
                      <a:pt x="51" y="298"/>
                    </a:lnTo>
                    <a:lnTo>
                      <a:pt x="51" y="300"/>
                    </a:lnTo>
                    <a:lnTo>
                      <a:pt x="51" y="302"/>
                    </a:lnTo>
                    <a:lnTo>
                      <a:pt x="54" y="300"/>
                    </a:lnTo>
                    <a:lnTo>
                      <a:pt x="56" y="300"/>
                    </a:lnTo>
                    <a:lnTo>
                      <a:pt x="56" y="299"/>
                    </a:lnTo>
                    <a:lnTo>
                      <a:pt x="57" y="298"/>
                    </a:lnTo>
                    <a:lnTo>
                      <a:pt x="57" y="298"/>
                    </a:lnTo>
                    <a:lnTo>
                      <a:pt x="58" y="296"/>
                    </a:lnTo>
                    <a:lnTo>
                      <a:pt x="58" y="296"/>
                    </a:lnTo>
                    <a:lnTo>
                      <a:pt x="58" y="298"/>
                    </a:lnTo>
                    <a:lnTo>
                      <a:pt x="60" y="298"/>
                    </a:lnTo>
                    <a:lnTo>
                      <a:pt x="61" y="300"/>
                    </a:lnTo>
                    <a:lnTo>
                      <a:pt x="63" y="302"/>
                    </a:lnTo>
                    <a:lnTo>
                      <a:pt x="61" y="305"/>
                    </a:lnTo>
                    <a:lnTo>
                      <a:pt x="60" y="306"/>
                    </a:lnTo>
                    <a:lnTo>
                      <a:pt x="61" y="306"/>
                    </a:lnTo>
                    <a:lnTo>
                      <a:pt x="63" y="306"/>
                    </a:lnTo>
                    <a:lnTo>
                      <a:pt x="66" y="305"/>
                    </a:lnTo>
                    <a:lnTo>
                      <a:pt x="67" y="303"/>
                    </a:lnTo>
                    <a:lnTo>
                      <a:pt x="69" y="303"/>
                    </a:lnTo>
                    <a:lnTo>
                      <a:pt x="80" y="302"/>
                    </a:lnTo>
                    <a:lnTo>
                      <a:pt x="83" y="302"/>
                    </a:lnTo>
                    <a:lnTo>
                      <a:pt x="87" y="300"/>
                    </a:lnTo>
                    <a:lnTo>
                      <a:pt x="92" y="298"/>
                    </a:lnTo>
                    <a:lnTo>
                      <a:pt x="94" y="298"/>
                    </a:lnTo>
                    <a:lnTo>
                      <a:pt x="100" y="295"/>
                    </a:lnTo>
                    <a:lnTo>
                      <a:pt x="100" y="295"/>
                    </a:lnTo>
                    <a:lnTo>
                      <a:pt x="107" y="293"/>
                    </a:lnTo>
                    <a:lnTo>
                      <a:pt x="107" y="293"/>
                    </a:lnTo>
                    <a:lnTo>
                      <a:pt x="110" y="293"/>
                    </a:lnTo>
                    <a:lnTo>
                      <a:pt x="110" y="293"/>
                    </a:lnTo>
                    <a:lnTo>
                      <a:pt x="112" y="293"/>
                    </a:lnTo>
                    <a:lnTo>
                      <a:pt x="112" y="292"/>
                    </a:lnTo>
                    <a:lnTo>
                      <a:pt x="113" y="292"/>
                    </a:lnTo>
                    <a:lnTo>
                      <a:pt x="113" y="292"/>
                    </a:lnTo>
                    <a:lnTo>
                      <a:pt x="113" y="290"/>
                    </a:lnTo>
                    <a:lnTo>
                      <a:pt x="113" y="289"/>
                    </a:lnTo>
                    <a:lnTo>
                      <a:pt x="112" y="289"/>
                    </a:lnTo>
                    <a:lnTo>
                      <a:pt x="115" y="289"/>
                    </a:lnTo>
                    <a:lnTo>
                      <a:pt x="116" y="290"/>
                    </a:lnTo>
                    <a:lnTo>
                      <a:pt x="117" y="290"/>
                    </a:lnTo>
                    <a:lnTo>
                      <a:pt x="120" y="290"/>
                    </a:lnTo>
                    <a:lnTo>
                      <a:pt x="120" y="289"/>
                    </a:lnTo>
                    <a:lnTo>
                      <a:pt x="122" y="286"/>
                    </a:lnTo>
                    <a:lnTo>
                      <a:pt x="123" y="285"/>
                    </a:lnTo>
                    <a:lnTo>
                      <a:pt x="122" y="287"/>
                    </a:lnTo>
                    <a:lnTo>
                      <a:pt x="122" y="289"/>
                    </a:lnTo>
                    <a:lnTo>
                      <a:pt x="122" y="290"/>
                    </a:lnTo>
                    <a:lnTo>
                      <a:pt x="125" y="290"/>
                    </a:lnTo>
                    <a:lnTo>
                      <a:pt x="126" y="289"/>
                    </a:lnTo>
                    <a:lnTo>
                      <a:pt x="127" y="289"/>
                    </a:lnTo>
                    <a:lnTo>
                      <a:pt x="129" y="289"/>
                    </a:lnTo>
                    <a:lnTo>
                      <a:pt x="130" y="289"/>
                    </a:lnTo>
                    <a:lnTo>
                      <a:pt x="132" y="287"/>
                    </a:lnTo>
                    <a:lnTo>
                      <a:pt x="133" y="287"/>
                    </a:lnTo>
                    <a:lnTo>
                      <a:pt x="135" y="287"/>
                    </a:lnTo>
                    <a:lnTo>
                      <a:pt x="136" y="287"/>
                    </a:lnTo>
                    <a:lnTo>
                      <a:pt x="137" y="287"/>
                    </a:lnTo>
                    <a:lnTo>
                      <a:pt x="139" y="287"/>
                    </a:lnTo>
                    <a:lnTo>
                      <a:pt x="140" y="287"/>
                    </a:lnTo>
                    <a:lnTo>
                      <a:pt x="142" y="287"/>
                    </a:lnTo>
                    <a:lnTo>
                      <a:pt x="143" y="287"/>
                    </a:lnTo>
                    <a:lnTo>
                      <a:pt x="145" y="286"/>
                    </a:lnTo>
                    <a:lnTo>
                      <a:pt x="146" y="286"/>
                    </a:lnTo>
                    <a:lnTo>
                      <a:pt x="150" y="280"/>
                    </a:lnTo>
                    <a:lnTo>
                      <a:pt x="155" y="276"/>
                    </a:lnTo>
                    <a:close/>
                    <a:moveTo>
                      <a:pt x="38" y="296"/>
                    </a:moveTo>
                    <a:lnTo>
                      <a:pt x="40" y="296"/>
                    </a:lnTo>
                    <a:lnTo>
                      <a:pt x="38" y="298"/>
                    </a:lnTo>
                    <a:lnTo>
                      <a:pt x="38" y="299"/>
                    </a:lnTo>
                    <a:lnTo>
                      <a:pt x="37" y="298"/>
                    </a:lnTo>
                    <a:lnTo>
                      <a:pt x="38" y="296"/>
                    </a:lnTo>
                    <a:close/>
                    <a:moveTo>
                      <a:pt x="27" y="213"/>
                    </a:moveTo>
                    <a:lnTo>
                      <a:pt x="27" y="210"/>
                    </a:lnTo>
                    <a:lnTo>
                      <a:pt x="27" y="210"/>
                    </a:lnTo>
                    <a:lnTo>
                      <a:pt x="27" y="210"/>
                    </a:lnTo>
                    <a:lnTo>
                      <a:pt x="28" y="210"/>
                    </a:lnTo>
                    <a:lnTo>
                      <a:pt x="28" y="210"/>
                    </a:lnTo>
                    <a:lnTo>
                      <a:pt x="28" y="211"/>
                    </a:lnTo>
                    <a:lnTo>
                      <a:pt x="30" y="211"/>
                    </a:lnTo>
                    <a:lnTo>
                      <a:pt x="33" y="211"/>
                    </a:lnTo>
                    <a:lnTo>
                      <a:pt x="33" y="213"/>
                    </a:lnTo>
                    <a:lnTo>
                      <a:pt x="30" y="213"/>
                    </a:lnTo>
                    <a:lnTo>
                      <a:pt x="28" y="213"/>
                    </a:lnTo>
                    <a:lnTo>
                      <a:pt x="27" y="213"/>
                    </a:lnTo>
                    <a:close/>
                    <a:moveTo>
                      <a:pt x="41" y="290"/>
                    </a:moveTo>
                    <a:lnTo>
                      <a:pt x="41" y="290"/>
                    </a:lnTo>
                    <a:lnTo>
                      <a:pt x="41" y="292"/>
                    </a:lnTo>
                    <a:lnTo>
                      <a:pt x="41" y="292"/>
                    </a:lnTo>
                    <a:lnTo>
                      <a:pt x="43" y="293"/>
                    </a:lnTo>
                    <a:lnTo>
                      <a:pt x="40" y="292"/>
                    </a:lnTo>
                    <a:lnTo>
                      <a:pt x="40" y="292"/>
                    </a:lnTo>
                    <a:lnTo>
                      <a:pt x="38" y="290"/>
                    </a:lnTo>
                    <a:lnTo>
                      <a:pt x="40" y="289"/>
                    </a:lnTo>
                    <a:lnTo>
                      <a:pt x="40" y="289"/>
                    </a:lnTo>
                    <a:lnTo>
                      <a:pt x="41" y="290"/>
                    </a:lnTo>
                    <a:lnTo>
                      <a:pt x="41" y="290"/>
                    </a:lnTo>
                    <a:close/>
                    <a:moveTo>
                      <a:pt x="48" y="295"/>
                    </a:moveTo>
                    <a:lnTo>
                      <a:pt x="48" y="295"/>
                    </a:lnTo>
                    <a:lnTo>
                      <a:pt x="48" y="296"/>
                    </a:lnTo>
                    <a:lnTo>
                      <a:pt x="48" y="298"/>
                    </a:lnTo>
                    <a:lnTo>
                      <a:pt x="47" y="298"/>
                    </a:lnTo>
                    <a:lnTo>
                      <a:pt x="46" y="296"/>
                    </a:lnTo>
                    <a:lnTo>
                      <a:pt x="46" y="295"/>
                    </a:lnTo>
                    <a:lnTo>
                      <a:pt x="44" y="295"/>
                    </a:lnTo>
                    <a:lnTo>
                      <a:pt x="44" y="292"/>
                    </a:lnTo>
                    <a:lnTo>
                      <a:pt x="47" y="292"/>
                    </a:lnTo>
                    <a:lnTo>
                      <a:pt x="48" y="292"/>
                    </a:lnTo>
                    <a:lnTo>
                      <a:pt x="50" y="293"/>
                    </a:lnTo>
                    <a:lnTo>
                      <a:pt x="48" y="295"/>
                    </a:lnTo>
                    <a:close/>
                    <a:moveTo>
                      <a:pt x="36" y="298"/>
                    </a:moveTo>
                    <a:lnTo>
                      <a:pt x="34" y="299"/>
                    </a:lnTo>
                    <a:lnTo>
                      <a:pt x="34" y="299"/>
                    </a:lnTo>
                    <a:lnTo>
                      <a:pt x="34" y="298"/>
                    </a:lnTo>
                    <a:lnTo>
                      <a:pt x="36" y="298"/>
                    </a:lnTo>
                    <a:close/>
                    <a:moveTo>
                      <a:pt x="30" y="287"/>
                    </a:moveTo>
                    <a:lnTo>
                      <a:pt x="28" y="286"/>
                    </a:lnTo>
                    <a:lnTo>
                      <a:pt x="30" y="285"/>
                    </a:lnTo>
                    <a:lnTo>
                      <a:pt x="30" y="285"/>
                    </a:lnTo>
                    <a:lnTo>
                      <a:pt x="31" y="286"/>
                    </a:lnTo>
                    <a:lnTo>
                      <a:pt x="31" y="286"/>
                    </a:lnTo>
                    <a:lnTo>
                      <a:pt x="33" y="287"/>
                    </a:lnTo>
                    <a:lnTo>
                      <a:pt x="31" y="289"/>
                    </a:lnTo>
                    <a:lnTo>
                      <a:pt x="30" y="287"/>
                    </a:lnTo>
                    <a:close/>
                    <a:moveTo>
                      <a:pt x="1" y="298"/>
                    </a:moveTo>
                    <a:lnTo>
                      <a:pt x="0" y="298"/>
                    </a:lnTo>
                    <a:lnTo>
                      <a:pt x="0" y="296"/>
                    </a:lnTo>
                    <a:lnTo>
                      <a:pt x="1" y="295"/>
                    </a:lnTo>
                    <a:lnTo>
                      <a:pt x="1" y="298"/>
                    </a:lnTo>
                    <a:close/>
                    <a:moveTo>
                      <a:pt x="4" y="296"/>
                    </a:moveTo>
                    <a:lnTo>
                      <a:pt x="5" y="295"/>
                    </a:lnTo>
                    <a:lnTo>
                      <a:pt x="4" y="292"/>
                    </a:lnTo>
                    <a:lnTo>
                      <a:pt x="5" y="290"/>
                    </a:lnTo>
                    <a:lnTo>
                      <a:pt x="5" y="290"/>
                    </a:lnTo>
                    <a:lnTo>
                      <a:pt x="7" y="292"/>
                    </a:lnTo>
                    <a:lnTo>
                      <a:pt x="8" y="292"/>
                    </a:lnTo>
                    <a:lnTo>
                      <a:pt x="8" y="292"/>
                    </a:lnTo>
                    <a:lnTo>
                      <a:pt x="10" y="293"/>
                    </a:lnTo>
                    <a:lnTo>
                      <a:pt x="11" y="295"/>
                    </a:lnTo>
                    <a:lnTo>
                      <a:pt x="11" y="296"/>
                    </a:lnTo>
                    <a:lnTo>
                      <a:pt x="10" y="296"/>
                    </a:lnTo>
                    <a:lnTo>
                      <a:pt x="10" y="296"/>
                    </a:lnTo>
                    <a:lnTo>
                      <a:pt x="8" y="296"/>
                    </a:lnTo>
                    <a:lnTo>
                      <a:pt x="8" y="298"/>
                    </a:lnTo>
                    <a:lnTo>
                      <a:pt x="8" y="299"/>
                    </a:lnTo>
                    <a:lnTo>
                      <a:pt x="7" y="299"/>
                    </a:lnTo>
                    <a:lnTo>
                      <a:pt x="4" y="299"/>
                    </a:lnTo>
                    <a:lnTo>
                      <a:pt x="2" y="298"/>
                    </a:lnTo>
                    <a:lnTo>
                      <a:pt x="1" y="295"/>
                    </a:lnTo>
                    <a:lnTo>
                      <a:pt x="4" y="295"/>
                    </a:lnTo>
                    <a:lnTo>
                      <a:pt x="4" y="296"/>
                    </a:lnTo>
                    <a:close/>
                    <a:moveTo>
                      <a:pt x="15" y="302"/>
                    </a:moveTo>
                    <a:lnTo>
                      <a:pt x="14" y="300"/>
                    </a:lnTo>
                    <a:lnTo>
                      <a:pt x="15" y="300"/>
                    </a:lnTo>
                    <a:lnTo>
                      <a:pt x="15" y="300"/>
                    </a:lnTo>
                    <a:lnTo>
                      <a:pt x="17" y="300"/>
                    </a:lnTo>
                    <a:lnTo>
                      <a:pt x="18" y="300"/>
                    </a:lnTo>
                    <a:lnTo>
                      <a:pt x="17" y="302"/>
                    </a:lnTo>
                    <a:lnTo>
                      <a:pt x="17" y="302"/>
                    </a:lnTo>
                    <a:lnTo>
                      <a:pt x="15" y="30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82" name="Freeform 88">
                <a:extLst>
                  <a:ext uri="{FF2B5EF4-FFF2-40B4-BE49-F238E27FC236}">
                    <a16:creationId xmlns:a16="http://schemas.microsoft.com/office/drawing/2014/main" id="{0B20D3FD-9378-D58B-F1DC-3AEF1EC7B1B1}"/>
                  </a:ext>
                </a:extLst>
              </p:cNvPr>
              <p:cNvSpPr>
                <a:spLocks noEditPoints="1"/>
              </p:cNvSpPr>
              <p:nvPr/>
            </p:nvSpPr>
            <p:spPr bwMode="auto">
              <a:xfrm>
                <a:off x="3691" y="1546"/>
                <a:ext cx="123" cy="72"/>
              </a:xfrm>
              <a:custGeom>
                <a:avLst/>
                <a:gdLst>
                  <a:gd name="T0" fmla="*/ 79 w 123"/>
                  <a:gd name="T1" fmla="*/ 49 h 72"/>
                  <a:gd name="T2" fmla="*/ 25 w 123"/>
                  <a:gd name="T3" fmla="*/ 68 h 72"/>
                  <a:gd name="T4" fmla="*/ 25 w 123"/>
                  <a:gd name="T5" fmla="*/ 63 h 72"/>
                  <a:gd name="T6" fmla="*/ 25 w 123"/>
                  <a:gd name="T7" fmla="*/ 59 h 72"/>
                  <a:gd name="T8" fmla="*/ 25 w 123"/>
                  <a:gd name="T9" fmla="*/ 53 h 72"/>
                  <a:gd name="T10" fmla="*/ 33 w 123"/>
                  <a:gd name="T11" fmla="*/ 46 h 72"/>
                  <a:gd name="T12" fmla="*/ 35 w 123"/>
                  <a:gd name="T13" fmla="*/ 43 h 72"/>
                  <a:gd name="T14" fmla="*/ 38 w 123"/>
                  <a:gd name="T15" fmla="*/ 36 h 72"/>
                  <a:gd name="T16" fmla="*/ 41 w 123"/>
                  <a:gd name="T17" fmla="*/ 36 h 72"/>
                  <a:gd name="T18" fmla="*/ 48 w 123"/>
                  <a:gd name="T19" fmla="*/ 33 h 72"/>
                  <a:gd name="T20" fmla="*/ 41 w 123"/>
                  <a:gd name="T21" fmla="*/ 29 h 72"/>
                  <a:gd name="T22" fmla="*/ 40 w 123"/>
                  <a:gd name="T23" fmla="*/ 16 h 72"/>
                  <a:gd name="T24" fmla="*/ 41 w 123"/>
                  <a:gd name="T25" fmla="*/ 7 h 72"/>
                  <a:gd name="T26" fmla="*/ 41 w 123"/>
                  <a:gd name="T27" fmla="*/ 0 h 72"/>
                  <a:gd name="T28" fmla="*/ 25 w 123"/>
                  <a:gd name="T29" fmla="*/ 12 h 72"/>
                  <a:gd name="T30" fmla="*/ 8 w 123"/>
                  <a:gd name="T31" fmla="*/ 16 h 72"/>
                  <a:gd name="T32" fmla="*/ 2 w 123"/>
                  <a:gd name="T33" fmla="*/ 23 h 72"/>
                  <a:gd name="T34" fmla="*/ 10 w 123"/>
                  <a:gd name="T35" fmla="*/ 25 h 72"/>
                  <a:gd name="T36" fmla="*/ 17 w 123"/>
                  <a:gd name="T37" fmla="*/ 19 h 72"/>
                  <a:gd name="T38" fmla="*/ 15 w 123"/>
                  <a:gd name="T39" fmla="*/ 23 h 72"/>
                  <a:gd name="T40" fmla="*/ 7 w 123"/>
                  <a:gd name="T41" fmla="*/ 29 h 72"/>
                  <a:gd name="T42" fmla="*/ 0 w 123"/>
                  <a:gd name="T43" fmla="*/ 29 h 72"/>
                  <a:gd name="T44" fmla="*/ 1 w 123"/>
                  <a:gd name="T45" fmla="*/ 43 h 72"/>
                  <a:gd name="T46" fmla="*/ 5 w 123"/>
                  <a:gd name="T47" fmla="*/ 53 h 72"/>
                  <a:gd name="T48" fmla="*/ 8 w 123"/>
                  <a:gd name="T49" fmla="*/ 59 h 72"/>
                  <a:gd name="T50" fmla="*/ 8 w 123"/>
                  <a:gd name="T51" fmla="*/ 65 h 72"/>
                  <a:gd name="T52" fmla="*/ 46 w 123"/>
                  <a:gd name="T53" fmla="*/ 69 h 72"/>
                  <a:gd name="T54" fmla="*/ 48 w 123"/>
                  <a:gd name="T55" fmla="*/ 61 h 72"/>
                  <a:gd name="T56" fmla="*/ 51 w 123"/>
                  <a:gd name="T57" fmla="*/ 12 h 72"/>
                  <a:gd name="T58" fmla="*/ 50 w 123"/>
                  <a:gd name="T59" fmla="*/ 13 h 72"/>
                  <a:gd name="T60" fmla="*/ 50 w 123"/>
                  <a:gd name="T61" fmla="*/ 12 h 72"/>
                  <a:gd name="T62" fmla="*/ 40 w 123"/>
                  <a:gd name="T63" fmla="*/ 68 h 72"/>
                  <a:gd name="T64" fmla="*/ 33 w 123"/>
                  <a:gd name="T65" fmla="*/ 63 h 72"/>
                  <a:gd name="T66" fmla="*/ 31 w 123"/>
                  <a:gd name="T67" fmla="*/ 66 h 72"/>
                  <a:gd name="T68" fmla="*/ 28 w 123"/>
                  <a:gd name="T69" fmla="*/ 63 h 72"/>
                  <a:gd name="T70" fmla="*/ 33 w 123"/>
                  <a:gd name="T71" fmla="*/ 63 h 72"/>
                  <a:gd name="T72" fmla="*/ 43 w 123"/>
                  <a:gd name="T73" fmla="*/ 42 h 72"/>
                  <a:gd name="T74" fmla="*/ 43 w 123"/>
                  <a:gd name="T75" fmla="*/ 46 h 72"/>
                  <a:gd name="T76" fmla="*/ 33 w 123"/>
                  <a:gd name="T77" fmla="*/ 61 h 72"/>
                  <a:gd name="T78" fmla="*/ 33 w 123"/>
                  <a:gd name="T79" fmla="*/ 50 h 72"/>
                  <a:gd name="T80" fmla="*/ 46 w 123"/>
                  <a:gd name="T81" fmla="*/ 59 h 72"/>
                  <a:gd name="T82" fmla="*/ 66 w 123"/>
                  <a:gd name="T83" fmla="*/ 45 h 72"/>
                  <a:gd name="T84" fmla="*/ 71 w 123"/>
                  <a:gd name="T85" fmla="*/ 39 h 72"/>
                  <a:gd name="T86" fmla="*/ 77 w 123"/>
                  <a:gd name="T87" fmla="*/ 48 h 72"/>
                  <a:gd name="T88" fmla="*/ 71 w 123"/>
                  <a:gd name="T89" fmla="*/ 52 h 72"/>
                  <a:gd name="T90" fmla="*/ 74 w 123"/>
                  <a:gd name="T91" fmla="*/ 56 h 72"/>
                  <a:gd name="T92" fmla="*/ 68 w 123"/>
                  <a:gd name="T93" fmla="*/ 61 h 72"/>
                  <a:gd name="T94" fmla="*/ 68 w 123"/>
                  <a:gd name="T95" fmla="*/ 65 h 72"/>
                  <a:gd name="T96" fmla="*/ 63 w 123"/>
                  <a:gd name="T97" fmla="*/ 65 h 72"/>
                  <a:gd name="T98" fmla="*/ 60 w 123"/>
                  <a:gd name="T99" fmla="*/ 59 h 72"/>
                  <a:gd name="T100" fmla="*/ 54 w 123"/>
                  <a:gd name="T101" fmla="*/ 58 h 72"/>
                  <a:gd name="T102" fmla="*/ 51 w 123"/>
                  <a:gd name="T103" fmla="*/ 50 h 72"/>
                  <a:gd name="T104" fmla="*/ 51 w 123"/>
                  <a:gd name="T105" fmla="*/ 48 h 72"/>
                  <a:gd name="T106" fmla="*/ 57 w 123"/>
                  <a:gd name="T107" fmla="*/ 45 h 72"/>
                  <a:gd name="T108" fmla="*/ 61 w 123"/>
                  <a:gd name="T109" fmla="*/ 45 h 72"/>
                  <a:gd name="T110" fmla="*/ 58 w 123"/>
                  <a:gd name="T111" fmla="*/ 72 h 72"/>
                  <a:gd name="T112" fmla="*/ 51 w 123"/>
                  <a:gd name="T113" fmla="*/ 65 h 72"/>
                  <a:gd name="T114" fmla="*/ 61 w 123"/>
                  <a:gd name="T115" fmla="*/ 68 h 72"/>
                  <a:gd name="T116" fmla="*/ 60 w 123"/>
                  <a:gd name="T117" fmla="*/ 72 h 72"/>
                  <a:gd name="T118" fmla="*/ 71 w 123"/>
                  <a:gd name="T119" fmla="*/ 63 h 72"/>
                  <a:gd name="T120" fmla="*/ 76 w 123"/>
                  <a:gd name="T121" fmla="*/ 63 h 72"/>
                  <a:gd name="T122" fmla="*/ 122 w 123"/>
                  <a:gd name="T123" fmla="*/ 59 h 72"/>
                  <a:gd name="T124" fmla="*/ 116 w 123"/>
                  <a:gd name="T125"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 h="72">
                    <a:moveTo>
                      <a:pt x="79" y="50"/>
                    </a:moveTo>
                    <a:lnTo>
                      <a:pt x="77" y="50"/>
                    </a:lnTo>
                    <a:lnTo>
                      <a:pt x="77" y="49"/>
                    </a:lnTo>
                    <a:lnTo>
                      <a:pt x="79" y="49"/>
                    </a:lnTo>
                    <a:lnTo>
                      <a:pt x="79" y="50"/>
                    </a:lnTo>
                    <a:close/>
                    <a:moveTo>
                      <a:pt x="18" y="68"/>
                    </a:moveTo>
                    <a:lnTo>
                      <a:pt x="21" y="68"/>
                    </a:lnTo>
                    <a:lnTo>
                      <a:pt x="25" y="68"/>
                    </a:lnTo>
                    <a:lnTo>
                      <a:pt x="28" y="68"/>
                    </a:lnTo>
                    <a:lnTo>
                      <a:pt x="27" y="66"/>
                    </a:lnTo>
                    <a:lnTo>
                      <a:pt x="27" y="63"/>
                    </a:lnTo>
                    <a:lnTo>
                      <a:pt x="25" y="63"/>
                    </a:lnTo>
                    <a:lnTo>
                      <a:pt x="23" y="63"/>
                    </a:lnTo>
                    <a:lnTo>
                      <a:pt x="24" y="61"/>
                    </a:lnTo>
                    <a:lnTo>
                      <a:pt x="25" y="61"/>
                    </a:lnTo>
                    <a:lnTo>
                      <a:pt x="25" y="59"/>
                    </a:lnTo>
                    <a:lnTo>
                      <a:pt x="27" y="56"/>
                    </a:lnTo>
                    <a:lnTo>
                      <a:pt x="27" y="55"/>
                    </a:lnTo>
                    <a:lnTo>
                      <a:pt x="25" y="53"/>
                    </a:lnTo>
                    <a:lnTo>
                      <a:pt x="25" y="53"/>
                    </a:lnTo>
                    <a:lnTo>
                      <a:pt x="27" y="50"/>
                    </a:lnTo>
                    <a:lnTo>
                      <a:pt x="28" y="49"/>
                    </a:lnTo>
                    <a:lnTo>
                      <a:pt x="31" y="48"/>
                    </a:lnTo>
                    <a:lnTo>
                      <a:pt x="33" y="46"/>
                    </a:lnTo>
                    <a:lnTo>
                      <a:pt x="31" y="45"/>
                    </a:lnTo>
                    <a:lnTo>
                      <a:pt x="33" y="43"/>
                    </a:lnTo>
                    <a:lnTo>
                      <a:pt x="34" y="43"/>
                    </a:lnTo>
                    <a:lnTo>
                      <a:pt x="35" y="43"/>
                    </a:lnTo>
                    <a:lnTo>
                      <a:pt x="37" y="40"/>
                    </a:lnTo>
                    <a:lnTo>
                      <a:pt x="37" y="38"/>
                    </a:lnTo>
                    <a:lnTo>
                      <a:pt x="38" y="38"/>
                    </a:lnTo>
                    <a:lnTo>
                      <a:pt x="38" y="36"/>
                    </a:lnTo>
                    <a:lnTo>
                      <a:pt x="40" y="36"/>
                    </a:lnTo>
                    <a:lnTo>
                      <a:pt x="40" y="36"/>
                    </a:lnTo>
                    <a:lnTo>
                      <a:pt x="40" y="36"/>
                    </a:lnTo>
                    <a:lnTo>
                      <a:pt x="41" y="36"/>
                    </a:lnTo>
                    <a:lnTo>
                      <a:pt x="43" y="36"/>
                    </a:lnTo>
                    <a:lnTo>
                      <a:pt x="46" y="36"/>
                    </a:lnTo>
                    <a:lnTo>
                      <a:pt x="47" y="35"/>
                    </a:lnTo>
                    <a:lnTo>
                      <a:pt x="48" y="33"/>
                    </a:lnTo>
                    <a:lnTo>
                      <a:pt x="48" y="30"/>
                    </a:lnTo>
                    <a:lnTo>
                      <a:pt x="47" y="30"/>
                    </a:lnTo>
                    <a:lnTo>
                      <a:pt x="44" y="30"/>
                    </a:lnTo>
                    <a:lnTo>
                      <a:pt x="41" y="29"/>
                    </a:lnTo>
                    <a:lnTo>
                      <a:pt x="38" y="27"/>
                    </a:lnTo>
                    <a:lnTo>
                      <a:pt x="37" y="25"/>
                    </a:lnTo>
                    <a:lnTo>
                      <a:pt x="38" y="20"/>
                    </a:lnTo>
                    <a:lnTo>
                      <a:pt x="40" y="16"/>
                    </a:lnTo>
                    <a:lnTo>
                      <a:pt x="41" y="15"/>
                    </a:lnTo>
                    <a:lnTo>
                      <a:pt x="41" y="12"/>
                    </a:lnTo>
                    <a:lnTo>
                      <a:pt x="41" y="10"/>
                    </a:lnTo>
                    <a:lnTo>
                      <a:pt x="41" y="7"/>
                    </a:lnTo>
                    <a:lnTo>
                      <a:pt x="41" y="4"/>
                    </a:lnTo>
                    <a:lnTo>
                      <a:pt x="41" y="2"/>
                    </a:lnTo>
                    <a:lnTo>
                      <a:pt x="43" y="0"/>
                    </a:lnTo>
                    <a:lnTo>
                      <a:pt x="41" y="0"/>
                    </a:lnTo>
                    <a:lnTo>
                      <a:pt x="34" y="4"/>
                    </a:lnTo>
                    <a:lnTo>
                      <a:pt x="31" y="6"/>
                    </a:lnTo>
                    <a:lnTo>
                      <a:pt x="30" y="7"/>
                    </a:lnTo>
                    <a:lnTo>
                      <a:pt x="25" y="12"/>
                    </a:lnTo>
                    <a:lnTo>
                      <a:pt x="23" y="15"/>
                    </a:lnTo>
                    <a:lnTo>
                      <a:pt x="18" y="16"/>
                    </a:lnTo>
                    <a:lnTo>
                      <a:pt x="12" y="16"/>
                    </a:lnTo>
                    <a:lnTo>
                      <a:pt x="8" y="16"/>
                    </a:lnTo>
                    <a:lnTo>
                      <a:pt x="7" y="17"/>
                    </a:lnTo>
                    <a:lnTo>
                      <a:pt x="4" y="19"/>
                    </a:lnTo>
                    <a:lnTo>
                      <a:pt x="2" y="22"/>
                    </a:lnTo>
                    <a:lnTo>
                      <a:pt x="2" y="23"/>
                    </a:lnTo>
                    <a:lnTo>
                      <a:pt x="2" y="25"/>
                    </a:lnTo>
                    <a:lnTo>
                      <a:pt x="5" y="26"/>
                    </a:lnTo>
                    <a:lnTo>
                      <a:pt x="7" y="26"/>
                    </a:lnTo>
                    <a:lnTo>
                      <a:pt x="10" y="25"/>
                    </a:lnTo>
                    <a:lnTo>
                      <a:pt x="11" y="23"/>
                    </a:lnTo>
                    <a:lnTo>
                      <a:pt x="12" y="22"/>
                    </a:lnTo>
                    <a:lnTo>
                      <a:pt x="14" y="19"/>
                    </a:lnTo>
                    <a:lnTo>
                      <a:pt x="17" y="19"/>
                    </a:lnTo>
                    <a:lnTo>
                      <a:pt x="18" y="19"/>
                    </a:lnTo>
                    <a:lnTo>
                      <a:pt x="20" y="20"/>
                    </a:lnTo>
                    <a:lnTo>
                      <a:pt x="18" y="26"/>
                    </a:lnTo>
                    <a:lnTo>
                      <a:pt x="15" y="23"/>
                    </a:lnTo>
                    <a:lnTo>
                      <a:pt x="12" y="26"/>
                    </a:lnTo>
                    <a:lnTo>
                      <a:pt x="10" y="27"/>
                    </a:lnTo>
                    <a:lnTo>
                      <a:pt x="8" y="30"/>
                    </a:lnTo>
                    <a:lnTo>
                      <a:pt x="7" y="29"/>
                    </a:lnTo>
                    <a:lnTo>
                      <a:pt x="4" y="27"/>
                    </a:lnTo>
                    <a:lnTo>
                      <a:pt x="2" y="27"/>
                    </a:lnTo>
                    <a:lnTo>
                      <a:pt x="1" y="29"/>
                    </a:lnTo>
                    <a:lnTo>
                      <a:pt x="0" y="29"/>
                    </a:lnTo>
                    <a:lnTo>
                      <a:pt x="0" y="33"/>
                    </a:lnTo>
                    <a:lnTo>
                      <a:pt x="0" y="36"/>
                    </a:lnTo>
                    <a:lnTo>
                      <a:pt x="1" y="42"/>
                    </a:lnTo>
                    <a:lnTo>
                      <a:pt x="1" y="43"/>
                    </a:lnTo>
                    <a:lnTo>
                      <a:pt x="0" y="48"/>
                    </a:lnTo>
                    <a:lnTo>
                      <a:pt x="0" y="50"/>
                    </a:lnTo>
                    <a:lnTo>
                      <a:pt x="1" y="52"/>
                    </a:lnTo>
                    <a:lnTo>
                      <a:pt x="5" y="53"/>
                    </a:lnTo>
                    <a:lnTo>
                      <a:pt x="8" y="53"/>
                    </a:lnTo>
                    <a:lnTo>
                      <a:pt x="8" y="56"/>
                    </a:lnTo>
                    <a:lnTo>
                      <a:pt x="10" y="58"/>
                    </a:lnTo>
                    <a:lnTo>
                      <a:pt x="8" y="59"/>
                    </a:lnTo>
                    <a:lnTo>
                      <a:pt x="7" y="61"/>
                    </a:lnTo>
                    <a:lnTo>
                      <a:pt x="8" y="62"/>
                    </a:lnTo>
                    <a:lnTo>
                      <a:pt x="8" y="63"/>
                    </a:lnTo>
                    <a:lnTo>
                      <a:pt x="8" y="65"/>
                    </a:lnTo>
                    <a:lnTo>
                      <a:pt x="10" y="66"/>
                    </a:lnTo>
                    <a:lnTo>
                      <a:pt x="11" y="66"/>
                    </a:lnTo>
                    <a:lnTo>
                      <a:pt x="18" y="68"/>
                    </a:lnTo>
                    <a:close/>
                    <a:moveTo>
                      <a:pt x="46" y="69"/>
                    </a:moveTo>
                    <a:lnTo>
                      <a:pt x="44" y="68"/>
                    </a:lnTo>
                    <a:lnTo>
                      <a:pt x="44" y="66"/>
                    </a:lnTo>
                    <a:lnTo>
                      <a:pt x="46" y="63"/>
                    </a:lnTo>
                    <a:lnTo>
                      <a:pt x="48" y="61"/>
                    </a:lnTo>
                    <a:lnTo>
                      <a:pt x="48" y="63"/>
                    </a:lnTo>
                    <a:lnTo>
                      <a:pt x="47" y="66"/>
                    </a:lnTo>
                    <a:lnTo>
                      <a:pt x="46" y="69"/>
                    </a:lnTo>
                    <a:close/>
                    <a:moveTo>
                      <a:pt x="51" y="12"/>
                    </a:moveTo>
                    <a:lnTo>
                      <a:pt x="53" y="12"/>
                    </a:lnTo>
                    <a:lnTo>
                      <a:pt x="51" y="12"/>
                    </a:lnTo>
                    <a:lnTo>
                      <a:pt x="51" y="13"/>
                    </a:lnTo>
                    <a:lnTo>
                      <a:pt x="50" y="13"/>
                    </a:lnTo>
                    <a:lnTo>
                      <a:pt x="48" y="13"/>
                    </a:lnTo>
                    <a:lnTo>
                      <a:pt x="48" y="12"/>
                    </a:lnTo>
                    <a:lnTo>
                      <a:pt x="50" y="12"/>
                    </a:lnTo>
                    <a:lnTo>
                      <a:pt x="50" y="12"/>
                    </a:lnTo>
                    <a:lnTo>
                      <a:pt x="51" y="12"/>
                    </a:lnTo>
                    <a:close/>
                    <a:moveTo>
                      <a:pt x="35" y="65"/>
                    </a:moveTo>
                    <a:lnTo>
                      <a:pt x="41" y="66"/>
                    </a:lnTo>
                    <a:lnTo>
                      <a:pt x="40" y="68"/>
                    </a:lnTo>
                    <a:lnTo>
                      <a:pt x="38" y="66"/>
                    </a:lnTo>
                    <a:lnTo>
                      <a:pt x="37" y="66"/>
                    </a:lnTo>
                    <a:lnTo>
                      <a:pt x="35" y="65"/>
                    </a:lnTo>
                    <a:close/>
                    <a:moveTo>
                      <a:pt x="33" y="63"/>
                    </a:moveTo>
                    <a:lnTo>
                      <a:pt x="33" y="65"/>
                    </a:lnTo>
                    <a:lnTo>
                      <a:pt x="34" y="66"/>
                    </a:lnTo>
                    <a:lnTo>
                      <a:pt x="33" y="66"/>
                    </a:lnTo>
                    <a:lnTo>
                      <a:pt x="31" y="66"/>
                    </a:lnTo>
                    <a:lnTo>
                      <a:pt x="30" y="66"/>
                    </a:lnTo>
                    <a:lnTo>
                      <a:pt x="28" y="66"/>
                    </a:lnTo>
                    <a:lnTo>
                      <a:pt x="28" y="65"/>
                    </a:lnTo>
                    <a:lnTo>
                      <a:pt x="28" y="63"/>
                    </a:lnTo>
                    <a:lnTo>
                      <a:pt x="28" y="62"/>
                    </a:lnTo>
                    <a:lnTo>
                      <a:pt x="30" y="62"/>
                    </a:lnTo>
                    <a:lnTo>
                      <a:pt x="31" y="63"/>
                    </a:lnTo>
                    <a:lnTo>
                      <a:pt x="33" y="63"/>
                    </a:lnTo>
                    <a:close/>
                    <a:moveTo>
                      <a:pt x="43" y="46"/>
                    </a:moveTo>
                    <a:lnTo>
                      <a:pt x="43" y="46"/>
                    </a:lnTo>
                    <a:lnTo>
                      <a:pt x="41" y="43"/>
                    </a:lnTo>
                    <a:lnTo>
                      <a:pt x="43" y="42"/>
                    </a:lnTo>
                    <a:lnTo>
                      <a:pt x="43" y="42"/>
                    </a:lnTo>
                    <a:lnTo>
                      <a:pt x="44" y="43"/>
                    </a:lnTo>
                    <a:lnTo>
                      <a:pt x="44" y="43"/>
                    </a:lnTo>
                    <a:lnTo>
                      <a:pt x="43" y="46"/>
                    </a:lnTo>
                    <a:close/>
                    <a:moveTo>
                      <a:pt x="43" y="62"/>
                    </a:moveTo>
                    <a:lnTo>
                      <a:pt x="38" y="62"/>
                    </a:lnTo>
                    <a:lnTo>
                      <a:pt x="35" y="62"/>
                    </a:lnTo>
                    <a:lnTo>
                      <a:pt x="33" y="61"/>
                    </a:lnTo>
                    <a:lnTo>
                      <a:pt x="31" y="58"/>
                    </a:lnTo>
                    <a:lnTo>
                      <a:pt x="30" y="55"/>
                    </a:lnTo>
                    <a:lnTo>
                      <a:pt x="31" y="52"/>
                    </a:lnTo>
                    <a:lnTo>
                      <a:pt x="33" y="50"/>
                    </a:lnTo>
                    <a:lnTo>
                      <a:pt x="43" y="50"/>
                    </a:lnTo>
                    <a:lnTo>
                      <a:pt x="44" y="52"/>
                    </a:lnTo>
                    <a:lnTo>
                      <a:pt x="47" y="56"/>
                    </a:lnTo>
                    <a:lnTo>
                      <a:pt x="46" y="59"/>
                    </a:lnTo>
                    <a:lnTo>
                      <a:pt x="44" y="62"/>
                    </a:lnTo>
                    <a:lnTo>
                      <a:pt x="43" y="62"/>
                    </a:lnTo>
                    <a:close/>
                    <a:moveTo>
                      <a:pt x="66" y="48"/>
                    </a:moveTo>
                    <a:lnTo>
                      <a:pt x="66" y="45"/>
                    </a:lnTo>
                    <a:lnTo>
                      <a:pt x="66" y="43"/>
                    </a:lnTo>
                    <a:lnTo>
                      <a:pt x="66" y="42"/>
                    </a:lnTo>
                    <a:lnTo>
                      <a:pt x="68" y="40"/>
                    </a:lnTo>
                    <a:lnTo>
                      <a:pt x="71" y="39"/>
                    </a:lnTo>
                    <a:lnTo>
                      <a:pt x="76" y="39"/>
                    </a:lnTo>
                    <a:lnTo>
                      <a:pt x="79" y="40"/>
                    </a:lnTo>
                    <a:lnTo>
                      <a:pt x="77" y="43"/>
                    </a:lnTo>
                    <a:lnTo>
                      <a:pt x="77" y="48"/>
                    </a:lnTo>
                    <a:lnTo>
                      <a:pt x="76" y="49"/>
                    </a:lnTo>
                    <a:lnTo>
                      <a:pt x="74" y="50"/>
                    </a:lnTo>
                    <a:lnTo>
                      <a:pt x="73" y="50"/>
                    </a:lnTo>
                    <a:lnTo>
                      <a:pt x="71" y="52"/>
                    </a:lnTo>
                    <a:lnTo>
                      <a:pt x="71" y="53"/>
                    </a:lnTo>
                    <a:lnTo>
                      <a:pt x="73" y="53"/>
                    </a:lnTo>
                    <a:lnTo>
                      <a:pt x="73" y="55"/>
                    </a:lnTo>
                    <a:lnTo>
                      <a:pt x="74" y="56"/>
                    </a:lnTo>
                    <a:lnTo>
                      <a:pt x="74" y="58"/>
                    </a:lnTo>
                    <a:lnTo>
                      <a:pt x="74" y="58"/>
                    </a:lnTo>
                    <a:lnTo>
                      <a:pt x="70" y="59"/>
                    </a:lnTo>
                    <a:lnTo>
                      <a:pt x="68" y="61"/>
                    </a:lnTo>
                    <a:lnTo>
                      <a:pt x="68" y="61"/>
                    </a:lnTo>
                    <a:lnTo>
                      <a:pt x="68" y="62"/>
                    </a:lnTo>
                    <a:lnTo>
                      <a:pt x="68" y="65"/>
                    </a:lnTo>
                    <a:lnTo>
                      <a:pt x="68" y="65"/>
                    </a:lnTo>
                    <a:lnTo>
                      <a:pt x="67" y="68"/>
                    </a:lnTo>
                    <a:lnTo>
                      <a:pt x="66" y="69"/>
                    </a:lnTo>
                    <a:lnTo>
                      <a:pt x="64" y="68"/>
                    </a:lnTo>
                    <a:lnTo>
                      <a:pt x="63" y="65"/>
                    </a:lnTo>
                    <a:lnTo>
                      <a:pt x="63" y="62"/>
                    </a:lnTo>
                    <a:lnTo>
                      <a:pt x="61" y="61"/>
                    </a:lnTo>
                    <a:lnTo>
                      <a:pt x="61" y="59"/>
                    </a:lnTo>
                    <a:lnTo>
                      <a:pt x="60" y="59"/>
                    </a:lnTo>
                    <a:lnTo>
                      <a:pt x="58" y="59"/>
                    </a:lnTo>
                    <a:lnTo>
                      <a:pt x="57" y="59"/>
                    </a:lnTo>
                    <a:lnTo>
                      <a:pt x="56" y="59"/>
                    </a:lnTo>
                    <a:lnTo>
                      <a:pt x="54" y="58"/>
                    </a:lnTo>
                    <a:lnTo>
                      <a:pt x="53" y="55"/>
                    </a:lnTo>
                    <a:lnTo>
                      <a:pt x="53" y="53"/>
                    </a:lnTo>
                    <a:lnTo>
                      <a:pt x="53" y="50"/>
                    </a:lnTo>
                    <a:lnTo>
                      <a:pt x="51" y="50"/>
                    </a:lnTo>
                    <a:lnTo>
                      <a:pt x="50" y="49"/>
                    </a:lnTo>
                    <a:lnTo>
                      <a:pt x="50" y="48"/>
                    </a:lnTo>
                    <a:lnTo>
                      <a:pt x="50" y="48"/>
                    </a:lnTo>
                    <a:lnTo>
                      <a:pt x="51" y="48"/>
                    </a:lnTo>
                    <a:lnTo>
                      <a:pt x="53" y="48"/>
                    </a:lnTo>
                    <a:lnTo>
                      <a:pt x="54" y="48"/>
                    </a:lnTo>
                    <a:lnTo>
                      <a:pt x="56" y="46"/>
                    </a:lnTo>
                    <a:lnTo>
                      <a:pt x="57" y="45"/>
                    </a:lnTo>
                    <a:lnTo>
                      <a:pt x="57" y="43"/>
                    </a:lnTo>
                    <a:lnTo>
                      <a:pt x="58" y="42"/>
                    </a:lnTo>
                    <a:lnTo>
                      <a:pt x="61" y="42"/>
                    </a:lnTo>
                    <a:lnTo>
                      <a:pt x="61" y="45"/>
                    </a:lnTo>
                    <a:lnTo>
                      <a:pt x="63" y="48"/>
                    </a:lnTo>
                    <a:lnTo>
                      <a:pt x="64" y="48"/>
                    </a:lnTo>
                    <a:lnTo>
                      <a:pt x="66" y="48"/>
                    </a:lnTo>
                    <a:close/>
                    <a:moveTo>
                      <a:pt x="58" y="72"/>
                    </a:moveTo>
                    <a:lnTo>
                      <a:pt x="53" y="71"/>
                    </a:lnTo>
                    <a:lnTo>
                      <a:pt x="51" y="69"/>
                    </a:lnTo>
                    <a:lnTo>
                      <a:pt x="51" y="66"/>
                    </a:lnTo>
                    <a:lnTo>
                      <a:pt x="51" y="65"/>
                    </a:lnTo>
                    <a:lnTo>
                      <a:pt x="53" y="65"/>
                    </a:lnTo>
                    <a:lnTo>
                      <a:pt x="54" y="65"/>
                    </a:lnTo>
                    <a:lnTo>
                      <a:pt x="56" y="66"/>
                    </a:lnTo>
                    <a:lnTo>
                      <a:pt x="61" y="68"/>
                    </a:lnTo>
                    <a:lnTo>
                      <a:pt x="63" y="69"/>
                    </a:lnTo>
                    <a:lnTo>
                      <a:pt x="64" y="71"/>
                    </a:lnTo>
                    <a:lnTo>
                      <a:pt x="61" y="72"/>
                    </a:lnTo>
                    <a:lnTo>
                      <a:pt x="60" y="72"/>
                    </a:lnTo>
                    <a:lnTo>
                      <a:pt x="58" y="72"/>
                    </a:lnTo>
                    <a:close/>
                    <a:moveTo>
                      <a:pt x="74" y="63"/>
                    </a:moveTo>
                    <a:lnTo>
                      <a:pt x="73" y="62"/>
                    </a:lnTo>
                    <a:lnTo>
                      <a:pt x="71" y="63"/>
                    </a:lnTo>
                    <a:lnTo>
                      <a:pt x="70" y="66"/>
                    </a:lnTo>
                    <a:lnTo>
                      <a:pt x="71" y="66"/>
                    </a:lnTo>
                    <a:lnTo>
                      <a:pt x="77" y="65"/>
                    </a:lnTo>
                    <a:lnTo>
                      <a:pt x="76" y="63"/>
                    </a:lnTo>
                    <a:lnTo>
                      <a:pt x="74" y="63"/>
                    </a:lnTo>
                    <a:close/>
                    <a:moveTo>
                      <a:pt x="120" y="63"/>
                    </a:moveTo>
                    <a:lnTo>
                      <a:pt x="123" y="62"/>
                    </a:lnTo>
                    <a:lnTo>
                      <a:pt x="122" y="59"/>
                    </a:lnTo>
                    <a:lnTo>
                      <a:pt x="119" y="58"/>
                    </a:lnTo>
                    <a:lnTo>
                      <a:pt x="116" y="58"/>
                    </a:lnTo>
                    <a:lnTo>
                      <a:pt x="114" y="61"/>
                    </a:lnTo>
                    <a:lnTo>
                      <a:pt x="116" y="62"/>
                    </a:lnTo>
                    <a:lnTo>
                      <a:pt x="119" y="63"/>
                    </a:lnTo>
                    <a:lnTo>
                      <a:pt x="120" y="6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83" name="Freeform 89">
                <a:extLst>
                  <a:ext uri="{FF2B5EF4-FFF2-40B4-BE49-F238E27FC236}">
                    <a16:creationId xmlns:a16="http://schemas.microsoft.com/office/drawing/2014/main" id="{010171D4-A42F-8713-78BC-A2B2942E866B}"/>
                  </a:ext>
                </a:extLst>
              </p:cNvPr>
              <p:cNvSpPr>
                <a:spLocks noEditPoints="1"/>
              </p:cNvSpPr>
              <p:nvPr/>
            </p:nvSpPr>
            <p:spPr bwMode="auto">
              <a:xfrm>
                <a:off x="3650" y="1608"/>
                <a:ext cx="161" cy="194"/>
              </a:xfrm>
              <a:custGeom>
                <a:avLst/>
                <a:gdLst>
                  <a:gd name="T0" fmla="*/ 147 w 161"/>
                  <a:gd name="T1" fmla="*/ 26 h 194"/>
                  <a:gd name="T2" fmla="*/ 94 w 161"/>
                  <a:gd name="T3" fmla="*/ 16 h 194"/>
                  <a:gd name="T4" fmla="*/ 25 w 161"/>
                  <a:gd name="T5" fmla="*/ 42 h 194"/>
                  <a:gd name="T6" fmla="*/ 41 w 161"/>
                  <a:gd name="T7" fmla="*/ 34 h 194"/>
                  <a:gd name="T8" fmla="*/ 46 w 161"/>
                  <a:gd name="T9" fmla="*/ 36 h 194"/>
                  <a:gd name="T10" fmla="*/ 51 w 161"/>
                  <a:gd name="T11" fmla="*/ 29 h 194"/>
                  <a:gd name="T12" fmla="*/ 66 w 161"/>
                  <a:gd name="T13" fmla="*/ 34 h 194"/>
                  <a:gd name="T14" fmla="*/ 58 w 161"/>
                  <a:gd name="T15" fmla="*/ 27 h 194"/>
                  <a:gd name="T16" fmla="*/ 51 w 161"/>
                  <a:gd name="T17" fmla="*/ 19 h 194"/>
                  <a:gd name="T18" fmla="*/ 53 w 161"/>
                  <a:gd name="T19" fmla="*/ 10 h 194"/>
                  <a:gd name="T20" fmla="*/ 69 w 161"/>
                  <a:gd name="T21" fmla="*/ 6 h 194"/>
                  <a:gd name="T22" fmla="*/ 84 w 161"/>
                  <a:gd name="T23" fmla="*/ 16 h 194"/>
                  <a:gd name="T24" fmla="*/ 92 w 161"/>
                  <a:gd name="T25" fmla="*/ 17 h 194"/>
                  <a:gd name="T26" fmla="*/ 94 w 161"/>
                  <a:gd name="T27" fmla="*/ 24 h 194"/>
                  <a:gd name="T28" fmla="*/ 109 w 161"/>
                  <a:gd name="T29" fmla="*/ 20 h 194"/>
                  <a:gd name="T30" fmla="*/ 125 w 161"/>
                  <a:gd name="T31" fmla="*/ 16 h 194"/>
                  <a:gd name="T32" fmla="*/ 141 w 161"/>
                  <a:gd name="T33" fmla="*/ 24 h 194"/>
                  <a:gd name="T34" fmla="*/ 151 w 161"/>
                  <a:gd name="T35" fmla="*/ 43 h 194"/>
                  <a:gd name="T36" fmla="*/ 154 w 161"/>
                  <a:gd name="T37" fmla="*/ 62 h 194"/>
                  <a:gd name="T38" fmla="*/ 157 w 161"/>
                  <a:gd name="T39" fmla="*/ 72 h 194"/>
                  <a:gd name="T40" fmla="*/ 160 w 161"/>
                  <a:gd name="T41" fmla="*/ 88 h 194"/>
                  <a:gd name="T42" fmla="*/ 151 w 161"/>
                  <a:gd name="T43" fmla="*/ 99 h 194"/>
                  <a:gd name="T44" fmla="*/ 150 w 161"/>
                  <a:gd name="T45" fmla="*/ 102 h 194"/>
                  <a:gd name="T46" fmla="*/ 140 w 161"/>
                  <a:gd name="T47" fmla="*/ 106 h 194"/>
                  <a:gd name="T48" fmla="*/ 132 w 161"/>
                  <a:gd name="T49" fmla="*/ 109 h 194"/>
                  <a:gd name="T50" fmla="*/ 121 w 161"/>
                  <a:gd name="T51" fmla="*/ 115 h 194"/>
                  <a:gd name="T52" fmla="*/ 111 w 161"/>
                  <a:gd name="T53" fmla="*/ 118 h 194"/>
                  <a:gd name="T54" fmla="*/ 117 w 161"/>
                  <a:gd name="T55" fmla="*/ 128 h 194"/>
                  <a:gd name="T56" fmla="*/ 117 w 161"/>
                  <a:gd name="T57" fmla="*/ 135 h 194"/>
                  <a:gd name="T58" fmla="*/ 135 w 161"/>
                  <a:gd name="T59" fmla="*/ 154 h 194"/>
                  <a:gd name="T60" fmla="*/ 138 w 161"/>
                  <a:gd name="T61" fmla="*/ 164 h 194"/>
                  <a:gd name="T62" fmla="*/ 134 w 161"/>
                  <a:gd name="T63" fmla="*/ 165 h 194"/>
                  <a:gd name="T64" fmla="*/ 124 w 161"/>
                  <a:gd name="T65" fmla="*/ 172 h 194"/>
                  <a:gd name="T66" fmla="*/ 127 w 161"/>
                  <a:gd name="T67" fmla="*/ 185 h 194"/>
                  <a:gd name="T68" fmla="*/ 120 w 161"/>
                  <a:gd name="T69" fmla="*/ 185 h 194"/>
                  <a:gd name="T70" fmla="*/ 112 w 161"/>
                  <a:gd name="T71" fmla="*/ 183 h 194"/>
                  <a:gd name="T72" fmla="*/ 102 w 161"/>
                  <a:gd name="T73" fmla="*/ 187 h 194"/>
                  <a:gd name="T74" fmla="*/ 85 w 161"/>
                  <a:gd name="T75" fmla="*/ 187 h 194"/>
                  <a:gd name="T76" fmla="*/ 76 w 161"/>
                  <a:gd name="T77" fmla="*/ 194 h 194"/>
                  <a:gd name="T78" fmla="*/ 68 w 161"/>
                  <a:gd name="T79" fmla="*/ 188 h 194"/>
                  <a:gd name="T80" fmla="*/ 49 w 161"/>
                  <a:gd name="T81" fmla="*/ 183 h 194"/>
                  <a:gd name="T82" fmla="*/ 43 w 161"/>
                  <a:gd name="T83" fmla="*/ 187 h 194"/>
                  <a:gd name="T84" fmla="*/ 35 w 161"/>
                  <a:gd name="T85" fmla="*/ 162 h 194"/>
                  <a:gd name="T86" fmla="*/ 38 w 161"/>
                  <a:gd name="T87" fmla="*/ 151 h 194"/>
                  <a:gd name="T88" fmla="*/ 26 w 161"/>
                  <a:gd name="T89" fmla="*/ 148 h 194"/>
                  <a:gd name="T90" fmla="*/ 20 w 161"/>
                  <a:gd name="T91" fmla="*/ 147 h 194"/>
                  <a:gd name="T92" fmla="*/ 9 w 161"/>
                  <a:gd name="T93" fmla="*/ 141 h 194"/>
                  <a:gd name="T94" fmla="*/ 6 w 161"/>
                  <a:gd name="T95" fmla="*/ 128 h 194"/>
                  <a:gd name="T96" fmla="*/ 9 w 161"/>
                  <a:gd name="T97" fmla="*/ 115 h 194"/>
                  <a:gd name="T98" fmla="*/ 3 w 161"/>
                  <a:gd name="T99" fmla="*/ 103 h 194"/>
                  <a:gd name="T100" fmla="*/ 0 w 161"/>
                  <a:gd name="T101" fmla="*/ 99 h 194"/>
                  <a:gd name="T102" fmla="*/ 5 w 161"/>
                  <a:gd name="T103" fmla="*/ 96 h 194"/>
                  <a:gd name="T104" fmla="*/ 3 w 161"/>
                  <a:gd name="T105" fmla="*/ 80 h 194"/>
                  <a:gd name="T106" fmla="*/ 16 w 161"/>
                  <a:gd name="T107" fmla="*/ 75 h 194"/>
                  <a:gd name="T108" fmla="*/ 20 w 161"/>
                  <a:gd name="T109" fmla="*/ 66 h 194"/>
                  <a:gd name="T110" fmla="*/ 22 w 161"/>
                  <a:gd name="T111" fmla="*/ 57 h 194"/>
                  <a:gd name="T112" fmla="*/ 46 w 161"/>
                  <a:gd name="T113" fmla="*/ 6 h 194"/>
                  <a:gd name="T114" fmla="*/ 45 w 161"/>
                  <a:gd name="T115" fmla="*/ 1 h 194"/>
                  <a:gd name="T116" fmla="*/ 137 w 161"/>
                  <a:gd name="T117" fmla="*/ 14 h 194"/>
                  <a:gd name="T118" fmla="*/ 134 w 161"/>
                  <a:gd name="T119" fmla="*/ 19 h 194"/>
                  <a:gd name="T120" fmla="*/ 131 w 161"/>
                  <a:gd name="T121" fmla="*/ 10 h 194"/>
                  <a:gd name="T122" fmla="*/ 137 w 161"/>
                  <a:gd name="T123" fmla="*/ 11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1" h="194">
                    <a:moveTo>
                      <a:pt x="147" y="27"/>
                    </a:moveTo>
                    <a:lnTo>
                      <a:pt x="147" y="29"/>
                    </a:lnTo>
                    <a:lnTo>
                      <a:pt x="144" y="27"/>
                    </a:lnTo>
                    <a:lnTo>
                      <a:pt x="143" y="27"/>
                    </a:lnTo>
                    <a:lnTo>
                      <a:pt x="141" y="24"/>
                    </a:lnTo>
                    <a:lnTo>
                      <a:pt x="141" y="22"/>
                    </a:lnTo>
                    <a:lnTo>
                      <a:pt x="147" y="26"/>
                    </a:lnTo>
                    <a:lnTo>
                      <a:pt x="147" y="27"/>
                    </a:lnTo>
                    <a:lnTo>
                      <a:pt x="147" y="27"/>
                    </a:lnTo>
                    <a:lnTo>
                      <a:pt x="147" y="27"/>
                    </a:lnTo>
                    <a:close/>
                    <a:moveTo>
                      <a:pt x="92" y="13"/>
                    </a:moveTo>
                    <a:lnTo>
                      <a:pt x="91" y="14"/>
                    </a:lnTo>
                    <a:lnTo>
                      <a:pt x="92" y="14"/>
                    </a:lnTo>
                    <a:lnTo>
                      <a:pt x="94" y="16"/>
                    </a:lnTo>
                    <a:lnTo>
                      <a:pt x="95" y="16"/>
                    </a:lnTo>
                    <a:lnTo>
                      <a:pt x="97" y="16"/>
                    </a:lnTo>
                    <a:lnTo>
                      <a:pt x="95" y="14"/>
                    </a:lnTo>
                    <a:lnTo>
                      <a:pt x="94" y="13"/>
                    </a:lnTo>
                    <a:lnTo>
                      <a:pt x="92" y="13"/>
                    </a:lnTo>
                    <a:close/>
                    <a:moveTo>
                      <a:pt x="23" y="47"/>
                    </a:moveTo>
                    <a:lnTo>
                      <a:pt x="25" y="42"/>
                    </a:lnTo>
                    <a:lnTo>
                      <a:pt x="22" y="39"/>
                    </a:lnTo>
                    <a:lnTo>
                      <a:pt x="22" y="36"/>
                    </a:lnTo>
                    <a:lnTo>
                      <a:pt x="25" y="33"/>
                    </a:lnTo>
                    <a:lnTo>
                      <a:pt x="29" y="33"/>
                    </a:lnTo>
                    <a:lnTo>
                      <a:pt x="32" y="32"/>
                    </a:lnTo>
                    <a:lnTo>
                      <a:pt x="38" y="33"/>
                    </a:lnTo>
                    <a:lnTo>
                      <a:pt x="41" y="34"/>
                    </a:lnTo>
                    <a:lnTo>
                      <a:pt x="41" y="37"/>
                    </a:lnTo>
                    <a:lnTo>
                      <a:pt x="42" y="39"/>
                    </a:lnTo>
                    <a:lnTo>
                      <a:pt x="42" y="37"/>
                    </a:lnTo>
                    <a:lnTo>
                      <a:pt x="43" y="36"/>
                    </a:lnTo>
                    <a:lnTo>
                      <a:pt x="43" y="34"/>
                    </a:lnTo>
                    <a:lnTo>
                      <a:pt x="45" y="34"/>
                    </a:lnTo>
                    <a:lnTo>
                      <a:pt x="46" y="36"/>
                    </a:lnTo>
                    <a:lnTo>
                      <a:pt x="46" y="37"/>
                    </a:lnTo>
                    <a:lnTo>
                      <a:pt x="46" y="39"/>
                    </a:lnTo>
                    <a:lnTo>
                      <a:pt x="48" y="37"/>
                    </a:lnTo>
                    <a:lnTo>
                      <a:pt x="46" y="33"/>
                    </a:lnTo>
                    <a:lnTo>
                      <a:pt x="48" y="30"/>
                    </a:lnTo>
                    <a:lnTo>
                      <a:pt x="49" y="29"/>
                    </a:lnTo>
                    <a:lnTo>
                      <a:pt x="51" y="29"/>
                    </a:lnTo>
                    <a:lnTo>
                      <a:pt x="53" y="29"/>
                    </a:lnTo>
                    <a:lnTo>
                      <a:pt x="58" y="29"/>
                    </a:lnTo>
                    <a:lnTo>
                      <a:pt x="59" y="29"/>
                    </a:lnTo>
                    <a:lnTo>
                      <a:pt x="62" y="30"/>
                    </a:lnTo>
                    <a:lnTo>
                      <a:pt x="64" y="32"/>
                    </a:lnTo>
                    <a:lnTo>
                      <a:pt x="65" y="33"/>
                    </a:lnTo>
                    <a:lnTo>
                      <a:pt x="66" y="34"/>
                    </a:lnTo>
                    <a:lnTo>
                      <a:pt x="69" y="36"/>
                    </a:lnTo>
                    <a:lnTo>
                      <a:pt x="68" y="34"/>
                    </a:lnTo>
                    <a:lnTo>
                      <a:pt x="66" y="33"/>
                    </a:lnTo>
                    <a:lnTo>
                      <a:pt x="64" y="30"/>
                    </a:lnTo>
                    <a:lnTo>
                      <a:pt x="62" y="29"/>
                    </a:lnTo>
                    <a:lnTo>
                      <a:pt x="61" y="29"/>
                    </a:lnTo>
                    <a:lnTo>
                      <a:pt x="58" y="27"/>
                    </a:lnTo>
                    <a:lnTo>
                      <a:pt x="55" y="26"/>
                    </a:lnTo>
                    <a:lnTo>
                      <a:pt x="55" y="23"/>
                    </a:lnTo>
                    <a:lnTo>
                      <a:pt x="55" y="20"/>
                    </a:lnTo>
                    <a:lnTo>
                      <a:pt x="53" y="19"/>
                    </a:lnTo>
                    <a:lnTo>
                      <a:pt x="52" y="17"/>
                    </a:lnTo>
                    <a:lnTo>
                      <a:pt x="51" y="19"/>
                    </a:lnTo>
                    <a:lnTo>
                      <a:pt x="51" y="19"/>
                    </a:lnTo>
                    <a:lnTo>
                      <a:pt x="49" y="17"/>
                    </a:lnTo>
                    <a:lnTo>
                      <a:pt x="49" y="16"/>
                    </a:lnTo>
                    <a:lnTo>
                      <a:pt x="51" y="16"/>
                    </a:lnTo>
                    <a:lnTo>
                      <a:pt x="52" y="16"/>
                    </a:lnTo>
                    <a:lnTo>
                      <a:pt x="53" y="14"/>
                    </a:lnTo>
                    <a:lnTo>
                      <a:pt x="55" y="13"/>
                    </a:lnTo>
                    <a:lnTo>
                      <a:pt x="53" y="10"/>
                    </a:lnTo>
                    <a:lnTo>
                      <a:pt x="51" y="7"/>
                    </a:lnTo>
                    <a:lnTo>
                      <a:pt x="51" y="4"/>
                    </a:lnTo>
                    <a:lnTo>
                      <a:pt x="52" y="4"/>
                    </a:lnTo>
                    <a:lnTo>
                      <a:pt x="59" y="6"/>
                    </a:lnTo>
                    <a:lnTo>
                      <a:pt x="62" y="6"/>
                    </a:lnTo>
                    <a:lnTo>
                      <a:pt x="66" y="6"/>
                    </a:lnTo>
                    <a:lnTo>
                      <a:pt x="69" y="6"/>
                    </a:lnTo>
                    <a:lnTo>
                      <a:pt x="71" y="7"/>
                    </a:lnTo>
                    <a:lnTo>
                      <a:pt x="74" y="9"/>
                    </a:lnTo>
                    <a:lnTo>
                      <a:pt x="74" y="11"/>
                    </a:lnTo>
                    <a:lnTo>
                      <a:pt x="71" y="14"/>
                    </a:lnTo>
                    <a:lnTo>
                      <a:pt x="72" y="14"/>
                    </a:lnTo>
                    <a:lnTo>
                      <a:pt x="82" y="16"/>
                    </a:lnTo>
                    <a:lnTo>
                      <a:pt x="84" y="16"/>
                    </a:lnTo>
                    <a:lnTo>
                      <a:pt x="85" y="17"/>
                    </a:lnTo>
                    <a:lnTo>
                      <a:pt x="87" y="17"/>
                    </a:lnTo>
                    <a:lnTo>
                      <a:pt x="87" y="17"/>
                    </a:lnTo>
                    <a:lnTo>
                      <a:pt x="89" y="16"/>
                    </a:lnTo>
                    <a:lnTo>
                      <a:pt x="89" y="16"/>
                    </a:lnTo>
                    <a:lnTo>
                      <a:pt x="91" y="17"/>
                    </a:lnTo>
                    <a:lnTo>
                      <a:pt x="92" y="17"/>
                    </a:lnTo>
                    <a:lnTo>
                      <a:pt x="92" y="19"/>
                    </a:lnTo>
                    <a:lnTo>
                      <a:pt x="91" y="20"/>
                    </a:lnTo>
                    <a:lnTo>
                      <a:pt x="88" y="23"/>
                    </a:lnTo>
                    <a:lnTo>
                      <a:pt x="88" y="24"/>
                    </a:lnTo>
                    <a:lnTo>
                      <a:pt x="89" y="24"/>
                    </a:lnTo>
                    <a:lnTo>
                      <a:pt x="91" y="24"/>
                    </a:lnTo>
                    <a:lnTo>
                      <a:pt x="94" y="24"/>
                    </a:lnTo>
                    <a:lnTo>
                      <a:pt x="97" y="26"/>
                    </a:lnTo>
                    <a:lnTo>
                      <a:pt x="98" y="26"/>
                    </a:lnTo>
                    <a:lnTo>
                      <a:pt x="99" y="26"/>
                    </a:lnTo>
                    <a:lnTo>
                      <a:pt x="101" y="24"/>
                    </a:lnTo>
                    <a:lnTo>
                      <a:pt x="104" y="23"/>
                    </a:lnTo>
                    <a:lnTo>
                      <a:pt x="105" y="22"/>
                    </a:lnTo>
                    <a:lnTo>
                      <a:pt x="109" y="20"/>
                    </a:lnTo>
                    <a:lnTo>
                      <a:pt x="111" y="20"/>
                    </a:lnTo>
                    <a:lnTo>
                      <a:pt x="112" y="19"/>
                    </a:lnTo>
                    <a:lnTo>
                      <a:pt x="117" y="16"/>
                    </a:lnTo>
                    <a:lnTo>
                      <a:pt x="118" y="14"/>
                    </a:lnTo>
                    <a:lnTo>
                      <a:pt x="121" y="14"/>
                    </a:lnTo>
                    <a:lnTo>
                      <a:pt x="124" y="14"/>
                    </a:lnTo>
                    <a:lnTo>
                      <a:pt x="125" y="16"/>
                    </a:lnTo>
                    <a:lnTo>
                      <a:pt x="132" y="22"/>
                    </a:lnTo>
                    <a:lnTo>
                      <a:pt x="134" y="22"/>
                    </a:lnTo>
                    <a:lnTo>
                      <a:pt x="135" y="22"/>
                    </a:lnTo>
                    <a:lnTo>
                      <a:pt x="137" y="22"/>
                    </a:lnTo>
                    <a:lnTo>
                      <a:pt x="138" y="22"/>
                    </a:lnTo>
                    <a:lnTo>
                      <a:pt x="140" y="23"/>
                    </a:lnTo>
                    <a:lnTo>
                      <a:pt x="141" y="24"/>
                    </a:lnTo>
                    <a:lnTo>
                      <a:pt x="141" y="27"/>
                    </a:lnTo>
                    <a:lnTo>
                      <a:pt x="143" y="29"/>
                    </a:lnTo>
                    <a:lnTo>
                      <a:pt x="144" y="30"/>
                    </a:lnTo>
                    <a:lnTo>
                      <a:pt x="145" y="30"/>
                    </a:lnTo>
                    <a:lnTo>
                      <a:pt x="148" y="32"/>
                    </a:lnTo>
                    <a:lnTo>
                      <a:pt x="151" y="40"/>
                    </a:lnTo>
                    <a:lnTo>
                      <a:pt x="151" y="43"/>
                    </a:lnTo>
                    <a:lnTo>
                      <a:pt x="150" y="46"/>
                    </a:lnTo>
                    <a:lnTo>
                      <a:pt x="147" y="50"/>
                    </a:lnTo>
                    <a:lnTo>
                      <a:pt x="145" y="52"/>
                    </a:lnTo>
                    <a:lnTo>
                      <a:pt x="147" y="55"/>
                    </a:lnTo>
                    <a:lnTo>
                      <a:pt x="153" y="57"/>
                    </a:lnTo>
                    <a:lnTo>
                      <a:pt x="154" y="60"/>
                    </a:lnTo>
                    <a:lnTo>
                      <a:pt x="154" y="62"/>
                    </a:lnTo>
                    <a:lnTo>
                      <a:pt x="154" y="65"/>
                    </a:lnTo>
                    <a:lnTo>
                      <a:pt x="154" y="65"/>
                    </a:lnTo>
                    <a:lnTo>
                      <a:pt x="154" y="66"/>
                    </a:lnTo>
                    <a:lnTo>
                      <a:pt x="155" y="68"/>
                    </a:lnTo>
                    <a:lnTo>
                      <a:pt x="155" y="69"/>
                    </a:lnTo>
                    <a:lnTo>
                      <a:pt x="157" y="70"/>
                    </a:lnTo>
                    <a:lnTo>
                      <a:pt x="157" y="72"/>
                    </a:lnTo>
                    <a:lnTo>
                      <a:pt x="155" y="79"/>
                    </a:lnTo>
                    <a:lnTo>
                      <a:pt x="155" y="79"/>
                    </a:lnTo>
                    <a:lnTo>
                      <a:pt x="155" y="80"/>
                    </a:lnTo>
                    <a:lnTo>
                      <a:pt x="157" y="85"/>
                    </a:lnTo>
                    <a:lnTo>
                      <a:pt x="157" y="85"/>
                    </a:lnTo>
                    <a:lnTo>
                      <a:pt x="158" y="88"/>
                    </a:lnTo>
                    <a:lnTo>
                      <a:pt x="160" y="88"/>
                    </a:lnTo>
                    <a:lnTo>
                      <a:pt x="161" y="89"/>
                    </a:lnTo>
                    <a:lnTo>
                      <a:pt x="161" y="92"/>
                    </a:lnTo>
                    <a:lnTo>
                      <a:pt x="161" y="95"/>
                    </a:lnTo>
                    <a:lnTo>
                      <a:pt x="160" y="98"/>
                    </a:lnTo>
                    <a:lnTo>
                      <a:pt x="158" y="103"/>
                    </a:lnTo>
                    <a:lnTo>
                      <a:pt x="155" y="105"/>
                    </a:lnTo>
                    <a:lnTo>
                      <a:pt x="151" y="99"/>
                    </a:lnTo>
                    <a:lnTo>
                      <a:pt x="148" y="99"/>
                    </a:lnTo>
                    <a:lnTo>
                      <a:pt x="148" y="99"/>
                    </a:lnTo>
                    <a:lnTo>
                      <a:pt x="148" y="101"/>
                    </a:lnTo>
                    <a:lnTo>
                      <a:pt x="148" y="101"/>
                    </a:lnTo>
                    <a:lnTo>
                      <a:pt x="148" y="101"/>
                    </a:lnTo>
                    <a:lnTo>
                      <a:pt x="150" y="101"/>
                    </a:lnTo>
                    <a:lnTo>
                      <a:pt x="150" y="102"/>
                    </a:lnTo>
                    <a:lnTo>
                      <a:pt x="150" y="102"/>
                    </a:lnTo>
                    <a:lnTo>
                      <a:pt x="150" y="102"/>
                    </a:lnTo>
                    <a:lnTo>
                      <a:pt x="150" y="102"/>
                    </a:lnTo>
                    <a:lnTo>
                      <a:pt x="148" y="103"/>
                    </a:lnTo>
                    <a:lnTo>
                      <a:pt x="147" y="103"/>
                    </a:lnTo>
                    <a:lnTo>
                      <a:pt x="144" y="105"/>
                    </a:lnTo>
                    <a:lnTo>
                      <a:pt x="140" y="106"/>
                    </a:lnTo>
                    <a:lnTo>
                      <a:pt x="137" y="108"/>
                    </a:lnTo>
                    <a:lnTo>
                      <a:pt x="135" y="108"/>
                    </a:lnTo>
                    <a:lnTo>
                      <a:pt x="135" y="109"/>
                    </a:lnTo>
                    <a:lnTo>
                      <a:pt x="134" y="111"/>
                    </a:lnTo>
                    <a:lnTo>
                      <a:pt x="134" y="111"/>
                    </a:lnTo>
                    <a:lnTo>
                      <a:pt x="134" y="111"/>
                    </a:lnTo>
                    <a:lnTo>
                      <a:pt x="132" y="109"/>
                    </a:lnTo>
                    <a:lnTo>
                      <a:pt x="132" y="109"/>
                    </a:lnTo>
                    <a:lnTo>
                      <a:pt x="131" y="111"/>
                    </a:lnTo>
                    <a:lnTo>
                      <a:pt x="128" y="112"/>
                    </a:lnTo>
                    <a:lnTo>
                      <a:pt x="125" y="115"/>
                    </a:lnTo>
                    <a:lnTo>
                      <a:pt x="124" y="115"/>
                    </a:lnTo>
                    <a:lnTo>
                      <a:pt x="122" y="115"/>
                    </a:lnTo>
                    <a:lnTo>
                      <a:pt x="121" y="115"/>
                    </a:lnTo>
                    <a:lnTo>
                      <a:pt x="118" y="116"/>
                    </a:lnTo>
                    <a:lnTo>
                      <a:pt x="117" y="118"/>
                    </a:lnTo>
                    <a:lnTo>
                      <a:pt x="115" y="119"/>
                    </a:lnTo>
                    <a:lnTo>
                      <a:pt x="114" y="122"/>
                    </a:lnTo>
                    <a:lnTo>
                      <a:pt x="112" y="121"/>
                    </a:lnTo>
                    <a:lnTo>
                      <a:pt x="112" y="119"/>
                    </a:lnTo>
                    <a:lnTo>
                      <a:pt x="111" y="118"/>
                    </a:lnTo>
                    <a:lnTo>
                      <a:pt x="109" y="119"/>
                    </a:lnTo>
                    <a:lnTo>
                      <a:pt x="111" y="119"/>
                    </a:lnTo>
                    <a:lnTo>
                      <a:pt x="111" y="122"/>
                    </a:lnTo>
                    <a:lnTo>
                      <a:pt x="112" y="125"/>
                    </a:lnTo>
                    <a:lnTo>
                      <a:pt x="115" y="126"/>
                    </a:lnTo>
                    <a:lnTo>
                      <a:pt x="115" y="126"/>
                    </a:lnTo>
                    <a:lnTo>
                      <a:pt x="117" y="128"/>
                    </a:lnTo>
                    <a:lnTo>
                      <a:pt x="117" y="131"/>
                    </a:lnTo>
                    <a:lnTo>
                      <a:pt x="117" y="131"/>
                    </a:lnTo>
                    <a:lnTo>
                      <a:pt x="115" y="132"/>
                    </a:lnTo>
                    <a:lnTo>
                      <a:pt x="115" y="134"/>
                    </a:lnTo>
                    <a:lnTo>
                      <a:pt x="115" y="134"/>
                    </a:lnTo>
                    <a:lnTo>
                      <a:pt x="117" y="134"/>
                    </a:lnTo>
                    <a:lnTo>
                      <a:pt x="117" y="135"/>
                    </a:lnTo>
                    <a:lnTo>
                      <a:pt x="117" y="135"/>
                    </a:lnTo>
                    <a:lnTo>
                      <a:pt x="120" y="139"/>
                    </a:lnTo>
                    <a:lnTo>
                      <a:pt x="122" y="142"/>
                    </a:lnTo>
                    <a:lnTo>
                      <a:pt x="128" y="148"/>
                    </a:lnTo>
                    <a:lnTo>
                      <a:pt x="132" y="151"/>
                    </a:lnTo>
                    <a:lnTo>
                      <a:pt x="134" y="152"/>
                    </a:lnTo>
                    <a:lnTo>
                      <a:pt x="135" y="154"/>
                    </a:lnTo>
                    <a:lnTo>
                      <a:pt x="137" y="155"/>
                    </a:lnTo>
                    <a:lnTo>
                      <a:pt x="138" y="155"/>
                    </a:lnTo>
                    <a:lnTo>
                      <a:pt x="141" y="158"/>
                    </a:lnTo>
                    <a:lnTo>
                      <a:pt x="140" y="161"/>
                    </a:lnTo>
                    <a:lnTo>
                      <a:pt x="140" y="162"/>
                    </a:lnTo>
                    <a:lnTo>
                      <a:pt x="138" y="164"/>
                    </a:lnTo>
                    <a:lnTo>
                      <a:pt x="138" y="164"/>
                    </a:lnTo>
                    <a:lnTo>
                      <a:pt x="137" y="162"/>
                    </a:lnTo>
                    <a:lnTo>
                      <a:pt x="135" y="162"/>
                    </a:lnTo>
                    <a:lnTo>
                      <a:pt x="135" y="162"/>
                    </a:lnTo>
                    <a:lnTo>
                      <a:pt x="134" y="162"/>
                    </a:lnTo>
                    <a:lnTo>
                      <a:pt x="134" y="162"/>
                    </a:lnTo>
                    <a:lnTo>
                      <a:pt x="134" y="164"/>
                    </a:lnTo>
                    <a:lnTo>
                      <a:pt x="134" y="165"/>
                    </a:lnTo>
                    <a:lnTo>
                      <a:pt x="134" y="165"/>
                    </a:lnTo>
                    <a:lnTo>
                      <a:pt x="132" y="167"/>
                    </a:lnTo>
                    <a:lnTo>
                      <a:pt x="132" y="168"/>
                    </a:lnTo>
                    <a:lnTo>
                      <a:pt x="131" y="168"/>
                    </a:lnTo>
                    <a:lnTo>
                      <a:pt x="128" y="170"/>
                    </a:lnTo>
                    <a:lnTo>
                      <a:pt x="125" y="171"/>
                    </a:lnTo>
                    <a:lnTo>
                      <a:pt x="124" y="172"/>
                    </a:lnTo>
                    <a:lnTo>
                      <a:pt x="122" y="174"/>
                    </a:lnTo>
                    <a:lnTo>
                      <a:pt x="122" y="177"/>
                    </a:lnTo>
                    <a:lnTo>
                      <a:pt x="124" y="178"/>
                    </a:lnTo>
                    <a:lnTo>
                      <a:pt x="125" y="180"/>
                    </a:lnTo>
                    <a:lnTo>
                      <a:pt x="124" y="183"/>
                    </a:lnTo>
                    <a:lnTo>
                      <a:pt x="125" y="184"/>
                    </a:lnTo>
                    <a:lnTo>
                      <a:pt x="127" y="185"/>
                    </a:lnTo>
                    <a:lnTo>
                      <a:pt x="127" y="187"/>
                    </a:lnTo>
                    <a:lnTo>
                      <a:pt x="127" y="188"/>
                    </a:lnTo>
                    <a:lnTo>
                      <a:pt x="125" y="190"/>
                    </a:lnTo>
                    <a:lnTo>
                      <a:pt x="124" y="188"/>
                    </a:lnTo>
                    <a:lnTo>
                      <a:pt x="122" y="185"/>
                    </a:lnTo>
                    <a:lnTo>
                      <a:pt x="121" y="185"/>
                    </a:lnTo>
                    <a:lnTo>
                      <a:pt x="120" y="185"/>
                    </a:lnTo>
                    <a:lnTo>
                      <a:pt x="120" y="185"/>
                    </a:lnTo>
                    <a:lnTo>
                      <a:pt x="118" y="185"/>
                    </a:lnTo>
                    <a:lnTo>
                      <a:pt x="117" y="185"/>
                    </a:lnTo>
                    <a:lnTo>
                      <a:pt x="115" y="184"/>
                    </a:lnTo>
                    <a:lnTo>
                      <a:pt x="114" y="184"/>
                    </a:lnTo>
                    <a:lnTo>
                      <a:pt x="112" y="184"/>
                    </a:lnTo>
                    <a:lnTo>
                      <a:pt x="112" y="183"/>
                    </a:lnTo>
                    <a:lnTo>
                      <a:pt x="112" y="184"/>
                    </a:lnTo>
                    <a:lnTo>
                      <a:pt x="112" y="184"/>
                    </a:lnTo>
                    <a:lnTo>
                      <a:pt x="112" y="184"/>
                    </a:lnTo>
                    <a:lnTo>
                      <a:pt x="112" y="185"/>
                    </a:lnTo>
                    <a:lnTo>
                      <a:pt x="109" y="185"/>
                    </a:lnTo>
                    <a:lnTo>
                      <a:pt x="107" y="185"/>
                    </a:lnTo>
                    <a:lnTo>
                      <a:pt x="102" y="187"/>
                    </a:lnTo>
                    <a:lnTo>
                      <a:pt x="98" y="190"/>
                    </a:lnTo>
                    <a:lnTo>
                      <a:pt x="94" y="190"/>
                    </a:lnTo>
                    <a:lnTo>
                      <a:pt x="89" y="190"/>
                    </a:lnTo>
                    <a:lnTo>
                      <a:pt x="89" y="190"/>
                    </a:lnTo>
                    <a:lnTo>
                      <a:pt x="88" y="188"/>
                    </a:lnTo>
                    <a:lnTo>
                      <a:pt x="87" y="188"/>
                    </a:lnTo>
                    <a:lnTo>
                      <a:pt x="85" y="187"/>
                    </a:lnTo>
                    <a:lnTo>
                      <a:pt x="84" y="187"/>
                    </a:lnTo>
                    <a:lnTo>
                      <a:pt x="82" y="187"/>
                    </a:lnTo>
                    <a:lnTo>
                      <a:pt x="81" y="187"/>
                    </a:lnTo>
                    <a:lnTo>
                      <a:pt x="81" y="188"/>
                    </a:lnTo>
                    <a:lnTo>
                      <a:pt x="79" y="191"/>
                    </a:lnTo>
                    <a:lnTo>
                      <a:pt x="79" y="193"/>
                    </a:lnTo>
                    <a:lnTo>
                      <a:pt x="76" y="194"/>
                    </a:lnTo>
                    <a:lnTo>
                      <a:pt x="76" y="193"/>
                    </a:lnTo>
                    <a:lnTo>
                      <a:pt x="76" y="191"/>
                    </a:lnTo>
                    <a:lnTo>
                      <a:pt x="75" y="190"/>
                    </a:lnTo>
                    <a:lnTo>
                      <a:pt x="74" y="190"/>
                    </a:lnTo>
                    <a:lnTo>
                      <a:pt x="71" y="188"/>
                    </a:lnTo>
                    <a:lnTo>
                      <a:pt x="69" y="188"/>
                    </a:lnTo>
                    <a:lnTo>
                      <a:pt x="68" y="188"/>
                    </a:lnTo>
                    <a:lnTo>
                      <a:pt x="65" y="188"/>
                    </a:lnTo>
                    <a:lnTo>
                      <a:pt x="61" y="185"/>
                    </a:lnTo>
                    <a:lnTo>
                      <a:pt x="59" y="184"/>
                    </a:lnTo>
                    <a:lnTo>
                      <a:pt x="58" y="184"/>
                    </a:lnTo>
                    <a:lnTo>
                      <a:pt x="55" y="184"/>
                    </a:lnTo>
                    <a:lnTo>
                      <a:pt x="53" y="184"/>
                    </a:lnTo>
                    <a:lnTo>
                      <a:pt x="49" y="183"/>
                    </a:lnTo>
                    <a:lnTo>
                      <a:pt x="46" y="183"/>
                    </a:lnTo>
                    <a:lnTo>
                      <a:pt x="45" y="184"/>
                    </a:lnTo>
                    <a:lnTo>
                      <a:pt x="46" y="184"/>
                    </a:lnTo>
                    <a:lnTo>
                      <a:pt x="48" y="185"/>
                    </a:lnTo>
                    <a:lnTo>
                      <a:pt x="48" y="185"/>
                    </a:lnTo>
                    <a:lnTo>
                      <a:pt x="45" y="187"/>
                    </a:lnTo>
                    <a:lnTo>
                      <a:pt x="43" y="187"/>
                    </a:lnTo>
                    <a:lnTo>
                      <a:pt x="35" y="187"/>
                    </a:lnTo>
                    <a:lnTo>
                      <a:pt x="33" y="187"/>
                    </a:lnTo>
                    <a:lnTo>
                      <a:pt x="32" y="187"/>
                    </a:lnTo>
                    <a:lnTo>
                      <a:pt x="29" y="183"/>
                    </a:lnTo>
                    <a:lnTo>
                      <a:pt x="31" y="177"/>
                    </a:lnTo>
                    <a:lnTo>
                      <a:pt x="33" y="167"/>
                    </a:lnTo>
                    <a:lnTo>
                      <a:pt x="35" y="162"/>
                    </a:lnTo>
                    <a:lnTo>
                      <a:pt x="35" y="161"/>
                    </a:lnTo>
                    <a:lnTo>
                      <a:pt x="36" y="160"/>
                    </a:lnTo>
                    <a:lnTo>
                      <a:pt x="39" y="158"/>
                    </a:lnTo>
                    <a:lnTo>
                      <a:pt x="39" y="157"/>
                    </a:lnTo>
                    <a:lnTo>
                      <a:pt x="41" y="154"/>
                    </a:lnTo>
                    <a:lnTo>
                      <a:pt x="39" y="152"/>
                    </a:lnTo>
                    <a:lnTo>
                      <a:pt x="38" y="151"/>
                    </a:lnTo>
                    <a:lnTo>
                      <a:pt x="31" y="149"/>
                    </a:lnTo>
                    <a:lnTo>
                      <a:pt x="29" y="149"/>
                    </a:lnTo>
                    <a:lnTo>
                      <a:pt x="29" y="148"/>
                    </a:lnTo>
                    <a:lnTo>
                      <a:pt x="28" y="148"/>
                    </a:lnTo>
                    <a:lnTo>
                      <a:pt x="28" y="148"/>
                    </a:lnTo>
                    <a:lnTo>
                      <a:pt x="26" y="148"/>
                    </a:lnTo>
                    <a:lnTo>
                      <a:pt x="26" y="148"/>
                    </a:lnTo>
                    <a:lnTo>
                      <a:pt x="25" y="148"/>
                    </a:lnTo>
                    <a:lnTo>
                      <a:pt x="23" y="149"/>
                    </a:lnTo>
                    <a:lnTo>
                      <a:pt x="22" y="149"/>
                    </a:lnTo>
                    <a:lnTo>
                      <a:pt x="20" y="148"/>
                    </a:lnTo>
                    <a:lnTo>
                      <a:pt x="20" y="148"/>
                    </a:lnTo>
                    <a:lnTo>
                      <a:pt x="20" y="147"/>
                    </a:lnTo>
                    <a:lnTo>
                      <a:pt x="20" y="147"/>
                    </a:lnTo>
                    <a:lnTo>
                      <a:pt x="18" y="147"/>
                    </a:lnTo>
                    <a:lnTo>
                      <a:pt x="16" y="148"/>
                    </a:lnTo>
                    <a:lnTo>
                      <a:pt x="16" y="147"/>
                    </a:lnTo>
                    <a:lnTo>
                      <a:pt x="15" y="145"/>
                    </a:lnTo>
                    <a:lnTo>
                      <a:pt x="12" y="142"/>
                    </a:lnTo>
                    <a:lnTo>
                      <a:pt x="10" y="141"/>
                    </a:lnTo>
                    <a:lnTo>
                      <a:pt x="9" y="141"/>
                    </a:lnTo>
                    <a:lnTo>
                      <a:pt x="9" y="138"/>
                    </a:lnTo>
                    <a:lnTo>
                      <a:pt x="12" y="134"/>
                    </a:lnTo>
                    <a:lnTo>
                      <a:pt x="12" y="131"/>
                    </a:lnTo>
                    <a:lnTo>
                      <a:pt x="10" y="131"/>
                    </a:lnTo>
                    <a:lnTo>
                      <a:pt x="8" y="129"/>
                    </a:lnTo>
                    <a:lnTo>
                      <a:pt x="6" y="128"/>
                    </a:lnTo>
                    <a:lnTo>
                      <a:pt x="6" y="128"/>
                    </a:lnTo>
                    <a:lnTo>
                      <a:pt x="5" y="126"/>
                    </a:lnTo>
                    <a:lnTo>
                      <a:pt x="5" y="125"/>
                    </a:lnTo>
                    <a:lnTo>
                      <a:pt x="5" y="124"/>
                    </a:lnTo>
                    <a:lnTo>
                      <a:pt x="6" y="121"/>
                    </a:lnTo>
                    <a:lnTo>
                      <a:pt x="8" y="119"/>
                    </a:lnTo>
                    <a:lnTo>
                      <a:pt x="9" y="118"/>
                    </a:lnTo>
                    <a:lnTo>
                      <a:pt x="9" y="115"/>
                    </a:lnTo>
                    <a:lnTo>
                      <a:pt x="8" y="114"/>
                    </a:lnTo>
                    <a:lnTo>
                      <a:pt x="8" y="114"/>
                    </a:lnTo>
                    <a:lnTo>
                      <a:pt x="6" y="112"/>
                    </a:lnTo>
                    <a:lnTo>
                      <a:pt x="8" y="111"/>
                    </a:lnTo>
                    <a:lnTo>
                      <a:pt x="3" y="106"/>
                    </a:lnTo>
                    <a:lnTo>
                      <a:pt x="3" y="103"/>
                    </a:lnTo>
                    <a:lnTo>
                      <a:pt x="3" y="103"/>
                    </a:lnTo>
                    <a:lnTo>
                      <a:pt x="3" y="102"/>
                    </a:lnTo>
                    <a:lnTo>
                      <a:pt x="3" y="102"/>
                    </a:lnTo>
                    <a:lnTo>
                      <a:pt x="2" y="101"/>
                    </a:lnTo>
                    <a:lnTo>
                      <a:pt x="2" y="101"/>
                    </a:lnTo>
                    <a:lnTo>
                      <a:pt x="2" y="101"/>
                    </a:lnTo>
                    <a:lnTo>
                      <a:pt x="2" y="101"/>
                    </a:lnTo>
                    <a:lnTo>
                      <a:pt x="0" y="99"/>
                    </a:lnTo>
                    <a:lnTo>
                      <a:pt x="0" y="99"/>
                    </a:lnTo>
                    <a:lnTo>
                      <a:pt x="0" y="99"/>
                    </a:lnTo>
                    <a:lnTo>
                      <a:pt x="2" y="99"/>
                    </a:lnTo>
                    <a:lnTo>
                      <a:pt x="2" y="99"/>
                    </a:lnTo>
                    <a:lnTo>
                      <a:pt x="2" y="99"/>
                    </a:lnTo>
                    <a:lnTo>
                      <a:pt x="3" y="98"/>
                    </a:lnTo>
                    <a:lnTo>
                      <a:pt x="5" y="96"/>
                    </a:lnTo>
                    <a:lnTo>
                      <a:pt x="5" y="95"/>
                    </a:lnTo>
                    <a:lnTo>
                      <a:pt x="5" y="95"/>
                    </a:lnTo>
                    <a:lnTo>
                      <a:pt x="6" y="89"/>
                    </a:lnTo>
                    <a:lnTo>
                      <a:pt x="6" y="86"/>
                    </a:lnTo>
                    <a:lnTo>
                      <a:pt x="5" y="85"/>
                    </a:lnTo>
                    <a:lnTo>
                      <a:pt x="3" y="82"/>
                    </a:lnTo>
                    <a:lnTo>
                      <a:pt x="3" y="80"/>
                    </a:lnTo>
                    <a:lnTo>
                      <a:pt x="3" y="79"/>
                    </a:lnTo>
                    <a:lnTo>
                      <a:pt x="5" y="78"/>
                    </a:lnTo>
                    <a:lnTo>
                      <a:pt x="8" y="78"/>
                    </a:lnTo>
                    <a:lnTo>
                      <a:pt x="12" y="78"/>
                    </a:lnTo>
                    <a:lnTo>
                      <a:pt x="15" y="78"/>
                    </a:lnTo>
                    <a:lnTo>
                      <a:pt x="16" y="75"/>
                    </a:lnTo>
                    <a:lnTo>
                      <a:pt x="16" y="75"/>
                    </a:lnTo>
                    <a:lnTo>
                      <a:pt x="16" y="73"/>
                    </a:lnTo>
                    <a:lnTo>
                      <a:pt x="16" y="72"/>
                    </a:lnTo>
                    <a:lnTo>
                      <a:pt x="16" y="72"/>
                    </a:lnTo>
                    <a:lnTo>
                      <a:pt x="18" y="70"/>
                    </a:lnTo>
                    <a:lnTo>
                      <a:pt x="18" y="70"/>
                    </a:lnTo>
                    <a:lnTo>
                      <a:pt x="19" y="70"/>
                    </a:lnTo>
                    <a:lnTo>
                      <a:pt x="20" y="66"/>
                    </a:lnTo>
                    <a:lnTo>
                      <a:pt x="19" y="63"/>
                    </a:lnTo>
                    <a:lnTo>
                      <a:pt x="16" y="60"/>
                    </a:lnTo>
                    <a:lnTo>
                      <a:pt x="16" y="59"/>
                    </a:lnTo>
                    <a:lnTo>
                      <a:pt x="16" y="57"/>
                    </a:lnTo>
                    <a:lnTo>
                      <a:pt x="19" y="57"/>
                    </a:lnTo>
                    <a:lnTo>
                      <a:pt x="20" y="57"/>
                    </a:lnTo>
                    <a:lnTo>
                      <a:pt x="22" y="57"/>
                    </a:lnTo>
                    <a:lnTo>
                      <a:pt x="23" y="47"/>
                    </a:lnTo>
                    <a:close/>
                    <a:moveTo>
                      <a:pt x="45" y="1"/>
                    </a:moveTo>
                    <a:lnTo>
                      <a:pt x="43" y="3"/>
                    </a:lnTo>
                    <a:lnTo>
                      <a:pt x="43" y="6"/>
                    </a:lnTo>
                    <a:lnTo>
                      <a:pt x="43" y="7"/>
                    </a:lnTo>
                    <a:lnTo>
                      <a:pt x="45" y="6"/>
                    </a:lnTo>
                    <a:lnTo>
                      <a:pt x="46" y="6"/>
                    </a:lnTo>
                    <a:lnTo>
                      <a:pt x="48" y="4"/>
                    </a:lnTo>
                    <a:lnTo>
                      <a:pt x="49" y="4"/>
                    </a:lnTo>
                    <a:lnTo>
                      <a:pt x="46" y="4"/>
                    </a:lnTo>
                    <a:lnTo>
                      <a:pt x="45" y="4"/>
                    </a:lnTo>
                    <a:lnTo>
                      <a:pt x="45" y="3"/>
                    </a:lnTo>
                    <a:lnTo>
                      <a:pt x="46" y="0"/>
                    </a:lnTo>
                    <a:lnTo>
                      <a:pt x="45" y="1"/>
                    </a:lnTo>
                    <a:close/>
                    <a:moveTo>
                      <a:pt x="45" y="9"/>
                    </a:moveTo>
                    <a:lnTo>
                      <a:pt x="48" y="9"/>
                    </a:lnTo>
                    <a:lnTo>
                      <a:pt x="48" y="9"/>
                    </a:lnTo>
                    <a:lnTo>
                      <a:pt x="48" y="7"/>
                    </a:lnTo>
                    <a:lnTo>
                      <a:pt x="45" y="9"/>
                    </a:lnTo>
                    <a:close/>
                    <a:moveTo>
                      <a:pt x="137" y="13"/>
                    </a:moveTo>
                    <a:lnTo>
                      <a:pt x="137" y="14"/>
                    </a:lnTo>
                    <a:lnTo>
                      <a:pt x="138" y="17"/>
                    </a:lnTo>
                    <a:lnTo>
                      <a:pt x="140" y="17"/>
                    </a:lnTo>
                    <a:lnTo>
                      <a:pt x="138" y="17"/>
                    </a:lnTo>
                    <a:lnTo>
                      <a:pt x="135" y="17"/>
                    </a:lnTo>
                    <a:lnTo>
                      <a:pt x="134" y="17"/>
                    </a:lnTo>
                    <a:lnTo>
                      <a:pt x="134" y="17"/>
                    </a:lnTo>
                    <a:lnTo>
                      <a:pt x="134" y="19"/>
                    </a:lnTo>
                    <a:lnTo>
                      <a:pt x="132" y="19"/>
                    </a:lnTo>
                    <a:lnTo>
                      <a:pt x="131" y="19"/>
                    </a:lnTo>
                    <a:lnTo>
                      <a:pt x="130" y="17"/>
                    </a:lnTo>
                    <a:lnTo>
                      <a:pt x="130" y="16"/>
                    </a:lnTo>
                    <a:lnTo>
                      <a:pt x="130" y="13"/>
                    </a:lnTo>
                    <a:lnTo>
                      <a:pt x="130" y="11"/>
                    </a:lnTo>
                    <a:lnTo>
                      <a:pt x="131" y="10"/>
                    </a:lnTo>
                    <a:lnTo>
                      <a:pt x="131" y="10"/>
                    </a:lnTo>
                    <a:lnTo>
                      <a:pt x="132" y="9"/>
                    </a:lnTo>
                    <a:lnTo>
                      <a:pt x="134" y="9"/>
                    </a:lnTo>
                    <a:lnTo>
                      <a:pt x="134" y="9"/>
                    </a:lnTo>
                    <a:lnTo>
                      <a:pt x="135" y="10"/>
                    </a:lnTo>
                    <a:lnTo>
                      <a:pt x="137" y="11"/>
                    </a:lnTo>
                    <a:lnTo>
                      <a:pt x="137" y="11"/>
                    </a:lnTo>
                    <a:lnTo>
                      <a:pt x="137" y="13"/>
                    </a:lnTo>
                    <a:lnTo>
                      <a:pt x="137" y="13"/>
                    </a:lnTo>
                    <a:lnTo>
                      <a:pt x="137" y="1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84" name="Freeform 90">
                <a:extLst>
                  <a:ext uri="{FF2B5EF4-FFF2-40B4-BE49-F238E27FC236}">
                    <a16:creationId xmlns:a16="http://schemas.microsoft.com/office/drawing/2014/main" id="{B2D1E634-C850-2A5D-325A-E1461D8B9E4D}"/>
                  </a:ext>
                </a:extLst>
              </p:cNvPr>
              <p:cNvSpPr>
                <a:spLocks noEditPoints="1"/>
              </p:cNvSpPr>
              <p:nvPr/>
            </p:nvSpPr>
            <p:spPr bwMode="auto">
              <a:xfrm>
                <a:off x="3744" y="1210"/>
                <a:ext cx="228" cy="391"/>
              </a:xfrm>
              <a:custGeom>
                <a:avLst/>
                <a:gdLst>
                  <a:gd name="T0" fmla="*/ 140 w 228"/>
                  <a:gd name="T1" fmla="*/ 333 h 391"/>
                  <a:gd name="T2" fmla="*/ 128 w 228"/>
                  <a:gd name="T3" fmla="*/ 302 h 391"/>
                  <a:gd name="T4" fmla="*/ 228 w 228"/>
                  <a:gd name="T5" fmla="*/ 100 h 391"/>
                  <a:gd name="T6" fmla="*/ 204 w 228"/>
                  <a:gd name="T7" fmla="*/ 98 h 391"/>
                  <a:gd name="T8" fmla="*/ 192 w 228"/>
                  <a:gd name="T9" fmla="*/ 109 h 391"/>
                  <a:gd name="T10" fmla="*/ 186 w 228"/>
                  <a:gd name="T11" fmla="*/ 115 h 391"/>
                  <a:gd name="T12" fmla="*/ 184 w 228"/>
                  <a:gd name="T13" fmla="*/ 119 h 391"/>
                  <a:gd name="T14" fmla="*/ 176 w 228"/>
                  <a:gd name="T15" fmla="*/ 134 h 391"/>
                  <a:gd name="T16" fmla="*/ 168 w 228"/>
                  <a:gd name="T17" fmla="*/ 167 h 391"/>
                  <a:gd name="T18" fmla="*/ 150 w 228"/>
                  <a:gd name="T19" fmla="*/ 178 h 391"/>
                  <a:gd name="T20" fmla="*/ 139 w 228"/>
                  <a:gd name="T21" fmla="*/ 184 h 391"/>
                  <a:gd name="T22" fmla="*/ 132 w 228"/>
                  <a:gd name="T23" fmla="*/ 188 h 391"/>
                  <a:gd name="T24" fmla="*/ 128 w 228"/>
                  <a:gd name="T25" fmla="*/ 194 h 391"/>
                  <a:gd name="T26" fmla="*/ 119 w 228"/>
                  <a:gd name="T27" fmla="*/ 197 h 391"/>
                  <a:gd name="T28" fmla="*/ 119 w 228"/>
                  <a:gd name="T29" fmla="*/ 204 h 391"/>
                  <a:gd name="T30" fmla="*/ 110 w 228"/>
                  <a:gd name="T31" fmla="*/ 207 h 391"/>
                  <a:gd name="T32" fmla="*/ 110 w 228"/>
                  <a:gd name="T33" fmla="*/ 215 h 391"/>
                  <a:gd name="T34" fmla="*/ 106 w 228"/>
                  <a:gd name="T35" fmla="*/ 230 h 391"/>
                  <a:gd name="T36" fmla="*/ 107 w 228"/>
                  <a:gd name="T37" fmla="*/ 257 h 391"/>
                  <a:gd name="T38" fmla="*/ 119 w 228"/>
                  <a:gd name="T39" fmla="*/ 260 h 391"/>
                  <a:gd name="T40" fmla="*/ 129 w 228"/>
                  <a:gd name="T41" fmla="*/ 272 h 391"/>
                  <a:gd name="T42" fmla="*/ 130 w 228"/>
                  <a:gd name="T43" fmla="*/ 287 h 391"/>
                  <a:gd name="T44" fmla="*/ 113 w 228"/>
                  <a:gd name="T45" fmla="*/ 289 h 391"/>
                  <a:gd name="T46" fmla="*/ 102 w 228"/>
                  <a:gd name="T47" fmla="*/ 287 h 391"/>
                  <a:gd name="T48" fmla="*/ 96 w 228"/>
                  <a:gd name="T49" fmla="*/ 290 h 391"/>
                  <a:gd name="T50" fmla="*/ 128 w 228"/>
                  <a:gd name="T51" fmla="*/ 292 h 391"/>
                  <a:gd name="T52" fmla="*/ 120 w 228"/>
                  <a:gd name="T53" fmla="*/ 302 h 391"/>
                  <a:gd name="T54" fmla="*/ 102 w 228"/>
                  <a:gd name="T55" fmla="*/ 316 h 391"/>
                  <a:gd name="T56" fmla="*/ 97 w 228"/>
                  <a:gd name="T57" fmla="*/ 329 h 391"/>
                  <a:gd name="T58" fmla="*/ 94 w 228"/>
                  <a:gd name="T59" fmla="*/ 336 h 391"/>
                  <a:gd name="T60" fmla="*/ 93 w 228"/>
                  <a:gd name="T61" fmla="*/ 358 h 391"/>
                  <a:gd name="T62" fmla="*/ 64 w 228"/>
                  <a:gd name="T63" fmla="*/ 374 h 391"/>
                  <a:gd name="T64" fmla="*/ 56 w 228"/>
                  <a:gd name="T65" fmla="*/ 388 h 391"/>
                  <a:gd name="T66" fmla="*/ 31 w 228"/>
                  <a:gd name="T67" fmla="*/ 385 h 391"/>
                  <a:gd name="T68" fmla="*/ 30 w 228"/>
                  <a:gd name="T69" fmla="*/ 366 h 391"/>
                  <a:gd name="T70" fmla="*/ 13 w 228"/>
                  <a:gd name="T71" fmla="*/ 339 h 391"/>
                  <a:gd name="T72" fmla="*/ 7 w 228"/>
                  <a:gd name="T73" fmla="*/ 329 h 391"/>
                  <a:gd name="T74" fmla="*/ 1 w 228"/>
                  <a:gd name="T75" fmla="*/ 316 h 391"/>
                  <a:gd name="T76" fmla="*/ 10 w 228"/>
                  <a:gd name="T77" fmla="*/ 299 h 391"/>
                  <a:gd name="T78" fmla="*/ 21 w 228"/>
                  <a:gd name="T79" fmla="*/ 276 h 391"/>
                  <a:gd name="T80" fmla="*/ 23 w 228"/>
                  <a:gd name="T81" fmla="*/ 247 h 391"/>
                  <a:gd name="T82" fmla="*/ 20 w 228"/>
                  <a:gd name="T83" fmla="*/ 228 h 391"/>
                  <a:gd name="T84" fmla="*/ 18 w 228"/>
                  <a:gd name="T85" fmla="*/ 192 h 391"/>
                  <a:gd name="T86" fmla="*/ 18 w 228"/>
                  <a:gd name="T87" fmla="*/ 174 h 391"/>
                  <a:gd name="T88" fmla="*/ 38 w 228"/>
                  <a:gd name="T89" fmla="*/ 161 h 391"/>
                  <a:gd name="T90" fmla="*/ 49 w 228"/>
                  <a:gd name="T91" fmla="*/ 146 h 391"/>
                  <a:gd name="T92" fmla="*/ 69 w 228"/>
                  <a:gd name="T93" fmla="*/ 86 h 391"/>
                  <a:gd name="T94" fmla="*/ 83 w 228"/>
                  <a:gd name="T95" fmla="*/ 65 h 391"/>
                  <a:gd name="T96" fmla="*/ 94 w 228"/>
                  <a:gd name="T97" fmla="*/ 39 h 391"/>
                  <a:gd name="T98" fmla="*/ 110 w 228"/>
                  <a:gd name="T99" fmla="*/ 26 h 391"/>
                  <a:gd name="T100" fmla="*/ 123 w 228"/>
                  <a:gd name="T101" fmla="*/ 17 h 391"/>
                  <a:gd name="T102" fmla="*/ 159 w 228"/>
                  <a:gd name="T103" fmla="*/ 14 h 391"/>
                  <a:gd name="T104" fmla="*/ 192 w 228"/>
                  <a:gd name="T105" fmla="*/ 14 h 391"/>
                  <a:gd name="T106" fmla="*/ 212 w 228"/>
                  <a:gd name="T107" fmla="*/ 24 h 391"/>
                  <a:gd name="T108" fmla="*/ 217 w 228"/>
                  <a:gd name="T109" fmla="*/ 36 h 391"/>
                  <a:gd name="T110" fmla="*/ 221 w 228"/>
                  <a:gd name="T111" fmla="*/ 49 h 391"/>
                  <a:gd name="T112" fmla="*/ 224 w 228"/>
                  <a:gd name="T113" fmla="*/ 69 h 391"/>
                  <a:gd name="T114" fmla="*/ 221 w 228"/>
                  <a:gd name="T115" fmla="*/ 85 h 391"/>
                  <a:gd name="T116" fmla="*/ 105 w 228"/>
                  <a:gd name="T117" fmla="*/ 348 h 391"/>
                  <a:gd name="T118" fmla="*/ 123 w 228"/>
                  <a:gd name="T119" fmla="*/ 340 h 391"/>
                  <a:gd name="T120" fmla="*/ 125 w 228"/>
                  <a:gd name="T121" fmla="*/ 356 h 391"/>
                  <a:gd name="T122" fmla="*/ 133 w 228"/>
                  <a:gd name="T123" fmla="*/ 348 h 391"/>
                  <a:gd name="T124" fmla="*/ 136 w 228"/>
                  <a:gd name="T125" fmla="*/ 332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 h="391">
                    <a:moveTo>
                      <a:pt x="140" y="333"/>
                    </a:moveTo>
                    <a:lnTo>
                      <a:pt x="139" y="332"/>
                    </a:lnTo>
                    <a:lnTo>
                      <a:pt x="139" y="330"/>
                    </a:lnTo>
                    <a:lnTo>
                      <a:pt x="142" y="330"/>
                    </a:lnTo>
                    <a:lnTo>
                      <a:pt x="143" y="330"/>
                    </a:lnTo>
                    <a:lnTo>
                      <a:pt x="142" y="330"/>
                    </a:lnTo>
                    <a:lnTo>
                      <a:pt x="140" y="330"/>
                    </a:lnTo>
                    <a:lnTo>
                      <a:pt x="140" y="332"/>
                    </a:lnTo>
                    <a:lnTo>
                      <a:pt x="140" y="333"/>
                    </a:lnTo>
                    <a:close/>
                    <a:moveTo>
                      <a:pt x="130" y="289"/>
                    </a:moveTo>
                    <a:lnTo>
                      <a:pt x="130" y="290"/>
                    </a:lnTo>
                    <a:lnTo>
                      <a:pt x="130" y="292"/>
                    </a:lnTo>
                    <a:lnTo>
                      <a:pt x="130" y="290"/>
                    </a:lnTo>
                    <a:lnTo>
                      <a:pt x="132" y="289"/>
                    </a:lnTo>
                    <a:lnTo>
                      <a:pt x="130" y="289"/>
                    </a:lnTo>
                    <a:lnTo>
                      <a:pt x="130" y="289"/>
                    </a:lnTo>
                    <a:close/>
                    <a:moveTo>
                      <a:pt x="128" y="302"/>
                    </a:moveTo>
                    <a:lnTo>
                      <a:pt x="128" y="302"/>
                    </a:lnTo>
                    <a:lnTo>
                      <a:pt x="126" y="302"/>
                    </a:lnTo>
                    <a:lnTo>
                      <a:pt x="126" y="302"/>
                    </a:lnTo>
                    <a:lnTo>
                      <a:pt x="128" y="300"/>
                    </a:lnTo>
                    <a:lnTo>
                      <a:pt x="128" y="300"/>
                    </a:lnTo>
                    <a:lnTo>
                      <a:pt x="129" y="300"/>
                    </a:lnTo>
                    <a:lnTo>
                      <a:pt x="128" y="300"/>
                    </a:lnTo>
                    <a:lnTo>
                      <a:pt x="128" y="302"/>
                    </a:lnTo>
                    <a:close/>
                    <a:moveTo>
                      <a:pt x="227" y="92"/>
                    </a:moveTo>
                    <a:lnTo>
                      <a:pt x="228" y="100"/>
                    </a:lnTo>
                    <a:lnTo>
                      <a:pt x="225" y="100"/>
                    </a:lnTo>
                    <a:lnTo>
                      <a:pt x="218" y="100"/>
                    </a:lnTo>
                    <a:lnTo>
                      <a:pt x="214" y="100"/>
                    </a:lnTo>
                    <a:lnTo>
                      <a:pt x="212" y="100"/>
                    </a:lnTo>
                    <a:lnTo>
                      <a:pt x="211" y="102"/>
                    </a:lnTo>
                    <a:lnTo>
                      <a:pt x="209" y="103"/>
                    </a:lnTo>
                    <a:lnTo>
                      <a:pt x="208" y="102"/>
                    </a:lnTo>
                    <a:lnTo>
                      <a:pt x="206" y="100"/>
                    </a:lnTo>
                    <a:lnTo>
                      <a:pt x="204" y="98"/>
                    </a:lnTo>
                    <a:lnTo>
                      <a:pt x="201" y="100"/>
                    </a:lnTo>
                    <a:lnTo>
                      <a:pt x="199" y="100"/>
                    </a:lnTo>
                    <a:lnTo>
                      <a:pt x="198" y="99"/>
                    </a:lnTo>
                    <a:lnTo>
                      <a:pt x="196" y="100"/>
                    </a:lnTo>
                    <a:lnTo>
                      <a:pt x="195" y="102"/>
                    </a:lnTo>
                    <a:lnTo>
                      <a:pt x="195" y="106"/>
                    </a:lnTo>
                    <a:lnTo>
                      <a:pt x="195" y="108"/>
                    </a:lnTo>
                    <a:lnTo>
                      <a:pt x="192" y="108"/>
                    </a:lnTo>
                    <a:lnTo>
                      <a:pt x="192" y="109"/>
                    </a:lnTo>
                    <a:lnTo>
                      <a:pt x="192" y="111"/>
                    </a:lnTo>
                    <a:lnTo>
                      <a:pt x="191" y="111"/>
                    </a:lnTo>
                    <a:lnTo>
                      <a:pt x="189" y="111"/>
                    </a:lnTo>
                    <a:lnTo>
                      <a:pt x="189" y="112"/>
                    </a:lnTo>
                    <a:lnTo>
                      <a:pt x="189" y="113"/>
                    </a:lnTo>
                    <a:lnTo>
                      <a:pt x="189" y="115"/>
                    </a:lnTo>
                    <a:lnTo>
                      <a:pt x="188" y="115"/>
                    </a:lnTo>
                    <a:lnTo>
                      <a:pt x="188" y="115"/>
                    </a:lnTo>
                    <a:lnTo>
                      <a:pt x="186" y="115"/>
                    </a:lnTo>
                    <a:lnTo>
                      <a:pt x="185" y="115"/>
                    </a:lnTo>
                    <a:lnTo>
                      <a:pt x="185" y="115"/>
                    </a:lnTo>
                    <a:lnTo>
                      <a:pt x="184" y="115"/>
                    </a:lnTo>
                    <a:lnTo>
                      <a:pt x="182" y="115"/>
                    </a:lnTo>
                    <a:lnTo>
                      <a:pt x="182" y="116"/>
                    </a:lnTo>
                    <a:lnTo>
                      <a:pt x="182" y="118"/>
                    </a:lnTo>
                    <a:lnTo>
                      <a:pt x="182" y="118"/>
                    </a:lnTo>
                    <a:lnTo>
                      <a:pt x="184" y="118"/>
                    </a:lnTo>
                    <a:lnTo>
                      <a:pt x="184" y="119"/>
                    </a:lnTo>
                    <a:lnTo>
                      <a:pt x="184" y="121"/>
                    </a:lnTo>
                    <a:lnTo>
                      <a:pt x="182" y="121"/>
                    </a:lnTo>
                    <a:lnTo>
                      <a:pt x="182" y="119"/>
                    </a:lnTo>
                    <a:lnTo>
                      <a:pt x="181" y="119"/>
                    </a:lnTo>
                    <a:lnTo>
                      <a:pt x="182" y="122"/>
                    </a:lnTo>
                    <a:lnTo>
                      <a:pt x="182" y="125"/>
                    </a:lnTo>
                    <a:lnTo>
                      <a:pt x="182" y="126"/>
                    </a:lnTo>
                    <a:lnTo>
                      <a:pt x="181" y="129"/>
                    </a:lnTo>
                    <a:lnTo>
                      <a:pt x="176" y="134"/>
                    </a:lnTo>
                    <a:lnTo>
                      <a:pt x="176" y="135"/>
                    </a:lnTo>
                    <a:lnTo>
                      <a:pt x="176" y="138"/>
                    </a:lnTo>
                    <a:lnTo>
                      <a:pt x="181" y="148"/>
                    </a:lnTo>
                    <a:lnTo>
                      <a:pt x="181" y="149"/>
                    </a:lnTo>
                    <a:lnTo>
                      <a:pt x="181" y="151"/>
                    </a:lnTo>
                    <a:lnTo>
                      <a:pt x="175" y="157"/>
                    </a:lnTo>
                    <a:lnTo>
                      <a:pt x="173" y="158"/>
                    </a:lnTo>
                    <a:lnTo>
                      <a:pt x="169" y="164"/>
                    </a:lnTo>
                    <a:lnTo>
                      <a:pt x="168" y="167"/>
                    </a:lnTo>
                    <a:lnTo>
                      <a:pt x="166" y="168"/>
                    </a:lnTo>
                    <a:lnTo>
                      <a:pt x="162" y="171"/>
                    </a:lnTo>
                    <a:lnTo>
                      <a:pt x="161" y="172"/>
                    </a:lnTo>
                    <a:lnTo>
                      <a:pt x="159" y="172"/>
                    </a:lnTo>
                    <a:lnTo>
                      <a:pt x="158" y="174"/>
                    </a:lnTo>
                    <a:lnTo>
                      <a:pt x="155" y="174"/>
                    </a:lnTo>
                    <a:lnTo>
                      <a:pt x="153" y="175"/>
                    </a:lnTo>
                    <a:lnTo>
                      <a:pt x="152" y="177"/>
                    </a:lnTo>
                    <a:lnTo>
                      <a:pt x="150" y="178"/>
                    </a:lnTo>
                    <a:lnTo>
                      <a:pt x="149" y="178"/>
                    </a:lnTo>
                    <a:lnTo>
                      <a:pt x="146" y="178"/>
                    </a:lnTo>
                    <a:lnTo>
                      <a:pt x="146" y="178"/>
                    </a:lnTo>
                    <a:lnTo>
                      <a:pt x="146" y="180"/>
                    </a:lnTo>
                    <a:lnTo>
                      <a:pt x="146" y="180"/>
                    </a:lnTo>
                    <a:lnTo>
                      <a:pt x="145" y="178"/>
                    </a:lnTo>
                    <a:lnTo>
                      <a:pt x="143" y="180"/>
                    </a:lnTo>
                    <a:lnTo>
                      <a:pt x="140" y="182"/>
                    </a:lnTo>
                    <a:lnTo>
                      <a:pt x="139" y="184"/>
                    </a:lnTo>
                    <a:lnTo>
                      <a:pt x="138" y="185"/>
                    </a:lnTo>
                    <a:lnTo>
                      <a:pt x="136" y="185"/>
                    </a:lnTo>
                    <a:lnTo>
                      <a:pt x="133" y="185"/>
                    </a:lnTo>
                    <a:lnTo>
                      <a:pt x="135" y="185"/>
                    </a:lnTo>
                    <a:lnTo>
                      <a:pt x="135" y="185"/>
                    </a:lnTo>
                    <a:lnTo>
                      <a:pt x="135" y="187"/>
                    </a:lnTo>
                    <a:lnTo>
                      <a:pt x="133" y="187"/>
                    </a:lnTo>
                    <a:lnTo>
                      <a:pt x="132" y="187"/>
                    </a:lnTo>
                    <a:lnTo>
                      <a:pt x="132" y="188"/>
                    </a:lnTo>
                    <a:lnTo>
                      <a:pt x="130" y="188"/>
                    </a:lnTo>
                    <a:lnTo>
                      <a:pt x="128" y="191"/>
                    </a:lnTo>
                    <a:lnTo>
                      <a:pt x="128" y="191"/>
                    </a:lnTo>
                    <a:lnTo>
                      <a:pt x="126" y="192"/>
                    </a:lnTo>
                    <a:lnTo>
                      <a:pt x="126" y="192"/>
                    </a:lnTo>
                    <a:lnTo>
                      <a:pt x="126" y="192"/>
                    </a:lnTo>
                    <a:lnTo>
                      <a:pt x="128" y="192"/>
                    </a:lnTo>
                    <a:lnTo>
                      <a:pt x="129" y="192"/>
                    </a:lnTo>
                    <a:lnTo>
                      <a:pt x="128" y="194"/>
                    </a:lnTo>
                    <a:lnTo>
                      <a:pt x="126" y="197"/>
                    </a:lnTo>
                    <a:lnTo>
                      <a:pt x="123" y="198"/>
                    </a:lnTo>
                    <a:lnTo>
                      <a:pt x="122" y="198"/>
                    </a:lnTo>
                    <a:lnTo>
                      <a:pt x="122" y="198"/>
                    </a:lnTo>
                    <a:lnTo>
                      <a:pt x="122" y="197"/>
                    </a:lnTo>
                    <a:lnTo>
                      <a:pt x="122" y="197"/>
                    </a:lnTo>
                    <a:lnTo>
                      <a:pt x="120" y="197"/>
                    </a:lnTo>
                    <a:lnTo>
                      <a:pt x="120" y="197"/>
                    </a:lnTo>
                    <a:lnTo>
                      <a:pt x="119" y="197"/>
                    </a:lnTo>
                    <a:lnTo>
                      <a:pt x="119" y="195"/>
                    </a:lnTo>
                    <a:lnTo>
                      <a:pt x="119" y="197"/>
                    </a:lnTo>
                    <a:lnTo>
                      <a:pt x="119" y="198"/>
                    </a:lnTo>
                    <a:lnTo>
                      <a:pt x="119" y="200"/>
                    </a:lnTo>
                    <a:lnTo>
                      <a:pt x="119" y="201"/>
                    </a:lnTo>
                    <a:lnTo>
                      <a:pt x="119" y="203"/>
                    </a:lnTo>
                    <a:lnTo>
                      <a:pt x="120" y="203"/>
                    </a:lnTo>
                    <a:lnTo>
                      <a:pt x="120" y="203"/>
                    </a:lnTo>
                    <a:lnTo>
                      <a:pt x="119" y="204"/>
                    </a:lnTo>
                    <a:lnTo>
                      <a:pt x="116" y="205"/>
                    </a:lnTo>
                    <a:lnTo>
                      <a:pt x="115" y="205"/>
                    </a:lnTo>
                    <a:lnTo>
                      <a:pt x="115" y="207"/>
                    </a:lnTo>
                    <a:lnTo>
                      <a:pt x="115" y="207"/>
                    </a:lnTo>
                    <a:lnTo>
                      <a:pt x="113" y="207"/>
                    </a:lnTo>
                    <a:lnTo>
                      <a:pt x="113" y="207"/>
                    </a:lnTo>
                    <a:lnTo>
                      <a:pt x="113" y="207"/>
                    </a:lnTo>
                    <a:lnTo>
                      <a:pt x="112" y="207"/>
                    </a:lnTo>
                    <a:lnTo>
                      <a:pt x="110" y="207"/>
                    </a:lnTo>
                    <a:lnTo>
                      <a:pt x="110" y="207"/>
                    </a:lnTo>
                    <a:lnTo>
                      <a:pt x="109" y="207"/>
                    </a:lnTo>
                    <a:lnTo>
                      <a:pt x="109" y="207"/>
                    </a:lnTo>
                    <a:lnTo>
                      <a:pt x="109" y="208"/>
                    </a:lnTo>
                    <a:lnTo>
                      <a:pt x="110" y="210"/>
                    </a:lnTo>
                    <a:lnTo>
                      <a:pt x="110" y="211"/>
                    </a:lnTo>
                    <a:lnTo>
                      <a:pt x="112" y="213"/>
                    </a:lnTo>
                    <a:lnTo>
                      <a:pt x="113" y="213"/>
                    </a:lnTo>
                    <a:lnTo>
                      <a:pt x="110" y="215"/>
                    </a:lnTo>
                    <a:lnTo>
                      <a:pt x="109" y="220"/>
                    </a:lnTo>
                    <a:lnTo>
                      <a:pt x="109" y="224"/>
                    </a:lnTo>
                    <a:lnTo>
                      <a:pt x="110" y="228"/>
                    </a:lnTo>
                    <a:lnTo>
                      <a:pt x="109" y="228"/>
                    </a:lnTo>
                    <a:lnTo>
                      <a:pt x="109" y="227"/>
                    </a:lnTo>
                    <a:lnTo>
                      <a:pt x="107" y="227"/>
                    </a:lnTo>
                    <a:lnTo>
                      <a:pt x="106" y="227"/>
                    </a:lnTo>
                    <a:lnTo>
                      <a:pt x="106" y="228"/>
                    </a:lnTo>
                    <a:lnTo>
                      <a:pt x="106" y="230"/>
                    </a:lnTo>
                    <a:lnTo>
                      <a:pt x="106" y="233"/>
                    </a:lnTo>
                    <a:lnTo>
                      <a:pt x="105" y="234"/>
                    </a:lnTo>
                    <a:lnTo>
                      <a:pt x="106" y="236"/>
                    </a:lnTo>
                    <a:lnTo>
                      <a:pt x="106" y="237"/>
                    </a:lnTo>
                    <a:lnTo>
                      <a:pt x="106" y="238"/>
                    </a:lnTo>
                    <a:lnTo>
                      <a:pt x="106" y="247"/>
                    </a:lnTo>
                    <a:lnTo>
                      <a:pt x="106" y="254"/>
                    </a:lnTo>
                    <a:lnTo>
                      <a:pt x="107" y="256"/>
                    </a:lnTo>
                    <a:lnTo>
                      <a:pt x="107" y="257"/>
                    </a:lnTo>
                    <a:lnTo>
                      <a:pt x="109" y="257"/>
                    </a:lnTo>
                    <a:lnTo>
                      <a:pt x="110" y="257"/>
                    </a:lnTo>
                    <a:lnTo>
                      <a:pt x="110" y="259"/>
                    </a:lnTo>
                    <a:lnTo>
                      <a:pt x="113" y="260"/>
                    </a:lnTo>
                    <a:lnTo>
                      <a:pt x="115" y="260"/>
                    </a:lnTo>
                    <a:lnTo>
                      <a:pt x="115" y="260"/>
                    </a:lnTo>
                    <a:lnTo>
                      <a:pt x="117" y="260"/>
                    </a:lnTo>
                    <a:lnTo>
                      <a:pt x="119" y="260"/>
                    </a:lnTo>
                    <a:lnTo>
                      <a:pt x="119" y="260"/>
                    </a:lnTo>
                    <a:lnTo>
                      <a:pt x="122" y="263"/>
                    </a:lnTo>
                    <a:lnTo>
                      <a:pt x="122" y="264"/>
                    </a:lnTo>
                    <a:lnTo>
                      <a:pt x="123" y="264"/>
                    </a:lnTo>
                    <a:lnTo>
                      <a:pt x="126" y="266"/>
                    </a:lnTo>
                    <a:lnTo>
                      <a:pt x="128" y="267"/>
                    </a:lnTo>
                    <a:lnTo>
                      <a:pt x="129" y="269"/>
                    </a:lnTo>
                    <a:lnTo>
                      <a:pt x="129" y="269"/>
                    </a:lnTo>
                    <a:lnTo>
                      <a:pt x="129" y="270"/>
                    </a:lnTo>
                    <a:lnTo>
                      <a:pt x="129" y="272"/>
                    </a:lnTo>
                    <a:lnTo>
                      <a:pt x="130" y="273"/>
                    </a:lnTo>
                    <a:lnTo>
                      <a:pt x="133" y="273"/>
                    </a:lnTo>
                    <a:lnTo>
                      <a:pt x="135" y="274"/>
                    </a:lnTo>
                    <a:lnTo>
                      <a:pt x="136" y="276"/>
                    </a:lnTo>
                    <a:lnTo>
                      <a:pt x="138" y="279"/>
                    </a:lnTo>
                    <a:lnTo>
                      <a:pt x="136" y="282"/>
                    </a:lnTo>
                    <a:lnTo>
                      <a:pt x="135" y="283"/>
                    </a:lnTo>
                    <a:lnTo>
                      <a:pt x="133" y="286"/>
                    </a:lnTo>
                    <a:lnTo>
                      <a:pt x="130" y="287"/>
                    </a:lnTo>
                    <a:lnTo>
                      <a:pt x="126" y="290"/>
                    </a:lnTo>
                    <a:lnTo>
                      <a:pt x="122" y="293"/>
                    </a:lnTo>
                    <a:lnTo>
                      <a:pt x="119" y="293"/>
                    </a:lnTo>
                    <a:lnTo>
                      <a:pt x="117" y="293"/>
                    </a:lnTo>
                    <a:lnTo>
                      <a:pt x="116" y="292"/>
                    </a:lnTo>
                    <a:lnTo>
                      <a:pt x="116" y="287"/>
                    </a:lnTo>
                    <a:lnTo>
                      <a:pt x="115" y="286"/>
                    </a:lnTo>
                    <a:lnTo>
                      <a:pt x="115" y="289"/>
                    </a:lnTo>
                    <a:lnTo>
                      <a:pt x="113" y="289"/>
                    </a:lnTo>
                    <a:lnTo>
                      <a:pt x="112" y="289"/>
                    </a:lnTo>
                    <a:lnTo>
                      <a:pt x="110" y="287"/>
                    </a:lnTo>
                    <a:lnTo>
                      <a:pt x="109" y="287"/>
                    </a:lnTo>
                    <a:lnTo>
                      <a:pt x="109" y="287"/>
                    </a:lnTo>
                    <a:lnTo>
                      <a:pt x="109" y="289"/>
                    </a:lnTo>
                    <a:lnTo>
                      <a:pt x="109" y="290"/>
                    </a:lnTo>
                    <a:lnTo>
                      <a:pt x="106" y="289"/>
                    </a:lnTo>
                    <a:lnTo>
                      <a:pt x="103" y="289"/>
                    </a:lnTo>
                    <a:lnTo>
                      <a:pt x="102" y="287"/>
                    </a:lnTo>
                    <a:lnTo>
                      <a:pt x="99" y="289"/>
                    </a:lnTo>
                    <a:lnTo>
                      <a:pt x="96" y="287"/>
                    </a:lnTo>
                    <a:lnTo>
                      <a:pt x="94" y="286"/>
                    </a:lnTo>
                    <a:lnTo>
                      <a:pt x="93" y="289"/>
                    </a:lnTo>
                    <a:lnTo>
                      <a:pt x="92" y="289"/>
                    </a:lnTo>
                    <a:lnTo>
                      <a:pt x="89" y="290"/>
                    </a:lnTo>
                    <a:lnTo>
                      <a:pt x="86" y="290"/>
                    </a:lnTo>
                    <a:lnTo>
                      <a:pt x="89" y="292"/>
                    </a:lnTo>
                    <a:lnTo>
                      <a:pt x="96" y="290"/>
                    </a:lnTo>
                    <a:lnTo>
                      <a:pt x="99" y="292"/>
                    </a:lnTo>
                    <a:lnTo>
                      <a:pt x="102" y="292"/>
                    </a:lnTo>
                    <a:lnTo>
                      <a:pt x="109" y="295"/>
                    </a:lnTo>
                    <a:lnTo>
                      <a:pt x="109" y="295"/>
                    </a:lnTo>
                    <a:lnTo>
                      <a:pt x="112" y="295"/>
                    </a:lnTo>
                    <a:lnTo>
                      <a:pt x="115" y="296"/>
                    </a:lnTo>
                    <a:lnTo>
                      <a:pt x="117" y="295"/>
                    </a:lnTo>
                    <a:lnTo>
                      <a:pt x="123" y="295"/>
                    </a:lnTo>
                    <a:lnTo>
                      <a:pt x="128" y="292"/>
                    </a:lnTo>
                    <a:lnTo>
                      <a:pt x="129" y="292"/>
                    </a:lnTo>
                    <a:lnTo>
                      <a:pt x="130" y="295"/>
                    </a:lnTo>
                    <a:lnTo>
                      <a:pt x="129" y="295"/>
                    </a:lnTo>
                    <a:lnTo>
                      <a:pt x="128" y="295"/>
                    </a:lnTo>
                    <a:lnTo>
                      <a:pt x="128" y="297"/>
                    </a:lnTo>
                    <a:lnTo>
                      <a:pt x="126" y="297"/>
                    </a:lnTo>
                    <a:lnTo>
                      <a:pt x="125" y="300"/>
                    </a:lnTo>
                    <a:lnTo>
                      <a:pt x="123" y="300"/>
                    </a:lnTo>
                    <a:lnTo>
                      <a:pt x="120" y="302"/>
                    </a:lnTo>
                    <a:lnTo>
                      <a:pt x="113" y="306"/>
                    </a:lnTo>
                    <a:lnTo>
                      <a:pt x="105" y="310"/>
                    </a:lnTo>
                    <a:lnTo>
                      <a:pt x="102" y="312"/>
                    </a:lnTo>
                    <a:lnTo>
                      <a:pt x="99" y="312"/>
                    </a:lnTo>
                    <a:lnTo>
                      <a:pt x="92" y="312"/>
                    </a:lnTo>
                    <a:lnTo>
                      <a:pt x="89" y="313"/>
                    </a:lnTo>
                    <a:lnTo>
                      <a:pt x="96" y="313"/>
                    </a:lnTo>
                    <a:lnTo>
                      <a:pt x="99" y="315"/>
                    </a:lnTo>
                    <a:lnTo>
                      <a:pt x="102" y="316"/>
                    </a:lnTo>
                    <a:lnTo>
                      <a:pt x="100" y="317"/>
                    </a:lnTo>
                    <a:lnTo>
                      <a:pt x="99" y="317"/>
                    </a:lnTo>
                    <a:lnTo>
                      <a:pt x="97" y="317"/>
                    </a:lnTo>
                    <a:lnTo>
                      <a:pt x="96" y="317"/>
                    </a:lnTo>
                    <a:lnTo>
                      <a:pt x="97" y="320"/>
                    </a:lnTo>
                    <a:lnTo>
                      <a:pt x="97" y="323"/>
                    </a:lnTo>
                    <a:lnTo>
                      <a:pt x="97" y="325"/>
                    </a:lnTo>
                    <a:lnTo>
                      <a:pt x="97" y="328"/>
                    </a:lnTo>
                    <a:lnTo>
                      <a:pt x="97" y="329"/>
                    </a:lnTo>
                    <a:lnTo>
                      <a:pt x="97" y="330"/>
                    </a:lnTo>
                    <a:lnTo>
                      <a:pt x="97" y="332"/>
                    </a:lnTo>
                    <a:lnTo>
                      <a:pt x="97" y="332"/>
                    </a:lnTo>
                    <a:lnTo>
                      <a:pt x="96" y="332"/>
                    </a:lnTo>
                    <a:lnTo>
                      <a:pt x="96" y="332"/>
                    </a:lnTo>
                    <a:lnTo>
                      <a:pt x="94" y="332"/>
                    </a:lnTo>
                    <a:lnTo>
                      <a:pt x="94" y="333"/>
                    </a:lnTo>
                    <a:lnTo>
                      <a:pt x="94" y="335"/>
                    </a:lnTo>
                    <a:lnTo>
                      <a:pt x="94" y="336"/>
                    </a:lnTo>
                    <a:lnTo>
                      <a:pt x="94" y="338"/>
                    </a:lnTo>
                    <a:lnTo>
                      <a:pt x="96" y="342"/>
                    </a:lnTo>
                    <a:lnTo>
                      <a:pt x="96" y="343"/>
                    </a:lnTo>
                    <a:lnTo>
                      <a:pt x="96" y="345"/>
                    </a:lnTo>
                    <a:lnTo>
                      <a:pt x="94" y="348"/>
                    </a:lnTo>
                    <a:lnTo>
                      <a:pt x="93" y="349"/>
                    </a:lnTo>
                    <a:lnTo>
                      <a:pt x="93" y="351"/>
                    </a:lnTo>
                    <a:lnTo>
                      <a:pt x="93" y="355"/>
                    </a:lnTo>
                    <a:lnTo>
                      <a:pt x="93" y="358"/>
                    </a:lnTo>
                    <a:lnTo>
                      <a:pt x="87" y="368"/>
                    </a:lnTo>
                    <a:lnTo>
                      <a:pt x="84" y="372"/>
                    </a:lnTo>
                    <a:lnTo>
                      <a:pt x="82" y="374"/>
                    </a:lnTo>
                    <a:lnTo>
                      <a:pt x="80" y="374"/>
                    </a:lnTo>
                    <a:lnTo>
                      <a:pt x="77" y="374"/>
                    </a:lnTo>
                    <a:lnTo>
                      <a:pt x="76" y="374"/>
                    </a:lnTo>
                    <a:lnTo>
                      <a:pt x="70" y="374"/>
                    </a:lnTo>
                    <a:lnTo>
                      <a:pt x="67" y="374"/>
                    </a:lnTo>
                    <a:lnTo>
                      <a:pt x="64" y="374"/>
                    </a:lnTo>
                    <a:lnTo>
                      <a:pt x="63" y="374"/>
                    </a:lnTo>
                    <a:lnTo>
                      <a:pt x="63" y="376"/>
                    </a:lnTo>
                    <a:lnTo>
                      <a:pt x="60" y="376"/>
                    </a:lnTo>
                    <a:lnTo>
                      <a:pt x="57" y="376"/>
                    </a:lnTo>
                    <a:lnTo>
                      <a:pt x="56" y="378"/>
                    </a:lnTo>
                    <a:lnTo>
                      <a:pt x="54" y="381"/>
                    </a:lnTo>
                    <a:lnTo>
                      <a:pt x="54" y="384"/>
                    </a:lnTo>
                    <a:lnTo>
                      <a:pt x="54" y="385"/>
                    </a:lnTo>
                    <a:lnTo>
                      <a:pt x="56" y="388"/>
                    </a:lnTo>
                    <a:lnTo>
                      <a:pt x="54" y="389"/>
                    </a:lnTo>
                    <a:lnTo>
                      <a:pt x="51" y="391"/>
                    </a:lnTo>
                    <a:lnTo>
                      <a:pt x="49" y="391"/>
                    </a:lnTo>
                    <a:lnTo>
                      <a:pt x="46" y="391"/>
                    </a:lnTo>
                    <a:lnTo>
                      <a:pt x="41" y="391"/>
                    </a:lnTo>
                    <a:lnTo>
                      <a:pt x="38" y="391"/>
                    </a:lnTo>
                    <a:lnTo>
                      <a:pt x="36" y="391"/>
                    </a:lnTo>
                    <a:lnTo>
                      <a:pt x="30" y="391"/>
                    </a:lnTo>
                    <a:lnTo>
                      <a:pt x="31" y="385"/>
                    </a:lnTo>
                    <a:lnTo>
                      <a:pt x="30" y="379"/>
                    </a:lnTo>
                    <a:lnTo>
                      <a:pt x="27" y="375"/>
                    </a:lnTo>
                    <a:lnTo>
                      <a:pt x="23" y="371"/>
                    </a:lnTo>
                    <a:lnTo>
                      <a:pt x="24" y="371"/>
                    </a:lnTo>
                    <a:lnTo>
                      <a:pt x="26" y="372"/>
                    </a:lnTo>
                    <a:lnTo>
                      <a:pt x="27" y="372"/>
                    </a:lnTo>
                    <a:lnTo>
                      <a:pt x="28" y="371"/>
                    </a:lnTo>
                    <a:lnTo>
                      <a:pt x="26" y="368"/>
                    </a:lnTo>
                    <a:lnTo>
                      <a:pt x="30" y="366"/>
                    </a:lnTo>
                    <a:lnTo>
                      <a:pt x="30" y="363"/>
                    </a:lnTo>
                    <a:lnTo>
                      <a:pt x="27" y="362"/>
                    </a:lnTo>
                    <a:lnTo>
                      <a:pt x="24" y="359"/>
                    </a:lnTo>
                    <a:lnTo>
                      <a:pt x="21" y="355"/>
                    </a:lnTo>
                    <a:lnTo>
                      <a:pt x="18" y="352"/>
                    </a:lnTo>
                    <a:lnTo>
                      <a:pt x="17" y="348"/>
                    </a:lnTo>
                    <a:lnTo>
                      <a:pt x="15" y="343"/>
                    </a:lnTo>
                    <a:lnTo>
                      <a:pt x="14" y="345"/>
                    </a:lnTo>
                    <a:lnTo>
                      <a:pt x="13" y="339"/>
                    </a:lnTo>
                    <a:lnTo>
                      <a:pt x="11" y="338"/>
                    </a:lnTo>
                    <a:lnTo>
                      <a:pt x="11" y="338"/>
                    </a:lnTo>
                    <a:lnTo>
                      <a:pt x="10" y="336"/>
                    </a:lnTo>
                    <a:lnTo>
                      <a:pt x="10" y="335"/>
                    </a:lnTo>
                    <a:lnTo>
                      <a:pt x="10" y="335"/>
                    </a:lnTo>
                    <a:lnTo>
                      <a:pt x="10" y="332"/>
                    </a:lnTo>
                    <a:lnTo>
                      <a:pt x="10" y="330"/>
                    </a:lnTo>
                    <a:lnTo>
                      <a:pt x="8" y="330"/>
                    </a:lnTo>
                    <a:lnTo>
                      <a:pt x="7" y="329"/>
                    </a:lnTo>
                    <a:lnTo>
                      <a:pt x="7" y="329"/>
                    </a:lnTo>
                    <a:lnTo>
                      <a:pt x="5" y="328"/>
                    </a:lnTo>
                    <a:lnTo>
                      <a:pt x="5" y="328"/>
                    </a:lnTo>
                    <a:lnTo>
                      <a:pt x="5" y="326"/>
                    </a:lnTo>
                    <a:lnTo>
                      <a:pt x="5" y="325"/>
                    </a:lnTo>
                    <a:lnTo>
                      <a:pt x="4" y="320"/>
                    </a:lnTo>
                    <a:lnTo>
                      <a:pt x="4" y="319"/>
                    </a:lnTo>
                    <a:lnTo>
                      <a:pt x="1" y="319"/>
                    </a:lnTo>
                    <a:lnTo>
                      <a:pt x="1" y="316"/>
                    </a:lnTo>
                    <a:lnTo>
                      <a:pt x="1" y="313"/>
                    </a:lnTo>
                    <a:lnTo>
                      <a:pt x="0" y="305"/>
                    </a:lnTo>
                    <a:lnTo>
                      <a:pt x="0" y="302"/>
                    </a:lnTo>
                    <a:lnTo>
                      <a:pt x="1" y="300"/>
                    </a:lnTo>
                    <a:lnTo>
                      <a:pt x="4" y="302"/>
                    </a:lnTo>
                    <a:lnTo>
                      <a:pt x="5" y="305"/>
                    </a:lnTo>
                    <a:lnTo>
                      <a:pt x="7" y="305"/>
                    </a:lnTo>
                    <a:lnTo>
                      <a:pt x="8" y="302"/>
                    </a:lnTo>
                    <a:lnTo>
                      <a:pt x="10" y="299"/>
                    </a:lnTo>
                    <a:lnTo>
                      <a:pt x="10" y="296"/>
                    </a:lnTo>
                    <a:lnTo>
                      <a:pt x="10" y="290"/>
                    </a:lnTo>
                    <a:lnTo>
                      <a:pt x="8" y="287"/>
                    </a:lnTo>
                    <a:lnTo>
                      <a:pt x="10" y="286"/>
                    </a:lnTo>
                    <a:lnTo>
                      <a:pt x="13" y="280"/>
                    </a:lnTo>
                    <a:lnTo>
                      <a:pt x="14" y="279"/>
                    </a:lnTo>
                    <a:lnTo>
                      <a:pt x="15" y="277"/>
                    </a:lnTo>
                    <a:lnTo>
                      <a:pt x="18" y="277"/>
                    </a:lnTo>
                    <a:lnTo>
                      <a:pt x="21" y="276"/>
                    </a:lnTo>
                    <a:lnTo>
                      <a:pt x="23" y="273"/>
                    </a:lnTo>
                    <a:lnTo>
                      <a:pt x="24" y="269"/>
                    </a:lnTo>
                    <a:lnTo>
                      <a:pt x="24" y="263"/>
                    </a:lnTo>
                    <a:lnTo>
                      <a:pt x="23" y="259"/>
                    </a:lnTo>
                    <a:lnTo>
                      <a:pt x="20" y="250"/>
                    </a:lnTo>
                    <a:lnTo>
                      <a:pt x="20" y="249"/>
                    </a:lnTo>
                    <a:lnTo>
                      <a:pt x="20" y="247"/>
                    </a:lnTo>
                    <a:lnTo>
                      <a:pt x="21" y="247"/>
                    </a:lnTo>
                    <a:lnTo>
                      <a:pt x="23" y="247"/>
                    </a:lnTo>
                    <a:lnTo>
                      <a:pt x="24" y="247"/>
                    </a:lnTo>
                    <a:lnTo>
                      <a:pt x="26" y="246"/>
                    </a:lnTo>
                    <a:lnTo>
                      <a:pt x="27" y="246"/>
                    </a:lnTo>
                    <a:lnTo>
                      <a:pt x="28" y="243"/>
                    </a:lnTo>
                    <a:lnTo>
                      <a:pt x="30" y="240"/>
                    </a:lnTo>
                    <a:lnTo>
                      <a:pt x="30" y="238"/>
                    </a:lnTo>
                    <a:lnTo>
                      <a:pt x="28" y="236"/>
                    </a:lnTo>
                    <a:lnTo>
                      <a:pt x="27" y="234"/>
                    </a:lnTo>
                    <a:lnTo>
                      <a:pt x="20" y="228"/>
                    </a:lnTo>
                    <a:lnTo>
                      <a:pt x="18" y="227"/>
                    </a:lnTo>
                    <a:lnTo>
                      <a:pt x="18" y="224"/>
                    </a:lnTo>
                    <a:lnTo>
                      <a:pt x="20" y="215"/>
                    </a:lnTo>
                    <a:lnTo>
                      <a:pt x="20" y="213"/>
                    </a:lnTo>
                    <a:lnTo>
                      <a:pt x="20" y="210"/>
                    </a:lnTo>
                    <a:lnTo>
                      <a:pt x="17" y="203"/>
                    </a:lnTo>
                    <a:lnTo>
                      <a:pt x="17" y="194"/>
                    </a:lnTo>
                    <a:lnTo>
                      <a:pt x="17" y="194"/>
                    </a:lnTo>
                    <a:lnTo>
                      <a:pt x="18" y="192"/>
                    </a:lnTo>
                    <a:lnTo>
                      <a:pt x="18" y="192"/>
                    </a:lnTo>
                    <a:lnTo>
                      <a:pt x="18" y="191"/>
                    </a:lnTo>
                    <a:lnTo>
                      <a:pt x="17" y="191"/>
                    </a:lnTo>
                    <a:lnTo>
                      <a:pt x="17" y="190"/>
                    </a:lnTo>
                    <a:lnTo>
                      <a:pt x="15" y="185"/>
                    </a:lnTo>
                    <a:lnTo>
                      <a:pt x="15" y="184"/>
                    </a:lnTo>
                    <a:lnTo>
                      <a:pt x="17" y="178"/>
                    </a:lnTo>
                    <a:lnTo>
                      <a:pt x="18" y="175"/>
                    </a:lnTo>
                    <a:lnTo>
                      <a:pt x="18" y="174"/>
                    </a:lnTo>
                    <a:lnTo>
                      <a:pt x="18" y="174"/>
                    </a:lnTo>
                    <a:lnTo>
                      <a:pt x="21" y="169"/>
                    </a:lnTo>
                    <a:lnTo>
                      <a:pt x="26" y="167"/>
                    </a:lnTo>
                    <a:lnTo>
                      <a:pt x="27" y="164"/>
                    </a:lnTo>
                    <a:lnTo>
                      <a:pt x="28" y="162"/>
                    </a:lnTo>
                    <a:lnTo>
                      <a:pt x="31" y="161"/>
                    </a:lnTo>
                    <a:lnTo>
                      <a:pt x="34" y="161"/>
                    </a:lnTo>
                    <a:lnTo>
                      <a:pt x="36" y="161"/>
                    </a:lnTo>
                    <a:lnTo>
                      <a:pt x="38" y="161"/>
                    </a:lnTo>
                    <a:lnTo>
                      <a:pt x="44" y="162"/>
                    </a:lnTo>
                    <a:lnTo>
                      <a:pt x="47" y="162"/>
                    </a:lnTo>
                    <a:lnTo>
                      <a:pt x="50" y="161"/>
                    </a:lnTo>
                    <a:lnTo>
                      <a:pt x="51" y="159"/>
                    </a:lnTo>
                    <a:lnTo>
                      <a:pt x="53" y="157"/>
                    </a:lnTo>
                    <a:lnTo>
                      <a:pt x="53" y="154"/>
                    </a:lnTo>
                    <a:lnTo>
                      <a:pt x="51" y="151"/>
                    </a:lnTo>
                    <a:lnTo>
                      <a:pt x="50" y="148"/>
                    </a:lnTo>
                    <a:lnTo>
                      <a:pt x="49" y="146"/>
                    </a:lnTo>
                    <a:lnTo>
                      <a:pt x="44" y="144"/>
                    </a:lnTo>
                    <a:lnTo>
                      <a:pt x="51" y="132"/>
                    </a:lnTo>
                    <a:lnTo>
                      <a:pt x="56" y="125"/>
                    </a:lnTo>
                    <a:lnTo>
                      <a:pt x="59" y="119"/>
                    </a:lnTo>
                    <a:lnTo>
                      <a:pt x="60" y="111"/>
                    </a:lnTo>
                    <a:lnTo>
                      <a:pt x="60" y="103"/>
                    </a:lnTo>
                    <a:lnTo>
                      <a:pt x="60" y="95"/>
                    </a:lnTo>
                    <a:lnTo>
                      <a:pt x="59" y="88"/>
                    </a:lnTo>
                    <a:lnTo>
                      <a:pt x="69" y="86"/>
                    </a:lnTo>
                    <a:lnTo>
                      <a:pt x="73" y="85"/>
                    </a:lnTo>
                    <a:lnTo>
                      <a:pt x="76" y="80"/>
                    </a:lnTo>
                    <a:lnTo>
                      <a:pt x="76" y="79"/>
                    </a:lnTo>
                    <a:lnTo>
                      <a:pt x="74" y="76"/>
                    </a:lnTo>
                    <a:lnTo>
                      <a:pt x="74" y="75"/>
                    </a:lnTo>
                    <a:lnTo>
                      <a:pt x="76" y="75"/>
                    </a:lnTo>
                    <a:lnTo>
                      <a:pt x="76" y="73"/>
                    </a:lnTo>
                    <a:lnTo>
                      <a:pt x="76" y="73"/>
                    </a:lnTo>
                    <a:lnTo>
                      <a:pt x="83" y="65"/>
                    </a:lnTo>
                    <a:lnTo>
                      <a:pt x="89" y="60"/>
                    </a:lnTo>
                    <a:lnTo>
                      <a:pt x="92" y="57"/>
                    </a:lnTo>
                    <a:lnTo>
                      <a:pt x="93" y="53"/>
                    </a:lnTo>
                    <a:lnTo>
                      <a:pt x="92" y="50"/>
                    </a:lnTo>
                    <a:lnTo>
                      <a:pt x="89" y="47"/>
                    </a:lnTo>
                    <a:lnTo>
                      <a:pt x="87" y="44"/>
                    </a:lnTo>
                    <a:lnTo>
                      <a:pt x="90" y="42"/>
                    </a:lnTo>
                    <a:lnTo>
                      <a:pt x="93" y="40"/>
                    </a:lnTo>
                    <a:lnTo>
                      <a:pt x="94" y="39"/>
                    </a:lnTo>
                    <a:lnTo>
                      <a:pt x="96" y="37"/>
                    </a:lnTo>
                    <a:lnTo>
                      <a:pt x="96" y="36"/>
                    </a:lnTo>
                    <a:lnTo>
                      <a:pt x="97" y="31"/>
                    </a:lnTo>
                    <a:lnTo>
                      <a:pt x="99" y="30"/>
                    </a:lnTo>
                    <a:lnTo>
                      <a:pt x="100" y="29"/>
                    </a:lnTo>
                    <a:lnTo>
                      <a:pt x="102" y="29"/>
                    </a:lnTo>
                    <a:lnTo>
                      <a:pt x="107" y="26"/>
                    </a:lnTo>
                    <a:lnTo>
                      <a:pt x="109" y="26"/>
                    </a:lnTo>
                    <a:lnTo>
                      <a:pt x="110" y="26"/>
                    </a:lnTo>
                    <a:lnTo>
                      <a:pt x="116" y="27"/>
                    </a:lnTo>
                    <a:lnTo>
                      <a:pt x="117" y="27"/>
                    </a:lnTo>
                    <a:lnTo>
                      <a:pt x="120" y="27"/>
                    </a:lnTo>
                    <a:lnTo>
                      <a:pt x="122" y="26"/>
                    </a:lnTo>
                    <a:lnTo>
                      <a:pt x="122" y="24"/>
                    </a:lnTo>
                    <a:lnTo>
                      <a:pt x="123" y="23"/>
                    </a:lnTo>
                    <a:lnTo>
                      <a:pt x="123" y="21"/>
                    </a:lnTo>
                    <a:lnTo>
                      <a:pt x="123" y="19"/>
                    </a:lnTo>
                    <a:lnTo>
                      <a:pt x="123" y="17"/>
                    </a:lnTo>
                    <a:lnTo>
                      <a:pt x="122" y="14"/>
                    </a:lnTo>
                    <a:lnTo>
                      <a:pt x="123" y="13"/>
                    </a:lnTo>
                    <a:lnTo>
                      <a:pt x="125" y="13"/>
                    </a:lnTo>
                    <a:lnTo>
                      <a:pt x="126" y="13"/>
                    </a:lnTo>
                    <a:lnTo>
                      <a:pt x="140" y="14"/>
                    </a:lnTo>
                    <a:lnTo>
                      <a:pt x="149" y="17"/>
                    </a:lnTo>
                    <a:lnTo>
                      <a:pt x="152" y="17"/>
                    </a:lnTo>
                    <a:lnTo>
                      <a:pt x="156" y="17"/>
                    </a:lnTo>
                    <a:lnTo>
                      <a:pt x="159" y="14"/>
                    </a:lnTo>
                    <a:lnTo>
                      <a:pt x="155" y="13"/>
                    </a:lnTo>
                    <a:lnTo>
                      <a:pt x="159" y="10"/>
                    </a:lnTo>
                    <a:lnTo>
                      <a:pt x="161" y="7"/>
                    </a:lnTo>
                    <a:lnTo>
                      <a:pt x="161" y="4"/>
                    </a:lnTo>
                    <a:lnTo>
                      <a:pt x="158" y="1"/>
                    </a:lnTo>
                    <a:lnTo>
                      <a:pt x="166" y="0"/>
                    </a:lnTo>
                    <a:lnTo>
                      <a:pt x="169" y="1"/>
                    </a:lnTo>
                    <a:lnTo>
                      <a:pt x="188" y="13"/>
                    </a:lnTo>
                    <a:lnTo>
                      <a:pt x="192" y="14"/>
                    </a:lnTo>
                    <a:lnTo>
                      <a:pt x="204" y="17"/>
                    </a:lnTo>
                    <a:lnTo>
                      <a:pt x="206" y="19"/>
                    </a:lnTo>
                    <a:lnTo>
                      <a:pt x="209" y="21"/>
                    </a:lnTo>
                    <a:lnTo>
                      <a:pt x="211" y="21"/>
                    </a:lnTo>
                    <a:lnTo>
                      <a:pt x="211" y="23"/>
                    </a:lnTo>
                    <a:lnTo>
                      <a:pt x="211" y="24"/>
                    </a:lnTo>
                    <a:lnTo>
                      <a:pt x="211" y="24"/>
                    </a:lnTo>
                    <a:lnTo>
                      <a:pt x="212" y="24"/>
                    </a:lnTo>
                    <a:lnTo>
                      <a:pt x="212" y="24"/>
                    </a:lnTo>
                    <a:lnTo>
                      <a:pt x="214" y="26"/>
                    </a:lnTo>
                    <a:lnTo>
                      <a:pt x="218" y="27"/>
                    </a:lnTo>
                    <a:lnTo>
                      <a:pt x="218" y="29"/>
                    </a:lnTo>
                    <a:lnTo>
                      <a:pt x="219" y="30"/>
                    </a:lnTo>
                    <a:lnTo>
                      <a:pt x="218" y="30"/>
                    </a:lnTo>
                    <a:lnTo>
                      <a:pt x="217" y="31"/>
                    </a:lnTo>
                    <a:lnTo>
                      <a:pt x="217" y="33"/>
                    </a:lnTo>
                    <a:lnTo>
                      <a:pt x="217" y="33"/>
                    </a:lnTo>
                    <a:lnTo>
                      <a:pt x="217" y="36"/>
                    </a:lnTo>
                    <a:lnTo>
                      <a:pt x="217" y="40"/>
                    </a:lnTo>
                    <a:lnTo>
                      <a:pt x="217" y="43"/>
                    </a:lnTo>
                    <a:lnTo>
                      <a:pt x="217" y="43"/>
                    </a:lnTo>
                    <a:lnTo>
                      <a:pt x="217" y="43"/>
                    </a:lnTo>
                    <a:lnTo>
                      <a:pt x="219" y="44"/>
                    </a:lnTo>
                    <a:lnTo>
                      <a:pt x="221" y="44"/>
                    </a:lnTo>
                    <a:lnTo>
                      <a:pt x="221" y="46"/>
                    </a:lnTo>
                    <a:lnTo>
                      <a:pt x="221" y="47"/>
                    </a:lnTo>
                    <a:lnTo>
                      <a:pt x="221" y="49"/>
                    </a:lnTo>
                    <a:lnTo>
                      <a:pt x="219" y="50"/>
                    </a:lnTo>
                    <a:lnTo>
                      <a:pt x="219" y="52"/>
                    </a:lnTo>
                    <a:lnTo>
                      <a:pt x="219" y="53"/>
                    </a:lnTo>
                    <a:lnTo>
                      <a:pt x="219" y="56"/>
                    </a:lnTo>
                    <a:lnTo>
                      <a:pt x="221" y="57"/>
                    </a:lnTo>
                    <a:lnTo>
                      <a:pt x="224" y="60"/>
                    </a:lnTo>
                    <a:lnTo>
                      <a:pt x="225" y="63"/>
                    </a:lnTo>
                    <a:lnTo>
                      <a:pt x="225" y="66"/>
                    </a:lnTo>
                    <a:lnTo>
                      <a:pt x="224" y="69"/>
                    </a:lnTo>
                    <a:lnTo>
                      <a:pt x="222" y="72"/>
                    </a:lnTo>
                    <a:lnTo>
                      <a:pt x="222" y="73"/>
                    </a:lnTo>
                    <a:lnTo>
                      <a:pt x="221" y="75"/>
                    </a:lnTo>
                    <a:lnTo>
                      <a:pt x="221" y="76"/>
                    </a:lnTo>
                    <a:lnTo>
                      <a:pt x="219" y="79"/>
                    </a:lnTo>
                    <a:lnTo>
                      <a:pt x="219" y="80"/>
                    </a:lnTo>
                    <a:lnTo>
                      <a:pt x="219" y="82"/>
                    </a:lnTo>
                    <a:lnTo>
                      <a:pt x="221" y="83"/>
                    </a:lnTo>
                    <a:lnTo>
                      <a:pt x="221" y="85"/>
                    </a:lnTo>
                    <a:lnTo>
                      <a:pt x="222" y="86"/>
                    </a:lnTo>
                    <a:lnTo>
                      <a:pt x="224" y="88"/>
                    </a:lnTo>
                    <a:lnTo>
                      <a:pt x="224" y="88"/>
                    </a:lnTo>
                    <a:lnTo>
                      <a:pt x="225" y="89"/>
                    </a:lnTo>
                    <a:lnTo>
                      <a:pt x="227" y="92"/>
                    </a:lnTo>
                    <a:close/>
                    <a:moveTo>
                      <a:pt x="96" y="368"/>
                    </a:moveTo>
                    <a:lnTo>
                      <a:pt x="99" y="359"/>
                    </a:lnTo>
                    <a:lnTo>
                      <a:pt x="103" y="351"/>
                    </a:lnTo>
                    <a:lnTo>
                      <a:pt x="105" y="348"/>
                    </a:lnTo>
                    <a:lnTo>
                      <a:pt x="103" y="348"/>
                    </a:lnTo>
                    <a:lnTo>
                      <a:pt x="100" y="351"/>
                    </a:lnTo>
                    <a:lnTo>
                      <a:pt x="97" y="356"/>
                    </a:lnTo>
                    <a:lnTo>
                      <a:pt x="93" y="362"/>
                    </a:lnTo>
                    <a:lnTo>
                      <a:pt x="92" y="366"/>
                    </a:lnTo>
                    <a:lnTo>
                      <a:pt x="92" y="371"/>
                    </a:lnTo>
                    <a:lnTo>
                      <a:pt x="94" y="371"/>
                    </a:lnTo>
                    <a:lnTo>
                      <a:pt x="96" y="368"/>
                    </a:lnTo>
                    <a:close/>
                    <a:moveTo>
                      <a:pt x="123" y="340"/>
                    </a:moveTo>
                    <a:lnTo>
                      <a:pt x="122" y="343"/>
                    </a:lnTo>
                    <a:lnTo>
                      <a:pt x="122" y="346"/>
                    </a:lnTo>
                    <a:lnTo>
                      <a:pt x="123" y="351"/>
                    </a:lnTo>
                    <a:lnTo>
                      <a:pt x="125" y="353"/>
                    </a:lnTo>
                    <a:lnTo>
                      <a:pt x="125" y="353"/>
                    </a:lnTo>
                    <a:lnTo>
                      <a:pt x="123" y="355"/>
                    </a:lnTo>
                    <a:lnTo>
                      <a:pt x="123" y="356"/>
                    </a:lnTo>
                    <a:lnTo>
                      <a:pt x="123" y="356"/>
                    </a:lnTo>
                    <a:lnTo>
                      <a:pt x="125" y="356"/>
                    </a:lnTo>
                    <a:lnTo>
                      <a:pt x="126" y="355"/>
                    </a:lnTo>
                    <a:lnTo>
                      <a:pt x="128" y="352"/>
                    </a:lnTo>
                    <a:lnTo>
                      <a:pt x="129" y="351"/>
                    </a:lnTo>
                    <a:lnTo>
                      <a:pt x="130" y="351"/>
                    </a:lnTo>
                    <a:lnTo>
                      <a:pt x="132" y="349"/>
                    </a:lnTo>
                    <a:lnTo>
                      <a:pt x="132" y="349"/>
                    </a:lnTo>
                    <a:lnTo>
                      <a:pt x="133" y="349"/>
                    </a:lnTo>
                    <a:lnTo>
                      <a:pt x="133" y="348"/>
                    </a:lnTo>
                    <a:lnTo>
                      <a:pt x="133" y="348"/>
                    </a:lnTo>
                    <a:lnTo>
                      <a:pt x="135" y="346"/>
                    </a:lnTo>
                    <a:lnTo>
                      <a:pt x="135" y="345"/>
                    </a:lnTo>
                    <a:lnTo>
                      <a:pt x="136" y="345"/>
                    </a:lnTo>
                    <a:lnTo>
                      <a:pt x="133" y="342"/>
                    </a:lnTo>
                    <a:lnTo>
                      <a:pt x="135" y="339"/>
                    </a:lnTo>
                    <a:lnTo>
                      <a:pt x="136" y="336"/>
                    </a:lnTo>
                    <a:lnTo>
                      <a:pt x="139" y="333"/>
                    </a:lnTo>
                    <a:lnTo>
                      <a:pt x="138" y="332"/>
                    </a:lnTo>
                    <a:lnTo>
                      <a:pt x="136" y="332"/>
                    </a:lnTo>
                    <a:lnTo>
                      <a:pt x="136" y="332"/>
                    </a:lnTo>
                    <a:lnTo>
                      <a:pt x="135" y="332"/>
                    </a:lnTo>
                    <a:lnTo>
                      <a:pt x="135" y="332"/>
                    </a:lnTo>
                    <a:lnTo>
                      <a:pt x="135" y="333"/>
                    </a:lnTo>
                    <a:lnTo>
                      <a:pt x="132" y="333"/>
                    </a:lnTo>
                    <a:lnTo>
                      <a:pt x="128" y="335"/>
                    </a:lnTo>
                    <a:lnTo>
                      <a:pt x="125" y="338"/>
                    </a:lnTo>
                    <a:lnTo>
                      <a:pt x="123" y="34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85" name="Freeform 91">
                <a:extLst>
                  <a:ext uri="{FF2B5EF4-FFF2-40B4-BE49-F238E27FC236}">
                    <a16:creationId xmlns:a16="http://schemas.microsoft.com/office/drawing/2014/main" id="{CC43A715-FE2E-82FF-D863-9818F89CFF4E}"/>
                  </a:ext>
                </a:extLst>
              </p:cNvPr>
              <p:cNvSpPr>
                <a:spLocks/>
              </p:cNvSpPr>
              <p:nvPr/>
            </p:nvSpPr>
            <p:spPr bwMode="auto">
              <a:xfrm>
                <a:off x="3765" y="1878"/>
                <a:ext cx="2" cy="2"/>
              </a:xfrm>
              <a:custGeom>
                <a:avLst/>
                <a:gdLst>
                  <a:gd name="T0" fmla="*/ 2 w 2"/>
                  <a:gd name="T1" fmla="*/ 2 h 2"/>
                  <a:gd name="T2" fmla="*/ 2 w 2"/>
                  <a:gd name="T3" fmla="*/ 2 h 2"/>
                  <a:gd name="T4" fmla="*/ 2 w 2"/>
                  <a:gd name="T5" fmla="*/ 0 h 2"/>
                  <a:gd name="T6" fmla="*/ 2 w 2"/>
                  <a:gd name="T7" fmla="*/ 0 h 2"/>
                  <a:gd name="T8" fmla="*/ 2 w 2"/>
                  <a:gd name="T9" fmla="*/ 0 h 2"/>
                  <a:gd name="T10" fmla="*/ 0 w 2"/>
                  <a:gd name="T11" fmla="*/ 2 h 2"/>
                  <a:gd name="T12" fmla="*/ 2 w 2"/>
                  <a:gd name="T13" fmla="*/ 2 h 2"/>
                  <a:gd name="T14" fmla="*/ 2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2"/>
                    </a:moveTo>
                    <a:lnTo>
                      <a:pt x="2" y="2"/>
                    </a:lnTo>
                    <a:lnTo>
                      <a:pt x="2" y="0"/>
                    </a:lnTo>
                    <a:lnTo>
                      <a:pt x="2" y="0"/>
                    </a:lnTo>
                    <a:lnTo>
                      <a:pt x="2" y="0"/>
                    </a:lnTo>
                    <a:lnTo>
                      <a:pt x="0" y="2"/>
                    </a:lnTo>
                    <a:lnTo>
                      <a:pt x="2" y="2"/>
                    </a:lnTo>
                    <a:lnTo>
                      <a:pt x="2"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86" name="Freeform 92">
                <a:extLst>
                  <a:ext uri="{FF2B5EF4-FFF2-40B4-BE49-F238E27FC236}">
                    <a16:creationId xmlns:a16="http://schemas.microsoft.com/office/drawing/2014/main" id="{2E781C67-4C91-C45E-9386-A21F6FFCD228}"/>
                  </a:ext>
                </a:extLst>
              </p:cNvPr>
              <p:cNvSpPr>
                <a:spLocks noEditPoints="1"/>
              </p:cNvSpPr>
              <p:nvPr/>
            </p:nvSpPr>
            <p:spPr bwMode="auto">
              <a:xfrm>
                <a:off x="3464" y="1706"/>
                <a:ext cx="251" cy="230"/>
              </a:xfrm>
              <a:custGeom>
                <a:avLst/>
                <a:gdLst>
                  <a:gd name="T0" fmla="*/ 215 w 251"/>
                  <a:gd name="T1" fmla="*/ 175 h 230"/>
                  <a:gd name="T2" fmla="*/ 198 w 251"/>
                  <a:gd name="T3" fmla="*/ 189 h 230"/>
                  <a:gd name="T4" fmla="*/ 175 w 251"/>
                  <a:gd name="T5" fmla="*/ 187 h 230"/>
                  <a:gd name="T6" fmla="*/ 163 w 251"/>
                  <a:gd name="T7" fmla="*/ 185 h 230"/>
                  <a:gd name="T8" fmla="*/ 140 w 251"/>
                  <a:gd name="T9" fmla="*/ 191 h 230"/>
                  <a:gd name="T10" fmla="*/ 132 w 251"/>
                  <a:gd name="T11" fmla="*/ 207 h 230"/>
                  <a:gd name="T12" fmla="*/ 122 w 251"/>
                  <a:gd name="T13" fmla="*/ 208 h 230"/>
                  <a:gd name="T14" fmla="*/ 110 w 251"/>
                  <a:gd name="T15" fmla="*/ 202 h 230"/>
                  <a:gd name="T16" fmla="*/ 94 w 251"/>
                  <a:gd name="T17" fmla="*/ 201 h 230"/>
                  <a:gd name="T18" fmla="*/ 79 w 251"/>
                  <a:gd name="T19" fmla="*/ 198 h 230"/>
                  <a:gd name="T20" fmla="*/ 69 w 251"/>
                  <a:gd name="T21" fmla="*/ 195 h 230"/>
                  <a:gd name="T22" fmla="*/ 59 w 251"/>
                  <a:gd name="T23" fmla="*/ 194 h 230"/>
                  <a:gd name="T24" fmla="*/ 51 w 251"/>
                  <a:gd name="T25" fmla="*/ 185 h 230"/>
                  <a:gd name="T26" fmla="*/ 61 w 251"/>
                  <a:gd name="T27" fmla="*/ 156 h 230"/>
                  <a:gd name="T28" fmla="*/ 71 w 251"/>
                  <a:gd name="T29" fmla="*/ 146 h 230"/>
                  <a:gd name="T30" fmla="*/ 63 w 251"/>
                  <a:gd name="T31" fmla="*/ 133 h 230"/>
                  <a:gd name="T32" fmla="*/ 63 w 251"/>
                  <a:gd name="T33" fmla="*/ 119 h 230"/>
                  <a:gd name="T34" fmla="*/ 47 w 251"/>
                  <a:gd name="T35" fmla="*/ 108 h 230"/>
                  <a:gd name="T36" fmla="*/ 46 w 251"/>
                  <a:gd name="T37" fmla="*/ 97 h 230"/>
                  <a:gd name="T38" fmla="*/ 41 w 251"/>
                  <a:gd name="T39" fmla="*/ 96 h 230"/>
                  <a:gd name="T40" fmla="*/ 36 w 251"/>
                  <a:gd name="T41" fmla="*/ 90 h 230"/>
                  <a:gd name="T42" fmla="*/ 27 w 251"/>
                  <a:gd name="T43" fmla="*/ 86 h 230"/>
                  <a:gd name="T44" fmla="*/ 7 w 251"/>
                  <a:gd name="T45" fmla="*/ 80 h 230"/>
                  <a:gd name="T46" fmla="*/ 5 w 251"/>
                  <a:gd name="T47" fmla="*/ 73 h 230"/>
                  <a:gd name="T48" fmla="*/ 1 w 251"/>
                  <a:gd name="T49" fmla="*/ 69 h 230"/>
                  <a:gd name="T50" fmla="*/ 27 w 251"/>
                  <a:gd name="T51" fmla="*/ 59 h 230"/>
                  <a:gd name="T52" fmla="*/ 44 w 251"/>
                  <a:gd name="T53" fmla="*/ 63 h 230"/>
                  <a:gd name="T54" fmla="*/ 60 w 251"/>
                  <a:gd name="T55" fmla="*/ 63 h 230"/>
                  <a:gd name="T56" fmla="*/ 51 w 251"/>
                  <a:gd name="T57" fmla="*/ 37 h 230"/>
                  <a:gd name="T58" fmla="*/ 79 w 251"/>
                  <a:gd name="T59" fmla="*/ 46 h 230"/>
                  <a:gd name="T60" fmla="*/ 86 w 251"/>
                  <a:gd name="T61" fmla="*/ 40 h 230"/>
                  <a:gd name="T62" fmla="*/ 110 w 251"/>
                  <a:gd name="T63" fmla="*/ 23 h 230"/>
                  <a:gd name="T64" fmla="*/ 127 w 251"/>
                  <a:gd name="T65" fmla="*/ 0 h 230"/>
                  <a:gd name="T66" fmla="*/ 139 w 251"/>
                  <a:gd name="T67" fmla="*/ 8 h 230"/>
                  <a:gd name="T68" fmla="*/ 148 w 251"/>
                  <a:gd name="T69" fmla="*/ 20 h 230"/>
                  <a:gd name="T70" fmla="*/ 156 w 251"/>
                  <a:gd name="T71" fmla="*/ 24 h 230"/>
                  <a:gd name="T72" fmla="*/ 169 w 251"/>
                  <a:gd name="T73" fmla="*/ 26 h 230"/>
                  <a:gd name="T74" fmla="*/ 175 w 251"/>
                  <a:gd name="T75" fmla="*/ 36 h 230"/>
                  <a:gd name="T76" fmla="*/ 191 w 251"/>
                  <a:gd name="T77" fmla="*/ 43 h 230"/>
                  <a:gd name="T78" fmla="*/ 202 w 251"/>
                  <a:gd name="T79" fmla="*/ 50 h 230"/>
                  <a:gd name="T80" fmla="*/ 211 w 251"/>
                  <a:gd name="T81" fmla="*/ 50 h 230"/>
                  <a:gd name="T82" fmla="*/ 224 w 251"/>
                  <a:gd name="T83" fmla="*/ 53 h 230"/>
                  <a:gd name="T84" fmla="*/ 219 w 251"/>
                  <a:gd name="T85" fmla="*/ 69 h 230"/>
                  <a:gd name="T86" fmla="*/ 211 w 251"/>
                  <a:gd name="T87" fmla="*/ 92 h 230"/>
                  <a:gd name="T88" fmla="*/ 206 w 251"/>
                  <a:gd name="T89" fmla="*/ 95 h 230"/>
                  <a:gd name="T90" fmla="*/ 196 w 251"/>
                  <a:gd name="T91" fmla="*/ 105 h 230"/>
                  <a:gd name="T92" fmla="*/ 191 w 251"/>
                  <a:gd name="T93" fmla="*/ 115 h 230"/>
                  <a:gd name="T94" fmla="*/ 189 w 251"/>
                  <a:gd name="T95" fmla="*/ 122 h 230"/>
                  <a:gd name="T96" fmla="*/ 196 w 251"/>
                  <a:gd name="T97" fmla="*/ 116 h 230"/>
                  <a:gd name="T98" fmla="*/ 204 w 251"/>
                  <a:gd name="T99" fmla="*/ 122 h 230"/>
                  <a:gd name="T100" fmla="*/ 208 w 251"/>
                  <a:gd name="T101" fmla="*/ 138 h 230"/>
                  <a:gd name="T102" fmla="*/ 202 w 251"/>
                  <a:gd name="T103" fmla="*/ 145 h 230"/>
                  <a:gd name="T104" fmla="*/ 205 w 251"/>
                  <a:gd name="T105" fmla="*/ 158 h 230"/>
                  <a:gd name="T106" fmla="*/ 214 w 251"/>
                  <a:gd name="T107" fmla="*/ 169 h 230"/>
                  <a:gd name="T108" fmla="*/ 239 w 251"/>
                  <a:gd name="T109" fmla="*/ 225 h 230"/>
                  <a:gd name="T110" fmla="*/ 248 w 251"/>
                  <a:gd name="T111" fmla="*/ 224 h 230"/>
                  <a:gd name="T112" fmla="*/ 248 w 251"/>
                  <a:gd name="T113" fmla="*/ 198 h 230"/>
                  <a:gd name="T114" fmla="*/ 235 w 251"/>
                  <a:gd name="T115" fmla="*/ 210 h 230"/>
                  <a:gd name="T116" fmla="*/ 237 w 251"/>
                  <a:gd name="T117" fmla="*/ 215 h 230"/>
                  <a:gd name="T118" fmla="*/ 237 w 251"/>
                  <a:gd name="T119" fmla="*/ 218 h 230"/>
                  <a:gd name="T120" fmla="*/ 239 w 251"/>
                  <a:gd name="T121" fmla="*/ 22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1" h="230">
                    <a:moveTo>
                      <a:pt x="60" y="126"/>
                    </a:moveTo>
                    <a:lnTo>
                      <a:pt x="59" y="125"/>
                    </a:lnTo>
                    <a:lnTo>
                      <a:pt x="60" y="125"/>
                    </a:lnTo>
                    <a:lnTo>
                      <a:pt x="61" y="126"/>
                    </a:lnTo>
                    <a:lnTo>
                      <a:pt x="63" y="128"/>
                    </a:lnTo>
                    <a:lnTo>
                      <a:pt x="63" y="129"/>
                    </a:lnTo>
                    <a:lnTo>
                      <a:pt x="60" y="126"/>
                    </a:lnTo>
                    <a:close/>
                    <a:moveTo>
                      <a:pt x="215" y="175"/>
                    </a:moveTo>
                    <a:lnTo>
                      <a:pt x="215" y="177"/>
                    </a:lnTo>
                    <a:lnTo>
                      <a:pt x="214" y="178"/>
                    </a:lnTo>
                    <a:lnTo>
                      <a:pt x="214" y="177"/>
                    </a:lnTo>
                    <a:lnTo>
                      <a:pt x="214" y="177"/>
                    </a:lnTo>
                    <a:lnTo>
                      <a:pt x="214" y="177"/>
                    </a:lnTo>
                    <a:lnTo>
                      <a:pt x="214" y="178"/>
                    </a:lnTo>
                    <a:lnTo>
                      <a:pt x="208" y="181"/>
                    </a:lnTo>
                    <a:lnTo>
                      <a:pt x="198" y="189"/>
                    </a:lnTo>
                    <a:lnTo>
                      <a:pt x="192" y="192"/>
                    </a:lnTo>
                    <a:lnTo>
                      <a:pt x="189" y="192"/>
                    </a:lnTo>
                    <a:lnTo>
                      <a:pt x="186" y="192"/>
                    </a:lnTo>
                    <a:lnTo>
                      <a:pt x="182" y="191"/>
                    </a:lnTo>
                    <a:lnTo>
                      <a:pt x="179" y="189"/>
                    </a:lnTo>
                    <a:lnTo>
                      <a:pt x="179" y="189"/>
                    </a:lnTo>
                    <a:lnTo>
                      <a:pt x="178" y="187"/>
                    </a:lnTo>
                    <a:lnTo>
                      <a:pt x="175" y="187"/>
                    </a:lnTo>
                    <a:lnTo>
                      <a:pt x="173" y="187"/>
                    </a:lnTo>
                    <a:lnTo>
                      <a:pt x="173" y="185"/>
                    </a:lnTo>
                    <a:lnTo>
                      <a:pt x="172" y="185"/>
                    </a:lnTo>
                    <a:lnTo>
                      <a:pt x="172" y="184"/>
                    </a:lnTo>
                    <a:lnTo>
                      <a:pt x="171" y="185"/>
                    </a:lnTo>
                    <a:lnTo>
                      <a:pt x="168" y="185"/>
                    </a:lnTo>
                    <a:lnTo>
                      <a:pt x="166" y="185"/>
                    </a:lnTo>
                    <a:lnTo>
                      <a:pt x="163" y="185"/>
                    </a:lnTo>
                    <a:lnTo>
                      <a:pt x="160" y="184"/>
                    </a:lnTo>
                    <a:lnTo>
                      <a:pt x="158" y="182"/>
                    </a:lnTo>
                    <a:lnTo>
                      <a:pt x="155" y="181"/>
                    </a:lnTo>
                    <a:lnTo>
                      <a:pt x="152" y="181"/>
                    </a:lnTo>
                    <a:lnTo>
                      <a:pt x="150" y="182"/>
                    </a:lnTo>
                    <a:lnTo>
                      <a:pt x="146" y="187"/>
                    </a:lnTo>
                    <a:lnTo>
                      <a:pt x="142" y="189"/>
                    </a:lnTo>
                    <a:lnTo>
                      <a:pt x="140" y="191"/>
                    </a:lnTo>
                    <a:lnTo>
                      <a:pt x="139" y="192"/>
                    </a:lnTo>
                    <a:lnTo>
                      <a:pt x="138" y="197"/>
                    </a:lnTo>
                    <a:lnTo>
                      <a:pt x="138" y="199"/>
                    </a:lnTo>
                    <a:lnTo>
                      <a:pt x="139" y="204"/>
                    </a:lnTo>
                    <a:lnTo>
                      <a:pt x="140" y="207"/>
                    </a:lnTo>
                    <a:lnTo>
                      <a:pt x="136" y="207"/>
                    </a:lnTo>
                    <a:lnTo>
                      <a:pt x="135" y="207"/>
                    </a:lnTo>
                    <a:lnTo>
                      <a:pt x="132" y="207"/>
                    </a:lnTo>
                    <a:lnTo>
                      <a:pt x="132" y="208"/>
                    </a:lnTo>
                    <a:lnTo>
                      <a:pt x="130" y="208"/>
                    </a:lnTo>
                    <a:lnTo>
                      <a:pt x="129" y="208"/>
                    </a:lnTo>
                    <a:lnTo>
                      <a:pt x="129" y="208"/>
                    </a:lnTo>
                    <a:lnTo>
                      <a:pt x="127" y="208"/>
                    </a:lnTo>
                    <a:lnTo>
                      <a:pt x="125" y="207"/>
                    </a:lnTo>
                    <a:lnTo>
                      <a:pt x="123" y="207"/>
                    </a:lnTo>
                    <a:lnTo>
                      <a:pt x="122" y="208"/>
                    </a:lnTo>
                    <a:lnTo>
                      <a:pt x="120" y="208"/>
                    </a:lnTo>
                    <a:lnTo>
                      <a:pt x="119" y="208"/>
                    </a:lnTo>
                    <a:lnTo>
                      <a:pt x="117" y="208"/>
                    </a:lnTo>
                    <a:lnTo>
                      <a:pt x="115" y="205"/>
                    </a:lnTo>
                    <a:lnTo>
                      <a:pt x="113" y="205"/>
                    </a:lnTo>
                    <a:lnTo>
                      <a:pt x="113" y="204"/>
                    </a:lnTo>
                    <a:lnTo>
                      <a:pt x="112" y="202"/>
                    </a:lnTo>
                    <a:lnTo>
                      <a:pt x="110" y="202"/>
                    </a:lnTo>
                    <a:lnTo>
                      <a:pt x="109" y="204"/>
                    </a:lnTo>
                    <a:lnTo>
                      <a:pt x="106" y="201"/>
                    </a:lnTo>
                    <a:lnTo>
                      <a:pt x="102" y="199"/>
                    </a:lnTo>
                    <a:lnTo>
                      <a:pt x="97" y="198"/>
                    </a:lnTo>
                    <a:lnTo>
                      <a:pt x="94" y="198"/>
                    </a:lnTo>
                    <a:lnTo>
                      <a:pt x="94" y="199"/>
                    </a:lnTo>
                    <a:lnTo>
                      <a:pt x="94" y="201"/>
                    </a:lnTo>
                    <a:lnTo>
                      <a:pt x="94" y="201"/>
                    </a:lnTo>
                    <a:lnTo>
                      <a:pt x="93" y="201"/>
                    </a:lnTo>
                    <a:lnTo>
                      <a:pt x="93" y="201"/>
                    </a:lnTo>
                    <a:lnTo>
                      <a:pt x="90" y="201"/>
                    </a:lnTo>
                    <a:lnTo>
                      <a:pt x="84" y="201"/>
                    </a:lnTo>
                    <a:lnTo>
                      <a:pt x="83" y="201"/>
                    </a:lnTo>
                    <a:lnTo>
                      <a:pt x="82" y="201"/>
                    </a:lnTo>
                    <a:lnTo>
                      <a:pt x="80" y="198"/>
                    </a:lnTo>
                    <a:lnTo>
                      <a:pt x="79" y="198"/>
                    </a:lnTo>
                    <a:lnTo>
                      <a:pt x="77" y="198"/>
                    </a:lnTo>
                    <a:lnTo>
                      <a:pt x="74" y="198"/>
                    </a:lnTo>
                    <a:lnTo>
                      <a:pt x="73" y="198"/>
                    </a:lnTo>
                    <a:lnTo>
                      <a:pt x="73" y="198"/>
                    </a:lnTo>
                    <a:lnTo>
                      <a:pt x="71" y="197"/>
                    </a:lnTo>
                    <a:lnTo>
                      <a:pt x="70" y="195"/>
                    </a:lnTo>
                    <a:lnTo>
                      <a:pt x="70" y="195"/>
                    </a:lnTo>
                    <a:lnTo>
                      <a:pt x="69" y="195"/>
                    </a:lnTo>
                    <a:lnTo>
                      <a:pt x="67" y="195"/>
                    </a:lnTo>
                    <a:lnTo>
                      <a:pt x="63" y="194"/>
                    </a:lnTo>
                    <a:lnTo>
                      <a:pt x="61" y="194"/>
                    </a:lnTo>
                    <a:lnTo>
                      <a:pt x="60" y="192"/>
                    </a:lnTo>
                    <a:lnTo>
                      <a:pt x="60" y="192"/>
                    </a:lnTo>
                    <a:lnTo>
                      <a:pt x="60" y="192"/>
                    </a:lnTo>
                    <a:lnTo>
                      <a:pt x="59" y="194"/>
                    </a:lnTo>
                    <a:lnTo>
                      <a:pt x="59" y="194"/>
                    </a:lnTo>
                    <a:lnTo>
                      <a:pt x="59" y="192"/>
                    </a:lnTo>
                    <a:lnTo>
                      <a:pt x="59" y="191"/>
                    </a:lnTo>
                    <a:lnTo>
                      <a:pt x="59" y="191"/>
                    </a:lnTo>
                    <a:lnTo>
                      <a:pt x="59" y="191"/>
                    </a:lnTo>
                    <a:lnTo>
                      <a:pt x="57" y="189"/>
                    </a:lnTo>
                    <a:lnTo>
                      <a:pt x="54" y="188"/>
                    </a:lnTo>
                    <a:lnTo>
                      <a:pt x="53" y="187"/>
                    </a:lnTo>
                    <a:lnTo>
                      <a:pt x="51" y="185"/>
                    </a:lnTo>
                    <a:lnTo>
                      <a:pt x="59" y="181"/>
                    </a:lnTo>
                    <a:lnTo>
                      <a:pt x="60" y="171"/>
                    </a:lnTo>
                    <a:lnTo>
                      <a:pt x="60" y="161"/>
                    </a:lnTo>
                    <a:lnTo>
                      <a:pt x="64" y="156"/>
                    </a:lnTo>
                    <a:lnTo>
                      <a:pt x="63" y="154"/>
                    </a:lnTo>
                    <a:lnTo>
                      <a:pt x="63" y="155"/>
                    </a:lnTo>
                    <a:lnTo>
                      <a:pt x="61" y="156"/>
                    </a:lnTo>
                    <a:lnTo>
                      <a:pt x="61" y="156"/>
                    </a:lnTo>
                    <a:lnTo>
                      <a:pt x="63" y="146"/>
                    </a:lnTo>
                    <a:lnTo>
                      <a:pt x="64" y="136"/>
                    </a:lnTo>
                    <a:lnTo>
                      <a:pt x="66" y="138"/>
                    </a:lnTo>
                    <a:lnTo>
                      <a:pt x="67" y="139"/>
                    </a:lnTo>
                    <a:lnTo>
                      <a:pt x="69" y="141"/>
                    </a:lnTo>
                    <a:lnTo>
                      <a:pt x="70" y="142"/>
                    </a:lnTo>
                    <a:lnTo>
                      <a:pt x="71" y="143"/>
                    </a:lnTo>
                    <a:lnTo>
                      <a:pt x="71" y="146"/>
                    </a:lnTo>
                    <a:lnTo>
                      <a:pt x="71" y="148"/>
                    </a:lnTo>
                    <a:lnTo>
                      <a:pt x="74" y="149"/>
                    </a:lnTo>
                    <a:lnTo>
                      <a:pt x="73" y="146"/>
                    </a:lnTo>
                    <a:lnTo>
                      <a:pt x="71" y="141"/>
                    </a:lnTo>
                    <a:lnTo>
                      <a:pt x="70" y="138"/>
                    </a:lnTo>
                    <a:lnTo>
                      <a:pt x="67" y="136"/>
                    </a:lnTo>
                    <a:lnTo>
                      <a:pt x="66" y="135"/>
                    </a:lnTo>
                    <a:lnTo>
                      <a:pt x="63" y="133"/>
                    </a:lnTo>
                    <a:lnTo>
                      <a:pt x="63" y="131"/>
                    </a:lnTo>
                    <a:lnTo>
                      <a:pt x="63" y="131"/>
                    </a:lnTo>
                    <a:lnTo>
                      <a:pt x="64" y="131"/>
                    </a:lnTo>
                    <a:lnTo>
                      <a:pt x="64" y="131"/>
                    </a:lnTo>
                    <a:lnTo>
                      <a:pt x="66" y="132"/>
                    </a:lnTo>
                    <a:lnTo>
                      <a:pt x="64" y="128"/>
                    </a:lnTo>
                    <a:lnTo>
                      <a:pt x="64" y="120"/>
                    </a:lnTo>
                    <a:lnTo>
                      <a:pt x="63" y="119"/>
                    </a:lnTo>
                    <a:lnTo>
                      <a:pt x="63" y="118"/>
                    </a:lnTo>
                    <a:lnTo>
                      <a:pt x="59" y="118"/>
                    </a:lnTo>
                    <a:lnTo>
                      <a:pt x="57" y="116"/>
                    </a:lnTo>
                    <a:lnTo>
                      <a:pt x="54" y="115"/>
                    </a:lnTo>
                    <a:lnTo>
                      <a:pt x="53" y="113"/>
                    </a:lnTo>
                    <a:lnTo>
                      <a:pt x="51" y="113"/>
                    </a:lnTo>
                    <a:lnTo>
                      <a:pt x="50" y="112"/>
                    </a:lnTo>
                    <a:lnTo>
                      <a:pt x="47" y="108"/>
                    </a:lnTo>
                    <a:lnTo>
                      <a:pt x="47" y="106"/>
                    </a:lnTo>
                    <a:lnTo>
                      <a:pt x="47" y="105"/>
                    </a:lnTo>
                    <a:lnTo>
                      <a:pt x="47" y="105"/>
                    </a:lnTo>
                    <a:lnTo>
                      <a:pt x="47" y="100"/>
                    </a:lnTo>
                    <a:lnTo>
                      <a:pt x="47" y="100"/>
                    </a:lnTo>
                    <a:lnTo>
                      <a:pt x="46" y="99"/>
                    </a:lnTo>
                    <a:lnTo>
                      <a:pt x="46" y="99"/>
                    </a:lnTo>
                    <a:lnTo>
                      <a:pt x="46" y="97"/>
                    </a:lnTo>
                    <a:lnTo>
                      <a:pt x="47" y="96"/>
                    </a:lnTo>
                    <a:lnTo>
                      <a:pt x="48" y="96"/>
                    </a:lnTo>
                    <a:lnTo>
                      <a:pt x="50" y="96"/>
                    </a:lnTo>
                    <a:lnTo>
                      <a:pt x="53" y="97"/>
                    </a:lnTo>
                    <a:lnTo>
                      <a:pt x="51" y="96"/>
                    </a:lnTo>
                    <a:lnTo>
                      <a:pt x="48" y="96"/>
                    </a:lnTo>
                    <a:lnTo>
                      <a:pt x="47" y="96"/>
                    </a:lnTo>
                    <a:lnTo>
                      <a:pt x="41" y="96"/>
                    </a:lnTo>
                    <a:lnTo>
                      <a:pt x="40" y="95"/>
                    </a:lnTo>
                    <a:lnTo>
                      <a:pt x="40" y="95"/>
                    </a:lnTo>
                    <a:lnTo>
                      <a:pt x="40" y="93"/>
                    </a:lnTo>
                    <a:lnTo>
                      <a:pt x="40" y="92"/>
                    </a:lnTo>
                    <a:lnTo>
                      <a:pt x="40" y="92"/>
                    </a:lnTo>
                    <a:lnTo>
                      <a:pt x="38" y="90"/>
                    </a:lnTo>
                    <a:lnTo>
                      <a:pt x="37" y="90"/>
                    </a:lnTo>
                    <a:lnTo>
                      <a:pt x="36" y="90"/>
                    </a:lnTo>
                    <a:lnTo>
                      <a:pt x="34" y="90"/>
                    </a:lnTo>
                    <a:lnTo>
                      <a:pt x="36" y="87"/>
                    </a:lnTo>
                    <a:lnTo>
                      <a:pt x="34" y="87"/>
                    </a:lnTo>
                    <a:lnTo>
                      <a:pt x="33" y="87"/>
                    </a:lnTo>
                    <a:lnTo>
                      <a:pt x="31" y="87"/>
                    </a:lnTo>
                    <a:lnTo>
                      <a:pt x="30" y="87"/>
                    </a:lnTo>
                    <a:lnTo>
                      <a:pt x="28" y="86"/>
                    </a:lnTo>
                    <a:lnTo>
                      <a:pt x="27" y="86"/>
                    </a:lnTo>
                    <a:lnTo>
                      <a:pt x="17" y="83"/>
                    </a:lnTo>
                    <a:lnTo>
                      <a:pt x="15" y="83"/>
                    </a:lnTo>
                    <a:lnTo>
                      <a:pt x="14" y="83"/>
                    </a:lnTo>
                    <a:lnTo>
                      <a:pt x="10" y="83"/>
                    </a:lnTo>
                    <a:lnTo>
                      <a:pt x="10" y="83"/>
                    </a:lnTo>
                    <a:lnTo>
                      <a:pt x="8" y="83"/>
                    </a:lnTo>
                    <a:lnTo>
                      <a:pt x="7" y="82"/>
                    </a:lnTo>
                    <a:lnTo>
                      <a:pt x="7" y="80"/>
                    </a:lnTo>
                    <a:lnTo>
                      <a:pt x="5" y="80"/>
                    </a:lnTo>
                    <a:lnTo>
                      <a:pt x="5" y="79"/>
                    </a:lnTo>
                    <a:lnTo>
                      <a:pt x="4" y="79"/>
                    </a:lnTo>
                    <a:lnTo>
                      <a:pt x="1" y="77"/>
                    </a:lnTo>
                    <a:lnTo>
                      <a:pt x="3" y="76"/>
                    </a:lnTo>
                    <a:lnTo>
                      <a:pt x="5" y="76"/>
                    </a:lnTo>
                    <a:lnTo>
                      <a:pt x="7" y="74"/>
                    </a:lnTo>
                    <a:lnTo>
                      <a:pt x="5" y="73"/>
                    </a:lnTo>
                    <a:lnTo>
                      <a:pt x="4" y="73"/>
                    </a:lnTo>
                    <a:lnTo>
                      <a:pt x="3" y="72"/>
                    </a:lnTo>
                    <a:lnTo>
                      <a:pt x="4" y="72"/>
                    </a:lnTo>
                    <a:lnTo>
                      <a:pt x="7" y="72"/>
                    </a:lnTo>
                    <a:lnTo>
                      <a:pt x="8" y="72"/>
                    </a:lnTo>
                    <a:lnTo>
                      <a:pt x="7" y="70"/>
                    </a:lnTo>
                    <a:lnTo>
                      <a:pt x="4" y="70"/>
                    </a:lnTo>
                    <a:lnTo>
                      <a:pt x="1" y="69"/>
                    </a:lnTo>
                    <a:lnTo>
                      <a:pt x="0" y="67"/>
                    </a:lnTo>
                    <a:lnTo>
                      <a:pt x="3" y="64"/>
                    </a:lnTo>
                    <a:lnTo>
                      <a:pt x="7" y="62"/>
                    </a:lnTo>
                    <a:lnTo>
                      <a:pt x="15" y="62"/>
                    </a:lnTo>
                    <a:lnTo>
                      <a:pt x="18" y="62"/>
                    </a:lnTo>
                    <a:lnTo>
                      <a:pt x="23" y="59"/>
                    </a:lnTo>
                    <a:lnTo>
                      <a:pt x="24" y="59"/>
                    </a:lnTo>
                    <a:lnTo>
                      <a:pt x="27" y="59"/>
                    </a:lnTo>
                    <a:lnTo>
                      <a:pt x="30" y="59"/>
                    </a:lnTo>
                    <a:lnTo>
                      <a:pt x="31" y="60"/>
                    </a:lnTo>
                    <a:lnTo>
                      <a:pt x="34" y="64"/>
                    </a:lnTo>
                    <a:lnTo>
                      <a:pt x="36" y="64"/>
                    </a:lnTo>
                    <a:lnTo>
                      <a:pt x="37" y="64"/>
                    </a:lnTo>
                    <a:lnTo>
                      <a:pt x="40" y="63"/>
                    </a:lnTo>
                    <a:lnTo>
                      <a:pt x="41" y="63"/>
                    </a:lnTo>
                    <a:lnTo>
                      <a:pt x="44" y="63"/>
                    </a:lnTo>
                    <a:lnTo>
                      <a:pt x="47" y="63"/>
                    </a:lnTo>
                    <a:lnTo>
                      <a:pt x="48" y="64"/>
                    </a:lnTo>
                    <a:lnTo>
                      <a:pt x="48" y="63"/>
                    </a:lnTo>
                    <a:lnTo>
                      <a:pt x="50" y="62"/>
                    </a:lnTo>
                    <a:lnTo>
                      <a:pt x="51" y="63"/>
                    </a:lnTo>
                    <a:lnTo>
                      <a:pt x="51" y="63"/>
                    </a:lnTo>
                    <a:lnTo>
                      <a:pt x="57" y="63"/>
                    </a:lnTo>
                    <a:lnTo>
                      <a:pt x="60" y="63"/>
                    </a:lnTo>
                    <a:lnTo>
                      <a:pt x="57" y="60"/>
                    </a:lnTo>
                    <a:lnTo>
                      <a:pt x="56" y="59"/>
                    </a:lnTo>
                    <a:lnTo>
                      <a:pt x="56" y="51"/>
                    </a:lnTo>
                    <a:lnTo>
                      <a:pt x="56" y="50"/>
                    </a:lnTo>
                    <a:lnTo>
                      <a:pt x="54" y="47"/>
                    </a:lnTo>
                    <a:lnTo>
                      <a:pt x="51" y="40"/>
                    </a:lnTo>
                    <a:lnTo>
                      <a:pt x="50" y="39"/>
                    </a:lnTo>
                    <a:lnTo>
                      <a:pt x="51" y="37"/>
                    </a:lnTo>
                    <a:lnTo>
                      <a:pt x="53" y="36"/>
                    </a:lnTo>
                    <a:lnTo>
                      <a:pt x="60" y="36"/>
                    </a:lnTo>
                    <a:lnTo>
                      <a:pt x="61" y="37"/>
                    </a:lnTo>
                    <a:lnTo>
                      <a:pt x="63" y="43"/>
                    </a:lnTo>
                    <a:lnTo>
                      <a:pt x="63" y="44"/>
                    </a:lnTo>
                    <a:lnTo>
                      <a:pt x="66" y="44"/>
                    </a:lnTo>
                    <a:lnTo>
                      <a:pt x="74" y="44"/>
                    </a:lnTo>
                    <a:lnTo>
                      <a:pt x="79" y="46"/>
                    </a:lnTo>
                    <a:lnTo>
                      <a:pt x="82" y="46"/>
                    </a:lnTo>
                    <a:lnTo>
                      <a:pt x="83" y="46"/>
                    </a:lnTo>
                    <a:lnTo>
                      <a:pt x="84" y="44"/>
                    </a:lnTo>
                    <a:lnTo>
                      <a:pt x="90" y="43"/>
                    </a:lnTo>
                    <a:lnTo>
                      <a:pt x="92" y="41"/>
                    </a:lnTo>
                    <a:lnTo>
                      <a:pt x="89" y="43"/>
                    </a:lnTo>
                    <a:lnTo>
                      <a:pt x="87" y="41"/>
                    </a:lnTo>
                    <a:lnTo>
                      <a:pt x="86" y="40"/>
                    </a:lnTo>
                    <a:lnTo>
                      <a:pt x="86" y="39"/>
                    </a:lnTo>
                    <a:lnTo>
                      <a:pt x="87" y="36"/>
                    </a:lnTo>
                    <a:lnTo>
                      <a:pt x="89" y="34"/>
                    </a:lnTo>
                    <a:lnTo>
                      <a:pt x="92" y="33"/>
                    </a:lnTo>
                    <a:lnTo>
                      <a:pt x="94" y="31"/>
                    </a:lnTo>
                    <a:lnTo>
                      <a:pt x="103" y="30"/>
                    </a:lnTo>
                    <a:lnTo>
                      <a:pt x="107" y="27"/>
                    </a:lnTo>
                    <a:lnTo>
                      <a:pt x="110" y="23"/>
                    </a:lnTo>
                    <a:lnTo>
                      <a:pt x="110" y="21"/>
                    </a:lnTo>
                    <a:lnTo>
                      <a:pt x="110" y="21"/>
                    </a:lnTo>
                    <a:lnTo>
                      <a:pt x="112" y="10"/>
                    </a:lnTo>
                    <a:lnTo>
                      <a:pt x="112" y="7"/>
                    </a:lnTo>
                    <a:lnTo>
                      <a:pt x="115" y="4"/>
                    </a:lnTo>
                    <a:lnTo>
                      <a:pt x="119" y="1"/>
                    </a:lnTo>
                    <a:lnTo>
                      <a:pt x="123" y="1"/>
                    </a:lnTo>
                    <a:lnTo>
                      <a:pt x="127" y="0"/>
                    </a:lnTo>
                    <a:lnTo>
                      <a:pt x="129" y="1"/>
                    </a:lnTo>
                    <a:lnTo>
                      <a:pt x="129" y="3"/>
                    </a:lnTo>
                    <a:lnTo>
                      <a:pt x="129" y="5"/>
                    </a:lnTo>
                    <a:lnTo>
                      <a:pt x="130" y="7"/>
                    </a:lnTo>
                    <a:lnTo>
                      <a:pt x="133" y="8"/>
                    </a:lnTo>
                    <a:lnTo>
                      <a:pt x="135" y="8"/>
                    </a:lnTo>
                    <a:lnTo>
                      <a:pt x="136" y="8"/>
                    </a:lnTo>
                    <a:lnTo>
                      <a:pt x="139" y="8"/>
                    </a:lnTo>
                    <a:lnTo>
                      <a:pt x="140" y="10"/>
                    </a:lnTo>
                    <a:lnTo>
                      <a:pt x="140" y="13"/>
                    </a:lnTo>
                    <a:lnTo>
                      <a:pt x="142" y="16"/>
                    </a:lnTo>
                    <a:lnTo>
                      <a:pt x="143" y="16"/>
                    </a:lnTo>
                    <a:lnTo>
                      <a:pt x="146" y="16"/>
                    </a:lnTo>
                    <a:lnTo>
                      <a:pt x="148" y="16"/>
                    </a:lnTo>
                    <a:lnTo>
                      <a:pt x="148" y="17"/>
                    </a:lnTo>
                    <a:lnTo>
                      <a:pt x="148" y="20"/>
                    </a:lnTo>
                    <a:lnTo>
                      <a:pt x="149" y="20"/>
                    </a:lnTo>
                    <a:lnTo>
                      <a:pt x="149" y="20"/>
                    </a:lnTo>
                    <a:lnTo>
                      <a:pt x="150" y="20"/>
                    </a:lnTo>
                    <a:lnTo>
                      <a:pt x="153" y="20"/>
                    </a:lnTo>
                    <a:lnTo>
                      <a:pt x="155" y="20"/>
                    </a:lnTo>
                    <a:lnTo>
                      <a:pt x="156" y="21"/>
                    </a:lnTo>
                    <a:lnTo>
                      <a:pt x="156" y="23"/>
                    </a:lnTo>
                    <a:lnTo>
                      <a:pt x="156" y="24"/>
                    </a:lnTo>
                    <a:lnTo>
                      <a:pt x="158" y="26"/>
                    </a:lnTo>
                    <a:lnTo>
                      <a:pt x="156" y="28"/>
                    </a:lnTo>
                    <a:lnTo>
                      <a:pt x="156" y="28"/>
                    </a:lnTo>
                    <a:lnTo>
                      <a:pt x="158" y="30"/>
                    </a:lnTo>
                    <a:lnTo>
                      <a:pt x="160" y="30"/>
                    </a:lnTo>
                    <a:lnTo>
                      <a:pt x="163" y="30"/>
                    </a:lnTo>
                    <a:lnTo>
                      <a:pt x="168" y="24"/>
                    </a:lnTo>
                    <a:lnTo>
                      <a:pt x="169" y="26"/>
                    </a:lnTo>
                    <a:lnTo>
                      <a:pt x="168" y="27"/>
                    </a:lnTo>
                    <a:lnTo>
                      <a:pt x="168" y="28"/>
                    </a:lnTo>
                    <a:lnTo>
                      <a:pt x="169" y="33"/>
                    </a:lnTo>
                    <a:lnTo>
                      <a:pt x="169" y="33"/>
                    </a:lnTo>
                    <a:lnTo>
                      <a:pt x="169" y="34"/>
                    </a:lnTo>
                    <a:lnTo>
                      <a:pt x="171" y="34"/>
                    </a:lnTo>
                    <a:lnTo>
                      <a:pt x="172" y="34"/>
                    </a:lnTo>
                    <a:lnTo>
                      <a:pt x="175" y="36"/>
                    </a:lnTo>
                    <a:lnTo>
                      <a:pt x="179" y="40"/>
                    </a:lnTo>
                    <a:lnTo>
                      <a:pt x="181" y="40"/>
                    </a:lnTo>
                    <a:lnTo>
                      <a:pt x="185" y="40"/>
                    </a:lnTo>
                    <a:lnTo>
                      <a:pt x="186" y="41"/>
                    </a:lnTo>
                    <a:lnTo>
                      <a:pt x="188" y="41"/>
                    </a:lnTo>
                    <a:lnTo>
                      <a:pt x="189" y="43"/>
                    </a:lnTo>
                    <a:lnTo>
                      <a:pt x="189" y="43"/>
                    </a:lnTo>
                    <a:lnTo>
                      <a:pt x="191" y="43"/>
                    </a:lnTo>
                    <a:lnTo>
                      <a:pt x="192" y="41"/>
                    </a:lnTo>
                    <a:lnTo>
                      <a:pt x="194" y="41"/>
                    </a:lnTo>
                    <a:lnTo>
                      <a:pt x="195" y="43"/>
                    </a:lnTo>
                    <a:lnTo>
                      <a:pt x="196" y="43"/>
                    </a:lnTo>
                    <a:lnTo>
                      <a:pt x="198" y="44"/>
                    </a:lnTo>
                    <a:lnTo>
                      <a:pt x="201" y="47"/>
                    </a:lnTo>
                    <a:lnTo>
                      <a:pt x="202" y="49"/>
                    </a:lnTo>
                    <a:lnTo>
                      <a:pt x="202" y="50"/>
                    </a:lnTo>
                    <a:lnTo>
                      <a:pt x="204" y="49"/>
                    </a:lnTo>
                    <a:lnTo>
                      <a:pt x="206" y="49"/>
                    </a:lnTo>
                    <a:lnTo>
                      <a:pt x="206" y="49"/>
                    </a:lnTo>
                    <a:lnTo>
                      <a:pt x="206" y="50"/>
                    </a:lnTo>
                    <a:lnTo>
                      <a:pt x="206" y="50"/>
                    </a:lnTo>
                    <a:lnTo>
                      <a:pt x="208" y="51"/>
                    </a:lnTo>
                    <a:lnTo>
                      <a:pt x="209" y="51"/>
                    </a:lnTo>
                    <a:lnTo>
                      <a:pt x="211" y="50"/>
                    </a:lnTo>
                    <a:lnTo>
                      <a:pt x="212" y="50"/>
                    </a:lnTo>
                    <a:lnTo>
                      <a:pt x="212" y="50"/>
                    </a:lnTo>
                    <a:lnTo>
                      <a:pt x="214" y="50"/>
                    </a:lnTo>
                    <a:lnTo>
                      <a:pt x="214" y="50"/>
                    </a:lnTo>
                    <a:lnTo>
                      <a:pt x="215" y="50"/>
                    </a:lnTo>
                    <a:lnTo>
                      <a:pt x="215" y="51"/>
                    </a:lnTo>
                    <a:lnTo>
                      <a:pt x="217" y="51"/>
                    </a:lnTo>
                    <a:lnTo>
                      <a:pt x="224" y="53"/>
                    </a:lnTo>
                    <a:lnTo>
                      <a:pt x="225" y="54"/>
                    </a:lnTo>
                    <a:lnTo>
                      <a:pt x="227" y="56"/>
                    </a:lnTo>
                    <a:lnTo>
                      <a:pt x="225" y="59"/>
                    </a:lnTo>
                    <a:lnTo>
                      <a:pt x="225" y="60"/>
                    </a:lnTo>
                    <a:lnTo>
                      <a:pt x="222" y="62"/>
                    </a:lnTo>
                    <a:lnTo>
                      <a:pt x="221" y="63"/>
                    </a:lnTo>
                    <a:lnTo>
                      <a:pt x="221" y="64"/>
                    </a:lnTo>
                    <a:lnTo>
                      <a:pt x="219" y="69"/>
                    </a:lnTo>
                    <a:lnTo>
                      <a:pt x="217" y="79"/>
                    </a:lnTo>
                    <a:lnTo>
                      <a:pt x="215" y="85"/>
                    </a:lnTo>
                    <a:lnTo>
                      <a:pt x="218" y="89"/>
                    </a:lnTo>
                    <a:lnTo>
                      <a:pt x="217" y="89"/>
                    </a:lnTo>
                    <a:lnTo>
                      <a:pt x="215" y="92"/>
                    </a:lnTo>
                    <a:lnTo>
                      <a:pt x="214" y="92"/>
                    </a:lnTo>
                    <a:lnTo>
                      <a:pt x="212" y="92"/>
                    </a:lnTo>
                    <a:lnTo>
                      <a:pt x="211" y="92"/>
                    </a:lnTo>
                    <a:lnTo>
                      <a:pt x="211" y="92"/>
                    </a:lnTo>
                    <a:lnTo>
                      <a:pt x="209" y="92"/>
                    </a:lnTo>
                    <a:lnTo>
                      <a:pt x="206" y="92"/>
                    </a:lnTo>
                    <a:lnTo>
                      <a:pt x="206" y="92"/>
                    </a:lnTo>
                    <a:lnTo>
                      <a:pt x="205" y="93"/>
                    </a:lnTo>
                    <a:lnTo>
                      <a:pt x="205" y="93"/>
                    </a:lnTo>
                    <a:lnTo>
                      <a:pt x="205" y="93"/>
                    </a:lnTo>
                    <a:lnTo>
                      <a:pt x="206" y="95"/>
                    </a:lnTo>
                    <a:lnTo>
                      <a:pt x="206" y="95"/>
                    </a:lnTo>
                    <a:lnTo>
                      <a:pt x="205" y="97"/>
                    </a:lnTo>
                    <a:lnTo>
                      <a:pt x="204" y="99"/>
                    </a:lnTo>
                    <a:lnTo>
                      <a:pt x="199" y="102"/>
                    </a:lnTo>
                    <a:lnTo>
                      <a:pt x="199" y="103"/>
                    </a:lnTo>
                    <a:lnTo>
                      <a:pt x="198" y="103"/>
                    </a:lnTo>
                    <a:lnTo>
                      <a:pt x="196" y="105"/>
                    </a:lnTo>
                    <a:lnTo>
                      <a:pt x="196" y="105"/>
                    </a:lnTo>
                    <a:lnTo>
                      <a:pt x="196" y="108"/>
                    </a:lnTo>
                    <a:lnTo>
                      <a:pt x="196" y="108"/>
                    </a:lnTo>
                    <a:lnTo>
                      <a:pt x="195" y="109"/>
                    </a:lnTo>
                    <a:lnTo>
                      <a:pt x="192" y="110"/>
                    </a:lnTo>
                    <a:lnTo>
                      <a:pt x="191" y="112"/>
                    </a:lnTo>
                    <a:lnTo>
                      <a:pt x="191" y="115"/>
                    </a:lnTo>
                    <a:lnTo>
                      <a:pt x="191" y="115"/>
                    </a:lnTo>
                    <a:lnTo>
                      <a:pt x="191" y="115"/>
                    </a:lnTo>
                    <a:lnTo>
                      <a:pt x="191" y="116"/>
                    </a:lnTo>
                    <a:lnTo>
                      <a:pt x="191" y="116"/>
                    </a:lnTo>
                    <a:lnTo>
                      <a:pt x="191" y="116"/>
                    </a:lnTo>
                    <a:lnTo>
                      <a:pt x="191" y="118"/>
                    </a:lnTo>
                    <a:lnTo>
                      <a:pt x="189" y="120"/>
                    </a:lnTo>
                    <a:lnTo>
                      <a:pt x="188" y="120"/>
                    </a:lnTo>
                    <a:lnTo>
                      <a:pt x="189" y="122"/>
                    </a:lnTo>
                    <a:lnTo>
                      <a:pt x="189" y="122"/>
                    </a:lnTo>
                    <a:lnTo>
                      <a:pt x="189" y="122"/>
                    </a:lnTo>
                    <a:lnTo>
                      <a:pt x="191" y="122"/>
                    </a:lnTo>
                    <a:lnTo>
                      <a:pt x="192" y="120"/>
                    </a:lnTo>
                    <a:lnTo>
                      <a:pt x="194" y="120"/>
                    </a:lnTo>
                    <a:lnTo>
                      <a:pt x="194" y="119"/>
                    </a:lnTo>
                    <a:lnTo>
                      <a:pt x="194" y="118"/>
                    </a:lnTo>
                    <a:lnTo>
                      <a:pt x="195" y="116"/>
                    </a:lnTo>
                    <a:lnTo>
                      <a:pt x="196" y="116"/>
                    </a:lnTo>
                    <a:lnTo>
                      <a:pt x="198" y="115"/>
                    </a:lnTo>
                    <a:lnTo>
                      <a:pt x="199" y="115"/>
                    </a:lnTo>
                    <a:lnTo>
                      <a:pt x="202" y="116"/>
                    </a:lnTo>
                    <a:lnTo>
                      <a:pt x="202" y="116"/>
                    </a:lnTo>
                    <a:lnTo>
                      <a:pt x="202" y="118"/>
                    </a:lnTo>
                    <a:lnTo>
                      <a:pt x="204" y="120"/>
                    </a:lnTo>
                    <a:lnTo>
                      <a:pt x="204" y="120"/>
                    </a:lnTo>
                    <a:lnTo>
                      <a:pt x="204" y="122"/>
                    </a:lnTo>
                    <a:lnTo>
                      <a:pt x="204" y="123"/>
                    </a:lnTo>
                    <a:lnTo>
                      <a:pt x="205" y="125"/>
                    </a:lnTo>
                    <a:lnTo>
                      <a:pt x="206" y="126"/>
                    </a:lnTo>
                    <a:lnTo>
                      <a:pt x="206" y="128"/>
                    </a:lnTo>
                    <a:lnTo>
                      <a:pt x="204" y="131"/>
                    </a:lnTo>
                    <a:lnTo>
                      <a:pt x="204" y="131"/>
                    </a:lnTo>
                    <a:lnTo>
                      <a:pt x="205" y="133"/>
                    </a:lnTo>
                    <a:lnTo>
                      <a:pt x="208" y="138"/>
                    </a:lnTo>
                    <a:lnTo>
                      <a:pt x="209" y="141"/>
                    </a:lnTo>
                    <a:lnTo>
                      <a:pt x="208" y="142"/>
                    </a:lnTo>
                    <a:lnTo>
                      <a:pt x="208" y="143"/>
                    </a:lnTo>
                    <a:lnTo>
                      <a:pt x="206" y="143"/>
                    </a:lnTo>
                    <a:lnTo>
                      <a:pt x="205" y="145"/>
                    </a:lnTo>
                    <a:lnTo>
                      <a:pt x="205" y="145"/>
                    </a:lnTo>
                    <a:lnTo>
                      <a:pt x="204" y="145"/>
                    </a:lnTo>
                    <a:lnTo>
                      <a:pt x="202" y="145"/>
                    </a:lnTo>
                    <a:lnTo>
                      <a:pt x="201" y="145"/>
                    </a:lnTo>
                    <a:lnTo>
                      <a:pt x="201" y="146"/>
                    </a:lnTo>
                    <a:lnTo>
                      <a:pt x="201" y="148"/>
                    </a:lnTo>
                    <a:lnTo>
                      <a:pt x="202" y="149"/>
                    </a:lnTo>
                    <a:lnTo>
                      <a:pt x="205" y="152"/>
                    </a:lnTo>
                    <a:lnTo>
                      <a:pt x="206" y="154"/>
                    </a:lnTo>
                    <a:lnTo>
                      <a:pt x="206" y="156"/>
                    </a:lnTo>
                    <a:lnTo>
                      <a:pt x="205" y="158"/>
                    </a:lnTo>
                    <a:lnTo>
                      <a:pt x="204" y="159"/>
                    </a:lnTo>
                    <a:lnTo>
                      <a:pt x="204" y="161"/>
                    </a:lnTo>
                    <a:lnTo>
                      <a:pt x="205" y="164"/>
                    </a:lnTo>
                    <a:lnTo>
                      <a:pt x="206" y="165"/>
                    </a:lnTo>
                    <a:lnTo>
                      <a:pt x="208" y="166"/>
                    </a:lnTo>
                    <a:lnTo>
                      <a:pt x="211" y="168"/>
                    </a:lnTo>
                    <a:lnTo>
                      <a:pt x="212" y="168"/>
                    </a:lnTo>
                    <a:lnTo>
                      <a:pt x="214" y="169"/>
                    </a:lnTo>
                    <a:lnTo>
                      <a:pt x="215" y="168"/>
                    </a:lnTo>
                    <a:lnTo>
                      <a:pt x="217" y="168"/>
                    </a:lnTo>
                    <a:lnTo>
                      <a:pt x="218" y="168"/>
                    </a:lnTo>
                    <a:lnTo>
                      <a:pt x="218" y="169"/>
                    </a:lnTo>
                    <a:lnTo>
                      <a:pt x="218" y="171"/>
                    </a:lnTo>
                    <a:lnTo>
                      <a:pt x="215" y="175"/>
                    </a:lnTo>
                    <a:close/>
                    <a:moveTo>
                      <a:pt x="239" y="224"/>
                    </a:moveTo>
                    <a:lnTo>
                      <a:pt x="239" y="225"/>
                    </a:lnTo>
                    <a:lnTo>
                      <a:pt x="238" y="225"/>
                    </a:lnTo>
                    <a:lnTo>
                      <a:pt x="238" y="225"/>
                    </a:lnTo>
                    <a:lnTo>
                      <a:pt x="239" y="227"/>
                    </a:lnTo>
                    <a:lnTo>
                      <a:pt x="244" y="228"/>
                    </a:lnTo>
                    <a:lnTo>
                      <a:pt x="245" y="230"/>
                    </a:lnTo>
                    <a:lnTo>
                      <a:pt x="245" y="228"/>
                    </a:lnTo>
                    <a:lnTo>
                      <a:pt x="247" y="227"/>
                    </a:lnTo>
                    <a:lnTo>
                      <a:pt x="248" y="224"/>
                    </a:lnTo>
                    <a:lnTo>
                      <a:pt x="248" y="218"/>
                    </a:lnTo>
                    <a:lnTo>
                      <a:pt x="250" y="217"/>
                    </a:lnTo>
                    <a:lnTo>
                      <a:pt x="251" y="214"/>
                    </a:lnTo>
                    <a:lnTo>
                      <a:pt x="251" y="212"/>
                    </a:lnTo>
                    <a:lnTo>
                      <a:pt x="250" y="197"/>
                    </a:lnTo>
                    <a:lnTo>
                      <a:pt x="250" y="194"/>
                    </a:lnTo>
                    <a:lnTo>
                      <a:pt x="248" y="195"/>
                    </a:lnTo>
                    <a:lnTo>
                      <a:pt x="248" y="198"/>
                    </a:lnTo>
                    <a:lnTo>
                      <a:pt x="247" y="199"/>
                    </a:lnTo>
                    <a:lnTo>
                      <a:pt x="247" y="201"/>
                    </a:lnTo>
                    <a:lnTo>
                      <a:pt x="244" y="201"/>
                    </a:lnTo>
                    <a:lnTo>
                      <a:pt x="241" y="202"/>
                    </a:lnTo>
                    <a:lnTo>
                      <a:pt x="238" y="204"/>
                    </a:lnTo>
                    <a:lnTo>
                      <a:pt x="234" y="208"/>
                    </a:lnTo>
                    <a:lnTo>
                      <a:pt x="235" y="208"/>
                    </a:lnTo>
                    <a:lnTo>
                      <a:pt x="235" y="210"/>
                    </a:lnTo>
                    <a:lnTo>
                      <a:pt x="235" y="210"/>
                    </a:lnTo>
                    <a:lnTo>
                      <a:pt x="237" y="210"/>
                    </a:lnTo>
                    <a:lnTo>
                      <a:pt x="234" y="211"/>
                    </a:lnTo>
                    <a:lnTo>
                      <a:pt x="235" y="212"/>
                    </a:lnTo>
                    <a:lnTo>
                      <a:pt x="235" y="212"/>
                    </a:lnTo>
                    <a:lnTo>
                      <a:pt x="235" y="214"/>
                    </a:lnTo>
                    <a:lnTo>
                      <a:pt x="235" y="214"/>
                    </a:lnTo>
                    <a:lnTo>
                      <a:pt x="237" y="215"/>
                    </a:lnTo>
                    <a:lnTo>
                      <a:pt x="237" y="215"/>
                    </a:lnTo>
                    <a:lnTo>
                      <a:pt x="237" y="215"/>
                    </a:lnTo>
                    <a:lnTo>
                      <a:pt x="237" y="217"/>
                    </a:lnTo>
                    <a:lnTo>
                      <a:pt x="235" y="217"/>
                    </a:lnTo>
                    <a:lnTo>
                      <a:pt x="235" y="218"/>
                    </a:lnTo>
                    <a:lnTo>
                      <a:pt x="235" y="218"/>
                    </a:lnTo>
                    <a:lnTo>
                      <a:pt x="237" y="218"/>
                    </a:lnTo>
                    <a:lnTo>
                      <a:pt x="237" y="218"/>
                    </a:lnTo>
                    <a:lnTo>
                      <a:pt x="237" y="218"/>
                    </a:lnTo>
                    <a:lnTo>
                      <a:pt x="237" y="218"/>
                    </a:lnTo>
                    <a:lnTo>
                      <a:pt x="237" y="220"/>
                    </a:lnTo>
                    <a:lnTo>
                      <a:pt x="237" y="221"/>
                    </a:lnTo>
                    <a:lnTo>
                      <a:pt x="238" y="222"/>
                    </a:lnTo>
                    <a:lnTo>
                      <a:pt x="238" y="222"/>
                    </a:lnTo>
                    <a:lnTo>
                      <a:pt x="238" y="222"/>
                    </a:lnTo>
                    <a:lnTo>
                      <a:pt x="239" y="222"/>
                    </a:lnTo>
                    <a:lnTo>
                      <a:pt x="239" y="224"/>
                    </a:lnTo>
                    <a:lnTo>
                      <a:pt x="239" y="224"/>
                    </a:lnTo>
                    <a:lnTo>
                      <a:pt x="239" y="22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87" name="Freeform 93">
                <a:extLst>
                  <a:ext uri="{FF2B5EF4-FFF2-40B4-BE49-F238E27FC236}">
                    <a16:creationId xmlns:a16="http://schemas.microsoft.com/office/drawing/2014/main" id="{CE53505E-268C-BD47-86E8-4A37B3C2151E}"/>
                  </a:ext>
                </a:extLst>
              </p:cNvPr>
              <p:cNvSpPr>
                <a:spLocks noEditPoints="1"/>
              </p:cNvSpPr>
              <p:nvPr/>
            </p:nvSpPr>
            <p:spPr bwMode="auto">
              <a:xfrm>
                <a:off x="3797" y="2046"/>
                <a:ext cx="6" cy="5"/>
              </a:xfrm>
              <a:custGeom>
                <a:avLst/>
                <a:gdLst>
                  <a:gd name="T0" fmla="*/ 3 w 6"/>
                  <a:gd name="T1" fmla="*/ 3 h 5"/>
                  <a:gd name="T2" fmla="*/ 6 w 6"/>
                  <a:gd name="T3" fmla="*/ 3 h 5"/>
                  <a:gd name="T4" fmla="*/ 6 w 6"/>
                  <a:gd name="T5" fmla="*/ 5 h 5"/>
                  <a:gd name="T6" fmla="*/ 4 w 6"/>
                  <a:gd name="T7" fmla="*/ 5 h 5"/>
                  <a:gd name="T8" fmla="*/ 3 w 6"/>
                  <a:gd name="T9" fmla="*/ 3 h 5"/>
                  <a:gd name="T10" fmla="*/ 0 w 6"/>
                  <a:gd name="T11" fmla="*/ 0 h 5"/>
                  <a:gd name="T12" fmla="*/ 1 w 6"/>
                  <a:gd name="T13" fmla="*/ 2 h 5"/>
                  <a:gd name="T14" fmla="*/ 1 w 6"/>
                  <a:gd name="T15" fmla="*/ 2 h 5"/>
                  <a:gd name="T16" fmla="*/ 3 w 6"/>
                  <a:gd name="T17" fmla="*/ 2 h 5"/>
                  <a:gd name="T18" fmla="*/ 1 w 6"/>
                  <a:gd name="T19" fmla="*/ 0 h 5"/>
                  <a:gd name="T20" fmla="*/ 1 w 6"/>
                  <a:gd name="T21" fmla="*/ 0 h 5"/>
                  <a:gd name="T22" fmla="*/ 0 w 6"/>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3" y="3"/>
                    </a:moveTo>
                    <a:lnTo>
                      <a:pt x="6" y="3"/>
                    </a:lnTo>
                    <a:lnTo>
                      <a:pt x="6" y="5"/>
                    </a:lnTo>
                    <a:lnTo>
                      <a:pt x="4" y="5"/>
                    </a:lnTo>
                    <a:lnTo>
                      <a:pt x="3" y="3"/>
                    </a:lnTo>
                    <a:close/>
                    <a:moveTo>
                      <a:pt x="0" y="0"/>
                    </a:moveTo>
                    <a:lnTo>
                      <a:pt x="1" y="2"/>
                    </a:lnTo>
                    <a:lnTo>
                      <a:pt x="1" y="2"/>
                    </a:lnTo>
                    <a:lnTo>
                      <a:pt x="3" y="2"/>
                    </a:lnTo>
                    <a:lnTo>
                      <a:pt x="1" y="0"/>
                    </a:lnTo>
                    <a:lnTo>
                      <a:pt x="1" y="0"/>
                    </a:lnTo>
                    <a:lnTo>
                      <a:pt x="0"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88" name="Freeform 94">
                <a:extLst>
                  <a:ext uri="{FF2B5EF4-FFF2-40B4-BE49-F238E27FC236}">
                    <a16:creationId xmlns:a16="http://schemas.microsoft.com/office/drawing/2014/main" id="{24779348-D393-F622-555A-830A97D1D025}"/>
                  </a:ext>
                </a:extLst>
              </p:cNvPr>
              <p:cNvSpPr>
                <a:spLocks noEditPoints="1"/>
              </p:cNvSpPr>
              <p:nvPr/>
            </p:nvSpPr>
            <p:spPr bwMode="auto">
              <a:xfrm>
                <a:off x="3893" y="1927"/>
                <a:ext cx="151" cy="142"/>
              </a:xfrm>
              <a:custGeom>
                <a:avLst/>
                <a:gdLst>
                  <a:gd name="T0" fmla="*/ 119 w 151"/>
                  <a:gd name="T1" fmla="*/ 53 h 142"/>
                  <a:gd name="T2" fmla="*/ 114 w 151"/>
                  <a:gd name="T3" fmla="*/ 58 h 142"/>
                  <a:gd name="T4" fmla="*/ 122 w 151"/>
                  <a:gd name="T5" fmla="*/ 58 h 142"/>
                  <a:gd name="T6" fmla="*/ 112 w 151"/>
                  <a:gd name="T7" fmla="*/ 78 h 142"/>
                  <a:gd name="T8" fmla="*/ 111 w 151"/>
                  <a:gd name="T9" fmla="*/ 76 h 142"/>
                  <a:gd name="T10" fmla="*/ 101 w 151"/>
                  <a:gd name="T11" fmla="*/ 39 h 142"/>
                  <a:gd name="T12" fmla="*/ 105 w 151"/>
                  <a:gd name="T13" fmla="*/ 30 h 142"/>
                  <a:gd name="T14" fmla="*/ 101 w 151"/>
                  <a:gd name="T15" fmla="*/ 92 h 142"/>
                  <a:gd name="T16" fmla="*/ 92 w 151"/>
                  <a:gd name="T17" fmla="*/ 92 h 142"/>
                  <a:gd name="T18" fmla="*/ 89 w 151"/>
                  <a:gd name="T19" fmla="*/ 81 h 142"/>
                  <a:gd name="T20" fmla="*/ 57 w 151"/>
                  <a:gd name="T21" fmla="*/ 115 h 142"/>
                  <a:gd name="T22" fmla="*/ 151 w 151"/>
                  <a:gd name="T23" fmla="*/ 115 h 142"/>
                  <a:gd name="T24" fmla="*/ 129 w 151"/>
                  <a:gd name="T25" fmla="*/ 99 h 142"/>
                  <a:gd name="T26" fmla="*/ 145 w 151"/>
                  <a:gd name="T27" fmla="*/ 109 h 142"/>
                  <a:gd name="T28" fmla="*/ 83 w 151"/>
                  <a:gd name="T29" fmla="*/ 134 h 142"/>
                  <a:gd name="T30" fmla="*/ 108 w 151"/>
                  <a:gd name="T31" fmla="*/ 138 h 142"/>
                  <a:gd name="T32" fmla="*/ 88 w 151"/>
                  <a:gd name="T33" fmla="*/ 139 h 142"/>
                  <a:gd name="T34" fmla="*/ 70 w 151"/>
                  <a:gd name="T35" fmla="*/ 131 h 142"/>
                  <a:gd name="T36" fmla="*/ 109 w 151"/>
                  <a:gd name="T37" fmla="*/ 105 h 142"/>
                  <a:gd name="T38" fmla="*/ 116 w 151"/>
                  <a:gd name="T39" fmla="*/ 109 h 142"/>
                  <a:gd name="T40" fmla="*/ 103 w 151"/>
                  <a:gd name="T41" fmla="*/ 98 h 142"/>
                  <a:gd name="T42" fmla="*/ 132 w 151"/>
                  <a:gd name="T43" fmla="*/ 129 h 142"/>
                  <a:gd name="T44" fmla="*/ 102 w 151"/>
                  <a:gd name="T45" fmla="*/ 112 h 142"/>
                  <a:gd name="T46" fmla="*/ 99 w 151"/>
                  <a:gd name="T47" fmla="*/ 106 h 142"/>
                  <a:gd name="T48" fmla="*/ 85 w 151"/>
                  <a:gd name="T49" fmla="*/ 19 h 142"/>
                  <a:gd name="T50" fmla="*/ 73 w 151"/>
                  <a:gd name="T51" fmla="*/ 24 h 142"/>
                  <a:gd name="T52" fmla="*/ 82 w 151"/>
                  <a:gd name="T53" fmla="*/ 33 h 142"/>
                  <a:gd name="T54" fmla="*/ 66 w 151"/>
                  <a:gd name="T55" fmla="*/ 35 h 142"/>
                  <a:gd name="T56" fmla="*/ 52 w 151"/>
                  <a:gd name="T57" fmla="*/ 30 h 142"/>
                  <a:gd name="T58" fmla="*/ 62 w 151"/>
                  <a:gd name="T59" fmla="*/ 55 h 142"/>
                  <a:gd name="T60" fmla="*/ 52 w 151"/>
                  <a:gd name="T61" fmla="*/ 63 h 142"/>
                  <a:gd name="T62" fmla="*/ 78 w 151"/>
                  <a:gd name="T63" fmla="*/ 86 h 142"/>
                  <a:gd name="T64" fmla="*/ 63 w 151"/>
                  <a:gd name="T65" fmla="*/ 89 h 142"/>
                  <a:gd name="T66" fmla="*/ 56 w 151"/>
                  <a:gd name="T67" fmla="*/ 89 h 142"/>
                  <a:gd name="T68" fmla="*/ 50 w 151"/>
                  <a:gd name="T69" fmla="*/ 112 h 142"/>
                  <a:gd name="T70" fmla="*/ 36 w 151"/>
                  <a:gd name="T71" fmla="*/ 102 h 142"/>
                  <a:gd name="T72" fmla="*/ 29 w 151"/>
                  <a:gd name="T73" fmla="*/ 81 h 142"/>
                  <a:gd name="T74" fmla="*/ 57 w 151"/>
                  <a:gd name="T75" fmla="*/ 82 h 142"/>
                  <a:gd name="T76" fmla="*/ 40 w 151"/>
                  <a:gd name="T77" fmla="*/ 73 h 142"/>
                  <a:gd name="T78" fmla="*/ 20 w 151"/>
                  <a:gd name="T79" fmla="*/ 62 h 142"/>
                  <a:gd name="T80" fmla="*/ 12 w 151"/>
                  <a:gd name="T81" fmla="*/ 53 h 142"/>
                  <a:gd name="T82" fmla="*/ 13 w 151"/>
                  <a:gd name="T83" fmla="*/ 39 h 142"/>
                  <a:gd name="T84" fmla="*/ 24 w 151"/>
                  <a:gd name="T85" fmla="*/ 26 h 142"/>
                  <a:gd name="T86" fmla="*/ 55 w 151"/>
                  <a:gd name="T87" fmla="*/ 12 h 142"/>
                  <a:gd name="T88" fmla="*/ 86 w 151"/>
                  <a:gd name="T89" fmla="*/ 6 h 142"/>
                  <a:gd name="T90" fmla="*/ 114 w 151"/>
                  <a:gd name="T91" fmla="*/ 9 h 142"/>
                  <a:gd name="T92" fmla="*/ 122 w 151"/>
                  <a:gd name="T93" fmla="*/ 9 h 142"/>
                  <a:gd name="T94" fmla="*/ 86 w 151"/>
                  <a:gd name="T95" fmla="*/ 65 h 142"/>
                  <a:gd name="T96" fmla="*/ 85 w 151"/>
                  <a:gd name="T97" fmla="*/ 96 h 142"/>
                  <a:gd name="T98" fmla="*/ 85 w 151"/>
                  <a:gd name="T99" fmla="*/ 93 h 142"/>
                  <a:gd name="T100" fmla="*/ 83 w 151"/>
                  <a:gd name="T101" fmla="*/ 89 h 142"/>
                  <a:gd name="T102" fmla="*/ 19 w 151"/>
                  <a:gd name="T103" fmla="*/ 65 h 142"/>
                  <a:gd name="T104" fmla="*/ 7 w 151"/>
                  <a:gd name="T105" fmla="*/ 52 h 142"/>
                  <a:gd name="T106" fmla="*/ 72 w 151"/>
                  <a:gd name="T107" fmla="*/ 58 h 142"/>
                  <a:gd name="T108" fmla="*/ 66 w 151"/>
                  <a:gd name="T109" fmla="*/ 60 h 142"/>
                  <a:gd name="T110" fmla="*/ 73 w 151"/>
                  <a:gd name="T111" fmla="*/ 72 h 142"/>
                  <a:gd name="T112" fmla="*/ 80 w 151"/>
                  <a:gd name="T113" fmla="*/ 73 h 142"/>
                  <a:gd name="T114" fmla="*/ 20 w 151"/>
                  <a:gd name="T115" fmla="*/ 73 h 142"/>
                  <a:gd name="T116" fmla="*/ 14 w 151"/>
                  <a:gd name="T117" fmla="*/ 78 h 142"/>
                  <a:gd name="T118" fmla="*/ 17 w 151"/>
                  <a:gd name="T119" fmla="*/ 75 h 142"/>
                  <a:gd name="T120" fmla="*/ 68 w 151"/>
                  <a:gd name="T121" fmla="*/ 82 h 142"/>
                  <a:gd name="T122" fmla="*/ 19 w 151"/>
                  <a:gd name="T123" fmla="*/ 8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 h="142">
                    <a:moveTo>
                      <a:pt x="129" y="85"/>
                    </a:moveTo>
                    <a:lnTo>
                      <a:pt x="131" y="86"/>
                    </a:lnTo>
                    <a:lnTo>
                      <a:pt x="128" y="86"/>
                    </a:lnTo>
                    <a:lnTo>
                      <a:pt x="126" y="86"/>
                    </a:lnTo>
                    <a:lnTo>
                      <a:pt x="122" y="86"/>
                    </a:lnTo>
                    <a:lnTo>
                      <a:pt x="124" y="85"/>
                    </a:lnTo>
                    <a:lnTo>
                      <a:pt x="126" y="85"/>
                    </a:lnTo>
                    <a:lnTo>
                      <a:pt x="129" y="85"/>
                    </a:lnTo>
                    <a:close/>
                    <a:moveTo>
                      <a:pt x="122" y="58"/>
                    </a:moveTo>
                    <a:lnTo>
                      <a:pt x="121" y="56"/>
                    </a:lnTo>
                    <a:lnTo>
                      <a:pt x="119" y="55"/>
                    </a:lnTo>
                    <a:lnTo>
                      <a:pt x="119" y="53"/>
                    </a:lnTo>
                    <a:lnTo>
                      <a:pt x="118" y="52"/>
                    </a:lnTo>
                    <a:lnTo>
                      <a:pt x="116" y="52"/>
                    </a:lnTo>
                    <a:lnTo>
                      <a:pt x="114" y="53"/>
                    </a:lnTo>
                    <a:lnTo>
                      <a:pt x="111" y="53"/>
                    </a:lnTo>
                    <a:lnTo>
                      <a:pt x="109" y="55"/>
                    </a:lnTo>
                    <a:lnTo>
                      <a:pt x="109" y="56"/>
                    </a:lnTo>
                    <a:lnTo>
                      <a:pt x="111" y="58"/>
                    </a:lnTo>
                    <a:lnTo>
                      <a:pt x="114" y="58"/>
                    </a:lnTo>
                    <a:lnTo>
                      <a:pt x="115" y="56"/>
                    </a:lnTo>
                    <a:lnTo>
                      <a:pt x="116" y="56"/>
                    </a:lnTo>
                    <a:lnTo>
                      <a:pt x="115" y="58"/>
                    </a:lnTo>
                    <a:lnTo>
                      <a:pt x="114" y="58"/>
                    </a:lnTo>
                    <a:lnTo>
                      <a:pt x="115" y="59"/>
                    </a:lnTo>
                    <a:lnTo>
                      <a:pt x="116" y="59"/>
                    </a:lnTo>
                    <a:lnTo>
                      <a:pt x="119" y="60"/>
                    </a:lnTo>
                    <a:lnTo>
                      <a:pt x="119" y="60"/>
                    </a:lnTo>
                    <a:lnTo>
                      <a:pt x="119" y="60"/>
                    </a:lnTo>
                    <a:lnTo>
                      <a:pt x="121" y="60"/>
                    </a:lnTo>
                    <a:lnTo>
                      <a:pt x="121" y="60"/>
                    </a:lnTo>
                    <a:lnTo>
                      <a:pt x="121" y="59"/>
                    </a:lnTo>
                    <a:lnTo>
                      <a:pt x="121" y="59"/>
                    </a:lnTo>
                    <a:lnTo>
                      <a:pt x="121" y="58"/>
                    </a:lnTo>
                    <a:lnTo>
                      <a:pt x="122" y="59"/>
                    </a:lnTo>
                    <a:lnTo>
                      <a:pt x="122" y="58"/>
                    </a:lnTo>
                    <a:close/>
                    <a:moveTo>
                      <a:pt x="112" y="89"/>
                    </a:moveTo>
                    <a:lnTo>
                      <a:pt x="112" y="91"/>
                    </a:lnTo>
                    <a:lnTo>
                      <a:pt x="114" y="91"/>
                    </a:lnTo>
                    <a:lnTo>
                      <a:pt x="115" y="89"/>
                    </a:lnTo>
                    <a:lnTo>
                      <a:pt x="116" y="89"/>
                    </a:lnTo>
                    <a:lnTo>
                      <a:pt x="118" y="88"/>
                    </a:lnTo>
                    <a:lnTo>
                      <a:pt x="114" y="88"/>
                    </a:lnTo>
                    <a:lnTo>
                      <a:pt x="112" y="89"/>
                    </a:lnTo>
                    <a:close/>
                    <a:moveTo>
                      <a:pt x="111" y="76"/>
                    </a:moveTo>
                    <a:lnTo>
                      <a:pt x="111" y="76"/>
                    </a:lnTo>
                    <a:lnTo>
                      <a:pt x="111" y="76"/>
                    </a:lnTo>
                    <a:lnTo>
                      <a:pt x="112" y="78"/>
                    </a:lnTo>
                    <a:lnTo>
                      <a:pt x="114" y="75"/>
                    </a:lnTo>
                    <a:lnTo>
                      <a:pt x="114" y="73"/>
                    </a:lnTo>
                    <a:lnTo>
                      <a:pt x="115" y="69"/>
                    </a:lnTo>
                    <a:lnTo>
                      <a:pt x="114" y="69"/>
                    </a:lnTo>
                    <a:lnTo>
                      <a:pt x="111" y="68"/>
                    </a:lnTo>
                    <a:lnTo>
                      <a:pt x="109" y="69"/>
                    </a:lnTo>
                    <a:lnTo>
                      <a:pt x="109" y="70"/>
                    </a:lnTo>
                    <a:lnTo>
                      <a:pt x="109" y="72"/>
                    </a:lnTo>
                    <a:lnTo>
                      <a:pt x="111" y="73"/>
                    </a:lnTo>
                    <a:lnTo>
                      <a:pt x="111" y="73"/>
                    </a:lnTo>
                    <a:lnTo>
                      <a:pt x="109" y="75"/>
                    </a:lnTo>
                    <a:lnTo>
                      <a:pt x="111" y="76"/>
                    </a:lnTo>
                    <a:close/>
                    <a:moveTo>
                      <a:pt x="99" y="39"/>
                    </a:moveTo>
                    <a:lnTo>
                      <a:pt x="98" y="39"/>
                    </a:lnTo>
                    <a:lnTo>
                      <a:pt x="96" y="39"/>
                    </a:lnTo>
                    <a:lnTo>
                      <a:pt x="95" y="40"/>
                    </a:lnTo>
                    <a:lnTo>
                      <a:pt x="95" y="42"/>
                    </a:lnTo>
                    <a:lnTo>
                      <a:pt x="96" y="42"/>
                    </a:lnTo>
                    <a:lnTo>
                      <a:pt x="98" y="42"/>
                    </a:lnTo>
                    <a:lnTo>
                      <a:pt x="99" y="40"/>
                    </a:lnTo>
                    <a:lnTo>
                      <a:pt x="99" y="43"/>
                    </a:lnTo>
                    <a:lnTo>
                      <a:pt x="101" y="42"/>
                    </a:lnTo>
                    <a:lnTo>
                      <a:pt x="102" y="37"/>
                    </a:lnTo>
                    <a:lnTo>
                      <a:pt x="101" y="39"/>
                    </a:lnTo>
                    <a:lnTo>
                      <a:pt x="99" y="39"/>
                    </a:lnTo>
                    <a:close/>
                    <a:moveTo>
                      <a:pt x="95" y="88"/>
                    </a:moveTo>
                    <a:lnTo>
                      <a:pt x="98" y="91"/>
                    </a:lnTo>
                    <a:lnTo>
                      <a:pt x="99" y="89"/>
                    </a:lnTo>
                    <a:lnTo>
                      <a:pt x="95" y="88"/>
                    </a:lnTo>
                    <a:lnTo>
                      <a:pt x="95" y="88"/>
                    </a:lnTo>
                    <a:close/>
                    <a:moveTo>
                      <a:pt x="105" y="27"/>
                    </a:moveTo>
                    <a:lnTo>
                      <a:pt x="103" y="27"/>
                    </a:lnTo>
                    <a:lnTo>
                      <a:pt x="102" y="29"/>
                    </a:lnTo>
                    <a:lnTo>
                      <a:pt x="103" y="29"/>
                    </a:lnTo>
                    <a:lnTo>
                      <a:pt x="103" y="30"/>
                    </a:lnTo>
                    <a:lnTo>
                      <a:pt x="105" y="30"/>
                    </a:lnTo>
                    <a:lnTo>
                      <a:pt x="106" y="29"/>
                    </a:lnTo>
                    <a:lnTo>
                      <a:pt x="105" y="29"/>
                    </a:lnTo>
                    <a:lnTo>
                      <a:pt x="105" y="27"/>
                    </a:lnTo>
                    <a:close/>
                    <a:moveTo>
                      <a:pt x="101" y="92"/>
                    </a:moveTo>
                    <a:lnTo>
                      <a:pt x="102" y="92"/>
                    </a:lnTo>
                    <a:lnTo>
                      <a:pt x="102" y="92"/>
                    </a:lnTo>
                    <a:lnTo>
                      <a:pt x="101" y="91"/>
                    </a:lnTo>
                    <a:lnTo>
                      <a:pt x="101" y="91"/>
                    </a:lnTo>
                    <a:lnTo>
                      <a:pt x="99" y="91"/>
                    </a:lnTo>
                    <a:lnTo>
                      <a:pt x="99" y="92"/>
                    </a:lnTo>
                    <a:lnTo>
                      <a:pt x="101" y="92"/>
                    </a:lnTo>
                    <a:lnTo>
                      <a:pt x="101" y="92"/>
                    </a:lnTo>
                    <a:close/>
                    <a:moveTo>
                      <a:pt x="88" y="22"/>
                    </a:moveTo>
                    <a:lnTo>
                      <a:pt x="86" y="23"/>
                    </a:lnTo>
                    <a:lnTo>
                      <a:pt x="86" y="24"/>
                    </a:lnTo>
                    <a:lnTo>
                      <a:pt x="86" y="26"/>
                    </a:lnTo>
                    <a:lnTo>
                      <a:pt x="88" y="26"/>
                    </a:lnTo>
                    <a:lnTo>
                      <a:pt x="89" y="26"/>
                    </a:lnTo>
                    <a:lnTo>
                      <a:pt x="91" y="23"/>
                    </a:lnTo>
                    <a:lnTo>
                      <a:pt x="89" y="22"/>
                    </a:lnTo>
                    <a:lnTo>
                      <a:pt x="88" y="22"/>
                    </a:lnTo>
                    <a:close/>
                    <a:moveTo>
                      <a:pt x="93" y="91"/>
                    </a:moveTo>
                    <a:lnTo>
                      <a:pt x="92" y="91"/>
                    </a:lnTo>
                    <a:lnTo>
                      <a:pt x="92" y="92"/>
                    </a:lnTo>
                    <a:lnTo>
                      <a:pt x="92" y="92"/>
                    </a:lnTo>
                    <a:lnTo>
                      <a:pt x="92" y="92"/>
                    </a:lnTo>
                    <a:lnTo>
                      <a:pt x="92" y="93"/>
                    </a:lnTo>
                    <a:lnTo>
                      <a:pt x="93" y="93"/>
                    </a:lnTo>
                    <a:lnTo>
                      <a:pt x="93" y="92"/>
                    </a:lnTo>
                    <a:lnTo>
                      <a:pt x="93" y="92"/>
                    </a:lnTo>
                    <a:lnTo>
                      <a:pt x="93" y="91"/>
                    </a:lnTo>
                    <a:close/>
                    <a:moveTo>
                      <a:pt x="93" y="85"/>
                    </a:moveTo>
                    <a:lnTo>
                      <a:pt x="93" y="83"/>
                    </a:lnTo>
                    <a:lnTo>
                      <a:pt x="92" y="82"/>
                    </a:lnTo>
                    <a:lnTo>
                      <a:pt x="91" y="81"/>
                    </a:lnTo>
                    <a:lnTo>
                      <a:pt x="89" y="81"/>
                    </a:lnTo>
                    <a:lnTo>
                      <a:pt x="89" y="82"/>
                    </a:lnTo>
                    <a:lnTo>
                      <a:pt x="91" y="83"/>
                    </a:lnTo>
                    <a:lnTo>
                      <a:pt x="93" y="86"/>
                    </a:lnTo>
                    <a:lnTo>
                      <a:pt x="93" y="85"/>
                    </a:lnTo>
                    <a:close/>
                    <a:moveTo>
                      <a:pt x="60" y="118"/>
                    </a:moveTo>
                    <a:lnTo>
                      <a:pt x="60" y="116"/>
                    </a:lnTo>
                    <a:lnTo>
                      <a:pt x="60" y="115"/>
                    </a:lnTo>
                    <a:lnTo>
                      <a:pt x="59" y="115"/>
                    </a:lnTo>
                    <a:lnTo>
                      <a:pt x="57" y="114"/>
                    </a:lnTo>
                    <a:lnTo>
                      <a:pt x="57" y="114"/>
                    </a:lnTo>
                    <a:lnTo>
                      <a:pt x="57" y="114"/>
                    </a:lnTo>
                    <a:lnTo>
                      <a:pt x="57" y="115"/>
                    </a:lnTo>
                    <a:lnTo>
                      <a:pt x="57" y="116"/>
                    </a:lnTo>
                    <a:lnTo>
                      <a:pt x="57" y="116"/>
                    </a:lnTo>
                    <a:lnTo>
                      <a:pt x="59" y="118"/>
                    </a:lnTo>
                    <a:lnTo>
                      <a:pt x="60" y="118"/>
                    </a:lnTo>
                    <a:close/>
                    <a:moveTo>
                      <a:pt x="142" y="118"/>
                    </a:moveTo>
                    <a:lnTo>
                      <a:pt x="142" y="122"/>
                    </a:lnTo>
                    <a:lnTo>
                      <a:pt x="142" y="122"/>
                    </a:lnTo>
                    <a:lnTo>
                      <a:pt x="144" y="122"/>
                    </a:lnTo>
                    <a:lnTo>
                      <a:pt x="147" y="121"/>
                    </a:lnTo>
                    <a:lnTo>
                      <a:pt x="148" y="119"/>
                    </a:lnTo>
                    <a:lnTo>
                      <a:pt x="148" y="118"/>
                    </a:lnTo>
                    <a:lnTo>
                      <a:pt x="151" y="115"/>
                    </a:lnTo>
                    <a:lnTo>
                      <a:pt x="151" y="112"/>
                    </a:lnTo>
                    <a:lnTo>
                      <a:pt x="148" y="114"/>
                    </a:lnTo>
                    <a:lnTo>
                      <a:pt x="145" y="114"/>
                    </a:lnTo>
                    <a:lnTo>
                      <a:pt x="144" y="116"/>
                    </a:lnTo>
                    <a:lnTo>
                      <a:pt x="142" y="118"/>
                    </a:lnTo>
                    <a:close/>
                    <a:moveTo>
                      <a:pt x="128" y="102"/>
                    </a:moveTo>
                    <a:lnTo>
                      <a:pt x="128" y="101"/>
                    </a:lnTo>
                    <a:lnTo>
                      <a:pt x="128" y="101"/>
                    </a:lnTo>
                    <a:lnTo>
                      <a:pt x="128" y="99"/>
                    </a:lnTo>
                    <a:lnTo>
                      <a:pt x="128" y="99"/>
                    </a:lnTo>
                    <a:lnTo>
                      <a:pt x="128" y="99"/>
                    </a:lnTo>
                    <a:lnTo>
                      <a:pt x="129" y="99"/>
                    </a:lnTo>
                    <a:lnTo>
                      <a:pt x="129" y="101"/>
                    </a:lnTo>
                    <a:lnTo>
                      <a:pt x="129" y="101"/>
                    </a:lnTo>
                    <a:lnTo>
                      <a:pt x="129" y="102"/>
                    </a:lnTo>
                    <a:lnTo>
                      <a:pt x="129" y="102"/>
                    </a:lnTo>
                    <a:lnTo>
                      <a:pt x="128" y="102"/>
                    </a:lnTo>
                    <a:close/>
                    <a:moveTo>
                      <a:pt x="144" y="111"/>
                    </a:moveTo>
                    <a:lnTo>
                      <a:pt x="144" y="109"/>
                    </a:lnTo>
                    <a:lnTo>
                      <a:pt x="144" y="109"/>
                    </a:lnTo>
                    <a:lnTo>
                      <a:pt x="144" y="109"/>
                    </a:lnTo>
                    <a:lnTo>
                      <a:pt x="145" y="108"/>
                    </a:lnTo>
                    <a:lnTo>
                      <a:pt x="145" y="109"/>
                    </a:lnTo>
                    <a:lnTo>
                      <a:pt x="145" y="109"/>
                    </a:lnTo>
                    <a:lnTo>
                      <a:pt x="144" y="109"/>
                    </a:lnTo>
                    <a:lnTo>
                      <a:pt x="144" y="111"/>
                    </a:lnTo>
                    <a:close/>
                    <a:moveTo>
                      <a:pt x="76" y="129"/>
                    </a:moveTo>
                    <a:lnTo>
                      <a:pt x="79" y="129"/>
                    </a:lnTo>
                    <a:lnTo>
                      <a:pt x="80" y="131"/>
                    </a:lnTo>
                    <a:lnTo>
                      <a:pt x="79" y="131"/>
                    </a:lnTo>
                    <a:lnTo>
                      <a:pt x="79" y="131"/>
                    </a:lnTo>
                    <a:lnTo>
                      <a:pt x="79" y="132"/>
                    </a:lnTo>
                    <a:lnTo>
                      <a:pt x="80" y="132"/>
                    </a:lnTo>
                    <a:lnTo>
                      <a:pt x="80" y="132"/>
                    </a:lnTo>
                    <a:lnTo>
                      <a:pt x="82" y="134"/>
                    </a:lnTo>
                    <a:lnTo>
                      <a:pt x="83" y="134"/>
                    </a:lnTo>
                    <a:lnTo>
                      <a:pt x="88" y="132"/>
                    </a:lnTo>
                    <a:lnTo>
                      <a:pt x="92" y="132"/>
                    </a:lnTo>
                    <a:lnTo>
                      <a:pt x="99" y="135"/>
                    </a:lnTo>
                    <a:lnTo>
                      <a:pt x="102" y="135"/>
                    </a:lnTo>
                    <a:lnTo>
                      <a:pt x="103" y="135"/>
                    </a:lnTo>
                    <a:lnTo>
                      <a:pt x="105" y="134"/>
                    </a:lnTo>
                    <a:lnTo>
                      <a:pt x="106" y="134"/>
                    </a:lnTo>
                    <a:lnTo>
                      <a:pt x="108" y="135"/>
                    </a:lnTo>
                    <a:lnTo>
                      <a:pt x="108" y="135"/>
                    </a:lnTo>
                    <a:lnTo>
                      <a:pt x="108" y="137"/>
                    </a:lnTo>
                    <a:lnTo>
                      <a:pt x="108" y="138"/>
                    </a:lnTo>
                    <a:lnTo>
                      <a:pt x="108" y="138"/>
                    </a:lnTo>
                    <a:lnTo>
                      <a:pt x="109" y="138"/>
                    </a:lnTo>
                    <a:lnTo>
                      <a:pt x="112" y="137"/>
                    </a:lnTo>
                    <a:lnTo>
                      <a:pt x="118" y="135"/>
                    </a:lnTo>
                    <a:lnTo>
                      <a:pt x="116" y="138"/>
                    </a:lnTo>
                    <a:lnTo>
                      <a:pt x="116" y="139"/>
                    </a:lnTo>
                    <a:lnTo>
                      <a:pt x="115" y="141"/>
                    </a:lnTo>
                    <a:lnTo>
                      <a:pt x="114" y="141"/>
                    </a:lnTo>
                    <a:lnTo>
                      <a:pt x="106" y="141"/>
                    </a:lnTo>
                    <a:lnTo>
                      <a:pt x="93" y="142"/>
                    </a:lnTo>
                    <a:lnTo>
                      <a:pt x="91" y="142"/>
                    </a:lnTo>
                    <a:lnTo>
                      <a:pt x="89" y="142"/>
                    </a:lnTo>
                    <a:lnTo>
                      <a:pt x="88" y="139"/>
                    </a:lnTo>
                    <a:lnTo>
                      <a:pt x="88" y="139"/>
                    </a:lnTo>
                    <a:lnTo>
                      <a:pt x="86" y="138"/>
                    </a:lnTo>
                    <a:lnTo>
                      <a:pt x="83" y="138"/>
                    </a:lnTo>
                    <a:lnTo>
                      <a:pt x="80" y="137"/>
                    </a:lnTo>
                    <a:lnTo>
                      <a:pt x="73" y="137"/>
                    </a:lnTo>
                    <a:lnTo>
                      <a:pt x="69" y="135"/>
                    </a:lnTo>
                    <a:lnTo>
                      <a:pt x="69" y="132"/>
                    </a:lnTo>
                    <a:lnTo>
                      <a:pt x="69" y="132"/>
                    </a:lnTo>
                    <a:lnTo>
                      <a:pt x="69" y="131"/>
                    </a:lnTo>
                    <a:lnTo>
                      <a:pt x="69" y="131"/>
                    </a:lnTo>
                    <a:lnTo>
                      <a:pt x="69" y="129"/>
                    </a:lnTo>
                    <a:lnTo>
                      <a:pt x="70" y="131"/>
                    </a:lnTo>
                    <a:lnTo>
                      <a:pt x="72" y="131"/>
                    </a:lnTo>
                    <a:lnTo>
                      <a:pt x="72" y="129"/>
                    </a:lnTo>
                    <a:lnTo>
                      <a:pt x="72" y="128"/>
                    </a:lnTo>
                    <a:lnTo>
                      <a:pt x="73" y="131"/>
                    </a:lnTo>
                    <a:lnTo>
                      <a:pt x="76" y="129"/>
                    </a:lnTo>
                    <a:close/>
                    <a:moveTo>
                      <a:pt x="108" y="105"/>
                    </a:moveTo>
                    <a:lnTo>
                      <a:pt x="111" y="104"/>
                    </a:lnTo>
                    <a:lnTo>
                      <a:pt x="112" y="102"/>
                    </a:lnTo>
                    <a:lnTo>
                      <a:pt x="114" y="104"/>
                    </a:lnTo>
                    <a:lnTo>
                      <a:pt x="112" y="104"/>
                    </a:lnTo>
                    <a:lnTo>
                      <a:pt x="111" y="105"/>
                    </a:lnTo>
                    <a:lnTo>
                      <a:pt x="109" y="105"/>
                    </a:lnTo>
                    <a:lnTo>
                      <a:pt x="108" y="105"/>
                    </a:lnTo>
                    <a:close/>
                    <a:moveTo>
                      <a:pt x="116" y="109"/>
                    </a:moveTo>
                    <a:lnTo>
                      <a:pt x="118" y="109"/>
                    </a:lnTo>
                    <a:lnTo>
                      <a:pt x="118" y="108"/>
                    </a:lnTo>
                    <a:lnTo>
                      <a:pt x="119" y="108"/>
                    </a:lnTo>
                    <a:lnTo>
                      <a:pt x="119" y="109"/>
                    </a:lnTo>
                    <a:lnTo>
                      <a:pt x="119" y="109"/>
                    </a:lnTo>
                    <a:lnTo>
                      <a:pt x="119" y="109"/>
                    </a:lnTo>
                    <a:lnTo>
                      <a:pt x="119" y="111"/>
                    </a:lnTo>
                    <a:lnTo>
                      <a:pt x="118" y="111"/>
                    </a:lnTo>
                    <a:lnTo>
                      <a:pt x="116" y="111"/>
                    </a:lnTo>
                    <a:lnTo>
                      <a:pt x="116" y="109"/>
                    </a:lnTo>
                    <a:close/>
                    <a:moveTo>
                      <a:pt x="135" y="104"/>
                    </a:moveTo>
                    <a:lnTo>
                      <a:pt x="132" y="105"/>
                    </a:lnTo>
                    <a:lnTo>
                      <a:pt x="128" y="106"/>
                    </a:lnTo>
                    <a:lnTo>
                      <a:pt x="129" y="105"/>
                    </a:lnTo>
                    <a:lnTo>
                      <a:pt x="131" y="104"/>
                    </a:lnTo>
                    <a:lnTo>
                      <a:pt x="134" y="104"/>
                    </a:lnTo>
                    <a:lnTo>
                      <a:pt x="135" y="104"/>
                    </a:lnTo>
                    <a:close/>
                    <a:moveTo>
                      <a:pt x="103" y="102"/>
                    </a:moveTo>
                    <a:lnTo>
                      <a:pt x="102" y="102"/>
                    </a:lnTo>
                    <a:lnTo>
                      <a:pt x="101" y="101"/>
                    </a:lnTo>
                    <a:lnTo>
                      <a:pt x="102" y="98"/>
                    </a:lnTo>
                    <a:lnTo>
                      <a:pt x="103" y="98"/>
                    </a:lnTo>
                    <a:lnTo>
                      <a:pt x="105" y="98"/>
                    </a:lnTo>
                    <a:lnTo>
                      <a:pt x="105" y="99"/>
                    </a:lnTo>
                    <a:lnTo>
                      <a:pt x="105" y="101"/>
                    </a:lnTo>
                    <a:lnTo>
                      <a:pt x="103" y="102"/>
                    </a:lnTo>
                    <a:close/>
                    <a:moveTo>
                      <a:pt x="98" y="98"/>
                    </a:moveTo>
                    <a:lnTo>
                      <a:pt x="99" y="99"/>
                    </a:lnTo>
                    <a:lnTo>
                      <a:pt x="98" y="101"/>
                    </a:lnTo>
                    <a:lnTo>
                      <a:pt x="96" y="101"/>
                    </a:lnTo>
                    <a:lnTo>
                      <a:pt x="98" y="98"/>
                    </a:lnTo>
                    <a:close/>
                    <a:moveTo>
                      <a:pt x="134" y="127"/>
                    </a:moveTo>
                    <a:lnTo>
                      <a:pt x="132" y="128"/>
                    </a:lnTo>
                    <a:lnTo>
                      <a:pt x="132" y="129"/>
                    </a:lnTo>
                    <a:lnTo>
                      <a:pt x="134" y="132"/>
                    </a:lnTo>
                    <a:lnTo>
                      <a:pt x="132" y="132"/>
                    </a:lnTo>
                    <a:lnTo>
                      <a:pt x="131" y="129"/>
                    </a:lnTo>
                    <a:lnTo>
                      <a:pt x="131" y="128"/>
                    </a:lnTo>
                    <a:lnTo>
                      <a:pt x="132" y="125"/>
                    </a:lnTo>
                    <a:lnTo>
                      <a:pt x="134" y="125"/>
                    </a:lnTo>
                    <a:lnTo>
                      <a:pt x="134" y="127"/>
                    </a:lnTo>
                    <a:close/>
                    <a:moveTo>
                      <a:pt x="102" y="114"/>
                    </a:moveTo>
                    <a:lnTo>
                      <a:pt x="101" y="114"/>
                    </a:lnTo>
                    <a:lnTo>
                      <a:pt x="101" y="114"/>
                    </a:lnTo>
                    <a:lnTo>
                      <a:pt x="101" y="114"/>
                    </a:lnTo>
                    <a:lnTo>
                      <a:pt x="102" y="112"/>
                    </a:lnTo>
                    <a:lnTo>
                      <a:pt x="101" y="112"/>
                    </a:lnTo>
                    <a:lnTo>
                      <a:pt x="102" y="112"/>
                    </a:lnTo>
                    <a:lnTo>
                      <a:pt x="102" y="114"/>
                    </a:lnTo>
                    <a:lnTo>
                      <a:pt x="102" y="114"/>
                    </a:lnTo>
                    <a:close/>
                    <a:moveTo>
                      <a:pt x="99" y="106"/>
                    </a:moveTo>
                    <a:lnTo>
                      <a:pt x="99" y="105"/>
                    </a:lnTo>
                    <a:lnTo>
                      <a:pt x="101" y="106"/>
                    </a:lnTo>
                    <a:lnTo>
                      <a:pt x="101" y="106"/>
                    </a:lnTo>
                    <a:lnTo>
                      <a:pt x="101" y="108"/>
                    </a:lnTo>
                    <a:lnTo>
                      <a:pt x="99" y="106"/>
                    </a:lnTo>
                    <a:lnTo>
                      <a:pt x="99" y="106"/>
                    </a:lnTo>
                    <a:lnTo>
                      <a:pt x="99" y="106"/>
                    </a:lnTo>
                    <a:close/>
                    <a:moveTo>
                      <a:pt x="114" y="22"/>
                    </a:moveTo>
                    <a:lnTo>
                      <a:pt x="112" y="23"/>
                    </a:lnTo>
                    <a:lnTo>
                      <a:pt x="111" y="22"/>
                    </a:lnTo>
                    <a:lnTo>
                      <a:pt x="109" y="20"/>
                    </a:lnTo>
                    <a:lnTo>
                      <a:pt x="103" y="20"/>
                    </a:lnTo>
                    <a:lnTo>
                      <a:pt x="98" y="17"/>
                    </a:lnTo>
                    <a:lnTo>
                      <a:pt x="96" y="17"/>
                    </a:lnTo>
                    <a:lnTo>
                      <a:pt x="95" y="17"/>
                    </a:lnTo>
                    <a:lnTo>
                      <a:pt x="91" y="20"/>
                    </a:lnTo>
                    <a:lnTo>
                      <a:pt x="89" y="20"/>
                    </a:lnTo>
                    <a:lnTo>
                      <a:pt x="86" y="20"/>
                    </a:lnTo>
                    <a:lnTo>
                      <a:pt x="85" y="19"/>
                    </a:lnTo>
                    <a:lnTo>
                      <a:pt x="85" y="19"/>
                    </a:lnTo>
                    <a:lnTo>
                      <a:pt x="82" y="20"/>
                    </a:lnTo>
                    <a:lnTo>
                      <a:pt x="82" y="20"/>
                    </a:lnTo>
                    <a:lnTo>
                      <a:pt x="80" y="22"/>
                    </a:lnTo>
                    <a:lnTo>
                      <a:pt x="80" y="22"/>
                    </a:lnTo>
                    <a:lnTo>
                      <a:pt x="79" y="23"/>
                    </a:lnTo>
                    <a:lnTo>
                      <a:pt x="78" y="23"/>
                    </a:lnTo>
                    <a:lnTo>
                      <a:pt x="76" y="23"/>
                    </a:lnTo>
                    <a:lnTo>
                      <a:pt x="75" y="23"/>
                    </a:lnTo>
                    <a:lnTo>
                      <a:pt x="73" y="23"/>
                    </a:lnTo>
                    <a:lnTo>
                      <a:pt x="72" y="24"/>
                    </a:lnTo>
                    <a:lnTo>
                      <a:pt x="73" y="24"/>
                    </a:lnTo>
                    <a:lnTo>
                      <a:pt x="75" y="27"/>
                    </a:lnTo>
                    <a:lnTo>
                      <a:pt x="75" y="27"/>
                    </a:lnTo>
                    <a:lnTo>
                      <a:pt x="73" y="29"/>
                    </a:lnTo>
                    <a:lnTo>
                      <a:pt x="73" y="29"/>
                    </a:lnTo>
                    <a:lnTo>
                      <a:pt x="75" y="30"/>
                    </a:lnTo>
                    <a:lnTo>
                      <a:pt x="75" y="30"/>
                    </a:lnTo>
                    <a:lnTo>
                      <a:pt x="76" y="30"/>
                    </a:lnTo>
                    <a:lnTo>
                      <a:pt x="76" y="30"/>
                    </a:lnTo>
                    <a:lnTo>
                      <a:pt x="78" y="30"/>
                    </a:lnTo>
                    <a:lnTo>
                      <a:pt x="79" y="30"/>
                    </a:lnTo>
                    <a:lnTo>
                      <a:pt x="80" y="32"/>
                    </a:lnTo>
                    <a:lnTo>
                      <a:pt x="82" y="33"/>
                    </a:lnTo>
                    <a:lnTo>
                      <a:pt x="82" y="36"/>
                    </a:lnTo>
                    <a:lnTo>
                      <a:pt x="78" y="32"/>
                    </a:lnTo>
                    <a:lnTo>
                      <a:pt x="75" y="30"/>
                    </a:lnTo>
                    <a:lnTo>
                      <a:pt x="72" y="32"/>
                    </a:lnTo>
                    <a:lnTo>
                      <a:pt x="72" y="33"/>
                    </a:lnTo>
                    <a:lnTo>
                      <a:pt x="76" y="36"/>
                    </a:lnTo>
                    <a:lnTo>
                      <a:pt x="76" y="39"/>
                    </a:lnTo>
                    <a:lnTo>
                      <a:pt x="75" y="39"/>
                    </a:lnTo>
                    <a:lnTo>
                      <a:pt x="73" y="37"/>
                    </a:lnTo>
                    <a:lnTo>
                      <a:pt x="70" y="35"/>
                    </a:lnTo>
                    <a:lnTo>
                      <a:pt x="69" y="33"/>
                    </a:lnTo>
                    <a:lnTo>
                      <a:pt x="66" y="35"/>
                    </a:lnTo>
                    <a:lnTo>
                      <a:pt x="66" y="36"/>
                    </a:lnTo>
                    <a:lnTo>
                      <a:pt x="69" y="37"/>
                    </a:lnTo>
                    <a:lnTo>
                      <a:pt x="70" y="39"/>
                    </a:lnTo>
                    <a:lnTo>
                      <a:pt x="69" y="40"/>
                    </a:lnTo>
                    <a:lnTo>
                      <a:pt x="66" y="39"/>
                    </a:lnTo>
                    <a:lnTo>
                      <a:pt x="65" y="35"/>
                    </a:lnTo>
                    <a:lnTo>
                      <a:pt x="62" y="32"/>
                    </a:lnTo>
                    <a:lnTo>
                      <a:pt x="59" y="30"/>
                    </a:lnTo>
                    <a:lnTo>
                      <a:pt x="56" y="29"/>
                    </a:lnTo>
                    <a:lnTo>
                      <a:pt x="57" y="26"/>
                    </a:lnTo>
                    <a:lnTo>
                      <a:pt x="55" y="27"/>
                    </a:lnTo>
                    <a:lnTo>
                      <a:pt x="52" y="30"/>
                    </a:lnTo>
                    <a:lnTo>
                      <a:pt x="52" y="33"/>
                    </a:lnTo>
                    <a:lnTo>
                      <a:pt x="52" y="37"/>
                    </a:lnTo>
                    <a:lnTo>
                      <a:pt x="53" y="39"/>
                    </a:lnTo>
                    <a:lnTo>
                      <a:pt x="57" y="46"/>
                    </a:lnTo>
                    <a:lnTo>
                      <a:pt x="63" y="52"/>
                    </a:lnTo>
                    <a:lnTo>
                      <a:pt x="63" y="53"/>
                    </a:lnTo>
                    <a:lnTo>
                      <a:pt x="65" y="55"/>
                    </a:lnTo>
                    <a:lnTo>
                      <a:pt x="63" y="58"/>
                    </a:lnTo>
                    <a:lnTo>
                      <a:pt x="62" y="58"/>
                    </a:lnTo>
                    <a:lnTo>
                      <a:pt x="62" y="58"/>
                    </a:lnTo>
                    <a:lnTo>
                      <a:pt x="62" y="56"/>
                    </a:lnTo>
                    <a:lnTo>
                      <a:pt x="62" y="55"/>
                    </a:lnTo>
                    <a:lnTo>
                      <a:pt x="60" y="53"/>
                    </a:lnTo>
                    <a:lnTo>
                      <a:pt x="59" y="53"/>
                    </a:lnTo>
                    <a:lnTo>
                      <a:pt x="57" y="53"/>
                    </a:lnTo>
                    <a:lnTo>
                      <a:pt x="56" y="55"/>
                    </a:lnTo>
                    <a:lnTo>
                      <a:pt x="56" y="56"/>
                    </a:lnTo>
                    <a:lnTo>
                      <a:pt x="57" y="58"/>
                    </a:lnTo>
                    <a:lnTo>
                      <a:pt x="59" y="59"/>
                    </a:lnTo>
                    <a:lnTo>
                      <a:pt x="60" y="59"/>
                    </a:lnTo>
                    <a:lnTo>
                      <a:pt x="57" y="60"/>
                    </a:lnTo>
                    <a:lnTo>
                      <a:pt x="56" y="62"/>
                    </a:lnTo>
                    <a:lnTo>
                      <a:pt x="53" y="62"/>
                    </a:lnTo>
                    <a:lnTo>
                      <a:pt x="52" y="63"/>
                    </a:lnTo>
                    <a:lnTo>
                      <a:pt x="53" y="63"/>
                    </a:lnTo>
                    <a:lnTo>
                      <a:pt x="60" y="66"/>
                    </a:lnTo>
                    <a:lnTo>
                      <a:pt x="62" y="66"/>
                    </a:lnTo>
                    <a:lnTo>
                      <a:pt x="63" y="68"/>
                    </a:lnTo>
                    <a:lnTo>
                      <a:pt x="65" y="69"/>
                    </a:lnTo>
                    <a:lnTo>
                      <a:pt x="66" y="70"/>
                    </a:lnTo>
                    <a:lnTo>
                      <a:pt x="72" y="73"/>
                    </a:lnTo>
                    <a:lnTo>
                      <a:pt x="75" y="75"/>
                    </a:lnTo>
                    <a:lnTo>
                      <a:pt x="78" y="79"/>
                    </a:lnTo>
                    <a:lnTo>
                      <a:pt x="78" y="83"/>
                    </a:lnTo>
                    <a:lnTo>
                      <a:pt x="78" y="85"/>
                    </a:lnTo>
                    <a:lnTo>
                      <a:pt x="78" y="86"/>
                    </a:lnTo>
                    <a:lnTo>
                      <a:pt x="76" y="86"/>
                    </a:lnTo>
                    <a:lnTo>
                      <a:pt x="75" y="86"/>
                    </a:lnTo>
                    <a:lnTo>
                      <a:pt x="72" y="83"/>
                    </a:lnTo>
                    <a:lnTo>
                      <a:pt x="69" y="81"/>
                    </a:lnTo>
                    <a:lnTo>
                      <a:pt x="66" y="81"/>
                    </a:lnTo>
                    <a:lnTo>
                      <a:pt x="63" y="81"/>
                    </a:lnTo>
                    <a:lnTo>
                      <a:pt x="59" y="83"/>
                    </a:lnTo>
                    <a:lnTo>
                      <a:pt x="60" y="83"/>
                    </a:lnTo>
                    <a:lnTo>
                      <a:pt x="62" y="85"/>
                    </a:lnTo>
                    <a:lnTo>
                      <a:pt x="62" y="88"/>
                    </a:lnTo>
                    <a:lnTo>
                      <a:pt x="63" y="89"/>
                    </a:lnTo>
                    <a:lnTo>
                      <a:pt x="63" y="89"/>
                    </a:lnTo>
                    <a:lnTo>
                      <a:pt x="65" y="89"/>
                    </a:lnTo>
                    <a:lnTo>
                      <a:pt x="66" y="89"/>
                    </a:lnTo>
                    <a:lnTo>
                      <a:pt x="66" y="91"/>
                    </a:lnTo>
                    <a:lnTo>
                      <a:pt x="68" y="92"/>
                    </a:lnTo>
                    <a:lnTo>
                      <a:pt x="66" y="93"/>
                    </a:lnTo>
                    <a:lnTo>
                      <a:pt x="65" y="93"/>
                    </a:lnTo>
                    <a:lnTo>
                      <a:pt x="63" y="93"/>
                    </a:lnTo>
                    <a:lnTo>
                      <a:pt x="62" y="93"/>
                    </a:lnTo>
                    <a:lnTo>
                      <a:pt x="60" y="93"/>
                    </a:lnTo>
                    <a:lnTo>
                      <a:pt x="60" y="92"/>
                    </a:lnTo>
                    <a:lnTo>
                      <a:pt x="59" y="91"/>
                    </a:lnTo>
                    <a:lnTo>
                      <a:pt x="56" y="89"/>
                    </a:lnTo>
                    <a:lnTo>
                      <a:pt x="55" y="91"/>
                    </a:lnTo>
                    <a:lnTo>
                      <a:pt x="56" y="95"/>
                    </a:lnTo>
                    <a:lnTo>
                      <a:pt x="59" y="102"/>
                    </a:lnTo>
                    <a:lnTo>
                      <a:pt x="62" y="112"/>
                    </a:lnTo>
                    <a:lnTo>
                      <a:pt x="59" y="111"/>
                    </a:lnTo>
                    <a:lnTo>
                      <a:pt x="57" y="109"/>
                    </a:lnTo>
                    <a:lnTo>
                      <a:pt x="56" y="106"/>
                    </a:lnTo>
                    <a:lnTo>
                      <a:pt x="55" y="105"/>
                    </a:lnTo>
                    <a:lnTo>
                      <a:pt x="53" y="105"/>
                    </a:lnTo>
                    <a:lnTo>
                      <a:pt x="50" y="106"/>
                    </a:lnTo>
                    <a:lnTo>
                      <a:pt x="50" y="109"/>
                    </a:lnTo>
                    <a:lnTo>
                      <a:pt x="50" y="112"/>
                    </a:lnTo>
                    <a:lnTo>
                      <a:pt x="49" y="111"/>
                    </a:lnTo>
                    <a:lnTo>
                      <a:pt x="49" y="111"/>
                    </a:lnTo>
                    <a:lnTo>
                      <a:pt x="49" y="109"/>
                    </a:lnTo>
                    <a:lnTo>
                      <a:pt x="47" y="108"/>
                    </a:lnTo>
                    <a:lnTo>
                      <a:pt x="47" y="106"/>
                    </a:lnTo>
                    <a:lnTo>
                      <a:pt x="46" y="105"/>
                    </a:lnTo>
                    <a:lnTo>
                      <a:pt x="45" y="104"/>
                    </a:lnTo>
                    <a:lnTo>
                      <a:pt x="43" y="101"/>
                    </a:lnTo>
                    <a:lnTo>
                      <a:pt x="42" y="101"/>
                    </a:lnTo>
                    <a:lnTo>
                      <a:pt x="39" y="106"/>
                    </a:lnTo>
                    <a:lnTo>
                      <a:pt x="37" y="105"/>
                    </a:lnTo>
                    <a:lnTo>
                      <a:pt x="36" y="102"/>
                    </a:lnTo>
                    <a:lnTo>
                      <a:pt x="35" y="101"/>
                    </a:lnTo>
                    <a:lnTo>
                      <a:pt x="35" y="98"/>
                    </a:lnTo>
                    <a:lnTo>
                      <a:pt x="35" y="96"/>
                    </a:lnTo>
                    <a:lnTo>
                      <a:pt x="36" y="95"/>
                    </a:lnTo>
                    <a:lnTo>
                      <a:pt x="36" y="92"/>
                    </a:lnTo>
                    <a:lnTo>
                      <a:pt x="35" y="91"/>
                    </a:lnTo>
                    <a:lnTo>
                      <a:pt x="33" y="89"/>
                    </a:lnTo>
                    <a:lnTo>
                      <a:pt x="30" y="86"/>
                    </a:lnTo>
                    <a:lnTo>
                      <a:pt x="27" y="83"/>
                    </a:lnTo>
                    <a:lnTo>
                      <a:pt x="26" y="83"/>
                    </a:lnTo>
                    <a:lnTo>
                      <a:pt x="27" y="82"/>
                    </a:lnTo>
                    <a:lnTo>
                      <a:pt x="29" y="81"/>
                    </a:lnTo>
                    <a:lnTo>
                      <a:pt x="30" y="78"/>
                    </a:lnTo>
                    <a:lnTo>
                      <a:pt x="30" y="76"/>
                    </a:lnTo>
                    <a:lnTo>
                      <a:pt x="32" y="76"/>
                    </a:lnTo>
                    <a:lnTo>
                      <a:pt x="33" y="78"/>
                    </a:lnTo>
                    <a:lnTo>
                      <a:pt x="35" y="78"/>
                    </a:lnTo>
                    <a:lnTo>
                      <a:pt x="36" y="76"/>
                    </a:lnTo>
                    <a:lnTo>
                      <a:pt x="37" y="75"/>
                    </a:lnTo>
                    <a:lnTo>
                      <a:pt x="39" y="75"/>
                    </a:lnTo>
                    <a:lnTo>
                      <a:pt x="40" y="75"/>
                    </a:lnTo>
                    <a:lnTo>
                      <a:pt x="45" y="76"/>
                    </a:lnTo>
                    <a:lnTo>
                      <a:pt x="53" y="81"/>
                    </a:lnTo>
                    <a:lnTo>
                      <a:pt x="57" y="82"/>
                    </a:lnTo>
                    <a:lnTo>
                      <a:pt x="57" y="79"/>
                    </a:lnTo>
                    <a:lnTo>
                      <a:pt x="62" y="78"/>
                    </a:lnTo>
                    <a:lnTo>
                      <a:pt x="60" y="76"/>
                    </a:lnTo>
                    <a:lnTo>
                      <a:pt x="59" y="76"/>
                    </a:lnTo>
                    <a:lnTo>
                      <a:pt x="55" y="75"/>
                    </a:lnTo>
                    <a:lnTo>
                      <a:pt x="53" y="75"/>
                    </a:lnTo>
                    <a:lnTo>
                      <a:pt x="50" y="72"/>
                    </a:lnTo>
                    <a:lnTo>
                      <a:pt x="49" y="72"/>
                    </a:lnTo>
                    <a:lnTo>
                      <a:pt x="47" y="72"/>
                    </a:lnTo>
                    <a:lnTo>
                      <a:pt x="47" y="73"/>
                    </a:lnTo>
                    <a:lnTo>
                      <a:pt x="46" y="73"/>
                    </a:lnTo>
                    <a:lnTo>
                      <a:pt x="40" y="73"/>
                    </a:lnTo>
                    <a:lnTo>
                      <a:pt x="37" y="73"/>
                    </a:lnTo>
                    <a:lnTo>
                      <a:pt x="35" y="73"/>
                    </a:lnTo>
                    <a:lnTo>
                      <a:pt x="33" y="73"/>
                    </a:lnTo>
                    <a:lnTo>
                      <a:pt x="32" y="73"/>
                    </a:lnTo>
                    <a:lnTo>
                      <a:pt x="30" y="70"/>
                    </a:lnTo>
                    <a:lnTo>
                      <a:pt x="29" y="72"/>
                    </a:lnTo>
                    <a:lnTo>
                      <a:pt x="29" y="73"/>
                    </a:lnTo>
                    <a:lnTo>
                      <a:pt x="27" y="72"/>
                    </a:lnTo>
                    <a:lnTo>
                      <a:pt x="26" y="72"/>
                    </a:lnTo>
                    <a:lnTo>
                      <a:pt x="24" y="70"/>
                    </a:lnTo>
                    <a:lnTo>
                      <a:pt x="22" y="65"/>
                    </a:lnTo>
                    <a:lnTo>
                      <a:pt x="20" y="62"/>
                    </a:lnTo>
                    <a:lnTo>
                      <a:pt x="20" y="62"/>
                    </a:lnTo>
                    <a:lnTo>
                      <a:pt x="23" y="62"/>
                    </a:lnTo>
                    <a:lnTo>
                      <a:pt x="23" y="62"/>
                    </a:lnTo>
                    <a:lnTo>
                      <a:pt x="24" y="62"/>
                    </a:lnTo>
                    <a:lnTo>
                      <a:pt x="26" y="62"/>
                    </a:lnTo>
                    <a:lnTo>
                      <a:pt x="26" y="60"/>
                    </a:lnTo>
                    <a:lnTo>
                      <a:pt x="26" y="59"/>
                    </a:lnTo>
                    <a:lnTo>
                      <a:pt x="24" y="59"/>
                    </a:lnTo>
                    <a:lnTo>
                      <a:pt x="22" y="59"/>
                    </a:lnTo>
                    <a:lnTo>
                      <a:pt x="19" y="59"/>
                    </a:lnTo>
                    <a:lnTo>
                      <a:pt x="19" y="58"/>
                    </a:lnTo>
                    <a:lnTo>
                      <a:pt x="12" y="53"/>
                    </a:lnTo>
                    <a:lnTo>
                      <a:pt x="10" y="52"/>
                    </a:lnTo>
                    <a:lnTo>
                      <a:pt x="10" y="49"/>
                    </a:lnTo>
                    <a:lnTo>
                      <a:pt x="9" y="47"/>
                    </a:lnTo>
                    <a:lnTo>
                      <a:pt x="7" y="46"/>
                    </a:lnTo>
                    <a:lnTo>
                      <a:pt x="6" y="45"/>
                    </a:lnTo>
                    <a:lnTo>
                      <a:pt x="9" y="46"/>
                    </a:lnTo>
                    <a:lnTo>
                      <a:pt x="10" y="46"/>
                    </a:lnTo>
                    <a:lnTo>
                      <a:pt x="12" y="45"/>
                    </a:lnTo>
                    <a:lnTo>
                      <a:pt x="12" y="43"/>
                    </a:lnTo>
                    <a:lnTo>
                      <a:pt x="12" y="42"/>
                    </a:lnTo>
                    <a:lnTo>
                      <a:pt x="12" y="40"/>
                    </a:lnTo>
                    <a:lnTo>
                      <a:pt x="13" y="39"/>
                    </a:lnTo>
                    <a:lnTo>
                      <a:pt x="14" y="37"/>
                    </a:lnTo>
                    <a:lnTo>
                      <a:pt x="16" y="37"/>
                    </a:lnTo>
                    <a:lnTo>
                      <a:pt x="16" y="36"/>
                    </a:lnTo>
                    <a:lnTo>
                      <a:pt x="17" y="36"/>
                    </a:lnTo>
                    <a:lnTo>
                      <a:pt x="17" y="36"/>
                    </a:lnTo>
                    <a:lnTo>
                      <a:pt x="19" y="35"/>
                    </a:lnTo>
                    <a:lnTo>
                      <a:pt x="19" y="32"/>
                    </a:lnTo>
                    <a:lnTo>
                      <a:pt x="20" y="30"/>
                    </a:lnTo>
                    <a:lnTo>
                      <a:pt x="22" y="29"/>
                    </a:lnTo>
                    <a:lnTo>
                      <a:pt x="22" y="29"/>
                    </a:lnTo>
                    <a:lnTo>
                      <a:pt x="23" y="27"/>
                    </a:lnTo>
                    <a:lnTo>
                      <a:pt x="24" y="26"/>
                    </a:lnTo>
                    <a:lnTo>
                      <a:pt x="24" y="24"/>
                    </a:lnTo>
                    <a:lnTo>
                      <a:pt x="23" y="22"/>
                    </a:lnTo>
                    <a:lnTo>
                      <a:pt x="23" y="20"/>
                    </a:lnTo>
                    <a:lnTo>
                      <a:pt x="33" y="20"/>
                    </a:lnTo>
                    <a:lnTo>
                      <a:pt x="36" y="19"/>
                    </a:lnTo>
                    <a:lnTo>
                      <a:pt x="39" y="16"/>
                    </a:lnTo>
                    <a:lnTo>
                      <a:pt x="42" y="14"/>
                    </a:lnTo>
                    <a:lnTo>
                      <a:pt x="45" y="14"/>
                    </a:lnTo>
                    <a:lnTo>
                      <a:pt x="49" y="14"/>
                    </a:lnTo>
                    <a:lnTo>
                      <a:pt x="50" y="14"/>
                    </a:lnTo>
                    <a:lnTo>
                      <a:pt x="53" y="13"/>
                    </a:lnTo>
                    <a:lnTo>
                      <a:pt x="55" y="12"/>
                    </a:lnTo>
                    <a:lnTo>
                      <a:pt x="56" y="10"/>
                    </a:lnTo>
                    <a:lnTo>
                      <a:pt x="57" y="10"/>
                    </a:lnTo>
                    <a:lnTo>
                      <a:pt x="60" y="10"/>
                    </a:lnTo>
                    <a:lnTo>
                      <a:pt x="68" y="9"/>
                    </a:lnTo>
                    <a:lnTo>
                      <a:pt x="73" y="7"/>
                    </a:lnTo>
                    <a:lnTo>
                      <a:pt x="76" y="7"/>
                    </a:lnTo>
                    <a:lnTo>
                      <a:pt x="78" y="7"/>
                    </a:lnTo>
                    <a:lnTo>
                      <a:pt x="79" y="6"/>
                    </a:lnTo>
                    <a:lnTo>
                      <a:pt x="80" y="6"/>
                    </a:lnTo>
                    <a:lnTo>
                      <a:pt x="83" y="6"/>
                    </a:lnTo>
                    <a:lnTo>
                      <a:pt x="85" y="6"/>
                    </a:lnTo>
                    <a:lnTo>
                      <a:pt x="86" y="6"/>
                    </a:lnTo>
                    <a:lnTo>
                      <a:pt x="89" y="9"/>
                    </a:lnTo>
                    <a:lnTo>
                      <a:pt x="91" y="9"/>
                    </a:lnTo>
                    <a:lnTo>
                      <a:pt x="92" y="9"/>
                    </a:lnTo>
                    <a:lnTo>
                      <a:pt x="93" y="9"/>
                    </a:lnTo>
                    <a:lnTo>
                      <a:pt x="95" y="10"/>
                    </a:lnTo>
                    <a:lnTo>
                      <a:pt x="96" y="10"/>
                    </a:lnTo>
                    <a:lnTo>
                      <a:pt x="98" y="12"/>
                    </a:lnTo>
                    <a:lnTo>
                      <a:pt x="99" y="12"/>
                    </a:lnTo>
                    <a:lnTo>
                      <a:pt x="102" y="12"/>
                    </a:lnTo>
                    <a:lnTo>
                      <a:pt x="106" y="10"/>
                    </a:lnTo>
                    <a:lnTo>
                      <a:pt x="112" y="10"/>
                    </a:lnTo>
                    <a:lnTo>
                      <a:pt x="114" y="9"/>
                    </a:lnTo>
                    <a:lnTo>
                      <a:pt x="114" y="7"/>
                    </a:lnTo>
                    <a:lnTo>
                      <a:pt x="114" y="4"/>
                    </a:lnTo>
                    <a:lnTo>
                      <a:pt x="114" y="3"/>
                    </a:lnTo>
                    <a:lnTo>
                      <a:pt x="114" y="1"/>
                    </a:lnTo>
                    <a:lnTo>
                      <a:pt x="115" y="0"/>
                    </a:lnTo>
                    <a:lnTo>
                      <a:pt x="118" y="1"/>
                    </a:lnTo>
                    <a:lnTo>
                      <a:pt x="119" y="1"/>
                    </a:lnTo>
                    <a:lnTo>
                      <a:pt x="121" y="3"/>
                    </a:lnTo>
                    <a:lnTo>
                      <a:pt x="122" y="4"/>
                    </a:lnTo>
                    <a:lnTo>
                      <a:pt x="122" y="6"/>
                    </a:lnTo>
                    <a:lnTo>
                      <a:pt x="122" y="9"/>
                    </a:lnTo>
                    <a:lnTo>
                      <a:pt x="122" y="9"/>
                    </a:lnTo>
                    <a:lnTo>
                      <a:pt x="119" y="10"/>
                    </a:lnTo>
                    <a:lnTo>
                      <a:pt x="118" y="12"/>
                    </a:lnTo>
                    <a:lnTo>
                      <a:pt x="118" y="13"/>
                    </a:lnTo>
                    <a:lnTo>
                      <a:pt x="118" y="16"/>
                    </a:lnTo>
                    <a:lnTo>
                      <a:pt x="118" y="17"/>
                    </a:lnTo>
                    <a:lnTo>
                      <a:pt x="116" y="19"/>
                    </a:lnTo>
                    <a:lnTo>
                      <a:pt x="115" y="20"/>
                    </a:lnTo>
                    <a:lnTo>
                      <a:pt x="114" y="22"/>
                    </a:lnTo>
                    <a:close/>
                    <a:moveTo>
                      <a:pt x="85" y="62"/>
                    </a:moveTo>
                    <a:lnTo>
                      <a:pt x="85" y="62"/>
                    </a:lnTo>
                    <a:lnTo>
                      <a:pt x="86" y="63"/>
                    </a:lnTo>
                    <a:lnTo>
                      <a:pt x="86" y="65"/>
                    </a:lnTo>
                    <a:lnTo>
                      <a:pt x="86" y="65"/>
                    </a:lnTo>
                    <a:lnTo>
                      <a:pt x="88" y="65"/>
                    </a:lnTo>
                    <a:lnTo>
                      <a:pt x="88" y="65"/>
                    </a:lnTo>
                    <a:lnTo>
                      <a:pt x="89" y="63"/>
                    </a:lnTo>
                    <a:lnTo>
                      <a:pt x="86" y="60"/>
                    </a:lnTo>
                    <a:lnTo>
                      <a:pt x="85" y="60"/>
                    </a:lnTo>
                    <a:lnTo>
                      <a:pt x="85" y="62"/>
                    </a:lnTo>
                    <a:close/>
                    <a:moveTo>
                      <a:pt x="85" y="96"/>
                    </a:moveTo>
                    <a:lnTo>
                      <a:pt x="83" y="98"/>
                    </a:lnTo>
                    <a:lnTo>
                      <a:pt x="85" y="99"/>
                    </a:lnTo>
                    <a:lnTo>
                      <a:pt x="86" y="98"/>
                    </a:lnTo>
                    <a:lnTo>
                      <a:pt x="85" y="96"/>
                    </a:lnTo>
                    <a:close/>
                    <a:moveTo>
                      <a:pt x="85" y="108"/>
                    </a:moveTo>
                    <a:lnTo>
                      <a:pt x="86" y="106"/>
                    </a:lnTo>
                    <a:lnTo>
                      <a:pt x="86" y="105"/>
                    </a:lnTo>
                    <a:lnTo>
                      <a:pt x="85" y="106"/>
                    </a:lnTo>
                    <a:lnTo>
                      <a:pt x="85" y="106"/>
                    </a:lnTo>
                    <a:lnTo>
                      <a:pt x="83" y="106"/>
                    </a:lnTo>
                    <a:lnTo>
                      <a:pt x="82" y="106"/>
                    </a:lnTo>
                    <a:lnTo>
                      <a:pt x="82" y="108"/>
                    </a:lnTo>
                    <a:lnTo>
                      <a:pt x="83" y="108"/>
                    </a:lnTo>
                    <a:lnTo>
                      <a:pt x="85" y="108"/>
                    </a:lnTo>
                    <a:close/>
                    <a:moveTo>
                      <a:pt x="83" y="93"/>
                    </a:moveTo>
                    <a:lnTo>
                      <a:pt x="85" y="93"/>
                    </a:lnTo>
                    <a:lnTo>
                      <a:pt x="85" y="93"/>
                    </a:lnTo>
                    <a:lnTo>
                      <a:pt x="85" y="92"/>
                    </a:lnTo>
                    <a:lnTo>
                      <a:pt x="85" y="92"/>
                    </a:lnTo>
                    <a:lnTo>
                      <a:pt x="85" y="91"/>
                    </a:lnTo>
                    <a:lnTo>
                      <a:pt x="83" y="92"/>
                    </a:lnTo>
                    <a:lnTo>
                      <a:pt x="83" y="92"/>
                    </a:lnTo>
                    <a:lnTo>
                      <a:pt x="83" y="93"/>
                    </a:lnTo>
                    <a:lnTo>
                      <a:pt x="83" y="95"/>
                    </a:lnTo>
                    <a:lnTo>
                      <a:pt x="83" y="93"/>
                    </a:lnTo>
                    <a:close/>
                    <a:moveTo>
                      <a:pt x="82" y="89"/>
                    </a:moveTo>
                    <a:lnTo>
                      <a:pt x="82" y="91"/>
                    </a:lnTo>
                    <a:lnTo>
                      <a:pt x="83" y="89"/>
                    </a:lnTo>
                    <a:lnTo>
                      <a:pt x="83" y="88"/>
                    </a:lnTo>
                    <a:lnTo>
                      <a:pt x="83" y="88"/>
                    </a:lnTo>
                    <a:lnTo>
                      <a:pt x="82" y="89"/>
                    </a:lnTo>
                    <a:close/>
                    <a:moveTo>
                      <a:pt x="19" y="63"/>
                    </a:moveTo>
                    <a:lnTo>
                      <a:pt x="17" y="65"/>
                    </a:lnTo>
                    <a:lnTo>
                      <a:pt x="16" y="65"/>
                    </a:lnTo>
                    <a:lnTo>
                      <a:pt x="16" y="68"/>
                    </a:lnTo>
                    <a:lnTo>
                      <a:pt x="16" y="69"/>
                    </a:lnTo>
                    <a:lnTo>
                      <a:pt x="17" y="68"/>
                    </a:lnTo>
                    <a:lnTo>
                      <a:pt x="19" y="68"/>
                    </a:lnTo>
                    <a:lnTo>
                      <a:pt x="19" y="66"/>
                    </a:lnTo>
                    <a:lnTo>
                      <a:pt x="19" y="65"/>
                    </a:lnTo>
                    <a:lnTo>
                      <a:pt x="19" y="63"/>
                    </a:lnTo>
                    <a:close/>
                    <a:moveTo>
                      <a:pt x="4" y="45"/>
                    </a:moveTo>
                    <a:lnTo>
                      <a:pt x="4" y="43"/>
                    </a:lnTo>
                    <a:lnTo>
                      <a:pt x="4" y="43"/>
                    </a:lnTo>
                    <a:lnTo>
                      <a:pt x="3" y="43"/>
                    </a:lnTo>
                    <a:lnTo>
                      <a:pt x="1" y="43"/>
                    </a:lnTo>
                    <a:lnTo>
                      <a:pt x="1" y="43"/>
                    </a:lnTo>
                    <a:lnTo>
                      <a:pt x="0" y="43"/>
                    </a:lnTo>
                    <a:lnTo>
                      <a:pt x="1" y="46"/>
                    </a:lnTo>
                    <a:lnTo>
                      <a:pt x="3" y="49"/>
                    </a:lnTo>
                    <a:lnTo>
                      <a:pt x="6" y="50"/>
                    </a:lnTo>
                    <a:lnTo>
                      <a:pt x="7" y="52"/>
                    </a:lnTo>
                    <a:lnTo>
                      <a:pt x="7" y="50"/>
                    </a:lnTo>
                    <a:lnTo>
                      <a:pt x="6" y="49"/>
                    </a:lnTo>
                    <a:lnTo>
                      <a:pt x="4" y="47"/>
                    </a:lnTo>
                    <a:lnTo>
                      <a:pt x="3" y="46"/>
                    </a:lnTo>
                    <a:lnTo>
                      <a:pt x="4" y="45"/>
                    </a:lnTo>
                    <a:lnTo>
                      <a:pt x="4" y="45"/>
                    </a:lnTo>
                    <a:close/>
                    <a:moveTo>
                      <a:pt x="72" y="58"/>
                    </a:moveTo>
                    <a:lnTo>
                      <a:pt x="73" y="58"/>
                    </a:lnTo>
                    <a:lnTo>
                      <a:pt x="69" y="56"/>
                    </a:lnTo>
                    <a:lnTo>
                      <a:pt x="70" y="56"/>
                    </a:lnTo>
                    <a:lnTo>
                      <a:pt x="70" y="58"/>
                    </a:lnTo>
                    <a:lnTo>
                      <a:pt x="72" y="58"/>
                    </a:lnTo>
                    <a:close/>
                    <a:moveTo>
                      <a:pt x="76" y="55"/>
                    </a:moveTo>
                    <a:lnTo>
                      <a:pt x="76" y="55"/>
                    </a:lnTo>
                    <a:lnTo>
                      <a:pt x="75" y="55"/>
                    </a:lnTo>
                    <a:lnTo>
                      <a:pt x="75" y="55"/>
                    </a:lnTo>
                    <a:lnTo>
                      <a:pt x="75" y="56"/>
                    </a:lnTo>
                    <a:lnTo>
                      <a:pt x="73" y="56"/>
                    </a:lnTo>
                    <a:lnTo>
                      <a:pt x="75" y="56"/>
                    </a:lnTo>
                    <a:lnTo>
                      <a:pt x="75" y="56"/>
                    </a:lnTo>
                    <a:lnTo>
                      <a:pt x="76" y="55"/>
                    </a:lnTo>
                    <a:close/>
                    <a:moveTo>
                      <a:pt x="68" y="63"/>
                    </a:moveTo>
                    <a:lnTo>
                      <a:pt x="68" y="63"/>
                    </a:lnTo>
                    <a:lnTo>
                      <a:pt x="66" y="60"/>
                    </a:lnTo>
                    <a:lnTo>
                      <a:pt x="65" y="60"/>
                    </a:lnTo>
                    <a:lnTo>
                      <a:pt x="63" y="59"/>
                    </a:lnTo>
                    <a:lnTo>
                      <a:pt x="60" y="60"/>
                    </a:lnTo>
                    <a:lnTo>
                      <a:pt x="56" y="62"/>
                    </a:lnTo>
                    <a:lnTo>
                      <a:pt x="57" y="63"/>
                    </a:lnTo>
                    <a:lnTo>
                      <a:pt x="62" y="63"/>
                    </a:lnTo>
                    <a:lnTo>
                      <a:pt x="63" y="63"/>
                    </a:lnTo>
                    <a:lnTo>
                      <a:pt x="65" y="65"/>
                    </a:lnTo>
                    <a:lnTo>
                      <a:pt x="66" y="66"/>
                    </a:lnTo>
                    <a:lnTo>
                      <a:pt x="70" y="72"/>
                    </a:lnTo>
                    <a:lnTo>
                      <a:pt x="72" y="72"/>
                    </a:lnTo>
                    <a:lnTo>
                      <a:pt x="73" y="72"/>
                    </a:lnTo>
                    <a:lnTo>
                      <a:pt x="76" y="73"/>
                    </a:lnTo>
                    <a:lnTo>
                      <a:pt x="78" y="73"/>
                    </a:lnTo>
                    <a:lnTo>
                      <a:pt x="79" y="75"/>
                    </a:lnTo>
                    <a:lnTo>
                      <a:pt x="80" y="78"/>
                    </a:lnTo>
                    <a:lnTo>
                      <a:pt x="82" y="79"/>
                    </a:lnTo>
                    <a:lnTo>
                      <a:pt x="83" y="81"/>
                    </a:lnTo>
                    <a:lnTo>
                      <a:pt x="86" y="81"/>
                    </a:lnTo>
                    <a:lnTo>
                      <a:pt x="86" y="79"/>
                    </a:lnTo>
                    <a:lnTo>
                      <a:pt x="85" y="78"/>
                    </a:lnTo>
                    <a:lnTo>
                      <a:pt x="83" y="78"/>
                    </a:lnTo>
                    <a:lnTo>
                      <a:pt x="80" y="75"/>
                    </a:lnTo>
                    <a:lnTo>
                      <a:pt x="80" y="73"/>
                    </a:lnTo>
                    <a:lnTo>
                      <a:pt x="80" y="72"/>
                    </a:lnTo>
                    <a:lnTo>
                      <a:pt x="80" y="69"/>
                    </a:lnTo>
                    <a:lnTo>
                      <a:pt x="79" y="68"/>
                    </a:lnTo>
                    <a:lnTo>
                      <a:pt x="76" y="66"/>
                    </a:lnTo>
                    <a:lnTo>
                      <a:pt x="70" y="65"/>
                    </a:lnTo>
                    <a:lnTo>
                      <a:pt x="69" y="65"/>
                    </a:lnTo>
                    <a:lnTo>
                      <a:pt x="68" y="63"/>
                    </a:lnTo>
                    <a:close/>
                    <a:moveTo>
                      <a:pt x="17" y="70"/>
                    </a:moveTo>
                    <a:lnTo>
                      <a:pt x="17" y="72"/>
                    </a:lnTo>
                    <a:lnTo>
                      <a:pt x="17" y="73"/>
                    </a:lnTo>
                    <a:lnTo>
                      <a:pt x="19" y="73"/>
                    </a:lnTo>
                    <a:lnTo>
                      <a:pt x="20" y="73"/>
                    </a:lnTo>
                    <a:lnTo>
                      <a:pt x="19" y="73"/>
                    </a:lnTo>
                    <a:lnTo>
                      <a:pt x="19" y="72"/>
                    </a:lnTo>
                    <a:lnTo>
                      <a:pt x="17" y="70"/>
                    </a:lnTo>
                    <a:lnTo>
                      <a:pt x="17" y="70"/>
                    </a:lnTo>
                    <a:close/>
                    <a:moveTo>
                      <a:pt x="14" y="73"/>
                    </a:moveTo>
                    <a:lnTo>
                      <a:pt x="13" y="75"/>
                    </a:lnTo>
                    <a:lnTo>
                      <a:pt x="13" y="76"/>
                    </a:lnTo>
                    <a:lnTo>
                      <a:pt x="13" y="76"/>
                    </a:lnTo>
                    <a:lnTo>
                      <a:pt x="14" y="76"/>
                    </a:lnTo>
                    <a:lnTo>
                      <a:pt x="14" y="76"/>
                    </a:lnTo>
                    <a:lnTo>
                      <a:pt x="14" y="76"/>
                    </a:lnTo>
                    <a:lnTo>
                      <a:pt x="14" y="78"/>
                    </a:lnTo>
                    <a:lnTo>
                      <a:pt x="16" y="78"/>
                    </a:lnTo>
                    <a:lnTo>
                      <a:pt x="16" y="79"/>
                    </a:lnTo>
                    <a:lnTo>
                      <a:pt x="16" y="78"/>
                    </a:lnTo>
                    <a:lnTo>
                      <a:pt x="17" y="78"/>
                    </a:lnTo>
                    <a:lnTo>
                      <a:pt x="17" y="78"/>
                    </a:lnTo>
                    <a:lnTo>
                      <a:pt x="19" y="79"/>
                    </a:lnTo>
                    <a:lnTo>
                      <a:pt x="20" y="79"/>
                    </a:lnTo>
                    <a:lnTo>
                      <a:pt x="19" y="78"/>
                    </a:lnTo>
                    <a:lnTo>
                      <a:pt x="19" y="76"/>
                    </a:lnTo>
                    <a:lnTo>
                      <a:pt x="19" y="76"/>
                    </a:lnTo>
                    <a:lnTo>
                      <a:pt x="17" y="75"/>
                    </a:lnTo>
                    <a:lnTo>
                      <a:pt x="17" y="75"/>
                    </a:lnTo>
                    <a:lnTo>
                      <a:pt x="17" y="73"/>
                    </a:lnTo>
                    <a:lnTo>
                      <a:pt x="16" y="72"/>
                    </a:lnTo>
                    <a:lnTo>
                      <a:pt x="16" y="70"/>
                    </a:lnTo>
                    <a:lnTo>
                      <a:pt x="16" y="73"/>
                    </a:lnTo>
                    <a:lnTo>
                      <a:pt x="14" y="73"/>
                    </a:lnTo>
                    <a:close/>
                    <a:moveTo>
                      <a:pt x="68" y="81"/>
                    </a:moveTo>
                    <a:lnTo>
                      <a:pt x="68" y="81"/>
                    </a:lnTo>
                    <a:lnTo>
                      <a:pt x="66" y="82"/>
                    </a:lnTo>
                    <a:lnTo>
                      <a:pt x="66" y="82"/>
                    </a:lnTo>
                    <a:lnTo>
                      <a:pt x="68" y="82"/>
                    </a:lnTo>
                    <a:lnTo>
                      <a:pt x="68" y="82"/>
                    </a:lnTo>
                    <a:lnTo>
                      <a:pt x="68" y="82"/>
                    </a:lnTo>
                    <a:lnTo>
                      <a:pt x="68" y="81"/>
                    </a:lnTo>
                    <a:close/>
                    <a:moveTo>
                      <a:pt x="17" y="83"/>
                    </a:moveTo>
                    <a:lnTo>
                      <a:pt x="17" y="85"/>
                    </a:lnTo>
                    <a:lnTo>
                      <a:pt x="19" y="85"/>
                    </a:lnTo>
                    <a:lnTo>
                      <a:pt x="19" y="86"/>
                    </a:lnTo>
                    <a:lnTo>
                      <a:pt x="20" y="86"/>
                    </a:lnTo>
                    <a:lnTo>
                      <a:pt x="20" y="86"/>
                    </a:lnTo>
                    <a:lnTo>
                      <a:pt x="23" y="86"/>
                    </a:lnTo>
                    <a:lnTo>
                      <a:pt x="23" y="86"/>
                    </a:lnTo>
                    <a:lnTo>
                      <a:pt x="23" y="85"/>
                    </a:lnTo>
                    <a:lnTo>
                      <a:pt x="20" y="83"/>
                    </a:lnTo>
                    <a:lnTo>
                      <a:pt x="19" y="82"/>
                    </a:lnTo>
                    <a:lnTo>
                      <a:pt x="17" y="83"/>
                    </a:lnTo>
                    <a:close/>
                    <a:moveTo>
                      <a:pt x="88" y="101"/>
                    </a:moveTo>
                    <a:lnTo>
                      <a:pt x="89" y="101"/>
                    </a:lnTo>
                    <a:lnTo>
                      <a:pt x="89" y="102"/>
                    </a:lnTo>
                    <a:lnTo>
                      <a:pt x="89" y="102"/>
                    </a:lnTo>
                    <a:lnTo>
                      <a:pt x="88" y="10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89" name="Freeform 95">
                <a:extLst>
                  <a:ext uri="{FF2B5EF4-FFF2-40B4-BE49-F238E27FC236}">
                    <a16:creationId xmlns:a16="http://schemas.microsoft.com/office/drawing/2014/main" id="{9D454403-6ED4-4CB9-36AA-F7005CD79C77}"/>
                  </a:ext>
                </a:extLst>
              </p:cNvPr>
              <p:cNvSpPr>
                <a:spLocks noEditPoints="1"/>
              </p:cNvSpPr>
              <p:nvPr/>
            </p:nvSpPr>
            <p:spPr bwMode="auto">
              <a:xfrm>
                <a:off x="3386" y="1884"/>
                <a:ext cx="237" cy="164"/>
              </a:xfrm>
              <a:custGeom>
                <a:avLst/>
                <a:gdLst>
                  <a:gd name="T0" fmla="*/ 220 w 237"/>
                  <a:gd name="T1" fmla="*/ 32 h 164"/>
                  <a:gd name="T2" fmla="*/ 218 w 237"/>
                  <a:gd name="T3" fmla="*/ 36 h 164"/>
                  <a:gd name="T4" fmla="*/ 200 w 237"/>
                  <a:gd name="T5" fmla="*/ 53 h 164"/>
                  <a:gd name="T6" fmla="*/ 178 w 237"/>
                  <a:gd name="T7" fmla="*/ 62 h 164"/>
                  <a:gd name="T8" fmla="*/ 167 w 237"/>
                  <a:gd name="T9" fmla="*/ 78 h 164"/>
                  <a:gd name="T10" fmla="*/ 158 w 237"/>
                  <a:gd name="T11" fmla="*/ 102 h 164"/>
                  <a:gd name="T12" fmla="*/ 161 w 237"/>
                  <a:gd name="T13" fmla="*/ 111 h 164"/>
                  <a:gd name="T14" fmla="*/ 147 w 237"/>
                  <a:gd name="T15" fmla="*/ 132 h 164"/>
                  <a:gd name="T16" fmla="*/ 131 w 237"/>
                  <a:gd name="T17" fmla="*/ 139 h 164"/>
                  <a:gd name="T18" fmla="*/ 124 w 237"/>
                  <a:gd name="T19" fmla="*/ 148 h 164"/>
                  <a:gd name="T20" fmla="*/ 88 w 237"/>
                  <a:gd name="T21" fmla="*/ 149 h 164"/>
                  <a:gd name="T22" fmla="*/ 78 w 237"/>
                  <a:gd name="T23" fmla="*/ 154 h 164"/>
                  <a:gd name="T24" fmla="*/ 66 w 237"/>
                  <a:gd name="T25" fmla="*/ 161 h 164"/>
                  <a:gd name="T26" fmla="*/ 55 w 237"/>
                  <a:gd name="T27" fmla="*/ 159 h 164"/>
                  <a:gd name="T28" fmla="*/ 50 w 237"/>
                  <a:gd name="T29" fmla="*/ 151 h 164"/>
                  <a:gd name="T30" fmla="*/ 52 w 237"/>
                  <a:gd name="T31" fmla="*/ 145 h 164"/>
                  <a:gd name="T32" fmla="*/ 42 w 237"/>
                  <a:gd name="T33" fmla="*/ 141 h 164"/>
                  <a:gd name="T34" fmla="*/ 30 w 237"/>
                  <a:gd name="T35" fmla="*/ 134 h 164"/>
                  <a:gd name="T36" fmla="*/ 37 w 237"/>
                  <a:gd name="T37" fmla="*/ 122 h 164"/>
                  <a:gd name="T38" fmla="*/ 33 w 237"/>
                  <a:gd name="T39" fmla="*/ 116 h 164"/>
                  <a:gd name="T40" fmla="*/ 39 w 237"/>
                  <a:gd name="T41" fmla="*/ 102 h 164"/>
                  <a:gd name="T42" fmla="*/ 32 w 237"/>
                  <a:gd name="T43" fmla="*/ 93 h 164"/>
                  <a:gd name="T44" fmla="*/ 40 w 237"/>
                  <a:gd name="T45" fmla="*/ 82 h 164"/>
                  <a:gd name="T46" fmla="*/ 42 w 237"/>
                  <a:gd name="T47" fmla="*/ 73 h 164"/>
                  <a:gd name="T48" fmla="*/ 52 w 237"/>
                  <a:gd name="T49" fmla="*/ 50 h 164"/>
                  <a:gd name="T50" fmla="*/ 46 w 237"/>
                  <a:gd name="T51" fmla="*/ 46 h 164"/>
                  <a:gd name="T52" fmla="*/ 45 w 237"/>
                  <a:gd name="T53" fmla="*/ 40 h 164"/>
                  <a:gd name="T54" fmla="*/ 35 w 237"/>
                  <a:gd name="T55" fmla="*/ 40 h 164"/>
                  <a:gd name="T56" fmla="*/ 19 w 237"/>
                  <a:gd name="T57" fmla="*/ 43 h 164"/>
                  <a:gd name="T58" fmla="*/ 16 w 237"/>
                  <a:gd name="T59" fmla="*/ 36 h 164"/>
                  <a:gd name="T60" fmla="*/ 7 w 237"/>
                  <a:gd name="T61" fmla="*/ 34 h 164"/>
                  <a:gd name="T62" fmla="*/ 7 w 237"/>
                  <a:gd name="T63" fmla="*/ 29 h 164"/>
                  <a:gd name="T64" fmla="*/ 4 w 237"/>
                  <a:gd name="T65" fmla="*/ 20 h 164"/>
                  <a:gd name="T66" fmla="*/ 10 w 237"/>
                  <a:gd name="T67" fmla="*/ 9 h 164"/>
                  <a:gd name="T68" fmla="*/ 16 w 237"/>
                  <a:gd name="T69" fmla="*/ 4 h 164"/>
                  <a:gd name="T70" fmla="*/ 22 w 237"/>
                  <a:gd name="T71" fmla="*/ 0 h 164"/>
                  <a:gd name="T72" fmla="*/ 32 w 237"/>
                  <a:gd name="T73" fmla="*/ 1 h 164"/>
                  <a:gd name="T74" fmla="*/ 63 w 237"/>
                  <a:gd name="T75" fmla="*/ 3 h 164"/>
                  <a:gd name="T76" fmla="*/ 106 w 237"/>
                  <a:gd name="T77" fmla="*/ 7 h 164"/>
                  <a:gd name="T78" fmla="*/ 114 w 237"/>
                  <a:gd name="T79" fmla="*/ 7 h 164"/>
                  <a:gd name="T80" fmla="*/ 132 w 237"/>
                  <a:gd name="T81" fmla="*/ 10 h 164"/>
                  <a:gd name="T82" fmla="*/ 137 w 237"/>
                  <a:gd name="T83" fmla="*/ 16 h 164"/>
                  <a:gd name="T84" fmla="*/ 141 w 237"/>
                  <a:gd name="T85" fmla="*/ 16 h 164"/>
                  <a:gd name="T86" fmla="*/ 151 w 237"/>
                  <a:gd name="T87" fmla="*/ 20 h 164"/>
                  <a:gd name="T88" fmla="*/ 160 w 237"/>
                  <a:gd name="T89" fmla="*/ 23 h 164"/>
                  <a:gd name="T90" fmla="*/ 172 w 237"/>
                  <a:gd name="T91" fmla="*/ 23 h 164"/>
                  <a:gd name="T92" fmla="*/ 184 w 237"/>
                  <a:gd name="T93" fmla="*/ 23 h 164"/>
                  <a:gd name="T94" fmla="*/ 193 w 237"/>
                  <a:gd name="T95" fmla="*/ 27 h 164"/>
                  <a:gd name="T96" fmla="*/ 203 w 237"/>
                  <a:gd name="T97" fmla="*/ 29 h 164"/>
                  <a:gd name="T98" fmla="*/ 210 w 237"/>
                  <a:gd name="T99" fmla="*/ 29 h 164"/>
                  <a:gd name="T100" fmla="*/ 184 w 237"/>
                  <a:gd name="T101" fmla="*/ 103 h 164"/>
                  <a:gd name="T102" fmla="*/ 218 w 237"/>
                  <a:gd name="T103" fmla="*/ 82 h 164"/>
                  <a:gd name="T104" fmla="*/ 210 w 237"/>
                  <a:gd name="T105" fmla="*/ 92 h 164"/>
                  <a:gd name="T106" fmla="*/ 223 w 237"/>
                  <a:gd name="T107" fmla="*/ 88 h 164"/>
                  <a:gd name="T108" fmla="*/ 218 w 237"/>
                  <a:gd name="T109" fmla="*/ 82 h 164"/>
                  <a:gd name="T110" fmla="*/ 228 w 237"/>
                  <a:gd name="T111" fmla="*/ 82 h 164"/>
                  <a:gd name="T112" fmla="*/ 188 w 237"/>
                  <a:gd name="T113" fmla="*/ 10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7" h="164">
                    <a:moveTo>
                      <a:pt x="214" y="29"/>
                    </a:moveTo>
                    <a:lnTo>
                      <a:pt x="218" y="29"/>
                    </a:lnTo>
                    <a:lnTo>
                      <a:pt x="218" y="29"/>
                    </a:lnTo>
                    <a:lnTo>
                      <a:pt x="220" y="30"/>
                    </a:lnTo>
                    <a:lnTo>
                      <a:pt x="220" y="32"/>
                    </a:lnTo>
                    <a:lnTo>
                      <a:pt x="220" y="32"/>
                    </a:lnTo>
                    <a:lnTo>
                      <a:pt x="218" y="33"/>
                    </a:lnTo>
                    <a:lnTo>
                      <a:pt x="218" y="33"/>
                    </a:lnTo>
                    <a:lnTo>
                      <a:pt x="217" y="33"/>
                    </a:lnTo>
                    <a:lnTo>
                      <a:pt x="217" y="34"/>
                    </a:lnTo>
                    <a:lnTo>
                      <a:pt x="218" y="34"/>
                    </a:lnTo>
                    <a:lnTo>
                      <a:pt x="218" y="36"/>
                    </a:lnTo>
                    <a:lnTo>
                      <a:pt x="218" y="37"/>
                    </a:lnTo>
                    <a:lnTo>
                      <a:pt x="217" y="42"/>
                    </a:lnTo>
                    <a:lnTo>
                      <a:pt x="213" y="44"/>
                    </a:lnTo>
                    <a:lnTo>
                      <a:pt x="204" y="49"/>
                    </a:lnTo>
                    <a:lnTo>
                      <a:pt x="203" y="50"/>
                    </a:lnTo>
                    <a:lnTo>
                      <a:pt x="200" y="53"/>
                    </a:lnTo>
                    <a:lnTo>
                      <a:pt x="198" y="55"/>
                    </a:lnTo>
                    <a:lnTo>
                      <a:pt x="195" y="55"/>
                    </a:lnTo>
                    <a:lnTo>
                      <a:pt x="190" y="56"/>
                    </a:lnTo>
                    <a:lnTo>
                      <a:pt x="185" y="57"/>
                    </a:lnTo>
                    <a:lnTo>
                      <a:pt x="181" y="59"/>
                    </a:lnTo>
                    <a:lnTo>
                      <a:pt x="178" y="62"/>
                    </a:lnTo>
                    <a:lnTo>
                      <a:pt x="174" y="65"/>
                    </a:lnTo>
                    <a:lnTo>
                      <a:pt x="177" y="65"/>
                    </a:lnTo>
                    <a:lnTo>
                      <a:pt x="177" y="66"/>
                    </a:lnTo>
                    <a:lnTo>
                      <a:pt x="172" y="69"/>
                    </a:lnTo>
                    <a:lnTo>
                      <a:pt x="171" y="70"/>
                    </a:lnTo>
                    <a:lnTo>
                      <a:pt x="167" y="78"/>
                    </a:lnTo>
                    <a:lnTo>
                      <a:pt x="162" y="82"/>
                    </a:lnTo>
                    <a:lnTo>
                      <a:pt x="158" y="88"/>
                    </a:lnTo>
                    <a:lnTo>
                      <a:pt x="157" y="93"/>
                    </a:lnTo>
                    <a:lnTo>
                      <a:pt x="157" y="99"/>
                    </a:lnTo>
                    <a:lnTo>
                      <a:pt x="158" y="102"/>
                    </a:lnTo>
                    <a:lnTo>
                      <a:pt x="158" y="102"/>
                    </a:lnTo>
                    <a:lnTo>
                      <a:pt x="160" y="103"/>
                    </a:lnTo>
                    <a:lnTo>
                      <a:pt x="161" y="105"/>
                    </a:lnTo>
                    <a:lnTo>
                      <a:pt x="164" y="106"/>
                    </a:lnTo>
                    <a:lnTo>
                      <a:pt x="164" y="106"/>
                    </a:lnTo>
                    <a:lnTo>
                      <a:pt x="164" y="109"/>
                    </a:lnTo>
                    <a:lnTo>
                      <a:pt x="161" y="111"/>
                    </a:lnTo>
                    <a:lnTo>
                      <a:pt x="155" y="113"/>
                    </a:lnTo>
                    <a:lnTo>
                      <a:pt x="152" y="118"/>
                    </a:lnTo>
                    <a:lnTo>
                      <a:pt x="149" y="122"/>
                    </a:lnTo>
                    <a:lnTo>
                      <a:pt x="148" y="128"/>
                    </a:lnTo>
                    <a:lnTo>
                      <a:pt x="149" y="131"/>
                    </a:lnTo>
                    <a:lnTo>
                      <a:pt x="147" y="132"/>
                    </a:lnTo>
                    <a:lnTo>
                      <a:pt x="144" y="132"/>
                    </a:lnTo>
                    <a:lnTo>
                      <a:pt x="141" y="132"/>
                    </a:lnTo>
                    <a:lnTo>
                      <a:pt x="138" y="132"/>
                    </a:lnTo>
                    <a:lnTo>
                      <a:pt x="135" y="134"/>
                    </a:lnTo>
                    <a:lnTo>
                      <a:pt x="132" y="136"/>
                    </a:lnTo>
                    <a:lnTo>
                      <a:pt x="131" y="139"/>
                    </a:lnTo>
                    <a:lnTo>
                      <a:pt x="129" y="141"/>
                    </a:lnTo>
                    <a:lnTo>
                      <a:pt x="128" y="145"/>
                    </a:lnTo>
                    <a:lnTo>
                      <a:pt x="126" y="147"/>
                    </a:lnTo>
                    <a:lnTo>
                      <a:pt x="125" y="147"/>
                    </a:lnTo>
                    <a:lnTo>
                      <a:pt x="124" y="148"/>
                    </a:lnTo>
                    <a:lnTo>
                      <a:pt x="124" y="148"/>
                    </a:lnTo>
                    <a:lnTo>
                      <a:pt x="122" y="148"/>
                    </a:lnTo>
                    <a:lnTo>
                      <a:pt x="122" y="148"/>
                    </a:lnTo>
                    <a:lnTo>
                      <a:pt x="119" y="148"/>
                    </a:lnTo>
                    <a:lnTo>
                      <a:pt x="114" y="149"/>
                    </a:lnTo>
                    <a:lnTo>
                      <a:pt x="111" y="149"/>
                    </a:lnTo>
                    <a:lnTo>
                      <a:pt x="88" y="149"/>
                    </a:lnTo>
                    <a:lnTo>
                      <a:pt x="85" y="149"/>
                    </a:lnTo>
                    <a:lnTo>
                      <a:pt x="83" y="151"/>
                    </a:lnTo>
                    <a:lnTo>
                      <a:pt x="82" y="152"/>
                    </a:lnTo>
                    <a:lnTo>
                      <a:pt x="81" y="152"/>
                    </a:lnTo>
                    <a:lnTo>
                      <a:pt x="79" y="154"/>
                    </a:lnTo>
                    <a:lnTo>
                      <a:pt x="78" y="154"/>
                    </a:lnTo>
                    <a:lnTo>
                      <a:pt x="75" y="154"/>
                    </a:lnTo>
                    <a:lnTo>
                      <a:pt x="72" y="155"/>
                    </a:lnTo>
                    <a:lnTo>
                      <a:pt x="70" y="157"/>
                    </a:lnTo>
                    <a:lnTo>
                      <a:pt x="68" y="158"/>
                    </a:lnTo>
                    <a:lnTo>
                      <a:pt x="68" y="161"/>
                    </a:lnTo>
                    <a:lnTo>
                      <a:pt x="66" y="161"/>
                    </a:lnTo>
                    <a:lnTo>
                      <a:pt x="65" y="162"/>
                    </a:lnTo>
                    <a:lnTo>
                      <a:pt x="63" y="164"/>
                    </a:lnTo>
                    <a:lnTo>
                      <a:pt x="60" y="164"/>
                    </a:lnTo>
                    <a:lnTo>
                      <a:pt x="58" y="162"/>
                    </a:lnTo>
                    <a:lnTo>
                      <a:pt x="56" y="161"/>
                    </a:lnTo>
                    <a:lnTo>
                      <a:pt x="55" y="159"/>
                    </a:lnTo>
                    <a:lnTo>
                      <a:pt x="53" y="158"/>
                    </a:lnTo>
                    <a:lnTo>
                      <a:pt x="52" y="155"/>
                    </a:lnTo>
                    <a:lnTo>
                      <a:pt x="52" y="154"/>
                    </a:lnTo>
                    <a:lnTo>
                      <a:pt x="52" y="152"/>
                    </a:lnTo>
                    <a:lnTo>
                      <a:pt x="50" y="151"/>
                    </a:lnTo>
                    <a:lnTo>
                      <a:pt x="50" y="151"/>
                    </a:lnTo>
                    <a:lnTo>
                      <a:pt x="49" y="149"/>
                    </a:lnTo>
                    <a:lnTo>
                      <a:pt x="49" y="148"/>
                    </a:lnTo>
                    <a:lnTo>
                      <a:pt x="50" y="148"/>
                    </a:lnTo>
                    <a:lnTo>
                      <a:pt x="50" y="147"/>
                    </a:lnTo>
                    <a:lnTo>
                      <a:pt x="52" y="147"/>
                    </a:lnTo>
                    <a:lnTo>
                      <a:pt x="52" y="145"/>
                    </a:lnTo>
                    <a:lnTo>
                      <a:pt x="50" y="147"/>
                    </a:lnTo>
                    <a:lnTo>
                      <a:pt x="50" y="147"/>
                    </a:lnTo>
                    <a:lnTo>
                      <a:pt x="49" y="148"/>
                    </a:lnTo>
                    <a:lnTo>
                      <a:pt x="47" y="145"/>
                    </a:lnTo>
                    <a:lnTo>
                      <a:pt x="43" y="142"/>
                    </a:lnTo>
                    <a:lnTo>
                      <a:pt x="42" y="141"/>
                    </a:lnTo>
                    <a:lnTo>
                      <a:pt x="40" y="138"/>
                    </a:lnTo>
                    <a:lnTo>
                      <a:pt x="39" y="139"/>
                    </a:lnTo>
                    <a:lnTo>
                      <a:pt x="36" y="141"/>
                    </a:lnTo>
                    <a:lnTo>
                      <a:pt x="32" y="141"/>
                    </a:lnTo>
                    <a:lnTo>
                      <a:pt x="30" y="136"/>
                    </a:lnTo>
                    <a:lnTo>
                      <a:pt x="30" y="134"/>
                    </a:lnTo>
                    <a:lnTo>
                      <a:pt x="30" y="131"/>
                    </a:lnTo>
                    <a:lnTo>
                      <a:pt x="32" y="128"/>
                    </a:lnTo>
                    <a:lnTo>
                      <a:pt x="33" y="126"/>
                    </a:lnTo>
                    <a:lnTo>
                      <a:pt x="33" y="125"/>
                    </a:lnTo>
                    <a:lnTo>
                      <a:pt x="36" y="124"/>
                    </a:lnTo>
                    <a:lnTo>
                      <a:pt x="37" y="122"/>
                    </a:lnTo>
                    <a:lnTo>
                      <a:pt x="37" y="122"/>
                    </a:lnTo>
                    <a:lnTo>
                      <a:pt x="39" y="121"/>
                    </a:lnTo>
                    <a:lnTo>
                      <a:pt x="39" y="119"/>
                    </a:lnTo>
                    <a:lnTo>
                      <a:pt x="37" y="119"/>
                    </a:lnTo>
                    <a:lnTo>
                      <a:pt x="35" y="118"/>
                    </a:lnTo>
                    <a:lnTo>
                      <a:pt x="33" y="116"/>
                    </a:lnTo>
                    <a:lnTo>
                      <a:pt x="33" y="113"/>
                    </a:lnTo>
                    <a:lnTo>
                      <a:pt x="33" y="111"/>
                    </a:lnTo>
                    <a:lnTo>
                      <a:pt x="35" y="109"/>
                    </a:lnTo>
                    <a:lnTo>
                      <a:pt x="36" y="108"/>
                    </a:lnTo>
                    <a:lnTo>
                      <a:pt x="37" y="105"/>
                    </a:lnTo>
                    <a:lnTo>
                      <a:pt x="39" y="102"/>
                    </a:lnTo>
                    <a:lnTo>
                      <a:pt x="37" y="101"/>
                    </a:lnTo>
                    <a:lnTo>
                      <a:pt x="36" y="99"/>
                    </a:lnTo>
                    <a:lnTo>
                      <a:pt x="35" y="98"/>
                    </a:lnTo>
                    <a:lnTo>
                      <a:pt x="33" y="96"/>
                    </a:lnTo>
                    <a:lnTo>
                      <a:pt x="33" y="93"/>
                    </a:lnTo>
                    <a:lnTo>
                      <a:pt x="32" y="93"/>
                    </a:lnTo>
                    <a:lnTo>
                      <a:pt x="32" y="92"/>
                    </a:lnTo>
                    <a:lnTo>
                      <a:pt x="30" y="90"/>
                    </a:lnTo>
                    <a:lnTo>
                      <a:pt x="29" y="89"/>
                    </a:lnTo>
                    <a:lnTo>
                      <a:pt x="36" y="88"/>
                    </a:lnTo>
                    <a:lnTo>
                      <a:pt x="39" y="86"/>
                    </a:lnTo>
                    <a:lnTo>
                      <a:pt x="40" y="82"/>
                    </a:lnTo>
                    <a:lnTo>
                      <a:pt x="40" y="80"/>
                    </a:lnTo>
                    <a:lnTo>
                      <a:pt x="39" y="79"/>
                    </a:lnTo>
                    <a:lnTo>
                      <a:pt x="37" y="78"/>
                    </a:lnTo>
                    <a:lnTo>
                      <a:pt x="39" y="76"/>
                    </a:lnTo>
                    <a:lnTo>
                      <a:pt x="40" y="75"/>
                    </a:lnTo>
                    <a:lnTo>
                      <a:pt x="42" y="73"/>
                    </a:lnTo>
                    <a:lnTo>
                      <a:pt x="42" y="72"/>
                    </a:lnTo>
                    <a:lnTo>
                      <a:pt x="42" y="67"/>
                    </a:lnTo>
                    <a:lnTo>
                      <a:pt x="40" y="59"/>
                    </a:lnTo>
                    <a:lnTo>
                      <a:pt x="40" y="59"/>
                    </a:lnTo>
                    <a:lnTo>
                      <a:pt x="43" y="56"/>
                    </a:lnTo>
                    <a:lnTo>
                      <a:pt x="52" y="50"/>
                    </a:lnTo>
                    <a:lnTo>
                      <a:pt x="52" y="49"/>
                    </a:lnTo>
                    <a:lnTo>
                      <a:pt x="50" y="47"/>
                    </a:lnTo>
                    <a:lnTo>
                      <a:pt x="49" y="46"/>
                    </a:lnTo>
                    <a:lnTo>
                      <a:pt x="47" y="46"/>
                    </a:lnTo>
                    <a:lnTo>
                      <a:pt x="47" y="46"/>
                    </a:lnTo>
                    <a:lnTo>
                      <a:pt x="46" y="46"/>
                    </a:lnTo>
                    <a:lnTo>
                      <a:pt x="46" y="44"/>
                    </a:lnTo>
                    <a:lnTo>
                      <a:pt x="46" y="44"/>
                    </a:lnTo>
                    <a:lnTo>
                      <a:pt x="46" y="42"/>
                    </a:lnTo>
                    <a:lnTo>
                      <a:pt x="46" y="42"/>
                    </a:lnTo>
                    <a:lnTo>
                      <a:pt x="46" y="40"/>
                    </a:lnTo>
                    <a:lnTo>
                      <a:pt x="45" y="40"/>
                    </a:lnTo>
                    <a:lnTo>
                      <a:pt x="43" y="39"/>
                    </a:lnTo>
                    <a:lnTo>
                      <a:pt x="42" y="39"/>
                    </a:lnTo>
                    <a:lnTo>
                      <a:pt x="39" y="39"/>
                    </a:lnTo>
                    <a:lnTo>
                      <a:pt x="37" y="39"/>
                    </a:lnTo>
                    <a:lnTo>
                      <a:pt x="36" y="40"/>
                    </a:lnTo>
                    <a:lnTo>
                      <a:pt x="35" y="40"/>
                    </a:lnTo>
                    <a:lnTo>
                      <a:pt x="32" y="42"/>
                    </a:lnTo>
                    <a:lnTo>
                      <a:pt x="29" y="42"/>
                    </a:lnTo>
                    <a:lnTo>
                      <a:pt x="26" y="42"/>
                    </a:lnTo>
                    <a:lnTo>
                      <a:pt x="23" y="42"/>
                    </a:lnTo>
                    <a:lnTo>
                      <a:pt x="20" y="42"/>
                    </a:lnTo>
                    <a:lnTo>
                      <a:pt x="19" y="43"/>
                    </a:lnTo>
                    <a:lnTo>
                      <a:pt x="17" y="42"/>
                    </a:lnTo>
                    <a:lnTo>
                      <a:pt x="17" y="42"/>
                    </a:lnTo>
                    <a:lnTo>
                      <a:pt x="17" y="40"/>
                    </a:lnTo>
                    <a:lnTo>
                      <a:pt x="19" y="39"/>
                    </a:lnTo>
                    <a:lnTo>
                      <a:pt x="19" y="37"/>
                    </a:lnTo>
                    <a:lnTo>
                      <a:pt x="16" y="36"/>
                    </a:lnTo>
                    <a:lnTo>
                      <a:pt x="13" y="36"/>
                    </a:lnTo>
                    <a:lnTo>
                      <a:pt x="10" y="37"/>
                    </a:lnTo>
                    <a:lnTo>
                      <a:pt x="7" y="40"/>
                    </a:lnTo>
                    <a:lnTo>
                      <a:pt x="6" y="39"/>
                    </a:lnTo>
                    <a:lnTo>
                      <a:pt x="6" y="37"/>
                    </a:lnTo>
                    <a:lnTo>
                      <a:pt x="7" y="34"/>
                    </a:lnTo>
                    <a:lnTo>
                      <a:pt x="9" y="32"/>
                    </a:lnTo>
                    <a:lnTo>
                      <a:pt x="9" y="32"/>
                    </a:lnTo>
                    <a:lnTo>
                      <a:pt x="7" y="32"/>
                    </a:lnTo>
                    <a:lnTo>
                      <a:pt x="6" y="32"/>
                    </a:lnTo>
                    <a:lnTo>
                      <a:pt x="7" y="30"/>
                    </a:lnTo>
                    <a:lnTo>
                      <a:pt x="7" y="29"/>
                    </a:lnTo>
                    <a:lnTo>
                      <a:pt x="7" y="26"/>
                    </a:lnTo>
                    <a:lnTo>
                      <a:pt x="6" y="24"/>
                    </a:lnTo>
                    <a:lnTo>
                      <a:pt x="4" y="26"/>
                    </a:lnTo>
                    <a:lnTo>
                      <a:pt x="3" y="24"/>
                    </a:lnTo>
                    <a:lnTo>
                      <a:pt x="3" y="23"/>
                    </a:lnTo>
                    <a:lnTo>
                      <a:pt x="4" y="20"/>
                    </a:lnTo>
                    <a:lnTo>
                      <a:pt x="0" y="19"/>
                    </a:lnTo>
                    <a:lnTo>
                      <a:pt x="0" y="16"/>
                    </a:lnTo>
                    <a:lnTo>
                      <a:pt x="2" y="13"/>
                    </a:lnTo>
                    <a:lnTo>
                      <a:pt x="4" y="10"/>
                    </a:lnTo>
                    <a:lnTo>
                      <a:pt x="6" y="9"/>
                    </a:lnTo>
                    <a:lnTo>
                      <a:pt x="10" y="9"/>
                    </a:lnTo>
                    <a:lnTo>
                      <a:pt x="12" y="9"/>
                    </a:lnTo>
                    <a:lnTo>
                      <a:pt x="13" y="9"/>
                    </a:lnTo>
                    <a:lnTo>
                      <a:pt x="14" y="7"/>
                    </a:lnTo>
                    <a:lnTo>
                      <a:pt x="16" y="6"/>
                    </a:lnTo>
                    <a:lnTo>
                      <a:pt x="16" y="6"/>
                    </a:lnTo>
                    <a:lnTo>
                      <a:pt x="16" y="4"/>
                    </a:lnTo>
                    <a:lnTo>
                      <a:pt x="16" y="4"/>
                    </a:lnTo>
                    <a:lnTo>
                      <a:pt x="16" y="3"/>
                    </a:lnTo>
                    <a:lnTo>
                      <a:pt x="17" y="3"/>
                    </a:lnTo>
                    <a:lnTo>
                      <a:pt x="17" y="3"/>
                    </a:lnTo>
                    <a:lnTo>
                      <a:pt x="20" y="1"/>
                    </a:lnTo>
                    <a:lnTo>
                      <a:pt x="22" y="0"/>
                    </a:lnTo>
                    <a:lnTo>
                      <a:pt x="23" y="0"/>
                    </a:lnTo>
                    <a:lnTo>
                      <a:pt x="26" y="0"/>
                    </a:lnTo>
                    <a:lnTo>
                      <a:pt x="27" y="0"/>
                    </a:lnTo>
                    <a:lnTo>
                      <a:pt x="29" y="0"/>
                    </a:lnTo>
                    <a:lnTo>
                      <a:pt x="30" y="0"/>
                    </a:lnTo>
                    <a:lnTo>
                      <a:pt x="32" y="1"/>
                    </a:lnTo>
                    <a:lnTo>
                      <a:pt x="33" y="3"/>
                    </a:lnTo>
                    <a:lnTo>
                      <a:pt x="36" y="3"/>
                    </a:lnTo>
                    <a:lnTo>
                      <a:pt x="37" y="3"/>
                    </a:lnTo>
                    <a:lnTo>
                      <a:pt x="39" y="3"/>
                    </a:lnTo>
                    <a:lnTo>
                      <a:pt x="60" y="3"/>
                    </a:lnTo>
                    <a:lnTo>
                      <a:pt x="63" y="3"/>
                    </a:lnTo>
                    <a:lnTo>
                      <a:pt x="81" y="7"/>
                    </a:lnTo>
                    <a:lnTo>
                      <a:pt x="85" y="7"/>
                    </a:lnTo>
                    <a:lnTo>
                      <a:pt x="95" y="6"/>
                    </a:lnTo>
                    <a:lnTo>
                      <a:pt x="98" y="6"/>
                    </a:lnTo>
                    <a:lnTo>
                      <a:pt x="102" y="6"/>
                    </a:lnTo>
                    <a:lnTo>
                      <a:pt x="106" y="7"/>
                    </a:lnTo>
                    <a:lnTo>
                      <a:pt x="108" y="7"/>
                    </a:lnTo>
                    <a:lnTo>
                      <a:pt x="108" y="7"/>
                    </a:lnTo>
                    <a:lnTo>
                      <a:pt x="109" y="7"/>
                    </a:lnTo>
                    <a:lnTo>
                      <a:pt x="109" y="7"/>
                    </a:lnTo>
                    <a:lnTo>
                      <a:pt x="112" y="6"/>
                    </a:lnTo>
                    <a:lnTo>
                      <a:pt x="114" y="7"/>
                    </a:lnTo>
                    <a:lnTo>
                      <a:pt x="119" y="9"/>
                    </a:lnTo>
                    <a:lnTo>
                      <a:pt x="124" y="9"/>
                    </a:lnTo>
                    <a:lnTo>
                      <a:pt x="126" y="9"/>
                    </a:lnTo>
                    <a:lnTo>
                      <a:pt x="129" y="7"/>
                    </a:lnTo>
                    <a:lnTo>
                      <a:pt x="131" y="9"/>
                    </a:lnTo>
                    <a:lnTo>
                      <a:pt x="132" y="10"/>
                    </a:lnTo>
                    <a:lnTo>
                      <a:pt x="135" y="11"/>
                    </a:lnTo>
                    <a:lnTo>
                      <a:pt x="137" y="13"/>
                    </a:lnTo>
                    <a:lnTo>
                      <a:pt x="137" y="13"/>
                    </a:lnTo>
                    <a:lnTo>
                      <a:pt x="137" y="13"/>
                    </a:lnTo>
                    <a:lnTo>
                      <a:pt x="137" y="14"/>
                    </a:lnTo>
                    <a:lnTo>
                      <a:pt x="137" y="16"/>
                    </a:lnTo>
                    <a:lnTo>
                      <a:pt x="137" y="16"/>
                    </a:lnTo>
                    <a:lnTo>
                      <a:pt x="138" y="14"/>
                    </a:lnTo>
                    <a:lnTo>
                      <a:pt x="138" y="14"/>
                    </a:lnTo>
                    <a:lnTo>
                      <a:pt x="138" y="14"/>
                    </a:lnTo>
                    <a:lnTo>
                      <a:pt x="139" y="16"/>
                    </a:lnTo>
                    <a:lnTo>
                      <a:pt x="141" y="16"/>
                    </a:lnTo>
                    <a:lnTo>
                      <a:pt x="145" y="17"/>
                    </a:lnTo>
                    <a:lnTo>
                      <a:pt x="147" y="17"/>
                    </a:lnTo>
                    <a:lnTo>
                      <a:pt x="148" y="17"/>
                    </a:lnTo>
                    <a:lnTo>
                      <a:pt x="148" y="17"/>
                    </a:lnTo>
                    <a:lnTo>
                      <a:pt x="149" y="19"/>
                    </a:lnTo>
                    <a:lnTo>
                      <a:pt x="151" y="20"/>
                    </a:lnTo>
                    <a:lnTo>
                      <a:pt x="151" y="20"/>
                    </a:lnTo>
                    <a:lnTo>
                      <a:pt x="152" y="20"/>
                    </a:lnTo>
                    <a:lnTo>
                      <a:pt x="155" y="20"/>
                    </a:lnTo>
                    <a:lnTo>
                      <a:pt x="157" y="20"/>
                    </a:lnTo>
                    <a:lnTo>
                      <a:pt x="158" y="20"/>
                    </a:lnTo>
                    <a:lnTo>
                      <a:pt x="160" y="23"/>
                    </a:lnTo>
                    <a:lnTo>
                      <a:pt x="161" y="23"/>
                    </a:lnTo>
                    <a:lnTo>
                      <a:pt x="162" y="23"/>
                    </a:lnTo>
                    <a:lnTo>
                      <a:pt x="168" y="23"/>
                    </a:lnTo>
                    <a:lnTo>
                      <a:pt x="171" y="23"/>
                    </a:lnTo>
                    <a:lnTo>
                      <a:pt x="171" y="23"/>
                    </a:lnTo>
                    <a:lnTo>
                      <a:pt x="172" y="23"/>
                    </a:lnTo>
                    <a:lnTo>
                      <a:pt x="172" y="23"/>
                    </a:lnTo>
                    <a:lnTo>
                      <a:pt x="172" y="21"/>
                    </a:lnTo>
                    <a:lnTo>
                      <a:pt x="172" y="20"/>
                    </a:lnTo>
                    <a:lnTo>
                      <a:pt x="175" y="20"/>
                    </a:lnTo>
                    <a:lnTo>
                      <a:pt x="180" y="21"/>
                    </a:lnTo>
                    <a:lnTo>
                      <a:pt x="184" y="23"/>
                    </a:lnTo>
                    <a:lnTo>
                      <a:pt x="187" y="26"/>
                    </a:lnTo>
                    <a:lnTo>
                      <a:pt x="187" y="27"/>
                    </a:lnTo>
                    <a:lnTo>
                      <a:pt x="188" y="29"/>
                    </a:lnTo>
                    <a:lnTo>
                      <a:pt x="190" y="29"/>
                    </a:lnTo>
                    <a:lnTo>
                      <a:pt x="191" y="27"/>
                    </a:lnTo>
                    <a:lnTo>
                      <a:pt x="193" y="27"/>
                    </a:lnTo>
                    <a:lnTo>
                      <a:pt x="195" y="30"/>
                    </a:lnTo>
                    <a:lnTo>
                      <a:pt x="197" y="30"/>
                    </a:lnTo>
                    <a:lnTo>
                      <a:pt x="198" y="30"/>
                    </a:lnTo>
                    <a:lnTo>
                      <a:pt x="200" y="30"/>
                    </a:lnTo>
                    <a:lnTo>
                      <a:pt x="201" y="29"/>
                    </a:lnTo>
                    <a:lnTo>
                      <a:pt x="203" y="29"/>
                    </a:lnTo>
                    <a:lnTo>
                      <a:pt x="205" y="30"/>
                    </a:lnTo>
                    <a:lnTo>
                      <a:pt x="207" y="30"/>
                    </a:lnTo>
                    <a:lnTo>
                      <a:pt x="207" y="30"/>
                    </a:lnTo>
                    <a:lnTo>
                      <a:pt x="208" y="30"/>
                    </a:lnTo>
                    <a:lnTo>
                      <a:pt x="210" y="30"/>
                    </a:lnTo>
                    <a:lnTo>
                      <a:pt x="210" y="29"/>
                    </a:lnTo>
                    <a:lnTo>
                      <a:pt x="213" y="29"/>
                    </a:lnTo>
                    <a:lnTo>
                      <a:pt x="214" y="29"/>
                    </a:lnTo>
                    <a:close/>
                    <a:moveTo>
                      <a:pt x="188" y="101"/>
                    </a:moveTo>
                    <a:lnTo>
                      <a:pt x="187" y="101"/>
                    </a:lnTo>
                    <a:lnTo>
                      <a:pt x="184" y="102"/>
                    </a:lnTo>
                    <a:lnTo>
                      <a:pt x="184" y="103"/>
                    </a:lnTo>
                    <a:lnTo>
                      <a:pt x="184" y="105"/>
                    </a:lnTo>
                    <a:lnTo>
                      <a:pt x="185" y="105"/>
                    </a:lnTo>
                    <a:lnTo>
                      <a:pt x="188" y="103"/>
                    </a:lnTo>
                    <a:lnTo>
                      <a:pt x="190" y="102"/>
                    </a:lnTo>
                    <a:lnTo>
                      <a:pt x="188" y="101"/>
                    </a:lnTo>
                    <a:close/>
                    <a:moveTo>
                      <a:pt x="218" y="82"/>
                    </a:moveTo>
                    <a:lnTo>
                      <a:pt x="213" y="83"/>
                    </a:lnTo>
                    <a:lnTo>
                      <a:pt x="207" y="86"/>
                    </a:lnTo>
                    <a:lnTo>
                      <a:pt x="204" y="89"/>
                    </a:lnTo>
                    <a:lnTo>
                      <a:pt x="205" y="93"/>
                    </a:lnTo>
                    <a:lnTo>
                      <a:pt x="207" y="92"/>
                    </a:lnTo>
                    <a:lnTo>
                      <a:pt x="210" y="92"/>
                    </a:lnTo>
                    <a:lnTo>
                      <a:pt x="211" y="93"/>
                    </a:lnTo>
                    <a:lnTo>
                      <a:pt x="213" y="95"/>
                    </a:lnTo>
                    <a:lnTo>
                      <a:pt x="217" y="96"/>
                    </a:lnTo>
                    <a:lnTo>
                      <a:pt x="218" y="93"/>
                    </a:lnTo>
                    <a:lnTo>
                      <a:pt x="221" y="92"/>
                    </a:lnTo>
                    <a:lnTo>
                      <a:pt x="223" y="88"/>
                    </a:lnTo>
                    <a:lnTo>
                      <a:pt x="221" y="86"/>
                    </a:lnTo>
                    <a:lnTo>
                      <a:pt x="220" y="86"/>
                    </a:lnTo>
                    <a:lnTo>
                      <a:pt x="218" y="86"/>
                    </a:lnTo>
                    <a:lnTo>
                      <a:pt x="217" y="86"/>
                    </a:lnTo>
                    <a:lnTo>
                      <a:pt x="217" y="85"/>
                    </a:lnTo>
                    <a:lnTo>
                      <a:pt x="218" y="82"/>
                    </a:lnTo>
                    <a:close/>
                    <a:moveTo>
                      <a:pt x="236" y="85"/>
                    </a:moveTo>
                    <a:lnTo>
                      <a:pt x="237" y="83"/>
                    </a:lnTo>
                    <a:lnTo>
                      <a:pt x="236" y="82"/>
                    </a:lnTo>
                    <a:lnTo>
                      <a:pt x="233" y="80"/>
                    </a:lnTo>
                    <a:lnTo>
                      <a:pt x="230" y="80"/>
                    </a:lnTo>
                    <a:lnTo>
                      <a:pt x="228" y="82"/>
                    </a:lnTo>
                    <a:lnTo>
                      <a:pt x="230" y="83"/>
                    </a:lnTo>
                    <a:lnTo>
                      <a:pt x="233" y="85"/>
                    </a:lnTo>
                    <a:lnTo>
                      <a:pt x="236" y="85"/>
                    </a:lnTo>
                    <a:close/>
                    <a:moveTo>
                      <a:pt x="187" y="109"/>
                    </a:moveTo>
                    <a:lnTo>
                      <a:pt x="187" y="109"/>
                    </a:lnTo>
                    <a:lnTo>
                      <a:pt x="188" y="109"/>
                    </a:lnTo>
                    <a:lnTo>
                      <a:pt x="190" y="109"/>
                    </a:lnTo>
                    <a:lnTo>
                      <a:pt x="187" y="108"/>
                    </a:lnTo>
                    <a:lnTo>
                      <a:pt x="187" y="10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90" name="Freeform 96">
                <a:extLst>
                  <a:ext uri="{FF2B5EF4-FFF2-40B4-BE49-F238E27FC236}">
                    <a16:creationId xmlns:a16="http://schemas.microsoft.com/office/drawing/2014/main" id="{F0085604-58DC-0DA7-A334-5B23193394A3}"/>
                  </a:ext>
                </a:extLst>
              </p:cNvPr>
              <p:cNvSpPr>
                <a:spLocks noEditPoints="1"/>
              </p:cNvSpPr>
              <p:nvPr/>
            </p:nvSpPr>
            <p:spPr bwMode="auto">
              <a:xfrm>
                <a:off x="3665" y="1806"/>
                <a:ext cx="207" cy="229"/>
              </a:xfrm>
              <a:custGeom>
                <a:avLst/>
                <a:gdLst>
                  <a:gd name="T0" fmla="*/ 66 w 207"/>
                  <a:gd name="T1" fmla="*/ 98 h 229"/>
                  <a:gd name="T2" fmla="*/ 64 w 207"/>
                  <a:gd name="T3" fmla="*/ 99 h 229"/>
                  <a:gd name="T4" fmla="*/ 122 w 207"/>
                  <a:gd name="T5" fmla="*/ 26 h 229"/>
                  <a:gd name="T6" fmla="*/ 122 w 207"/>
                  <a:gd name="T7" fmla="*/ 22 h 229"/>
                  <a:gd name="T8" fmla="*/ 119 w 207"/>
                  <a:gd name="T9" fmla="*/ 20 h 229"/>
                  <a:gd name="T10" fmla="*/ 99 w 207"/>
                  <a:gd name="T11" fmla="*/ 6 h 229"/>
                  <a:gd name="T12" fmla="*/ 82 w 207"/>
                  <a:gd name="T13" fmla="*/ 2 h 229"/>
                  <a:gd name="T14" fmla="*/ 66 w 207"/>
                  <a:gd name="T15" fmla="*/ 8 h 229"/>
                  <a:gd name="T16" fmla="*/ 61 w 207"/>
                  <a:gd name="T17" fmla="*/ 18 h 229"/>
                  <a:gd name="T18" fmla="*/ 54 w 207"/>
                  <a:gd name="T19" fmla="*/ 18 h 229"/>
                  <a:gd name="T20" fmla="*/ 46 w 207"/>
                  <a:gd name="T21" fmla="*/ 15 h 229"/>
                  <a:gd name="T22" fmla="*/ 41 w 207"/>
                  <a:gd name="T23" fmla="*/ 26 h 229"/>
                  <a:gd name="T24" fmla="*/ 37 w 207"/>
                  <a:gd name="T25" fmla="*/ 23 h 229"/>
                  <a:gd name="T26" fmla="*/ 31 w 207"/>
                  <a:gd name="T27" fmla="*/ 16 h 229"/>
                  <a:gd name="T28" fmla="*/ 26 w 207"/>
                  <a:gd name="T29" fmla="*/ 20 h 229"/>
                  <a:gd name="T30" fmla="*/ 17 w 207"/>
                  <a:gd name="T31" fmla="*/ 26 h 229"/>
                  <a:gd name="T32" fmla="*/ 7 w 207"/>
                  <a:gd name="T33" fmla="*/ 38 h 229"/>
                  <a:gd name="T34" fmla="*/ 1 w 207"/>
                  <a:gd name="T35" fmla="*/ 45 h 229"/>
                  <a:gd name="T36" fmla="*/ 4 w 207"/>
                  <a:gd name="T37" fmla="*/ 58 h 229"/>
                  <a:gd name="T38" fmla="*/ 13 w 207"/>
                  <a:gd name="T39" fmla="*/ 69 h 229"/>
                  <a:gd name="T40" fmla="*/ 17 w 207"/>
                  <a:gd name="T41" fmla="*/ 77 h 229"/>
                  <a:gd name="T42" fmla="*/ 43 w 207"/>
                  <a:gd name="T43" fmla="*/ 64 h 229"/>
                  <a:gd name="T44" fmla="*/ 67 w 207"/>
                  <a:gd name="T45" fmla="*/ 88 h 229"/>
                  <a:gd name="T46" fmla="*/ 72 w 207"/>
                  <a:gd name="T47" fmla="*/ 97 h 229"/>
                  <a:gd name="T48" fmla="*/ 86 w 207"/>
                  <a:gd name="T49" fmla="*/ 108 h 229"/>
                  <a:gd name="T50" fmla="*/ 113 w 207"/>
                  <a:gd name="T51" fmla="*/ 133 h 229"/>
                  <a:gd name="T52" fmla="*/ 136 w 207"/>
                  <a:gd name="T53" fmla="*/ 144 h 229"/>
                  <a:gd name="T54" fmla="*/ 145 w 207"/>
                  <a:gd name="T55" fmla="*/ 148 h 229"/>
                  <a:gd name="T56" fmla="*/ 159 w 207"/>
                  <a:gd name="T57" fmla="*/ 160 h 229"/>
                  <a:gd name="T58" fmla="*/ 166 w 207"/>
                  <a:gd name="T59" fmla="*/ 186 h 229"/>
                  <a:gd name="T60" fmla="*/ 162 w 207"/>
                  <a:gd name="T61" fmla="*/ 193 h 229"/>
                  <a:gd name="T62" fmla="*/ 166 w 207"/>
                  <a:gd name="T63" fmla="*/ 202 h 229"/>
                  <a:gd name="T64" fmla="*/ 173 w 207"/>
                  <a:gd name="T65" fmla="*/ 187 h 229"/>
                  <a:gd name="T66" fmla="*/ 184 w 207"/>
                  <a:gd name="T67" fmla="*/ 183 h 229"/>
                  <a:gd name="T68" fmla="*/ 175 w 207"/>
                  <a:gd name="T69" fmla="*/ 167 h 229"/>
                  <a:gd name="T70" fmla="*/ 184 w 207"/>
                  <a:gd name="T71" fmla="*/ 148 h 229"/>
                  <a:gd name="T72" fmla="*/ 204 w 207"/>
                  <a:gd name="T73" fmla="*/ 163 h 229"/>
                  <a:gd name="T74" fmla="*/ 162 w 207"/>
                  <a:gd name="T75" fmla="*/ 127 h 229"/>
                  <a:gd name="T76" fmla="*/ 156 w 207"/>
                  <a:gd name="T77" fmla="*/ 118 h 229"/>
                  <a:gd name="T78" fmla="*/ 129 w 207"/>
                  <a:gd name="T79" fmla="*/ 101 h 229"/>
                  <a:gd name="T80" fmla="*/ 100 w 207"/>
                  <a:gd name="T81" fmla="*/ 65 h 229"/>
                  <a:gd name="T82" fmla="*/ 102 w 207"/>
                  <a:gd name="T83" fmla="*/ 49 h 229"/>
                  <a:gd name="T84" fmla="*/ 102 w 207"/>
                  <a:gd name="T85" fmla="*/ 38 h 229"/>
                  <a:gd name="T86" fmla="*/ 117 w 207"/>
                  <a:gd name="T87" fmla="*/ 31 h 229"/>
                  <a:gd name="T88" fmla="*/ 125 w 207"/>
                  <a:gd name="T89" fmla="*/ 35 h 229"/>
                  <a:gd name="T90" fmla="*/ 102 w 207"/>
                  <a:gd name="T91" fmla="*/ 72 h 229"/>
                  <a:gd name="T92" fmla="*/ 125 w 207"/>
                  <a:gd name="T93" fmla="*/ 202 h 229"/>
                  <a:gd name="T94" fmla="*/ 156 w 207"/>
                  <a:gd name="T95" fmla="*/ 196 h 229"/>
                  <a:gd name="T96" fmla="*/ 151 w 207"/>
                  <a:gd name="T97" fmla="*/ 223 h 229"/>
                  <a:gd name="T98" fmla="*/ 135 w 207"/>
                  <a:gd name="T99" fmla="*/ 222 h 229"/>
                  <a:gd name="T100" fmla="*/ 107 w 207"/>
                  <a:gd name="T101" fmla="*/ 210 h 229"/>
                  <a:gd name="T102" fmla="*/ 109 w 207"/>
                  <a:gd name="T103" fmla="*/ 200 h 229"/>
                  <a:gd name="T104" fmla="*/ 93 w 207"/>
                  <a:gd name="T105" fmla="*/ 227 h 229"/>
                  <a:gd name="T106" fmla="*/ 93 w 207"/>
                  <a:gd name="T107" fmla="*/ 227 h 229"/>
                  <a:gd name="T108" fmla="*/ 30 w 207"/>
                  <a:gd name="T109" fmla="*/ 179 h 229"/>
                  <a:gd name="T110" fmla="*/ 46 w 207"/>
                  <a:gd name="T111" fmla="*/ 133 h 229"/>
                  <a:gd name="T112" fmla="*/ 54 w 207"/>
                  <a:gd name="T113" fmla="*/ 150 h 229"/>
                  <a:gd name="T114" fmla="*/ 51 w 207"/>
                  <a:gd name="T115" fmla="*/ 176 h 229"/>
                  <a:gd name="T116" fmla="*/ 31 w 207"/>
                  <a:gd name="T117" fmla="*/ 179 h 229"/>
                  <a:gd name="T118" fmla="*/ 31 w 207"/>
                  <a:gd name="T119" fmla="*/ 161 h 229"/>
                  <a:gd name="T120" fmla="*/ 31 w 207"/>
                  <a:gd name="T121" fmla="*/ 153 h 229"/>
                  <a:gd name="T122" fmla="*/ 27 w 207"/>
                  <a:gd name="T123" fmla="*/ 138 h 229"/>
                  <a:gd name="T124" fmla="*/ 27 w 207"/>
                  <a:gd name="T125" fmla="*/ 13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7" h="229">
                    <a:moveTo>
                      <a:pt x="128" y="144"/>
                    </a:moveTo>
                    <a:lnTo>
                      <a:pt x="126" y="144"/>
                    </a:lnTo>
                    <a:lnTo>
                      <a:pt x="126" y="143"/>
                    </a:lnTo>
                    <a:lnTo>
                      <a:pt x="128" y="144"/>
                    </a:lnTo>
                    <a:lnTo>
                      <a:pt x="128" y="144"/>
                    </a:lnTo>
                    <a:close/>
                    <a:moveTo>
                      <a:pt x="66" y="99"/>
                    </a:moveTo>
                    <a:lnTo>
                      <a:pt x="66" y="98"/>
                    </a:lnTo>
                    <a:lnTo>
                      <a:pt x="66" y="98"/>
                    </a:lnTo>
                    <a:lnTo>
                      <a:pt x="66" y="98"/>
                    </a:lnTo>
                    <a:lnTo>
                      <a:pt x="66" y="97"/>
                    </a:lnTo>
                    <a:lnTo>
                      <a:pt x="64" y="98"/>
                    </a:lnTo>
                    <a:lnTo>
                      <a:pt x="61" y="98"/>
                    </a:lnTo>
                    <a:lnTo>
                      <a:pt x="60" y="98"/>
                    </a:lnTo>
                    <a:lnTo>
                      <a:pt x="61" y="99"/>
                    </a:lnTo>
                    <a:lnTo>
                      <a:pt x="63" y="99"/>
                    </a:lnTo>
                    <a:lnTo>
                      <a:pt x="64" y="99"/>
                    </a:lnTo>
                    <a:lnTo>
                      <a:pt x="66" y="101"/>
                    </a:lnTo>
                    <a:lnTo>
                      <a:pt x="66" y="99"/>
                    </a:lnTo>
                    <a:lnTo>
                      <a:pt x="66" y="99"/>
                    </a:lnTo>
                    <a:lnTo>
                      <a:pt x="66" y="99"/>
                    </a:lnTo>
                    <a:close/>
                    <a:moveTo>
                      <a:pt x="125" y="33"/>
                    </a:moveTo>
                    <a:lnTo>
                      <a:pt x="122" y="31"/>
                    </a:lnTo>
                    <a:lnTo>
                      <a:pt x="122" y="29"/>
                    </a:lnTo>
                    <a:lnTo>
                      <a:pt x="122" y="26"/>
                    </a:lnTo>
                    <a:lnTo>
                      <a:pt x="120" y="26"/>
                    </a:lnTo>
                    <a:lnTo>
                      <a:pt x="120" y="26"/>
                    </a:lnTo>
                    <a:lnTo>
                      <a:pt x="119" y="25"/>
                    </a:lnTo>
                    <a:lnTo>
                      <a:pt x="120" y="25"/>
                    </a:lnTo>
                    <a:lnTo>
                      <a:pt x="120" y="23"/>
                    </a:lnTo>
                    <a:lnTo>
                      <a:pt x="120" y="23"/>
                    </a:lnTo>
                    <a:lnTo>
                      <a:pt x="120" y="23"/>
                    </a:lnTo>
                    <a:lnTo>
                      <a:pt x="122" y="22"/>
                    </a:lnTo>
                    <a:lnTo>
                      <a:pt x="122" y="22"/>
                    </a:lnTo>
                    <a:lnTo>
                      <a:pt x="122" y="22"/>
                    </a:lnTo>
                    <a:lnTo>
                      <a:pt x="122" y="22"/>
                    </a:lnTo>
                    <a:lnTo>
                      <a:pt x="122" y="22"/>
                    </a:lnTo>
                    <a:lnTo>
                      <a:pt x="120" y="20"/>
                    </a:lnTo>
                    <a:lnTo>
                      <a:pt x="120" y="20"/>
                    </a:lnTo>
                    <a:lnTo>
                      <a:pt x="119" y="20"/>
                    </a:lnTo>
                    <a:lnTo>
                      <a:pt x="119" y="20"/>
                    </a:lnTo>
                    <a:lnTo>
                      <a:pt x="117" y="20"/>
                    </a:lnTo>
                    <a:lnTo>
                      <a:pt x="117" y="18"/>
                    </a:lnTo>
                    <a:lnTo>
                      <a:pt x="120" y="16"/>
                    </a:lnTo>
                    <a:lnTo>
                      <a:pt x="122" y="15"/>
                    </a:lnTo>
                    <a:lnTo>
                      <a:pt x="123" y="13"/>
                    </a:lnTo>
                    <a:lnTo>
                      <a:pt x="105" y="10"/>
                    </a:lnTo>
                    <a:lnTo>
                      <a:pt x="102" y="9"/>
                    </a:lnTo>
                    <a:lnTo>
                      <a:pt x="99" y="6"/>
                    </a:lnTo>
                    <a:lnTo>
                      <a:pt x="96" y="3"/>
                    </a:lnTo>
                    <a:lnTo>
                      <a:pt x="97" y="0"/>
                    </a:lnTo>
                    <a:lnTo>
                      <a:pt x="94" y="0"/>
                    </a:lnTo>
                    <a:lnTo>
                      <a:pt x="92" y="2"/>
                    </a:lnTo>
                    <a:lnTo>
                      <a:pt x="89" y="3"/>
                    </a:lnTo>
                    <a:lnTo>
                      <a:pt x="87" y="3"/>
                    </a:lnTo>
                    <a:lnTo>
                      <a:pt x="84" y="2"/>
                    </a:lnTo>
                    <a:lnTo>
                      <a:pt x="82" y="2"/>
                    </a:lnTo>
                    <a:lnTo>
                      <a:pt x="80" y="3"/>
                    </a:lnTo>
                    <a:lnTo>
                      <a:pt x="79" y="5"/>
                    </a:lnTo>
                    <a:lnTo>
                      <a:pt x="77" y="6"/>
                    </a:lnTo>
                    <a:lnTo>
                      <a:pt x="76" y="8"/>
                    </a:lnTo>
                    <a:lnTo>
                      <a:pt x="74" y="8"/>
                    </a:lnTo>
                    <a:lnTo>
                      <a:pt x="73" y="8"/>
                    </a:lnTo>
                    <a:lnTo>
                      <a:pt x="66" y="6"/>
                    </a:lnTo>
                    <a:lnTo>
                      <a:pt x="66" y="8"/>
                    </a:lnTo>
                    <a:lnTo>
                      <a:pt x="66" y="12"/>
                    </a:lnTo>
                    <a:lnTo>
                      <a:pt x="64" y="13"/>
                    </a:lnTo>
                    <a:lnTo>
                      <a:pt x="64" y="12"/>
                    </a:lnTo>
                    <a:lnTo>
                      <a:pt x="63" y="12"/>
                    </a:lnTo>
                    <a:lnTo>
                      <a:pt x="61" y="12"/>
                    </a:lnTo>
                    <a:lnTo>
                      <a:pt x="59" y="13"/>
                    </a:lnTo>
                    <a:lnTo>
                      <a:pt x="60" y="15"/>
                    </a:lnTo>
                    <a:lnTo>
                      <a:pt x="61" y="18"/>
                    </a:lnTo>
                    <a:lnTo>
                      <a:pt x="61" y="19"/>
                    </a:lnTo>
                    <a:lnTo>
                      <a:pt x="60" y="20"/>
                    </a:lnTo>
                    <a:lnTo>
                      <a:pt x="59" y="19"/>
                    </a:lnTo>
                    <a:lnTo>
                      <a:pt x="59" y="18"/>
                    </a:lnTo>
                    <a:lnTo>
                      <a:pt x="57" y="18"/>
                    </a:lnTo>
                    <a:lnTo>
                      <a:pt x="56" y="18"/>
                    </a:lnTo>
                    <a:lnTo>
                      <a:pt x="56" y="18"/>
                    </a:lnTo>
                    <a:lnTo>
                      <a:pt x="54" y="18"/>
                    </a:lnTo>
                    <a:lnTo>
                      <a:pt x="53" y="18"/>
                    </a:lnTo>
                    <a:lnTo>
                      <a:pt x="51" y="18"/>
                    </a:lnTo>
                    <a:lnTo>
                      <a:pt x="50" y="18"/>
                    </a:lnTo>
                    <a:lnTo>
                      <a:pt x="50" y="18"/>
                    </a:lnTo>
                    <a:lnTo>
                      <a:pt x="49" y="16"/>
                    </a:lnTo>
                    <a:lnTo>
                      <a:pt x="47" y="15"/>
                    </a:lnTo>
                    <a:lnTo>
                      <a:pt x="47" y="13"/>
                    </a:lnTo>
                    <a:lnTo>
                      <a:pt x="46" y="15"/>
                    </a:lnTo>
                    <a:lnTo>
                      <a:pt x="46" y="16"/>
                    </a:lnTo>
                    <a:lnTo>
                      <a:pt x="44" y="19"/>
                    </a:lnTo>
                    <a:lnTo>
                      <a:pt x="44" y="20"/>
                    </a:lnTo>
                    <a:lnTo>
                      <a:pt x="43" y="22"/>
                    </a:lnTo>
                    <a:lnTo>
                      <a:pt x="43" y="23"/>
                    </a:lnTo>
                    <a:lnTo>
                      <a:pt x="41" y="23"/>
                    </a:lnTo>
                    <a:lnTo>
                      <a:pt x="41" y="25"/>
                    </a:lnTo>
                    <a:lnTo>
                      <a:pt x="41" y="26"/>
                    </a:lnTo>
                    <a:lnTo>
                      <a:pt x="41" y="28"/>
                    </a:lnTo>
                    <a:lnTo>
                      <a:pt x="41" y="28"/>
                    </a:lnTo>
                    <a:lnTo>
                      <a:pt x="40" y="29"/>
                    </a:lnTo>
                    <a:lnTo>
                      <a:pt x="40" y="29"/>
                    </a:lnTo>
                    <a:lnTo>
                      <a:pt x="38" y="28"/>
                    </a:lnTo>
                    <a:lnTo>
                      <a:pt x="37" y="26"/>
                    </a:lnTo>
                    <a:lnTo>
                      <a:pt x="37" y="25"/>
                    </a:lnTo>
                    <a:lnTo>
                      <a:pt x="37" y="23"/>
                    </a:lnTo>
                    <a:lnTo>
                      <a:pt x="37" y="23"/>
                    </a:lnTo>
                    <a:lnTo>
                      <a:pt x="37" y="23"/>
                    </a:lnTo>
                    <a:lnTo>
                      <a:pt x="34" y="22"/>
                    </a:lnTo>
                    <a:lnTo>
                      <a:pt x="33" y="22"/>
                    </a:lnTo>
                    <a:lnTo>
                      <a:pt x="33" y="20"/>
                    </a:lnTo>
                    <a:lnTo>
                      <a:pt x="31" y="19"/>
                    </a:lnTo>
                    <a:lnTo>
                      <a:pt x="31" y="18"/>
                    </a:lnTo>
                    <a:lnTo>
                      <a:pt x="31" y="16"/>
                    </a:lnTo>
                    <a:lnTo>
                      <a:pt x="30" y="16"/>
                    </a:lnTo>
                    <a:lnTo>
                      <a:pt x="30" y="16"/>
                    </a:lnTo>
                    <a:lnTo>
                      <a:pt x="30" y="16"/>
                    </a:lnTo>
                    <a:lnTo>
                      <a:pt x="28" y="16"/>
                    </a:lnTo>
                    <a:lnTo>
                      <a:pt x="26" y="19"/>
                    </a:lnTo>
                    <a:lnTo>
                      <a:pt x="26" y="19"/>
                    </a:lnTo>
                    <a:lnTo>
                      <a:pt x="26" y="20"/>
                    </a:lnTo>
                    <a:lnTo>
                      <a:pt x="26" y="20"/>
                    </a:lnTo>
                    <a:lnTo>
                      <a:pt x="26" y="20"/>
                    </a:lnTo>
                    <a:lnTo>
                      <a:pt x="24" y="23"/>
                    </a:lnTo>
                    <a:lnTo>
                      <a:pt x="24" y="25"/>
                    </a:lnTo>
                    <a:lnTo>
                      <a:pt x="23" y="25"/>
                    </a:lnTo>
                    <a:lnTo>
                      <a:pt x="21" y="26"/>
                    </a:lnTo>
                    <a:lnTo>
                      <a:pt x="20" y="26"/>
                    </a:lnTo>
                    <a:lnTo>
                      <a:pt x="18" y="26"/>
                    </a:lnTo>
                    <a:lnTo>
                      <a:pt x="17" y="26"/>
                    </a:lnTo>
                    <a:lnTo>
                      <a:pt x="14" y="26"/>
                    </a:lnTo>
                    <a:lnTo>
                      <a:pt x="11" y="28"/>
                    </a:lnTo>
                    <a:lnTo>
                      <a:pt x="8" y="28"/>
                    </a:lnTo>
                    <a:lnTo>
                      <a:pt x="5" y="28"/>
                    </a:lnTo>
                    <a:lnTo>
                      <a:pt x="3" y="31"/>
                    </a:lnTo>
                    <a:lnTo>
                      <a:pt x="3" y="31"/>
                    </a:lnTo>
                    <a:lnTo>
                      <a:pt x="4" y="33"/>
                    </a:lnTo>
                    <a:lnTo>
                      <a:pt x="7" y="38"/>
                    </a:lnTo>
                    <a:lnTo>
                      <a:pt x="8" y="41"/>
                    </a:lnTo>
                    <a:lnTo>
                      <a:pt x="7" y="42"/>
                    </a:lnTo>
                    <a:lnTo>
                      <a:pt x="7" y="43"/>
                    </a:lnTo>
                    <a:lnTo>
                      <a:pt x="5" y="43"/>
                    </a:lnTo>
                    <a:lnTo>
                      <a:pt x="4" y="45"/>
                    </a:lnTo>
                    <a:lnTo>
                      <a:pt x="4" y="45"/>
                    </a:lnTo>
                    <a:lnTo>
                      <a:pt x="3" y="45"/>
                    </a:lnTo>
                    <a:lnTo>
                      <a:pt x="1" y="45"/>
                    </a:lnTo>
                    <a:lnTo>
                      <a:pt x="0" y="45"/>
                    </a:lnTo>
                    <a:lnTo>
                      <a:pt x="0" y="46"/>
                    </a:lnTo>
                    <a:lnTo>
                      <a:pt x="0" y="48"/>
                    </a:lnTo>
                    <a:lnTo>
                      <a:pt x="1" y="49"/>
                    </a:lnTo>
                    <a:lnTo>
                      <a:pt x="4" y="52"/>
                    </a:lnTo>
                    <a:lnTo>
                      <a:pt x="5" y="54"/>
                    </a:lnTo>
                    <a:lnTo>
                      <a:pt x="5" y="56"/>
                    </a:lnTo>
                    <a:lnTo>
                      <a:pt x="4" y="58"/>
                    </a:lnTo>
                    <a:lnTo>
                      <a:pt x="3" y="59"/>
                    </a:lnTo>
                    <a:lnTo>
                      <a:pt x="3" y="61"/>
                    </a:lnTo>
                    <a:lnTo>
                      <a:pt x="4" y="64"/>
                    </a:lnTo>
                    <a:lnTo>
                      <a:pt x="5" y="65"/>
                    </a:lnTo>
                    <a:lnTo>
                      <a:pt x="7" y="66"/>
                    </a:lnTo>
                    <a:lnTo>
                      <a:pt x="10" y="68"/>
                    </a:lnTo>
                    <a:lnTo>
                      <a:pt x="11" y="68"/>
                    </a:lnTo>
                    <a:lnTo>
                      <a:pt x="13" y="69"/>
                    </a:lnTo>
                    <a:lnTo>
                      <a:pt x="14" y="68"/>
                    </a:lnTo>
                    <a:lnTo>
                      <a:pt x="16" y="68"/>
                    </a:lnTo>
                    <a:lnTo>
                      <a:pt x="17" y="68"/>
                    </a:lnTo>
                    <a:lnTo>
                      <a:pt x="17" y="69"/>
                    </a:lnTo>
                    <a:lnTo>
                      <a:pt x="17" y="71"/>
                    </a:lnTo>
                    <a:lnTo>
                      <a:pt x="14" y="75"/>
                    </a:lnTo>
                    <a:lnTo>
                      <a:pt x="14" y="77"/>
                    </a:lnTo>
                    <a:lnTo>
                      <a:pt x="17" y="77"/>
                    </a:lnTo>
                    <a:lnTo>
                      <a:pt x="21" y="75"/>
                    </a:lnTo>
                    <a:lnTo>
                      <a:pt x="24" y="74"/>
                    </a:lnTo>
                    <a:lnTo>
                      <a:pt x="26" y="72"/>
                    </a:lnTo>
                    <a:lnTo>
                      <a:pt x="31" y="66"/>
                    </a:lnTo>
                    <a:lnTo>
                      <a:pt x="33" y="64"/>
                    </a:lnTo>
                    <a:lnTo>
                      <a:pt x="37" y="62"/>
                    </a:lnTo>
                    <a:lnTo>
                      <a:pt x="40" y="62"/>
                    </a:lnTo>
                    <a:lnTo>
                      <a:pt x="43" y="64"/>
                    </a:lnTo>
                    <a:lnTo>
                      <a:pt x="57" y="71"/>
                    </a:lnTo>
                    <a:lnTo>
                      <a:pt x="60" y="72"/>
                    </a:lnTo>
                    <a:lnTo>
                      <a:pt x="61" y="74"/>
                    </a:lnTo>
                    <a:lnTo>
                      <a:pt x="63" y="77"/>
                    </a:lnTo>
                    <a:lnTo>
                      <a:pt x="63" y="79"/>
                    </a:lnTo>
                    <a:lnTo>
                      <a:pt x="64" y="84"/>
                    </a:lnTo>
                    <a:lnTo>
                      <a:pt x="66" y="85"/>
                    </a:lnTo>
                    <a:lnTo>
                      <a:pt x="67" y="88"/>
                    </a:lnTo>
                    <a:lnTo>
                      <a:pt x="67" y="89"/>
                    </a:lnTo>
                    <a:lnTo>
                      <a:pt x="67" y="91"/>
                    </a:lnTo>
                    <a:lnTo>
                      <a:pt x="67" y="94"/>
                    </a:lnTo>
                    <a:lnTo>
                      <a:pt x="67" y="95"/>
                    </a:lnTo>
                    <a:lnTo>
                      <a:pt x="69" y="95"/>
                    </a:lnTo>
                    <a:lnTo>
                      <a:pt x="70" y="95"/>
                    </a:lnTo>
                    <a:lnTo>
                      <a:pt x="72" y="97"/>
                    </a:lnTo>
                    <a:lnTo>
                      <a:pt x="72" y="97"/>
                    </a:lnTo>
                    <a:lnTo>
                      <a:pt x="73" y="99"/>
                    </a:lnTo>
                    <a:lnTo>
                      <a:pt x="77" y="102"/>
                    </a:lnTo>
                    <a:lnTo>
                      <a:pt x="79" y="105"/>
                    </a:lnTo>
                    <a:lnTo>
                      <a:pt x="77" y="107"/>
                    </a:lnTo>
                    <a:lnTo>
                      <a:pt x="79" y="108"/>
                    </a:lnTo>
                    <a:lnTo>
                      <a:pt x="82" y="108"/>
                    </a:lnTo>
                    <a:lnTo>
                      <a:pt x="83" y="108"/>
                    </a:lnTo>
                    <a:lnTo>
                      <a:pt x="86" y="108"/>
                    </a:lnTo>
                    <a:lnTo>
                      <a:pt x="87" y="111"/>
                    </a:lnTo>
                    <a:lnTo>
                      <a:pt x="89" y="112"/>
                    </a:lnTo>
                    <a:lnTo>
                      <a:pt x="90" y="114"/>
                    </a:lnTo>
                    <a:lnTo>
                      <a:pt x="97" y="120"/>
                    </a:lnTo>
                    <a:lnTo>
                      <a:pt x="103" y="127"/>
                    </a:lnTo>
                    <a:lnTo>
                      <a:pt x="105" y="128"/>
                    </a:lnTo>
                    <a:lnTo>
                      <a:pt x="112" y="133"/>
                    </a:lnTo>
                    <a:lnTo>
                      <a:pt x="113" y="133"/>
                    </a:lnTo>
                    <a:lnTo>
                      <a:pt x="117" y="133"/>
                    </a:lnTo>
                    <a:lnTo>
                      <a:pt x="122" y="133"/>
                    </a:lnTo>
                    <a:lnTo>
                      <a:pt x="126" y="135"/>
                    </a:lnTo>
                    <a:lnTo>
                      <a:pt x="128" y="138"/>
                    </a:lnTo>
                    <a:lnTo>
                      <a:pt x="130" y="143"/>
                    </a:lnTo>
                    <a:lnTo>
                      <a:pt x="132" y="141"/>
                    </a:lnTo>
                    <a:lnTo>
                      <a:pt x="135" y="143"/>
                    </a:lnTo>
                    <a:lnTo>
                      <a:pt x="136" y="144"/>
                    </a:lnTo>
                    <a:lnTo>
                      <a:pt x="135" y="147"/>
                    </a:lnTo>
                    <a:lnTo>
                      <a:pt x="138" y="145"/>
                    </a:lnTo>
                    <a:lnTo>
                      <a:pt x="140" y="145"/>
                    </a:lnTo>
                    <a:lnTo>
                      <a:pt x="142" y="145"/>
                    </a:lnTo>
                    <a:lnTo>
                      <a:pt x="142" y="145"/>
                    </a:lnTo>
                    <a:lnTo>
                      <a:pt x="143" y="145"/>
                    </a:lnTo>
                    <a:lnTo>
                      <a:pt x="143" y="147"/>
                    </a:lnTo>
                    <a:lnTo>
                      <a:pt x="145" y="148"/>
                    </a:lnTo>
                    <a:lnTo>
                      <a:pt x="145" y="150"/>
                    </a:lnTo>
                    <a:lnTo>
                      <a:pt x="145" y="151"/>
                    </a:lnTo>
                    <a:lnTo>
                      <a:pt x="145" y="153"/>
                    </a:lnTo>
                    <a:lnTo>
                      <a:pt x="145" y="153"/>
                    </a:lnTo>
                    <a:lnTo>
                      <a:pt x="148" y="156"/>
                    </a:lnTo>
                    <a:lnTo>
                      <a:pt x="152" y="157"/>
                    </a:lnTo>
                    <a:lnTo>
                      <a:pt x="156" y="158"/>
                    </a:lnTo>
                    <a:lnTo>
                      <a:pt x="159" y="160"/>
                    </a:lnTo>
                    <a:lnTo>
                      <a:pt x="162" y="164"/>
                    </a:lnTo>
                    <a:lnTo>
                      <a:pt x="166" y="180"/>
                    </a:lnTo>
                    <a:lnTo>
                      <a:pt x="166" y="181"/>
                    </a:lnTo>
                    <a:lnTo>
                      <a:pt x="166" y="181"/>
                    </a:lnTo>
                    <a:lnTo>
                      <a:pt x="168" y="183"/>
                    </a:lnTo>
                    <a:lnTo>
                      <a:pt x="168" y="184"/>
                    </a:lnTo>
                    <a:lnTo>
                      <a:pt x="168" y="186"/>
                    </a:lnTo>
                    <a:lnTo>
                      <a:pt x="166" y="186"/>
                    </a:lnTo>
                    <a:lnTo>
                      <a:pt x="166" y="186"/>
                    </a:lnTo>
                    <a:lnTo>
                      <a:pt x="165" y="187"/>
                    </a:lnTo>
                    <a:lnTo>
                      <a:pt x="163" y="187"/>
                    </a:lnTo>
                    <a:lnTo>
                      <a:pt x="163" y="187"/>
                    </a:lnTo>
                    <a:lnTo>
                      <a:pt x="162" y="189"/>
                    </a:lnTo>
                    <a:lnTo>
                      <a:pt x="162" y="190"/>
                    </a:lnTo>
                    <a:lnTo>
                      <a:pt x="162" y="191"/>
                    </a:lnTo>
                    <a:lnTo>
                      <a:pt x="162" y="193"/>
                    </a:lnTo>
                    <a:lnTo>
                      <a:pt x="161" y="196"/>
                    </a:lnTo>
                    <a:lnTo>
                      <a:pt x="159" y="197"/>
                    </a:lnTo>
                    <a:lnTo>
                      <a:pt x="158" y="199"/>
                    </a:lnTo>
                    <a:lnTo>
                      <a:pt x="158" y="202"/>
                    </a:lnTo>
                    <a:lnTo>
                      <a:pt x="159" y="203"/>
                    </a:lnTo>
                    <a:lnTo>
                      <a:pt x="162" y="203"/>
                    </a:lnTo>
                    <a:lnTo>
                      <a:pt x="163" y="203"/>
                    </a:lnTo>
                    <a:lnTo>
                      <a:pt x="166" y="202"/>
                    </a:lnTo>
                    <a:lnTo>
                      <a:pt x="166" y="200"/>
                    </a:lnTo>
                    <a:lnTo>
                      <a:pt x="168" y="199"/>
                    </a:lnTo>
                    <a:lnTo>
                      <a:pt x="168" y="197"/>
                    </a:lnTo>
                    <a:lnTo>
                      <a:pt x="169" y="196"/>
                    </a:lnTo>
                    <a:lnTo>
                      <a:pt x="172" y="194"/>
                    </a:lnTo>
                    <a:lnTo>
                      <a:pt x="172" y="194"/>
                    </a:lnTo>
                    <a:lnTo>
                      <a:pt x="173" y="191"/>
                    </a:lnTo>
                    <a:lnTo>
                      <a:pt x="173" y="187"/>
                    </a:lnTo>
                    <a:lnTo>
                      <a:pt x="175" y="186"/>
                    </a:lnTo>
                    <a:lnTo>
                      <a:pt x="175" y="184"/>
                    </a:lnTo>
                    <a:lnTo>
                      <a:pt x="176" y="184"/>
                    </a:lnTo>
                    <a:lnTo>
                      <a:pt x="178" y="183"/>
                    </a:lnTo>
                    <a:lnTo>
                      <a:pt x="178" y="183"/>
                    </a:lnTo>
                    <a:lnTo>
                      <a:pt x="179" y="183"/>
                    </a:lnTo>
                    <a:lnTo>
                      <a:pt x="182" y="183"/>
                    </a:lnTo>
                    <a:lnTo>
                      <a:pt x="184" y="183"/>
                    </a:lnTo>
                    <a:lnTo>
                      <a:pt x="184" y="181"/>
                    </a:lnTo>
                    <a:lnTo>
                      <a:pt x="184" y="179"/>
                    </a:lnTo>
                    <a:lnTo>
                      <a:pt x="184" y="176"/>
                    </a:lnTo>
                    <a:lnTo>
                      <a:pt x="184" y="173"/>
                    </a:lnTo>
                    <a:lnTo>
                      <a:pt x="182" y="171"/>
                    </a:lnTo>
                    <a:lnTo>
                      <a:pt x="179" y="170"/>
                    </a:lnTo>
                    <a:lnTo>
                      <a:pt x="178" y="168"/>
                    </a:lnTo>
                    <a:lnTo>
                      <a:pt x="175" y="167"/>
                    </a:lnTo>
                    <a:lnTo>
                      <a:pt x="173" y="166"/>
                    </a:lnTo>
                    <a:lnTo>
                      <a:pt x="173" y="163"/>
                    </a:lnTo>
                    <a:lnTo>
                      <a:pt x="173" y="161"/>
                    </a:lnTo>
                    <a:lnTo>
                      <a:pt x="176" y="154"/>
                    </a:lnTo>
                    <a:lnTo>
                      <a:pt x="178" y="151"/>
                    </a:lnTo>
                    <a:lnTo>
                      <a:pt x="179" y="150"/>
                    </a:lnTo>
                    <a:lnTo>
                      <a:pt x="182" y="148"/>
                    </a:lnTo>
                    <a:lnTo>
                      <a:pt x="184" y="148"/>
                    </a:lnTo>
                    <a:lnTo>
                      <a:pt x="186" y="151"/>
                    </a:lnTo>
                    <a:lnTo>
                      <a:pt x="188" y="151"/>
                    </a:lnTo>
                    <a:lnTo>
                      <a:pt x="194" y="153"/>
                    </a:lnTo>
                    <a:lnTo>
                      <a:pt x="196" y="154"/>
                    </a:lnTo>
                    <a:lnTo>
                      <a:pt x="198" y="157"/>
                    </a:lnTo>
                    <a:lnTo>
                      <a:pt x="199" y="158"/>
                    </a:lnTo>
                    <a:lnTo>
                      <a:pt x="201" y="161"/>
                    </a:lnTo>
                    <a:lnTo>
                      <a:pt x="204" y="163"/>
                    </a:lnTo>
                    <a:lnTo>
                      <a:pt x="207" y="160"/>
                    </a:lnTo>
                    <a:lnTo>
                      <a:pt x="207" y="156"/>
                    </a:lnTo>
                    <a:lnTo>
                      <a:pt x="205" y="151"/>
                    </a:lnTo>
                    <a:lnTo>
                      <a:pt x="201" y="148"/>
                    </a:lnTo>
                    <a:lnTo>
                      <a:pt x="182" y="137"/>
                    </a:lnTo>
                    <a:lnTo>
                      <a:pt x="166" y="130"/>
                    </a:lnTo>
                    <a:lnTo>
                      <a:pt x="163" y="128"/>
                    </a:lnTo>
                    <a:lnTo>
                      <a:pt x="162" y="127"/>
                    </a:lnTo>
                    <a:lnTo>
                      <a:pt x="162" y="125"/>
                    </a:lnTo>
                    <a:lnTo>
                      <a:pt x="163" y="124"/>
                    </a:lnTo>
                    <a:lnTo>
                      <a:pt x="166" y="122"/>
                    </a:lnTo>
                    <a:lnTo>
                      <a:pt x="168" y="121"/>
                    </a:lnTo>
                    <a:lnTo>
                      <a:pt x="166" y="118"/>
                    </a:lnTo>
                    <a:lnTo>
                      <a:pt x="165" y="118"/>
                    </a:lnTo>
                    <a:lnTo>
                      <a:pt x="162" y="118"/>
                    </a:lnTo>
                    <a:lnTo>
                      <a:pt x="156" y="118"/>
                    </a:lnTo>
                    <a:lnTo>
                      <a:pt x="153" y="118"/>
                    </a:lnTo>
                    <a:lnTo>
                      <a:pt x="151" y="118"/>
                    </a:lnTo>
                    <a:lnTo>
                      <a:pt x="148" y="117"/>
                    </a:lnTo>
                    <a:lnTo>
                      <a:pt x="145" y="115"/>
                    </a:lnTo>
                    <a:lnTo>
                      <a:pt x="140" y="112"/>
                    </a:lnTo>
                    <a:lnTo>
                      <a:pt x="136" y="110"/>
                    </a:lnTo>
                    <a:lnTo>
                      <a:pt x="132" y="105"/>
                    </a:lnTo>
                    <a:lnTo>
                      <a:pt x="129" y="101"/>
                    </a:lnTo>
                    <a:lnTo>
                      <a:pt x="128" y="97"/>
                    </a:lnTo>
                    <a:lnTo>
                      <a:pt x="126" y="91"/>
                    </a:lnTo>
                    <a:lnTo>
                      <a:pt x="123" y="85"/>
                    </a:lnTo>
                    <a:lnTo>
                      <a:pt x="120" y="81"/>
                    </a:lnTo>
                    <a:lnTo>
                      <a:pt x="116" y="78"/>
                    </a:lnTo>
                    <a:lnTo>
                      <a:pt x="105" y="71"/>
                    </a:lnTo>
                    <a:lnTo>
                      <a:pt x="100" y="66"/>
                    </a:lnTo>
                    <a:lnTo>
                      <a:pt x="100" y="65"/>
                    </a:lnTo>
                    <a:lnTo>
                      <a:pt x="99" y="62"/>
                    </a:lnTo>
                    <a:lnTo>
                      <a:pt x="99" y="59"/>
                    </a:lnTo>
                    <a:lnTo>
                      <a:pt x="97" y="56"/>
                    </a:lnTo>
                    <a:lnTo>
                      <a:pt x="99" y="54"/>
                    </a:lnTo>
                    <a:lnTo>
                      <a:pt x="99" y="54"/>
                    </a:lnTo>
                    <a:lnTo>
                      <a:pt x="100" y="54"/>
                    </a:lnTo>
                    <a:lnTo>
                      <a:pt x="102" y="52"/>
                    </a:lnTo>
                    <a:lnTo>
                      <a:pt x="102" y="49"/>
                    </a:lnTo>
                    <a:lnTo>
                      <a:pt x="100" y="48"/>
                    </a:lnTo>
                    <a:lnTo>
                      <a:pt x="99" y="45"/>
                    </a:lnTo>
                    <a:lnTo>
                      <a:pt x="97" y="43"/>
                    </a:lnTo>
                    <a:lnTo>
                      <a:pt x="97" y="41"/>
                    </a:lnTo>
                    <a:lnTo>
                      <a:pt x="99" y="38"/>
                    </a:lnTo>
                    <a:lnTo>
                      <a:pt x="100" y="36"/>
                    </a:lnTo>
                    <a:lnTo>
                      <a:pt x="103" y="36"/>
                    </a:lnTo>
                    <a:lnTo>
                      <a:pt x="102" y="38"/>
                    </a:lnTo>
                    <a:lnTo>
                      <a:pt x="103" y="38"/>
                    </a:lnTo>
                    <a:lnTo>
                      <a:pt x="105" y="38"/>
                    </a:lnTo>
                    <a:lnTo>
                      <a:pt x="109" y="35"/>
                    </a:lnTo>
                    <a:lnTo>
                      <a:pt x="110" y="35"/>
                    </a:lnTo>
                    <a:lnTo>
                      <a:pt x="113" y="32"/>
                    </a:lnTo>
                    <a:lnTo>
                      <a:pt x="113" y="32"/>
                    </a:lnTo>
                    <a:lnTo>
                      <a:pt x="115" y="31"/>
                    </a:lnTo>
                    <a:lnTo>
                      <a:pt x="117" y="31"/>
                    </a:lnTo>
                    <a:lnTo>
                      <a:pt x="120" y="32"/>
                    </a:lnTo>
                    <a:lnTo>
                      <a:pt x="120" y="32"/>
                    </a:lnTo>
                    <a:lnTo>
                      <a:pt x="122" y="31"/>
                    </a:lnTo>
                    <a:lnTo>
                      <a:pt x="122" y="31"/>
                    </a:lnTo>
                    <a:lnTo>
                      <a:pt x="123" y="32"/>
                    </a:lnTo>
                    <a:lnTo>
                      <a:pt x="125" y="32"/>
                    </a:lnTo>
                    <a:lnTo>
                      <a:pt x="125" y="33"/>
                    </a:lnTo>
                    <a:lnTo>
                      <a:pt x="125" y="35"/>
                    </a:lnTo>
                    <a:lnTo>
                      <a:pt x="123" y="35"/>
                    </a:lnTo>
                    <a:lnTo>
                      <a:pt x="126" y="35"/>
                    </a:lnTo>
                    <a:lnTo>
                      <a:pt x="125" y="33"/>
                    </a:lnTo>
                    <a:close/>
                    <a:moveTo>
                      <a:pt x="102" y="118"/>
                    </a:moveTo>
                    <a:lnTo>
                      <a:pt x="102" y="118"/>
                    </a:lnTo>
                    <a:lnTo>
                      <a:pt x="102" y="118"/>
                    </a:lnTo>
                    <a:lnTo>
                      <a:pt x="102" y="118"/>
                    </a:lnTo>
                    <a:close/>
                    <a:moveTo>
                      <a:pt x="102" y="72"/>
                    </a:moveTo>
                    <a:lnTo>
                      <a:pt x="102" y="72"/>
                    </a:lnTo>
                    <a:lnTo>
                      <a:pt x="102" y="72"/>
                    </a:lnTo>
                    <a:lnTo>
                      <a:pt x="102" y="74"/>
                    </a:lnTo>
                    <a:lnTo>
                      <a:pt x="102" y="74"/>
                    </a:lnTo>
                    <a:lnTo>
                      <a:pt x="102" y="74"/>
                    </a:lnTo>
                    <a:lnTo>
                      <a:pt x="100" y="74"/>
                    </a:lnTo>
                    <a:lnTo>
                      <a:pt x="102" y="72"/>
                    </a:lnTo>
                    <a:close/>
                    <a:moveTo>
                      <a:pt x="125" y="202"/>
                    </a:moveTo>
                    <a:lnTo>
                      <a:pt x="130" y="200"/>
                    </a:lnTo>
                    <a:lnTo>
                      <a:pt x="136" y="200"/>
                    </a:lnTo>
                    <a:lnTo>
                      <a:pt x="139" y="200"/>
                    </a:lnTo>
                    <a:lnTo>
                      <a:pt x="142" y="199"/>
                    </a:lnTo>
                    <a:lnTo>
                      <a:pt x="143" y="199"/>
                    </a:lnTo>
                    <a:lnTo>
                      <a:pt x="148" y="197"/>
                    </a:lnTo>
                    <a:lnTo>
                      <a:pt x="155" y="196"/>
                    </a:lnTo>
                    <a:lnTo>
                      <a:pt x="156" y="196"/>
                    </a:lnTo>
                    <a:lnTo>
                      <a:pt x="158" y="196"/>
                    </a:lnTo>
                    <a:lnTo>
                      <a:pt x="153" y="200"/>
                    </a:lnTo>
                    <a:lnTo>
                      <a:pt x="151" y="206"/>
                    </a:lnTo>
                    <a:lnTo>
                      <a:pt x="148" y="213"/>
                    </a:lnTo>
                    <a:lnTo>
                      <a:pt x="151" y="217"/>
                    </a:lnTo>
                    <a:lnTo>
                      <a:pt x="149" y="217"/>
                    </a:lnTo>
                    <a:lnTo>
                      <a:pt x="151" y="220"/>
                    </a:lnTo>
                    <a:lnTo>
                      <a:pt x="151" y="223"/>
                    </a:lnTo>
                    <a:lnTo>
                      <a:pt x="149" y="225"/>
                    </a:lnTo>
                    <a:lnTo>
                      <a:pt x="148" y="229"/>
                    </a:lnTo>
                    <a:lnTo>
                      <a:pt x="146" y="229"/>
                    </a:lnTo>
                    <a:lnTo>
                      <a:pt x="143" y="227"/>
                    </a:lnTo>
                    <a:lnTo>
                      <a:pt x="140" y="227"/>
                    </a:lnTo>
                    <a:lnTo>
                      <a:pt x="139" y="226"/>
                    </a:lnTo>
                    <a:lnTo>
                      <a:pt x="138" y="225"/>
                    </a:lnTo>
                    <a:lnTo>
                      <a:pt x="135" y="222"/>
                    </a:lnTo>
                    <a:lnTo>
                      <a:pt x="133" y="220"/>
                    </a:lnTo>
                    <a:lnTo>
                      <a:pt x="130" y="220"/>
                    </a:lnTo>
                    <a:lnTo>
                      <a:pt x="128" y="219"/>
                    </a:lnTo>
                    <a:lnTo>
                      <a:pt x="125" y="219"/>
                    </a:lnTo>
                    <a:lnTo>
                      <a:pt x="122" y="217"/>
                    </a:lnTo>
                    <a:lnTo>
                      <a:pt x="112" y="210"/>
                    </a:lnTo>
                    <a:lnTo>
                      <a:pt x="110" y="210"/>
                    </a:lnTo>
                    <a:lnTo>
                      <a:pt x="107" y="210"/>
                    </a:lnTo>
                    <a:lnTo>
                      <a:pt x="106" y="210"/>
                    </a:lnTo>
                    <a:lnTo>
                      <a:pt x="105" y="210"/>
                    </a:lnTo>
                    <a:lnTo>
                      <a:pt x="103" y="209"/>
                    </a:lnTo>
                    <a:lnTo>
                      <a:pt x="102" y="206"/>
                    </a:lnTo>
                    <a:lnTo>
                      <a:pt x="102" y="203"/>
                    </a:lnTo>
                    <a:lnTo>
                      <a:pt x="106" y="197"/>
                    </a:lnTo>
                    <a:lnTo>
                      <a:pt x="107" y="200"/>
                    </a:lnTo>
                    <a:lnTo>
                      <a:pt x="109" y="200"/>
                    </a:lnTo>
                    <a:lnTo>
                      <a:pt x="110" y="200"/>
                    </a:lnTo>
                    <a:lnTo>
                      <a:pt x="115" y="199"/>
                    </a:lnTo>
                    <a:lnTo>
                      <a:pt x="116" y="199"/>
                    </a:lnTo>
                    <a:lnTo>
                      <a:pt x="117" y="199"/>
                    </a:lnTo>
                    <a:lnTo>
                      <a:pt x="122" y="202"/>
                    </a:lnTo>
                    <a:lnTo>
                      <a:pt x="123" y="202"/>
                    </a:lnTo>
                    <a:lnTo>
                      <a:pt x="125" y="202"/>
                    </a:lnTo>
                    <a:close/>
                    <a:moveTo>
                      <a:pt x="93" y="227"/>
                    </a:moveTo>
                    <a:lnTo>
                      <a:pt x="93" y="226"/>
                    </a:lnTo>
                    <a:lnTo>
                      <a:pt x="93" y="226"/>
                    </a:lnTo>
                    <a:lnTo>
                      <a:pt x="93" y="225"/>
                    </a:lnTo>
                    <a:lnTo>
                      <a:pt x="93" y="225"/>
                    </a:lnTo>
                    <a:lnTo>
                      <a:pt x="94" y="226"/>
                    </a:lnTo>
                    <a:lnTo>
                      <a:pt x="94" y="226"/>
                    </a:lnTo>
                    <a:lnTo>
                      <a:pt x="94" y="227"/>
                    </a:lnTo>
                    <a:lnTo>
                      <a:pt x="93" y="227"/>
                    </a:lnTo>
                    <a:close/>
                    <a:moveTo>
                      <a:pt x="31" y="179"/>
                    </a:moveTo>
                    <a:lnTo>
                      <a:pt x="31" y="180"/>
                    </a:lnTo>
                    <a:lnTo>
                      <a:pt x="31" y="180"/>
                    </a:lnTo>
                    <a:lnTo>
                      <a:pt x="30" y="181"/>
                    </a:lnTo>
                    <a:lnTo>
                      <a:pt x="30" y="181"/>
                    </a:lnTo>
                    <a:lnTo>
                      <a:pt x="30" y="180"/>
                    </a:lnTo>
                    <a:lnTo>
                      <a:pt x="30" y="180"/>
                    </a:lnTo>
                    <a:lnTo>
                      <a:pt x="30" y="179"/>
                    </a:lnTo>
                    <a:lnTo>
                      <a:pt x="31" y="179"/>
                    </a:lnTo>
                    <a:close/>
                    <a:moveTo>
                      <a:pt x="27" y="141"/>
                    </a:moveTo>
                    <a:lnTo>
                      <a:pt x="27" y="140"/>
                    </a:lnTo>
                    <a:lnTo>
                      <a:pt x="31" y="141"/>
                    </a:lnTo>
                    <a:lnTo>
                      <a:pt x="36" y="141"/>
                    </a:lnTo>
                    <a:lnTo>
                      <a:pt x="38" y="138"/>
                    </a:lnTo>
                    <a:lnTo>
                      <a:pt x="44" y="133"/>
                    </a:lnTo>
                    <a:lnTo>
                      <a:pt x="46" y="133"/>
                    </a:lnTo>
                    <a:lnTo>
                      <a:pt x="47" y="134"/>
                    </a:lnTo>
                    <a:lnTo>
                      <a:pt x="49" y="135"/>
                    </a:lnTo>
                    <a:lnTo>
                      <a:pt x="50" y="137"/>
                    </a:lnTo>
                    <a:lnTo>
                      <a:pt x="51" y="138"/>
                    </a:lnTo>
                    <a:lnTo>
                      <a:pt x="51" y="140"/>
                    </a:lnTo>
                    <a:lnTo>
                      <a:pt x="54" y="145"/>
                    </a:lnTo>
                    <a:lnTo>
                      <a:pt x="54" y="148"/>
                    </a:lnTo>
                    <a:lnTo>
                      <a:pt x="54" y="150"/>
                    </a:lnTo>
                    <a:lnTo>
                      <a:pt x="53" y="153"/>
                    </a:lnTo>
                    <a:lnTo>
                      <a:pt x="53" y="154"/>
                    </a:lnTo>
                    <a:lnTo>
                      <a:pt x="53" y="156"/>
                    </a:lnTo>
                    <a:lnTo>
                      <a:pt x="53" y="158"/>
                    </a:lnTo>
                    <a:lnTo>
                      <a:pt x="53" y="160"/>
                    </a:lnTo>
                    <a:lnTo>
                      <a:pt x="53" y="168"/>
                    </a:lnTo>
                    <a:lnTo>
                      <a:pt x="53" y="173"/>
                    </a:lnTo>
                    <a:lnTo>
                      <a:pt x="51" y="176"/>
                    </a:lnTo>
                    <a:lnTo>
                      <a:pt x="49" y="177"/>
                    </a:lnTo>
                    <a:lnTo>
                      <a:pt x="47" y="177"/>
                    </a:lnTo>
                    <a:lnTo>
                      <a:pt x="44" y="177"/>
                    </a:lnTo>
                    <a:lnTo>
                      <a:pt x="41" y="176"/>
                    </a:lnTo>
                    <a:lnTo>
                      <a:pt x="40" y="180"/>
                    </a:lnTo>
                    <a:lnTo>
                      <a:pt x="38" y="183"/>
                    </a:lnTo>
                    <a:lnTo>
                      <a:pt x="36" y="183"/>
                    </a:lnTo>
                    <a:lnTo>
                      <a:pt x="31" y="179"/>
                    </a:lnTo>
                    <a:lnTo>
                      <a:pt x="31" y="176"/>
                    </a:lnTo>
                    <a:lnTo>
                      <a:pt x="30" y="171"/>
                    </a:lnTo>
                    <a:lnTo>
                      <a:pt x="31" y="168"/>
                    </a:lnTo>
                    <a:lnTo>
                      <a:pt x="31" y="166"/>
                    </a:lnTo>
                    <a:lnTo>
                      <a:pt x="33" y="166"/>
                    </a:lnTo>
                    <a:lnTo>
                      <a:pt x="33" y="164"/>
                    </a:lnTo>
                    <a:lnTo>
                      <a:pt x="31" y="161"/>
                    </a:lnTo>
                    <a:lnTo>
                      <a:pt x="31" y="161"/>
                    </a:lnTo>
                    <a:lnTo>
                      <a:pt x="31" y="161"/>
                    </a:lnTo>
                    <a:lnTo>
                      <a:pt x="30" y="160"/>
                    </a:lnTo>
                    <a:lnTo>
                      <a:pt x="30" y="160"/>
                    </a:lnTo>
                    <a:lnTo>
                      <a:pt x="30" y="158"/>
                    </a:lnTo>
                    <a:lnTo>
                      <a:pt x="31" y="158"/>
                    </a:lnTo>
                    <a:lnTo>
                      <a:pt x="31" y="157"/>
                    </a:lnTo>
                    <a:lnTo>
                      <a:pt x="31" y="156"/>
                    </a:lnTo>
                    <a:lnTo>
                      <a:pt x="31" y="153"/>
                    </a:lnTo>
                    <a:lnTo>
                      <a:pt x="30" y="151"/>
                    </a:lnTo>
                    <a:lnTo>
                      <a:pt x="30" y="150"/>
                    </a:lnTo>
                    <a:lnTo>
                      <a:pt x="27" y="147"/>
                    </a:lnTo>
                    <a:lnTo>
                      <a:pt x="27" y="145"/>
                    </a:lnTo>
                    <a:lnTo>
                      <a:pt x="27" y="143"/>
                    </a:lnTo>
                    <a:lnTo>
                      <a:pt x="27" y="143"/>
                    </a:lnTo>
                    <a:lnTo>
                      <a:pt x="27" y="141"/>
                    </a:lnTo>
                    <a:close/>
                    <a:moveTo>
                      <a:pt x="27" y="138"/>
                    </a:moveTo>
                    <a:lnTo>
                      <a:pt x="27" y="138"/>
                    </a:lnTo>
                    <a:lnTo>
                      <a:pt x="27" y="137"/>
                    </a:lnTo>
                    <a:lnTo>
                      <a:pt x="27" y="137"/>
                    </a:lnTo>
                    <a:lnTo>
                      <a:pt x="28" y="135"/>
                    </a:lnTo>
                    <a:lnTo>
                      <a:pt x="30" y="135"/>
                    </a:lnTo>
                    <a:lnTo>
                      <a:pt x="28" y="137"/>
                    </a:lnTo>
                    <a:lnTo>
                      <a:pt x="28" y="137"/>
                    </a:lnTo>
                    <a:lnTo>
                      <a:pt x="27" y="13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91" name="Rectangle 97">
                <a:extLst>
                  <a:ext uri="{FF2B5EF4-FFF2-40B4-BE49-F238E27FC236}">
                    <a16:creationId xmlns:a16="http://schemas.microsoft.com/office/drawing/2014/main" id="{6F029EBC-CE52-E867-A5AB-05B4A11DA3A1}"/>
                  </a:ext>
                </a:extLst>
              </p:cNvPr>
              <p:cNvSpPr>
                <a:spLocks noChangeArrowheads="1"/>
              </p:cNvSpPr>
              <p:nvPr/>
            </p:nvSpPr>
            <p:spPr bwMode="auto">
              <a:xfrm>
                <a:off x="3767" y="1924"/>
                <a:ext cx="1" cy="1"/>
              </a:xfrm>
              <a:prstGeom prst="rect">
                <a:avLst/>
              </a:pr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92" name="Freeform 98">
                <a:extLst>
                  <a:ext uri="{FF2B5EF4-FFF2-40B4-BE49-F238E27FC236}">
                    <a16:creationId xmlns:a16="http://schemas.microsoft.com/office/drawing/2014/main" id="{83936B1D-8EA7-556F-3A40-E5B492224F99}"/>
                  </a:ext>
                </a:extLst>
              </p:cNvPr>
              <p:cNvSpPr>
                <a:spLocks/>
              </p:cNvSpPr>
              <p:nvPr/>
            </p:nvSpPr>
            <p:spPr bwMode="auto">
              <a:xfrm>
                <a:off x="3907" y="1914"/>
                <a:ext cx="45" cy="33"/>
              </a:xfrm>
              <a:custGeom>
                <a:avLst/>
                <a:gdLst>
                  <a:gd name="T0" fmla="*/ 43 w 45"/>
                  <a:gd name="T1" fmla="*/ 14 h 33"/>
                  <a:gd name="T2" fmla="*/ 43 w 45"/>
                  <a:gd name="T3" fmla="*/ 12 h 33"/>
                  <a:gd name="T4" fmla="*/ 41 w 45"/>
                  <a:gd name="T5" fmla="*/ 9 h 33"/>
                  <a:gd name="T6" fmla="*/ 33 w 45"/>
                  <a:gd name="T7" fmla="*/ 2 h 33"/>
                  <a:gd name="T8" fmla="*/ 31 w 45"/>
                  <a:gd name="T9" fmla="*/ 0 h 33"/>
                  <a:gd name="T10" fmla="*/ 26 w 45"/>
                  <a:gd name="T11" fmla="*/ 2 h 33"/>
                  <a:gd name="T12" fmla="*/ 23 w 45"/>
                  <a:gd name="T13" fmla="*/ 3 h 33"/>
                  <a:gd name="T14" fmla="*/ 19 w 45"/>
                  <a:gd name="T15" fmla="*/ 3 h 33"/>
                  <a:gd name="T16" fmla="*/ 19 w 45"/>
                  <a:gd name="T17" fmla="*/ 3 h 33"/>
                  <a:gd name="T18" fmla="*/ 19 w 45"/>
                  <a:gd name="T19" fmla="*/ 3 h 33"/>
                  <a:gd name="T20" fmla="*/ 19 w 45"/>
                  <a:gd name="T21" fmla="*/ 3 h 33"/>
                  <a:gd name="T22" fmla="*/ 19 w 45"/>
                  <a:gd name="T23" fmla="*/ 3 h 33"/>
                  <a:gd name="T24" fmla="*/ 16 w 45"/>
                  <a:gd name="T25" fmla="*/ 3 h 33"/>
                  <a:gd name="T26" fmla="*/ 15 w 45"/>
                  <a:gd name="T27" fmla="*/ 6 h 33"/>
                  <a:gd name="T28" fmla="*/ 13 w 45"/>
                  <a:gd name="T29" fmla="*/ 6 h 33"/>
                  <a:gd name="T30" fmla="*/ 12 w 45"/>
                  <a:gd name="T31" fmla="*/ 4 h 33"/>
                  <a:gd name="T32" fmla="*/ 9 w 45"/>
                  <a:gd name="T33" fmla="*/ 6 h 33"/>
                  <a:gd name="T34" fmla="*/ 8 w 45"/>
                  <a:gd name="T35" fmla="*/ 7 h 33"/>
                  <a:gd name="T36" fmla="*/ 6 w 45"/>
                  <a:gd name="T37" fmla="*/ 9 h 33"/>
                  <a:gd name="T38" fmla="*/ 5 w 45"/>
                  <a:gd name="T39" fmla="*/ 12 h 33"/>
                  <a:gd name="T40" fmla="*/ 2 w 45"/>
                  <a:gd name="T41" fmla="*/ 12 h 33"/>
                  <a:gd name="T42" fmla="*/ 0 w 45"/>
                  <a:gd name="T43" fmla="*/ 14 h 33"/>
                  <a:gd name="T44" fmla="*/ 0 w 45"/>
                  <a:gd name="T45" fmla="*/ 17 h 33"/>
                  <a:gd name="T46" fmla="*/ 0 w 45"/>
                  <a:gd name="T47" fmla="*/ 22 h 33"/>
                  <a:gd name="T48" fmla="*/ 0 w 45"/>
                  <a:gd name="T49" fmla="*/ 25 h 33"/>
                  <a:gd name="T50" fmla="*/ 2 w 45"/>
                  <a:gd name="T51" fmla="*/ 27 h 33"/>
                  <a:gd name="T52" fmla="*/ 3 w 45"/>
                  <a:gd name="T53" fmla="*/ 30 h 33"/>
                  <a:gd name="T54" fmla="*/ 5 w 45"/>
                  <a:gd name="T55" fmla="*/ 32 h 33"/>
                  <a:gd name="T56" fmla="*/ 6 w 45"/>
                  <a:gd name="T57" fmla="*/ 32 h 33"/>
                  <a:gd name="T58" fmla="*/ 8 w 45"/>
                  <a:gd name="T59" fmla="*/ 32 h 33"/>
                  <a:gd name="T60" fmla="*/ 8 w 45"/>
                  <a:gd name="T61" fmla="*/ 32 h 33"/>
                  <a:gd name="T62" fmla="*/ 9 w 45"/>
                  <a:gd name="T63" fmla="*/ 33 h 33"/>
                  <a:gd name="T64" fmla="*/ 19 w 45"/>
                  <a:gd name="T65" fmla="*/ 33 h 33"/>
                  <a:gd name="T66" fmla="*/ 22 w 45"/>
                  <a:gd name="T67" fmla="*/ 32 h 33"/>
                  <a:gd name="T68" fmla="*/ 25 w 45"/>
                  <a:gd name="T69" fmla="*/ 29 h 33"/>
                  <a:gd name="T70" fmla="*/ 28 w 45"/>
                  <a:gd name="T71" fmla="*/ 27 h 33"/>
                  <a:gd name="T72" fmla="*/ 31 w 45"/>
                  <a:gd name="T73" fmla="*/ 27 h 33"/>
                  <a:gd name="T74" fmla="*/ 35 w 45"/>
                  <a:gd name="T75" fmla="*/ 27 h 33"/>
                  <a:gd name="T76" fmla="*/ 36 w 45"/>
                  <a:gd name="T77" fmla="*/ 27 h 33"/>
                  <a:gd name="T78" fmla="*/ 39 w 45"/>
                  <a:gd name="T79" fmla="*/ 26 h 33"/>
                  <a:gd name="T80" fmla="*/ 41 w 45"/>
                  <a:gd name="T81" fmla="*/ 25 h 33"/>
                  <a:gd name="T82" fmla="*/ 42 w 45"/>
                  <a:gd name="T83" fmla="*/ 23 h 33"/>
                  <a:gd name="T84" fmla="*/ 43 w 45"/>
                  <a:gd name="T85" fmla="*/ 23 h 33"/>
                  <a:gd name="T86" fmla="*/ 45 w 45"/>
                  <a:gd name="T87" fmla="*/ 20 h 33"/>
                  <a:gd name="T88" fmla="*/ 45 w 45"/>
                  <a:gd name="T89" fmla="*/ 17 h 33"/>
                  <a:gd name="T90" fmla="*/ 43 w 45"/>
                  <a:gd name="T91"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 h="33">
                    <a:moveTo>
                      <a:pt x="43" y="14"/>
                    </a:moveTo>
                    <a:lnTo>
                      <a:pt x="43" y="12"/>
                    </a:lnTo>
                    <a:lnTo>
                      <a:pt x="41" y="9"/>
                    </a:lnTo>
                    <a:lnTo>
                      <a:pt x="33" y="2"/>
                    </a:lnTo>
                    <a:lnTo>
                      <a:pt x="31" y="0"/>
                    </a:lnTo>
                    <a:lnTo>
                      <a:pt x="26" y="2"/>
                    </a:lnTo>
                    <a:lnTo>
                      <a:pt x="23" y="3"/>
                    </a:lnTo>
                    <a:lnTo>
                      <a:pt x="19" y="3"/>
                    </a:lnTo>
                    <a:lnTo>
                      <a:pt x="19" y="3"/>
                    </a:lnTo>
                    <a:lnTo>
                      <a:pt x="19" y="3"/>
                    </a:lnTo>
                    <a:lnTo>
                      <a:pt x="19" y="3"/>
                    </a:lnTo>
                    <a:lnTo>
                      <a:pt x="19" y="3"/>
                    </a:lnTo>
                    <a:lnTo>
                      <a:pt x="16" y="3"/>
                    </a:lnTo>
                    <a:lnTo>
                      <a:pt x="15" y="6"/>
                    </a:lnTo>
                    <a:lnTo>
                      <a:pt x="13" y="6"/>
                    </a:lnTo>
                    <a:lnTo>
                      <a:pt x="12" y="4"/>
                    </a:lnTo>
                    <a:lnTo>
                      <a:pt x="9" y="6"/>
                    </a:lnTo>
                    <a:lnTo>
                      <a:pt x="8" y="7"/>
                    </a:lnTo>
                    <a:lnTo>
                      <a:pt x="6" y="9"/>
                    </a:lnTo>
                    <a:lnTo>
                      <a:pt x="5" y="12"/>
                    </a:lnTo>
                    <a:lnTo>
                      <a:pt x="2" y="12"/>
                    </a:lnTo>
                    <a:lnTo>
                      <a:pt x="0" y="14"/>
                    </a:lnTo>
                    <a:lnTo>
                      <a:pt x="0" y="17"/>
                    </a:lnTo>
                    <a:lnTo>
                      <a:pt x="0" y="22"/>
                    </a:lnTo>
                    <a:lnTo>
                      <a:pt x="0" y="25"/>
                    </a:lnTo>
                    <a:lnTo>
                      <a:pt x="2" y="27"/>
                    </a:lnTo>
                    <a:lnTo>
                      <a:pt x="3" y="30"/>
                    </a:lnTo>
                    <a:lnTo>
                      <a:pt x="5" y="32"/>
                    </a:lnTo>
                    <a:lnTo>
                      <a:pt x="6" y="32"/>
                    </a:lnTo>
                    <a:lnTo>
                      <a:pt x="8" y="32"/>
                    </a:lnTo>
                    <a:lnTo>
                      <a:pt x="8" y="32"/>
                    </a:lnTo>
                    <a:lnTo>
                      <a:pt x="9" y="33"/>
                    </a:lnTo>
                    <a:lnTo>
                      <a:pt x="19" y="33"/>
                    </a:lnTo>
                    <a:lnTo>
                      <a:pt x="22" y="32"/>
                    </a:lnTo>
                    <a:lnTo>
                      <a:pt x="25" y="29"/>
                    </a:lnTo>
                    <a:lnTo>
                      <a:pt x="28" y="27"/>
                    </a:lnTo>
                    <a:lnTo>
                      <a:pt x="31" y="27"/>
                    </a:lnTo>
                    <a:lnTo>
                      <a:pt x="35" y="27"/>
                    </a:lnTo>
                    <a:lnTo>
                      <a:pt x="36" y="27"/>
                    </a:lnTo>
                    <a:lnTo>
                      <a:pt x="39" y="26"/>
                    </a:lnTo>
                    <a:lnTo>
                      <a:pt x="41" y="25"/>
                    </a:lnTo>
                    <a:lnTo>
                      <a:pt x="42" y="23"/>
                    </a:lnTo>
                    <a:lnTo>
                      <a:pt x="43" y="23"/>
                    </a:lnTo>
                    <a:lnTo>
                      <a:pt x="45" y="20"/>
                    </a:lnTo>
                    <a:lnTo>
                      <a:pt x="45" y="17"/>
                    </a:lnTo>
                    <a:lnTo>
                      <a:pt x="43" y="1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93" name="Freeform 99">
                <a:extLst>
                  <a:ext uri="{FF2B5EF4-FFF2-40B4-BE49-F238E27FC236}">
                    <a16:creationId xmlns:a16="http://schemas.microsoft.com/office/drawing/2014/main" id="{67F6084C-CC8B-9F9F-05B1-36F15B16EE50}"/>
                  </a:ext>
                </a:extLst>
              </p:cNvPr>
              <p:cNvSpPr>
                <a:spLocks noEditPoints="1"/>
              </p:cNvSpPr>
              <p:nvPr/>
            </p:nvSpPr>
            <p:spPr bwMode="auto">
              <a:xfrm>
                <a:off x="3915" y="1578"/>
                <a:ext cx="103" cy="57"/>
              </a:xfrm>
              <a:custGeom>
                <a:avLst/>
                <a:gdLst>
                  <a:gd name="T0" fmla="*/ 4 w 103"/>
                  <a:gd name="T1" fmla="*/ 20 h 57"/>
                  <a:gd name="T2" fmla="*/ 1 w 103"/>
                  <a:gd name="T3" fmla="*/ 26 h 57"/>
                  <a:gd name="T4" fmla="*/ 2 w 103"/>
                  <a:gd name="T5" fmla="*/ 21 h 57"/>
                  <a:gd name="T6" fmla="*/ 99 w 103"/>
                  <a:gd name="T7" fmla="*/ 24 h 57"/>
                  <a:gd name="T8" fmla="*/ 100 w 103"/>
                  <a:gd name="T9" fmla="*/ 18 h 57"/>
                  <a:gd name="T10" fmla="*/ 94 w 103"/>
                  <a:gd name="T11" fmla="*/ 14 h 57"/>
                  <a:gd name="T12" fmla="*/ 84 w 103"/>
                  <a:gd name="T13" fmla="*/ 7 h 57"/>
                  <a:gd name="T14" fmla="*/ 74 w 103"/>
                  <a:gd name="T15" fmla="*/ 4 h 57"/>
                  <a:gd name="T16" fmla="*/ 71 w 103"/>
                  <a:gd name="T17" fmla="*/ 3 h 57"/>
                  <a:gd name="T18" fmla="*/ 69 w 103"/>
                  <a:gd name="T19" fmla="*/ 0 h 57"/>
                  <a:gd name="T20" fmla="*/ 63 w 103"/>
                  <a:gd name="T21" fmla="*/ 3 h 57"/>
                  <a:gd name="T22" fmla="*/ 23 w 103"/>
                  <a:gd name="T23" fmla="*/ 1 h 57"/>
                  <a:gd name="T24" fmla="*/ 10 w 103"/>
                  <a:gd name="T25" fmla="*/ 4 h 57"/>
                  <a:gd name="T26" fmla="*/ 4 w 103"/>
                  <a:gd name="T27" fmla="*/ 14 h 57"/>
                  <a:gd name="T28" fmla="*/ 5 w 103"/>
                  <a:gd name="T29" fmla="*/ 24 h 57"/>
                  <a:gd name="T30" fmla="*/ 8 w 103"/>
                  <a:gd name="T31" fmla="*/ 26 h 57"/>
                  <a:gd name="T32" fmla="*/ 10 w 103"/>
                  <a:gd name="T33" fmla="*/ 26 h 57"/>
                  <a:gd name="T34" fmla="*/ 14 w 103"/>
                  <a:gd name="T35" fmla="*/ 29 h 57"/>
                  <a:gd name="T36" fmla="*/ 21 w 103"/>
                  <a:gd name="T37" fmla="*/ 30 h 57"/>
                  <a:gd name="T38" fmla="*/ 30 w 103"/>
                  <a:gd name="T39" fmla="*/ 30 h 57"/>
                  <a:gd name="T40" fmla="*/ 33 w 103"/>
                  <a:gd name="T41" fmla="*/ 34 h 57"/>
                  <a:gd name="T42" fmla="*/ 33 w 103"/>
                  <a:gd name="T43" fmla="*/ 40 h 57"/>
                  <a:gd name="T44" fmla="*/ 31 w 103"/>
                  <a:gd name="T45" fmla="*/ 44 h 57"/>
                  <a:gd name="T46" fmla="*/ 33 w 103"/>
                  <a:gd name="T47" fmla="*/ 47 h 57"/>
                  <a:gd name="T48" fmla="*/ 38 w 103"/>
                  <a:gd name="T49" fmla="*/ 49 h 57"/>
                  <a:gd name="T50" fmla="*/ 46 w 103"/>
                  <a:gd name="T51" fmla="*/ 53 h 57"/>
                  <a:gd name="T52" fmla="*/ 51 w 103"/>
                  <a:gd name="T53" fmla="*/ 57 h 57"/>
                  <a:gd name="T54" fmla="*/ 60 w 103"/>
                  <a:gd name="T55" fmla="*/ 56 h 57"/>
                  <a:gd name="T56" fmla="*/ 63 w 103"/>
                  <a:gd name="T57" fmla="*/ 57 h 57"/>
                  <a:gd name="T58" fmla="*/ 69 w 103"/>
                  <a:gd name="T59" fmla="*/ 54 h 57"/>
                  <a:gd name="T60" fmla="*/ 70 w 103"/>
                  <a:gd name="T61" fmla="*/ 52 h 57"/>
                  <a:gd name="T62" fmla="*/ 71 w 103"/>
                  <a:gd name="T63" fmla="*/ 52 h 57"/>
                  <a:gd name="T64" fmla="*/ 77 w 103"/>
                  <a:gd name="T65" fmla="*/ 50 h 57"/>
                  <a:gd name="T66" fmla="*/ 80 w 103"/>
                  <a:gd name="T67" fmla="*/ 49 h 57"/>
                  <a:gd name="T68" fmla="*/ 83 w 103"/>
                  <a:gd name="T69" fmla="*/ 52 h 57"/>
                  <a:gd name="T70" fmla="*/ 86 w 103"/>
                  <a:gd name="T71" fmla="*/ 50 h 57"/>
                  <a:gd name="T72" fmla="*/ 84 w 103"/>
                  <a:gd name="T73" fmla="*/ 49 h 57"/>
                  <a:gd name="T74" fmla="*/ 83 w 103"/>
                  <a:gd name="T75" fmla="*/ 47 h 57"/>
                  <a:gd name="T76" fmla="*/ 83 w 103"/>
                  <a:gd name="T77" fmla="*/ 44 h 57"/>
                  <a:gd name="T78" fmla="*/ 86 w 103"/>
                  <a:gd name="T79" fmla="*/ 40 h 57"/>
                  <a:gd name="T80" fmla="*/ 86 w 103"/>
                  <a:gd name="T81" fmla="*/ 36 h 57"/>
                  <a:gd name="T82" fmla="*/ 90 w 103"/>
                  <a:gd name="T83" fmla="*/ 33 h 57"/>
                  <a:gd name="T84" fmla="*/ 93 w 103"/>
                  <a:gd name="T85" fmla="*/ 30 h 57"/>
                  <a:gd name="T86" fmla="*/ 99 w 103"/>
                  <a:gd name="T87" fmla="*/ 29 h 57"/>
                  <a:gd name="T88" fmla="*/ 103 w 103"/>
                  <a:gd name="T89" fmla="*/ 2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3" h="57">
                    <a:moveTo>
                      <a:pt x="2" y="21"/>
                    </a:moveTo>
                    <a:lnTo>
                      <a:pt x="4" y="18"/>
                    </a:lnTo>
                    <a:lnTo>
                      <a:pt x="4" y="20"/>
                    </a:lnTo>
                    <a:lnTo>
                      <a:pt x="2" y="21"/>
                    </a:lnTo>
                    <a:lnTo>
                      <a:pt x="2" y="24"/>
                    </a:lnTo>
                    <a:lnTo>
                      <a:pt x="1" y="26"/>
                    </a:lnTo>
                    <a:lnTo>
                      <a:pt x="0" y="26"/>
                    </a:lnTo>
                    <a:lnTo>
                      <a:pt x="1" y="23"/>
                    </a:lnTo>
                    <a:lnTo>
                      <a:pt x="2" y="21"/>
                    </a:lnTo>
                    <a:close/>
                    <a:moveTo>
                      <a:pt x="102" y="26"/>
                    </a:moveTo>
                    <a:lnTo>
                      <a:pt x="100" y="24"/>
                    </a:lnTo>
                    <a:lnTo>
                      <a:pt x="99" y="24"/>
                    </a:lnTo>
                    <a:lnTo>
                      <a:pt x="97" y="23"/>
                    </a:lnTo>
                    <a:lnTo>
                      <a:pt x="99" y="23"/>
                    </a:lnTo>
                    <a:lnTo>
                      <a:pt x="100" y="18"/>
                    </a:lnTo>
                    <a:lnTo>
                      <a:pt x="100" y="17"/>
                    </a:lnTo>
                    <a:lnTo>
                      <a:pt x="97" y="16"/>
                    </a:lnTo>
                    <a:lnTo>
                      <a:pt x="94" y="14"/>
                    </a:lnTo>
                    <a:lnTo>
                      <a:pt x="90" y="10"/>
                    </a:lnTo>
                    <a:lnTo>
                      <a:pt x="87" y="8"/>
                    </a:lnTo>
                    <a:lnTo>
                      <a:pt x="84" y="7"/>
                    </a:lnTo>
                    <a:lnTo>
                      <a:pt x="80" y="6"/>
                    </a:lnTo>
                    <a:lnTo>
                      <a:pt x="76" y="6"/>
                    </a:lnTo>
                    <a:lnTo>
                      <a:pt x="74" y="4"/>
                    </a:lnTo>
                    <a:lnTo>
                      <a:pt x="73" y="4"/>
                    </a:lnTo>
                    <a:lnTo>
                      <a:pt x="73" y="3"/>
                    </a:lnTo>
                    <a:lnTo>
                      <a:pt x="71" y="3"/>
                    </a:lnTo>
                    <a:lnTo>
                      <a:pt x="70" y="1"/>
                    </a:lnTo>
                    <a:lnTo>
                      <a:pt x="70" y="1"/>
                    </a:lnTo>
                    <a:lnTo>
                      <a:pt x="69" y="0"/>
                    </a:lnTo>
                    <a:lnTo>
                      <a:pt x="67" y="1"/>
                    </a:lnTo>
                    <a:lnTo>
                      <a:pt x="64" y="3"/>
                    </a:lnTo>
                    <a:lnTo>
                      <a:pt x="63" y="3"/>
                    </a:lnTo>
                    <a:lnTo>
                      <a:pt x="61" y="3"/>
                    </a:lnTo>
                    <a:lnTo>
                      <a:pt x="60" y="3"/>
                    </a:lnTo>
                    <a:lnTo>
                      <a:pt x="23" y="1"/>
                    </a:lnTo>
                    <a:lnTo>
                      <a:pt x="20" y="1"/>
                    </a:lnTo>
                    <a:lnTo>
                      <a:pt x="15" y="1"/>
                    </a:lnTo>
                    <a:lnTo>
                      <a:pt x="10" y="4"/>
                    </a:lnTo>
                    <a:lnTo>
                      <a:pt x="2" y="7"/>
                    </a:lnTo>
                    <a:lnTo>
                      <a:pt x="4" y="13"/>
                    </a:lnTo>
                    <a:lnTo>
                      <a:pt x="4" y="14"/>
                    </a:lnTo>
                    <a:lnTo>
                      <a:pt x="4" y="17"/>
                    </a:lnTo>
                    <a:lnTo>
                      <a:pt x="5" y="20"/>
                    </a:lnTo>
                    <a:lnTo>
                      <a:pt x="5" y="24"/>
                    </a:lnTo>
                    <a:lnTo>
                      <a:pt x="5" y="26"/>
                    </a:lnTo>
                    <a:lnTo>
                      <a:pt x="7" y="26"/>
                    </a:lnTo>
                    <a:lnTo>
                      <a:pt x="8" y="26"/>
                    </a:lnTo>
                    <a:lnTo>
                      <a:pt x="8" y="26"/>
                    </a:lnTo>
                    <a:lnTo>
                      <a:pt x="8" y="26"/>
                    </a:lnTo>
                    <a:lnTo>
                      <a:pt x="10" y="26"/>
                    </a:lnTo>
                    <a:lnTo>
                      <a:pt x="10" y="27"/>
                    </a:lnTo>
                    <a:lnTo>
                      <a:pt x="11" y="27"/>
                    </a:lnTo>
                    <a:lnTo>
                      <a:pt x="14" y="29"/>
                    </a:lnTo>
                    <a:lnTo>
                      <a:pt x="17" y="30"/>
                    </a:lnTo>
                    <a:lnTo>
                      <a:pt x="20" y="30"/>
                    </a:lnTo>
                    <a:lnTo>
                      <a:pt x="21" y="30"/>
                    </a:lnTo>
                    <a:lnTo>
                      <a:pt x="24" y="30"/>
                    </a:lnTo>
                    <a:lnTo>
                      <a:pt x="25" y="30"/>
                    </a:lnTo>
                    <a:lnTo>
                      <a:pt x="30" y="30"/>
                    </a:lnTo>
                    <a:lnTo>
                      <a:pt x="30" y="31"/>
                    </a:lnTo>
                    <a:lnTo>
                      <a:pt x="31" y="33"/>
                    </a:lnTo>
                    <a:lnTo>
                      <a:pt x="33" y="34"/>
                    </a:lnTo>
                    <a:lnTo>
                      <a:pt x="34" y="36"/>
                    </a:lnTo>
                    <a:lnTo>
                      <a:pt x="33" y="37"/>
                    </a:lnTo>
                    <a:lnTo>
                      <a:pt x="33" y="40"/>
                    </a:lnTo>
                    <a:lnTo>
                      <a:pt x="31" y="41"/>
                    </a:lnTo>
                    <a:lnTo>
                      <a:pt x="31" y="43"/>
                    </a:lnTo>
                    <a:lnTo>
                      <a:pt x="31" y="44"/>
                    </a:lnTo>
                    <a:lnTo>
                      <a:pt x="33" y="46"/>
                    </a:lnTo>
                    <a:lnTo>
                      <a:pt x="33" y="46"/>
                    </a:lnTo>
                    <a:lnTo>
                      <a:pt x="33" y="47"/>
                    </a:lnTo>
                    <a:lnTo>
                      <a:pt x="34" y="46"/>
                    </a:lnTo>
                    <a:lnTo>
                      <a:pt x="35" y="46"/>
                    </a:lnTo>
                    <a:lnTo>
                      <a:pt x="38" y="49"/>
                    </a:lnTo>
                    <a:lnTo>
                      <a:pt x="41" y="50"/>
                    </a:lnTo>
                    <a:lnTo>
                      <a:pt x="44" y="52"/>
                    </a:lnTo>
                    <a:lnTo>
                      <a:pt x="46" y="53"/>
                    </a:lnTo>
                    <a:lnTo>
                      <a:pt x="46" y="56"/>
                    </a:lnTo>
                    <a:lnTo>
                      <a:pt x="48" y="57"/>
                    </a:lnTo>
                    <a:lnTo>
                      <a:pt x="51" y="57"/>
                    </a:lnTo>
                    <a:lnTo>
                      <a:pt x="54" y="56"/>
                    </a:lnTo>
                    <a:lnTo>
                      <a:pt x="58" y="56"/>
                    </a:lnTo>
                    <a:lnTo>
                      <a:pt x="60" y="56"/>
                    </a:lnTo>
                    <a:lnTo>
                      <a:pt x="60" y="57"/>
                    </a:lnTo>
                    <a:lnTo>
                      <a:pt x="61" y="57"/>
                    </a:lnTo>
                    <a:lnTo>
                      <a:pt x="63" y="57"/>
                    </a:lnTo>
                    <a:lnTo>
                      <a:pt x="66" y="56"/>
                    </a:lnTo>
                    <a:lnTo>
                      <a:pt x="67" y="56"/>
                    </a:lnTo>
                    <a:lnTo>
                      <a:pt x="69" y="54"/>
                    </a:lnTo>
                    <a:lnTo>
                      <a:pt x="69" y="54"/>
                    </a:lnTo>
                    <a:lnTo>
                      <a:pt x="69" y="53"/>
                    </a:lnTo>
                    <a:lnTo>
                      <a:pt x="70" y="52"/>
                    </a:lnTo>
                    <a:lnTo>
                      <a:pt x="70" y="52"/>
                    </a:lnTo>
                    <a:lnTo>
                      <a:pt x="71" y="52"/>
                    </a:lnTo>
                    <a:lnTo>
                      <a:pt x="71" y="52"/>
                    </a:lnTo>
                    <a:lnTo>
                      <a:pt x="73" y="52"/>
                    </a:lnTo>
                    <a:lnTo>
                      <a:pt x="74" y="52"/>
                    </a:lnTo>
                    <a:lnTo>
                      <a:pt x="77" y="50"/>
                    </a:lnTo>
                    <a:lnTo>
                      <a:pt x="77" y="49"/>
                    </a:lnTo>
                    <a:lnTo>
                      <a:pt x="80" y="49"/>
                    </a:lnTo>
                    <a:lnTo>
                      <a:pt x="80" y="49"/>
                    </a:lnTo>
                    <a:lnTo>
                      <a:pt x="80" y="50"/>
                    </a:lnTo>
                    <a:lnTo>
                      <a:pt x="81" y="52"/>
                    </a:lnTo>
                    <a:lnTo>
                      <a:pt x="83" y="52"/>
                    </a:lnTo>
                    <a:lnTo>
                      <a:pt x="83" y="52"/>
                    </a:lnTo>
                    <a:lnTo>
                      <a:pt x="84" y="52"/>
                    </a:lnTo>
                    <a:lnTo>
                      <a:pt x="86" y="50"/>
                    </a:lnTo>
                    <a:lnTo>
                      <a:pt x="86" y="50"/>
                    </a:lnTo>
                    <a:lnTo>
                      <a:pt x="86" y="49"/>
                    </a:lnTo>
                    <a:lnTo>
                      <a:pt x="84" y="49"/>
                    </a:lnTo>
                    <a:lnTo>
                      <a:pt x="84" y="47"/>
                    </a:lnTo>
                    <a:lnTo>
                      <a:pt x="83" y="47"/>
                    </a:lnTo>
                    <a:lnTo>
                      <a:pt x="83" y="47"/>
                    </a:lnTo>
                    <a:lnTo>
                      <a:pt x="81" y="46"/>
                    </a:lnTo>
                    <a:lnTo>
                      <a:pt x="83" y="44"/>
                    </a:lnTo>
                    <a:lnTo>
                      <a:pt x="83" y="44"/>
                    </a:lnTo>
                    <a:lnTo>
                      <a:pt x="84" y="43"/>
                    </a:lnTo>
                    <a:lnTo>
                      <a:pt x="84" y="41"/>
                    </a:lnTo>
                    <a:lnTo>
                      <a:pt x="86" y="40"/>
                    </a:lnTo>
                    <a:lnTo>
                      <a:pt x="86" y="39"/>
                    </a:lnTo>
                    <a:lnTo>
                      <a:pt x="86" y="37"/>
                    </a:lnTo>
                    <a:lnTo>
                      <a:pt x="86" y="36"/>
                    </a:lnTo>
                    <a:lnTo>
                      <a:pt x="87" y="34"/>
                    </a:lnTo>
                    <a:lnTo>
                      <a:pt x="89" y="34"/>
                    </a:lnTo>
                    <a:lnTo>
                      <a:pt x="90" y="33"/>
                    </a:lnTo>
                    <a:lnTo>
                      <a:pt x="92" y="33"/>
                    </a:lnTo>
                    <a:lnTo>
                      <a:pt x="92" y="31"/>
                    </a:lnTo>
                    <a:lnTo>
                      <a:pt x="93" y="30"/>
                    </a:lnTo>
                    <a:lnTo>
                      <a:pt x="94" y="30"/>
                    </a:lnTo>
                    <a:lnTo>
                      <a:pt x="96" y="29"/>
                    </a:lnTo>
                    <a:lnTo>
                      <a:pt x="99" y="29"/>
                    </a:lnTo>
                    <a:lnTo>
                      <a:pt x="100" y="29"/>
                    </a:lnTo>
                    <a:lnTo>
                      <a:pt x="102" y="29"/>
                    </a:lnTo>
                    <a:lnTo>
                      <a:pt x="103" y="26"/>
                    </a:lnTo>
                    <a:lnTo>
                      <a:pt x="103" y="26"/>
                    </a:lnTo>
                    <a:lnTo>
                      <a:pt x="102" y="2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94" name="Freeform 100">
                <a:extLst>
                  <a:ext uri="{FF2B5EF4-FFF2-40B4-BE49-F238E27FC236}">
                    <a16:creationId xmlns:a16="http://schemas.microsoft.com/office/drawing/2014/main" id="{2E50A8DB-7ABC-21F3-1D11-498BDD43F82B}"/>
                  </a:ext>
                </a:extLst>
              </p:cNvPr>
              <p:cNvSpPr>
                <a:spLocks/>
              </p:cNvSpPr>
              <p:nvPr/>
            </p:nvSpPr>
            <p:spPr bwMode="auto">
              <a:xfrm>
                <a:off x="3678" y="1883"/>
                <a:ext cx="0" cy="1"/>
              </a:xfrm>
              <a:custGeom>
                <a:avLst/>
                <a:gdLst>
                  <a:gd name="T0" fmla="*/ 0 h 1"/>
                  <a:gd name="T1" fmla="*/ 0 h 1"/>
                  <a:gd name="T2" fmla="*/ 1 h 1"/>
                  <a:gd name="T3" fmla="*/ 1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lnTo>
                      <a:pt x="0" y="0"/>
                    </a:lnTo>
                    <a:lnTo>
                      <a:pt x="0" y="1"/>
                    </a:lnTo>
                    <a:lnTo>
                      <a:pt x="0" y="1"/>
                    </a:lnTo>
                    <a:lnTo>
                      <a:pt x="0" y="0"/>
                    </a:lnTo>
                    <a:lnTo>
                      <a:pt x="0"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95" name="Freeform 101">
                <a:extLst>
                  <a:ext uri="{FF2B5EF4-FFF2-40B4-BE49-F238E27FC236}">
                    <a16:creationId xmlns:a16="http://schemas.microsoft.com/office/drawing/2014/main" id="{35E023B3-3E7B-3645-791C-8BEB998E87D8}"/>
                  </a:ext>
                </a:extLst>
              </p:cNvPr>
              <p:cNvSpPr>
                <a:spLocks noEditPoints="1"/>
              </p:cNvSpPr>
              <p:nvPr/>
            </p:nvSpPr>
            <p:spPr bwMode="auto">
              <a:xfrm>
                <a:off x="3388" y="1035"/>
                <a:ext cx="498" cy="123"/>
              </a:xfrm>
              <a:custGeom>
                <a:avLst/>
                <a:gdLst>
                  <a:gd name="T0" fmla="*/ 2 w 498"/>
                  <a:gd name="T1" fmla="*/ 123 h 123"/>
                  <a:gd name="T2" fmla="*/ 0 w 498"/>
                  <a:gd name="T3" fmla="*/ 123 h 123"/>
                  <a:gd name="T4" fmla="*/ 2 w 498"/>
                  <a:gd name="T5" fmla="*/ 122 h 123"/>
                  <a:gd name="T6" fmla="*/ 7 w 498"/>
                  <a:gd name="T7" fmla="*/ 119 h 123"/>
                  <a:gd name="T8" fmla="*/ 10 w 498"/>
                  <a:gd name="T9" fmla="*/ 117 h 123"/>
                  <a:gd name="T10" fmla="*/ 12 w 498"/>
                  <a:gd name="T11" fmla="*/ 116 h 123"/>
                  <a:gd name="T12" fmla="*/ 15 w 498"/>
                  <a:gd name="T13" fmla="*/ 114 h 123"/>
                  <a:gd name="T14" fmla="*/ 18 w 498"/>
                  <a:gd name="T15" fmla="*/ 113 h 123"/>
                  <a:gd name="T16" fmla="*/ 20 w 498"/>
                  <a:gd name="T17" fmla="*/ 114 h 123"/>
                  <a:gd name="T18" fmla="*/ 18 w 498"/>
                  <a:gd name="T19" fmla="*/ 117 h 123"/>
                  <a:gd name="T20" fmla="*/ 15 w 498"/>
                  <a:gd name="T21" fmla="*/ 119 h 123"/>
                  <a:gd name="T22" fmla="*/ 10 w 498"/>
                  <a:gd name="T23" fmla="*/ 120 h 123"/>
                  <a:gd name="T24" fmla="*/ 5 w 498"/>
                  <a:gd name="T25" fmla="*/ 123 h 123"/>
                  <a:gd name="T26" fmla="*/ 2 w 498"/>
                  <a:gd name="T27" fmla="*/ 123 h 123"/>
                  <a:gd name="T28" fmla="*/ 494 w 498"/>
                  <a:gd name="T29" fmla="*/ 5 h 123"/>
                  <a:gd name="T30" fmla="*/ 496 w 498"/>
                  <a:gd name="T31" fmla="*/ 5 h 123"/>
                  <a:gd name="T32" fmla="*/ 498 w 498"/>
                  <a:gd name="T33" fmla="*/ 2 h 123"/>
                  <a:gd name="T34" fmla="*/ 496 w 498"/>
                  <a:gd name="T35" fmla="*/ 1 h 123"/>
                  <a:gd name="T36" fmla="*/ 494 w 498"/>
                  <a:gd name="T37" fmla="*/ 0 h 123"/>
                  <a:gd name="T38" fmla="*/ 492 w 498"/>
                  <a:gd name="T39" fmla="*/ 1 h 123"/>
                  <a:gd name="T40" fmla="*/ 491 w 498"/>
                  <a:gd name="T41" fmla="*/ 2 h 123"/>
                  <a:gd name="T42" fmla="*/ 492 w 498"/>
                  <a:gd name="T43" fmla="*/ 5 h 123"/>
                  <a:gd name="T44" fmla="*/ 494 w 498"/>
                  <a:gd name="T45" fmla="*/ 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8" h="123">
                    <a:moveTo>
                      <a:pt x="2" y="123"/>
                    </a:moveTo>
                    <a:lnTo>
                      <a:pt x="0" y="123"/>
                    </a:lnTo>
                    <a:lnTo>
                      <a:pt x="2" y="122"/>
                    </a:lnTo>
                    <a:lnTo>
                      <a:pt x="7" y="119"/>
                    </a:lnTo>
                    <a:lnTo>
                      <a:pt x="10" y="117"/>
                    </a:lnTo>
                    <a:lnTo>
                      <a:pt x="12" y="116"/>
                    </a:lnTo>
                    <a:lnTo>
                      <a:pt x="15" y="114"/>
                    </a:lnTo>
                    <a:lnTo>
                      <a:pt x="18" y="113"/>
                    </a:lnTo>
                    <a:lnTo>
                      <a:pt x="20" y="114"/>
                    </a:lnTo>
                    <a:lnTo>
                      <a:pt x="18" y="117"/>
                    </a:lnTo>
                    <a:lnTo>
                      <a:pt x="15" y="119"/>
                    </a:lnTo>
                    <a:lnTo>
                      <a:pt x="10" y="120"/>
                    </a:lnTo>
                    <a:lnTo>
                      <a:pt x="5" y="123"/>
                    </a:lnTo>
                    <a:lnTo>
                      <a:pt x="2" y="123"/>
                    </a:lnTo>
                    <a:close/>
                    <a:moveTo>
                      <a:pt x="494" y="5"/>
                    </a:moveTo>
                    <a:lnTo>
                      <a:pt x="496" y="5"/>
                    </a:lnTo>
                    <a:lnTo>
                      <a:pt x="498" y="2"/>
                    </a:lnTo>
                    <a:lnTo>
                      <a:pt x="496" y="1"/>
                    </a:lnTo>
                    <a:lnTo>
                      <a:pt x="494" y="0"/>
                    </a:lnTo>
                    <a:lnTo>
                      <a:pt x="492" y="1"/>
                    </a:lnTo>
                    <a:lnTo>
                      <a:pt x="491" y="2"/>
                    </a:lnTo>
                    <a:lnTo>
                      <a:pt x="492" y="5"/>
                    </a:lnTo>
                    <a:lnTo>
                      <a:pt x="494" y="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96" name="Freeform 102">
                <a:extLst>
                  <a:ext uri="{FF2B5EF4-FFF2-40B4-BE49-F238E27FC236}">
                    <a16:creationId xmlns:a16="http://schemas.microsoft.com/office/drawing/2014/main" id="{58C471AB-DA46-779C-4222-3F0708B5D3E6}"/>
                  </a:ext>
                </a:extLst>
              </p:cNvPr>
              <p:cNvSpPr>
                <a:spLocks noEditPoints="1"/>
              </p:cNvSpPr>
              <p:nvPr/>
            </p:nvSpPr>
            <p:spPr bwMode="auto">
              <a:xfrm>
                <a:off x="3734" y="792"/>
                <a:ext cx="405" cy="152"/>
              </a:xfrm>
              <a:custGeom>
                <a:avLst/>
                <a:gdLst>
                  <a:gd name="T0" fmla="*/ 136 w 405"/>
                  <a:gd name="T1" fmla="*/ 20 h 152"/>
                  <a:gd name="T2" fmla="*/ 136 w 405"/>
                  <a:gd name="T3" fmla="*/ 30 h 152"/>
                  <a:gd name="T4" fmla="*/ 175 w 405"/>
                  <a:gd name="T5" fmla="*/ 38 h 152"/>
                  <a:gd name="T6" fmla="*/ 192 w 405"/>
                  <a:gd name="T7" fmla="*/ 50 h 152"/>
                  <a:gd name="T8" fmla="*/ 248 w 405"/>
                  <a:gd name="T9" fmla="*/ 51 h 152"/>
                  <a:gd name="T10" fmla="*/ 287 w 405"/>
                  <a:gd name="T11" fmla="*/ 31 h 152"/>
                  <a:gd name="T12" fmla="*/ 251 w 405"/>
                  <a:gd name="T13" fmla="*/ 7 h 152"/>
                  <a:gd name="T14" fmla="*/ 241 w 405"/>
                  <a:gd name="T15" fmla="*/ 5 h 152"/>
                  <a:gd name="T16" fmla="*/ 228 w 405"/>
                  <a:gd name="T17" fmla="*/ 13 h 152"/>
                  <a:gd name="T18" fmla="*/ 211 w 405"/>
                  <a:gd name="T19" fmla="*/ 2 h 152"/>
                  <a:gd name="T20" fmla="*/ 206 w 405"/>
                  <a:gd name="T21" fmla="*/ 20 h 152"/>
                  <a:gd name="T22" fmla="*/ 181 w 405"/>
                  <a:gd name="T23" fmla="*/ 10 h 152"/>
                  <a:gd name="T24" fmla="*/ 153 w 405"/>
                  <a:gd name="T25" fmla="*/ 5 h 152"/>
                  <a:gd name="T26" fmla="*/ 143 w 405"/>
                  <a:gd name="T27" fmla="*/ 14 h 152"/>
                  <a:gd name="T28" fmla="*/ 278 w 405"/>
                  <a:gd name="T29" fmla="*/ 74 h 152"/>
                  <a:gd name="T30" fmla="*/ 320 w 405"/>
                  <a:gd name="T31" fmla="*/ 70 h 152"/>
                  <a:gd name="T32" fmla="*/ 316 w 405"/>
                  <a:gd name="T33" fmla="*/ 67 h 152"/>
                  <a:gd name="T34" fmla="*/ 140 w 405"/>
                  <a:gd name="T35" fmla="*/ 8 h 152"/>
                  <a:gd name="T36" fmla="*/ 3 w 405"/>
                  <a:gd name="T37" fmla="*/ 79 h 152"/>
                  <a:gd name="T38" fmla="*/ 27 w 405"/>
                  <a:gd name="T39" fmla="*/ 96 h 152"/>
                  <a:gd name="T40" fmla="*/ 10 w 405"/>
                  <a:gd name="T41" fmla="*/ 79 h 152"/>
                  <a:gd name="T42" fmla="*/ 3 w 405"/>
                  <a:gd name="T43" fmla="*/ 41 h 152"/>
                  <a:gd name="T44" fmla="*/ 15 w 405"/>
                  <a:gd name="T45" fmla="*/ 60 h 152"/>
                  <a:gd name="T46" fmla="*/ 24 w 405"/>
                  <a:gd name="T47" fmla="*/ 59 h 152"/>
                  <a:gd name="T48" fmla="*/ 23 w 405"/>
                  <a:gd name="T49" fmla="*/ 73 h 152"/>
                  <a:gd name="T50" fmla="*/ 48 w 405"/>
                  <a:gd name="T51" fmla="*/ 94 h 152"/>
                  <a:gd name="T52" fmla="*/ 69 w 405"/>
                  <a:gd name="T53" fmla="*/ 82 h 152"/>
                  <a:gd name="T54" fmla="*/ 74 w 405"/>
                  <a:gd name="T55" fmla="*/ 79 h 152"/>
                  <a:gd name="T56" fmla="*/ 82 w 405"/>
                  <a:gd name="T57" fmla="*/ 82 h 152"/>
                  <a:gd name="T58" fmla="*/ 107 w 405"/>
                  <a:gd name="T59" fmla="*/ 82 h 152"/>
                  <a:gd name="T60" fmla="*/ 107 w 405"/>
                  <a:gd name="T61" fmla="*/ 92 h 152"/>
                  <a:gd name="T62" fmla="*/ 64 w 405"/>
                  <a:gd name="T63" fmla="*/ 102 h 152"/>
                  <a:gd name="T64" fmla="*/ 56 w 405"/>
                  <a:gd name="T65" fmla="*/ 109 h 152"/>
                  <a:gd name="T66" fmla="*/ 93 w 405"/>
                  <a:gd name="T67" fmla="*/ 110 h 152"/>
                  <a:gd name="T68" fmla="*/ 76 w 405"/>
                  <a:gd name="T69" fmla="*/ 119 h 152"/>
                  <a:gd name="T70" fmla="*/ 77 w 405"/>
                  <a:gd name="T71" fmla="*/ 133 h 152"/>
                  <a:gd name="T72" fmla="*/ 113 w 405"/>
                  <a:gd name="T73" fmla="*/ 149 h 152"/>
                  <a:gd name="T74" fmla="*/ 116 w 405"/>
                  <a:gd name="T75" fmla="*/ 138 h 152"/>
                  <a:gd name="T76" fmla="*/ 136 w 405"/>
                  <a:gd name="T77" fmla="*/ 120 h 152"/>
                  <a:gd name="T78" fmla="*/ 148 w 405"/>
                  <a:gd name="T79" fmla="*/ 97 h 152"/>
                  <a:gd name="T80" fmla="*/ 160 w 405"/>
                  <a:gd name="T81" fmla="*/ 82 h 152"/>
                  <a:gd name="T82" fmla="*/ 179 w 405"/>
                  <a:gd name="T83" fmla="*/ 63 h 152"/>
                  <a:gd name="T84" fmla="*/ 165 w 405"/>
                  <a:gd name="T85" fmla="*/ 64 h 152"/>
                  <a:gd name="T86" fmla="*/ 148 w 405"/>
                  <a:gd name="T87" fmla="*/ 59 h 152"/>
                  <a:gd name="T88" fmla="*/ 140 w 405"/>
                  <a:gd name="T89" fmla="*/ 41 h 152"/>
                  <a:gd name="T90" fmla="*/ 129 w 405"/>
                  <a:gd name="T91" fmla="*/ 36 h 152"/>
                  <a:gd name="T92" fmla="*/ 112 w 405"/>
                  <a:gd name="T93" fmla="*/ 27 h 152"/>
                  <a:gd name="T94" fmla="*/ 96 w 405"/>
                  <a:gd name="T95" fmla="*/ 28 h 152"/>
                  <a:gd name="T96" fmla="*/ 96 w 405"/>
                  <a:gd name="T97" fmla="*/ 64 h 152"/>
                  <a:gd name="T98" fmla="*/ 60 w 405"/>
                  <a:gd name="T99" fmla="*/ 46 h 152"/>
                  <a:gd name="T100" fmla="*/ 48 w 405"/>
                  <a:gd name="T101" fmla="*/ 41 h 152"/>
                  <a:gd name="T102" fmla="*/ 57 w 405"/>
                  <a:gd name="T103" fmla="*/ 34 h 152"/>
                  <a:gd name="T104" fmla="*/ 25 w 405"/>
                  <a:gd name="T105" fmla="*/ 36 h 152"/>
                  <a:gd name="T106" fmla="*/ 10 w 405"/>
                  <a:gd name="T107" fmla="*/ 36 h 152"/>
                  <a:gd name="T108" fmla="*/ 244 w 405"/>
                  <a:gd name="T109" fmla="*/ 110 h 152"/>
                  <a:gd name="T110" fmla="*/ 221 w 405"/>
                  <a:gd name="T111" fmla="*/ 102 h 152"/>
                  <a:gd name="T112" fmla="*/ 205 w 405"/>
                  <a:gd name="T113" fmla="*/ 93 h 152"/>
                  <a:gd name="T114" fmla="*/ 172 w 405"/>
                  <a:gd name="T115" fmla="*/ 89 h 152"/>
                  <a:gd name="T116" fmla="*/ 182 w 405"/>
                  <a:gd name="T117" fmla="*/ 100 h 152"/>
                  <a:gd name="T118" fmla="*/ 181 w 405"/>
                  <a:gd name="T119" fmla="*/ 122 h 152"/>
                  <a:gd name="T120" fmla="*/ 208 w 405"/>
                  <a:gd name="T121" fmla="*/ 126 h 152"/>
                  <a:gd name="T122" fmla="*/ 232 w 405"/>
                  <a:gd name="T123" fmla="*/ 12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5" h="152">
                    <a:moveTo>
                      <a:pt x="374" y="20"/>
                    </a:moveTo>
                    <a:lnTo>
                      <a:pt x="367" y="18"/>
                    </a:lnTo>
                    <a:lnTo>
                      <a:pt x="397" y="11"/>
                    </a:lnTo>
                    <a:lnTo>
                      <a:pt x="400" y="11"/>
                    </a:lnTo>
                    <a:lnTo>
                      <a:pt x="405" y="13"/>
                    </a:lnTo>
                    <a:lnTo>
                      <a:pt x="397" y="15"/>
                    </a:lnTo>
                    <a:lnTo>
                      <a:pt x="386" y="18"/>
                    </a:lnTo>
                    <a:lnTo>
                      <a:pt x="374" y="20"/>
                    </a:lnTo>
                    <a:close/>
                    <a:moveTo>
                      <a:pt x="136" y="20"/>
                    </a:moveTo>
                    <a:lnTo>
                      <a:pt x="140" y="21"/>
                    </a:lnTo>
                    <a:lnTo>
                      <a:pt x="145" y="21"/>
                    </a:lnTo>
                    <a:lnTo>
                      <a:pt x="143" y="23"/>
                    </a:lnTo>
                    <a:lnTo>
                      <a:pt x="142" y="24"/>
                    </a:lnTo>
                    <a:lnTo>
                      <a:pt x="140" y="25"/>
                    </a:lnTo>
                    <a:lnTo>
                      <a:pt x="139" y="25"/>
                    </a:lnTo>
                    <a:lnTo>
                      <a:pt x="135" y="27"/>
                    </a:lnTo>
                    <a:lnTo>
                      <a:pt x="135" y="28"/>
                    </a:lnTo>
                    <a:lnTo>
                      <a:pt x="136" y="30"/>
                    </a:lnTo>
                    <a:lnTo>
                      <a:pt x="138" y="33"/>
                    </a:lnTo>
                    <a:lnTo>
                      <a:pt x="142" y="34"/>
                    </a:lnTo>
                    <a:lnTo>
                      <a:pt x="145" y="34"/>
                    </a:lnTo>
                    <a:lnTo>
                      <a:pt x="148" y="36"/>
                    </a:lnTo>
                    <a:lnTo>
                      <a:pt x="156" y="36"/>
                    </a:lnTo>
                    <a:lnTo>
                      <a:pt x="171" y="34"/>
                    </a:lnTo>
                    <a:lnTo>
                      <a:pt x="179" y="34"/>
                    </a:lnTo>
                    <a:lnTo>
                      <a:pt x="178" y="37"/>
                    </a:lnTo>
                    <a:lnTo>
                      <a:pt x="175" y="38"/>
                    </a:lnTo>
                    <a:lnTo>
                      <a:pt x="172" y="38"/>
                    </a:lnTo>
                    <a:lnTo>
                      <a:pt x="169" y="38"/>
                    </a:lnTo>
                    <a:lnTo>
                      <a:pt x="165" y="38"/>
                    </a:lnTo>
                    <a:lnTo>
                      <a:pt x="162" y="40"/>
                    </a:lnTo>
                    <a:lnTo>
                      <a:pt x="159" y="41"/>
                    </a:lnTo>
                    <a:lnTo>
                      <a:pt x="166" y="44"/>
                    </a:lnTo>
                    <a:lnTo>
                      <a:pt x="181" y="48"/>
                    </a:lnTo>
                    <a:lnTo>
                      <a:pt x="183" y="48"/>
                    </a:lnTo>
                    <a:lnTo>
                      <a:pt x="192" y="50"/>
                    </a:lnTo>
                    <a:lnTo>
                      <a:pt x="215" y="48"/>
                    </a:lnTo>
                    <a:lnTo>
                      <a:pt x="214" y="54"/>
                    </a:lnTo>
                    <a:lnTo>
                      <a:pt x="218" y="56"/>
                    </a:lnTo>
                    <a:lnTo>
                      <a:pt x="225" y="57"/>
                    </a:lnTo>
                    <a:lnTo>
                      <a:pt x="234" y="57"/>
                    </a:lnTo>
                    <a:lnTo>
                      <a:pt x="235" y="57"/>
                    </a:lnTo>
                    <a:lnTo>
                      <a:pt x="238" y="56"/>
                    </a:lnTo>
                    <a:lnTo>
                      <a:pt x="245" y="51"/>
                    </a:lnTo>
                    <a:lnTo>
                      <a:pt x="248" y="51"/>
                    </a:lnTo>
                    <a:lnTo>
                      <a:pt x="251" y="50"/>
                    </a:lnTo>
                    <a:lnTo>
                      <a:pt x="257" y="51"/>
                    </a:lnTo>
                    <a:lnTo>
                      <a:pt x="260" y="50"/>
                    </a:lnTo>
                    <a:lnTo>
                      <a:pt x="264" y="48"/>
                    </a:lnTo>
                    <a:lnTo>
                      <a:pt x="265" y="47"/>
                    </a:lnTo>
                    <a:lnTo>
                      <a:pt x="268" y="43"/>
                    </a:lnTo>
                    <a:lnTo>
                      <a:pt x="270" y="41"/>
                    </a:lnTo>
                    <a:lnTo>
                      <a:pt x="275" y="37"/>
                    </a:lnTo>
                    <a:lnTo>
                      <a:pt x="287" y="31"/>
                    </a:lnTo>
                    <a:lnTo>
                      <a:pt x="291" y="28"/>
                    </a:lnTo>
                    <a:lnTo>
                      <a:pt x="291" y="21"/>
                    </a:lnTo>
                    <a:lnTo>
                      <a:pt x="288" y="17"/>
                    </a:lnTo>
                    <a:lnTo>
                      <a:pt x="284" y="15"/>
                    </a:lnTo>
                    <a:lnTo>
                      <a:pt x="278" y="14"/>
                    </a:lnTo>
                    <a:lnTo>
                      <a:pt x="271" y="14"/>
                    </a:lnTo>
                    <a:lnTo>
                      <a:pt x="268" y="14"/>
                    </a:lnTo>
                    <a:lnTo>
                      <a:pt x="254" y="8"/>
                    </a:lnTo>
                    <a:lnTo>
                      <a:pt x="251" y="7"/>
                    </a:lnTo>
                    <a:lnTo>
                      <a:pt x="250" y="7"/>
                    </a:lnTo>
                    <a:lnTo>
                      <a:pt x="248" y="7"/>
                    </a:lnTo>
                    <a:lnTo>
                      <a:pt x="247" y="8"/>
                    </a:lnTo>
                    <a:lnTo>
                      <a:pt x="247" y="8"/>
                    </a:lnTo>
                    <a:lnTo>
                      <a:pt x="245" y="7"/>
                    </a:lnTo>
                    <a:lnTo>
                      <a:pt x="244" y="5"/>
                    </a:lnTo>
                    <a:lnTo>
                      <a:pt x="242" y="5"/>
                    </a:lnTo>
                    <a:lnTo>
                      <a:pt x="241" y="5"/>
                    </a:lnTo>
                    <a:lnTo>
                      <a:pt x="241" y="5"/>
                    </a:lnTo>
                    <a:lnTo>
                      <a:pt x="241" y="5"/>
                    </a:lnTo>
                    <a:lnTo>
                      <a:pt x="239" y="7"/>
                    </a:lnTo>
                    <a:lnTo>
                      <a:pt x="238" y="7"/>
                    </a:lnTo>
                    <a:lnTo>
                      <a:pt x="235" y="7"/>
                    </a:lnTo>
                    <a:lnTo>
                      <a:pt x="235" y="7"/>
                    </a:lnTo>
                    <a:lnTo>
                      <a:pt x="234" y="7"/>
                    </a:lnTo>
                    <a:lnTo>
                      <a:pt x="232" y="10"/>
                    </a:lnTo>
                    <a:lnTo>
                      <a:pt x="231" y="11"/>
                    </a:lnTo>
                    <a:lnTo>
                      <a:pt x="228" y="13"/>
                    </a:lnTo>
                    <a:lnTo>
                      <a:pt x="227" y="14"/>
                    </a:lnTo>
                    <a:lnTo>
                      <a:pt x="224" y="14"/>
                    </a:lnTo>
                    <a:lnTo>
                      <a:pt x="219" y="14"/>
                    </a:lnTo>
                    <a:lnTo>
                      <a:pt x="222" y="4"/>
                    </a:lnTo>
                    <a:lnTo>
                      <a:pt x="222" y="2"/>
                    </a:lnTo>
                    <a:lnTo>
                      <a:pt x="221" y="0"/>
                    </a:lnTo>
                    <a:lnTo>
                      <a:pt x="218" y="1"/>
                    </a:lnTo>
                    <a:lnTo>
                      <a:pt x="212" y="2"/>
                    </a:lnTo>
                    <a:lnTo>
                      <a:pt x="211" y="2"/>
                    </a:lnTo>
                    <a:lnTo>
                      <a:pt x="209" y="2"/>
                    </a:lnTo>
                    <a:lnTo>
                      <a:pt x="208" y="4"/>
                    </a:lnTo>
                    <a:lnTo>
                      <a:pt x="208" y="5"/>
                    </a:lnTo>
                    <a:lnTo>
                      <a:pt x="208" y="7"/>
                    </a:lnTo>
                    <a:lnTo>
                      <a:pt x="208" y="11"/>
                    </a:lnTo>
                    <a:lnTo>
                      <a:pt x="208" y="13"/>
                    </a:lnTo>
                    <a:lnTo>
                      <a:pt x="208" y="15"/>
                    </a:lnTo>
                    <a:lnTo>
                      <a:pt x="208" y="18"/>
                    </a:lnTo>
                    <a:lnTo>
                      <a:pt x="206" y="20"/>
                    </a:lnTo>
                    <a:lnTo>
                      <a:pt x="204" y="20"/>
                    </a:lnTo>
                    <a:lnTo>
                      <a:pt x="196" y="17"/>
                    </a:lnTo>
                    <a:lnTo>
                      <a:pt x="196" y="15"/>
                    </a:lnTo>
                    <a:lnTo>
                      <a:pt x="195" y="13"/>
                    </a:lnTo>
                    <a:lnTo>
                      <a:pt x="195" y="11"/>
                    </a:lnTo>
                    <a:lnTo>
                      <a:pt x="191" y="10"/>
                    </a:lnTo>
                    <a:lnTo>
                      <a:pt x="188" y="10"/>
                    </a:lnTo>
                    <a:lnTo>
                      <a:pt x="185" y="11"/>
                    </a:lnTo>
                    <a:lnTo>
                      <a:pt x="181" y="10"/>
                    </a:lnTo>
                    <a:lnTo>
                      <a:pt x="171" y="2"/>
                    </a:lnTo>
                    <a:lnTo>
                      <a:pt x="165" y="1"/>
                    </a:lnTo>
                    <a:lnTo>
                      <a:pt x="159" y="1"/>
                    </a:lnTo>
                    <a:lnTo>
                      <a:pt x="160" y="5"/>
                    </a:lnTo>
                    <a:lnTo>
                      <a:pt x="162" y="8"/>
                    </a:lnTo>
                    <a:lnTo>
                      <a:pt x="160" y="11"/>
                    </a:lnTo>
                    <a:lnTo>
                      <a:pt x="159" y="10"/>
                    </a:lnTo>
                    <a:lnTo>
                      <a:pt x="156" y="8"/>
                    </a:lnTo>
                    <a:lnTo>
                      <a:pt x="153" y="5"/>
                    </a:lnTo>
                    <a:lnTo>
                      <a:pt x="150" y="5"/>
                    </a:lnTo>
                    <a:lnTo>
                      <a:pt x="150" y="8"/>
                    </a:lnTo>
                    <a:lnTo>
                      <a:pt x="152" y="11"/>
                    </a:lnTo>
                    <a:lnTo>
                      <a:pt x="155" y="14"/>
                    </a:lnTo>
                    <a:lnTo>
                      <a:pt x="158" y="15"/>
                    </a:lnTo>
                    <a:lnTo>
                      <a:pt x="153" y="17"/>
                    </a:lnTo>
                    <a:lnTo>
                      <a:pt x="150" y="17"/>
                    </a:lnTo>
                    <a:lnTo>
                      <a:pt x="148" y="14"/>
                    </a:lnTo>
                    <a:lnTo>
                      <a:pt x="143" y="14"/>
                    </a:lnTo>
                    <a:lnTo>
                      <a:pt x="140" y="13"/>
                    </a:lnTo>
                    <a:lnTo>
                      <a:pt x="136" y="14"/>
                    </a:lnTo>
                    <a:lnTo>
                      <a:pt x="132" y="14"/>
                    </a:lnTo>
                    <a:lnTo>
                      <a:pt x="129" y="15"/>
                    </a:lnTo>
                    <a:lnTo>
                      <a:pt x="133" y="18"/>
                    </a:lnTo>
                    <a:lnTo>
                      <a:pt x="136" y="20"/>
                    </a:lnTo>
                    <a:close/>
                    <a:moveTo>
                      <a:pt x="283" y="74"/>
                    </a:moveTo>
                    <a:lnTo>
                      <a:pt x="280" y="73"/>
                    </a:lnTo>
                    <a:lnTo>
                      <a:pt x="278" y="74"/>
                    </a:lnTo>
                    <a:lnTo>
                      <a:pt x="280" y="77"/>
                    </a:lnTo>
                    <a:lnTo>
                      <a:pt x="283" y="80"/>
                    </a:lnTo>
                    <a:lnTo>
                      <a:pt x="285" y="80"/>
                    </a:lnTo>
                    <a:lnTo>
                      <a:pt x="288" y="79"/>
                    </a:lnTo>
                    <a:lnTo>
                      <a:pt x="285" y="77"/>
                    </a:lnTo>
                    <a:lnTo>
                      <a:pt x="283" y="74"/>
                    </a:lnTo>
                    <a:close/>
                    <a:moveTo>
                      <a:pt x="311" y="71"/>
                    </a:moveTo>
                    <a:lnTo>
                      <a:pt x="316" y="71"/>
                    </a:lnTo>
                    <a:lnTo>
                      <a:pt x="320" y="70"/>
                    </a:lnTo>
                    <a:lnTo>
                      <a:pt x="329" y="71"/>
                    </a:lnTo>
                    <a:lnTo>
                      <a:pt x="331" y="70"/>
                    </a:lnTo>
                    <a:lnTo>
                      <a:pt x="336" y="70"/>
                    </a:lnTo>
                    <a:lnTo>
                      <a:pt x="334" y="69"/>
                    </a:lnTo>
                    <a:lnTo>
                      <a:pt x="327" y="70"/>
                    </a:lnTo>
                    <a:lnTo>
                      <a:pt x="326" y="69"/>
                    </a:lnTo>
                    <a:lnTo>
                      <a:pt x="321" y="67"/>
                    </a:lnTo>
                    <a:lnTo>
                      <a:pt x="320" y="67"/>
                    </a:lnTo>
                    <a:lnTo>
                      <a:pt x="316" y="67"/>
                    </a:lnTo>
                    <a:lnTo>
                      <a:pt x="311" y="69"/>
                    </a:lnTo>
                    <a:lnTo>
                      <a:pt x="307" y="70"/>
                    </a:lnTo>
                    <a:lnTo>
                      <a:pt x="304" y="71"/>
                    </a:lnTo>
                    <a:lnTo>
                      <a:pt x="307" y="73"/>
                    </a:lnTo>
                    <a:lnTo>
                      <a:pt x="311" y="71"/>
                    </a:lnTo>
                    <a:close/>
                    <a:moveTo>
                      <a:pt x="138" y="10"/>
                    </a:moveTo>
                    <a:lnTo>
                      <a:pt x="139" y="10"/>
                    </a:lnTo>
                    <a:lnTo>
                      <a:pt x="140" y="10"/>
                    </a:lnTo>
                    <a:lnTo>
                      <a:pt x="140" y="8"/>
                    </a:lnTo>
                    <a:lnTo>
                      <a:pt x="143" y="7"/>
                    </a:lnTo>
                    <a:lnTo>
                      <a:pt x="140" y="5"/>
                    </a:lnTo>
                    <a:lnTo>
                      <a:pt x="138" y="5"/>
                    </a:lnTo>
                    <a:lnTo>
                      <a:pt x="133" y="5"/>
                    </a:lnTo>
                    <a:lnTo>
                      <a:pt x="133" y="8"/>
                    </a:lnTo>
                    <a:lnTo>
                      <a:pt x="133" y="8"/>
                    </a:lnTo>
                    <a:lnTo>
                      <a:pt x="138" y="10"/>
                    </a:lnTo>
                    <a:close/>
                    <a:moveTo>
                      <a:pt x="0" y="74"/>
                    </a:moveTo>
                    <a:lnTo>
                      <a:pt x="3" y="79"/>
                    </a:lnTo>
                    <a:lnTo>
                      <a:pt x="7" y="86"/>
                    </a:lnTo>
                    <a:lnTo>
                      <a:pt x="10" y="87"/>
                    </a:lnTo>
                    <a:lnTo>
                      <a:pt x="11" y="89"/>
                    </a:lnTo>
                    <a:lnTo>
                      <a:pt x="15" y="89"/>
                    </a:lnTo>
                    <a:lnTo>
                      <a:pt x="18" y="90"/>
                    </a:lnTo>
                    <a:lnTo>
                      <a:pt x="20" y="92"/>
                    </a:lnTo>
                    <a:lnTo>
                      <a:pt x="21" y="94"/>
                    </a:lnTo>
                    <a:lnTo>
                      <a:pt x="24" y="96"/>
                    </a:lnTo>
                    <a:lnTo>
                      <a:pt x="27" y="96"/>
                    </a:lnTo>
                    <a:lnTo>
                      <a:pt x="24" y="92"/>
                    </a:lnTo>
                    <a:lnTo>
                      <a:pt x="20" y="87"/>
                    </a:lnTo>
                    <a:lnTo>
                      <a:pt x="15" y="84"/>
                    </a:lnTo>
                    <a:lnTo>
                      <a:pt x="11" y="84"/>
                    </a:lnTo>
                    <a:lnTo>
                      <a:pt x="11" y="83"/>
                    </a:lnTo>
                    <a:lnTo>
                      <a:pt x="11" y="82"/>
                    </a:lnTo>
                    <a:lnTo>
                      <a:pt x="10" y="82"/>
                    </a:lnTo>
                    <a:lnTo>
                      <a:pt x="10" y="80"/>
                    </a:lnTo>
                    <a:lnTo>
                      <a:pt x="10" y="79"/>
                    </a:lnTo>
                    <a:lnTo>
                      <a:pt x="10" y="77"/>
                    </a:lnTo>
                    <a:lnTo>
                      <a:pt x="8" y="76"/>
                    </a:lnTo>
                    <a:lnTo>
                      <a:pt x="7" y="73"/>
                    </a:lnTo>
                    <a:lnTo>
                      <a:pt x="5" y="71"/>
                    </a:lnTo>
                    <a:lnTo>
                      <a:pt x="3" y="70"/>
                    </a:lnTo>
                    <a:lnTo>
                      <a:pt x="0" y="70"/>
                    </a:lnTo>
                    <a:lnTo>
                      <a:pt x="0" y="73"/>
                    </a:lnTo>
                    <a:lnTo>
                      <a:pt x="0" y="74"/>
                    </a:lnTo>
                    <a:close/>
                    <a:moveTo>
                      <a:pt x="3" y="41"/>
                    </a:moveTo>
                    <a:lnTo>
                      <a:pt x="3" y="41"/>
                    </a:lnTo>
                    <a:lnTo>
                      <a:pt x="3" y="43"/>
                    </a:lnTo>
                    <a:lnTo>
                      <a:pt x="3" y="44"/>
                    </a:lnTo>
                    <a:lnTo>
                      <a:pt x="5" y="51"/>
                    </a:lnTo>
                    <a:lnTo>
                      <a:pt x="8" y="57"/>
                    </a:lnTo>
                    <a:lnTo>
                      <a:pt x="11" y="60"/>
                    </a:lnTo>
                    <a:lnTo>
                      <a:pt x="13" y="61"/>
                    </a:lnTo>
                    <a:lnTo>
                      <a:pt x="14" y="61"/>
                    </a:lnTo>
                    <a:lnTo>
                      <a:pt x="15" y="60"/>
                    </a:lnTo>
                    <a:lnTo>
                      <a:pt x="17" y="59"/>
                    </a:lnTo>
                    <a:lnTo>
                      <a:pt x="18" y="57"/>
                    </a:lnTo>
                    <a:lnTo>
                      <a:pt x="18" y="56"/>
                    </a:lnTo>
                    <a:lnTo>
                      <a:pt x="18" y="54"/>
                    </a:lnTo>
                    <a:lnTo>
                      <a:pt x="18" y="54"/>
                    </a:lnTo>
                    <a:lnTo>
                      <a:pt x="21" y="54"/>
                    </a:lnTo>
                    <a:lnTo>
                      <a:pt x="24" y="54"/>
                    </a:lnTo>
                    <a:lnTo>
                      <a:pt x="25" y="56"/>
                    </a:lnTo>
                    <a:lnTo>
                      <a:pt x="24" y="59"/>
                    </a:lnTo>
                    <a:lnTo>
                      <a:pt x="23" y="61"/>
                    </a:lnTo>
                    <a:lnTo>
                      <a:pt x="24" y="66"/>
                    </a:lnTo>
                    <a:lnTo>
                      <a:pt x="27" y="66"/>
                    </a:lnTo>
                    <a:lnTo>
                      <a:pt x="28" y="67"/>
                    </a:lnTo>
                    <a:lnTo>
                      <a:pt x="31" y="67"/>
                    </a:lnTo>
                    <a:lnTo>
                      <a:pt x="28" y="70"/>
                    </a:lnTo>
                    <a:lnTo>
                      <a:pt x="18" y="67"/>
                    </a:lnTo>
                    <a:lnTo>
                      <a:pt x="14" y="69"/>
                    </a:lnTo>
                    <a:lnTo>
                      <a:pt x="23" y="73"/>
                    </a:lnTo>
                    <a:lnTo>
                      <a:pt x="20" y="74"/>
                    </a:lnTo>
                    <a:lnTo>
                      <a:pt x="23" y="79"/>
                    </a:lnTo>
                    <a:lnTo>
                      <a:pt x="28" y="83"/>
                    </a:lnTo>
                    <a:lnTo>
                      <a:pt x="31" y="84"/>
                    </a:lnTo>
                    <a:lnTo>
                      <a:pt x="34" y="87"/>
                    </a:lnTo>
                    <a:lnTo>
                      <a:pt x="36" y="89"/>
                    </a:lnTo>
                    <a:lnTo>
                      <a:pt x="40" y="93"/>
                    </a:lnTo>
                    <a:lnTo>
                      <a:pt x="44" y="94"/>
                    </a:lnTo>
                    <a:lnTo>
                      <a:pt x="48" y="94"/>
                    </a:lnTo>
                    <a:lnTo>
                      <a:pt x="57" y="94"/>
                    </a:lnTo>
                    <a:lnTo>
                      <a:pt x="61" y="93"/>
                    </a:lnTo>
                    <a:lnTo>
                      <a:pt x="67" y="90"/>
                    </a:lnTo>
                    <a:lnTo>
                      <a:pt x="71" y="89"/>
                    </a:lnTo>
                    <a:lnTo>
                      <a:pt x="70" y="89"/>
                    </a:lnTo>
                    <a:lnTo>
                      <a:pt x="69" y="87"/>
                    </a:lnTo>
                    <a:lnTo>
                      <a:pt x="67" y="86"/>
                    </a:lnTo>
                    <a:lnTo>
                      <a:pt x="67" y="86"/>
                    </a:lnTo>
                    <a:lnTo>
                      <a:pt x="69" y="82"/>
                    </a:lnTo>
                    <a:lnTo>
                      <a:pt x="69" y="80"/>
                    </a:lnTo>
                    <a:lnTo>
                      <a:pt x="69" y="80"/>
                    </a:lnTo>
                    <a:lnTo>
                      <a:pt x="69" y="79"/>
                    </a:lnTo>
                    <a:lnTo>
                      <a:pt x="70" y="79"/>
                    </a:lnTo>
                    <a:lnTo>
                      <a:pt x="70" y="77"/>
                    </a:lnTo>
                    <a:lnTo>
                      <a:pt x="71" y="77"/>
                    </a:lnTo>
                    <a:lnTo>
                      <a:pt x="71" y="77"/>
                    </a:lnTo>
                    <a:lnTo>
                      <a:pt x="73" y="77"/>
                    </a:lnTo>
                    <a:lnTo>
                      <a:pt x="74" y="79"/>
                    </a:lnTo>
                    <a:lnTo>
                      <a:pt x="76" y="80"/>
                    </a:lnTo>
                    <a:lnTo>
                      <a:pt x="77" y="80"/>
                    </a:lnTo>
                    <a:lnTo>
                      <a:pt x="79" y="80"/>
                    </a:lnTo>
                    <a:lnTo>
                      <a:pt x="80" y="79"/>
                    </a:lnTo>
                    <a:lnTo>
                      <a:pt x="82" y="76"/>
                    </a:lnTo>
                    <a:lnTo>
                      <a:pt x="83" y="74"/>
                    </a:lnTo>
                    <a:lnTo>
                      <a:pt x="84" y="77"/>
                    </a:lnTo>
                    <a:lnTo>
                      <a:pt x="84" y="79"/>
                    </a:lnTo>
                    <a:lnTo>
                      <a:pt x="82" y="82"/>
                    </a:lnTo>
                    <a:lnTo>
                      <a:pt x="82" y="84"/>
                    </a:lnTo>
                    <a:lnTo>
                      <a:pt x="83" y="86"/>
                    </a:lnTo>
                    <a:lnTo>
                      <a:pt x="84" y="87"/>
                    </a:lnTo>
                    <a:lnTo>
                      <a:pt x="87" y="87"/>
                    </a:lnTo>
                    <a:lnTo>
                      <a:pt x="90" y="87"/>
                    </a:lnTo>
                    <a:lnTo>
                      <a:pt x="94" y="86"/>
                    </a:lnTo>
                    <a:lnTo>
                      <a:pt x="103" y="80"/>
                    </a:lnTo>
                    <a:lnTo>
                      <a:pt x="109" y="80"/>
                    </a:lnTo>
                    <a:lnTo>
                      <a:pt x="107" y="82"/>
                    </a:lnTo>
                    <a:lnTo>
                      <a:pt x="104" y="83"/>
                    </a:lnTo>
                    <a:lnTo>
                      <a:pt x="103" y="86"/>
                    </a:lnTo>
                    <a:lnTo>
                      <a:pt x="104" y="87"/>
                    </a:lnTo>
                    <a:lnTo>
                      <a:pt x="106" y="89"/>
                    </a:lnTo>
                    <a:lnTo>
                      <a:pt x="110" y="90"/>
                    </a:lnTo>
                    <a:lnTo>
                      <a:pt x="113" y="89"/>
                    </a:lnTo>
                    <a:lnTo>
                      <a:pt x="116" y="89"/>
                    </a:lnTo>
                    <a:lnTo>
                      <a:pt x="112" y="90"/>
                    </a:lnTo>
                    <a:lnTo>
                      <a:pt x="107" y="92"/>
                    </a:lnTo>
                    <a:lnTo>
                      <a:pt x="96" y="92"/>
                    </a:lnTo>
                    <a:lnTo>
                      <a:pt x="92" y="92"/>
                    </a:lnTo>
                    <a:lnTo>
                      <a:pt x="89" y="93"/>
                    </a:lnTo>
                    <a:lnTo>
                      <a:pt x="90" y="96"/>
                    </a:lnTo>
                    <a:lnTo>
                      <a:pt x="86" y="96"/>
                    </a:lnTo>
                    <a:lnTo>
                      <a:pt x="83" y="96"/>
                    </a:lnTo>
                    <a:lnTo>
                      <a:pt x="77" y="99"/>
                    </a:lnTo>
                    <a:lnTo>
                      <a:pt x="64" y="102"/>
                    </a:lnTo>
                    <a:lnTo>
                      <a:pt x="64" y="102"/>
                    </a:lnTo>
                    <a:lnTo>
                      <a:pt x="64" y="103"/>
                    </a:lnTo>
                    <a:lnTo>
                      <a:pt x="66" y="105"/>
                    </a:lnTo>
                    <a:lnTo>
                      <a:pt x="60" y="102"/>
                    </a:lnTo>
                    <a:lnTo>
                      <a:pt x="59" y="100"/>
                    </a:lnTo>
                    <a:lnTo>
                      <a:pt x="56" y="102"/>
                    </a:lnTo>
                    <a:lnTo>
                      <a:pt x="54" y="103"/>
                    </a:lnTo>
                    <a:lnTo>
                      <a:pt x="54" y="105"/>
                    </a:lnTo>
                    <a:lnTo>
                      <a:pt x="54" y="107"/>
                    </a:lnTo>
                    <a:lnTo>
                      <a:pt x="56" y="109"/>
                    </a:lnTo>
                    <a:lnTo>
                      <a:pt x="59" y="113"/>
                    </a:lnTo>
                    <a:lnTo>
                      <a:pt x="64" y="115"/>
                    </a:lnTo>
                    <a:lnTo>
                      <a:pt x="70" y="115"/>
                    </a:lnTo>
                    <a:lnTo>
                      <a:pt x="74" y="115"/>
                    </a:lnTo>
                    <a:lnTo>
                      <a:pt x="77" y="113"/>
                    </a:lnTo>
                    <a:lnTo>
                      <a:pt x="82" y="112"/>
                    </a:lnTo>
                    <a:lnTo>
                      <a:pt x="84" y="110"/>
                    </a:lnTo>
                    <a:lnTo>
                      <a:pt x="87" y="110"/>
                    </a:lnTo>
                    <a:lnTo>
                      <a:pt x="93" y="110"/>
                    </a:lnTo>
                    <a:lnTo>
                      <a:pt x="96" y="110"/>
                    </a:lnTo>
                    <a:lnTo>
                      <a:pt x="106" y="109"/>
                    </a:lnTo>
                    <a:lnTo>
                      <a:pt x="109" y="109"/>
                    </a:lnTo>
                    <a:lnTo>
                      <a:pt x="110" y="109"/>
                    </a:lnTo>
                    <a:lnTo>
                      <a:pt x="113" y="113"/>
                    </a:lnTo>
                    <a:lnTo>
                      <a:pt x="106" y="113"/>
                    </a:lnTo>
                    <a:lnTo>
                      <a:pt x="77" y="117"/>
                    </a:lnTo>
                    <a:lnTo>
                      <a:pt x="76" y="117"/>
                    </a:lnTo>
                    <a:lnTo>
                      <a:pt x="76" y="119"/>
                    </a:lnTo>
                    <a:lnTo>
                      <a:pt x="73" y="122"/>
                    </a:lnTo>
                    <a:lnTo>
                      <a:pt x="71" y="122"/>
                    </a:lnTo>
                    <a:lnTo>
                      <a:pt x="70" y="122"/>
                    </a:lnTo>
                    <a:lnTo>
                      <a:pt x="66" y="120"/>
                    </a:lnTo>
                    <a:lnTo>
                      <a:pt x="63" y="120"/>
                    </a:lnTo>
                    <a:lnTo>
                      <a:pt x="60" y="122"/>
                    </a:lnTo>
                    <a:lnTo>
                      <a:pt x="60" y="126"/>
                    </a:lnTo>
                    <a:lnTo>
                      <a:pt x="66" y="130"/>
                    </a:lnTo>
                    <a:lnTo>
                      <a:pt x="77" y="133"/>
                    </a:lnTo>
                    <a:lnTo>
                      <a:pt x="80" y="136"/>
                    </a:lnTo>
                    <a:lnTo>
                      <a:pt x="87" y="142"/>
                    </a:lnTo>
                    <a:lnTo>
                      <a:pt x="96" y="146"/>
                    </a:lnTo>
                    <a:lnTo>
                      <a:pt x="99" y="148"/>
                    </a:lnTo>
                    <a:lnTo>
                      <a:pt x="102" y="149"/>
                    </a:lnTo>
                    <a:lnTo>
                      <a:pt x="104" y="151"/>
                    </a:lnTo>
                    <a:lnTo>
                      <a:pt x="107" y="152"/>
                    </a:lnTo>
                    <a:lnTo>
                      <a:pt x="112" y="151"/>
                    </a:lnTo>
                    <a:lnTo>
                      <a:pt x="113" y="149"/>
                    </a:lnTo>
                    <a:lnTo>
                      <a:pt x="113" y="148"/>
                    </a:lnTo>
                    <a:lnTo>
                      <a:pt x="113" y="148"/>
                    </a:lnTo>
                    <a:lnTo>
                      <a:pt x="113" y="145"/>
                    </a:lnTo>
                    <a:lnTo>
                      <a:pt x="113" y="143"/>
                    </a:lnTo>
                    <a:lnTo>
                      <a:pt x="113" y="143"/>
                    </a:lnTo>
                    <a:lnTo>
                      <a:pt x="115" y="140"/>
                    </a:lnTo>
                    <a:lnTo>
                      <a:pt x="116" y="139"/>
                    </a:lnTo>
                    <a:lnTo>
                      <a:pt x="117" y="138"/>
                    </a:lnTo>
                    <a:lnTo>
                      <a:pt x="116" y="138"/>
                    </a:lnTo>
                    <a:lnTo>
                      <a:pt x="116" y="136"/>
                    </a:lnTo>
                    <a:lnTo>
                      <a:pt x="116" y="136"/>
                    </a:lnTo>
                    <a:lnTo>
                      <a:pt x="116" y="135"/>
                    </a:lnTo>
                    <a:lnTo>
                      <a:pt x="119" y="132"/>
                    </a:lnTo>
                    <a:lnTo>
                      <a:pt x="123" y="126"/>
                    </a:lnTo>
                    <a:lnTo>
                      <a:pt x="125" y="125"/>
                    </a:lnTo>
                    <a:lnTo>
                      <a:pt x="127" y="123"/>
                    </a:lnTo>
                    <a:lnTo>
                      <a:pt x="133" y="122"/>
                    </a:lnTo>
                    <a:lnTo>
                      <a:pt x="136" y="120"/>
                    </a:lnTo>
                    <a:lnTo>
                      <a:pt x="136" y="116"/>
                    </a:lnTo>
                    <a:lnTo>
                      <a:pt x="138" y="106"/>
                    </a:lnTo>
                    <a:lnTo>
                      <a:pt x="138" y="103"/>
                    </a:lnTo>
                    <a:lnTo>
                      <a:pt x="140" y="102"/>
                    </a:lnTo>
                    <a:lnTo>
                      <a:pt x="143" y="102"/>
                    </a:lnTo>
                    <a:lnTo>
                      <a:pt x="146" y="102"/>
                    </a:lnTo>
                    <a:lnTo>
                      <a:pt x="148" y="99"/>
                    </a:lnTo>
                    <a:lnTo>
                      <a:pt x="148" y="99"/>
                    </a:lnTo>
                    <a:lnTo>
                      <a:pt x="148" y="97"/>
                    </a:lnTo>
                    <a:lnTo>
                      <a:pt x="148" y="96"/>
                    </a:lnTo>
                    <a:lnTo>
                      <a:pt x="148" y="94"/>
                    </a:lnTo>
                    <a:lnTo>
                      <a:pt x="148" y="94"/>
                    </a:lnTo>
                    <a:lnTo>
                      <a:pt x="148" y="93"/>
                    </a:lnTo>
                    <a:lnTo>
                      <a:pt x="149" y="93"/>
                    </a:lnTo>
                    <a:lnTo>
                      <a:pt x="149" y="90"/>
                    </a:lnTo>
                    <a:lnTo>
                      <a:pt x="150" y="90"/>
                    </a:lnTo>
                    <a:lnTo>
                      <a:pt x="158" y="83"/>
                    </a:lnTo>
                    <a:lnTo>
                      <a:pt x="160" y="82"/>
                    </a:lnTo>
                    <a:lnTo>
                      <a:pt x="163" y="82"/>
                    </a:lnTo>
                    <a:lnTo>
                      <a:pt x="183" y="79"/>
                    </a:lnTo>
                    <a:lnTo>
                      <a:pt x="186" y="79"/>
                    </a:lnTo>
                    <a:lnTo>
                      <a:pt x="189" y="76"/>
                    </a:lnTo>
                    <a:lnTo>
                      <a:pt x="188" y="73"/>
                    </a:lnTo>
                    <a:lnTo>
                      <a:pt x="185" y="71"/>
                    </a:lnTo>
                    <a:lnTo>
                      <a:pt x="178" y="69"/>
                    </a:lnTo>
                    <a:lnTo>
                      <a:pt x="173" y="67"/>
                    </a:lnTo>
                    <a:lnTo>
                      <a:pt x="179" y="63"/>
                    </a:lnTo>
                    <a:lnTo>
                      <a:pt x="176" y="61"/>
                    </a:lnTo>
                    <a:lnTo>
                      <a:pt x="173" y="60"/>
                    </a:lnTo>
                    <a:lnTo>
                      <a:pt x="171" y="60"/>
                    </a:lnTo>
                    <a:lnTo>
                      <a:pt x="168" y="60"/>
                    </a:lnTo>
                    <a:lnTo>
                      <a:pt x="168" y="60"/>
                    </a:lnTo>
                    <a:lnTo>
                      <a:pt x="168" y="61"/>
                    </a:lnTo>
                    <a:lnTo>
                      <a:pt x="168" y="63"/>
                    </a:lnTo>
                    <a:lnTo>
                      <a:pt x="166" y="63"/>
                    </a:lnTo>
                    <a:lnTo>
                      <a:pt x="165" y="64"/>
                    </a:lnTo>
                    <a:lnTo>
                      <a:pt x="163" y="63"/>
                    </a:lnTo>
                    <a:lnTo>
                      <a:pt x="163" y="63"/>
                    </a:lnTo>
                    <a:lnTo>
                      <a:pt x="162" y="61"/>
                    </a:lnTo>
                    <a:lnTo>
                      <a:pt x="159" y="60"/>
                    </a:lnTo>
                    <a:lnTo>
                      <a:pt x="158" y="59"/>
                    </a:lnTo>
                    <a:lnTo>
                      <a:pt x="155" y="59"/>
                    </a:lnTo>
                    <a:lnTo>
                      <a:pt x="150" y="59"/>
                    </a:lnTo>
                    <a:lnTo>
                      <a:pt x="149" y="59"/>
                    </a:lnTo>
                    <a:lnTo>
                      <a:pt x="148" y="59"/>
                    </a:lnTo>
                    <a:lnTo>
                      <a:pt x="146" y="59"/>
                    </a:lnTo>
                    <a:lnTo>
                      <a:pt x="146" y="57"/>
                    </a:lnTo>
                    <a:lnTo>
                      <a:pt x="145" y="56"/>
                    </a:lnTo>
                    <a:lnTo>
                      <a:pt x="143" y="56"/>
                    </a:lnTo>
                    <a:lnTo>
                      <a:pt x="142" y="54"/>
                    </a:lnTo>
                    <a:lnTo>
                      <a:pt x="145" y="51"/>
                    </a:lnTo>
                    <a:lnTo>
                      <a:pt x="145" y="47"/>
                    </a:lnTo>
                    <a:lnTo>
                      <a:pt x="143" y="44"/>
                    </a:lnTo>
                    <a:lnTo>
                      <a:pt x="140" y="41"/>
                    </a:lnTo>
                    <a:lnTo>
                      <a:pt x="136" y="40"/>
                    </a:lnTo>
                    <a:lnTo>
                      <a:pt x="132" y="43"/>
                    </a:lnTo>
                    <a:lnTo>
                      <a:pt x="125" y="50"/>
                    </a:lnTo>
                    <a:lnTo>
                      <a:pt x="125" y="47"/>
                    </a:lnTo>
                    <a:lnTo>
                      <a:pt x="125" y="43"/>
                    </a:lnTo>
                    <a:lnTo>
                      <a:pt x="126" y="41"/>
                    </a:lnTo>
                    <a:lnTo>
                      <a:pt x="127" y="38"/>
                    </a:lnTo>
                    <a:lnTo>
                      <a:pt x="127" y="37"/>
                    </a:lnTo>
                    <a:lnTo>
                      <a:pt x="129" y="36"/>
                    </a:lnTo>
                    <a:lnTo>
                      <a:pt x="127" y="33"/>
                    </a:lnTo>
                    <a:lnTo>
                      <a:pt x="125" y="31"/>
                    </a:lnTo>
                    <a:lnTo>
                      <a:pt x="123" y="28"/>
                    </a:lnTo>
                    <a:lnTo>
                      <a:pt x="120" y="28"/>
                    </a:lnTo>
                    <a:lnTo>
                      <a:pt x="115" y="25"/>
                    </a:lnTo>
                    <a:lnTo>
                      <a:pt x="115" y="25"/>
                    </a:lnTo>
                    <a:lnTo>
                      <a:pt x="113" y="25"/>
                    </a:lnTo>
                    <a:lnTo>
                      <a:pt x="112" y="25"/>
                    </a:lnTo>
                    <a:lnTo>
                      <a:pt x="112" y="27"/>
                    </a:lnTo>
                    <a:lnTo>
                      <a:pt x="110" y="27"/>
                    </a:lnTo>
                    <a:lnTo>
                      <a:pt x="110" y="27"/>
                    </a:lnTo>
                    <a:lnTo>
                      <a:pt x="107" y="25"/>
                    </a:lnTo>
                    <a:lnTo>
                      <a:pt x="103" y="23"/>
                    </a:lnTo>
                    <a:lnTo>
                      <a:pt x="99" y="21"/>
                    </a:lnTo>
                    <a:lnTo>
                      <a:pt x="96" y="25"/>
                    </a:lnTo>
                    <a:lnTo>
                      <a:pt x="96" y="25"/>
                    </a:lnTo>
                    <a:lnTo>
                      <a:pt x="96" y="27"/>
                    </a:lnTo>
                    <a:lnTo>
                      <a:pt x="96" y="28"/>
                    </a:lnTo>
                    <a:lnTo>
                      <a:pt x="96" y="28"/>
                    </a:lnTo>
                    <a:lnTo>
                      <a:pt x="96" y="30"/>
                    </a:lnTo>
                    <a:lnTo>
                      <a:pt x="93" y="34"/>
                    </a:lnTo>
                    <a:lnTo>
                      <a:pt x="92" y="36"/>
                    </a:lnTo>
                    <a:lnTo>
                      <a:pt x="92" y="37"/>
                    </a:lnTo>
                    <a:lnTo>
                      <a:pt x="92" y="40"/>
                    </a:lnTo>
                    <a:lnTo>
                      <a:pt x="92" y="41"/>
                    </a:lnTo>
                    <a:lnTo>
                      <a:pt x="100" y="67"/>
                    </a:lnTo>
                    <a:lnTo>
                      <a:pt x="96" y="64"/>
                    </a:lnTo>
                    <a:lnTo>
                      <a:pt x="92" y="59"/>
                    </a:lnTo>
                    <a:lnTo>
                      <a:pt x="82" y="43"/>
                    </a:lnTo>
                    <a:lnTo>
                      <a:pt x="77" y="37"/>
                    </a:lnTo>
                    <a:lnTo>
                      <a:pt x="71" y="33"/>
                    </a:lnTo>
                    <a:lnTo>
                      <a:pt x="66" y="36"/>
                    </a:lnTo>
                    <a:lnTo>
                      <a:pt x="64" y="38"/>
                    </a:lnTo>
                    <a:lnTo>
                      <a:pt x="61" y="40"/>
                    </a:lnTo>
                    <a:lnTo>
                      <a:pt x="60" y="43"/>
                    </a:lnTo>
                    <a:lnTo>
                      <a:pt x="60" y="46"/>
                    </a:lnTo>
                    <a:lnTo>
                      <a:pt x="60" y="48"/>
                    </a:lnTo>
                    <a:lnTo>
                      <a:pt x="60" y="51"/>
                    </a:lnTo>
                    <a:lnTo>
                      <a:pt x="59" y="50"/>
                    </a:lnTo>
                    <a:lnTo>
                      <a:pt x="54" y="47"/>
                    </a:lnTo>
                    <a:lnTo>
                      <a:pt x="51" y="46"/>
                    </a:lnTo>
                    <a:lnTo>
                      <a:pt x="50" y="46"/>
                    </a:lnTo>
                    <a:lnTo>
                      <a:pt x="50" y="44"/>
                    </a:lnTo>
                    <a:lnTo>
                      <a:pt x="48" y="43"/>
                    </a:lnTo>
                    <a:lnTo>
                      <a:pt x="48" y="41"/>
                    </a:lnTo>
                    <a:lnTo>
                      <a:pt x="46" y="40"/>
                    </a:lnTo>
                    <a:lnTo>
                      <a:pt x="41" y="40"/>
                    </a:lnTo>
                    <a:lnTo>
                      <a:pt x="34" y="41"/>
                    </a:lnTo>
                    <a:lnTo>
                      <a:pt x="38" y="40"/>
                    </a:lnTo>
                    <a:lnTo>
                      <a:pt x="43" y="38"/>
                    </a:lnTo>
                    <a:lnTo>
                      <a:pt x="46" y="37"/>
                    </a:lnTo>
                    <a:lnTo>
                      <a:pt x="51" y="37"/>
                    </a:lnTo>
                    <a:lnTo>
                      <a:pt x="54" y="36"/>
                    </a:lnTo>
                    <a:lnTo>
                      <a:pt x="57" y="34"/>
                    </a:lnTo>
                    <a:lnTo>
                      <a:pt x="59" y="33"/>
                    </a:lnTo>
                    <a:lnTo>
                      <a:pt x="54" y="30"/>
                    </a:lnTo>
                    <a:lnTo>
                      <a:pt x="51" y="30"/>
                    </a:lnTo>
                    <a:lnTo>
                      <a:pt x="47" y="31"/>
                    </a:lnTo>
                    <a:lnTo>
                      <a:pt x="38" y="33"/>
                    </a:lnTo>
                    <a:lnTo>
                      <a:pt x="31" y="33"/>
                    </a:lnTo>
                    <a:lnTo>
                      <a:pt x="28" y="33"/>
                    </a:lnTo>
                    <a:lnTo>
                      <a:pt x="30" y="36"/>
                    </a:lnTo>
                    <a:lnTo>
                      <a:pt x="25" y="36"/>
                    </a:lnTo>
                    <a:lnTo>
                      <a:pt x="20" y="33"/>
                    </a:lnTo>
                    <a:lnTo>
                      <a:pt x="15" y="33"/>
                    </a:lnTo>
                    <a:lnTo>
                      <a:pt x="14" y="33"/>
                    </a:lnTo>
                    <a:lnTo>
                      <a:pt x="13" y="33"/>
                    </a:lnTo>
                    <a:lnTo>
                      <a:pt x="13" y="33"/>
                    </a:lnTo>
                    <a:lnTo>
                      <a:pt x="11" y="34"/>
                    </a:lnTo>
                    <a:lnTo>
                      <a:pt x="11" y="36"/>
                    </a:lnTo>
                    <a:lnTo>
                      <a:pt x="10" y="36"/>
                    </a:lnTo>
                    <a:lnTo>
                      <a:pt x="10" y="36"/>
                    </a:lnTo>
                    <a:lnTo>
                      <a:pt x="7" y="34"/>
                    </a:lnTo>
                    <a:lnTo>
                      <a:pt x="7" y="33"/>
                    </a:lnTo>
                    <a:lnTo>
                      <a:pt x="3" y="33"/>
                    </a:lnTo>
                    <a:lnTo>
                      <a:pt x="3" y="34"/>
                    </a:lnTo>
                    <a:lnTo>
                      <a:pt x="4" y="40"/>
                    </a:lnTo>
                    <a:lnTo>
                      <a:pt x="3" y="41"/>
                    </a:lnTo>
                    <a:close/>
                    <a:moveTo>
                      <a:pt x="241" y="117"/>
                    </a:moveTo>
                    <a:lnTo>
                      <a:pt x="251" y="115"/>
                    </a:lnTo>
                    <a:lnTo>
                      <a:pt x="244" y="110"/>
                    </a:lnTo>
                    <a:lnTo>
                      <a:pt x="241" y="109"/>
                    </a:lnTo>
                    <a:lnTo>
                      <a:pt x="238" y="109"/>
                    </a:lnTo>
                    <a:lnTo>
                      <a:pt x="234" y="110"/>
                    </a:lnTo>
                    <a:lnTo>
                      <a:pt x="231" y="110"/>
                    </a:lnTo>
                    <a:lnTo>
                      <a:pt x="225" y="107"/>
                    </a:lnTo>
                    <a:lnTo>
                      <a:pt x="222" y="106"/>
                    </a:lnTo>
                    <a:lnTo>
                      <a:pt x="221" y="105"/>
                    </a:lnTo>
                    <a:lnTo>
                      <a:pt x="219" y="103"/>
                    </a:lnTo>
                    <a:lnTo>
                      <a:pt x="221" y="102"/>
                    </a:lnTo>
                    <a:lnTo>
                      <a:pt x="227" y="99"/>
                    </a:lnTo>
                    <a:lnTo>
                      <a:pt x="222" y="96"/>
                    </a:lnTo>
                    <a:lnTo>
                      <a:pt x="219" y="96"/>
                    </a:lnTo>
                    <a:lnTo>
                      <a:pt x="216" y="94"/>
                    </a:lnTo>
                    <a:lnTo>
                      <a:pt x="212" y="96"/>
                    </a:lnTo>
                    <a:lnTo>
                      <a:pt x="208" y="96"/>
                    </a:lnTo>
                    <a:lnTo>
                      <a:pt x="206" y="96"/>
                    </a:lnTo>
                    <a:lnTo>
                      <a:pt x="205" y="94"/>
                    </a:lnTo>
                    <a:lnTo>
                      <a:pt x="205" y="93"/>
                    </a:lnTo>
                    <a:lnTo>
                      <a:pt x="204" y="87"/>
                    </a:lnTo>
                    <a:lnTo>
                      <a:pt x="202" y="84"/>
                    </a:lnTo>
                    <a:lnTo>
                      <a:pt x="199" y="83"/>
                    </a:lnTo>
                    <a:lnTo>
                      <a:pt x="195" y="83"/>
                    </a:lnTo>
                    <a:lnTo>
                      <a:pt x="191" y="83"/>
                    </a:lnTo>
                    <a:lnTo>
                      <a:pt x="173" y="84"/>
                    </a:lnTo>
                    <a:lnTo>
                      <a:pt x="169" y="87"/>
                    </a:lnTo>
                    <a:lnTo>
                      <a:pt x="171" y="89"/>
                    </a:lnTo>
                    <a:lnTo>
                      <a:pt x="172" y="89"/>
                    </a:lnTo>
                    <a:lnTo>
                      <a:pt x="173" y="89"/>
                    </a:lnTo>
                    <a:lnTo>
                      <a:pt x="175" y="89"/>
                    </a:lnTo>
                    <a:lnTo>
                      <a:pt x="175" y="92"/>
                    </a:lnTo>
                    <a:lnTo>
                      <a:pt x="175" y="93"/>
                    </a:lnTo>
                    <a:lnTo>
                      <a:pt x="176" y="93"/>
                    </a:lnTo>
                    <a:lnTo>
                      <a:pt x="179" y="94"/>
                    </a:lnTo>
                    <a:lnTo>
                      <a:pt x="179" y="96"/>
                    </a:lnTo>
                    <a:lnTo>
                      <a:pt x="181" y="99"/>
                    </a:lnTo>
                    <a:lnTo>
                      <a:pt x="182" y="100"/>
                    </a:lnTo>
                    <a:lnTo>
                      <a:pt x="185" y="103"/>
                    </a:lnTo>
                    <a:lnTo>
                      <a:pt x="188" y="105"/>
                    </a:lnTo>
                    <a:lnTo>
                      <a:pt x="195" y="107"/>
                    </a:lnTo>
                    <a:lnTo>
                      <a:pt x="192" y="109"/>
                    </a:lnTo>
                    <a:lnTo>
                      <a:pt x="191" y="110"/>
                    </a:lnTo>
                    <a:lnTo>
                      <a:pt x="186" y="117"/>
                    </a:lnTo>
                    <a:lnTo>
                      <a:pt x="185" y="119"/>
                    </a:lnTo>
                    <a:lnTo>
                      <a:pt x="183" y="120"/>
                    </a:lnTo>
                    <a:lnTo>
                      <a:pt x="181" y="122"/>
                    </a:lnTo>
                    <a:lnTo>
                      <a:pt x="183" y="125"/>
                    </a:lnTo>
                    <a:lnTo>
                      <a:pt x="188" y="125"/>
                    </a:lnTo>
                    <a:lnTo>
                      <a:pt x="209" y="122"/>
                    </a:lnTo>
                    <a:lnTo>
                      <a:pt x="214" y="122"/>
                    </a:lnTo>
                    <a:lnTo>
                      <a:pt x="212" y="123"/>
                    </a:lnTo>
                    <a:lnTo>
                      <a:pt x="209" y="123"/>
                    </a:lnTo>
                    <a:lnTo>
                      <a:pt x="208" y="125"/>
                    </a:lnTo>
                    <a:lnTo>
                      <a:pt x="208" y="126"/>
                    </a:lnTo>
                    <a:lnTo>
                      <a:pt x="208" y="126"/>
                    </a:lnTo>
                    <a:lnTo>
                      <a:pt x="208" y="128"/>
                    </a:lnTo>
                    <a:lnTo>
                      <a:pt x="208" y="128"/>
                    </a:lnTo>
                    <a:lnTo>
                      <a:pt x="211" y="129"/>
                    </a:lnTo>
                    <a:lnTo>
                      <a:pt x="214" y="129"/>
                    </a:lnTo>
                    <a:lnTo>
                      <a:pt x="219" y="126"/>
                    </a:lnTo>
                    <a:lnTo>
                      <a:pt x="222" y="126"/>
                    </a:lnTo>
                    <a:lnTo>
                      <a:pt x="228" y="125"/>
                    </a:lnTo>
                    <a:lnTo>
                      <a:pt x="231" y="125"/>
                    </a:lnTo>
                    <a:lnTo>
                      <a:pt x="232" y="123"/>
                    </a:lnTo>
                    <a:lnTo>
                      <a:pt x="237" y="120"/>
                    </a:lnTo>
                    <a:lnTo>
                      <a:pt x="238" y="119"/>
                    </a:lnTo>
                    <a:lnTo>
                      <a:pt x="241" y="11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97" name="Freeform 103">
                <a:extLst>
                  <a:ext uri="{FF2B5EF4-FFF2-40B4-BE49-F238E27FC236}">
                    <a16:creationId xmlns:a16="http://schemas.microsoft.com/office/drawing/2014/main" id="{5BB0D981-D638-EAD0-7817-5BD0DA160ACE}"/>
                  </a:ext>
                </a:extLst>
              </p:cNvPr>
              <p:cNvSpPr>
                <a:spLocks noEditPoints="1"/>
              </p:cNvSpPr>
              <p:nvPr/>
            </p:nvSpPr>
            <p:spPr bwMode="auto">
              <a:xfrm>
                <a:off x="2997" y="1976"/>
                <a:ext cx="110" cy="53"/>
              </a:xfrm>
              <a:custGeom>
                <a:avLst/>
                <a:gdLst>
                  <a:gd name="T0" fmla="*/ 3 w 110"/>
                  <a:gd name="T1" fmla="*/ 1 h 53"/>
                  <a:gd name="T2" fmla="*/ 3 w 110"/>
                  <a:gd name="T3" fmla="*/ 3 h 53"/>
                  <a:gd name="T4" fmla="*/ 0 w 110"/>
                  <a:gd name="T5" fmla="*/ 3 h 53"/>
                  <a:gd name="T6" fmla="*/ 1 w 110"/>
                  <a:gd name="T7" fmla="*/ 0 h 53"/>
                  <a:gd name="T8" fmla="*/ 3 w 110"/>
                  <a:gd name="T9" fmla="*/ 1 h 53"/>
                  <a:gd name="T10" fmla="*/ 43 w 110"/>
                  <a:gd name="T11" fmla="*/ 19 h 53"/>
                  <a:gd name="T12" fmla="*/ 46 w 110"/>
                  <a:gd name="T13" fmla="*/ 21 h 53"/>
                  <a:gd name="T14" fmla="*/ 47 w 110"/>
                  <a:gd name="T15" fmla="*/ 20 h 53"/>
                  <a:gd name="T16" fmla="*/ 46 w 110"/>
                  <a:gd name="T17" fmla="*/ 19 h 53"/>
                  <a:gd name="T18" fmla="*/ 43 w 110"/>
                  <a:gd name="T19" fmla="*/ 19 h 53"/>
                  <a:gd name="T20" fmla="*/ 109 w 110"/>
                  <a:gd name="T21" fmla="*/ 53 h 53"/>
                  <a:gd name="T22" fmla="*/ 109 w 110"/>
                  <a:gd name="T23" fmla="*/ 53 h 53"/>
                  <a:gd name="T24" fmla="*/ 110 w 110"/>
                  <a:gd name="T25" fmla="*/ 53 h 53"/>
                  <a:gd name="T26" fmla="*/ 110 w 110"/>
                  <a:gd name="T27" fmla="*/ 52 h 53"/>
                  <a:gd name="T28" fmla="*/ 109 w 110"/>
                  <a:gd name="T29" fmla="*/ 52 h 53"/>
                  <a:gd name="T30" fmla="*/ 109 w 110"/>
                  <a:gd name="T31" fmla="*/ 52 h 53"/>
                  <a:gd name="T32" fmla="*/ 108 w 110"/>
                  <a:gd name="T33" fmla="*/ 52 h 53"/>
                  <a:gd name="T34" fmla="*/ 108 w 110"/>
                  <a:gd name="T35" fmla="*/ 53 h 53"/>
                  <a:gd name="T36" fmla="*/ 109 w 110"/>
                  <a:gd name="T37" fmla="*/ 53 h 53"/>
                  <a:gd name="T38" fmla="*/ 108 w 110"/>
                  <a:gd name="T39" fmla="*/ 34 h 53"/>
                  <a:gd name="T40" fmla="*/ 106 w 110"/>
                  <a:gd name="T41" fmla="*/ 34 h 53"/>
                  <a:gd name="T42" fmla="*/ 96 w 110"/>
                  <a:gd name="T43" fmla="*/ 34 h 53"/>
                  <a:gd name="T44" fmla="*/ 99 w 110"/>
                  <a:gd name="T45" fmla="*/ 36 h 53"/>
                  <a:gd name="T46" fmla="*/ 103 w 110"/>
                  <a:gd name="T47" fmla="*/ 37 h 53"/>
                  <a:gd name="T48" fmla="*/ 106 w 110"/>
                  <a:gd name="T49" fmla="*/ 36 h 53"/>
                  <a:gd name="T50" fmla="*/ 108 w 110"/>
                  <a:gd name="T51" fmla="*/ 34 h 53"/>
                  <a:gd name="T52" fmla="*/ 50 w 110"/>
                  <a:gd name="T53" fmla="*/ 20 h 53"/>
                  <a:gd name="T54" fmla="*/ 49 w 110"/>
                  <a:gd name="T55" fmla="*/ 21 h 53"/>
                  <a:gd name="T56" fmla="*/ 50 w 110"/>
                  <a:gd name="T57" fmla="*/ 23 h 53"/>
                  <a:gd name="T58" fmla="*/ 52 w 110"/>
                  <a:gd name="T59" fmla="*/ 23 h 53"/>
                  <a:gd name="T60" fmla="*/ 54 w 110"/>
                  <a:gd name="T61" fmla="*/ 23 h 53"/>
                  <a:gd name="T62" fmla="*/ 57 w 110"/>
                  <a:gd name="T63" fmla="*/ 23 h 53"/>
                  <a:gd name="T64" fmla="*/ 53 w 110"/>
                  <a:gd name="T65" fmla="*/ 20 h 53"/>
                  <a:gd name="T66" fmla="*/ 50 w 110"/>
                  <a:gd name="T67" fmla="*/ 20 h 53"/>
                  <a:gd name="T68" fmla="*/ 53 w 110"/>
                  <a:gd name="T69" fmla="*/ 16 h 53"/>
                  <a:gd name="T70" fmla="*/ 54 w 110"/>
                  <a:gd name="T71" fmla="*/ 17 h 53"/>
                  <a:gd name="T72" fmla="*/ 57 w 110"/>
                  <a:gd name="T73" fmla="*/ 19 h 53"/>
                  <a:gd name="T74" fmla="*/ 62 w 110"/>
                  <a:gd name="T75" fmla="*/ 20 h 53"/>
                  <a:gd name="T76" fmla="*/ 62 w 110"/>
                  <a:gd name="T77" fmla="*/ 20 h 53"/>
                  <a:gd name="T78" fmla="*/ 62 w 110"/>
                  <a:gd name="T79" fmla="*/ 19 h 53"/>
                  <a:gd name="T80" fmla="*/ 53 w 110"/>
                  <a:gd name="T81" fmla="*/ 16 h 53"/>
                  <a:gd name="T82" fmla="*/ 73 w 110"/>
                  <a:gd name="T83" fmla="*/ 16 h 53"/>
                  <a:gd name="T84" fmla="*/ 70 w 110"/>
                  <a:gd name="T85" fmla="*/ 16 h 53"/>
                  <a:gd name="T86" fmla="*/ 69 w 110"/>
                  <a:gd name="T87" fmla="*/ 16 h 53"/>
                  <a:gd name="T88" fmla="*/ 70 w 110"/>
                  <a:gd name="T89" fmla="*/ 17 h 53"/>
                  <a:gd name="T90" fmla="*/ 72 w 110"/>
                  <a:gd name="T91" fmla="*/ 19 h 53"/>
                  <a:gd name="T92" fmla="*/ 73 w 110"/>
                  <a:gd name="T93" fmla="*/ 19 h 53"/>
                  <a:gd name="T94" fmla="*/ 75 w 110"/>
                  <a:gd name="T95" fmla="*/ 17 h 53"/>
                  <a:gd name="T96" fmla="*/ 75 w 110"/>
                  <a:gd name="T97" fmla="*/ 16 h 53"/>
                  <a:gd name="T98" fmla="*/ 73 w 110"/>
                  <a:gd name="T99" fmla="*/ 1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0" h="53">
                    <a:moveTo>
                      <a:pt x="3" y="1"/>
                    </a:moveTo>
                    <a:lnTo>
                      <a:pt x="3" y="3"/>
                    </a:lnTo>
                    <a:lnTo>
                      <a:pt x="0" y="3"/>
                    </a:lnTo>
                    <a:lnTo>
                      <a:pt x="1" y="0"/>
                    </a:lnTo>
                    <a:lnTo>
                      <a:pt x="3" y="1"/>
                    </a:lnTo>
                    <a:close/>
                    <a:moveTo>
                      <a:pt x="43" y="19"/>
                    </a:moveTo>
                    <a:lnTo>
                      <a:pt x="46" y="21"/>
                    </a:lnTo>
                    <a:lnTo>
                      <a:pt x="47" y="20"/>
                    </a:lnTo>
                    <a:lnTo>
                      <a:pt x="46" y="19"/>
                    </a:lnTo>
                    <a:lnTo>
                      <a:pt x="43" y="19"/>
                    </a:lnTo>
                    <a:close/>
                    <a:moveTo>
                      <a:pt x="109" y="53"/>
                    </a:moveTo>
                    <a:lnTo>
                      <a:pt x="109" y="53"/>
                    </a:lnTo>
                    <a:lnTo>
                      <a:pt x="110" y="53"/>
                    </a:lnTo>
                    <a:lnTo>
                      <a:pt x="110" y="52"/>
                    </a:lnTo>
                    <a:lnTo>
                      <a:pt x="109" y="52"/>
                    </a:lnTo>
                    <a:lnTo>
                      <a:pt x="109" y="52"/>
                    </a:lnTo>
                    <a:lnTo>
                      <a:pt x="108" y="52"/>
                    </a:lnTo>
                    <a:lnTo>
                      <a:pt x="108" y="53"/>
                    </a:lnTo>
                    <a:lnTo>
                      <a:pt x="109" y="53"/>
                    </a:lnTo>
                    <a:close/>
                    <a:moveTo>
                      <a:pt x="108" y="34"/>
                    </a:moveTo>
                    <a:lnTo>
                      <a:pt x="106" y="34"/>
                    </a:lnTo>
                    <a:lnTo>
                      <a:pt x="96" y="34"/>
                    </a:lnTo>
                    <a:lnTo>
                      <a:pt x="99" y="36"/>
                    </a:lnTo>
                    <a:lnTo>
                      <a:pt x="103" y="37"/>
                    </a:lnTo>
                    <a:lnTo>
                      <a:pt x="106" y="36"/>
                    </a:lnTo>
                    <a:lnTo>
                      <a:pt x="108" y="34"/>
                    </a:lnTo>
                    <a:close/>
                    <a:moveTo>
                      <a:pt x="50" y="20"/>
                    </a:moveTo>
                    <a:lnTo>
                      <a:pt x="49" y="21"/>
                    </a:lnTo>
                    <a:lnTo>
                      <a:pt x="50" y="23"/>
                    </a:lnTo>
                    <a:lnTo>
                      <a:pt x="52" y="23"/>
                    </a:lnTo>
                    <a:lnTo>
                      <a:pt x="54" y="23"/>
                    </a:lnTo>
                    <a:lnTo>
                      <a:pt x="57" y="23"/>
                    </a:lnTo>
                    <a:lnTo>
                      <a:pt x="53" y="20"/>
                    </a:lnTo>
                    <a:lnTo>
                      <a:pt x="50" y="20"/>
                    </a:lnTo>
                    <a:close/>
                    <a:moveTo>
                      <a:pt x="53" y="16"/>
                    </a:moveTo>
                    <a:lnTo>
                      <a:pt x="54" y="17"/>
                    </a:lnTo>
                    <a:lnTo>
                      <a:pt x="57" y="19"/>
                    </a:lnTo>
                    <a:lnTo>
                      <a:pt x="62" y="20"/>
                    </a:lnTo>
                    <a:lnTo>
                      <a:pt x="62" y="20"/>
                    </a:lnTo>
                    <a:lnTo>
                      <a:pt x="62" y="19"/>
                    </a:lnTo>
                    <a:lnTo>
                      <a:pt x="53" y="16"/>
                    </a:lnTo>
                    <a:close/>
                    <a:moveTo>
                      <a:pt x="73" y="16"/>
                    </a:moveTo>
                    <a:lnTo>
                      <a:pt x="70" y="16"/>
                    </a:lnTo>
                    <a:lnTo>
                      <a:pt x="69" y="16"/>
                    </a:lnTo>
                    <a:lnTo>
                      <a:pt x="70" y="17"/>
                    </a:lnTo>
                    <a:lnTo>
                      <a:pt x="72" y="19"/>
                    </a:lnTo>
                    <a:lnTo>
                      <a:pt x="73" y="19"/>
                    </a:lnTo>
                    <a:lnTo>
                      <a:pt x="75" y="17"/>
                    </a:lnTo>
                    <a:lnTo>
                      <a:pt x="75" y="16"/>
                    </a:lnTo>
                    <a:lnTo>
                      <a:pt x="73" y="1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98" name="Freeform 104">
                <a:extLst>
                  <a:ext uri="{FF2B5EF4-FFF2-40B4-BE49-F238E27FC236}">
                    <a16:creationId xmlns:a16="http://schemas.microsoft.com/office/drawing/2014/main" id="{39026B1B-943E-5A06-AB4F-857DAEF4287E}"/>
                  </a:ext>
                </a:extLst>
              </p:cNvPr>
              <p:cNvSpPr>
                <a:spLocks/>
              </p:cNvSpPr>
              <p:nvPr/>
            </p:nvSpPr>
            <p:spPr bwMode="auto">
              <a:xfrm>
                <a:off x="4015" y="1773"/>
                <a:ext cx="62" cy="71"/>
              </a:xfrm>
              <a:custGeom>
                <a:avLst/>
                <a:gdLst>
                  <a:gd name="T0" fmla="*/ 12 w 62"/>
                  <a:gd name="T1" fmla="*/ 19 h 71"/>
                  <a:gd name="T2" fmla="*/ 25 w 62"/>
                  <a:gd name="T3" fmla="*/ 33 h 71"/>
                  <a:gd name="T4" fmla="*/ 29 w 62"/>
                  <a:gd name="T5" fmla="*/ 42 h 71"/>
                  <a:gd name="T6" fmla="*/ 27 w 62"/>
                  <a:gd name="T7" fmla="*/ 56 h 71"/>
                  <a:gd name="T8" fmla="*/ 27 w 62"/>
                  <a:gd name="T9" fmla="*/ 62 h 71"/>
                  <a:gd name="T10" fmla="*/ 27 w 62"/>
                  <a:gd name="T11" fmla="*/ 66 h 71"/>
                  <a:gd name="T12" fmla="*/ 27 w 62"/>
                  <a:gd name="T13" fmla="*/ 69 h 71"/>
                  <a:gd name="T14" fmla="*/ 30 w 62"/>
                  <a:gd name="T15" fmla="*/ 71 h 71"/>
                  <a:gd name="T16" fmla="*/ 33 w 62"/>
                  <a:gd name="T17" fmla="*/ 69 h 71"/>
                  <a:gd name="T18" fmla="*/ 33 w 62"/>
                  <a:gd name="T19" fmla="*/ 68 h 71"/>
                  <a:gd name="T20" fmla="*/ 35 w 62"/>
                  <a:gd name="T21" fmla="*/ 68 h 71"/>
                  <a:gd name="T22" fmla="*/ 35 w 62"/>
                  <a:gd name="T23" fmla="*/ 65 h 71"/>
                  <a:gd name="T24" fmla="*/ 36 w 62"/>
                  <a:gd name="T25" fmla="*/ 64 h 71"/>
                  <a:gd name="T26" fmla="*/ 39 w 62"/>
                  <a:gd name="T27" fmla="*/ 59 h 71"/>
                  <a:gd name="T28" fmla="*/ 42 w 62"/>
                  <a:gd name="T29" fmla="*/ 58 h 71"/>
                  <a:gd name="T30" fmla="*/ 42 w 62"/>
                  <a:gd name="T31" fmla="*/ 55 h 71"/>
                  <a:gd name="T32" fmla="*/ 42 w 62"/>
                  <a:gd name="T33" fmla="*/ 51 h 71"/>
                  <a:gd name="T34" fmla="*/ 42 w 62"/>
                  <a:gd name="T35" fmla="*/ 48 h 71"/>
                  <a:gd name="T36" fmla="*/ 46 w 62"/>
                  <a:gd name="T37" fmla="*/ 46 h 71"/>
                  <a:gd name="T38" fmla="*/ 48 w 62"/>
                  <a:gd name="T39" fmla="*/ 49 h 71"/>
                  <a:gd name="T40" fmla="*/ 48 w 62"/>
                  <a:gd name="T41" fmla="*/ 48 h 71"/>
                  <a:gd name="T42" fmla="*/ 55 w 62"/>
                  <a:gd name="T43" fmla="*/ 48 h 71"/>
                  <a:gd name="T44" fmla="*/ 58 w 62"/>
                  <a:gd name="T45" fmla="*/ 51 h 71"/>
                  <a:gd name="T46" fmla="*/ 62 w 62"/>
                  <a:gd name="T47" fmla="*/ 49 h 71"/>
                  <a:gd name="T48" fmla="*/ 59 w 62"/>
                  <a:gd name="T49" fmla="*/ 45 h 71"/>
                  <a:gd name="T50" fmla="*/ 59 w 62"/>
                  <a:gd name="T51" fmla="*/ 41 h 71"/>
                  <a:gd name="T52" fmla="*/ 55 w 62"/>
                  <a:gd name="T53" fmla="*/ 38 h 71"/>
                  <a:gd name="T54" fmla="*/ 52 w 62"/>
                  <a:gd name="T55" fmla="*/ 35 h 71"/>
                  <a:gd name="T56" fmla="*/ 52 w 62"/>
                  <a:gd name="T57" fmla="*/ 32 h 71"/>
                  <a:gd name="T58" fmla="*/ 52 w 62"/>
                  <a:gd name="T59" fmla="*/ 29 h 71"/>
                  <a:gd name="T60" fmla="*/ 49 w 62"/>
                  <a:gd name="T61" fmla="*/ 28 h 71"/>
                  <a:gd name="T62" fmla="*/ 46 w 62"/>
                  <a:gd name="T63" fmla="*/ 25 h 71"/>
                  <a:gd name="T64" fmla="*/ 45 w 62"/>
                  <a:gd name="T65" fmla="*/ 22 h 71"/>
                  <a:gd name="T66" fmla="*/ 46 w 62"/>
                  <a:gd name="T67" fmla="*/ 18 h 71"/>
                  <a:gd name="T68" fmla="*/ 45 w 62"/>
                  <a:gd name="T69" fmla="*/ 13 h 71"/>
                  <a:gd name="T70" fmla="*/ 42 w 62"/>
                  <a:gd name="T71" fmla="*/ 12 h 71"/>
                  <a:gd name="T72" fmla="*/ 37 w 62"/>
                  <a:gd name="T73" fmla="*/ 9 h 71"/>
                  <a:gd name="T74" fmla="*/ 33 w 62"/>
                  <a:gd name="T75" fmla="*/ 9 h 71"/>
                  <a:gd name="T76" fmla="*/ 32 w 62"/>
                  <a:gd name="T77" fmla="*/ 9 h 71"/>
                  <a:gd name="T78" fmla="*/ 29 w 62"/>
                  <a:gd name="T79" fmla="*/ 6 h 71"/>
                  <a:gd name="T80" fmla="*/ 20 w 62"/>
                  <a:gd name="T81" fmla="*/ 2 h 71"/>
                  <a:gd name="T82" fmla="*/ 16 w 62"/>
                  <a:gd name="T83" fmla="*/ 0 h 71"/>
                  <a:gd name="T84" fmla="*/ 10 w 62"/>
                  <a:gd name="T85" fmla="*/ 2 h 71"/>
                  <a:gd name="T86" fmla="*/ 3 w 62"/>
                  <a:gd name="T87" fmla="*/ 3 h 71"/>
                  <a:gd name="T88" fmla="*/ 4 w 62"/>
                  <a:gd name="T89" fmla="*/ 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 h="71">
                    <a:moveTo>
                      <a:pt x="9" y="9"/>
                    </a:moveTo>
                    <a:lnTo>
                      <a:pt x="12" y="19"/>
                    </a:lnTo>
                    <a:lnTo>
                      <a:pt x="14" y="22"/>
                    </a:lnTo>
                    <a:lnTo>
                      <a:pt x="25" y="33"/>
                    </a:lnTo>
                    <a:lnTo>
                      <a:pt x="26" y="38"/>
                    </a:lnTo>
                    <a:lnTo>
                      <a:pt x="29" y="42"/>
                    </a:lnTo>
                    <a:lnTo>
                      <a:pt x="29" y="46"/>
                    </a:lnTo>
                    <a:lnTo>
                      <a:pt x="27" y="56"/>
                    </a:lnTo>
                    <a:lnTo>
                      <a:pt x="27" y="59"/>
                    </a:lnTo>
                    <a:lnTo>
                      <a:pt x="27" y="62"/>
                    </a:lnTo>
                    <a:lnTo>
                      <a:pt x="27" y="65"/>
                    </a:lnTo>
                    <a:lnTo>
                      <a:pt x="27" y="66"/>
                    </a:lnTo>
                    <a:lnTo>
                      <a:pt x="26" y="68"/>
                    </a:lnTo>
                    <a:lnTo>
                      <a:pt x="27" y="69"/>
                    </a:lnTo>
                    <a:lnTo>
                      <a:pt x="29" y="71"/>
                    </a:lnTo>
                    <a:lnTo>
                      <a:pt x="30" y="71"/>
                    </a:lnTo>
                    <a:lnTo>
                      <a:pt x="32" y="71"/>
                    </a:lnTo>
                    <a:lnTo>
                      <a:pt x="33" y="69"/>
                    </a:lnTo>
                    <a:lnTo>
                      <a:pt x="33" y="69"/>
                    </a:lnTo>
                    <a:lnTo>
                      <a:pt x="33" y="68"/>
                    </a:lnTo>
                    <a:lnTo>
                      <a:pt x="33" y="68"/>
                    </a:lnTo>
                    <a:lnTo>
                      <a:pt x="35" y="68"/>
                    </a:lnTo>
                    <a:lnTo>
                      <a:pt x="35" y="66"/>
                    </a:lnTo>
                    <a:lnTo>
                      <a:pt x="35" y="65"/>
                    </a:lnTo>
                    <a:lnTo>
                      <a:pt x="35" y="65"/>
                    </a:lnTo>
                    <a:lnTo>
                      <a:pt x="36" y="64"/>
                    </a:lnTo>
                    <a:lnTo>
                      <a:pt x="36" y="64"/>
                    </a:lnTo>
                    <a:lnTo>
                      <a:pt x="39" y="59"/>
                    </a:lnTo>
                    <a:lnTo>
                      <a:pt x="40" y="58"/>
                    </a:lnTo>
                    <a:lnTo>
                      <a:pt x="42" y="58"/>
                    </a:lnTo>
                    <a:lnTo>
                      <a:pt x="42" y="56"/>
                    </a:lnTo>
                    <a:lnTo>
                      <a:pt x="42" y="55"/>
                    </a:lnTo>
                    <a:lnTo>
                      <a:pt x="42" y="53"/>
                    </a:lnTo>
                    <a:lnTo>
                      <a:pt x="42" y="51"/>
                    </a:lnTo>
                    <a:lnTo>
                      <a:pt x="42" y="49"/>
                    </a:lnTo>
                    <a:lnTo>
                      <a:pt x="42" y="48"/>
                    </a:lnTo>
                    <a:lnTo>
                      <a:pt x="45" y="46"/>
                    </a:lnTo>
                    <a:lnTo>
                      <a:pt x="46" y="46"/>
                    </a:lnTo>
                    <a:lnTo>
                      <a:pt x="46" y="49"/>
                    </a:lnTo>
                    <a:lnTo>
                      <a:pt x="48" y="49"/>
                    </a:lnTo>
                    <a:lnTo>
                      <a:pt x="48" y="48"/>
                    </a:lnTo>
                    <a:lnTo>
                      <a:pt x="48" y="48"/>
                    </a:lnTo>
                    <a:lnTo>
                      <a:pt x="50" y="48"/>
                    </a:lnTo>
                    <a:lnTo>
                      <a:pt x="55" y="48"/>
                    </a:lnTo>
                    <a:lnTo>
                      <a:pt x="55" y="48"/>
                    </a:lnTo>
                    <a:lnTo>
                      <a:pt x="58" y="51"/>
                    </a:lnTo>
                    <a:lnTo>
                      <a:pt x="60" y="51"/>
                    </a:lnTo>
                    <a:lnTo>
                      <a:pt x="62" y="49"/>
                    </a:lnTo>
                    <a:lnTo>
                      <a:pt x="60" y="46"/>
                    </a:lnTo>
                    <a:lnTo>
                      <a:pt x="59" y="45"/>
                    </a:lnTo>
                    <a:lnTo>
                      <a:pt x="59" y="43"/>
                    </a:lnTo>
                    <a:lnTo>
                      <a:pt x="59" y="41"/>
                    </a:lnTo>
                    <a:lnTo>
                      <a:pt x="58" y="39"/>
                    </a:lnTo>
                    <a:lnTo>
                      <a:pt x="55" y="38"/>
                    </a:lnTo>
                    <a:lnTo>
                      <a:pt x="52" y="36"/>
                    </a:lnTo>
                    <a:lnTo>
                      <a:pt x="52" y="35"/>
                    </a:lnTo>
                    <a:lnTo>
                      <a:pt x="52" y="33"/>
                    </a:lnTo>
                    <a:lnTo>
                      <a:pt x="52" y="32"/>
                    </a:lnTo>
                    <a:lnTo>
                      <a:pt x="52" y="30"/>
                    </a:lnTo>
                    <a:lnTo>
                      <a:pt x="52" y="29"/>
                    </a:lnTo>
                    <a:lnTo>
                      <a:pt x="50" y="28"/>
                    </a:lnTo>
                    <a:lnTo>
                      <a:pt x="49" y="28"/>
                    </a:lnTo>
                    <a:lnTo>
                      <a:pt x="46" y="25"/>
                    </a:lnTo>
                    <a:lnTo>
                      <a:pt x="46" y="25"/>
                    </a:lnTo>
                    <a:lnTo>
                      <a:pt x="45" y="23"/>
                    </a:lnTo>
                    <a:lnTo>
                      <a:pt x="45" y="22"/>
                    </a:lnTo>
                    <a:lnTo>
                      <a:pt x="46" y="19"/>
                    </a:lnTo>
                    <a:lnTo>
                      <a:pt x="46" y="18"/>
                    </a:lnTo>
                    <a:lnTo>
                      <a:pt x="46" y="15"/>
                    </a:lnTo>
                    <a:lnTo>
                      <a:pt x="45" y="13"/>
                    </a:lnTo>
                    <a:lnTo>
                      <a:pt x="43" y="12"/>
                    </a:lnTo>
                    <a:lnTo>
                      <a:pt x="42" y="12"/>
                    </a:lnTo>
                    <a:lnTo>
                      <a:pt x="40" y="12"/>
                    </a:lnTo>
                    <a:lnTo>
                      <a:pt x="37" y="9"/>
                    </a:lnTo>
                    <a:lnTo>
                      <a:pt x="35" y="7"/>
                    </a:lnTo>
                    <a:lnTo>
                      <a:pt x="33" y="9"/>
                    </a:lnTo>
                    <a:lnTo>
                      <a:pt x="32" y="9"/>
                    </a:lnTo>
                    <a:lnTo>
                      <a:pt x="32" y="9"/>
                    </a:lnTo>
                    <a:lnTo>
                      <a:pt x="30" y="7"/>
                    </a:lnTo>
                    <a:lnTo>
                      <a:pt x="29" y="6"/>
                    </a:lnTo>
                    <a:lnTo>
                      <a:pt x="26" y="3"/>
                    </a:lnTo>
                    <a:lnTo>
                      <a:pt x="20" y="2"/>
                    </a:lnTo>
                    <a:lnTo>
                      <a:pt x="17" y="0"/>
                    </a:lnTo>
                    <a:lnTo>
                      <a:pt x="16" y="0"/>
                    </a:lnTo>
                    <a:lnTo>
                      <a:pt x="13" y="2"/>
                    </a:lnTo>
                    <a:lnTo>
                      <a:pt x="10" y="2"/>
                    </a:lnTo>
                    <a:lnTo>
                      <a:pt x="4" y="3"/>
                    </a:lnTo>
                    <a:lnTo>
                      <a:pt x="3" y="3"/>
                    </a:lnTo>
                    <a:lnTo>
                      <a:pt x="0" y="5"/>
                    </a:lnTo>
                    <a:lnTo>
                      <a:pt x="4" y="6"/>
                    </a:lnTo>
                    <a:lnTo>
                      <a:pt x="9" y="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99" name="Freeform 105">
                <a:extLst>
                  <a:ext uri="{FF2B5EF4-FFF2-40B4-BE49-F238E27FC236}">
                    <a16:creationId xmlns:a16="http://schemas.microsoft.com/office/drawing/2014/main" id="{714E09A8-1728-38A4-68F1-C250DBF02FB8}"/>
                  </a:ext>
                </a:extLst>
              </p:cNvPr>
              <p:cNvSpPr>
                <a:spLocks noEditPoints="1"/>
              </p:cNvSpPr>
              <p:nvPr/>
            </p:nvSpPr>
            <p:spPr bwMode="auto">
              <a:xfrm>
                <a:off x="3999" y="1921"/>
                <a:ext cx="59" cy="43"/>
              </a:xfrm>
              <a:custGeom>
                <a:avLst/>
                <a:gdLst>
                  <a:gd name="T0" fmla="*/ 41 w 59"/>
                  <a:gd name="T1" fmla="*/ 2 h 43"/>
                  <a:gd name="T2" fmla="*/ 46 w 59"/>
                  <a:gd name="T3" fmla="*/ 13 h 43"/>
                  <a:gd name="T4" fmla="*/ 59 w 59"/>
                  <a:gd name="T5" fmla="*/ 18 h 43"/>
                  <a:gd name="T6" fmla="*/ 55 w 59"/>
                  <a:gd name="T7" fmla="*/ 23 h 43"/>
                  <a:gd name="T8" fmla="*/ 45 w 59"/>
                  <a:gd name="T9" fmla="*/ 22 h 43"/>
                  <a:gd name="T10" fmla="*/ 41 w 59"/>
                  <a:gd name="T11" fmla="*/ 23 h 43"/>
                  <a:gd name="T12" fmla="*/ 38 w 59"/>
                  <a:gd name="T13" fmla="*/ 23 h 43"/>
                  <a:gd name="T14" fmla="*/ 33 w 59"/>
                  <a:gd name="T15" fmla="*/ 23 h 43"/>
                  <a:gd name="T16" fmla="*/ 30 w 59"/>
                  <a:gd name="T17" fmla="*/ 25 h 43"/>
                  <a:gd name="T18" fmla="*/ 28 w 59"/>
                  <a:gd name="T19" fmla="*/ 30 h 43"/>
                  <a:gd name="T20" fmla="*/ 22 w 59"/>
                  <a:gd name="T21" fmla="*/ 33 h 43"/>
                  <a:gd name="T22" fmla="*/ 18 w 59"/>
                  <a:gd name="T23" fmla="*/ 36 h 43"/>
                  <a:gd name="T24" fmla="*/ 9 w 59"/>
                  <a:gd name="T25" fmla="*/ 43 h 43"/>
                  <a:gd name="T26" fmla="*/ 10 w 59"/>
                  <a:gd name="T27" fmla="*/ 38 h 43"/>
                  <a:gd name="T28" fmla="*/ 13 w 59"/>
                  <a:gd name="T29" fmla="*/ 35 h 43"/>
                  <a:gd name="T30" fmla="*/ 19 w 59"/>
                  <a:gd name="T31" fmla="*/ 30 h 43"/>
                  <a:gd name="T32" fmla="*/ 9 w 59"/>
                  <a:gd name="T33" fmla="*/ 32 h 43"/>
                  <a:gd name="T34" fmla="*/ 8 w 59"/>
                  <a:gd name="T35" fmla="*/ 28 h 43"/>
                  <a:gd name="T36" fmla="*/ 10 w 59"/>
                  <a:gd name="T37" fmla="*/ 25 h 43"/>
                  <a:gd name="T38" fmla="*/ 12 w 59"/>
                  <a:gd name="T39" fmla="*/ 22 h 43"/>
                  <a:gd name="T40" fmla="*/ 12 w 59"/>
                  <a:gd name="T41" fmla="*/ 18 h 43"/>
                  <a:gd name="T42" fmla="*/ 16 w 59"/>
                  <a:gd name="T43" fmla="*/ 15 h 43"/>
                  <a:gd name="T44" fmla="*/ 16 w 59"/>
                  <a:gd name="T45" fmla="*/ 12 h 43"/>
                  <a:gd name="T46" fmla="*/ 15 w 59"/>
                  <a:gd name="T47" fmla="*/ 9 h 43"/>
                  <a:gd name="T48" fmla="*/ 12 w 59"/>
                  <a:gd name="T49" fmla="*/ 7 h 43"/>
                  <a:gd name="T50" fmla="*/ 12 w 59"/>
                  <a:gd name="T51" fmla="*/ 6 h 43"/>
                  <a:gd name="T52" fmla="*/ 13 w 59"/>
                  <a:gd name="T53" fmla="*/ 6 h 43"/>
                  <a:gd name="T54" fmla="*/ 15 w 59"/>
                  <a:gd name="T55" fmla="*/ 5 h 43"/>
                  <a:gd name="T56" fmla="*/ 16 w 59"/>
                  <a:gd name="T57" fmla="*/ 3 h 43"/>
                  <a:gd name="T58" fmla="*/ 18 w 59"/>
                  <a:gd name="T59" fmla="*/ 2 h 43"/>
                  <a:gd name="T60" fmla="*/ 28 w 59"/>
                  <a:gd name="T61" fmla="*/ 0 h 43"/>
                  <a:gd name="T62" fmla="*/ 30 w 59"/>
                  <a:gd name="T63" fmla="*/ 2 h 43"/>
                  <a:gd name="T64" fmla="*/ 35 w 59"/>
                  <a:gd name="T65" fmla="*/ 3 h 43"/>
                  <a:gd name="T66" fmla="*/ 39 w 59"/>
                  <a:gd name="T67" fmla="*/ 2 h 43"/>
                  <a:gd name="T68" fmla="*/ 2 w 59"/>
                  <a:gd name="T69" fmla="*/ 41 h 43"/>
                  <a:gd name="T70" fmla="*/ 2 w 59"/>
                  <a:gd name="T71" fmla="*/ 42 h 43"/>
                  <a:gd name="T72" fmla="*/ 5 w 59"/>
                  <a:gd name="T73" fmla="*/ 42 h 43"/>
                  <a:gd name="T74" fmla="*/ 3 w 59"/>
                  <a:gd name="T75" fmla="*/ 3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9" h="43">
                    <a:moveTo>
                      <a:pt x="39" y="2"/>
                    </a:moveTo>
                    <a:lnTo>
                      <a:pt x="41" y="2"/>
                    </a:lnTo>
                    <a:lnTo>
                      <a:pt x="42" y="7"/>
                    </a:lnTo>
                    <a:lnTo>
                      <a:pt x="46" y="13"/>
                    </a:lnTo>
                    <a:lnTo>
                      <a:pt x="53" y="16"/>
                    </a:lnTo>
                    <a:lnTo>
                      <a:pt x="59" y="18"/>
                    </a:lnTo>
                    <a:lnTo>
                      <a:pt x="58" y="22"/>
                    </a:lnTo>
                    <a:lnTo>
                      <a:pt x="55" y="23"/>
                    </a:lnTo>
                    <a:lnTo>
                      <a:pt x="46" y="22"/>
                    </a:lnTo>
                    <a:lnTo>
                      <a:pt x="45" y="22"/>
                    </a:lnTo>
                    <a:lnTo>
                      <a:pt x="42" y="22"/>
                    </a:lnTo>
                    <a:lnTo>
                      <a:pt x="41" y="23"/>
                    </a:lnTo>
                    <a:lnTo>
                      <a:pt x="39" y="23"/>
                    </a:lnTo>
                    <a:lnTo>
                      <a:pt x="38" y="23"/>
                    </a:lnTo>
                    <a:lnTo>
                      <a:pt x="35" y="23"/>
                    </a:lnTo>
                    <a:lnTo>
                      <a:pt x="33" y="23"/>
                    </a:lnTo>
                    <a:lnTo>
                      <a:pt x="32" y="25"/>
                    </a:lnTo>
                    <a:lnTo>
                      <a:pt x="30" y="25"/>
                    </a:lnTo>
                    <a:lnTo>
                      <a:pt x="29" y="29"/>
                    </a:lnTo>
                    <a:lnTo>
                      <a:pt x="28" y="30"/>
                    </a:lnTo>
                    <a:lnTo>
                      <a:pt x="26" y="30"/>
                    </a:lnTo>
                    <a:lnTo>
                      <a:pt x="22" y="33"/>
                    </a:lnTo>
                    <a:lnTo>
                      <a:pt x="20" y="33"/>
                    </a:lnTo>
                    <a:lnTo>
                      <a:pt x="18" y="36"/>
                    </a:lnTo>
                    <a:lnTo>
                      <a:pt x="12" y="42"/>
                    </a:lnTo>
                    <a:lnTo>
                      <a:pt x="9" y="43"/>
                    </a:lnTo>
                    <a:lnTo>
                      <a:pt x="10" y="41"/>
                    </a:lnTo>
                    <a:lnTo>
                      <a:pt x="10" y="38"/>
                    </a:lnTo>
                    <a:lnTo>
                      <a:pt x="12" y="36"/>
                    </a:lnTo>
                    <a:lnTo>
                      <a:pt x="13" y="35"/>
                    </a:lnTo>
                    <a:lnTo>
                      <a:pt x="18" y="33"/>
                    </a:lnTo>
                    <a:lnTo>
                      <a:pt x="19" y="30"/>
                    </a:lnTo>
                    <a:lnTo>
                      <a:pt x="12" y="32"/>
                    </a:lnTo>
                    <a:lnTo>
                      <a:pt x="9" y="32"/>
                    </a:lnTo>
                    <a:lnTo>
                      <a:pt x="6" y="29"/>
                    </a:lnTo>
                    <a:lnTo>
                      <a:pt x="8" y="28"/>
                    </a:lnTo>
                    <a:lnTo>
                      <a:pt x="9" y="26"/>
                    </a:lnTo>
                    <a:lnTo>
                      <a:pt x="10" y="25"/>
                    </a:lnTo>
                    <a:lnTo>
                      <a:pt x="12" y="23"/>
                    </a:lnTo>
                    <a:lnTo>
                      <a:pt x="12" y="22"/>
                    </a:lnTo>
                    <a:lnTo>
                      <a:pt x="12" y="19"/>
                    </a:lnTo>
                    <a:lnTo>
                      <a:pt x="12" y="18"/>
                    </a:lnTo>
                    <a:lnTo>
                      <a:pt x="13" y="16"/>
                    </a:lnTo>
                    <a:lnTo>
                      <a:pt x="16" y="15"/>
                    </a:lnTo>
                    <a:lnTo>
                      <a:pt x="16" y="15"/>
                    </a:lnTo>
                    <a:lnTo>
                      <a:pt x="16" y="12"/>
                    </a:lnTo>
                    <a:lnTo>
                      <a:pt x="16" y="10"/>
                    </a:lnTo>
                    <a:lnTo>
                      <a:pt x="15" y="9"/>
                    </a:lnTo>
                    <a:lnTo>
                      <a:pt x="13" y="7"/>
                    </a:lnTo>
                    <a:lnTo>
                      <a:pt x="12" y="7"/>
                    </a:lnTo>
                    <a:lnTo>
                      <a:pt x="12" y="6"/>
                    </a:lnTo>
                    <a:lnTo>
                      <a:pt x="12" y="6"/>
                    </a:lnTo>
                    <a:lnTo>
                      <a:pt x="12" y="6"/>
                    </a:lnTo>
                    <a:lnTo>
                      <a:pt x="13" y="6"/>
                    </a:lnTo>
                    <a:lnTo>
                      <a:pt x="13" y="6"/>
                    </a:lnTo>
                    <a:lnTo>
                      <a:pt x="15" y="5"/>
                    </a:lnTo>
                    <a:lnTo>
                      <a:pt x="15" y="3"/>
                    </a:lnTo>
                    <a:lnTo>
                      <a:pt x="16" y="3"/>
                    </a:lnTo>
                    <a:lnTo>
                      <a:pt x="16" y="2"/>
                    </a:lnTo>
                    <a:lnTo>
                      <a:pt x="18" y="2"/>
                    </a:lnTo>
                    <a:lnTo>
                      <a:pt x="25" y="0"/>
                    </a:lnTo>
                    <a:lnTo>
                      <a:pt x="28" y="0"/>
                    </a:lnTo>
                    <a:lnTo>
                      <a:pt x="29" y="0"/>
                    </a:lnTo>
                    <a:lnTo>
                      <a:pt x="30" y="2"/>
                    </a:lnTo>
                    <a:lnTo>
                      <a:pt x="33" y="3"/>
                    </a:lnTo>
                    <a:lnTo>
                      <a:pt x="35" y="3"/>
                    </a:lnTo>
                    <a:lnTo>
                      <a:pt x="38" y="2"/>
                    </a:lnTo>
                    <a:lnTo>
                      <a:pt x="39" y="2"/>
                    </a:lnTo>
                    <a:close/>
                    <a:moveTo>
                      <a:pt x="3" y="39"/>
                    </a:moveTo>
                    <a:lnTo>
                      <a:pt x="2" y="41"/>
                    </a:lnTo>
                    <a:lnTo>
                      <a:pt x="0" y="42"/>
                    </a:lnTo>
                    <a:lnTo>
                      <a:pt x="2" y="42"/>
                    </a:lnTo>
                    <a:lnTo>
                      <a:pt x="2" y="42"/>
                    </a:lnTo>
                    <a:lnTo>
                      <a:pt x="5" y="42"/>
                    </a:lnTo>
                    <a:lnTo>
                      <a:pt x="5" y="41"/>
                    </a:lnTo>
                    <a:lnTo>
                      <a:pt x="3" y="3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00" name="Freeform 106">
                <a:extLst>
                  <a:ext uri="{FF2B5EF4-FFF2-40B4-BE49-F238E27FC236}">
                    <a16:creationId xmlns:a16="http://schemas.microsoft.com/office/drawing/2014/main" id="{02F3EA0C-AD93-9854-AC97-57B2172F58E6}"/>
                  </a:ext>
                </a:extLst>
              </p:cNvPr>
              <p:cNvSpPr>
                <a:spLocks/>
              </p:cNvSpPr>
              <p:nvPr/>
            </p:nvSpPr>
            <p:spPr bwMode="auto">
              <a:xfrm>
                <a:off x="4367" y="1688"/>
                <a:ext cx="164" cy="136"/>
              </a:xfrm>
              <a:custGeom>
                <a:avLst/>
                <a:gdLst>
                  <a:gd name="T0" fmla="*/ 164 w 164"/>
                  <a:gd name="T1" fmla="*/ 38 h 136"/>
                  <a:gd name="T2" fmla="*/ 159 w 164"/>
                  <a:gd name="T3" fmla="*/ 31 h 136"/>
                  <a:gd name="T4" fmla="*/ 155 w 164"/>
                  <a:gd name="T5" fmla="*/ 29 h 136"/>
                  <a:gd name="T6" fmla="*/ 145 w 164"/>
                  <a:gd name="T7" fmla="*/ 22 h 136"/>
                  <a:gd name="T8" fmla="*/ 139 w 164"/>
                  <a:gd name="T9" fmla="*/ 22 h 136"/>
                  <a:gd name="T10" fmla="*/ 141 w 164"/>
                  <a:gd name="T11" fmla="*/ 31 h 136"/>
                  <a:gd name="T12" fmla="*/ 139 w 164"/>
                  <a:gd name="T13" fmla="*/ 32 h 136"/>
                  <a:gd name="T14" fmla="*/ 138 w 164"/>
                  <a:gd name="T15" fmla="*/ 25 h 136"/>
                  <a:gd name="T16" fmla="*/ 129 w 164"/>
                  <a:gd name="T17" fmla="*/ 15 h 136"/>
                  <a:gd name="T18" fmla="*/ 118 w 164"/>
                  <a:gd name="T19" fmla="*/ 8 h 136"/>
                  <a:gd name="T20" fmla="*/ 111 w 164"/>
                  <a:gd name="T21" fmla="*/ 8 h 136"/>
                  <a:gd name="T22" fmla="*/ 106 w 164"/>
                  <a:gd name="T23" fmla="*/ 8 h 136"/>
                  <a:gd name="T24" fmla="*/ 102 w 164"/>
                  <a:gd name="T25" fmla="*/ 5 h 136"/>
                  <a:gd name="T26" fmla="*/ 95 w 164"/>
                  <a:gd name="T27" fmla="*/ 2 h 136"/>
                  <a:gd name="T28" fmla="*/ 85 w 164"/>
                  <a:gd name="T29" fmla="*/ 8 h 136"/>
                  <a:gd name="T30" fmla="*/ 80 w 164"/>
                  <a:gd name="T31" fmla="*/ 3 h 136"/>
                  <a:gd name="T32" fmla="*/ 76 w 164"/>
                  <a:gd name="T33" fmla="*/ 0 h 136"/>
                  <a:gd name="T34" fmla="*/ 70 w 164"/>
                  <a:gd name="T35" fmla="*/ 5 h 136"/>
                  <a:gd name="T36" fmla="*/ 65 w 164"/>
                  <a:gd name="T37" fmla="*/ 11 h 136"/>
                  <a:gd name="T38" fmla="*/ 59 w 164"/>
                  <a:gd name="T39" fmla="*/ 15 h 136"/>
                  <a:gd name="T40" fmla="*/ 50 w 164"/>
                  <a:gd name="T41" fmla="*/ 19 h 136"/>
                  <a:gd name="T42" fmla="*/ 39 w 164"/>
                  <a:gd name="T43" fmla="*/ 31 h 136"/>
                  <a:gd name="T44" fmla="*/ 36 w 164"/>
                  <a:gd name="T45" fmla="*/ 31 h 136"/>
                  <a:gd name="T46" fmla="*/ 39 w 164"/>
                  <a:gd name="T47" fmla="*/ 45 h 136"/>
                  <a:gd name="T48" fmla="*/ 37 w 164"/>
                  <a:gd name="T49" fmla="*/ 48 h 136"/>
                  <a:gd name="T50" fmla="*/ 30 w 164"/>
                  <a:gd name="T51" fmla="*/ 49 h 136"/>
                  <a:gd name="T52" fmla="*/ 20 w 164"/>
                  <a:gd name="T53" fmla="*/ 38 h 136"/>
                  <a:gd name="T54" fmla="*/ 17 w 164"/>
                  <a:gd name="T55" fmla="*/ 35 h 136"/>
                  <a:gd name="T56" fmla="*/ 14 w 164"/>
                  <a:gd name="T57" fmla="*/ 36 h 136"/>
                  <a:gd name="T58" fmla="*/ 11 w 164"/>
                  <a:gd name="T59" fmla="*/ 42 h 136"/>
                  <a:gd name="T60" fmla="*/ 10 w 164"/>
                  <a:gd name="T61" fmla="*/ 46 h 136"/>
                  <a:gd name="T62" fmla="*/ 6 w 164"/>
                  <a:gd name="T63" fmla="*/ 52 h 136"/>
                  <a:gd name="T64" fmla="*/ 3 w 164"/>
                  <a:gd name="T65" fmla="*/ 61 h 136"/>
                  <a:gd name="T66" fmla="*/ 6 w 164"/>
                  <a:gd name="T67" fmla="*/ 65 h 136"/>
                  <a:gd name="T68" fmla="*/ 7 w 164"/>
                  <a:gd name="T69" fmla="*/ 68 h 136"/>
                  <a:gd name="T70" fmla="*/ 6 w 164"/>
                  <a:gd name="T71" fmla="*/ 71 h 136"/>
                  <a:gd name="T72" fmla="*/ 0 w 164"/>
                  <a:gd name="T73" fmla="*/ 82 h 136"/>
                  <a:gd name="T74" fmla="*/ 7 w 164"/>
                  <a:gd name="T75" fmla="*/ 90 h 136"/>
                  <a:gd name="T76" fmla="*/ 9 w 164"/>
                  <a:gd name="T77" fmla="*/ 100 h 136"/>
                  <a:gd name="T78" fmla="*/ 14 w 164"/>
                  <a:gd name="T79" fmla="*/ 103 h 136"/>
                  <a:gd name="T80" fmla="*/ 24 w 164"/>
                  <a:gd name="T81" fmla="*/ 103 h 136"/>
                  <a:gd name="T82" fmla="*/ 29 w 164"/>
                  <a:gd name="T83" fmla="*/ 107 h 136"/>
                  <a:gd name="T84" fmla="*/ 40 w 164"/>
                  <a:gd name="T85" fmla="*/ 124 h 136"/>
                  <a:gd name="T86" fmla="*/ 42 w 164"/>
                  <a:gd name="T87" fmla="*/ 127 h 136"/>
                  <a:gd name="T88" fmla="*/ 37 w 164"/>
                  <a:gd name="T89" fmla="*/ 127 h 136"/>
                  <a:gd name="T90" fmla="*/ 33 w 164"/>
                  <a:gd name="T91" fmla="*/ 127 h 136"/>
                  <a:gd name="T92" fmla="*/ 34 w 164"/>
                  <a:gd name="T93" fmla="*/ 130 h 136"/>
                  <a:gd name="T94" fmla="*/ 46 w 164"/>
                  <a:gd name="T95" fmla="*/ 134 h 136"/>
                  <a:gd name="T96" fmla="*/ 56 w 164"/>
                  <a:gd name="T97" fmla="*/ 130 h 136"/>
                  <a:gd name="T98" fmla="*/ 82 w 164"/>
                  <a:gd name="T99" fmla="*/ 118 h 136"/>
                  <a:gd name="T100" fmla="*/ 98 w 164"/>
                  <a:gd name="T101" fmla="*/ 124 h 136"/>
                  <a:gd name="T102" fmla="*/ 111 w 164"/>
                  <a:gd name="T103" fmla="*/ 121 h 136"/>
                  <a:gd name="T104" fmla="*/ 142 w 164"/>
                  <a:gd name="T105" fmla="*/ 11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4" h="136">
                    <a:moveTo>
                      <a:pt x="142" y="111"/>
                    </a:moveTo>
                    <a:lnTo>
                      <a:pt x="141" y="95"/>
                    </a:lnTo>
                    <a:lnTo>
                      <a:pt x="146" y="77"/>
                    </a:lnTo>
                    <a:lnTo>
                      <a:pt x="164" y="62"/>
                    </a:lnTo>
                    <a:lnTo>
                      <a:pt x="164" y="38"/>
                    </a:lnTo>
                    <a:lnTo>
                      <a:pt x="162" y="31"/>
                    </a:lnTo>
                    <a:lnTo>
                      <a:pt x="161" y="31"/>
                    </a:lnTo>
                    <a:lnTo>
                      <a:pt x="161" y="31"/>
                    </a:lnTo>
                    <a:lnTo>
                      <a:pt x="159" y="31"/>
                    </a:lnTo>
                    <a:lnTo>
                      <a:pt x="159" y="31"/>
                    </a:lnTo>
                    <a:lnTo>
                      <a:pt x="158" y="31"/>
                    </a:lnTo>
                    <a:lnTo>
                      <a:pt x="158" y="31"/>
                    </a:lnTo>
                    <a:lnTo>
                      <a:pt x="157" y="31"/>
                    </a:lnTo>
                    <a:lnTo>
                      <a:pt x="157" y="29"/>
                    </a:lnTo>
                    <a:lnTo>
                      <a:pt x="155" y="29"/>
                    </a:lnTo>
                    <a:lnTo>
                      <a:pt x="154" y="29"/>
                    </a:lnTo>
                    <a:lnTo>
                      <a:pt x="152" y="28"/>
                    </a:lnTo>
                    <a:lnTo>
                      <a:pt x="151" y="26"/>
                    </a:lnTo>
                    <a:lnTo>
                      <a:pt x="148" y="23"/>
                    </a:lnTo>
                    <a:lnTo>
                      <a:pt x="145" y="22"/>
                    </a:lnTo>
                    <a:lnTo>
                      <a:pt x="142" y="19"/>
                    </a:lnTo>
                    <a:lnTo>
                      <a:pt x="142" y="19"/>
                    </a:lnTo>
                    <a:lnTo>
                      <a:pt x="141" y="19"/>
                    </a:lnTo>
                    <a:lnTo>
                      <a:pt x="139" y="21"/>
                    </a:lnTo>
                    <a:lnTo>
                      <a:pt x="139" y="22"/>
                    </a:lnTo>
                    <a:lnTo>
                      <a:pt x="141" y="23"/>
                    </a:lnTo>
                    <a:lnTo>
                      <a:pt x="141" y="26"/>
                    </a:lnTo>
                    <a:lnTo>
                      <a:pt x="142" y="28"/>
                    </a:lnTo>
                    <a:lnTo>
                      <a:pt x="141" y="29"/>
                    </a:lnTo>
                    <a:lnTo>
                      <a:pt x="141" y="31"/>
                    </a:lnTo>
                    <a:lnTo>
                      <a:pt x="141" y="31"/>
                    </a:lnTo>
                    <a:lnTo>
                      <a:pt x="141" y="31"/>
                    </a:lnTo>
                    <a:lnTo>
                      <a:pt x="141" y="32"/>
                    </a:lnTo>
                    <a:lnTo>
                      <a:pt x="139" y="32"/>
                    </a:lnTo>
                    <a:lnTo>
                      <a:pt x="139" y="32"/>
                    </a:lnTo>
                    <a:lnTo>
                      <a:pt x="139" y="32"/>
                    </a:lnTo>
                    <a:lnTo>
                      <a:pt x="138" y="31"/>
                    </a:lnTo>
                    <a:lnTo>
                      <a:pt x="138" y="26"/>
                    </a:lnTo>
                    <a:lnTo>
                      <a:pt x="138" y="26"/>
                    </a:lnTo>
                    <a:lnTo>
                      <a:pt x="138" y="25"/>
                    </a:lnTo>
                    <a:lnTo>
                      <a:pt x="136" y="25"/>
                    </a:lnTo>
                    <a:lnTo>
                      <a:pt x="136" y="23"/>
                    </a:lnTo>
                    <a:lnTo>
                      <a:pt x="135" y="22"/>
                    </a:lnTo>
                    <a:lnTo>
                      <a:pt x="131" y="18"/>
                    </a:lnTo>
                    <a:lnTo>
                      <a:pt x="129" y="15"/>
                    </a:lnTo>
                    <a:lnTo>
                      <a:pt x="126" y="13"/>
                    </a:lnTo>
                    <a:lnTo>
                      <a:pt x="125" y="13"/>
                    </a:lnTo>
                    <a:lnTo>
                      <a:pt x="122" y="9"/>
                    </a:lnTo>
                    <a:lnTo>
                      <a:pt x="121" y="8"/>
                    </a:lnTo>
                    <a:lnTo>
                      <a:pt x="118" y="8"/>
                    </a:lnTo>
                    <a:lnTo>
                      <a:pt x="116" y="8"/>
                    </a:lnTo>
                    <a:lnTo>
                      <a:pt x="113" y="8"/>
                    </a:lnTo>
                    <a:lnTo>
                      <a:pt x="112" y="8"/>
                    </a:lnTo>
                    <a:lnTo>
                      <a:pt x="111" y="8"/>
                    </a:lnTo>
                    <a:lnTo>
                      <a:pt x="111" y="8"/>
                    </a:lnTo>
                    <a:lnTo>
                      <a:pt x="111" y="8"/>
                    </a:lnTo>
                    <a:lnTo>
                      <a:pt x="109" y="6"/>
                    </a:lnTo>
                    <a:lnTo>
                      <a:pt x="108" y="6"/>
                    </a:lnTo>
                    <a:lnTo>
                      <a:pt x="106" y="6"/>
                    </a:lnTo>
                    <a:lnTo>
                      <a:pt x="106" y="8"/>
                    </a:lnTo>
                    <a:lnTo>
                      <a:pt x="105" y="8"/>
                    </a:lnTo>
                    <a:lnTo>
                      <a:pt x="105" y="6"/>
                    </a:lnTo>
                    <a:lnTo>
                      <a:pt x="105" y="6"/>
                    </a:lnTo>
                    <a:lnTo>
                      <a:pt x="103" y="6"/>
                    </a:lnTo>
                    <a:lnTo>
                      <a:pt x="102" y="5"/>
                    </a:lnTo>
                    <a:lnTo>
                      <a:pt x="101" y="2"/>
                    </a:lnTo>
                    <a:lnTo>
                      <a:pt x="99" y="2"/>
                    </a:lnTo>
                    <a:lnTo>
                      <a:pt x="98" y="2"/>
                    </a:lnTo>
                    <a:lnTo>
                      <a:pt x="96" y="2"/>
                    </a:lnTo>
                    <a:lnTo>
                      <a:pt x="95" y="2"/>
                    </a:lnTo>
                    <a:lnTo>
                      <a:pt x="93" y="3"/>
                    </a:lnTo>
                    <a:lnTo>
                      <a:pt x="92" y="3"/>
                    </a:lnTo>
                    <a:lnTo>
                      <a:pt x="88" y="8"/>
                    </a:lnTo>
                    <a:lnTo>
                      <a:pt x="86" y="8"/>
                    </a:lnTo>
                    <a:lnTo>
                      <a:pt x="85" y="8"/>
                    </a:lnTo>
                    <a:lnTo>
                      <a:pt x="83" y="8"/>
                    </a:lnTo>
                    <a:lnTo>
                      <a:pt x="82" y="6"/>
                    </a:lnTo>
                    <a:lnTo>
                      <a:pt x="82" y="5"/>
                    </a:lnTo>
                    <a:lnTo>
                      <a:pt x="82" y="5"/>
                    </a:lnTo>
                    <a:lnTo>
                      <a:pt x="80" y="3"/>
                    </a:lnTo>
                    <a:lnTo>
                      <a:pt x="80" y="3"/>
                    </a:lnTo>
                    <a:lnTo>
                      <a:pt x="79" y="2"/>
                    </a:lnTo>
                    <a:lnTo>
                      <a:pt x="78" y="2"/>
                    </a:lnTo>
                    <a:lnTo>
                      <a:pt x="76" y="2"/>
                    </a:lnTo>
                    <a:lnTo>
                      <a:pt x="76" y="0"/>
                    </a:lnTo>
                    <a:lnTo>
                      <a:pt x="75" y="0"/>
                    </a:lnTo>
                    <a:lnTo>
                      <a:pt x="73" y="0"/>
                    </a:lnTo>
                    <a:lnTo>
                      <a:pt x="73" y="2"/>
                    </a:lnTo>
                    <a:lnTo>
                      <a:pt x="72" y="3"/>
                    </a:lnTo>
                    <a:lnTo>
                      <a:pt x="70" y="5"/>
                    </a:lnTo>
                    <a:lnTo>
                      <a:pt x="69" y="6"/>
                    </a:lnTo>
                    <a:lnTo>
                      <a:pt x="67" y="8"/>
                    </a:lnTo>
                    <a:lnTo>
                      <a:pt x="66" y="11"/>
                    </a:lnTo>
                    <a:lnTo>
                      <a:pt x="66" y="11"/>
                    </a:lnTo>
                    <a:lnTo>
                      <a:pt x="65" y="11"/>
                    </a:lnTo>
                    <a:lnTo>
                      <a:pt x="65" y="12"/>
                    </a:lnTo>
                    <a:lnTo>
                      <a:pt x="65" y="12"/>
                    </a:lnTo>
                    <a:lnTo>
                      <a:pt x="63" y="12"/>
                    </a:lnTo>
                    <a:lnTo>
                      <a:pt x="60" y="13"/>
                    </a:lnTo>
                    <a:lnTo>
                      <a:pt x="59" y="15"/>
                    </a:lnTo>
                    <a:lnTo>
                      <a:pt x="57" y="15"/>
                    </a:lnTo>
                    <a:lnTo>
                      <a:pt x="56" y="16"/>
                    </a:lnTo>
                    <a:lnTo>
                      <a:pt x="53" y="16"/>
                    </a:lnTo>
                    <a:lnTo>
                      <a:pt x="50" y="18"/>
                    </a:lnTo>
                    <a:lnTo>
                      <a:pt x="50" y="19"/>
                    </a:lnTo>
                    <a:lnTo>
                      <a:pt x="47" y="23"/>
                    </a:lnTo>
                    <a:lnTo>
                      <a:pt x="44" y="26"/>
                    </a:lnTo>
                    <a:lnTo>
                      <a:pt x="40" y="29"/>
                    </a:lnTo>
                    <a:lnTo>
                      <a:pt x="40" y="29"/>
                    </a:lnTo>
                    <a:lnTo>
                      <a:pt x="39" y="31"/>
                    </a:lnTo>
                    <a:lnTo>
                      <a:pt x="37" y="31"/>
                    </a:lnTo>
                    <a:lnTo>
                      <a:pt x="37" y="31"/>
                    </a:lnTo>
                    <a:lnTo>
                      <a:pt x="36" y="31"/>
                    </a:lnTo>
                    <a:lnTo>
                      <a:pt x="36" y="31"/>
                    </a:lnTo>
                    <a:lnTo>
                      <a:pt x="36" y="31"/>
                    </a:lnTo>
                    <a:lnTo>
                      <a:pt x="36" y="34"/>
                    </a:lnTo>
                    <a:lnTo>
                      <a:pt x="37" y="38"/>
                    </a:lnTo>
                    <a:lnTo>
                      <a:pt x="37" y="41"/>
                    </a:lnTo>
                    <a:lnTo>
                      <a:pt x="39" y="44"/>
                    </a:lnTo>
                    <a:lnTo>
                      <a:pt x="39" y="45"/>
                    </a:lnTo>
                    <a:lnTo>
                      <a:pt x="39" y="45"/>
                    </a:lnTo>
                    <a:lnTo>
                      <a:pt x="39" y="45"/>
                    </a:lnTo>
                    <a:lnTo>
                      <a:pt x="39" y="48"/>
                    </a:lnTo>
                    <a:lnTo>
                      <a:pt x="39" y="48"/>
                    </a:lnTo>
                    <a:lnTo>
                      <a:pt x="37" y="48"/>
                    </a:lnTo>
                    <a:lnTo>
                      <a:pt x="36" y="49"/>
                    </a:lnTo>
                    <a:lnTo>
                      <a:pt x="36" y="49"/>
                    </a:lnTo>
                    <a:lnTo>
                      <a:pt x="33" y="51"/>
                    </a:lnTo>
                    <a:lnTo>
                      <a:pt x="32" y="51"/>
                    </a:lnTo>
                    <a:lnTo>
                      <a:pt x="30" y="49"/>
                    </a:lnTo>
                    <a:lnTo>
                      <a:pt x="30" y="49"/>
                    </a:lnTo>
                    <a:lnTo>
                      <a:pt x="29" y="48"/>
                    </a:lnTo>
                    <a:lnTo>
                      <a:pt x="27" y="45"/>
                    </a:lnTo>
                    <a:lnTo>
                      <a:pt x="22" y="39"/>
                    </a:lnTo>
                    <a:lnTo>
                      <a:pt x="20" y="38"/>
                    </a:lnTo>
                    <a:lnTo>
                      <a:pt x="20" y="36"/>
                    </a:lnTo>
                    <a:lnTo>
                      <a:pt x="20" y="36"/>
                    </a:lnTo>
                    <a:lnTo>
                      <a:pt x="19" y="36"/>
                    </a:lnTo>
                    <a:lnTo>
                      <a:pt x="19" y="36"/>
                    </a:lnTo>
                    <a:lnTo>
                      <a:pt x="17" y="35"/>
                    </a:lnTo>
                    <a:lnTo>
                      <a:pt x="17" y="35"/>
                    </a:lnTo>
                    <a:lnTo>
                      <a:pt x="17" y="35"/>
                    </a:lnTo>
                    <a:lnTo>
                      <a:pt x="16" y="36"/>
                    </a:lnTo>
                    <a:lnTo>
                      <a:pt x="16" y="36"/>
                    </a:lnTo>
                    <a:lnTo>
                      <a:pt x="14" y="36"/>
                    </a:lnTo>
                    <a:lnTo>
                      <a:pt x="13" y="38"/>
                    </a:lnTo>
                    <a:lnTo>
                      <a:pt x="13" y="39"/>
                    </a:lnTo>
                    <a:lnTo>
                      <a:pt x="13" y="41"/>
                    </a:lnTo>
                    <a:lnTo>
                      <a:pt x="11" y="41"/>
                    </a:lnTo>
                    <a:lnTo>
                      <a:pt x="11" y="42"/>
                    </a:lnTo>
                    <a:lnTo>
                      <a:pt x="13" y="42"/>
                    </a:lnTo>
                    <a:lnTo>
                      <a:pt x="11" y="44"/>
                    </a:lnTo>
                    <a:lnTo>
                      <a:pt x="11" y="45"/>
                    </a:lnTo>
                    <a:lnTo>
                      <a:pt x="11" y="46"/>
                    </a:lnTo>
                    <a:lnTo>
                      <a:pt x="10" y="46"/>
                    </a:lnTo>
                    <a:lnTo>
                      <a:pt x="9" y="48"/>
                    </a:lnTo>
                    <a:lnTo>
                      <a:pt x="9" y="49"/>
                    </a:lnTo>
                    <a:lnTo>
                      <a:pt x="7" y="49"/>
                    </a:lnTo>
                    <a:lnTo>
                      <a:pt x="7" y="51"/>
                    </a:lnTo>
                    <a:lnTo>
                      <a:pt x="6" y="52"/>
                    </a:lnTo>
                    <a:lnTo>
                      <a:pt x="6" y="54"/>
                    </a:lnTo>
                    <a:lnTo>
                      <a:pt x="4" y="57"/>
                    </a:lnTo>
                    <a:lnTo>
                      <a:pt x="4" y="58"/>
                    </a:lnTo>
                    <a:lnTo>
                      <a:pt x="4" y="61"/>
                    </a:lnTo>
                    <a:lnTo>
                      <a:pt x="3" y="61"/>
                    </a:lnTo>
                    <a:lnTo>
                      <a:pt x="3" y="62"/>
                    </a:lnTo>
                    <a:lnTo>
                      <a:pt x="4" y="62"/>
                    </a:lnTo>
                    <a:lnTo>
                      <a:pt x="4" y="64"/>
                    </a:lnTo>
                    <a:lnTo>
                      <a:pt x="4" y="64"/>
                    </a:lnTo>
                    <a:lnTo>
                      <a:pt x="6" y="65"/>
                    </a:lnTo>
                    <a:lnTo>
                      <a:pt x="7" y="67"/>
                    </a:lnTo>
                    <a:lnTo>
                      <a:pt x="7" y="67"/>
                    </a:lnTo>
                    <a:lnTo>
                      <a:pt x="7" y="67"/>
                    </a:lnTo>
                    <a:lnTo>
                      <a:pt x="7" y="68"/>
                    </a:lnTo>
                    <a:lnTo>
                      <a:pt x="7" y="68"/>
                    </a:lnTo>
                    <a:lnTo>
                      <a:pt x="7" y="69"/>
                    </a:lnTo>
                    <a:lnTo>
                      <a:pt x="7" y="69"/>
                    </a:lnTo>
                    <a:lnTo>
                      <a:pt x="7" y="71"/>
                    </a:lnTo>
                    <a:lnTo>
                      <a:pt x="6" y="71"/>
                    </a:lnTo>
                    <a:lnTo>
                      <a:pt x="6" y="71"/>
                    </a:lnTo>
                    <a:lnTo>
                      <a:pt x="4" y="72"/>
                    </a:lnTo>
                    <a:lnTo>
                      <a:pt x="3" y="75"/>
                    </a:lnTo>
                    <a:lnTo>
                      <a:pt x="1" y="78"/>
                    </a:lnTo>
                    <a:lnTo>
                      <a:pt x="1" y="80"/>
                    </a:lnTo>
                    <a:lnTo>
                      <a:pt x="0" y="82"/>
                    </a:lnTo>
                    <a:lnTo>
                      <a:pt x="0" y="85"/>
                    </a:lnTo>
                    <a:lnTo>
                      <a:pt x="1" y="87"/>
                    </a:lnTo>
                    <a:lnTo>
                      <a:pt x="3" y="87"/>
                    </a:lnTo>
                    <a:lnTo>
                      <a:pt x="4" y="88"/>
                    </a:lnTo>
                    <a:lnTo>
                      <a:pt x="7" y="90"/>
                    </a:lnTo>
                    <a:lnTo>
                      <a:pt x="9" y="91"/>
                    </a:lnTo>
                    <a:lnTo>
                      <a:pt x="9" y="94"/>
                    </a:lnTo>
                    <a:lnTo>
                      <a:pt x="9" y="95"/>
                    </a:lnTo>
                    <a:lnTo>
                      <a:pt x="9" y="98"/>
                    </a:lnTo>
                    <a:lnTo>
                      <a:pt x="9" y="100"/>
                    </a:lnTo>
                    <a:lnTo>
                      <a:pt x="10" y="101"/>
                    </a:lnTo>
                    <a:lnTo>
                      <a:pt x="10" y="101"/>
                    </a:lnTo>
                    <a:lnTo>
                      <a:pt x="11" y="103"/>
                    </a:lnTo>
                    <a:lnTo>
                      <a:pt x="11" y="103"/>
                    </a:lnTo>
                    <a:lnTo>
                      <a:pt x="14" y="103"/>
                    </a:lnTo>
                    <a:lnTo>
                      <a:pt x="14" y="101"/>
                    </a:lnTo>
                    <a:lnTo>
                      <a:pt x="17" y="101"/>
                    </a:lnTo>
                    <a:lnTo>
                      <a:pt x="19" y="101"/>
                    </a:lnTo>
                    <a:lnTo>
                      <a:pt x="23" y="103"/>
                    </a:lnTo>
                    <a:lnTo>
                      <a:pt x="24" y="103"/>
                    </a:lnTo>
                    <a:lnTo>
                      <a:pt x="26" y="103"/>
                    </a:lnTo>
                    <a:lnTo>
                      <a:pt x="27" y="103"/>
                    </a:lnTo>
                    <a:lnTo>
                      <a:pt x="27" y="104"/>
                    </a:lnTo>
                    <a:lnTo>
                      <a:pt x="29" y="105"/>
                    </a:lnTo>
                    <a:lnTo>
                      <a:pt x="29" y="107"/>
                    </a:lnTo>
                    <a:lnTo>
                      <a:pt x="32" y="110"/>
                    </a:lnTo>
                    <a:lnTo>
                      <a:pt x="36" y="114"/>
                    </a:lnTo>
                    <a:lnTo>
                      <a:pt x="36" y="115"/>
                    </a:lnTo>
                    <a:lnTo>
                      <a:pt x="37" y="118"/>
                    </a:lnTo>
                    <a:lnTo>
                      <a:pt x="40" y="124"/>
                    </a:lnTo>
                    <a:lnTo>
                      <a:pt x="40" y="124"/>
                    </a:lnTo>
                    <a:lnTo>
                      <a:pt x="42" y="126"/>
                    </a:lnTo>
                    <a:lnTo>
                      <a:pt x="42" y="126"/>
                    </a:lnTo>
                    <a:lnTo>
                      <a:pt x="42" y="127"/>
                    </a:lnTo>
                    <a:lnTo>
                      <a:pt x="42" y="127"/>
                    </a:lnTo>
                    <a:lnTo>
                      <a:pt x="40" y="127"/>
                    </a:lnTo>
                    <a:lnTo>
                      <a:pt x="40" y="127"/>
                    </a:lnTo>
                    <a:lnTo>
                      <a:pt x="40" y="127"/>
                    </a:lnTo>
                    <a:lnTo>
                      <a:pt x="39" y="127"/>
                    </a:lnTo>
                    <a:lnTo>
                      <a:pt x="37" y="127"/>
                    </a:lnTo>
                    <a:lnTo>
                      <a:pt x="37" y="127"/>
                    </a:lnTo>
                    <a:lnTo>
                      <a:pt x="36" y="126"/>
                    </a:lnTo>
                    <a:lnTo>
                      <a:pt x="34" y="126"/>
                    </a:lnTo>
                    <a:lnTo>
                      <a:pt x="34" y="127"/>
                    </a:lnTo>
                    <a:lnTo>
                      <a:pt x="33" y="127"/>
                    </a:lnTo>
                    <a:lnTo>
                      <a:pt x="33" y="127"/>
                    </a:lnTo>
                    <a:lnTo>
                      <a:pt x="33" y="128"/>
                    </a:lnTo>
                    <a:lnTo>
                      <a:pt x="34" y="128"/>
                    </a:lnTo>
                    <a:lnTo>
                      <a:pt x="34" y="130"/>
                    </a:lnTo>
                    <a:lnTo>
                      <a:pt x="34" y="130"/>
                    </a:lnTo>
                    <a:lnTo>
                      <a:pt x="34" y="130"/>
                    </a:lnTo>
                    <a:lnTo>
                      <a:pt x="39" y="131"/>
                    </a:lnTo>
                    <a:lnTo>
                      <a:pt x="46" y="136"/>
                    </a:lnTo>
                    <a:lnTo>
                      <a:pt x="46" y="134"/>
                    </a:lnTo>
                    <a:lnTo>
                      <a:pt x="46" y="134"/>
                    </a:lnTo>
                    <a:lnTo>
                      <a:pt x="47" y="134"/>
                    </a:lnTo>
                    <a:lnTo>
                      <a:pt x="49" y="134"/>
                    </a:lnTo>
                    <a:lnTo>
                      <a:pt x="49" y="131"/>
                    </a:lnTo>
                    <a:lnTo>
                      <a:pt x="50" y="131"/>
                    </a:lnTo>
                    <a:lnTo>
                      <a:pt x="56" y="130"/>
                    </a:lnTo>
                    <a:lnTo>
                      <a:pt x="60" y="128"/>
                    </a:lnTo>
                    <a:lnTo>
                      <a:pt x="67" y="123"/>
                    </a:lnTo>
                    <a:lnTo>
                      <a:pt x="76" y="120"/>
                    </a:lnTo>
                    <a:lnTo>
                      <a:pt x="79" y="118"/>
                    </a:lnTo>
                    <a:lnTo>
                      <a:pt x="82" y="118"/>
                    </a:lnTo>
                    <a:lnTo>
                      <a:pt x="86" y="118"/>
                    </a:lnTo>
                    <a:lnTo>
                      <a:pt x="89" y="120"/>
                    </a:lnTo>
                    <a:lnTo>
                      <a:pt x="92" y="123"/>
                    </a:lnTo>
                    <a:lnTo>
                      <a:pt x="96" y="124"/>
                    </a:lnTo>
                    <a:lnTo>
                      <a:pt x="98" y="124"/>
                    </a:lnTo>
                    <a:lnTo>
                      <a:pt x="99" y="124"/>
                    </a:lnTo>
                    <a:lnTo>
                      <a:pt x="103" y="121"/>
                    </a:lnTo>
                    <a:lnTo>
                      <a:pt x="105" y="121"/>
                    </a:lnTo>
                    <a:lnTo>
                      <a:pt x="108" y="121"/>
                    </a:lnTo>
                    <a:lnTo>
                      <a:pt x="111" y="121"/>
                    </a:lnTo>
                    <a:lnTo>
                      <a:pt x="113" y="123"/>
                    </a:lnTo>
                    <a:lnTo>
                      <a:pt x="115" y="126"/>
                    </a:lnTo>
                    <a:lnTo>
                      <a:pt x="115" y="127"/>
                    </a:lnTo>
                    <a:lnTo>
                      <a:pt x="131" y="124"/>
                    </a:lnTo>
                    <a:lnTo>
                      <a:pt x="142" y="11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01" name="Freeform 107">
                <a:extLst>
                  <a:ext uri="{FF2B5EF4-FFF2-40B4-BE49-F238E27FC236}">
                    <a16:creationId xmlns:a16="http://schemas.microsoft.com/office/drawing/2014/main" id="{A620DDE6-4540-6BB3-1E2E-3AC9218AB3B1}"/>
                  </a:ext>
                </a:extLst>
              </p:cNvPr>
              <p:cNvSpPr>
                <a:spLocks noEditPoints="1"/>
              </p:cNvSpPr>
              <p:nvPr/>
            </p:nvSpPr>
            <p:spPr bwMode="auto">
              <a:xfrm>
                <a:off x="3893" y="718"/>
                <a:ext cx="867" cy="1142"/>
              </a:xfrm>
              <a:custGeom>
                <a:avLst/>
                <a:gdLst>
                  <a:gd name="T0" fmla="*/ 669 w 867"/>
                  <a:gd name="T1" fmla="*/ 279 h 1142"/>
                  <a:gd name="T2" fmla="*/ 615 w 867"/>
                  <a:gd name="T3" fmla="*/ 337 h 1142"/>
                  <a:gd name="T4" fmla="*/ 672 w 867"/>
                  <a:gd name="T5" fmla="*/ 340 h 1142"/>
                  <a:gd name="T6" fmla="*/ 751 w 867"/>
                  <a:gd name="T7" fmla="*/ 275 h 1142"/>
                  <a:gd name="T8" fmla="*/ 712 w 867"/>
                  <a:gd name="T9" fmla="*/ 477 h 1142"/>
                  <a:gd name="T10" fmla="*/ 626 w 867"/>
                  <a:gd name="T11" fmla="*/ 85 h 1142"/>
                  <a:gd name="T12" fmla="*/ 610 w 867"/>
                  <a:gd name="T13" fmla="*/ 55 h 1142"/>
                  <a:gd name="T14" fmla="*/ 847 w 867"/>
                  <a:gd name="T15" fmla="*/ 545 h 1142"/>
                  <a:gd name="T16" fmla="*/ 694 w 867"/>
                  <a:gd name="T17" fmla="*/ 506 h 1142"/>
                  <a:gd name="T18" fmla="*/ 600 w 867"/>
                  <a:gd name="T19" fmla="*/ 500 h 1142"/>
                  <a:gd name="T20" fmla="*/ 511 w 867"/>
                  <a:gd name="T21" fmla="*/ 528 h 1142"/>
                  <a:gd name="T22" fmla="*/ 425 w 867"/>
                  <a:gd name="T23" fmla="*/ 508 h 1142"/>
                  <a:gd name="T24" fmla="*/ 378 w 867"/>
                  <a:gd name="T25" fmla="*/ 584 h 1142"/>
                  <a:gd name="T26" fmla="*/ 302 w 867"/>
                  <a:gd name="T27" fmla="*/ 618 h 1142"/>
                  <a:gd name="T28" fmla="*/ 260 w 867"/>
                  <a:gd name="T29" fmla="*/ 610 h 1142"/>
                  <a:gd name="T30" fmla="*/ 226 w 867"/>
                  <a:gd name="T31" fmla="*/ 549 h 1142"/>
                  <a:gd name="T32" fmla="*/ 375 w 867"/>
                  <a:gd name="T33" fmla="*/ 559 h 1142"/>
                  <a:gd name="T34" fmla="*/ 246 w 867"/>
                  <a:gd name="T35" fmla="*/ 488 h 1142"/>
                  <a:gd name="T36" fmla="*/ 198 w 867"/>
                  <a:gd name="T37" fmla="*/ 479 h 1142"/>
                  <a:gd name="T38" fmla="*/ 167 w 867"/>
                  <a:gd name="T39" fmla="*/ 492 h 1142"/>
                  <a:gd name="T40" fmla="*/ 172 w 867"/>
                  <a:gd name="T41" fmla="*/ 541 h 1142"/>
                  <a:gd name="T42" fmla="*/ 177 w 867"/>
                  <a:gd name="T43" fmla="*/ 610 h 1142"/>
                  <a:gd name="T44" fmla="*/ 182 w 867"/>
                  <a:gd name="T45" fmla="*/ 640 h 1142"/>
                  <a:gd name="T46" fmla="*/ 208 w 867"/>
                  <a:gd name="T47" fmla="*/ 689 h 1142"/>
                  <a:gd name="T48" fmla="*/ 157 w 867"/>
                  <a:gd name="T49" fmla="*/ 753 h 1142"/>
                  <a:gd name="T50" fmla="*/ 147 w 867"/>
                  <a:gd name="T51" fmla="*/ 776 h 1142"/>
                  <a:gd name="T52" fmla="*/ 139 w 867"/>
                  <a:gd name="T53" fmla="*/ 818 h 1142"/>
                  <a:gd name="T54" fmla="*/ 144 w 867"/>
                  <a:gd name="T55" fmla="*/ 850 h 1142"/>
                  <a:gd name="T56" fmla="*/ 171 w 867"/>
                  <a:gd name="T57" fmla="*/ 871 h 1142"/>
                  <a:gd name="T58" fmla="*/ 197 w 867"/>
                  <a:gd name="T59" fmla="*/ 884 h 1142"/>
                  <a:gd name="T60" fmla="*/ 218 w 867"/>
                  <a:gd name="T61" fmla="*/ 920 h 1142"/>
                  <a:gd name="T62" fmla="*/ 210 w 867"/>
                  <a:gd name="T63" fmla="*/ 945 h 1142"/>
                  <a:gd name="T64" fmla="*/ 233 w 867"/>
                  <a:gd name="T65" fmla="*/ 958 h 1142"/>
                  <a:gd name="T66" fmla="*/ 256 w 867"/>
                  <a:gd name="T67" fmla="*/ 979 h 1142"/>
                  <a:gd name="T68" fmla="*/ 277 w 867"/>
                  <a:gd name="T69" fmla="*/ 999 h 1142"/>
                  <a:gd name="T70" fmla="*/ 316 w 867"/>
                  <a:gd name="T71" fmla="*/ 1009 h 1142"/>
                  <a:gd name="T72" fmla="*/ 359 w 867"/>
                  <a:gd name="T73" fmla="*/ 1029 h 1142"/>
                  <a:gd name="T74" fmla="*/ 356 w 867"/>
                  <a:gd name="T75" fmla="*/ 1058 h 1142"/>
                  <a:gd name="T76" fmla="*/ 327 w 867"/>
                  <a:gd name="T77" fmla="*/ 1081 h 1142"/>
                  <a:gd name="T78" fmla="*/ 491 w 867"/>
                  <a:gd name="T79" fmla="*/ 1123 h 1142"/>
                  <a:gd name="T80" fmla="*/ 516 w 867"/>
                  <a:gd name="T81" fmla="*/ 1097 h 1142"/>
                  <a:gd name="T82" fmla="*/ 481 w 867"/>
                  <a:gd name="T83" fmla="*/ 1041 h 1142"/>
                  <a:gd name="T84" fmla="*/ 494 w 867"/>
                  <a:gd name="T85" fmla="*/ 1006 h 1142"/>
                  <a:gd name="T86" fmla="*/ 539 w 867"/>
                  <a:gd name="T87" fmla="*/ 982 h 1142"/>
                  <a:gd name="T88" fmla="*/ 585 w 867"/>
                  <a:gd name="T89" fmla="*/ 978 h 1142"/>
                  <a:gd name="T90" fmla="*/ 631 w 867"/>
                  <a:gd name="T91" fmla="*/ 999 h 1142"/>
                  <a:gd name="T92" fmla="*/ 674 w 867"/>
                  <a:gd name="T93" fmla="*/ 988 h 1142"/>
                  <a:gd name="T94" fmla="*/ 735 w 867"/>
                  <a:gd name="T95" fmla="*/ 988 h 1142"/>
                  <a:gd name="T96" fmla="*/ 708 w 867"/>
                  <a:gd name="T97" fmla="*/ 75 h 1142"/>
                  <a:gd name="T98" fmla="*/ 597 w 867"/>
                  <a:gd name="T99" fmla="*/ 426 h 1142"/>
                  <a:gd name="T100" fmla="*/ 649 w 867"/>
                  <a:gd name="T101" fmla="*/ 446 h 1142"/>
                  <a:gd name="T102" fmla="*/ 625 w 867"/>
                  <a:gd name="T103" fmla="*/ 357 h 1142"/>
                  <a:gd name="T104" fmla="*/ 643 w 867"/>
                  <a:gd name="T105" fmla="*/ 38 h 1142"/>
                  <a:gd name="T106" fmla="*/ 635 w 867"/>
                  <a:gd name="T107" fmla="*/ 30 h 1142"/>
                  <a:gd name="T108" fmla="*/ 674 w 867"/>
                  <a:gd name="T109" fmla="*/ 8 h 1142"/>
                  <a:gd name="T110" fmla="*/ 804 w 867"/>
                  <a:gd name="T111" fmla="*/ 51 h 1142"/>
                  <a:gd name="T112" fmla="*/ 665 w 867"/>
                  <a:gd name="T113" fmla="*/ 49 h 1142"/>
                  <a:gd name="T114" fmla="*/ 27 w 867"/>
                  <a:gd name="T115" fmla="*/ 893 h 1142"/>
                  <a:gd name="T116" fmla="*/ 457 w 867"/>
                  <a:gd name="T117" fmla="*/ 71 h 1142"/>
                  <a:gd name="T118" fmla="*/ 480 w 867"/>
                  <a:gd name="T119" fmla="*/ 61 h 1142"/>
                  <a:gd name="T120" fmla="*/ 496 w 867"/>
                  <a:gd name="T121" fmla="*/ 88 h 1142"/>
                  <a:gd name="T122" fmla="*/ 549 w 867"/>
                  <a:gd name="T123" fmla="*/ 56 h 1142"/>
                  <a:gd name="T124" fmla="*/ 537 w 867"/>
                  <a:gd name="T125" fmla="*/ 492 h 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42">
                    <a:moveTo>
                      <a:pt x="787" y="233"/>
                    </a:moveTo>
                    <a:lnTo>
                      <a:pt x="783" y="233"/>
                    </a:lnTo>
                    <a:lnTo>
                      <a:pt x="776" y="235"/>
                    </a:lnTo>
                    <a:lnTo>
                      <a:pt x="760" y="237"/>
                    </a:lnTo>
                    <a:lnTo>
                      <a:pt x="757" y="239"/>
                    </a:lnTo>
                    <a:lnTo>
                      <a:pt x="753" y="237"/>
                    </a:lnTo>
                    <a:lnTo>
                      <a:pt x="738" y="236"/>
                    </a:lnTo>
                    <a:lnTo>
                      <a:pt x="734" y="236"/>
                    </a:lnTo>
                    <a:lnTo>
                      <a:pt x="730" y="236"/>
                    </a:lnTo>
                    <a:lnTo>
                      <a:pt x="728" y="239"/>
                    </a:lnTo>
                    <a:lnTo>
                      <a:pt x="727" y="240"/>
                    </a:lnTo>
                    <a:lnTo>
                      <a:pt x="728" y="242"/>
                    </a:lnTo>
                    <a:lnTo>
                      <a:pt x="728" y="243"/>
                    </a:lnTo>
                    <a:lnTo>
                      <a:pt x="727" y="245"/>
                    </a:lnTo>
                    <a:lnTo>
                      <a:pt x="725" y="246"/>
                    </a:lnTo>
                    <a:lnTo>
                      <a:pt x="724" y="245"/>
                    </a:lnTo>
                    <a:lnTo>
                      <a:pt x="722" y="245"/>
                    </a:lnTo>
                    <a:lnTo>
                      <a:pt x="722" y="243"/>
                    </a:lnTo>
                    <a:lnTo>
                      <a:pt x="720" y="243"/>
                    </a:lnTo>
                    <a:lnTo>
                      <a:pt x="718" y="243"/>
                    </a:lnTo>
                    <a:lnTo>
                      <a:pt x="717" y="243"/>
                    </a:lnTo>
                    <a:lnTo>
                      <a:pt x="714" y="245"/>
                    </a:lnTo>
                    <a:lnTo>
                      <a:pt x="712" y="245"/>
                    </a:lnTo>
                    <a:lnTo>
                      <a:pt x="712" y="246"/>
                    </a:lnTo>
                    <a:lnTo>
                      <a:pt x="711" y="248"/>
                    </a:lnTo>
                    <a:lnTo>
                      <a:pt x="710" y="249"/>
                    </a:lnTo>
                    <a:lnTo>
                      <a:pt x="707" y="250"/>
                    </a:lnTo>
                    <a:lnTo>
                      <a:pt x="702" y="252"/>
                    </a:lnTo>
                    <a:lnTo>
                      <a:pt x="695" y="253"/>
                    </a:lnTo>
                    <a:lnTo>
                      <a:pt x="691" y="255"/>
                    </a:lnTo>
                    <a:lnTo>
                      <a:pt x="682" y="260"/>
                    </a:lnTo>
                    <a:lnTo>
                      <a:pt x="676" y="263"/>
                    </a:lnTo>
                    <a:lnTo>
                      <a:pt x="675" y="265"/>
                    </a:lnTo>
                    <a:lnTo>
                      <a:pt x="675" y="266"/>
                    </a:lnTo>
                    <a:lnTo>
                      <a:pt x="675" y="268"/>
                    </a:lnTo>
                    <a:lnTo>
                      <a:pt x="675" y="269"/>
                    </a:lnTo>
                    <a:lnTo>
                      <a:pt x="674" y="271"/>
                    </a:lnTo>
                    <a:lnTo>
                      <a:pt x="671" y="273"/>
                    </a:lnTo>
                    <a:lnTo>
                      <a:pt x="669" y="275"/>
                    </a:lnTo>
                    <a:lnTo>
                      <a:pt x="669" y="276"/>
                    </a:lnTo>
                    <a:lnTo>
                      <a:pt x="669" y="279"/>
                    </a:lnTo>
                    <a:lnTo>
                      <a:pt x="668" y="281"/>
                    </a:lnTo>
                    <a:lnTo>
                      <a:pt x="668" y="281"/>
                    </a:lnTo>
                    <a:lnTo>
                      <a:pt x="664" y="281"/>
                    </a:lnTo>
                    <a:lnTo>
                      <a:pt x="661" y="279"/>
                    </a:lnTo>
                    <a:lnTo>
                      <a:pt x="656" y="279"/>
                    </a:lnTo>
                    <a:lnTo>
                      <a:pt x="653" y="282"/>
                    </a:lnTo>
                    <a:lnTo>
                      <a:pt x="653" y="283"/>
                    </a:lnTo>
                    <a:lnTo>
                      <a:pt x="655" y="285"/>
                    </a:lnTo>
                    <a:lnTo>
                      <a:pt x="655" y="286"/>
                    </a:lnTo>
                    <a:lnTo>
                      <a:pt x="653" y="286"/>
                    </a:lnTo>
                    <a:lnTo>
                      <a:pt x="651" y="291"/>
                    </a:lnTo>
                    <a:lnTo>
                      <a:pt x="649" y="292"/>
                    </a:lnTo>
                    <a:lnTo>
                      <a:pt x="648" y="292"/>
                    </a:lnTo>
                    <a:lnTo>
                      <a:pt x="643" y="291"/>
                    </a:lnTo>
                    <a:lnTo>
                      <a:pt x="641" y="289"/>
                    </a:lnTo>
                    <a:lnTo>
                      <a:pt x="636" y="289"/>
                    </a:lnTo>
                    <a:lnTo>
                      <a:pt x="636" y="294"/>
                    </a:lnTo>
                    <a:lnTo>
                      <a:pt x="636" y="295"/>
                    </a:lnTo>
                    <a:lnTo>
                      <a:pt x="638" y="296"/>
                    </a:lnTo>
                    <a:lnTo>
                      <a:pt x="639" y="296"/>
                    </a:lnTo>
                    <a:lnTo>
                      <a:pt x="641" y="298"/>
                    </a:lnTo>
                    <a:lnTo>
                      <a:pt x="645" y="298"/>
                    </a:lnTo>
                    <a:lnTo>
                      <a:pt x="646" y="298"/>
                    </a:lnTo>
                    <a:lnTo>
                      <a:pt x="648" y="299"/>
                    </a:lnTo>
                    <a:lnTo>
                      <a:pt x="643" y="302"/>
                    </a:lnTo>
                    <a:lnTo>
                      <a:pt x="641" y="304"/>
                    </a:lnTo>
                    <a:lnTo>
                      <a:pt x="638" y="308"/>
                    </a:lnTo>
                    <a:lnTo>
                      <a:pt x="633" y="312"/>
                    </a:lnTo>
                    <a:lnTo>
                      <a:pt x="632" y="314"/>
                    </a:lnTo>
                    <a:lnTo>
                      <a:pt x="632" y="315"/>
                    </a:lnTo>
                    <a:lnTo>
                      <a:pt x="633" y="317"/>
                    </a:lnTo>
                    <a:lnTo>
                      <a:pt x="635" y="317"/>
                    </a:lnTo>
                    <a:lnTo>
                      <a:pt x="639" y="318"/>
                    </a:lnTo>
                    <a:lnTo>
                      <a:pt x="642" y="318"/>
                    </a:lnTo>
                    <a:lnTo>
                      <a:pt x="638" y="319"/>
                    </a:lnTo>
                    <a:lnTo>
                      <a:pt x="631" y="319"/>
                    </a:lnTo>
                    <a:lnTo>
                      <a:pt x="628" y="321"/>
                    </a:lnTo>
                    <a:lnTo>
                      <a:pt x="625" y="324"/>
                    </a:lnTo>
                    <a:lnTo>
                      <a:pt x="619" y="331"/>
                    </a:lnTo>
                    <a:lnTo>
                      <a:pt x="618" y="335"/>
                    </a:lnTo>
                    <a:lnTo>
                      <a:pt x="615" y="337"/>
                    </a:lnTo>
                    <a:lnTo>
                      <a:pt x="602" y="342"/>
                    </a:lnTo>
                    <a:lnTo>
                      <a:pt x="600" y="344"/>
                    </a:lnTo>
                    <a:lnTo>
                      <a:pt x="600" y="345"/>
                    </a:lnTo>
                    <a:lnTo>
                      <a:pt x="602" y="347"/>
                    </a:lnTo>
                    <a:lnTo>
                      <a:pt x="605" y="348"/>
                    </a:lnTo>
                    <a:lnTo>
                      <a:pt x="608" y="350"/>
                    </a:lnTo>
                    <a:lnTo>
                      <a:pt x="608" y="351"/>
                    </a:lnTo>
                    <a:lnTo>
                      <a:pt x="606" y="352"/>
                    </a:lnTo>
                    <a:lnTo>
                      <a:pt x="608" y="354"/>
                    </a:lnTo>
                    <a:lnTo>
                      <a:pt x="609" y="354"/>
                    </a:lnTo>
                    <a:lnTo>
                      <a:pt x="609" y="355"/>
                    </a:lnTo>
                    <a:lnTo>
                      <a:pt x="610" y="355"/>
                    </a:lnTo>
                    <a:lnTo>
                      <a:pt x="610" y="355"/>
                    </a:lnTo>
                    <a:lnTo>
                      <a:pt x="615" y="354"/>
                    </a:lnTo>
                    <a:lnTo>
                      <a:pt x="616" y="354"/>
                    </a:lnTo>
                    <a:lnTo>
                      <a:pt x="619" y="352"/>
                    </a:lnTo>
                    <a:lnTo>
                      <a:pt x="620" y="352"/>
                    </a:lnTo>
                    <a:lnTo>
                      <a:pt x="623" y="352"/>
                    </a:lnTo>
                    <a:lnTo>
                      <a:pt x="631" y="355"/>
                    </a:lnTo>
                    <a:lnTo>
                      <a:pt x="632" y="355"/>
                    </a:lnTo>
                    <a:lnTo>
                      <a:pt x="638" y="355"/>
                    </a:lnTo>
                    <a:lnTo>
                      <a:pt x="639" y="357"/>
                    </a:lnTo>
                    <a:lnTo>
                      <a:pt x="645" y="357"/>
                    </a:lnTo>
                    <a:lnTo>
                      <a:pt x="648" y="358"/>
                    </a:lnTo>
                    <a:lnTo>
                      <a:pt x="652" y="357"/>
                    </a:lnTo>
                    <a:lnTo>
                      <a:pt x="656" y="355"/>
                    </a:lnTo>
                    <a:lnTo>
                      <a:pt x="658" y="354"/>
                    </a:lnTo>
                    <a:lnTo>
                      <a:pt x="659" y="352"/>
                    </a:lnTo>
                    <a:lnTo>
                      <a:pt x="659" y="351"/>
                    </a:lnTo>
                    <a:lnTo>
                      <a:pt x="661" y="350"/>
                    </a:lnTo>
                    <a:lnTo>
                      <a:pt x="664" y="350"/>
                    </a:lnTo>
                    <a:lnTo>
                      <a:pt x="665" y="348"/>
                    </a:lnTo>
                    <a:lnTo>
                      <a:pt x="665" y="347"/>
                    </a:lnTo>
                    <a:lnTo>
                      <a:pt x="665" y="345"/>
                    </a:lnTo>
                    <a:lnTo>
                      <a:pt x="664" y="344"/>
                    </a:lnTo>
                    <a:lnTo>
                      <a:pt x="662" y="342"/>
                    </a:lnTo>
                    <a:lnTo>
                      <a:pt x="664" y="341"/>
                    </a:lnTo>
                    <a:lnTo>
                      <a:pt x="666" y="342"/>
                    </a:lnTo>
                    <a:lnTo>
                      <a:pt x="669" y="344"/>
                    </a:lnTo>
                    <a:lnTo>
                      <a:pt x="672" y="342"/>
                    </a:lnTo>
                    <a:lnTo>
                      <a:pt x="672" y="340"/>
                    </a:lnTo>
                    <a:lnTo>
                      <a:pt x="671" y="337"/>
                    </a:lnTo>
                    <a:lnTo>
                      <a:pt x="671" y="335"/>
                    </a:lnTo>
                    <a:lnTo>
                      <a:pt x="675" y="334"/>
                    </a:lnTo>
                    <a:lnTo>
                      <a:pt x="681" y="332"/>
                    </a:lnTo>
                    <a:lnTo>
                      <a:pt x="684" y="329"/>
                    </a:lnTo>
                    <a:lnTo>
                      <a:pt x="687" y="327"/>
                    </a:lnTo>
                    <a:lnTo>
                      <a:pt x="685" y="324"/>
                    </a:lnTo>
                    <a:lnTo>
                      <a:pt x="684" y="321"/>
                    </a:lnTo>
                    <a:lnTo>
                      <a:pt x="684" y="319"/>
                    </a:lnTo>
                    <a:lnTo>
                      <a:pt x="687" y="319"/>
                    </a:lnTo>
                    <a:lnTo>
                      <a:pt x="691" y="319"/>
                    </a:lnTo>
                    <a:lnTo>
                      <a:pt x="692" y="319"/>
                    </a:lnTo>
                    <a:lnTo>
                      <a:pt x="694" y="318"/>
                    </a:lnTo>
                    <a:lnTo>
                      <a:pt x="694" y="317"/>
                    </a:lnTo>
                    <a:lnTo>
                      <a:pt x="694" y="315"/>
                    </a:lnTo>
                    <a:lnTo>
                      <a:pt x="695" y="314"/>
                    </a:lnTo>
                    <a:lnTo>
                      <a:pt x="695" y="312"/>
                    </a:lnTo>
                    <a:lnTo>
                      <a:pt x="697" y="311"/>
                    </a:lnTo>
                    <a:lnTo>
                      <a:pt x="702" y="314"/>
                    </a:lnTo>
                    <a:lnTo>
                      <a:pt x="705" y="314"/>
                    </a:lnTo>
                    <a:lnTo>
                      <a:pt x="705" y="312"/>
                    </a:lnTo>
                    <a:lnTo>
                      <a:pt x="705" y="309"/>
                    </a:lnTo>
                    <a:lnTo>
                      <a:pt x="705" y="308"/>
                    </a:lnTo>
                    <a:lnTo>
                      <a:pt x="707" y="308"/>
                    </a:lnTo>
                    <a:lnTo>
                      <a:pt x="711" y="308"/>
                    </a:lnTo>
                    <a:lnTo>
                      <a:pt x="712" y="306"/>
                    </a:lnTo>
                    <a:lnTo>
                      <a:pt x="715" y="305"/>
                    </a:lnTo>
                    <a:lnTo>
                      <a:pt x="717" y="302"/>
                    </a:lnTo>
                    <a:lnTo>
                      <a:pt x="718" y="299"/>
                    </a:lnTo>
                    <a:lnTo>
                      <a:pt x="714" y="299"/>
                    </a:lnTo>
                    <a:lnTo>
                      <a:pt x="715" y="296"/>
                    </a:lnTo>
                    <a:lnTo>
                      <a:pt x="717" y="296"/>
                    </a:lnTo>
                    <a:lnTo>
                      <a:pt x="720" y="295"/>
                    </a:lnTo>
                    <a:lnTo>
                      <a:pt x="721" y="294"/>
                    </a:lnTo>
                    <a:lnTo>
                      <a:pt x="722" y="294"/>
                    </a:lnTo>
                    <a:lnTo>
                      <a:pt x="731" y="285"/>
                    </a:lnTo>
                    <a:lnTo>
                      <a:pt x="732" y="283"/>
                    </a:lnTo>
                    <a:lnTo>
                      <a:pt x="734" y="283"/>
                    </a:lnTo>
                    <a:lnTo>
                      <a:pt x="737" y="282"/>
                    </a:lnTo>
                    <a:lnTo>
                      <a:pt x="741" y="281"/>
                    </a:lnTo>
                    <a:lnTo>
                      <a:pt x="751" y="275"/>
                    </a:lnTo>
                    <a:lnTo>
                      <a:pt x="850" y="237"/>
                    </a:lnTo>
                    <a:lnTo>
                      <a:pt x="855" y="235"/>
                    </a:lnTo>
                    <a:lnTo>
                      <a:pt x="865" y="226"/>
                    </a:lnTo>
                    <a:lnTo>
                      <a:pt x="866" y="225"/>
                    </a:lnTo>
                    <a:lnTo>
                      <a:pt x="866" y="225"/>
                    </a:lnTo>
                    <a:lnTo>
                      <a:pt x="866" y="223"/>
                    </a:lnTo>
                    <a:lnTo>
                      <a:pt x="866" y="222"/>
                    </a:lnTo>
                    <a:lnTo>
                      <a:pt x="867" y="220"/>
                    </a:lnTo>
                    <a:lnTo>
                      <a:pt x="863" y="216"/>
                    </a:lnTo>
                    <a:lnTo>
                      <a:pt x="856" y="212"/>
                    </a:lnTo>
                    <a:lnTo>
                      <a:pt x="847" y="212"/>
                    </a:lnTo>
                    <a:lnTo>
                      <a:pt x="840" y="212"/>
                    </a:lnTo>
                    <a:lnTo>
                      <a:pt x="833" y="213"/>
                    </a:lnTo>
                    <a:lnTo>
                      <a:pt x="824" y="216"/>
                    </a:lnTo>
                    <a:lnTo>
                      <a:pt x="819" y="219"/>
                    </a:lnTo>
                    <a:lnTo>
                      <a:pt x="817" y="219"/>
                    </a:lnTo>
                    <a:lnTo>
                      <a:pt x="813" y="223"/>
                    </a:lnTo>
                    <a:lnTo>
                      <a:pt x="810" y="225"/>
                    </a:lnTo>
                    <a:lnTo>
                      <a:pt x="807" y="226"/>
                    </a:lnTo>
                    <a:lnTo>
                      <a:pt x="800" y="229"/>
                    </a:lnTo>
                    <a:lnTo>
                      <a:pt x="787" y="233"/>
                    </a:lnTo>
                    <a:close/>
                    <a:moveTo>
                      <a:pt x="701" y="459"/>
                    </a:moveTo>
                    <a:lnTo>
                      <a:pt x="697" y="456"/>
                    </a:lnTo>
                    <a:lnTo>
                      <a:pt x="695" y="453"/>
                    </a:lnTo>
                    <a:lnTo>
                      <a:pt x="692" y="453"/>
                    </a:lnTo>
                    <a:lnTo>
                      <a:pt x="689" y="453"/>
                    </a:lnTo>
                    <a:lnTo>
                      <a:pt x="687" y="454"/>
                    </a:lnTo>
                    <a:lnTo>
                      <a:pt x="684" y="457"/>
                    </a:lnTo>
                    <a:lnTo>
                      <a:pt x="682" y="459"/>
                    </a:lnTo>
                    <a:lnTo>
                      <a:pt x="685" y="465"/>
                    </a:lnTo>
                    <a:lnTo>
                      <a:pt x="687" y="467"/>
                    </a:lnTo>
                    <a:lnTo>
                      <a:pt x="689" y="469"/>
                    </a:lnTo>
                    <a:lnTo>
                      <a:pt x="691" y="470"/>
                    </a:lnTo>
                    <a:lnTo>
                      <a:pt x="694" y="472"/>
                    </a:lnTo>
                    <a:lnTo>
                      <a:pt x="695" y="472"/>
                    </a:lnTo>
                    <a:lnTo>
                      <a:pt x="698" y="472"/>
                    </a:lnTo>
                    <a:lnTo>
                      <a:pt x="699" y="473"/>
                    </a:lnTo>
                    <a:lnTo>
                      <a:pt x="702" y="476"/>
                    </a:lnTo>
                    <a:lnTo>
                      <a:pt x="705" y="477"/>
                    </a:lnTo>
                    <a:lnTo>
                      <a:pt x="708" y="477"/>
                    </a:lnTo>
                    <a:lnTo>
                      <a:pt x="712" y="477"/>
                    </a:lnTo>
                    <a:lnTo>
                      <a:pt x="715" y="477"/>
                    </a:lnTo>
                    <a:lnTo>
                      <a:pt x="718" y="476"/>
                    </a:lnTo>
                    <a:lnTo>
                      <a:pt x="718" y="472"/>
                    </a:lnTo>
                    <a:lnTo>
                      <a:pt x="712" y="466"/>
                    </a:lnTo>
                    <a:lnTo>
                      <a:pt x="701" y="459"/>
                    </a:lnTo>
                    <a:close/>
                    <a:moveTo>
                      <a:pt x="639" y="88"/>
                    </a:moveTo>
                    <a:lnTo>
                      <a:pt x="638" y="89"/>
                    </a:lnTo>
                    <a:lnTo>
                      <a:pt x="636" y="91"/>
                    </a:lnTo>
                    <a:lnTo>
                      <a:pt x="635" y="92"/>
                    </a:lnTo>
                    <a:lnTo>
                      <a:pt x="639" y="94"/>
                    </a:lnTo>
                    <a:lnTo>
                      <a:pt x="643" y="94"/>
                    </a:lnTo>
                    <a:lnTo>
                      <a:pt x="653" y="94"/>
                    </a:lnTo>
                    <a:lnTo>
                      <a:pt x="656" y="94"/>
                    </a:lnTo>
                    <a:lnTo>
                      <a:pt x="658" y="94"/>
                    </a:lnTo>
                    <a:lnTo>
                      <a:pt x="658" y="92"/>
                    </a:lnTo>
                    <a:lnTo>
                      <a:pt x="659" y="85"/>
                    </a:lnTo>
                    <a:lnTo>
                      <a:pt x="659" y="82"/>
                    </a:lnTo>
                    <a:lnTo>
                      <a:pt x="659" y="81"/>
                    </a:lnTo>
                    <a:lnTo>
                      <a:pt x="658" y="79"/>
                    </a:lnTo>
                    <a:lnTo>
                      <a:pt x="656" y="78"/>
                    </a:lnTo>
                    <a:lnTo>
                      <a:pt x="653" y="78"/>
                    </a:lnTo>
                    <a:lnTo>
                      <a:pt x="652" y="78"/>
                    </a:lnTo>
                    <a:lnTo>
                      <a:pt x="651" y="79"/>
                    </a:lnTo>
                    <a:lnTo>
                      <a:pt x="649" y="79"/>
                    </a:lnTo>
                    <a:lnTo>
                      <a:pt x="649" y="79"/>
                    </a:lnTo>
                    <a:lnTo>
                      <a:pt x="648" y="79"/>
                    </a:lnTo>
                    <a:lnTo>
                      <a:pt x="643" y="79"/>
                    </a:lnTo>
                    <a:lnTo>
                      <a:pt x="642" y="79"/>
                    </a:lnTo>
                    <a:lnTo>
                      <a:pt x="639" y="79"/>
                    </a:lnTo>
                    <a:lnTo>
                      <a:pt x="639" y="81"/>
                    </a:lnTo>
                    <a:lnTo>
                      <a:pt x="639" y="82"/>
                    </a:lnTo>
                    <a:lnTo>
                      <a:pt x="639" y="85"/>
                    </a:lnTo>
                    <a:lnTo>
                      <a:pt x="639" y="88"/>
                    </a:lnTo>
                    <a:close/>
                    <a:moveTo>
                      <a:pt x="629" y="84"/>
                    </a:moveTo>
                    <a:lnTo>
                      <a:pt x="631" y="82"/>
                    </a:lnTo>
                    <a:lnTo>
                      <a:pt x="629" y="79"/>
                    </a:lnTo>
                    <a:lnTo>
                      <a:pt x="626" y="81"/>
                    </a:lnTo>
                    <a:lnTo>
                      <a:pt x="623" y="82"/>
                    </a:lnTo>
                    <a:lnTo>
                      <a:pt x="622" y="84"/>
                    </a:lnTo>
                    <a:lnTo>
                      <a:pt x="623" y="85"/>
                    </a:lnTo>
                    <a:lnTo>
                      <a:pt x="626" y="85"/>
                    </a:lnTo>
                    <a:lnTo>
                      <a:pt x="629" y="84"/>
                    </a:lnTo>
                    <a:close/>
                    <a:moveTo>
                      <a:pt x="689" y="26"/>
                    </a:moveTo>
                    <a:lnTo>
                      <a:pt x="687" y="28"/>
                    </a:lnTo>
                    <a:lnTo>
                      <a:pt x="687" y="30"/>
                    </a:lnTo>
                    <a:lnTo>
                      <a:pt x="689" y="32"/>
                    </a:lnTo>
                    <a:lnTo>
                      <a:pt x="694" y="32"/>
                    </a:lnTo>
                    <a:lnTo>
                      <a:pt x="698" y="32"/>
                    </a:lnTo>
                    <a:lnTo>
                      <a:pt x="698" y="29"/>
                    </a:lnTo>
                    <a:lnTo>
                      <a:pt x="695" y="26"/>
                    </a:lnTo>
                    <a:lnTo>
                      <a:pt x="689" y="26"/>
                    </a:lnTo>
                    <a:close/>
                    <a:moveTo>
                      <a:pt x="609" y="61"/>
                    </a:moveTo>
                    <a:lnTo>
                      <a:pt x="615" y="62"/>
                    </a:lnTo>
                    <a:lnTo>
                      <a:pt x="615" y="62"/>
                    </a:lnTo>
                    <a:lnTo>
                      <a:pt x="616" y="64"/>
                    </a:lnTo>
                    <a:lnTo>
                      <a:pt x="618" y="64"/>
                    </a:lnTo>
                    <a:lnTo>
                      <a:pt x="619" y="64"/>
                    </a:lnTo>
                    <a:lnTo>
                      <a:pt x="622" y="64"/>
                    </a:lnTo>
                    <a:lnTo>
                      <a:pt x="623" y="62"/>
                    </a:lnTo>
                    <a:lnTo>
                      <a:pt x="626" y="64"/>
                    </a:lnTo>
                    <a:lnTo>
                      <a:pt x="629" y="65"/>
                    </a:lnTo>
                    <a:lnTo>
                      <a:pt x="632" y="66"/>
                    </a:lnTo>
                    <a:lnTo>
                      <a:pt x="635" y="68"/>
                    </a:lnTo>
                    <a:lnTo>
                      <a:pt x="636" y="68"/>
                    </a:lnTo>
                    <a:lnTo>
                      <a:pt x="639" y="68"/>
                    </a:lnTo>
                    <a:lnTo>
                      <a:pt x="658" y="66"/>
                    </a:lnTo>
                    <a:lnTo>
                      <a:pt x="665" y="64"/>
                    </a:lnTo>
                    <a:lnTo>
                      <a:pt x="669" y="61"/>
                    </a:lnTo>
                    <a:lnTo>
                      <a:pt x="666" y="59"/>
                    </a:lnTo>
                    <a:lnTo>
                      <a:pt x="655" y="55"/>
                    </a:lnTo>
                    <a:lnTo>
                      <a:pt x="648" y="51"/>
                    </a:lnTo>
                    <a:lnTo>
                      <a:pt x="645" y="49"/>
                    </a:lnTo>
                    <a:lnTo>
                      <a:pt x="641" y="49"/>
                    </a:lnTo>
                    <a:lnTo>
                      <a:pt x="633" y="49"/>
                    </a:lnTo>
                    <a:lnTo>
                      <a:pt x="631" y="49"/>
                    </a:lnTo>
                    <a:lnTo>
                      <a:pt x="626" y="49"/>
                    </a:lnTo>
                    <a:lnTo>
                      <a:pt x="616" y="43"/>
                    </a:lnTo>
                    <a:lnTo>
                      <a:pt x="615" y="45"/>
                    </a:lnTo>
                    <a:lnTo>
                      <a:pt x="613" y="48"/>
                    </a:lnTo>
                    <a:lnTo>
                      <a:pt x="610" y="52"/>
                    </a:lnTo>
                    <a:lnTo>
                      <a:pt x="610" y="55"/>
                    </a:lnTo>
                    <a:lnTo>
                      <a:pt x="610" y="55"/>
                    </a:lnTo>
                    <a:lnTo>
                      <a:pt x="609" y="55"/>
                    </a:lnTo>
                    <a:lnTo>
                      <a:pt x="608" y="56"/>
                    </a:lnTo>
                    <a:lnTo>
                      <a:pt x="606" y="56"/>
                    </a:lnTo>
                    <a:lnTo>
                      <a:pt x="605" y="58"/>
                    </a:lnTo>
                    <a:lnTo>
                      <a:pt x="605" y="59"/>
                    </a:lnTo>
                    <a:lnTo>
                      <a:pt x="606" y="61"/>
                    </a:lnTo>
                    <a:lnTo>
                      <a:pt x="609" y="61"/>
                    </a:lnTo>
                    <a:close/>
                    <a:moveTo>
                      <a:pt x="282" y="615"/>
                    </a:moveTo>
                    <a:lnTo>
                      <a:pt x="280" y="615"/>
                    </a:lnTo>
                    <a:lnTo>
                      <a:pt x="280" y="618"/>
                    </a:lnTo>
                    <a:lnTo>
                      <a:pt x="280" y="620"/>
                    </a:lnTo>
                    <a:lnTo>
                      <a:pt x="283" y="621"/>
                    </a:lnTo>
                    <a:lnTo>
                      <a:pt x="283" y="623"/>
                    </a:lnTo>
                    <a:lnTo>
                      <a:pt x="284" y="623"/>
                    </a:lnTo>
                    <a:lnTo>
                      <a:pt x="284" y="621"/>
                    </a:lnTo>
                    <a:lnTo>
                      <a:pt x="284" y="620"/>
                    </a:lnTo>
                    <a:lnTo>
                      <a:pt x="284" y="620"/>
                    </a:lnTo>
                    <a:lnTo>
                      <a:pt x="284" y="617"/>
                    </a:lnTo>
                    <a:lnTo>
                      <a:pt x="283" y="615"/>
                    </a:lnTo>
                    <a:lnTo>
                      <a:pt x="282" y="615"/>
                    </a:lnTo>
                    <a:close/>
                    <a:moveTo>
                      <a:pt x="497" y="1124"/>
                    </a:moveTo>
                    <a:lnTo>
                      <a:pt x="497" y="1124"/>
                    </a:lnTo>
                    <a:lnTo>
                      <a:pt x="498" y="1126"/>
                    </a:lnTo>
                    <a:lnTo>
                      <a:pt x="498" y="1126"/>
                    </a:lnTo>
                    <a:lnTo>
                      <a:pt x="498" y="1124"/>
                    </a:lnTo>
                    <a:lnTo>
                      <a:pt x="498" y="1124"/>
                    </a:lnTo>
                    <a:lnTo>
                      <a:pt x="497" y="1121"/>
                    </a:lnTo>
                    <a:lnTo>
                      <a:pt x="497" y="1123"/>
                    </a:lnTo>
                    <a:lnTo>
                      <a:pt x="497" y="1124"/>
                    </a:lnTo>
                    <a:close/>
                    <a:moveTo>
                      <a:pt x="708" y="946"/>
                    </a:moveTo>
                    <a:lnTo>
                      <a:pt x="705" y="916"/>
                    </a:lnTo>
                    <a:lnTo>
                      <a:pt x="722" y="876"/>
                    </a:lnTo>
                    <a:lnTo>
                      <a:pt x="731" y="801"/>
                    </a:lnTo>
                    <a:lnTo>
                      <a:pt x="727" y="776"/>
                    </a:lnTo>
                    <a:lnTo>
                      <a:pt x="724" y="752"/>
                    </a:lnTo>
                    <a:lnTo>
                      <a:pt x="731" y="710"/>
                    </a:lnTo>
                    <a:lnTo>
                      <a:pt x="732" y="670"/>
                    </a:lnTo>
                    <a:lnTo>
                      <a:pt x="763" y="633"/>
                    </a:lnTo>
                    <a:lnTo>
                      <a:pt x="801" y="600"/>
                    </a:lnTo>
                    <a:lnTo>
                      <a:pt x="820" y="568"/>
                    </a:lnTo>
                    <a:lnTo>
                      <a:pt x="847" y="545"/>
                    </a:lnTo>
                    <a:lnTo>
                      <a:pt x="860" y="525"/>
                    </a:lnTo>
                    <a:lnTo>
                      <a:pt x="856" y="511"/>
                    </a:lnTo>
                    <a:lnTo>
                      <a:pt x="855" y="511"/>
                    </a:lnTo>
                    <a:lnTo>
                      <a:pt x="843" y="505"/>
                    </a:lnTo>
                    <a:lnTo>
                      <a:pt x="833" y="498"/>
                    </a:lnTo>
                    <a:lnTo>
                      <a:pt x="830" y="496"/>
                    </a:lnTo>
                    <a:lnTo>
                      <a:pt x="824" y="495"/>
                    </a:lnTo>
                    <a:lnTo>
                      <a:pt x="806" y="489"/>
                    </a:lnTo>
                    <a:lnTo>
                      <a:pt x="800" y="488"/>
                    </a:lnTo>
                    <a:lnTo>
                      <a:pt x="796" y="488"/>
                    </a:lnTo>
                    <a:lnTo>
                      <a:pt x="791" y="483"/>
                    </a:lnTo>
                    <a:lnTo>
                      <a:pt x="778" y="480"/>
                    </a:lnTo>
                    <a:lnTo>
                      <a:pt x="728" y="473"/>
                    </a:lnTo>
                    <a:lnTo>
                      <a:pt x="727" y="473"/>
                    </a:lnTo>
                    <a:lnTo>
                      <a:pt x="724" y="475"/>
                    </a:lnTo>
                    <a:lnTo>
                      <a:pt x="720" y="476"/>
                    </a:lnTo>
                    <a:lnTo>
                      <a:pt x="715" y="477"/>
                    </a:lnTo>
                    <a:lnTo>
                      <a:pt x="712" y="479"/>
                    </a:lnTo>
                    <a:lnTo>
                      <a:pt x="714" y="482"/>
                    </a:lnTo>
                    <a:lnTo>
                      <a:pt x="718" y="486"/>
                    </a:lnTo>
                    <a:lnTo>
                      <a:pt x="720" y="489"/>
                    </a:lnTo>
                    <a:lnTo>
                      <a:pt x="721" y="489"/>
                    </a:lnTo>
                    <a:lnTo>
                      <a:pt x="721" y="490"/>
                    </a:lnTo>
                    <a:lnTo>
                      <a:pt x="722" y="490"/>
                    </a:lnTo>
                    <a:lnTo>
                      <a:pt x="722" y="490"/>
                    </a:lnTo>
                    <a:lnTo>
                      <a:pt x="724" y="490"/>
                    </a:lnTo>
                    <a:lnTo>
                      <a:pt x="725" y="490"/>
                    </a:lnTo>
                    <a:lnTo>
                      <a:pt x="725" y="492"/>
                    </a:lnTo>
                    <a:lnTo>
                      <a:pt x="725" y="493"/>
                    </a:lnTo>
                    <a:lnTo>
                      <a:pt x="724" y="498"/>
                    </a:lnTo>
                    <a:lnTo>
                      <a:pt x="718" y="499"/>
                    </a:lnTo>
                    <a:lnTo>
                      <a:pt x="714" y="500"/>
                    </a:lnTo>
                    <a:lnTo>
                      <a:pt x="708" y="500"/>
                    </a:lnTo>
                    <a:lnTo>
                      <a:pt x="708" y="503"/>
                    </a:lnTo>
                    <a:lnTo>
                      <a:pt x="708" y="506"/>
                    </a:lnTo>
                    <a:lnTo>
                      <a:pt x="707" y="509"/>
                    </a:lnTo>
                    <a:lnTo>
                      <a:pt x="702" y="511"/>
                    </a:lnTo>
                    <a:lnTo>
                      <a:pt x="699" y="509"/>
                    </a:lnTo>
                    <a:lnTo>
                      <a:pt x="698" y="509"/>
                    </a:lnTo>
                    <a:lnTo>
                      <a:pt x="695" y="508"/>
                    </a:lnTo>
                    <a:lnTo>
                      <a:pt x="694" y="506"/>
                    </a:lnTo>
                    <a:lnTo>
                      <a:pt x="694" y="505"/>
                    </a:lnTo>
                    <a:lnTo>
                      <a:pt x="695" y="502"/>
                    </a:lnTo>
                    <a:lnTo>
                      <a:pt x="697" y="500"/>
                    </a:lnTo>
                    <a:lnTo>
                      <a:pt x="698" y="500"/>
                    </a:lnTo>
                    <a:lnTo>
                      <a:pt x="695" y="496"/>
                    </a:lnTo>
                    <a:lnTo>
                      <a:pt x="692" y="495"/>
                    </a:lnTo>
                    <a:lnTo>
                      <a:pt x="691" y="493"/>
                    </a:lnTo>
                    <a:lnTo>
                      <a:pt x="688" y="493"/>
                    </a:lnTo>
                    <a:lnTo>
                      <a:pt x="684" y="495"/>
                    </a:lnTo>
                    <a:lnTo>
                      <a:pt x="681" y="496"/>
                    </a:lnTo>
                    <a:lnTo>
                      <a:pt x="678" y="498"/>
                    </a:lnTo>
                    <a:lnTo>
                      <a:pt x="675" y="498"/>
                    </a:lnTo>
                    <a:lnTo>
                      <a:pt x="661" y="503"/>
                    </a:lnTo>
                    <a:lnTo>
                      <a:pt x="655" y="505"/>
                    </a:lnTo>
                    <a:lnTo>
                      <a:pt x="642" y="503"/>
                    </a:lnTo>
                    <a:lnTo>
                      <a:pt x="636" y="503"/>
                    </a:lnTo>
                    <a:lnTo>
                      <a:pt x="631" y="505"/>
                    </a:lnTo>
                    <a:lnTo>
                      <a:pt x="628" y="505"/>
                    </a:lnTo>
                    <a:lnTo>
                      <a:pt x="625" y="506"/>
                    </a:lnTo>
                    <a:lnTo>
                      <a:pt x="622" y="508"/>
                    </a:lnTo>
                    <a:lnTo>
                      <a:pt x="620" y="511"/>
                    </a:lnTo>
                    <a:lnTo>
                      <a:pt x="619" y="512"/>
                    </a:lnTo>
                    <a:lnTo>
                      <a:pt x="619" y="513"/>
                    </a:lnTo>
                    <a:lnTo>
                      <a:pt x="619" y="513"/>
                    </a:lnTo>
                    <a:lnTo>
                      <a:pt x="618" y="515"/>
                    </a:lnTo>
                    <a:lnTo>
                      <a:pt x="616" y="513"/>
                    </a:lnTo>
                    <a:lnTo>
                      <a:pt x="615" y="512"/>
                    </a:lnTo>
                    <a:lnTo>
                      <a:pt x="613" y="512"/>
                    </a:lnTo>
                    <a:lnTo>
                      <a:pt x="610" y="512"/>
                    </a:lnTo>
                    <a:lnTo>
                      <a:pt x="603" y="513"/>
                    </a:lnTo>
                    <a:lnTo>
                      <a:pt x="600" y="513"/>
                    </a:lnTo>
                    <a:lnTo>
                      <a:pt x="592" y="512"/>
                    </a:lnTo>
                    <a:lnTo>
                      <a:pt x="593" y="511"/>
                    </a:lnTo>
                    <a:lnTo>
                      <a:pt x="597" y="509"/>
                    </a:lnTo>
                    <a:lnTo>
                      <a:pt x="600" y="509"/>
                    </a:lnTo>
                    <a:lnTo>
                      <a:pt x="603" y="508"/>
                    </a:lnTo>
                    <a:lnTo>
                      <a:pt x="603" y="506"/>
                    </a:lnTo>
                    <a:lnTo>
                      <a:pt x="602" y="505"/>
                    </a:lnTo>
                    <a:lnTo>
                      <a:pt x="600" y="503"/>
                    </a:lnTo>
                    <a:lnTo>
                      <a:pt x="600" y="502"/>
                    </a:lnTo>
                    <a:lnTo>
                      <a:pt x="600" y="500"/>
                    </a:lnTo>
                    <a:lnTo>
                      <a:pt x="602" y="499"/>
                    </a:lnTo>
                    <a:lnTo>
                      <a:pt x="603" y="498"/>
                    </a:lnTo>
                    <a:lnTo>
                      <a:pt x="603" y="498"/>
                    </a:lnTo>
                    <a:lnTo>
                      <a:pt x="603" y="498"/>
                    </a:lnTo>
                    <a:lnTo>
                      <a:pt x="602" y="496"/>
                    </a:lnTo>
                    <a:lnTo>
                      <a:pt x="602" y="496"/>
                    </a:lnTo>
                    <a:lnTo>
                      <a:pt x="600" y="496"/>
                    </a:lnTo>
                    <a:lnTo>
                      <a:pt x="603" y="495"/>
                    </a:lnTo>
                    <a:lnTo>
                      <a:pt x="606" y="495"/>
                    </a:lnTo>
                    <a:lnTo>
                      <a:pt x="609" y="495"/>
                    </a:lnTo>
                    <a:lnTo>
                      <a:pt x="613" y="493"/>
                    </a:lnTo>
                    <a:lnTo>
                      <a:pt x="603" y="493"/>
                    </a:lnTo>
                    <a:lnTo>
                      <a:pt x="593" y="496"/>
                    </a:lnTo>
                    <a:lnTo>
                      <a:pt x="585" y="499"/>
                    </a:lnTo>
                    <a:lnTo>
                      <a:pt x="575" y="503"/>
                    </a:lnTo>
                    <a:lnTo>
                      <a:pt x="577" y="503"/>
                    </a:lnTo>
                    <a:lnTo>
                      <a:pt x="579" y="505"/>
                    </a:lnTo>
                    <a:lnTo>
                      <a:pt x="580" y="505"/>
                    </a:lnTo>
                    <a:lnTo>
                      <a:pt x="582" y="506"/>
                    </a:lnTo>
                    <a:lnTo>
                      <a:pt x="580" y="508"/>
                    </a:lnTo>
                    <a:lnTo>
                      <a:pt x="577" y="509"/>
                    </a:lnTo>
                    <a:lnTo>
                      <a:pt x="575" y="511"/>
                    </a:lnTo>
                    <a:lnTo>
                      <a:pt x="572" y="509"/>
                    </a:lnTo>
                    <a:lnTo>
                      <a:pt x="573" y="509"/>
                    </a:lnTo>
                    <a:lnTo>
                      <a:pt x="573" y="508"/>
                    </a:lnTo>
                    <a:lnTo>
                      <a:pt x="575" y="508"/>
                    </a:lnTo>
                    <a:lnTo>
                      <a:pt x="570" y="505"/>
                    </a:lnTo>
                    <a:lnTo>
                      <a:pt x="566" y="505"/>
                    </a:lnTo>
                    <a:lnTo>
                      <a:pt x="546" y="511"/>
                    </a:lnTo>
                    <a:lnTo>
                      <a:pt x="521" y="522"/>
                    </a:lnTo>
                    <a:lnTo>
                      <a:pt x="518" y="523"/>
                    </a:lnTo>
                    <a:lnTo>
                      <a:pt x="517" y="523"/>
                    </a:lnTo>
                    <a:lnTo>
                      <a:pt x="513" y="523"/>
                    </a:lnTo>
                    <a:lnTo>
                      <a:pt x="511" y="523"/>
                    </a:lnTo>
                    <a:lnTo>
                      <a:pt x="513" y="525"/>
                    </a:lnTo>
                    <a:lnTo>
                      <a:pt x="513" y="526"/>
                    </a:lnTo>
                    <a:lnTo>
                      <a:pt x="514" y="526"/>
                    </a:lnTo>
                    <a:lnTo>
                      <a:pt x="514" y="528"/>
                    </a:lnTo>
                    <a:lnTo>
                      <a:pt x="513" y="528"/>
                    </a:lnTo>
                    <a:lnTo>
                      <a:pt x="513" y="528"/>
                    </a:lnTo>
                    <a:lnTo>
                      <a:pt x="511" y="528"/>
                    </a:lnTo>
                    <a:lnTo>
                      <a:pt x="501" y="531"/>
                    </a:lnTo>
                    <a:lnTo>
                      <a:pt x="498" y="532"/>
                    </a:lnTo>
                    <a:lnTo>
                      <a:pt x="497" y="532"/>
                    </a:lnTo>
                    <a:lnTo>
                      <a:pt x="496" y="538"/>
                    </a:lnTo>
                    <a:lnTo>
                      <a:pt x="494" y="545"/>
                    </a:lnTo>
                    <a:lnTo>
                      <a:pt x="494" y="548"/>
                    </a:lnTo>
                    <a:lnTo>
                      <a:pt x="490" y="551"/>
                    </a:lnTo>
                    <a:lnTo>
                      <a:pt x="485" y="554"/>
                    </a:lnTo>
                    <a:lnTo>
                      <a:pt x="475" y="555"/>
                    </a:lnTo>
                    <a:lnTo>
                      <a:pt x="471" y="555"/>
                    </a:lnTo>
                    <a:lnTo>
                      <a:pt x="467" y="555"/>
                    </a:lnTo>
                    <a:lnTo>
                      <a:pt x="462" y="554"/>
                    </a:lnTo>
                    <a:lnTo>
                      <a:pt x="460" y="551"/>
                    </a:lnTo>
                    <a:lnTo>
                      <a:pt x="457" y="545"/>
                    </a:lnTo>
                    <a:lnTo>
                      <a:pt x="454" y="544"/>
                    </a:lnTo>
                    <a:lnTo>
                      <a:pt x="452" y="542"/>
                    </a:lnTo>
                    <a:lnTo>
                      <a:pt x="450" y="541"/>
                    </a:lnTo>
                    <a:lnTo>
                      <a:pt x="447" y="539"/>
                    </a:lnTo>
                    <a:lnTo>
                      <a:pt x="445" y="538"/>
                    </a:lnTo>
                    <a:lnTo>
                      <a:pt x="445" y="534"/>
                    </a:lnTo>
                    <a:lnTo>
                      <a:pt x="450" y="531"/>
                    </a:lnTo>
                    <a:lnTo>
                      <a:pt x="454" y="528"/>
                    </a:lnTo>
                    <a:lnTo>
                      <a:pt x="458" y="526"/>
                    </a:lnTo>
                    <a:lnTo>
                      <a:pt x="470" y="525"/>
                    </a:lnTo>
                    <a:lnTo>
                      <a:pt x="473" y="525"/>
                    </a:lnTo>
                    <a:lnTo>
                      <a:pt x="474" y="523"/>
                    </a:lnTo>
                    <a:lnTo>
                      <a:pt x="475" y="523"/>
                    </a:lnTo>
                    <a:lnTo>
                      <a:pt x="475" y="521"/>
                    </a:lnTo>
                    <a:lnTo>
                      <a:pt x="474" y="519"/>
                    </a:lnTo>
                    <a:lnTo>
                      <a:pt x="468" y="513"/>
                    </a:lnTo>
                    <a:lnTo>
                      <a:pt x="464" y="508"/>
                    </a:lnTo>
                    <a:lnTo>
                      <a:pt x="461" y="506"/>
                    </a:lnTo>
                    <a:lnTo>
                      <a:pt x="457" y="505"/>
                    </a:lnTo>
                    <a:lnTo>
                      <a:pt x="450" y="503"/>
                    </a:lnTo>
                    <a:lnTo>
                      <a:pt x="431" y="505"/>
                    </a:lnTo>
                    <a:lnTo>
                      <a:pt x="428" y="505"/>
                    </a:lnTo>
                    <a:lnTo>
                      <a:pt x="422" y="502"/>
                    </a:lnTo>
                    <a:lnTo>
                      <a:pt x="419" y="502"/>
                    </a:lnTo>
                    <a:lnTo>
                      <a:pt x="417" y="502"/>
                    </a:lnTo>
                    <a:lnTo>
                      <a:pt x="421" y="506"/>
                    </a:lnTo>
                    <a:lnTo>
                      <a:pt x="425" y="508"/>
                    </a:lnTo>
                    <a:lnTo>
                      <a:pt x="431" y="511"/>
                    </a:lnTo>
                    <a:lnTo>
                      <a:pt x="432" y="516"/>
                    </a:lnTo>
                    <a:lnTo>
                      <a:pt x="432" y="521"/>
                    </a:lnTo>
                    <a:lnTo>
                      <a:pt x="431" y="523"/>
                    </a:lnTo>
                    <a:lnTo>
                      <a:pt x="428" y="529"/>
                    </a:lnTo>
                    <a:lnTo>
                      <a:pt x="425" y="535"/>
                    </a:lnTo>
                    <a:lnTo>
                      <a:pt x="424" y="539"/>
                    </a:lnTo>
                    <a:lnTo>
                      <a:pt x="424" y="542"/>
                    </a:lnTo>
                    <a:lnTo>
                      <a:pt x="427" y="544"/>
                    </a:lnTo>
                    <a:lnTo>
                      <a:pt x="432" y="546"/>
                    </a:lnTo>
                    <a:lnTo>
                      <a:pt x="434" y="548"/>
                    </a:lnTo>
                    <a:lnTo>
                      <a:pt x="435" y="551"/>
                    </a:lnTo>
                    <a:lnTo>
                      <a:pt x="437" y="554"/>
                    </a:lnTo>
                    <a:lnTo>
                      <a:pt x="437" y="558"/>
                    </a:lnTo>
                    <a:lnTo>
                      <a:pt x="437" y="561"/>
                    </a:lnTo>
                    <a:lnTo>
                      <a:pt x="435" y="564"/>
                    </a:lnTo>
                    <a:lnTo>
                      <a:pt x="432" y="569"/>
                    </a:lnTo>
                    <a:lnTo>
                      <a:pt x="431" y="572"/>
                    </a:lnTo>
                    <a:lnTo>
                      <a:pt x="431" y="575"/>
                    </a:lnTo>
                    <a:lnTo>
                      <a:pt x="431" y="581"/>
                    </a:lnTo>
                    <a:lnTo>
                      <a:pt x="429" y="584"/>
                    </a:lnTo>
                    <a:lnTo>
                      <a:pt x="425" y="580"/>
                    </a:lnTo>
                    <a:lnTo>
                      <a:pt x="424" y="578"/>
                    </a:lnTo>
                    <a:lnTo>
                      <a:pt x="421" y="580"/>
                    </a:lnTo>
                    <a:lnTo>
                      <a:pt x="421" y="578"/>
                    </a:lnTo>
                    <a:lnTo>
                      <a:pt x="421" y="577"/>
                    </a:lnTo>
                    <a:lnTo>
                      <a:pt x="421" y="575"/>
                    </a:lnTo>
                    <a:lnTo>
                      <a:pt x="421" y="572"/>
                    </a:lnTo>
                    <a:lnTo>
                      <a:pt x="418" y="571"/>
                    </a:lnTo>
                    <a:lnTo>
                      <a:pt x="415" y="569"/>
                    </a:lnTo>
                    <a:lnTo>
                      <a:pt x="412" y="569"/>
                    </a:lnTo>
                    <a:lnTo>
                      <a:pt x="408" y="569"/>
                    </a:lnTo>
                    <a:lnTo>
                      <a:pt x="405" y="568"/>
                    </a:lnTo>
                    <a:lnTo>
                      <a:pt x="404" y="568"/>
                    </a:lnTo>
                    <a:lnTo>
                      <a:pt x="399" y="567"/>
                    </a:lnTo>
                    <a:lnTo>
                      <a:pt x="398" y="567"/>
                    </a:lnTo>
                    <a:lnTo>
                      <a:pt x="395" y="567"/>
                    </a:lnTo>
                    <a:lnTo>
                      <a:pt x="394" y="568"/>
                    </a:lnTo>
                    <a:lnTo>
                      <a:pt x="386" y="577"/>
                    </a:lnTo>
                    <a:lnTo>
                      <a:pt x="382" y="581"/>
                    </a:lnTo>
                    <a:lnTo>
                      <a:pt x="378" y="584"/>
                    </a:lnTo>
                    <a:lnTo>
                      <a:pt x="373" y="585"/>
                    </a:lnTo>
                    <a:lnTo>
                      <a:pt x="371" y="585"/>
                    </a:lnTo>
                    <a:lnTo>
                      <a:pt x="369" y="587"/>
                    </a:lnTo>
                    <a:lnTo>
                      <a:pt x="365" y="594"/>
                    </a:lnTo>
                    <a:lnTo>
                      <a:pt x="363" y="595"/>
                    </a:lnTo>
                    <a:lnTo>
                      <a:pt x="358" y="598"/>
                    </a:lnTo>
                    <a:lnTo>
                      <a:pt x="356" y="600"/>
                    </a:lnTo>
                    <a:lnTo>
                      <a:pt x="355" y="603"/>
                    </a:lnTo>
                    <a:lnTo>
                      <a:pt x="353" y="604"/>
                    </a:lnTo>
                    <a:lnTo>
                      <a:pt x="353" y="607"/>
                    </a:lnTo>
                    <a:lnTo>
                      <a:pt x="355" y="610"/>
                    </a:lnTo>
                    <a:lnTo>
                      <a:pt x="356" y="613"/>
                    </a:lnTo>
                    <a:lnTo>
                      <a:pt x="362" y="621"/>
                    </a:lnTo>
                    <a:lnTo>
                      <a:pt x="365" y="626"/>
                    </a:lnTo>
                    <a:lnTo>
                      <a:pt x="366" y="630"/>
                    </a:lnTo>
                    <a:lnTo>
                      <a:pt x="365" y="630"/>
                    </a:lnTo>
                    <a:lnTo>
                      <a:pt x="361" y="630"/>
                    </a:lnTo>
                    <a:lnTo>
                      <a:pt x="359" y="630"/>
                    </a:lnTo>
                    <a:lnTo>
                      <a:pt x="356" y="631"/>
                    </a:lnTo>
                    <a:lnTo>
                      <a:pt x="353" y="636"/>
                    </a:lnTo>
                    <a:lnTo>
                      <a:pt x="352" y="637"/>
                    </a:lnTo>
                    <a:lnTo>
                      <a:pt x="349" y="636"/>
                    </a:lnTo>
                    <a:lnTo>
                      <a:pt x="348" y="636"/>
                    </a:lnTo>
                    <a:lnTo>
                      <a:pt x="342" y="633"/>
                    </a:lnTo>
                    <a:lnTo>
                      <a:pt x="340" y="631"/>
                    </a:lnTo>
                    <a:lnTo>
                      <a:pt x="335" y="630"/>
                    </a:lnTo>
                    <a:lnTo>
                      <a:pt x="333" y="628"/>
                    </a:lnTo>
                    <a:lnTo>
                      <a:pt x="332" y="628"/>
                    </a:lnTo>
                    <a:lnTo>
                      <a:pt x="330" y="627"/>
                    </a:lnTo>
                    <a:lnTo>
                      <a:pt x="329" y="627"/>
                    </a:lnTo>
                    <a:lnTo>
                      <a:pt x="327" y="627"/>
                    </a:lnTo>
                    <a:lnTo>
                      <a:pt x="325" y="627"/>
                    </a:lnTo>
                    <a:lnTo>
                      <a:pt x="323" y="627"/>
                    </a:lnTo>
                    <a:lnTo>
                      <a:pt x="322" y="624"/>
                    </a:lnTo>
                    <a:lnTo>
                      <a:pt x="317" y="620"/>
                    </a:lnTo>
                    <a:lnTo>
                      <a:pt x="315" y="618"/>
                    </a:lnTo>
                    <a:lnTo>
                      <a:pt x="312" y="617"/>
                    </a:lnTo>
                    <a:lnTo>
                      <a:pt x="309" y="615"/>
                    </a:lnTo>
                    <a:lnTo>
                      <a:pt x="306" y="615"/>
                    </a:lnTo>
                    <a:lnTo>
                      <a:pt x="303" y="615"/>
                    </a:lnTo>
                    <a:lnTo>
                      <a:pt x="302" y="618"/>
                    </a:lnTo>
                    <a:lnTo>
                      <a:pt x="302" y="621"/>
                    </a:lnTo>
                    <a:lnTo>
                      <a:pt x="300" y="624"/>
                    </a:lnTo>
                    <a:lnTo>
                      <a:pt x="297" y="624"/>
                    </a:lnTo>
                    <a:lnTo>
                      <a:pt x="297" y="628"/>
                    </a:lnTo>
                    <a:lnTo>
                      <a:pt x="299" y="631"/>
                    </a:lnTo>
                    <a:lnTo>
                      <a:pt x="307" y="640"/>
                    </a:lnTo>
                    <a:lnTo>
                      <a:pt x="309" y="641"/>
                    </a:lnTo>
                    <a:lnTo>
                      <a:pt x="312" y="643"/>
                    </a:lnTo>
                    <a:lnTo>
                      <a:pt x="316" y="643"/>
                    </a:lnTo>
                    <a:lnTo>
                      <a:pt x="319" y="643"/>
                    </a:lnTo>
                    <a:lnTo>
                      <a:pt x="322" y="646"/>
                    </a:lnTo>
                    <a:lnTo>
                      <a:pt x="323" y="649"/>
                    </a:lnTo>
                    <a:lnTo>
                      <a:pt x="323" y="653"/>
                    </a:lnTo>
                    <a:lnTo>
                      <a:pt x="323" y="656"/>
                    </a:lnTo>
                    <a:lnTo>
                      <a:pt x="322" y="656"/>
                    </a:lnTo>
                    <a:lnTo>
                      <a:pt x="317" y="657"/>
                    </a:lnTo>
                    <a:lnTo>
                      <a:pt x="313" y="660"/>
                    </a:lnTo>
                    <a:lnTo>
                      <a:pt x="312" y="660"/>
                    </a:lnTo>
                    <a:lnTo>
                      <a:pt x="310" y="660"/>
                    </a:lnTo>
                    <a:lnTo>
                      <a:pt x="305" y="657"/>
                    </a:lnTo>
                    <a:lnTo>
                      <a:pt x="297" y="656"/>
                    </a:lnTo>
                    <a:lnTo>
                      <a:pt x="293" y="654"/>
                    </a:lnTo>
                    <a:lnTo>
                      <a:pt x="292" y="651"/>
                    </a:lnTo>
                    <a:lnTo>
                      <a:pt x="289" y="649"/>
                    </a:lnTo>
                    <a:lnTo>
                      <a:pt x="286" y="646"/>
                    </a:lnTo>
                    <a:lnTo>
                      <a:pt x="284" y="644"/>
                    </a:lnTo>
                    <a:lnTo>
                      <a:pt x="283" y="644"/>
                    </a:lnTo>
                    <a:lnTo>
                      <a:pt x="282" y="643"/>
                    </a:lnTo>
                    <a:lnTo>
                      <a:pt x="276" y="643"/>
                    </a:lnTo>
                    <a:lnTo>
                      <a:pt x="274" y="643"/>
                    </a:lnTo>
                    <a:lnTo>
                      <a:pt x="271" y="641"/>
                    </a:lnTo>
                    <a:lnTo>
                      <a:pt x="270" y="640"/>
                    </a:lnTo>
                    <a:lnTo>
                      <a:pt x="267" y="636"/>
                    </a:lnTo>
                    <a:lnTo>
                      <a:pt x="267" y="633"/>
                    </a:lnTo>
                    <a:lnTo>
                      <a:pt x="269" y="630"/>
                    </a:lnTo>
                    <a:lnTo>
                      <a:pt x="267" y="628"/>
                    </a:lnTo>
                    <a:lnTo>
                      <a:pt x="267" y="627"/>
                    </a:lnTo>
                    <a:lnTo>
                      <a:pt x="267" y="623"/>
                    </a:lnTo>
                    <a:lnTo>
                      <a:pt x="266" y="620"/>
                    </a:lnTo>
                    <a:lnTo>
                      <a:pt x="264" y="615"/>
                    </a:lnTo>
                    <a:lnTo>
                      <a:pt x="260" y="610"/>
                    </a:lnTo>
                    <a:lnTo>
                      <a:pt x="260" y="610"/>
                    </a:lnTo>
                    <a:lnTo>
                      <a:pt x="260" y="608"/>
                    </a:lnTo>
                    <a:lnTo>
                      <a:pt x="260" y="607"/>
                    </a:lnTo>
                    <a:lnTo>
                      <a:pt x="261" y="607"/>
                    </a:lnTo>
                    <a:lnTo>
                      <a:pt x="261" y="605"/>
                    </a:lnTo>
                    <a:lnTo>
                      <a:pt x="263" y="604"/>
                    </a:lnTo>
                    <a:lnTo>
                      <a:pt x="266" y="597"/>
                    </a:lnTo>
                    <a:lnTo>
                      <a:pt x="266" y="592"/>
                    </a:lnTo>
                    <a:lnTo>
                      <a:pt x="264" y="587"/>
                    </a:lnTo>
                    <a:lnTo>
                      <a:pt x="263" y="584"/>
                    </a:lnTo>
                    <a:lnTo>
                      <a:pt x="259" y="580"/>
                    </a:lnTo>
                    <a:lnTo>
                      <a:pt x="256" y="577"/>
                    </a:lnTo>
                    <a:lnTo>
                      <a:pt x="250" y="575"/>
                    </a:lnTo>
                    <a:lnTo>
                      <a:pt x="241" y="572"/>
                    </a:lnTo>
                    <a:lnTo>
                      <a:pt x="243" y="572"/>
                    </a:lnTo>
                    <a:lnTo>
                      <a:pt x="244" y="571"/>
                    </a:lnTo>
                    <a:lnTo>
                      <a:pt x="246" y="569"/>
                    </a:lnTo>
                    <a:lnTo>
                      <a:pt x="246" y="568"/>
                    </a:lnTo>
                    <a:lnTo>
                      <a:pt x="246" y="568"/>
                    </a:lnTo>
                    <a:lnTo>
                      <a:pt x="243" y="567"/>
                    </a:lnTo>
                    <a:lnTo>
                      <a:pt x="241" y="567"/>
                    </a:lnTo>
                    <a:lnTo>
                      <a:pt x="240" y="565"/>
                    </a:lnTo>
                    <a:lnTo>
                      <a:pt x="238" y="565"/>
                    </a:lnTo>
                    <a:lnTo>
                      <a:pt x="238" y="564"/>
                    </a:lnTo>
                    <a:lnTo>
                      <a:pt x="238" y="562"/>
                    </a:lnTo>
                    <a:lnTo>
                      <a:pt x="238" y="562"/>
                    </a:lnTo>
                    <a:lnTo>
                      <a:pt x="238" y="562"/>
                    </a:lnTo>
                    <a:lnTo>
                      <a:pt x="238" y="561"/>
                    </a:lnTo>
                    <a:lnTo>
                      <a:pt x="238" y="559"/>
                    </a:lnTo>
                    <a:lnTo>
                      <a:pt x="237" y="559"/>
                    </a:lnTo>
                    <a:lnTo>
                      <a:pt x="236" y="559"/>
                    </a:lnTo>
                    <a:lnTo>
                      <a:pt x="236" y="559"/>
                    </a:lnTo>
                    <a:lnTo>
                      <a:pt x="233" y="558"/>
                    </a:lnTo>
                    <a:lnTo>
                      <a:pt x="228" y="555"/>
                    </a:lnTo>
                    <a:lnTo>
                      <a:pt x="228" y="554"/>
                    </a:lnTo>
                    <a:lnTo>
                      <a:pt x="227" y="554"/>
                    </a:lnTo>
                    <a:lnTo>
                      <a:pt x="226" y="552"/>
                    </a:lnTo>
                    <a:lnTo>
                      <a:pt x="226" y="552"/>
                    </a:lnTo>
                    <a:lnTo>
                      <a:pt x="226" y="552"/>
                    </a:lnTo>
                    <a:lnTo>
                      <a:pt x="226" y="551"/>
                    </a:lnTo>
                    <a:lnTo>
                      <a:pt x="226" y="549"/>
                    </a:lnTo>
                    <a:lnTo>
                      <a:pt x="224" y="548"/>
                    </a:lnTo>
                    <a:lnTo>
                      <a:pt x="221" y="546"/>
                    </a:lnTo>
                    <a:lnTo>
                      <a:pt x="218" y="545"/>
                    </a:lnTo>
                    <a:lnTo>
                      <a:pt x="215" y="545"/>
                    </a:lnTo>
                    <a:lnTo>
                      <a:pt x="224" y="545"/>
                    </a:lnTo>
                    <a:lnTo>
                      <a:pt x="234" y="546"/>
                    </a:lnTo>
                    <a:lnTo>
                      <a:pt x="233" y="549"/>
                    </a:lnTo>
                    <a:lnTo>
                      <a:pt x="236" y="554"/>
                    </a:lnTo>
                    <a:lnTo>
                      <a:pt x="240" y="557"/>
                    </a:lnTo>
                    <a:lnTo>
                      <a:pt x="243" y="558"/>
                    </a:lnTo>
                    <a:lnTo>
                      <a:pt x="244" y="558"/>
                    </a:lnTo>
                    <a:lnTo>
                      <a:pt x="246" y="557"/>
                    </a:lnTo>
                    <a:lnTo>
                      <a:pt x="246" y="557"/>
                    </a:lnTo>
                    <a:lnTo>
                      <a:pt x="247" y="558"/>
                    </a:lnTo>
                    <a:lnTo>
                      <a:pt x="250" y="559"/>
                    </a:lnTo>
                    <a:lnTo>
                      <a:pt x="250" y="559"/>
                    </a:lnTo>
                    <a:lnTo>
                      <a:pt x="257" y="561"/>
                    </a:lnTo>
                    <a:lnTo>
                      <a:pt x="260" y="561"/>
                    </a:lnTo>
                    <a:lnTo>
                      <a:pt x="260" y="562"/>
                    </a:lnTo>
                    <a:lnTo>
                      <a:pt x="260" y="564"/>
                    </a:lnTo>
                    <a:lnTo>
                      <a:pt x="261" y="564"/>
                    </a:lnTo>
                    <a:lnTo>
                      <a:pt x="263" y="564"/>
                    </a:lnTo>
                    <a:lnTo>
                      <a:pt x="266" y="564"/>
                    </a:lnTo>
                    <a:lnTo>
                      <a:pt x="267" y="564"/>
                    </a:lnTo>
                    <a:lnTo>
                      <a:pt x="269" y="564"/>
                    </a:lnTo>
                    <a:lnTo>
                      <a:pt x="276" y="568"/>
                    </a:lnTo>
                    <a:lnTo>
                      <a:pt x="280" y="569"/>
                    </a:lnTo>
                    <a:lnTo>
                      <a:pt x="286" y="571"/>
                    </a:lnTo>
                    <a:lnTo>
                      <a:pt x="292" y="572"/>
                    </a:lnTo>
                    <a:lnTo>
                      <a:pt x="305" y="574"/>
                    </a:lnTo>
                    <a:lnTo>
                      <a:pt x="309" y="575"/>
                    </a:lnTo>
                    <a:lnTo>
                      <a:pt x="317" y="580"/>
                    </a:lnTo>
                    <a:lnTo>
                      <a:pt x="322" y="581"/>
                    </a:lnTo>
                    <a:lnTo>
                      <a:pt x="327" y="582"/>
                    </a:lnTo>
                    <a:lnTo>
                      <a:pt x="336" y="581"/>
                    </a:lnTo>
                    <a:lnTo>
                      <a:pt x="346" y="580"/>
                    </a:lnTo>
                    <a:lnTo>
                      <a:pt x="355" y="575"/>
                    </a:lnTo>
                    <a:lnTo>
                      <a:pt x="363" y="571"/>
                    </a:lnTo>
                    <a:lnTo>
                      <a:pt x="368" y="568"/>
                    </a:lnTo>
                    <a:lnTo>
                      <a:pt x="371" y="564"/>
                    </a:lnTo>
                    <a:lnTo>
                      <a:pt x="375" y="559"/>
                    </a:lnTo>
                    <a:lnTo>
                      <a:pt x="378" y="555"/>
                    </a:lnTo>
                    <a:lnTo>
                      <a:pt x="379" y="554"/>
                    </a:lnTo>
                    <a:lnTo>
                      <a:pt x="381" y="552"/>
                    </a:lnTo>
                    <a:lnTo>
                      <a:pt x="381" y="551"/>
                    </a:lnTo>
                    <a:lnTo>
                      <a:pt x="382" y="546"/>
                    </a:lnTo>
                    <a:lnTo>
                      <a:pt x="382" y="545"/>
                    </a:lnTo>
                    <a:lnTo>
                      <a:pt x="382" y="544"/>
                    </a:lnTo>
                    <a:lnTo>
                      <a:pt x="381" y="544"/>
                    </a:lnTo>
                    <a:lnTo>
                      <a:pt x="379" y="542"/>
                    </a:lnTo>
                    <a:lnTo>
                      <a:pt x="378" y="542"/>
                    </a:lnTo>
                    <a:lnTo>
                      <a:pt x="378" y="539"/>
                    </a:lnTo>
                    <a:lnTo>
                      <a:pt x="375" y="529"/>
                    </a:lnTo>
                    <a:lnTo>
                      <a:pt x="373" y="528"/>
                    </a:lnTo>
                    <a:lnTo>
                      <a:pt x="372" y="526"/>
                    </a:lnTo>
                    <a:lnTo>
                      <a:pt x="366" y="525"/>
                    </a:lnTo>
                    <a:lnTo>
                      <a:pt x="365" y="523"/>
                    </a:lnTo>
                    <a:lnTo>
                      <a:pt x="363" y="522"/>
                    </a:lnTo>
                    <a:lnTo>
                      <a:pt x="358" y="518"/>
                    </a:lnTo>
                    <a:lnTo>
                      <a:pt x="355" y="516"/>
                    </a:lnTo>
                    <a:lnTo>
                      <a:pt x="353" y="515"/>
                    </a:lnTo>
                    <a:lnTo>
                      <a:pt x="353" y="516"/>
                    </a:lnTo>
                    <a:lnTo>
                      <a:pt x="355" y="518"/>
                    </a:lnTo>
                    <a:lnTo>
                      <a:pt x="355" y="518"/>
                    </a:lnTo>
                    <a:lnTo>
                      <a:pt x="350" y="518"/>
                    </a:lnTo>
                    <a:lnTo>
                      <a:pt x="346" y="515"/>
                    </a:lnTo>
                    <a:lnTo>
                      <a:pt x="339" y="512"/>
                    </a:lnTo>
                    <a:lnTo>
                      <a:pt x="338" y="511"/>
                    </a:lnTo>
                    <a:lnTo>
                      <a:pt x="336" y="511"/>
                    </a:lnTo>
                    <a:lnTo>
                      <a:pt x="335" y="511"/>
                    </a:lnTo>
                    <a:lnTo>
                      <a:pt x="332" y="511"/>
                    </a:lnTo>
                    <a:lnTo>
                      <a:pt x="330" y="509"/>
                    </a:lnTo>
                    <a:lnTo>
                      <a:pt x="327" y="508"/>
                    </a:lnTo>
                    <a:lnTo>
                      <a:pt x="313" y="499"/>
                    </a:lnTo>
                    <a:lnTo>
                      <a:pt x="289" y="490"/>
                    </a:lnTo>
                    <a:lnTo>
                      <a:pt x="280" y="488"/>
                    </a:lnTo>
                    <a:lnTo>
                      <a:pt x="277" y="488"/>
                    </a:lnTo>
                    <a:lnTo>
                      <a:pt x="270" y="488"/>
                    </a:lnTo>
                    <a:lnTo>
                      <a:pt x="267" y="488"/>
                    </a:lnTo>
                    <a:lnTo>
                      <a:pt x="254" y="486"/>
                    </a:lnTo>
                    <a:lnTo>
                      <a:pt x="250" y="486"/>
                    </a:lnTo>
                    <a:lnTo>
                      <a:pt x="246" y="488"/>
                    </a:lnTo>
                    <a:lnTo>
                      <a:pt x="241" y="490"/>
                    </a:lnTo>
                    <a:lnTo>
                      <a:pt x="237" y="492"/>
                    </a:lnTo>
                    <a:lnTo>
                      <a:pt x="241" y="489"/>
                    </a:lnTo>
                    <a:lnTo>
                      <a:pt x="243" y="486"/>
                    </a:lnTo>
                    <a:lnTo>
                      <a:pt x="243" y="483"/>
                    </a:lnTo>
                    <a:lnTo>
                      <a:pt x="241" y="483"/>
                    </a:lnTo>
                    <a:lnTo>
                      <a:pt x="238" y="483"/>
                    </a:lnTo>
                    <a:lnTo>
                      <a:pt x="236" y="485"/>
                    </a:lnTo>
                    <a:lnTo>
                      <a:pt x="234" y="485"/>
                    </a:lnTo>
                    <a:lnTo>
                      <a:pt x="236" y="483"/>
                    </a:lnTo>
                    <a:lnTo>
                      <a:pt x="233" y="482"/>
                    </a:lnTo>
                    <a:lnTo>
                      <a:pt x="227" y="482"/>
                    </a:lnTo>
                    <a:lnTo>
                      <a:pt x="224" y="482"/>
                    </a:lnTo>
                    <a:lnTo>
                      <a:pt x="223" y="480"/>
                    </a:lnTo>
                    <a:lnTo>
                      <a:pt x="221" y="480"/>
                    </a:lnTo>
                    <a:lnTo>
                      <a:pt x="218" y="479"/>
                    </a:lnTo>
                    <a:lnTo>
                      <a:pt x="223" y="479"/>
                    </a:lnTo>
                    <a:lnTo>
                      <a:pt x="228" y="479"/>
                    </a:lnTo>
                    <a:lnTo>
                      <a:pt x="233" y="479"/>
                    </a:lnTo>
                    <a:lnTo>
                      <a:pt x="236" y="477"/>
                    </a:lnTo>
                    <a:lnTo>
                      <a:pt x="234" y="476"/>
                    </a:lnTo>
                    <a:lnTo>
                      <a:pt x="231" y="475"/>
                    </a:lnTo>
                    <a:lnTo>
                      <a:pt x="228" y="475"/>
                    </a:lnTo>
                    <a:lnTo>
                      <a:pt x="227" y="475"/>
                    </a:lnTo>
                    <a:lnTo>
                      <a:pt x="217" y="469"/>
                    </a:lnTo>
                    <a:lnTo>
                      <a:pt x="217" y="470"/>
                    </a:lnTo>
                    <a:lnTo>
                      <a:pt x="217" y="472"/>
                    </a:lnTo>
                    <a:lnTo>
                      <a:pt x="217" y="473"/>
                    </a:lnTo>
                    <a:lnTo>
                      <a:pt x="217" y="475"/>
                    </a:lnTo>
                    <a:lnTo>
                      <a:pt x="217" y="475"/>
                    </a:lnTo>
                    <a:lnTo>
                      <a:pt x="214" y="475"/>
                    </a:lnTo>
                    <a:lnTo>
                      <a:pt x="211" y="476"/>
                    </a:lnTo>
                    <a:lnTo>
                      <a:pt x="208" y="477"/>
                    </a:lnTo>
                    <a:lnTo>
                      <a:pt x="204" y="476"/>
                    </a:lnTo>
                    <a:lnTo>
                      <a:pt x="201" y="476"/>
                    </a:lnTo>
                    <a:lnTo>
                      <a:pt x="197" y="475"/>
                    </a:lnTo>
                    <a:lnTo>
                      <a:pt x="198" y="476"/>
                    </a:lnTo>
                    <a:lnTo>
                      <a:pt x="198" y="477"/>
                    </a:lnTo>
                    <a:lnTo>
                      <a:pt x="198" y="477"/>
                    </a:lnTo>
                    <a:lnTo>
                      <a:pt x="198" y="479"/>
                    </a:lnTo>
                    <a:lnTo>
                      <a:pt x="198" y="479"/>
                    </a:lnTo>
                    <a:lnTo>
                      <a:pt x="198" y="479"/>
                    </a:lnTo>
                    <a:lnTo>
                      <a:pt x="198" y="480"/>
                    </a:lnTo>
                    <a:lnTo>
                      <a:pt x="198" y="480"/>
                    </a:lnTo>
                    <a:lnTo>
                      <a:pt x="197" y="480"/>
                    </a:lnTo>
                    <a:lnTo>
                      <a:pt x="197" y="480"/>
                    </a:lnTo>
                    <a:lnTo>
                      <a:pt x="197" y="480"/>
                    </a:lnTo>
                    <a:lnTo>
                      <a:pt x="197" y="480"/>
                    </a:lnTo>
                    <a:lnTo>
                      <a:pt x="195" y="480"/>
                    </a:lnTo>
                    <a:lnTo>
                      <a:pt x="194" y="480"/>
                    </a:lnTo>
                    <a:lnTo>
                      <a:pt x="194" y="480"/>
                    </a:lnTo>
                    <a:lnTo>
                      <a:pt x="192" y="480"/>
                    </a:lnTo>
                    <a:lnTo>
                      <a:pt x="191" y="480"/>
                    </a:lnTo>
                    <a:lnTo>
                      <a:pt x="188" y="480"/>
                    </a:lnTo>
                    <a:lnTo>
                      <a:pt x="188" y="479"/>
                    </a:lnTo>
                    <a:lnTo>
                      <a:pt x="187" y="479"/>
                    </a:lnTo>
                    <a:lnTo>
                      <a:pt x="187" y="479"/>
                    </a:lnTo>
                    <a:lnTo>
                      <a:pt x="185" y="479"/>
                    </a:lnTo>
                    <a:lnTo>
                      <a:pt x="185" y="479"/>
                    </a:lnTo>
                    <a:lnTo>
                      <a:pt x="185" y="479"/>
                    </a:lnTo>
                    <a:lnTo>
                      <a:pt x="185" y="479"/>
                    </a:lnTo>
                    <a:lnTo>
                      <a:pt x="185" y="480"/>
                    </a:lnTo>
                    <a:lnTo>
                      <a:pt x="185" y="480"/>
                    </a:lnTo>
                    <a:lnTo>
                      <a:pt x="185" y="480"/>
                    </a:lnTo>
                    <a:lnTo>
                      <a:pt x="185" y="482"/>
                    </a:lnTo>
                    <a:lnTo>
                      <a:pt x="185" y="482"/>
                    </a:lnTo>
                    <a:lnTo>
                      <a:pt x="185" y="482"/>
                    </a:lnTo>
                    <a:lnTo>
                      <a:pt x="184" y="482"/>
                    </a:lnTo>
                    <a:lnTo>
                      <a:pt x="184" y="482"/>
                    </a:lnTo>
                    <a:lnTo>
                      <a:pt x="184" y="483"/>
                    </a:lnTo>
                    <a:lnTo>
                      <a:pt x="184" y="483"/>
                    </a:lnTo>
                    <a:lnTo>
                      <a:pt x="184" y="483"/>
                    </a:lnTo>
                    <a:lnTo>
                      <a:pt x="182" y="483"/>
                    </a:lnTo>
                    <a:lnTo>
                      <a:pt x="182" y="483"/>
                    </a:lnTo>
                    <a:lnTo>
                      <a:pt x="182" y="485"/>
                    </a:lnTo>
                    <a:lnTo>
                      <a:pt x="180" y="485"/>
                    </a:lnTo>
                    <a:lnTo>
                      <a:pt x="174" y="486"/>
                    </a:lnTo>
                    <a:lnTo>
                      <a:pt x="171" y="486"/>
                    </a:lnTo>
                    <a:lnTo>
                      <a:pt x="171" y="488"/>
                    </a:lnTo>
                    <a:lnTo>
                      <a:pt x="168" y="490"/>
                    </a:lnTo>
                    <a:lnTo>
                      <a:pt x="168" y="492"/>
                    </a:lnTo>
                    <a:lnTo>
                      <a:pt x="167" y="492"/>
                    </a:lnTo>
                    <a:lnTo>
                      <a:pt x="165" y="492"/>
                    </a:lnTo>
                    <a:lnTo>
                      <a:pt x="165" y="493"/>
                    </a:lnTo>
                    <a:lnTo>
                      <a:pt x="164" y="493"/>
                    </a:lnTo>
                    <a:lnTo>
                      <a:pt x="162" y="493"/>
                    </a:lnTo>
                    <a:lnTo>
                      <a:pt x="161" y="493"/>
                    </a:lnTo>
                    <a:lnTo>
                      <a:pt x="158" y="495"/>
                    </a:lnTo>
                    <a:lnTo>
                      <a:pt x="157" y="495"/>
                    </a:lnTo>
                    <a:lnTo>
                      <a:pt x="154" y="496"/>
                    </a:lnTo>
                    <a:lnTo>
                      <a:pt x="155" y="496"/>
                    </a:lnTo>
                    <a:lnTo>
                      <a:pt x="157" y="496"/>
                    </a:lnTo>
                    <a:lnTo>
                      <a:pt x="158" y="496"/>
                    </a:lnTo>
                    <a:lnTo>
                      <a:pt x="159" y="498"/>
                    </a:lnTo>
                    <a:lnTo>
                      <a:pt x="161" y="498"/>
                    </a:lnTo>
                    <a:lnTo>
                      <a:pt x="161" y="498"/>
                    </a:lnTo>
                    <a:lnTo>
                      <a:pt x="161" y="498"/>
                    </a:lnTo>
                    <a:lnTo>
                      <a:pt x="161" y="498"/>
                    </a:lnTo>
                    <a:lnTo>
                      <a:pt x="159" y="499"/>
                    </a:lnTo>
                    <a:lnTo>
                      <a:pt x="155" y="505"/>
                    </a:lnTo>
                    <a:lnTo>
                      <a:pt x="155" y="508"/>
                    </a:lnTo>
                    <a:lnTo>
                      <a:pt x="157" y="512"/>
                    </a:lnTo>
                    <a:lnTo>
                      <a:pt x="159" y="515"/>
                    </a:lnTo>
                    <a:lnTo>
                      <a:pt x="162" y="515"/>
                    </a:lnTo>
                    <a:lnTo>
                      <a:pt x="164" y="516"/>
                    </a:lnTo>
                    <a:lnTo>
                      <a:pt x="168" y="516"/>
                    </a:lnTo>
                    <a:lnTo>
                      <a:pt x="171" y="518"/>
                    </a:lnTo>
                    <a:lnTo>
                      <a:pt x="172" y="519"/>
                    </a:lnTo>
                    <a:lnTo>
                      <a:pt x="174" y="522"/>
                    </a:lnTo>
                    <a:lnTo>
                      <a:pt x="177" y="523"/>
                    </a:lnTo>
                    <a:lnTo>
                      <a:pt x="178" y="526"/>
                    </a:lnTo>
                    <a:lnTo>
                      <a:pt x="180" y="528"/>
                    </a:lnTo>
                    <a:lnTo>
                      <a:pt x="181" y="528"/>
                    </a:lnTo>
                    <a:lnTo>
                      <a:pt x="182" y="529"/>
                    </a:lnTo>
                    <a:lnTo>
                      <a:pt x="181" y="529"/>
                    </a:lnTo>
                    <a:lnTo>
                      <a:pt x="181" y="531"/>
                    </a:lnTo>
                    <a:lnTo>
                      <a:pt x="181" y="531"/>
                    </a:lnTo>
                    <a:lnTo>
                      <a:pt x="181" y="532"/>
                    </a:lnTo>
                    <a:lnTo>
                      <a:pt x="181" y="534"/>
                    </a:lnTo>
                    <a:lnTo>
                      <a:pt x="180" y="534"/>
                    </a:lnTo>
                    <a:lnTo>
                      <a:pt x="180" y="535"/>
                    </a:lnTo>
                    <a:lnTo>
                      <a:pt x="174" y="539"/>
                    </a:lnTo>
                    <a:lnTo>
                      <a:pt x="172" y="541"/>
                    </a:lnTo>
                    <a:lnTo>
                      <a:pt x="170" y="545"/>
                    </a:lnTo>
                    <a:lnTo>
                      <a:pt x="168" y="548"/>
                    </a:lnTo>
                    <a:lnTo>
                      <a:pt x="167" y="549"/>
                    </a:lnTo>
                    <a:lnTo>
                      <a:pt x="167" y="551"/>
                    </a:lnTo>
                    <a:lnTo>
                      <a:pt x="165" y="552"/>
                    </a:lnTo>
                    <a:lnTo>
                      <a:pt x="165" y="554"/>
                    </a:lnTo>
                    <a:lnTo>
                      <a:pt x="167" y="554"/>
                    </a:lnTo>
                    <a:lnTo>
                      <a:pt x="167" y="555"/>
                    </a:lnTo>
                    <a:lnTo>
                      <a:pt x="167" y="557"/>
                    </a:lnTo>
                    <a:lnTo>
                      <a:pt x="168" y="557"/>
                    </a:lnTo>
                    <a:lnTo>
                      <a:pt x="170" y="559"/>
                    </a:lnTo>
                    <a:lnTo>
                      <a:pt x="171" y="562"/>
                    </a:lnTo>
                    <a:lnTo>
                      <a:pt x="172" y="565"/>
                    </a:lnTo>
                    <a:lnTo>
                      <a:pt x="174" y="567"/>
                    </a:lnTo>
                    <a:lnTo>
                      <a:pt x="174" y="569"/>
                    </a:lnTo>
                    <a:lnTo>
                      <a:pt x="175" y="571"/>
                    </a:lnTo>
                    <a:lnTo>
                      <a:pt x="177" y="574"/>
                    </a:lnTo>
                    <a:lnTo>
                      <a:pt x="178" y="578"/>
                    </a:lnTo>
                    <a:lnTo>
                      <a:pt x="180" y="580"/>
                    </a:lnTo>
                    <a:lnTo>
                      <a:pt x="182" y="588"/>
                    </a:lnTo>
                    <a:lnTo>
                      <a:pt x="184" y="592"/>
                    </a:lnTo>
                    <a:lnTo>
                      <a:pt x="184" y="594"/>
                    </a:lnTo>
                    <a:lnTo>
                      <a:pt x="184" y="595"/>
                    </a:lnTo>
                    <a:lnTo>
                      <a:pt x="184" y="597"/>
                    </a:lnTo>
                    <a:lnTo>
                      <a:pt x="184" y="597"/>
                    </a:lnTo>
                    <a:lnTo>
                      <a:pt x="184" y="597"/>
                    </a:lnTo>
                    <a:lnTo>
                      <a:pt x="182" y="597"/>
                    </a:lnTo>
                    <a:lnTo>
                      <a:pt x="181" y="598"/>
                    </a:lnTo>
                    <a:lnTo>
                      <a:pt x="180" y="598"/>
                    </a:lnTo>
                    <a:lnTo>
                      <a:pt x="177" y="598"/>
                    </a:lnTo>
                    <a:lnTo>
                      <a:pt x="177" y="600"/>
                    </a:lnTo>
                    <a:lnTo>
                      <a:pt x="178" y="600"/>
                    </a:lnTo>
                    <a:lnTo>
                      <a:pt x="178" y="601"/>
                    </a:lnTo>
                    <a:lnTo>
                      <a:pt x="178" y="603"/>
                    </a:lnTo>
                    <a:lnTo>
                      <a:pt x="178" y="603"/>
                    </a:lnTo>
                    <a:lnTo>
                      <a:pt x="177" y="604"/>
                    </a:lnTo>
                    <a:lnTo>
                      <a:pt x="177" y="605"/>
                    </a:lnTo>
                    <a:lnTo>
                      <a:pt x="177" y="607"/>
                    </a:lnTo>
                    <a:lnTo>
                      <a:pt x="177" y="608"/>
                    </a:lnTo>
                    <a:lnTo>
                      <a:pt x="177" y="610"/>
                    </a:lnTo>
                    <a:lnTo>
                      <a:pt x="177" y="610"/>
                    </a:lnTo>
                    <a:lnTo>
                      <a:pt x="177" y="611"/>
                    </a:lnTo>
                    <a:lnTo>
                      <a:pt x="175" y="611"/>
                    </a:lnTo>
                    <a:lnTo>
                      <a:pt x="175" y="613"/>
                    </a:lnTo>
                    <a:lnTo>
                      <a:pt x="175" y="613"/>
                    </a:lnTo>
                    <a:lnTo>
                      <a:pt x="175" y="613"/>
                    </a:lnTo>
                    <a:lnTo>
                      <a:pt x="175" y="613"/>
                    </a:lnTo>
                    <a:lnTo>
                      <a:pt x="175" y="613"/>
                    </a:lnTo>
                    <a:lnTo>
                      <a:pt x="175" y="613"/>
                    </a:lnTo>
                    <a:lnTo>
                      <a:pt x="175" y="613"/>
                    </a:lnTo>
                    <a:lnTo>
                      <a:pt x="175" y="614"/>
                    </a:lnTo>
                    <a:lnTo>
                      <a:pt x="175" y="614"/>
                    </a:lnTo>
                    <a:lnTo>
                      <a:pt x="177" y="614"/>
                    </a:lnTo>
                    <a:lnTo>
                      <a:pt x="178" y="614"/>
                    </a:lnTo>
                    <a:lnTo>
                      <a:pt x="178" y="614"/>
                    </a:lnTo>
                    <a:lnTo>
                      <a:pt x="180" y="615"/>
                    </a:lnTo>
                    <a:lnTo>
                      <a:pt x="180" y="615"/>
                    </a:lnTo>
                    <a:lnTo>
                      <a:pt x="180" y="617"/>
                    </a:lnTo>
                    <a:lnTo>
                      <a:pt x="180" y="617"/>
                    </a:lnTo>
                    <a:lnTo>
                      <a:pt x="180" y="617"/>
                    </a:lnTo>
                    <a:lnTo>
                      <a:pt x="178" y="618"/>
                    </a:lnTo>
                    <a:lnTo>
                      <a:pt x="177" y="618"/>
                    </a:lnTo>
                    <a:lnTo>
                      <a:pt x="175" y="620"/>
                    </a:lnTo>
                    <a:lnTo>
                      <a:pt x="175" y="621"/>
                    </a:lnTo>
                    <a:lnTo>
                      <a:pt x="175" y="621"/>
                    </a:lnTo>
                    <a:lnTo>
                      <a:pt x="175" y="623"/>
                    </a:lnTo>
                    <a:lnTo>
                      <a:pt x="175" y="623"/>
                    </a:lnTo>
                    <a:lnTo>
                      <a:pt x="175" y="626"/>
                    </a:lnTo>
                    <a:lnTo>
                      <a:pt x="177" y="627"/>
                    </a:lnTo>
                    <a:lnTo>
                      <a:pt x="178" y="628"/>
                    </a:lnTo>
                    <a:lnTo>
                      <a:pt x="182" y="630"/>
                    </a:lnTo>
                    <a:lnTo>
                      <a:pt x="184" y="631"/>
                    </a:lnTo>
                    <a:lnTo>
                      <a:pt x="184" y="633"/>
                    </a:lnTo>
                    <a:lnTo>
                      <a:pt x="184" y="633"/>
                    </a:lnTo>
                    <a:lnTo>
                      <a:pt x="184" y="634"/>
                    </a:lnTo>
                    <a:lnTo>
                      <a:pt x="184" y="634"/>
                    </a:lnTo>
                    <a:lnTo>
                      <a:pt x="182" y="636"/>
                    </a:lnTo>
                    <a:lnTo>
                      <a:pt x="182" y="637"/>
                    </a:lnTo>
                    <a:lnTo>
                      <a:pt x="182" y="638"/>
                    </a:lnTo>
                    <a:lnTo>
                      <a:pt x="182" y="638"/>
                    </a:lnTo>
                    <a:lnTo>
                      <a:pt x="182" y="640"/>
                    </a:lnTo>
                    <a:lnTo>
                      <a:pt x="182" y="640"/>
                    </a:lnTo>
                    <a:lnTo>
                      <a:pt x="184" y="643"/>
                    </a:lnTo>
                    <a:lnTo>
                      <a:pt x="185" y="644"/>
                    </a:lnTo>
                    <a:lnTo>
                      <a:pt x="188" y="646"/>
                    </a:lnTo>
                    <a:lnTo>
                      <a:pt x="190" y="647"/>
                    </a:lnTo>
                    <a:lnTo>
                      <a:pt x="191" y="647"/>
                    </a:lnTo>
                    <a:lnTo>
                      <a:pt x="191" y="649"/>
                    </a:lnTo>
                    <a:lnTo>
                      <a:pt x="191" y="650"/>
                    </a:lnTo>
                    <a:lnTo>
                      <a:pt x="191" y="650"/>
                    </a:lnTo>
                    <a:lnTo>
                      <a:pt x="191" y="651"/>
                    </a:lnTo>
                    <a:lnTo>
                      <a:pt x="191" y="651"/>
                    </a:lnTo>
                    <a:lnTo>
                      <a:pt x="191" y="653"/>
                    </a:lnTo>
                    <a:lnTo>
                      <a:pt x="191" y="653"/>
                    </a:lnTo>
                    <a:lnTo>
                      <a:pt x="191" y="653"/>
                    </a:lnTo>
                    <a:lnTo>
                      <a:pt x="191" y="653"/>
                    </a:lnTo>
                    <a:lnTo>
                      <a:pt x="191" y="654"/>
                    </a:lnTo>
                    <a:lnTo>
                      <a:pt x="191" y="654"/>
                    </a:lnTo>
                    <a:lnTo>
                      <a:pt x="191" y="654"/>
                    </a:lnTo>
                    <a:lnTo>
                      <a:pt x="190" y="656"/>
                    </a:lnTo>
                    <a:lnTo>
                      <a:pt x="188" y="659"/>
                    </a:lnTo>
                    <a:lnTo>
                      <a:pt x="187" y="660"/>
                    </a:lnTo>
                    <a:lnTo>
                      <a:pt x="185" y="660"/>
                    </a:lnTo>
                    <a:lnTo>
                      <a:pt x="185" y="661"/>
                    </a:lnTo>
                    <a:lnTo>
                      <a:pt x="184" y="661"/>
                    </a:lnTo>
                    <a:lnTo>
                      <a:pt x="182" y="661"/>
                    </a:lnTo>
                    <a:lnTo>
                      <a:pt x="182" y="663"/>
                    </a:lnTo>
                    <a:lnTo>
                      <a:pt x="182" y="663"/>
                    </a:lnTo>
                    <a:lnTo>
                      <a:pt x="182" y="664"/>
                    </a:lnTo>
                    <a:lnTo>
                      <a:pt x="188" y="669"/>
                    </a:lnTo>
                    <a:lnTo>
                      <a:pt x="190" y="669"/>
                    </a:lnTo>
                    <a:lnTo>
                      <a:pt x="194" y="672"/>
                    </a:lnTo>
                    <a:lnTo>
                      <a:pt x="201" y="677"/>
                    </a:lnTo>
                    <a:lnTo>
                      <a:pt x="203" y="677"/>
                    </a:lnTo>
                    <a:lnTo>
                      <a:pt x="203" y="679"/>
                    </a:lnTo>
                    <a:lnTo>
                      <a:pt x="204" y="679"/>
                    </a:lnTo>
                    <a:lnTo>
                      <a:pt x="204" y="680"/>
                    </a:lnTo>
                    <a:lnTo>
                      <a:pt x="205" y="682"/>
                    </a:lnTo>
                    <a:lnTo>
                      <a:pt x="208" y="684"/>
                    </a:lnTo>
                    <a:lnTo>
                      <a:pt x="210" y="686"/>
                    </a:lnTo>
                    <a:lnTo>
                      <a:pt x="208" y="687"/>
                    </a:lnTo>
                    <a:lnTo>
                      <a:pt x="208" y="689"/>
                    </a:lnTo>
                    <a:lnTo>
                      <a:pt x="208" y="689"/>
                    </a:lnTo>
                    <a:lnTo>
                      <a:pt x="208" y="690"/>
                    </a:lnTo>
                    <a:lnTo>
                      <a:pt x="207" y="690"/>
                    </a:lnTo>
                    <a:lnTo>
                      <a:pt x="207" y="690"/>
                    </a:lnTo>
                    <a:lnTo>
                      <a:pt x="205" y="695"/>
                    </a:lnTo>
                    <a:lnTo>
                      <a:pt x="204" y="696"/>
                    </a:lnTo>
                    <a:lnTo>
                      <a:pt x="204" y="697"/>
                    </a:lnTo>
                    <a:lnTo>
                      <a:pt x="203" y="697"/>
                    </a:lnTo>
                    <a:lnTo>
                      <a:pt x="203" y="699"/>
                    </a:lnTo>
                    <a:lnTo>
                      <a:pt x="201" y="700"/>
                    </a:lnTo>
                    <a:lnTo>
                      <a:pt x="198" y="703"/>
                    </a:lnTo>
                    <a:lnTo>
                      <a:pt x="194" y="706"/>
                    </a:lnTo>
                    <a:lnTo>
                      <a:pt x="192" y="707"/>
                    </a:lnTo>
                    <a:lnTo>
                      <a:pt x="191" y="709"/>
                    </a:lnTo>
                    <a:lnTo>
                      <a:pt x="188" y="712"/>
                    </a:lnTo>
                    <a:lnTo>
                      <a:pt x="181" y="719"/>
                    </a:lnTo>
                    <a:lnTo>
                      <a:pt x="178" y="722"/>
                    </a:lnTo>
                    <a:lnTo>
                      <a:pt x="177" y="723"/>
                    </a:lnTo>
                    <a:lnTo>
                      <a:pt x="171" y="729"/>
                    </a:lnTo>
                    <a:lnTo>
                      <a:pt x="170" y="730"/>
                    </a:lnTo>
                    <a:lnTo>
                      <a:pt x="168" y="732"/>
                    </a:lnTo>
                    <a:lnTo>
                      <a:pt x="167" y="733"/>
                    </a:lnTo>
                    <a:lnTo>
                      <a:pt x="162" y="736"/>
                    </a:lnTo>
                    <a:lnTo>
                      <a:pt x="159" y="738"/>
                    </a:lnTo>
                    <a:lnTo>
                      <a:pt x="159" y="739"/>
                    </a:lnTo>
                    <a:lnTo>
                      <a:pt x="159" y="739"/>
                    </a:lnTo>
                    <a:lnTo>
                      <a:pt x="158" y="739"/>
                    </a:lnTo>
                    <a:lnTo>
                      <a:pt x="158" y="741"/>
                    </a:lnTo>
                    <a:lnTo>
                      <a:pt x="157" y="741"/>
                    </a:lnTo>
                    <a:lnTo>
                      <a:pt x="155" y="742"/>
                    </a:lnTo>
                    <a:lnTo>
                      <a:pt x="155" y="742"/>
                    </a:lnTo>
                    <a:lnTo>
                      <a:pt x="154" y="742"/>
                    </a:lnTo>
                    <a:lnTo>
                      <a:pt x="149" y="746"/>
                    </a:lnTo>
                    <a:lnTo>
                      <a:pt x="145" y="752"/>
                    </a:lnTo>
                    <a:lnTo>
                      <a:pt x="144" y="753"/>
                    </a:lnTo>
                    <a:lnTo>
                      <a:pt x="147" y="752"/>
                    </a:lnTo>
                    <a:lnTo>
                      <a:pt x="154" y="751"/>
                    </a:lnTo>
                    <a:lnTo>
                      <a:pt x="155" y="749"/>
                    </a:lnTo>
                    <a:lnTo>
                      <a:pt x="158" y="751"/>
                    </a:lnTo>
                    <a:lnTo>
                      <a:pt x="158" y="752"/>
                    </a:lnTo>
                    <a:lnTo>
                      <a:pt x="158" y="755"/>
                    </a:lnTo>
                    <a:lnTo>
                      <a:pt x="157" y="753"/>
                    </a:lnTo>
                    <a:lnTo>
                      <a:pt x="157" y="753"/>
                    </a:lnTo>
                    <a:lnTo>
                      <a:pt x="155" y="753"/>
                    </a:lnTo>
                    <a:lnTo>
                      <a:pt x="157" y="755"/>
                    </a:lnTo>
                    <a:lnTo>
                      <a:pt x="159" y="758"/>
                    </a:lnTo>
                    <a:lnTo>
                      <a:pt x="162" y="761"/>
                    </a:lnTo>
                    <a:lnTo>
                      <a:pt x="164" y="762"/>
                    </a:lnTo>
                    <a:lnTo>
                      <a:pt x="167" y="762"/>
                    </a:lnTo>
                    <a:lnTo>
                      <a:pt x="170" y="762"/>
                    </a:lnTo>
                    <a:lnTo>
                      <a:pt x="172" y="762"/>
                    </a:lnTo>
                    <a:lnTo>
                      <a:pt x="175" y="762"/>
                    </a:lnTo>
                    <a:lnTo>
                      <a:pt x="177" y="762"/>
                    </a:lnTo>
                    <a:lnTo>
                      <a:pt x="178" y="764"/>
                    </a:lnTo>
                    <a:lnTo>
                      <a:pt x="184" y="769"/>
                    </a:lnTo>
                    <a:lnTo>
                      <a:pt x="184" y="771"/>
                    </a:lnTo>
                    <a:lnTo>
                      <a:pt x="182" y="771"/>
                    </a:lnTo>
                    <a:lnTo>
                      <a:pt x="177" y="769"/>
                    </a:lnTo>
                    <a:lnTo>
                      <a:pt x="171" y="768"/>
                    </a:lnTo>
                    <a:lnTo>
                      <a:pt x="168" y="768"/>
                    </a:lnTo>
                    <a:lnTo>
                      <a:pt x="165" y="769"/>
                    </a:lnTo>
                    <a:lnTo>
                      <a:pt x="165" y="771"/>
                    </a:lnTo>
                    <a:lnTo>
                      <a:pt x="164" y="772"/>
                    </a:lnTo>
                    <a:lnTo>
                      <a:pt x="162" y="772"/>
                    </a:lnTo>
                    <a:lnTo>
                      <a:pt x="161" y="774"/>
                    </a:lnTo>
                    <a:lnTo>
                      <a:pt x="159" y="774"/>
                    </a:lnTo>
                    <a:lnTo>
                      <a:pt x="159" y="772"/>
                    </a:lnTo>
                    <a:lnTo>
                      <a:pt x="158" y="772"/>
                    </a:lnTo>
                    <a:lnTo>
                      <a:pt x="157" y="772"/>
                    </a:lnTo>
                    <a:lnTo>
                      <a:pt x="157" y="772"/>
                    </a:lnTo>
                    <a:lnTo>
                      <a:pt x="157" y="772"/>
                    </a:lnTo>
                    <a:lnTo>
                      <a:pt x="155" y="772"/>
                    </a:lnTo>
                    <a:lnTo>
                      <a:pt x="155" y="774"/>
                    </a:lnTo>
                    <a:lnTo>
                      <a:pt x="155" y="774"/>
                    </a:lnTo>
                    <a:lnTo>
                      <a:pt x="155" y="774"/>
                    </a:lnTo>
                    <a:lnTo>
                      <a:pt x="155" y="775"/>
                    </a:lnTo>
                    <a:lnTo>
                      <a:pt x="154" y="775"/>
                    </a:lnTo>
                    <a:lnTo>
                      <a:pt x="152" y="775"/>
                    </a:lnTo>
                    <a:lnTo>
                      <a:pt x="151" y="775"/>
                    </a:lnTo>
                    <a:lnTo>
                      <a:pt x="149" y="775"/>
                    </a:lnTo>
                    <a:lnTo>
                      <a:pt x="148" y="774"/>
                    </a:lnTo>
                    <a:lnTo>
                      <a:pt x="148" y="774"/>
                    </a:lnTo>
                    <a:lnTo>
                      <a:pt x="147" y="776"/>
                    </a:lnTo>
                    <a:lnTo>
                      <a:pt x="147" y="778"/>
                    </a:lnTo>
                    <a:lnTo>
                      <a:pt x="148" y="779"/>
                    </a:lnTo>
                    <a:lnTo>
                      <a:pt x="148" y="781"/>
                    </a:lnTo>
                    <a:lnTo>
                      <a:pt x="147" y="782"/>
                    </a:lnTo>
                    <a:lnTo>
                      <a:pt x="148" y="782"/>
                    </a:lnTo>
                    <a:lnTo>
                      <a:pt x="149" y="784"/>
                    </a:lnTo>
                    <a:lnTo>
                      <a:pt x="149" y="784"/>
                    </a:lnTo>
                    <a:lnTo>
                      <a:pt x="149" y="785"/>
                    </a:lnTo>
                    <a:lnTo>
                      <a:pt x="148" y="785"/>
                    </a:lnTo>
                    <a:lnTo>
                      <a:pt x="148" y="787"/>
                    </a:lnTo>
                    <a:lnTo>
                      <a:pt x="148" y="787"/>
                    </a:lnTo>
                    <a:lnTo>
                      <a:pt x="148" y="787"/>
                    </a:lnTo>
                    <a:lnTo>
                      <a:pt x="147" y="787"/>
                    </a:lnTo>
                    <a:lnTo>
                      <a:pt x="147" y="787"/>
                    </a:lnTo>
                    <a:lnTo>
                      <a:pt x="147" y="787"/>
                    </a:lnTo>
                    <a:lnTo>
                      <a:pt x="145" y="787"/>
                    </a:lnTo>
                    <a:lnTo>
                      <a:pt x="145" y="788"/>
                    </a:lnTo>
                    <a:lnTo>
                      <a:pt x="144" y="792"/>
                    </a:lnTo>
                    <a:lnTo>
                      <a:pt x="142" y="792"/>
                    </a:lnTo>
                    <a:lnTo>
                      <a:pt x="142" y="794"/>
                    </a:lnTo>
                    <a:lnTo>
                      <a:pt x="142" y="794"/>
                    </a:lnTo>
                    <a:lnTo>
                      <a:pt x="141" y="795"/>
                    </a:lnTo>
                    <a:lnTo>
                      <a:pt x="141" y="797"/>
                    </a:lnTo>
                    <a:lnTo>
                      <a:pt x="139" y="798"/>
                    </a:lnTo>
                    <a:lnTo>
                      <a:pt x="138" y="798"/>
                    </a:lnTo>
                    <a:lnTo>
                      <a:pt x="138" y="798"/>
                    </a:lnTo>
                    <a:lnTo>
                      <a:pt x="138" y="798"/>
                    </a:lnTo>
                    <a:lnTo>
                      <a:pt x="138" y="798"/>
                    </a:lnTo>
                    <a:lnTo>
                      <a:pt x="138" y="799"/>
                    </a:lnTo>
                    <a:lnTo>
                      <a:pt x="138" y="799"/>
                    </a:lnTo>
                    <a:lnTo>
                      <a:pt x="136" y="799"/>
                    </a:lnTo>
                    <a:lnTo>
                      <a:pt x="136" y="801"/>
                    </a:lnTo>
                    <a:lnTo>
                      <a:pt x="136" y="802"/>
                    </a:lnTo>
                    <a:lnTo>
                      <a:pt x="138" y="809"/>
                    </a:lnTo>
                    <a:lnTo>
                      <a:pt x="138" y="811"/>
                    </a:lnTo>
                    <a:lnTo>
                      <a:pt x="138" y="812"/>
                    </a:lnTo>
                    <a:lnTo>
                      <a:pt x="138" y="814"/>
                    </a:lnTo>
                    <a:lnTo>
                      <a:pt x="138" y="815"/>
                    </a:lnTo>
                    <a:lnTo>
                      <a:pt x="138" y="815"/>
                    </a:lnTo>
                    <a:lnTo>
                      <a:pt x="139" y="817"/>
                    </a:lnTo>
                    <a:lnTo>
                      <a:pt x="139" y="818"/>
                    </a:lnTo>
                    <a:lnTo>
                      <a:pt x="141" y="820"/>
                    </a:lnTo>
                    <a:lnTo>
                      <a:pt x="141" y="821"/>
                    </a:lnTo>
                    <a:lnTo>
                      <a:pt x="141" y="822"/>
                    </a:lnTo>
                    <a:lnTo>
                      <a:pt x="142" y="824"/>
                    </a:lnTo>
                    <a:lnTo>
                      <a:pt x="144" y="825"/>
                    </a:lnTo>
                    <a:lnTo>
                      <a:pt x="142" y="825"/>
                    </a:lnTo>
                    <a:lnTo>
                      <a:pt x="142" y="825"/>
                    </a:lnTo>
                    <a:lnTo>
                      <a:pt x="141" y="825"/>
                    </a:lnTo>
                    <a:lnTo>
                      <a:pt x="139" y="827"/>
                    </a:lnTo>
                    <a:lnTo>
                      <a:pt x="138" y="828"/>
                    </a:lnTo>
                    <a:lnTo>
                      <a:pt x="138" y="828"/>
                    </a:lnTo>
                    <a:lnTo>
                      <a:pt x="136" y="830"/>
                    </a:lnTo>
                    <a:lnTo>
                      <a:pt x="136" y="830"/>
                    </a:lnTo>
                    <a:lnTo>
                      <a:pt x="136" y="831"/>
                    </a:lnTo>
                    <a:lnTo>
                      <a:pt x="135" y="832"/>
                    </a:lnTo>
                    <a:lnTo>
                      <a:pt x="135" y="834"/>
                    </a:lnTo>
                    <a:lnTo>
                      <a:pt x="135" y="834"/>
                    </a:lnTo>
                    <a:lnTo>
                      <a:pt x="135" y="834"/>
                    </a:lnTo>
                    <a:lnTo>
                      <a:pt x="138" y="834"/>
                    </a:lnTo>
                    <a:lnTo>
                      <a:pt x="139" y="835"/>
                    </a:lnTo>
                    <a:lnTo>
                      <a:pt x="141" y="837"/>
                    </a:lnTo>
                    <a:lnTo>
                      <a:pt x="144" y="840"/>
                    </a:lnTo>
                    <a:lnTo>
                      <a:pt x="144" y="841"/>
                    </a:lnTo>
                    <a:lnTo>
                      <a:pt x="144" y="841"/>
                    </a:lnTo>
                    <a:lnTo>
                      <a:pt x="144" y="843"/>
                    </a:lnTo>
                    <a:lnTo>
                      <a:pt x="144" y="843"/>
                    </a:lnTo>
                    <a:lnTo>
                      <a:pt x="144" y="844"/>
                    </a:lnTo>
                    <a:lnTo>
                      <a:pt x="142" y="844"/>
                    </a:lnTo>
                    <a:lnTo>
                      <a:pt x="142" y="845"/>
                    </a:lnTo>
                    <a:lnTo>
                      <a:pt x="142" y="845"/>
                    </a:lnTo>
                    <a:lnTo>
                      <a:pt x="142" y="847"/>
                    </a:lnTo>
                    <a:lnTo>
                      <a:pt x="142" y="847"/>
                    </a:lnTo>
                    <a:lnTo>
                      <a:pt x="142" y="848"/>
                    </a:lnTo>
                    <a:lnTo>
                      <a:pt x="141" y="848"/>
                    </a:lnTo>
                    <a:lnTo>
                      <a:pt x="141" y="848"/>
                    </a:lnTo>
                    <a:lnTo>
                      <a:pt x="141" y="850"/>
                    </a:lnTo>
                    <a:lnTo>
                      <a:pt x="141" y="850"/>
                    </a:lnTo>
                    <a:lnTo>
                      <a:pt x="141" y="850"/>
                    </a:lnTo>
                    <a:lnTo>
                      <a:pt x="141" y="851"/>
                    </a:lnTo>
                    <a:lnTo>
                      <a:pt x="144" y="850"/>
                    </a:lnTo>
                    <a:lnTo>
                      <a:pt x="144" y="850"/>
                    </a:lnTo>
                    <a:lnTo>
                      <a:pt x="145" y="851"/>
                    </a:lnTo>
                    <a:lnTo>
                      <a:pt x="145" y="851"/>
                    </a:lnTo>
                    <a:lnTo>
                      <a:pt x="145" y="851"/>
                    </a:lnTo>
                    <a:lnTo>
                      <a:pt x="147" y="854"/>
                    </a:lnTo>
                    <a:lnTo>
                      <a:pt x="148" y="857"/>
                    </a:lnTo>
                    <a:lnTo>
                      <a:pt x="149" y="860"/>
                    </a:lnTo>
                    <a:lnTo>
                      <a:pt x="149" y="860"/>
                    </a:lnTo>
                    <a:lnTo>
                      <a:pt x="149" y="861"/>
                    </a:lnTo>
                    <a:lnTo>
                      <a:pt x="151" y="863"/>
                    </a:lnTo>
                    <a:lnTo>
                      <a:pt x="151" y="863"/>
                    </a:lnTo>
                    <a:lnTo>
                      <a:pt x="151" y="864"/>
                    </a:lnTo>
                    <a:lnTo>
                      <a:pt x="149" y="866"/>
                    </a:lnTo>
                    <a:lnTo>
                      <a:pt x="149" y="866"/>
                    </a:lnTo>
                    <a:lnTo>
                      <a:pt x="149" y="866"/>
                    </a:lnTo>
                    <a:lnTo>
                      <a:pt x="149" y="866"/>
                    </a:lnTo>
                    <a:lnTo>
                      <a:pt x="149" y="866"/>
                    </a:lnTo>
                    <a:lnTo>
                      <a:pt x="149" y="867"/>
                    </a:lnTo>
                    <a:lnTo>
                      <a:pt x="151" y="867"/>
                    </a:lnTo>
                    <a:lnTo>
                      <a:pt x="151" y="867"/>
                    </a:lnTo>
                    <a:lnTo>
                      <a:pt x="152" y="868"/>
                    </a:lnTo>
                    <a:lnTo>
                      <a:pt x="152" y="868"/>
                    </a:lnTo>
                    <a:lnTo>
                      <a:pt x="154" y="867"/>
                    </a:lnTo>
                    <a:lnTo>
                      <a:pt x="154" y="867"/>
                    </a:lnTo>
                    <a:lnTo>
                      <a:pt x="157" y="867"/>
                    </a:lnTo>
                    <a:lnTo>
                      <a:pt x="158" y="867"/>
                    </a:lnTo>
                    <a:lnTo>
                      <a:pt x="159" y="868"/>
                    </a:lnTo>
                    <a:lnTo>
                      <a:pt x="159" y="870"/>
                    </a:lnTo>
                    <a:lnTo>
                      <a:pt x="161" y="870"/>
                    </a:lnTo>
                    <a:lnTo>
                      <a:pt x="161" y="870"/>
                    </a:lnTo>
                    <a:lnTo>
                      <a:pt x="161" y="870"/>
                    </a:lnTo>
                    <a:lnTo>
                      <a:pt x="161" y="870"/>
                    </a:lnTo>
                    <a:lnTo>
                      <a:pt x="162" y="870"/>
                    </a:lnTo>
                    <a:lnTo>
                      <a:pt x="164" y="868"/>
                    </a:lnTo>
                    <a:lnTo>
                      <a:pt x="165" y="868"/>
                    </a:lnTo>
                    <a:lnTo>
                      <a:pt x="167" y="868"/>
                    </a:lnTo>
                    <a:lnTo>
                      <a:pt x="170" y="870"/>
                    </a:lnTo>
                    <a:lnTo>
                      <a:pt x="171" y="870"/>
                    </a:lnTo>
                    <a:lnTo>
                      <a:pt x="171" y="871"/>
                    </a:lnTo>
                    <a:lnTo>
                      <a:pt x="171" y="871"/>
                    </a:lnTo>
                    <a:lnTo>
                      <a:pt x="171" y="871"/>
                    </a:lnTo>
                    <a:lnTo>
                      <a:pt x="171" y="871"/>
                    </a:lnTo>
                    <a:lnTo>
                      <a:pt x="171" y="873"/>
                    </a:lnTo>
                    <a:lnTo>
                      <a:pt x="171" y="874"/>
                    </a:lnTo>
                    <a:lnTo>
                      <a:pt x="171" y="874"/>
                    </a:lnTo>
                    <a:lnTo>
                      <a:pt x="171" y="876"/>
                    </a:lnTo>
                    <a:lnTo>
                      <a:pt x="172" y="876"/>
                    </a:lnTo>
                    <a:lnTo>
                      <a:pt x="172" y="876"/>
                    </a:lnTo>
                    <a:lnTo>
                      <a:pt x="175" y="876"/>
                    </a:lnTo>
                    <a:lnTo>
                      <a:pt x="175" y="874"/>
                    </a:lnTo>
                    <a:lnTo>
                      <a:pt x="177" y="874"/>
                    </a:lnTo>
                    <a:lnTo>
                      <a:pt x="177" y="874"/>
                    </a:lnTo>
                    <a:lnTo>
                      <a:pt x="178" y="874"/>
                    </a:lnTo>
                    <a:lnTo>
                      <a:pt x="178" y="874"/>
                    </a:lnTo>
                    <a:lnTo>
                      <a:pt x="180" y="874"/>
                    </a:lnTo>
                    <a:lnTo>
                      <a:pt x="180" y="874"/>
                    </a:lnTo>
                    <a:lnTo>
                      <a:pt x="180" y="873"/>
                    </a:lnTo>
                    <a:lnTo>
                      <a:pt x="180" y="873"/>
                    </a:lnTo>
                    <a:lnTo>
                      <a:pt x="180" y="873"/>
                    </a:lnTo>
                    <a:lnTo>
                      <a:pt x="181" y="873"/>
                    </a:lnTo>
                    <a:lnTo>
                      <a:pt x="181" y="873"/>
                    </a:lnTo>
                    <a:lnTo>
                      <a:pt x="181" y="873"/>
                    </a:lnTo>
                    <a:lnTo>
                      <a:pt x="182" y="873"/>
                    </a:lnTo>
                    <a:lnTo>
                      <a:pt x="182" y="873"/>
                    </a:lnTo>
                    <a:lnTo>
                      <a:pt x="184" y="873"/>
                    </a:lnTo>
                    <a:lnTo>
                      <a:pt x="187" y="873"/>
                    </a:lnTo>
                    <a:lnTo>
                      <a:pt x="190" y="874"/>
                    </a:lnTo>
                    <a:lnTo>
                      <a:pt x="191" y="874"/>
                    </a:lnTo>
                    <a:lnTo>
                      <a:pt x="191" y="876"/>
                    </a:lnTo>
                    <a:lnTo>
                      <a:pt x="192" y="876"/>
                    </a:lnTo>
                    <a:lnTo>
                      <a:pt x="192" y="876"/>
                    </a:lnTo>
                    <a:lnTo>
                      <a:pt x="192" y="876"/>
                    </a:lnTo>
                    <a:lnTo>
                      <a:pt x="192" y="877"/>
                    </a:lnTo>
                    <a:lnTo>
                      <a:pt x="194" y="877"/>
                    </a:lnTo>
                    <a:lnTo>
                      <a:pt x="197" y="878"/>
                    </a:lnTo>
                    <a:lnTo>
                      <a:pt x="197" y="878"/>
                    </a:lnTo>
                    <a:lnTo>
                      <a:pt x="198" y="878"/>
                    </a:lnTo>
                    <a:lnTo>
                      <a:pt x="198" y="878"/>
                    </a:lnTo>
                    <a:lnTo>
                      <a:pt x="198" y="880"/>
                    </a:lnTo>
                    <a:lnTo>
                      <a:pt x="198" y="881"/>
                    </a:lnTo>
                    <a:lnTo>
                      <a:pt x="198" y="883"/>
                    </a:lnTo>
                    <a:lnTo>
                      <a:pt x="197" y="884"/>
                    </a:lnTo>
                    <a:lnTo>
                      <a:pt x="197" y="884"/>
                    </a:lnTo>
                    <a:lnTo>
                      <a:pt x="197" y="884"/>
                    </a:lnTo>
                    <a:lnTo>
                      <a:pt x="197" y="886"/>
                    </a:lnTo>
                    <a:lnTo>
                      <a:pt x="197" y="886"/>
                    </a:lnTo>
                    <a:lnTo>
                      <a:pt x="197" y="886"/>
                    </a:lnTo>
                    <a:lnTo>
                      <a:pt x="197" y="887"/>
                    </a:lnTo>
                    <a:lnTo>
                      <a:pt x="198" y="887"/>
                    </a:lnTo>
                    <a:lnTo>
                      <a:pt x="200" y="889"/>
                    </a:lnTo>
                    <a:lnTo>
                      <a:pt x="200" y="890"/>
                    </a:lnTo>
                    <a:lnTo>
                      <a:pt x="198" y="891"/>
                    </a:lnTo>
                    <a:lnTo>
                      <a:pt x="197" y="893"/>
                    </a:lnTo>
                    <a:lnTo>
                      <a:pt x="197" y="894"/>
                    </a:lnTo>
                    <a:lnTo>
                      <a:pt x="195" y="896"/>
                    </a:lnTo>
                    <a:lnTo>
                      <a:pt x="195" y="896"/>
                    </a:lnTo>
                    <a:lnTo>
                      <a:pt x="197" y="897"/>
                    </a:lnTo>
                    <a:lnTo>
                      <a:pt x="198" y="899"/>
                    </a:lnTo>
                    <a:lnTo>
                      <a:pt x="200" y="899"/>
                    </a:lnTo>
                    <a:lnTo>
                      <a:pt x="201" y="900"/>
                    </a:lnTo>
                    <a:lnTo>
                      <a:pt x="203" y="900"/>
                    </a:lnTo>
                    <a:lnTo>
                      <a:pt x="203" y="900"/>
                    </a:lnTo>
                    <a:lnTo>
                      <a:pt x="201" y="901"/>
                    </a:lnTo>
                    <a:lnTo>
                      <a:pt x="201" y="903"/>
                    </a:lnTo>
                    <a:lnTo>
                      <a:pt x="201" y="903"/>
                    </a:lnTo>
                    <a:lnTo>
                      <a:pt x="201" y="903"/>
                    </a:lnTo>
                    <a:lnTo>
                      <a:pt x="201" y="903"/>
                    </a:lnTo>
                    <a:lnTo>
                      <a:pt x="203" y="904"/>
                    </a:lnTo>
                    <a:lnTo>
                      <a:pt x="204" y="906"/>
                    </a:lnTo>
                    <a:lnTo>
                      <a:pt x="205" y="909"/>
                    </a:lnTo>
                    <a:lnTo>
                      <a:pt x="207" y="910"/>
                    </a:lnTo>
                    <a:lnTo>
                      <a:pt x="213" y="913"/>
                    </a:lnTo>
                    <a:lnTo>
                      <a:pt x="214" y="914"/>
                    </a:lnTo>
                    <a:lnTo>
                      <a:pt x="214" y="916"/>
                    </a:lnTo>
                    <a:lnTo>
                      <a:pt x="214" y="916"/>
                    </a:lnTo>
                    <a:lnTo>
                      <a:pt x="214" y="917"/>
                    </a:lnTo>
                    <a:lnTo>
                      <a:pt x="214" y="919"/>
                    </a:lnTo>
                    <a:lnTo>
                      <a:pt x="213" y="920"/>
                    </a:lnTo>
                    <a:lnTo>
                      <a:pt x="214" y="920"/>
                    </a:lnTo>
                    <a:lnTo>
                      <a:pt x="214" y="920"/>
                    </a:lnTo>
                    <a:lnTo>
                      <a:pt x="215" y="920"/>
                    </a:lnTo>
                    <a:lnTo>
                      <a:pt x="215" y="920"/>
                    </a:lnTo>
                    <a:lnTo>
                      <a:pt x="217" y="920"/>
                    </a:lnTo>
                    <a:lnTo>
                      <a:pt x="218" y="920"/>
                    </a:lnTo>
                    <a:lnTo>
                      <a:pt x="221" y="920"/>
                    </a:lnTo>
                    <a:lnTo>
                      <a:pt x="226" y="922"/>
                    </a:lnTo>
                    <a:lnTo>
                      <a:pt x="226" y="923"/>
                    </a:lnTo>
                    <a:lnTo>
                      <a:pt x="226" y="923"/>
                    </a:lnTo>
                    <a:lnTo>
                      <a:pt x="226" y="924"/>
                    </a:lnTo>
                    <a:lnTo>
                      <a:pt x="226" y="924"/>
                    </a:lnTo>
                    <a:lnTo>
                      <a:pt x="226" y="926"/>
                    </a:lnTo>
                    <a:lnTo>
                      <a:pt x="226" y="926"/>
                    </a:lnTo>
                    <a:lnTo>
                      <a:pt x="227" y="926"/>
                    </a:lnTo>
                    <a:lnTo>
                      <a:pt x="227" y="927"/>
                    </a:lnTo>
                    <a:lnTo>
                      <a:pt x="230" y="929"/>
                    </a:lnTo>
                    <a:lnTo>
                      <a:pt x="230" y="929"/>
                    </a:lnTo>
                    <a:lnTo>
                      <a:pt x="230" y="929"/>
                    </a:lnTo>
                    <a:lnTo>
                      <a:pt x="230" y="930"/>
                    </a:lnTo>
                    <a:lnTo>
                      <a:pt x="230" y="930"/>
                    </a:lnTo>
                    <a:lnTo>
                      <a:pt x="228" y="932"/>
                    </a:lnTo>
                    <a:lnTo>
                      <a:pt x="227" y="932"/>
                    </a:lnTo>
                    <a:lnTo>
                      <a:pt x="227" y="932"/>
                    </a:lnTo>
                    <a:lnTo>
                      <a:pt x="226" y="933"/>
                    </a:lnTo>
                    <a:lnTo>
                      <a:pt x="224" y="933"/>
                    </a:lnTo>
                    <a:lnTo>
                      <a:pt x="224" y="935"/>
                    </a:lnTo>
                    <a:lnTo>
                      <a:pt x="223" y="936"/>
                    </a:lnTo>
                    <a:lnTo>
                      <a:pt x="221" y="936"/>
                    </a:lnTo>
                    <a:lnTo>
                      <a:pt x="220" y="937"/>
                    </a:lnTo>
                    <a:lnTo>
                      <a:pt x="218" y="937"/>
                    </a:lnTo>
                    <a:lnTo>
                      <a:pt x="217" y="936"/>
                    </a:lnTo>
                    <a:lnTo>
                      <a:pt x="214" y="936"/>
                    </a:lnTo>
                    <a:lnTo>
                      <a:pt x="214" y="936"/>
                    </a:lnTo>
                    <a:lnTo>
                      <a:pt x="213" y="935"/>
                    </a:lnTo>
                    <a:lnTo>
                      <a:pt x="211" y="935"/>
                    </a:lnTo>
                    <a:lnTo>
                      <a:pt x="210" y="935"/>
                    </a:lnTo>
                    <a:lnTo>
                      <a:pt x="210" y="935"/>
                    </a:lnTo>
                    <a:lnTo>
                      <a:pt x="208" y="935"/>
                    </a:lnTo>
                    <a:lnTo>
                      <a:pt x="207" y="935"/>
                    </a:lnTo>
                    <a:lnTo>
                      <a:pt x="207" y="935"/>
                    </a:lnTo>
                    <a:lnTo>
                      <a:pt x="205" y="937"/>
                    </a:lnTo>
                    <a:lnTo>
                      <a:pt x="204" y="939"/>
                    </a:lnTo>
                    <a:lnTo>
                      <a:pt x="210" y="945"/>
                    </a:lnTo>
                    <a:lnTo>
                      <a:pt x="210" y="945"/>
                    </a:lnTo>
                    <a:lnTo>
                      <a:pt x="210" y="945"/>
                    </a:lnTo>
                    <a:lnTo>
                      <a:pt x="210" y="945"/>
                    </a:lnTo>
                    <a:lnTo>
                      <a:pt x="210" y="946"/>
                    </a:lnTo>
                    <a:lnTo>
                      <a:pt x="210" y="946"/>
                    </a:lnTo>
                    <a:lnTo>
                      <a:pt x="208" y="946"/>
                    </a:lnTo>
                    <a:lnTo>
                      <a:pt x="208" y="947"/>
                    </a:lnTo>
                    <a:lnTo>
                      <a:pt x="208" y="947"/>
                    </a:lnTo>
                    <a:lnTo>
                      <a:pt x="210" y="949"/>
                    </a:lnTo>
                    <a:lnTo>
                      <a:pt x="210" y="950"/>
                    </a:lnTo>
                    <a:lnTo>
                      <a:pt x="210" y="952"/>
                    </a:lnTo>
                    <a:lnTo>
                      <a:pt x="210" y="953"/>
                    </a:lnTo>
                    <a:lnTo>
                      <a:pt x="210" y="955"/>
                    </a:lnTo>
                    <a:lnTo>
                      <a:pt x="210" y="955"/>
                    </a:lnTo>
                    <a:lnTo>
                      <a:pt x="210" y="956"/>
                    </a:lnTo>
                    <a:lnTo>
                      <a:pt x="210" y="956"/>
                    </a:lnTo>
                    <a:lnTo>
                      <a:pt x="210" y="956"/>
                    </a:lnTo>
                    <a:lnTo>
                      <a:pt x="211" y="958"/>
                    </a:lnTo>
                    <a:lnTo>
                      <a:pt x="211" y="958"/>
                    </a:lnTo>
                    <a:lnTo>
                      <a:pt x="211" y="958"/>
                    </a:lnTo>
                    <a:lnTo>
                      <a:pt x="211" y="958"/>
                    </a:lnTo>
                    <a:lnTo>
                      <a:pt x="213" y="960"/>
                    </a:lnTo>
                    <a:lnTo>
                      <a:pt x="213" y="962"/>
                    </a:lnTo>
                    <a:lnTo>
                      <a:pt x="214" y="962"/>
                    </a:lnTo>
                    <a:lnTo>
                      <a:pt x="214" y="962"/>
                    </a:lnTo>
                    <a:lnTo>
                      <a:pt x="215" y="962"/>
                    </a:lnTo>
                    <a:lnTo>
                      <a:pt x="217" y="963"/>
                    </a:lnTo>
                    <a:lnTo>
                      <a:pt x="217" y="963"/>
                    </a:lnTo>
                    <a:lnTo>
                      <a:pt x="218" y="963"/>
                    </a:lnTo>
                    <a:lnTo>
                      <a:pt x="220" y="962"/>
                    </a:lnTo>
                    <a:lnTo>
                      <a:pt x="220" y="962"/>
                    </a:lnTo>
                    <a:lnTo>
                      <a:pt x="221" y="962"/>
                    </a:lnTo>
                    <a:lnTo>
                      <a:pt x="221" y="962"/>
                    </a:lnTo>
                    <a:lnTo>
                      <a:pt x="223" y="960"/>
                    </a:lnTo>
                    <a:lnTo>
                      <a:pt x="223" y="959"/>
                    </a:lnTo>
                    <a:lnTo>
                      <a:pt x="224" y="958"/>
                    </a:lnTo>
                    <a:lnTo>
                      <a:pt x="224" y="956"/>
                    </a:lnTo>
                    <a:lnTo>
                      <a:pt x="224" y="956"/>
                    </a:lnTo>
                    <a:lnTo>
                      <a:pt x="224" y="956"/>
                    </a:lnTo>
                    <a:lnTo>
                      <a:pt x="226" y="956"/>
                    </a:lnTo>
                    <a:lnTo>
                      <a:pt x="226" y="956"/>
                    </a:lnTo>
                    <a:lnTo>
                      <a:pt x="228" y="956"/>
                    </a:lnTo>
                    <a:lnTo>
                      <a:pt x="231" y="958"/>
                    </a:lnTo>
                    <a:lnTo>
                      <a:pt x="233" y="958"/>
                    </a:lnTo>
                    <a:lnTo>
                      <a:pt x="236" y="956"/>
                    </a:lnTo>
                    <a:lnTo>
                      <a:pt x="236" y="956"/>
                    </a:lnTo>
                    <a:lnTo>
                      <a:pt x="237" y="956"/>
                    </a:lnTo>
                    <a:lnTo>
                      <a:pt x="237" y="955"/>
                    </a:lnTo>
                    <a:lnTo>
                      <a:pt x="238" y="955"/>
                    </a:lnTo>
                    <a:lnTo>
                      <a:pt x="240" y="955"/>
                    </a:lnTo>
                    <a:lnTo>
                      <a:pt x="240" y="955"/>
                    </a:lnTo>
                    <a:lnTo>
                      <a:pt x="241" y="955"/>
                    </a:lnTo>
                    <a:lnTo>
                      <a:pt x="241" y="955"/>
                    </a:lnTo>
                    <a:lnTo>
                      <a:pt x="243" y="955"/>
                    </a:lnTo>
                    <a:lnTo>
                      <a:pt x="244" y="956"/>
                    </a:lnTo>
                    <a:lnTo>
                      <a:pt x="246" y="956"/>
                    </a:lnTo>
                    <a:lnTo>
                      <a:pt x="247" y="955"/>
                    </a:lnTo>
                    <a:lnTo>
                      <a:pt x="247" y="955"/>
                    </a:lnTo>
                    <a:lnTo>
                      <a:pt x="249" y="956"/>
                    </a:lnTo>
                    <a:lnTo>
                      <a:pt x="251" y="958"/>
                    </a:lnTo>
                    <a:lnTo>
                      <a:pt x="251" y="959"/>
                    </a:lnTo>
                    <a:lnTo>
                      <a:pt x="253" y="959"/>
                    </a:lnTo>
                    <a:lnTo>
                      <a:pt x="253" y="960"/>
                    </a:lnTo>
                    <a:lnTo>
                      <a:pt x="253" y="962"/>
                    </a:lnTo>
                    <a:lnTo>
                      <a:pt x="253" y="962"/>
                    </a:lnTo>
                    <a:lnTo>
                      <a:pt x="254" y="965"/>
                    </a:lnTo>
                    <a:lnTo>
                      <a:pt x="256" y="966"/>
                    </a:lnTo>
                    <a:lnTo>
                      <a:pt x="260" y="969"/>
                    </a:lnTo>
                    <a:lnTo>
                      <a:pt x="260" y="970"/>
                    </a:lnTo>
                    <a:lnTo>
                      <a:pt x="260" y="970"/>
                    </a:lnTo>
                    <a:lnTo>
                      <a:pt x="260" y="970"/>
                    </a:lnTo>
                    <a:lnTo>
                      <a:pt x="259" y="970"/>
                    </a:lnTo>
                    <a:lnTo>
                      <a:pt x="257" y="972"/>
                    </a:lnTo>
                    <a:lnTo>
                      <a:pt x="256" y="972"/>
                    </a:lnTo>
                    <a:lnTo>
                      <a:pt x="256" y="972"/>
                    </a:lnTo>
                    <a:lnTo>
                      <a:pt x="254" y="972"/>
                    </a:lnTo>
                    <a:lnTo>
                      <a:pt x="254" y="973"/>
                    </a:lnTo>
                    <a:lnTo>
                      <a:pt x="254" y="973"/>
                    </a:lnTo>
                    <a:lnTo>
                      <a:pt x="254" y="973"/>
                    </a:lnTo>
                    <a:lnTo>
                      <a:pt x="256" y="975"/>
                    </a:lnTo>
                    <a:lnTo>
                      <a:pt x="256" y="975"/>
                    </a:lnTo>
                    <a:lnTo>
                      <a:pt x="256" y="976"/>
                    </a:lnTo>
                    <a:lnTo>
                      <a:pt x="256" y="978"/>
                    </a:lnTo>
                    <a:lnTo>
                      <a:pt x="256" y="978"/>
                    </a:lnTo>
                    <a:lnTo>
                      <a:pt x="256" y="979"/>
                    </a:lnTo>
                    <a:lnTo>
                      <a:pt x="257" y="979"/>
                    </a:lnTo>
                    <a:lnTo>
                      <a:pt x="257" y="981"/>
                    </a:lnTo>
                    <a:lnTo>
                      <a:pt x="257" y="982"/>
                    </a:lnTo>
                    <a:lnTo>
                      <a:pt x="256" y="982"/>
                    </a:lnTo>
                    <a:lnTo>
                      <a:pt x="256" y="983"/>
                    </a:lnTo>
                    <a:lnTo>
                      <a:pt x="256" y="983"/>
                    </a:lnTo>
                    <a:lnTo>
                      <a:pt x="256" y="983"/>
                    </a:lnTo>
                    <a:lnTo>
                      <a:pt x="256" y="983"/>
                    </a:lnTo>
                    <a:lnTo>
                      <a:pt x="257" y="983"/>
                    </a:lnTo>
                    <a:lnTo>
                      <a:pt x="259" y="983"/>
                    </a:lnTo>
                    <a:lnTo>
                      <a:pt x="260" y="983"/>
                    </a:lnTo>
                    <a:lnTo>
                      <a:pt x="261" y="983"/>
                    </a:lnTo>
                    <a:lnTo>
                      <a:pt x="264" y="985"/>
                    </a:lnTo>
                    <a:lnTo>
                      <a:pt x="266" y="985"/>
                    </a:lnTo>
                    <a:lnTo>
                      <a:pt x="267" y="985"/>
                    </a:lnTo>
                    <a:lnTo>
                      <a:pt x="269" y="985"/>
                    </a:lnTo>
                    <a:lnTo>
                      <a:pt x="270" y="985"/>
                    </a:lnTo>
                    <a:lnTo>
                      <a:pt x="271" y="985"/>
                    </a:lnTo>
                    <a:lnTo>
                      <a:pt x="271" y="985"/>
                    </a:lnTo>
                    <a:lnTo>
                      <a:pt x="271" y="985"/>
                    </a:lnTo>
                    <a:lnTo>
                      <a:pt x="271" y="986"/>
                    </a:lnTo>
                    <a:lnTo>
                      <a:pt x="271" y="986"/>
                    </a:lnTo>
                    <a:lnTo>
                      <a:pt x="273" y="988"/>
                    </a:lnTo>
                    <a:lnTo>
                      <a:pt x="273" y="988"/>
                    </a:lnTo>
                    <a:lnTo>
                      <a:pt x="273" y="989"/>
                    </a:lnTo>
                    <a:lnTo>
                      <a:pt x="273" y="989"/>
                    </a:lnTo>
                    <a:lnTo>
                      <a:pt x="274" y="988"/>
                    </a:lnTo>
                    <a:lnTo>
                      <a:pt x="276" y="989"/>
                    </a:lnTo>
                    <a:lnTo>
                      <a:pt x="276" y="989"/>
                    </a:lnTo>
                    <a:lnTo>
                      <a:pt x="276" y="989"/>
                    </a:lnTo>
                    <a:lnTo>
                      <a:pt x="276" y="989"/>
                    </a:lnTo>
                    <a:lnTo>
                      <a:pt x="276" y="991"/>
                    </a:lnTo>
                    <a:lnTo>
                      <a:pt x="276" y="993"/>
                    </a:lnTo>
                    <a:lnTo>
                      <a:pt x="276" y="995"/>
                    </a:lnTo>
                    <a:lnTo>
                      <a:pt x="277" y="995"/>
                    </a:lnTo>
                    <a:lnTo>
                      <a:pt x="277" y="995"/>
                    </a:lnTo>
                    <a:lnTo>
                      <a:pt x="277" y="996"/>
                    </a:lnTo>
                    <a:lnTo>
                      <a:pt x="277" y="996"/>
                    </a:lnTo>
                    <a:lnTo>
                      <a:pt x="277" y="998"/>
                    </a:lnTo>
                    <a:lnTo>
                      <a:pt x="277" y="998"/>
                    </a:lnTo>
                    <a:lnTo>
                      <a:pt x="277" y="999"/>
                    </a:lnTo>
                    <a:lnTo>
                      <a:pt x="277" y="1001"/>
                    </a:lnTo>
                    <a:lnTo>
                      <a:pt x="277" y="1002"/>
                    </a:lnTo>
                    <a:lnTo>
                      <a:pt x="279" y="1004"/>
                    </a:lnTo>
                    <a:lnTo>
                      <a:pt x="280" y="1005"/>
                    </a:lnTo>
                    <a:lnTo>
                      <a:pt x="282" y="1006"/>
                    </a:lnTo>
                    <a:lnTo>
                      <a:pt x="282" y="1006"/>
                    </a:lnTo>
                    <a:lnTo>
                      <a:pt x="282" y="1006"/>
                    </a:lnTo>
                    <a:lnTo>
                      <a:pt x="283" y="1006"/>
                    </a:lnTo>
                    <a:lnTo>
                      <a:pt x="283" y="1006"/>
                    </a:lnTo>
                    <a:lnTo>
                      <a:pt x="284" y="1005"/>
                    </a:lnTo>
                    <a:lnTo>
                      <a:pt x="286" y="1005"/>
                    </a:lnTo>
                    <a:lnTo>
                      <a:pt x="286" y="1005"/>
                    </a:lnTo>
                    <a:lnTo>
                      <a:pt x="286" y="1005"/>
                    </a:lnTo>
                    <a:lnTo>
                      <a:pt x="287" y="1005"/>
                    </a:lnTo>
                    <a:lnTo>
                      <a:pt x="287" y="1005"/>
                    </a:lnTo>
                    <a:lnTo>
                      <a:pt x="289" y="1005"/>
                    </a:lnTo>
                    <a:lnTo>
                      <a:pt x="290" y="1006"/>
                    </a:lnTo>
                    <a:lnTo>
                      <a:pt x="290" y="1006"/>
                    </a:lnTo>
                    <a:lnTo>
                      <a:pt x="292" y="1008"/>
                    </a:lnTo>
                    <a:lnTo>
                      <a:pt x="293" y="1009"/>
                    </a:lnTo>
                    <a:lnTo>
                      <a:pt x="294" y="1008"/>
                    </a:lnTo>
                    <a:lnTo>
                      <a:pt x="296" y="1009"/>
                    </a:lnTo>
                    <a:lnTo>
                      <a:pt x="297" y="1009"/>
                    </a:lnTo>
                    <a:lnTo>
                      <a:pt x="297" y="1011"/>
                    </a:lnTo>
                    <a:lnTo>
                      <a:pt x="299" y="1011"/>
                    </a:lnTo>
                    <a:lnTo>
                      <a:pt x="300" y="1009"/>
                    </a:lnTo>
                    <a:lnTo>
                      <a:pt x="302" y="1009"/>
                    </a:lnTo>
                    <a:lnTo>
                      <a:pt x="303" y="1008"/>
                    </a:lnTo>
                    <a:lnTo>
                      <a:pt x="305" y="1008"/>
                    </a:lnTo>
                    <a:lnTo>
                      <a:pt x="306" y="1008"/>
                    </a:lnTo>
                    <a:lnTo>
                      <a:pt x="306" y="1008"/>
                    </a:lnTo>
                    <a:lnTo>
                      <a:pt x="307" y="1006"/>
                    </a:lnTo>
                    <a:lnTo>
                      <a:pt x="307" y="1006"/>
                    </a:lnTo>
                    <a:lnTo>
                      <a:pt x="309" y="1006"/>
                    </a:lnTo>
                    <a:lnTo>
                      <a:pt x="309" y="1006"/>
                    </a:lnTo>
                    <a:lnTo>
                      <a:pt x="310" y="1006"/>
                    </a:lnTo>
                    <a:lnTo>
                      <a:pt x="310" y="1005"/>
                    </a:lnTo>
                    <a:lnTo>
                      <a:pt x="312" y="1005"/>
                    </a:lnTo>
                    <a:lnTo>
                      <a:pt x="313" y="1006"/>
                    </a:lnTo>
                    <a:lnTo>
                      <a:pt x="313" y="1006"/>
                    </a:lnTo>
                    <a:lnTo>
                      <a:pt x="316" y="1009"/>
                    </a:lnTo>
                    <a:lnTo>
                      <a:pt x="316" y="1011"/>
                    </a:lnTo>
                    <a:lnTo>
                      <a:pt x="316" y="1012"/>
                    </a:lnTo>
                    <a:lnTo>
                      <a:pt x="317" y="1014"/>
                    </a:lnTo>
                    <a:lnTo>
                      <a:pt x="317" y="1014"/>
                    </a:lnTo>
                    <a:lnTo>
                      <a:pt x="319" y="1015"/>
                    </a:lnTo>
                    <a:lnTo>
                      <a:pt x="320" y="1015"/>
                    </a:lnTo>
                    <a:lnTo>
                      <a:pt x="322" y="1016"/>
                    </a:lnTo>
                    <a:lnTo>
                      <a:pt x="323" y="1018"/>
                    </a:lnTo>
                    <a:lnTo>
                      <a:pt x="323" y="1018"/>
                    </a:lnTo>
                    <a:lnTo>
                      <a:pt x="325" y="1018"/>
                    </a:lnTo>
                    <a:lnTo>
                      <a:pt x="325" y="1018"/>
                    </a:lnTo>
                    <a:lnTo>
                      <a:pt x="325" y="1018"/>
                    </a:lnTo>
                    <a:lnTo>
                      <a:pt x="326" y="1018"/>
                    </a:lnTo>
                    <a:lnTo>
                      <a:pt x="326" y="1015"/>
                    </a:lnTo>
                    <a:lnTo>
                      <a:pt x="327" y="1015"/>
                    </a:lnTo>
                    <a:lnTo>
                      <a:pt x="332" y="1016"/>
                    </a:lnTo>
                    <a:lnTo>
                      <a:pt x="338" y="1019"/>
                    </a:lnTo>
                    <a:lnTo>
                      <a:pt x="339" y="1021"/>
                    </a:lnTo>
                    <a:lnTo>
                      <a:pt x="339" y="1021"/>
                    </a:lnTo>
                    <a:lnTo>
                      <a:pt x="340" y="1021"/>
                    </a:lnTo>
                    <a:lnTo>
                      <a:pt x="340" y="1021"/>
                    </a:lnTo>
                    <a:lnTo>
                      <a:pt x="342" y="1021"/>
                    </a:lnTo>
                    <a:lnTo>
                      <a:pt x="343" y="1019"/>
                    </a:lnTo>
                    <a:lnTo>
                      <a:pt x="343" y="1021"/>
                    </a:lnTo>
                    <a:lnTo>
                      <a:pt x="345" y="1022"/>
                    </a:lnTo>
                    <a:lnTo>
                      <a:pt x="345" y="1022"/>
                    </a:lnTo>
                    <a:lnTo>
                      <a:pt x="346" y="1024"/>
                    </a:lnTo>
                    <a:lnTo>
                      <a:pt x="348" y="1024"/>
                    </a:lnTo>
                    <a:lnTo>
                      <a:pt x="349" y="1024"/>
                    </a:lnTo>
                    <a:lnTo>
                      <a:pt x="349" y="1024"/>
                    </a:lnTo>
                    <a:lnTo>
                      <a:pt x="350" y="1025"/>
                    </a:lnTo>
                    <a:lnTo>
                      <a:pt x="352" y="1025"/>
                    </a:lnTo>
                    <a:lnTo>
                      <a:pt x="353" y="1028"/>
                    </a:lnTo>
                    <a:lnTo>
                      <a:pt x="355" y="1028"/>
                    </a:lnTo>
                    <a:lnTo>
                      <a:pt x="356" y="1027"/>
                    </a:lnTo>
                    <a:lnTo>
                      <a:pt x="358" y="1027"/>
                    </a:lnTo>
                    <a:lnTo>
                      <a:pt x="358" y="1027"/>
                    </a:lnTo>
                    <a:lnTo>
                      <a:pt x="359" y="1027"/>
                    </a:lnTo>
                    <a:lnTo>
                      <a:pt x="359" y="1028"/>
                    </a:lnTo>
                    <a:lnTo>
                      <a:pt x="359" y="1028"/>
                    </a:lnTo>
                    <a:lnTo>
                      <a:pt x="359" y="1029"/>
                    </a:lnTo>
                    <a:lnTo>
                      <a:pt x="359" y="1031"/>
                    </a:lnTo>
                    <a:lnTo>
                      <a:pt x="359" y="1032"/>
                    </a:lnTo>
                    <a:lnTo>
                      <a:pt x="361" y="1032"/>
                    </a:lnTo>
                    <a:lnTo>
                      <a:pt x="361" y="1032"/>
                    </a:lnTo>
                    <a:lnTo>
                      <a:pt x="361" y="1034"/>
                    </a:lnTo>
                    <a:lnTo>
                      <a:pt x="361" y="1034"/>
                    </a:lnTo>
                    <a:lnTo>
                      <a:pt x="361" y="1034"/>
                    </a:lnTo>
                    <a:lnTo>
                      <a:pt x="361" y="1035"/>
                    </a:lnTo>
                    <a:lnTo>
                      <a:pt x="359" y="1035"/>
                    </a:lnTo>
                    <a:lnTo>
                      <a:pt x="359" y="1037"/>
                    </a:lnTo>
                    <a:lnTo>
                      <a:pt x="359" y="1037"/>
                    </a:lnTo>
                    <a:lnTo>
                      <a:pt x="356" y="1039"/>
                    </a:lnTo>
                    <a:lnTo>
                      <a:pt x="356" y="1039"/>
                    </a:lnTo>
                    <a:lnTo>
                      <a:pt x="356" y="1041"/>
                    </a:lnTo>
                    <a:lnTo>
                      <a:pt x="355" y="1041"/>
                    </a:lnTo>
                    <a:lnTo>
                      <a:pt x="355" y="1041"/>
                    </a:lnTo>
                    <a:lnTo>
                      <a:pt x="355" y="1041"/>
                    </a:lnTo>
                    <a:lnTo>
                      <a:pt x="353" y="1041"/>
                    </a:lnTo>
                    <a:lnTo>
                      <a:pt x="353" y="1041"/>
                    </a:lnTo>
                    <a:lnTo>
                      <a:pt x="352" y="1042"/>
                    </a:lnTo>
                    <a:lnTo>
                      <a:pt x="353" y="1044"/>
                    </a:lnTo>
                    <a:lnTo>
                      <a:pt x="355" y="1044"/>
                    </a:lnTo>
                    <a:lnTo>
                      <a:pt x="356" y="1045"/>
                    </a:lnTo>
                    <a:lnTo>
                      <a:pt x="358" y="1047"/>
                    </a:lnTo>
                    <a:lnTo>
                      <a:pt x="358" y="1047"/>
                    </a:lnTo>
                    <a:lnTo>
                      <a:pt x="358" y="1047"/>
                    </a:lnTo>
                    <a:lnTo>
                      <a:pt x="356" y="1047"/>
                    </a:lnTo>
                    <a:lnTo>
                      <a:pt x="356" y="1047"/>
                    </a:lnTo>
                    <a:lnTo>
                      <a:pt x="355" y="1047"/>
                    </a:lnTo>
                    <a:lnTo>
                      <a:pt x="355" y="1047"/>
                    </a:lnTo>
                    <a:lnTo>
                      <a:pt x="355" y="1047"/>
                    </a:lnTo>
                    <a:lnTo>
                      <a:pt x="353" y="1047"/>
                    </a:lnTo>
                    <a:lnTo>
                      <a:pt x="353" y="1048"/>
                    </a:lnTo>
                    <a:lnTo>
                      <a:pt x="352" y="1050"/>
                    </a:lnTo>
                    <a:lnTo>
                      <a:pt x="352" y="1051"/>
                    </a:lnTo>
                    <a:lnTo>
                      <a:pt x="352" y="1052"/>
                    </a:lnTo>
                    <a:lnTo>
                      <a:pt x="353" y="1052"/>
                    </a:lnTo>
                    <a:lnTo>
                      <a:pt x="355" y="1052"/>
                    </a:lnTo>
                    <a:lnTo>
                      <a:pt x="355" y="1054"/>
                    </a:lnTo>
                    <a:lnTo>
                      <a:pt x="356" y="1055"/>
                    </a:lnTo>
                    <a:lnTo>
                      <a:pt x="356" y="1058"/>
                    </a:lnTo>
                    <a:lnTo>
                      <a:pt x="356" y="1058"/>
                    </a:lnTo>
                    <a:lnTo>
                      <a:pt x="355" y="1058"/>
                    </a:lnTo>
                    <a:lnTo>
                      <a:pt x="355" y="1060"/>
                    </a:lnTo>
                    <a:lnTo>
                      <a:pt x="355" y="1060"/>
                    </a:lnTo>
                    <a:lnTo>
                      <a:pt x="356" y="1060"/>
                    </a:lnTo>
                    <a:lnTo>
                      <a:pt x="356" y="1060"/>
                    </a:lnTo>
                    <a:lnTo>
                      <a:pt x="356" y="1060"/>
                    </a:lnTo>
                    <a:lnTo>
                      <a:pt x="358" y="1060"/>
                    </a:lnTo>
                    <a:lnTo>
                      <a:pt x="358" y="1061"/>
                    </a:lnTo>
                    <a:lnTo>
                      <a:pt x="358" y="1061"/>
                    </a:lnTo>
                    <a:lnTo>
                      <a:pt x="356" y="1062"/>
                    </a:lnTo>
                    <a:lnTo>
                      <a:pt x="355" y="1064"/>
                    </a:lnTo>
                    <a:lnTo>
                      <a:pt x="353" y="1067"/>
                    </a:lnTo>
                    <a:lnTo>
                      <a:pt x="353" y="1067"/>
                    </a:lnTo>
                    <a:lnTo>
                      <a:pt x="353" y="1067"/>
                    </a:lnTo>
                    <a:lnTo>
                      <a:pt x="353" y="1067"/>
                    </a:lnTo>
                    <a:lnTo>
                      <a:pt x="353" y="1067"/>
                    </a:lnTo>
                    <a:lnTo>
                      <a:pt x="353" y="1068"/>
                    </a:lnTo>
                    <a:lnTo>
                      <a:pt x="353" y="1070"/>
                    </a:lnTo>
                    <a:lnTo>
                      <a:pt x="353" y="1070"/>
                    </a:lnTo>
                    <a:lnTo>
                      <a:pt x="348" y="1071"/>
                    </a:lnTo>
                    <a:lnTo>
                      <a:pt x="342" y="1070"/>
                    </a:lnTo>
                    <a:lnTo>
                      <a:pt x="339" y="1070"/>
                    </a:lnTo>
                    <a:lnTo>
                      <a:pt x="338" y="1070"/>
                    </a:lnTo>
                    <a:lnTo>
                      <a:pt x="338" y="1071"/>
                    </a:lnTo>
                    <a:lnTo>
                      <a:pt x="336" y="1071"/>
                    </a:lnTo>
                    <a:lnTo>
                      <a:pt x="336" y="1073"/>
                    </a:lnTo>
                    <a:lnTo>
                      <a:pt x="336" y="1073"/>
                    </a:lnTo>
                    <a:lnTo>
                      <a:pt x="335" y="1074"/>
                    </a:lnTo>
                    <a:lnTo>
                      <a:pt x="335" y="1074"/>
                    </a:lnTo>
                    <a:lnTo>
                      <a:pt x="335" y="1074"/>
                    </a:lnTo>
                    <a:lnTo>
                      <a:pt x="332" y="1075"/>
                    </a:lnTo>
                    <a:lnTo>
                      <a:pt x="329" y="1075"/>
                    </a:lnTo>
                    <a:lnTo>
                      <a:pt x="329" y="1077"/>
                    </a:lnTo>
                    <a:lnTo>
                      <a:pt x="327" y="1077"/>
                    </a:lnTo>
                    <a:lnTo>
                      <a:pt x="327" y="1078"/>
                    </a:lnTo>
                    <a:lnTo>
                      <a:pt x="327" y="1078"/>
                    </a:lnTo>
                    <a:lnTo>
                      <a:pt x="327" y="1080"/>
                    </a:lnTo>
                    <a:lnTo>
                      <a:pt x="327" y="1080"/>
                    </a:lnTo>
                    <a:lnTo>
                      <a:pt x="327" y="1081"/>
                    </a:lnTo>
                    <a:lnTo>
                      <a:pt x="327" y="1081"/>
                    </a:lnTo>
                    <a:lnTo>
                      <a:pt x="326" y="1081"/>
                    </a:lnTo>
                    <a:lnTo>
                      <a:pt x="326" y="1083"/>
                    </a:lnTo>
                    <a:lnTo>
                      <a:pt x="326" y="1083"/>
                    </a:lnTo>
                    <a:lnTo>
                      <a:pt x="326" y="1083"/>
                    </a:lnTo>
                    <a:lnTo>
                      <a:pt x="327" y="1084"/>
                    </a:lnTo>
                    <a:lnTo>
                      <a:pt x="327" y="1084"/>
                    </a:lnTo>
                    <a:lnTo>
                      <a:pt x="327" y="1084"/>
                    </a:lnTo>
                    <a:lnTo>
                      <a:pt x="327" y="1085"/>
                    </a:lnTo>
                    <a:lnTo>
                      <a:pt x="327" y="1085"/>
                    </a:lnTo>
                    <a:lnTo>
                      <a:pt x="326" y="1085"/>
                    </a:lnTo>
                    <a:lnTo>
                      <a:pt x="326" y="1085"/>
                    </a:lnTo>
                    <a:lnTo>
                      <a:pt x="326" y="1085"/>
                    </a:lnTo>
                    <a:lnTo>
                      <a:pt x="326" y="1085"/>
                    </a:lnTo>
                    <a:lnTo>
                      <a:pt x="326" y="1087"/>
                    </a:lnTo>
                    <a:lnTo>
                      <a:pt x="326" y="1087"/>
                    </a:lnTo>
                    <a:lnTo>
                      <a:pt x="326" y="1088"/>
                    </a:lnTo>
                    <a:lnTo>
                      <a:pt x="333" y="1084"/>
                    </a:lnTo>
                    <a:lnTo>
                      <a:pt x="336" y="1084"/>
                    </a:lnTo>
                    <a:lnTo>
                      <a:pt x="333" y="1085"/>
                    </a:lnTo>
                    <a:lnTo>
                      <a:pt x="332" y="1087"/>
                    </a:lnTo>
                    <a:lnTo>
                      <a:pt x="340" y="1085"/>
                    </a:lnTo>
                    <a:lnTo>
                      <a:pt x="345" y="1085"/>
                    </a:lnTo>
                    <a:lnTo>
                      <a:pt x="345" y="1088"/>
                    </a:lnTo>
                    <a:lnTo>
                      <a:pt x="381" y="1088"/>
                    </a:lnTo>
                    <a:lnTo>
                      <a:pt x="392" y="1091"/>
                    </a:lnTo>
                    <a:lnTo>
                      <a:pt x="409" y="1106"/>
                    </a:lnTo>
                    <a:lnTo>
                      <a:pt x="435" y="1117"/>
                    </a:lnTo>
                    <a:lnTo>
                      <a:pt x="460" y="1137"/>
                    </a:lnTo>
                    <a:lnTo>
                      <a:pt x="475" y="1140"/>
                    </a:lnTo>
                    <a:lnTo>
                      <a:pt x="480" y="1142"/>
                    </a:lnTo>
                    <a:lnTo>
                      <a:pt x="481" y="1140"/>
                    </a:lnTo>
                    <a:lnTo>
                      <a:pt x="481" y="1140"/>
                    </a:lnTo>
                    <a:lnTo>
                      <a:pt x="483" y="1140"/>
                    </a:lnTo>
                    <a:lnTo>
                      <a:pt x="483" y="1142"/>
                    </a:lnTo>
                    <a:lnTo>
                      <a:pt x="483" y="1139"/>
                    </a:lnTo>
                    <a:lnTo>
                      <a:pt x="490" y="1126"/>
                    </a:lnTo>
                    <a:lnTo>
                      <a:pt x="490" y="1123"/>
                    </a:lnTo>
                    <a:lnTo>
                      <a:pt x="490" y="1121"/>
                    </a:lnTo>
                    <a:lnTo>
                      <a:pt x="490" y="1121"/>
                    </a:lnTo>
                    <a:lnTo>
                      <a:pt x="491" y="1121"/>
                    </a:lnTo>
                    <a:lnTo>
                      <a:pt x="491" y="1123"/>
                    </a:lnTo>
                    <a:lnTo>
                      <a:pt x="493" y="1123"/>
                    </a:lnTo>
                    <a:lnTo>
                      <a:pt x="493" y="1121"/>
                    </a:lnTo>
                    <a:lnTo>
                      <a:pt x="496" y="1120"/>
                    </a:lnTo>
                    <a:lnTo>
                      <a:pt x="498" y="1120"/>
                    </a:lnTo>
                    <a:lnTo>
                      <a:pt x="501" y="1120"/>
                    </a:lnTo>
                    <a:lnTo>
                      <a:pt x="503" y="1119"/>
                    </a:lnTo>
                    <a:lnTo>
                      <a:pt x="506" y="1116"/>
                    </a:lnTo>
                    <a:lnTo>
                      <a:pt x="507" y="1116"/>
                    </a:lnTo>
                    <a:lnTo>
                      <a:pt x="507" y="1116"/>
                    </a:lnTo>
                    <a:lnTo>
                      <a:pt x="508" y="1116"/>
                    </a:lnTo>
                    <a:lnTo>
                      <a:pt x="510" y="1116"/>
                    </a:lnTo>
                    <a:lnTo>
                      <a:pt x="510" y="1116"/>
                    </a:lnTo>
                    <a:lnTo>
                      <a:pt x="510" y="1116"/>
                    </a:lnTo>
                    <a:lnTo>
                      <a:pt x="511" y="1116"/>
                    </a:lnTo>
                    <a:lnTo>
                      <a:pt x="511" y="1116"/>
                    </a:lnTo>
                    <a:lnTo>
                      <a:pt x="511" y="1114"/>
                    </a:lnTo>
                    <a:lnTo>
                      <a:pt x="511" y="1114"/>
                    </a:lnTo>
                    <a:lnTo>
                      <a:pt x="511" y="1113"/>
                    </a:lnTo>
                    <a:lnTo>
                      <a:pt x="511" y="1111"/>
                    </a:lnTo>
                    <a:lnTo>
                      <a:pt x="511" y="1111"/>
                    </a:lnTo>
                    <a:lnTo>
                      <a:pt x="520" y="1107"/>
                    </a:lnTo>
                    <a:lnTo>
                      <a:pt x="520" y="1106"/>
                    </a:lnTo>
                    <a:lnTo>
                      <a:pt x="513" y="1101"/>
                    </a:lnTo>
                    <a:lnTo>
                      <a:pt x="508" y="1100"/>
                    </a:lnTo>
                    <a:lnTo>
                      <a:pt x="508" y="1100"/>
                    </a:lnTo>
                    <a:lnTo>
                      <a:pt x="508" y="1100"/>
                    </a:lnTo>
                    <a:lnTo>
                      <a:pt x="508" y="1098"/>
                    </a:lnTo>
                    <a:lnTo>
                      <a:pt x="507" y="1098"/>
                    </a:lnTo>
                    <a:lnTo>
                      <a:pt x="507" y="1097"/>
                    </a:lnTo>
                    <a:lnTo>
                      <a:pt x="507" y="1097"/>
                    </a:lnTo>
                    <a:lnTo>
                      <a:pt x="508" y="1097"/>
                    </a:lnTo>
                    <a:lnTo>
                      <a:pt x="508" y="1096"/>
                    </a:lnTo>
                    <a:lnTo>
                      <a:pt x="510" y="1096"/>
                    </a:lnTo>
                    <a:lnTo>
                      <a:pt x="511" y="1097"/>
                    </a:lnTo>
                    <a:lnTo>
                      <a:pt x="511" y="1097"/>
                    </a:lnTo>
                    <a:lnTo>
                      <a:pt x="513" y="1097"/>
                    </a:lnTo>
                    <a:lnTo>
                      <a:pt x="514" y="1097"/>
                    </a:lnTo>
                    <a:lnTo>
                      <a:pt x="514" y="1097"/>
                    </a:lnTo>
                    <a:lnTo>
                      <a:pt x="514" y="1097"/>
                    </a:lnTo>
                    <a:lnTo>
                      <a:pt x="516" y="1097"/>
                    </a:lnTo>
                    <a:lnTo>
                      <a:pt x="516" y="1097"/>
                    </a:lnTo>
                    <a:lnTo>
                      <a:pt x="516" y="1096"/>
                    </a:lnTo>
                    <a:lnTo>
                      <a:pt x="516" y="1096"/>
                    </a:lnTo>
                    <a:lnTo>
                      <a:pt x="514" y="1094"/>
                    </a:lnTo>
                    <a:lnTo>
                      <a:pt x="514" y="1094"/>
                    </a:lnTo>
                    <a:lnTo>
                      <a:pt x="511" y="1088"/>
                    </a:lnTo>
                    <a:lnTo>
                      <a:pt x="510" y="1085"/>
                    </a:lnTo>
                    <a:lnTo>
                      <a:pt x="510" y="1084"/>
                    </a:lnTo>
                    <a:lnTo>
                      <a:pt x="506" y="1080"/>
                    </a:lnTo>
                    <a:lnTo>
                      <a:pt x="503" y="1077"/>
                    </a:lnTo>
                    <a:lnTo>
                      <a:pt x="503" y="1075"/>
                    </a:lnTo>
                    <a:lnTo>
                      <a:pt x="501" y="1074"/>
                    </a:lnTo>
                    <a:lnTo>
                      <a:pt x="501" y="1073"/>
                    </a:lnTo>
                    <a:lnTo>
                      <a:pt x="500" y="1073"/>
                    </a:lnTo>
                    <a:lnTo>
                      <a:pt x="498" y="1073"/>
                    </a:lnTo>
                    <a:lnTo>
                      <a:pt x="497" y="1073"/>
                    </a:lnTo>
                    <a:lnTo>
                      <a:pt x="493" y="1071"/>
                    </a:lnTo>
                    <a:lnTo>
                      <a:pt x="491" y="1071"/>
                    </a:lnTo>
                    <a:lnTo>
                      <a:pt x="488" y="1071"/>
                    </a:lnTo>
                    <a:lnTo>
                      <a:pt x="488" y="1073"/>
                    </a:lnTo>
                    <a:lnTo>
                      <a:pt x="485" y="1073"/>
                    </a:lnTo>
                    <a:lnTo>
                      <a:pt x="485" y="1073"/>
                    </a:lnTo>
                    <a:lnTo>
                      <a:pt x="484" y="1071"/>
                    </a:lnTo>
                    <a:lnTo>
                      <a:pt x="484" y="1071"/>
                    </a:lnTo>
                    <a:lnTo>
                      <a:pt x="483" y="1070"/>
                    </a:lnTo>
                    <a:lnTo>
                      <a:pt x="483" y="1068"/>
                    </a:lnTo>
                    <a:lnTo>
                      <a:pt x="483" y="1065"/>
                    </a:lnTo>
                    <a:lnTo>
                      <a:pt x="483" y="1064"/>
                    </a:lnTo>
                    <a:lnTo>
                      <a:pt x="483" y="1061"/>
                    </a:lnTo>
                    <a:lnTo>
                      <a:pt x="481" y="1060"/>
                    </a:lnTo>
                    <a:lnTo>
                      <a:pt x="478" y="1058"/>
                    </a:lnTo>
                    <a:lnTo>
                      <a:pt x="477" y="1057"/>
                    </a:lnTo>
                    <a:lnTo>
                      <a:pt x="475" y="1057"/>
                    </a:lnTo>
                    <a:lnTo>
                      <a:pt x="474" y="1055"/>
                    </a:lnTo>
                    <a:lnTo>
                      <a:pt x="474" y="1052"/>
                    </a:lnTo>
                    <a:lnTo>
                      <a:pt x="475" y="1050"/>
                    </a:lnTo>
                    <a:lnTo>
                      <a:pt x="475" y="1048"/>
                    </a:lnTo>
                    <a:lnTo>
                      <a:pt x="477" y="1045"/>
                    </a:lnTo>
                    <a:lnTo>
                      <a:pt x="478" y="1042"/>
                    </a:lnTo>
                    <a:lnTo>
                      <a:pt x="480" y="1041"/>
                    </a:lnTo>
                    <a:lnTo>
                      <a:pt x="480" y="1041"/>
                    </a:lnTo>
                    <a:lnTo>
                      <a:pt x="481" y="1041"/>
                    </a:lnTo>
                    <a:lnTo>
                      <a:pt x="481" y="1039"/>
                    </a:lnTo>
                    <a:lnTo>
                      <a:pt x="481" y="1039"/>
                    </a:lnTo>
                    <a:lnTo>
                      <a:pt x="481" y="1038"/>
                    </a:lnTo>
                    <a:lnTo>
                      <a:pt x="481" y="1038"/>
                    </a:lnTo>
                    <a:lnTo>
                      <a:pt x="481" y="1037"/>
                    </a:lnTo>
                    <a:lnTo>
                      <a:pt x="481" y="1037"/>
                    </a:lnTo>
                    <a:lnTo>
                      <a:pt x="481" y="1037"/>
                    </a:lnTo>
                    <a:lnTo>
                      <a:pt x="480" y="1035"/>
                    </a:lnTo>
                    <a:lnTo>
                      <a:pt x="478" y="1034"/>
                    </a:lnTo>
                    <a:lnTo>
                      <a:pt x="478" y="1034"/>
                    </a:lnTo>
                    <a:lnTo>
                      <a:pt x="478" y="1032"/>
                    </a:lnTo>
                    <a:lnTo>
                      <a:pt x="477" y="1032"/>
                    </a:lnTo>
                    <a:lnTo>
                      <a:pt x="477" y="1031"/>
                    </a:lnTo>
                    <a:lnTo>
                      <a:pt x="478" y="1031"/>
                    </a:lnTo>
                    <a:lnTo>
                      <a:pt x="478" y="1028"/>
                    </a:lnTo>
                    <a:lnTo>
                      <a:pt x="478" y="1027"/>
                    </a:lnTo>
                    <a:lnTo>
                      <a:pt x="480" y="1024"/>
                    </a:lnTo>
                    <a:lnTo>
                      <a:pt x="480" y="1022"/>
                    </a:lnTo>
                    <a:lnTo>
                      <a:pt x="481" y="1021"/>
                    </a:lnTo>
                    <a:lnTo>
                      <a:pt x="481" y="1019"/>
                    </a:lnTo>
                    <a:lnTo>
                      <a:pt x="483" y="1019"/>
                    </a:lnTo>
                    <a:lnTo>
                      <a:pt x="483" y="1018"/>
                    </a:lnTo>
                    <a:lnTo>
                      <a:pt x="484" y="1016"/>
                    </a:lnTo>
                    <a:lnTo>
                      <a:pt x="485" y="1016"/>
                    </a:lnTo>
                    <a:lnTo>
                      <a:pt x="485" y="1015"/>
                    </a:lnTo>
                    <a:lnTo>
                      <a:pt x="485" y="1014"/>
                    </a:lnTo>
                    <a:lnTo>
                      <a:pt x="487" y="1012"/>
                    </a:lnTo>
                    <a:lnTo>
                      <a:pt x="485" y="1012"/>
                    </a:lnTo>
                    <a:lnTo>
                      <a:pt x="485" y="1011"/>
                    </a:lnTo>
                    <a:lnTo>
                      <a:pt x="487" y="1011"/>
                    </a:lnTo>
                    <a:lnTo>
                      <a:pt x="487" y="1009"/>
                    </a:lnTo>
                    <a:lnTo>
                      <a:pt x="487" y="1008"/>
                    </a:lnTo>
                    <a:lnTo>
                      <a:pt x="488" y="1006"/>
                    </a:lnTo>
                    <a:lnTo>
                      <a:pt x="490" y="1006"/>
                    </a:lnTo>
                    <a:lnTo>
                      <a:pt x="490" y="1006"/>
                    </a:lnTo>
                    <a:lnTo>
                      <a:pt x="491" y="1005"/>
                    </a:lnTo>
                    <a:lnTo>
                      <a:pt x="491" y="1005"/>
                    </a:lnTo>
                    <a:lnTo>
                      <a:pt x="491" y="1005"/>
                    </a:lnTo>
                    <a:lnTo>
                      <a:pt x="493" y="1006"/>
                    </a:lnTo>
                    <a:lnTo>
                      <a:pt x="493" y="1006"/>
                    </a:lnTo>
                    <a:lnTo>
                      <a:pt x="494" y="1006"/>
                    </a:lnTo>
                    <a:lnTo>
                      <a:pt x="494" y="1006"/>
                    </a:lnTo>
                    <a:lnTo>
                      <a:pt x="494" y="1008"/>
                    </a:lnTo>
                    <a:lnTo>
                      <a:pt x="496" y="1009"/>
                    </a:lnTo>
                    <a:lnTo>
                      <a:pt x="501" y="1015"/>
                    </a:lnTo>
                    <a:lnTo>
                      <a:pt x="503" y="1018"/>
                    </a:lnTo>
                    <a:lnTo>
                      <a:pt x="504" y="1019"/>
                    </a:lnTo>
                    <a:lnTo>
                      <a:pt x="504" y="1019"/>
                    </a:lnTo>
                    <a:lnTo>
                      <a:pt x="506" y="1021"/>
                    </a:lnTo>
                    <a:lnTo>
                      <a:pt x="507" y="1021"/>
                    </a:lnTo>
                    <a:lnTo>
                      <a:pt x="510" y="1019"/>
                    </a:lnTo>
                    <a:lnTo>
                      <a:pt x="510" y="1019"/>
                    </a:lnTo>
                    <a:lnTo>
                      <a:pt x="511" y="1018"/>
                    </a:lnTo>
                    <a:lnTo>
                      <a:pt x="513" y="1018"/>
                    </a:lnTo>
                    <a:lnTo>
                      <a:pt x="513" y="1018"/>
                    </a:lnTo>
                    <a:lnTo>
                      <a:pt x="513" y="1015"/>
                    </a:lnTo>
                    <a:lnTo>
                      <a:pt x="513" y="1015"/>
                    </a:lnTo>
                    <a:lnTo>
                      <a:pt x="513" y="1015"/>
                    </a:lnTo>
                    <a:lnTo>
                      <a:pt x="513" y="1014"/>
                    </a:lnTo>
                    <a:lnTo>
                      <a:pt x="511" y="1011"/>
                    </a:lnTo>
                    <a:lnTo>
                      <a:pt x="511" y="1008"/>
                    </a:lnTo>
                    <a:lnTo>
                      <a:pt x="510" y="1004"/>
                    </a:lnTo>
                    <a:lnTo>
                      <a:pt x="510" y="1001"/>
                    </a:lnTo>
                    <a:lnTo>
                      <a:pt x="510" y="1001"/>
                    </a:lnTo>
                    <a:lnTo>
                      <a:pt x="510" y="1001"/>
                    </a:lnTo>
                    <a:lnTo>
                      <a:pt x="511" y="1001"/>
                    </a:lnTo>
                    <a:lnTo>
                      <a:pt x="511" y="1001"/>
                    </a:lnTo>
                    <a:lnTo>
                      <a:pt x="513" y="1001"/>
                    </a:lnTo>
                    <a:lnTo>
                      <a:pt x="514" y="999"/>
                    </a:lnTo>
                    <a:lnTo>
                      <a:pt x="514" y="999"/>
                    </a:lnTo>
                    <a:lnTo>
                      <a:pt x="518" y="996"/>
                    </a:lnTo>
                    <a:lnTo>
                      <a:pt x="521" y="993"/>
                    </a:lnTo>
                    <a:lnTo>
                      <a:pt x="524" y="989"/>
                    </a:lnTo>
                    <a:lnTo>
                      <a:pt x="524" y="988"/>
                    </a:lnTo>
                    <a:lnTo>
                      <a:pt x="527" y="986"/>
                    </a:lnTo>
                    <a:lnTo>
                      <a:pt x="530" y="986"/>
                    </a:lnTo>
                    <a:lnTo>
                      <a:pt x="531" y="985"/>
                    </a:lnTo>
                    <a:lnTo>
                      <a:pt x="533" y="985"/>
                    </a:lnTo>
                    <a:lnTo>
                      <a:pt x="534" y="983"/>
                    </a:lnTo>
                    <a:lnTo>
                      <a:pt x="537" y="982"/>
                    </a:lnTo>
                    <a:lnTo>
                      <a:pt x="539" y="982"/>
                    </a:lnTo>
                    <a:lnTo>
                      <a:pt x="539" y="982"/>
                    </a:lnTo>
                    <a:lnTo>
                      <a:pt x="539" y="981"/>
                    </a:lnTo>
                    <a:lnTo>
                      <a:pt x="540" y="981"/>
                    </a:lnTo>
                    <a:lnTo>
                      <a:pt x="540" y="981"/>
                    </a:lnTo>
                    <a:lnTo>
                      <a:pt x="541" y="978"/>
                    </a:lnTo>
                    <a:lnTo>
                      <a:pt x="543" y="976"/>
                    </a:lnTo>
                    <a:lnTo>
                      <a:pt x="544" y="975"/>
                    </a:lnTo>
                    <a:lnTo>
                      <a:pt x="546" y="973"/>
                    </a:lnTo>
                    <a:lnTo>
                      <a:pt x="547" y="972"/>
                    </a:lnTo>
                    <a:lnTo>
                      <a:pt x="547" y="970"/>
                    </a:lnTo>
                    <a:lnTo>
                      <a:pt x="549" y="970"/>
                    </a:lnTo>
                    <a:lnTo>
                      <a:pt x="550" y="970"/>
                    </a:lnTo>
                    <a:lnTo>
                      <a:pt x="550" y="972"/>
                    </a:lnTo>
                    <a:lnTo>
                      <a:pt x="552" y="972"/>
                    </a:lnTo>
                    <a:lnTo>
                      <a:pt x="553" y="972"/>
                    </a:lnTo>
                    <a:lnTo>
                      <a:pt x="554" y="973"/>
                    </a:lnTo>
                    <a:lnTo>
                      <a:pt x="554" y="973"/>
                    </a:lnTo>
                    <a:lnTo>
                      <a:pt x="556" y="975"/>
                    </a:lnTo>
                    <a:lnTo>
                      <a:pt x="556" y="975"/>
                    </a:lnTo>
                    <a:lnTo>
                      <a:pt x="556" y="976"/>
                    </a:lnTo>
                    <a:lnTo>
                      <a:pt x="557" y="978"/>
                    </a:lnTo>
                    <a:lnTo>
                      <a:pt x="559" y="978"/>
                    </a:lnTo>
                    <a:lnTo>
                      <a:pt x="560" y="978"/>
                    </a:lnTo>
                    <a:lnTo>
                      <a:pt x="562" y="978"/>
                    </a:lnTo>
                    <a:lnTo>
                      <a:pt x="566" y="973"/>
                    </a:lnTo>
                    <a:lnTo>
                      <a:pt x="567" y="973"/>
                    </a:lnTo>
                    <a:lnTo>
                      <a:pt x="569" y="972"/>
                    </a:lnTo>
                    <a:lnTo>
                      <a:pt x="570" y="972"/>
                    </a:lnTo>
                    <a:lnTo>
                      <a:pt x="572" y="972"/>
                    </a:lnTo>
                    <a:lnTo>
                      <a:pt x="573" y="972"/>
                    </a:lnTo>
                    <a:lnTo>
                      <a:pt x="575" y="972"/>
                    </a:lnTo>
                    <a:lnTo>
                      <a:pt x="576" y="975"/>
                    </a:lnTo>
                    <a:lnTo>
                      <a:pt x="577" y="976"/>
                    </a:lnTo>
                    <a:lnTo>
                      <a:pt x="579" y="976"/>
                    </a:lnTo>
                    <a:lnTo>
                      <a:pt x="579" y="976"/>
                    </a:lnTo>
                    <a:lnTo>
                      <a:pt x="579" y="978"/>
                    </a:lnTo>
                    <a:lnTo>
                      <a:pt x="580" y="978"/>
                    </a:lnTo>
                    <a:lnTo>
                      <a:pt x="580" y="976"/>
                    </a:lnTo>
                    <a:lnTo>
                      <a:pt x="582" y="976"/>
                    </a:lnTo>
                    <a:lnTo>
                      <a:pt x="583" y="976"/>
                    </a:lnTo>
                    <a:lnTo>
                      <a:pt x="585" y="978"/>
                    </a:lnTo>
                    <a:lnTo>
                      <a:pt x="585" y="978"/>
                    </a:lnTo>
                    <a:lnTo>
                      <a:pt x="585" y="978"/>
                    </a:lnTo>
                    <a:lnTo>
                      <a:pt x="586" y="978"/>
                    </a:lnTo>
                    <a:lnTo>
                      <a:pt x="587" y="978"/>
                    </a:lnTo>
                    <a:lnTo>
                      <a:pt x="590" y="978"/>
                    </a:lnTo>
                    <a:lnTo>
                      <a:pt x="592" y="978"/>
                    </a:lnTo>
                    <a:lnTo>
                      <a:pt x="595" y="978"/>
                    </a:lnTo>
                    <a:lnTo>
                      <a:pt x="596" y="979"/>
                    </a:lnTo>
                    <a:lnTo>
                      <a:pt x="599" y="983"/>
                    </a:lnTo>
                    <a:lnTo>
                      <a:pt x="600" y="983"/>
                    </a:lnTo>
                    <a:lnTo>
                      <a:pt x="603" y="985"/>
                    </a:lnTo>
                    <a:lnTo>
                      <a:pt x="605" y="988"/>
                    </a:lnTo>
                    <a:lnTo>
                      <a:pt x="609" y="992"/>
                    </a:lnTo>
                    <a:lnTo>
                      <a:pt x="610" y="993"/>
                    </a:lnTo>
                    <a:lnTo>
                      <a:pt x="610" y="995"/>
                    </a:lnTo>
                    <a:lnTo>
                      <a:pt x="612" y="995"/>
                    </a:lnTo>
                    <a:lnTo>
                      <a:pt x="612" y="996"/>
                    </a:lnTo>
                    <a:lnTo>
                      <a:pt x="612" y="996"/>
                    </a:lnTo>
                    <a:lnTo>
                      <a:pt x="612" y="1001"/>
                    </a:lnTo>
                    <a:lnTo>
                      <a:pt x="613" y="1002"/>
                    </a:lnTo>
                    <a:lnTo>
                      <a:pt x="613" y="1002"/>
                    </a:lnTo>
                    <a:lnTo>
                      <a:pt x="613" y="1002"/>
                    </a:lnTo>
                    <a:lnTo>
                      <a:pt x="615" y="1002"/>
                    </a:lnTo>
                    <a:lnTo>
                      <a:pt x="615" y="1001"/>
                    </a:lnTo>
                    <a:lnTo>
                      <a:pt x="615" y="1001"/>
                    </a:lnTo>
                    <a:lnTo>
                      <a:pt x="615" y="1001"/>
                    </a:lnTo>
                    <a:lnTo>
                      <a:pt x="615" y="999"/>
                    </a:lnTo>
                    <a:lnTo>
                      <a:pt x="616" y="998"/>
                    </a:lnTo>
                    <a:lnTo>
                      <a:pt x="615" y="996"/>
                    </a:lnTo>
                    <a:lnTo>
                      <a:pt x="615" y="993"/>
                    </a:lnTo>
                    <a:lnTo>
                      <a:pt x="613" y="992"/>
                    </a:lnTo>
                    <a:lnTo>
                      <a:pt x="613" y="991"/>
                    </a:lnTo>
                    <a:lnTo>
                      <a:pt x="615" y="989"/>
                    </a:lnTo>
                    <a:lnTo>
                      <a:pt x="616" y="989"/>
                    </a:lnTo>
                    <a:lnTo>
                      <a:pt x="616" y="989"/>
                    </a:lnTo>
                    <a:lnTo>
                      <a:pt x="619" y="992"/>
                    </a:lnTo>
                    <a:lnTo>
                      <a:pt x="622" y="993"/>
                    </a:lnTo>
                    <a:lnTo>
                      <a:pt x="625" y="996"/>
                    </a:lnTo>
                    <a:lnTo>
                      <a:pt x="626" y="998"/>
                    </a:lnTo>
                    <a:lnTo>
                      <a:pt x="628" y="999"/>
                    </a:lnTo>
                    <a:lnTo>
                      <a:pt x="629" y="999"/>
                    </a:lnTo>
                    <a:lnTo>
                      <a:pt x="631" y="999"/>
                    </a:lnTo>
                    <a:lnTo>
                      <a:pt x="631" y="1001"/>
                    </a:lnTo>
                    <a:lnTo>
                      <a:pt x="632" y="1001"/>
                    </a:lnTo>
                    <a:lnTo>
                      <a:pt x="632" y="1001"/>
                    </a:lnTo>
                    <a:lnTo>
                      <a:pt x="633" y="1001"/>
                    </a:lnTo>
                    <a:lnTo>
                      <a:pt x="633" y="1001"/>
                    </a:lnTo>
                    <a:lnTo>
                      <a:pt x="635" y="1001"/>
                    </a:lnTo>
                    <a:lnTo>
                      <a:pt x="635" y="1001"/>
                    </a:lnTo>
                    <a:lnTo>
                      <a:pt x="636" y="1001"/>
                    </a:lnTo>
                    <a:lnTo>
                      <a:pt x="638" y="999"/>
                    </a:lnTo>
                    <a:lnTo>
                      <a:pt x="639" y="998"/>
                    </a:lnTo>
                    <a:lnTo>
                      <a:pt x="639" y="998"/>
                    </a:lnTo>
                    <a:lnTo>
                      <a:pt x="641" y="998"/>
                    </a:lnTo>
                    <a:lnTo>
                      <a:pt x="641" y="996"/>
                    </a:lnTo>
                    <a:lnTo>
                      <a:pt x="641" y="996"/>
                    </a:lnTo>
                    <a:lnTo>
                      <a:pt x="641" y="995"/>
                    </a:lnTo>
                    <a:lnTo>
                      <a:pt x="642" y="995"/>
                    </a:lnTo>
                    <a:lnTo>
                      <a:pt x="642" y="993"/>
                    </a:lnTo>
                    <a:lnTo>
                      <a:pt x="642" y="993"/>
                    </a:lnTo>
                    <a:lnTo>
                      <a:pt x="646" y="991"/>
                    </a:lnTo>
                    <a:lnTo>
                      <a:pt x="646" y="989"/>
                    </a:lnTo>
                    <a:lnTo>
                      <a:pt x="648" y="989"/>
                    </a:lnTo>
                    <a:lnTo>
                      <a:pt x="649" y="989"/>
                    </a:lnTo>
                    <a:lnTo>
                      <a:pt x="651" y="991"/>
                    </a:lnTo>
                    <a:lnTo>
                      <a:pt x="653" y="989"/>
                    </a:lnTo>
                    <a:lnTo>
                      <a:pt x="656" y="988"/>
                    </a:lnTo>
                    <a:lnTo>
                      <a:pt x="659" y="988"/>
                    </a:lnTo>
                    <a:lnTo>
                      <a:pt x="661" y="989"/>
                    </a:lnTo>
                    <a:lnTo>
                      <a:pt x="662" y="991"/>
                    </a:lnTo>
                    <a:lnTo>
                      <a:pt x="664" y="992"/>
                    </a:lnTo>
                    <a:lnTo>
                      <a:pt x="664" y="992"/>
                    </a:lnTo>
                    <a:lnTo>
                      <a:pt x="665" y="992"/>
                    </a:lnTo>
                    <a:lnTo>
                      <a:pt x="665" y="992"/>
                    </a:lnTo>
                    <a:lnTo>
                      <a:pt x="666" y="992"/>
                    </a:lnTo>
                    <a:lnTo>
                      <a:pt x="668" y="992"/>
                    </a:lnTo>
                    <a:lnTo>
                      <a:pt x="669" y="991"/>
                    </a:lnTo>
                    <a:lnTo>
                      <a:pt x="669" y="989"/>
                    </a:lnTo>
                    <a:lnTo>
                      <a:pt x="671" y="988"/>
                    </a:lnTo>
                    <a:lnTo>
                      <a:pt x="671" y="988"/>
                    </a:lnTo>
                    <a:lnTo>
                      <a:pt x="672" y="988"/>
                    </a:lnTo>
                    <a:lnTo>
                      <a:pt x="672" y="988"/>
                    </a:lnTo>
                    <a:lnTo>
                      <a:pt x="674" y="988"/>
                    </a:lnTo>
                    <a:lnTo>
                      <a:pt x="675" y="988"/>
                    </a:lnTo>
                    <a:lnTo>
                      <a:pt x="675" y="988"/>
                    </a:lnTo>
                    <a:lnTo>
                      <a:pt x="678" y="988"/>
                    </a:lnTo>
                    <a:lnTo>
                      <a:pt x="678" y="988"/>
                    </a:lnTo>
                    <a:lnTo>
                      <a:pt x="682" y="989"/>
                    </a:lnTo>
                    <a:lnTo>
                      <a:pt x="688" y="996"/>
                    </a:lnTo>
                    <a:lnTo>
                      <a:pt x="692" y="998"/>
                    </a:lnTo>
                    <a:lnTo>
                      <a:pt x="697" y="999"/>
                    </a:lnTo>
                    <a:lnTo>
                      <a:pt x="699" y="999"/>
                    </a:lnTo>
                    <a:lnTo>
                      <a:pt x="701" y="1001"/>
                    </a:lnTo>
                    <a:lnTo>
                      <a:pt x="701" y="1002"/>
                    </a:lnTo>
                    <a:lnTo>
                      <a:pt x="701" y="1002"/>
                    </a:lnTo>
                    <a:lnTo>
                      <a:pt x="701" y="1002"/>
                    </a:lnTo>
                    <a:lnTo>
                      <a:pt x="701" y="1004"/>
                    </a:lnTo>
                    <a:lnTo>
                      <a:pt x="704" y="1002"/>
                    </a:lnTo>
                    <a:lnTo>
                      <a:pt x="705" y="1002"/>
                    </a:lnTo>
                    <a:lnTo>
                      <a:pt x="707" y="1001"/>
                    </a:lnTo>
                    <a:lnTo>
                      <a:pt x="707" y="999"/>
                    </a:lnTo>
                    <a:lnTo>
                      <a:pt x="708" y="998"/>
                    </a:lnTo>
                    <a:lnTo>
                      <a:pt x="708" y="996"/>
                    </a:lnTo>
                    <a:lnTo>
                      <a:pt x="708" y="996"/>
                    </a:lnTo>
                    <a:lnTo>
                      <a:pt x="708" y="995"/>
                    </a:lnTo>
                    <a:lnTo>
                      <a:pt x="710" y="995"/>
                    </a:lnTo>
                    <a:lnTo>
                      <a:pt x="710" y="993"/>
                    </a:lnTo>
                    <a:lnTo>
                      <a:pt x="711" y="993"/>
                    </a:lnTo>
                    <a:lnTo>
                      <a:pt x="711" y="993"/>
                    </a:lnTo>
                    <a:lnTo>
                      <a:pt x="711" y="993"/>
                    </a:lnTo>
                    <a:lnTo>
                      <a:pt x="712" y="995"/>
                    </a:lnTo>
                    <a:lnTo>
                      <a:pt x="712" y="995"/>
                    </a:lnTo>
                    <a:lnTo>
                      <a:pt x="714" y="996"/>
                    </a:lnTo>
                    <a:lnTo>
                      <a:pt x="715" y="998"/>
                    </a:lnTo>
                    <a:lnTo>
                      <a:pt x="717" y="998"/>
                    </a:lnTo>
                    <a:lnTo>
                      <a:pt x="718" y="999"/>
                    </a:lnTo>
                    <a:lnTo>
                      <a:pt x="721" y="999"/>
                    </a:lnTo>
                    <a:lnTo>
                      <a:pt x="724" y="998"/>
                    </a:lnTo>
                    <a:lnTo>
                      <a:pt x="725" y="998"/>
                    </a:lnTo>
                    <a:lnTo>
                      <a:pt x="727" y="998"/>
                    </a:lnTo>
                    <a:lnTo>
                      <a:pt x="730" y="996"/>
                    </a:lnTo>
                    <a:lnTo>
                      <a:pt x="734" y="993"/>
                    </a:lnTo>
                    <a:lnTo>
                      <a:pt x="735" y="991"/>
                    </a:lnTo>
                    <a:lnTo>
                      <a:pt x="735" y="988"/>
                    </a:lnTo>
                    <a:lnTo>
                      <a:pt x="737" y="983"/>
                    </a:lnTo>
                    <a:lnTo>
                      <a:pt x="737" y="982"/>
                    </a:lnTo>
                    <a:lnTo>
                      <a:pt x="737" y="982"/>
                    </a:lnTo>
                    <a:lnTo>
                      <a:pt x="737" y="981"/>
                    </a:lnTo>
                    <a:lnTo>
                      <a:pt x="735" y="981"/>
                    </a:lnTo>
                    <a:lnTo>
                      <a:pt x="734" y="978"/>
                    </a:lnTo>
                    <a:lnTo>
                      <a:pt x="727" y="976"/>
                    </a:lnTo>
                    <a:lnTo>
                      <a:pt x="725" y="975"/>
                    </a:lnTo>
                    <a:lnTo>
                      <a:pt x="724" y="975"/>
                    </a:lnTo>
                    <a:lnTo>
                      <a:pt x="720" y="973"/>
                    </a:lnTo>
                    <a:lnTo>
                      <a:pt x="718" y="972"/>
                    </a:lnTo>
                    <a:lnTo>
                      <a:pt x="717" y="972"/>
                    </a:lnTo>
                    <a:lnTo>
                      <a:pt x="717" y="970"/>
                    </a:lnTo>
                    <a:lnTo>
                      <a:pt x="717" y="969"/>
                    </a:lnTo>
                    <a:lnTo>
                      <a:pt x="715" y="969"/>
                    </a:lnTo>
                    <a:lnTo>
                      <a:pt x="714" y="968"/>
                    </a:lnTo>
                    <a:lnTo>
                      <a:pt x="711" y="966"/>
                    </a:lnTo>
                    <a:lnTo>
                      <a:pt x="711" y="966"/>
                    </a:lnTo>
                    <a:lnTo>
                      <a:pt x="710" y="966"/>
                    </a:lnTo>
                    <a:lnTo>
                      <a:pt x="711" y="965"/>
                    </a:lnTo>
                    <a:lnTo>
                      <a:pt x="708" y="959"/>
                    </a:lnTo>
                    <a:lnTo>
                      <a:pt x="708" y="946"/>
                    </a:lnTo>
                    <a:close/>
                    <a:moveTo>
                      <a:pt x="559" y="101"/>
                    </a:moveTo>
                    <a:lnTo>
                      <a:pt x="559" y="99"/>
                    </a:lnTo>
                    <a:lnTo>
                      <a:pt x="557" y="99"/>
                    </a:lnTo>
                    <a:lnTo>
                      <a:pt x="556" y="98"/>
                    </a:lnTo>
                    <a:lnTo>
                      <a:pt x="556" y="98"/>
                    </a:lnTo>
                    <a:lnTo>
                      <a:pt x="556" y="97"/>
                    </a:lnTo>
                    <a:lnTo>
                      <a:pt x="556" y="95"/>
                    </a:lnTo>
                    <a:lnTo>
                      <a:pt x="556" y="95"/>
                    </a:lnTo>
                    <a:lnTo>
                      <a:pt x="554" y="94"/>
                    </a:lnTo>
                    <a:lnTo>
                      <a:pt x="553" y="94"/>
                    </a:lnTo>
                    <a:lnTo>
                      <a:pt x="552" y="94"/>
                    </a:lnTo>
                    <a:lnTo>
                      <a:pt x="550" y="92"/>
                    </a:lnTo>
                    <a:lnTo>
                      <a:pt x="549" y="94"/>
                    </a:lnTo>
                    <a:lnTo>
                      <a:pt x="536" y="98"/>
                    </a:lnTo>
                    <a:lnTo>
                      <a:pt x="541" y="101"/>
                    </a:lnTo>
                    <a:lnTo>
                      <a:pt x="559" y="101"/>
                    </a:lnTo>
                    <a:close/>
                    <a:moveTo>
                      <a:pt x="698" y="72"/>
                    </a:moveTo>
                    <a:lnTo>
                      <a:pt x="702" y="75"/>
                    </a:lnTo>
                    <a:lnTo>
                      <a:pt x="708" y="75"/>
                    </a:lnTo>
                    <a:lnTo>
                      <a:pt x="712" y="75"/>
                    </a:lnTo>
                    <a:lnTo>
                      <a:pt x="715" y="75"/>
                    </a:lnTo>
                    <a:lnTo>
                      <a:pt x="725" y="76"/>
                    </a:lnTo>
                    <a:lnTo>
                      <a:pt x="727" y="75"/>
                    </a:lnTo>
                    <a:lnTo>
                      <a:pt x="732" y="74"/>
                    </a:lnTo>
                    <a:lnTo>
                      <a:pt x="740" y="71"/>
                    </a:lnTo>
                    <a:lnTo>
                      <a:pt x="744" y="69"/>
                    </a:lnTo>
                    <a:lnTo>
                      <a:pt x="745" y="69"/>
                    </a:lnTo>
                    <a:lnTo>
                      <a:pt x="747" y="66"/>
                    </a:lnTo>
                    <a:lnTo>
                      <a:pt x="748" y="64"/>
                    </a:lnTo>
                    <a:lnTo>
                      <a:pt x="748" y="61"/>
                    </a:lnTo>
                    <a:lnTo>
                      <a:pt x="747" y="58"/>
                    </a:lnTo>
                    <a:lnTo>
                      <a:pt x="740" y="56"/>
                    </a:lnTo>
                    <a:lnTo>
                      <a:pt x="734" y="58"/>
                    </a:lnTo>
                    <a:lnTo>
                      <a:pt x="718" y="61"/>
                    </a:lnTo>
                    <a:lnTo>
                      <a:pt x="717" y="61"/>
                    </a:lnTo>
                    <a:lnTo>
                      <a:pt x="715" y="61"/>
                    </a:lnTo>
                    <a:lnTo>
                      <a:pt x="714" y="61"/>
                    </a:lnTo>
                    <a:lnTo>
                      <a:pt x="712" y="59"/>
                    </a:lnTo>
                    <a:lnTo>
                      <a:pt x="711" y="58"/>
                    </a:lnTo>
                    <a:lnTo>
                      <a:pt x="708" y="58"/>
                    </a:lnTo>
                    <a:lnTo>
                      <a:pt x="705" y="59"/>
                    </a:lnTo>
                    <a:lnTo>
                      <a:pt x="704" y="59"/>
                    </a:lnTo>
                    <a:lnTo>
                      <a:pt x="701" y="62"/>
                    </a:lnTo>
                    <a:lnTo>
                      <a:pt x="698" y="66"/>
                    </a:lnTo>
                    <a:lnTo>
                      <a:pt x="698" y="72"/>
                    </a:lnTo>
                    <a:close/>
                    <a:moveTo>
                      <a:pt x="560" y="407"/>
                    </a:moveTo>
                    <a:lnTo>
                      <a:pt x="560" y="414"/>
                    </a:lnTo>
                    <a:lnTo>
                      <a:pt x="563" y="420"/>
                    </a:lnTo>
                    <a:lnTo>
                      <a:pt x="567" y="421"/>
                    </a:lnTo>
                    <a:lnTo>
                      <a:pt x="572" y="421"/>
                    </a:lnTo>
                    <a:lnTo>
                      <a:pt x="575" y="420"/>
                    </a:lnTo>
                    <a:lnTo>
                      <a:pt x="579" y="420"/>
                    </a:lnTo>
                    <a:lnTo>
                      <a:pt x="583" y="420"/>
                    </a:lnTo>
                    <a:lnTo>
                      <a:pt x="586" y="420"/>
                    </a:lnTo>
                    <a:lnTo>
                      <a:pt x="592" y="420"/>
                    </a:lnTo>
                    <a:lnTo>
                      <a:pt x="593" y="420"/>
                    </a:lnTo>
                    <a:lnTo>
                      <a:pt x="592" y="421"/>
                    </a:lnTo>
                    <a:lnTo>
                      <a:pt x="593" y="424"/>
                    </a:lnTo>
                    <a:lnTo>
                      <a:pt x="595" y="426"/>
                    </a:lnTo>
                    <a:lnTo>
                      <a:pt x="597" y="426"/>
                    </a:lnTo>
                    <a:lnTo>
                      <a:pt x="597" y="427"/>
                    </a:lnTo>
                    <a:lnTo>
                      <a:pt x="600" y="429"/>
                    </a:lnTo>
                    <a:lnTo>
                      <a:pt x="606" y="431"/>
                    </a:lnTo>
                    <a:lnTo>
                      <a:pt x="606" y="433"/>
                    </a:lnTo>
                    <a:lnTo>
                      <a:pt x="603" y="431"/>
                    </a:lnTo>
                    <a:lnTo>
                      <a:pt x="602" y="431"/>
                    </a:lnTo>
                    <a:lnTo>
                      <a:pt x="602" y="433"/>
                    </a:lnTo>
                    <a:lnTo>
                      <a:pt x="600" y="433"/>
                    </a:lnTo>
                    <a:lnTo>
                      <a:pt x="599" y="433"/>
                    </a:lnTo>
                    <a:lnTo>
                      <a:pt x="599" y="433"/>
                    </a:lnTo>
                    <a:lnTo>
                      <a:pt x="597" y="433"/>
                    </a:lnTo>
                    <a:lnTo>
                      <a:pt x="597" y="434"/>
                    </a:lnTo>
                    <a:lnTo>
                      <a:pt x="597" y="436"/>
                    </a:lnTo>
                    <a:lnTo>
                      <a:pt x="597" y="436"/>
                    </a:lnTo>
                    <a:lnTo>
                      <a:pt x="597" y="436"/>
                    </a:lnTo>
                    <a:lnTo>
                      <a:pt x="597" y="437"/>
                    </a:lnTo>
                    <a:lnTo>
                      <a:pt x="596" y="439"/>
                    </a:lnTo>
                    <a:lnTo>
                      <a:pt x="596" y="439"/>
                    </a:lnTo>
                    <a:lnTo>
                      <a:pt x="593" y="440"/>
                    </a:lnTo>
                    <a:lnTo>
                      <a:pt x="615" y="446"/>
                    </a:lnTo>
                    <a:lnTo>
                      <a:pt x="616" y="444"/>
                    </a:lnTo>
                    <a:lnTo>
                      <a:pt x="618" y="444"/>
                    </a:lnTo>
                    <a:lnTo>
                      <a:pt x="620" y="446"/>
                    </a:lnTo>
                    <a:lnTo>
                      <a:pt x="623" y="446"/>
                    </a:lnTo>
                    <a:lnTo>
                      <a:pt x="632" y="446"/>
                    </a:lnTo>
                    <a:lnTo>
                      <a:pt x="633" y="446"/>
                    </a:lnTo>
                    <a:lnTo>
                      <a:pt x="633" y="446"/>
                    </a:lnTo>
                    <a:lnTo>
                      <a:pt x="635" y="447"/>
                    </a:lnTo>
                    <a:lnTo>
                      <a:pt x="635" y="447"/>
                    </a:lnTo>
                    <a:lnTo>
                      <a:pt x="635" y="447"/>
                    </a:lnTo>
                    <a:lnTo>
                      <a:pt x="636" y="447"/>
                    </a:lnTo>
                    <a:lnTo>
                      <a:pt x="638" y="447"/>
                    </a:lnTo>
                    <a:lnTo>
                      <a:pt x="641" y="447"/>
                    </a:lnTo>
                    <a:lnTo>
                      <a:pt x="643" y="447"/>
                    </a:lnTo>
                    <a:lnTo>
                      <a:pt x="645" y="449"/>
                    </a:lnTo>
                    <a:lnTo>
                      <a:pt x="648" y="449"/>
                    </a:lnTo>
                    <a:lnTo>
                      <a:pt x="649" y="449"/>
                    </a:lnTo>
                    <a:lnTo>
                      <a:pt x="648" y="447"/>
                    </a:lnTo>
                    <a:lnTo>
                      <a:pt x="643" y="444"/>
                    </a:lnTo>
                    <a:lnTo>
                      <a:pt x="646" y="444"/>
                    </a:lnTo>
                    <a:lnTo>
                      <a:pt x="649" y="446"/>
                    </a:lnTo>
                    <a:lnTo>
                      <a:pt x="652" y="447"/>
                    </a:lnTo>
                    <a:lnTo>
                      <a:pt x="656" y="447"/>
                    </a:lnTo>
                    <a:lnTo>
                      <a:pt x="659" y="447"/>
                    </a:lnTo>
                    <a:lnTo>
                      <a:pt x="662" y="447"/>
                    </a:lnTo>
                    <a:lnTo>
                      <a:pt x="665" y="446"/>
                    </a:lnTo>
                    <a:lnTo>
                      <a:pt x="668" y="444"/>
                    </a:lnTo>
                    <a:lnTo>
                      <a:pt x="665" y="442"/>
                    </a:lnTo>
                    <a:lnTo>
                      <a:pt x="656" y="439"/>
                    </a:lnTo>
                    <a:lnTo>
                      <a:pt x="652" y="436"/>
                    </a:lnTo>
                    <a:lnTo>
                      <a:pt x="648" y="433"/>
                    </a:lnTo>
                    <a:lnTo>
                      <a:pt x="643" y="430"/>
                    </a:lnTo>
                    <a:lnTo>
                      <a:pt x="641" y="426"/>
                    </a:lnTo>
                    <a:lnTo>
                      <a:pt x="636" y="420"/>
                    </a:lnTo>
                    <a:lnTo>
                      <a:pt x="628" y="408"/>
                    </a:lnTo>
                    <a:lnTo>
                      <a:pt x="628" y="407"/>
                    </a:lnTo>
                    <a:lnTo>
                      <a:pt x="628" y="404"/>
                    </a:lnTo>
                    <a:lnTo>
                      <a:pt x="631" y="401"/>
                    </a:lnTo>
                    <a:lnTo>
                      <a:pt x="631" y="398"/>
                    </a:lnTo>
                    <a:lnTo>
                      <a:pt x="631" y="397"/>
                    </a:lnTo>
                    <a:lnTo>
                      <a:pt x="628" y="393"/>
                    </a:lnTo>
                    <a:lnTo>
                      <a:pt x="628" y="391"/>
                    </a:lnTo>
                    <a:lnTo>
                      <a:pt x="629" y="387"/>
                    </a:lnTo>
                    <a:lnTo>
                      <a:pt x="629" y="387"/>
                    </a:lnTo>
                    <a:lnTo>
                      <a:pt x="632" y="386"/>
                    </a:lnTo>
                    <a:lnTo>
                      <a:pt x="632" y="386"/>
                    </a:lnTo>
                    <a:lnTo>
                      <a:pt x="633" y="384"/>
                    </a:lnTo>
                    <a:lnTo>
                      <a:pt x="633" y="381"/>
                    </a:lnTo>
                    <a:lnTo>
                      <a:pt x="635" y="380"/>
                    </a:lnTo>
                    <a:lnTo>
                      <a:pt x="636" y="378"/>
                    </a:lnTo>
                    <a:lnTo>
                      <a:pt x="639" y="378"/>
                    </a:lnTo>
                    <a:lnTo>
                      <a:pt x="641" y="378"/>
                    </a:lnTo>
                    <a:lnTo>
                      <a:pt x="642" y="378"/>
                    </a:lnTo>
                    <a:lnTo>
                      <a:pt x="642" y="375"/>
                    </a:lnTo>
                    <a:lnTo>
                      <a:pt x="643" y="371"/>
                    </a:lnTo>
                    <a:lnTo>
                      <a:pt x="643" y="368"/>
                    </a:lnTo>
                    <a:lnTo>
                      <a:pt x="645" y="365"/>
                    </a:lnTo>
                    <a:lnTo>
                      <a:pt x="646" y="363"/>
                    </a:lnTo>
                    <a:lnTo>
                      <a:pt x="643" y="361"/>
                    </a:lnTo>
                    <a:lnTo>
                      <a:pt x="635" y="360"/>
                    </a:lnTo>
                    <a:lnTo>
                      <a:pt x="629" y="358"/>
                    </a:lnTo>
                    <a:lnTo>
                      <a:pt x="625" y="357"/>
                    </a:lnTo>
                    <a:lnTo>
                      <a:pt x="620" y="355"/>
                    </a:lnTo>
                    <a:lnTo>
                      <a:pt x="616" y="355"/>
                    </a:lnTo>
                    <a:lnTo>
                      <a:pt x="615" y="355"/>
                    </a:lnTo>
                    <a:lnTo>
                      <a:pt x="610" y="358"/>
                    </a:lnTo>
                    <a:lnTo>
                      <a:pt x="608" y="360"/>
                    </a:lnTo>
                    <a:lnTo>
                      <a:pt x="600" y="360"/>
                    </a:lnTo>
                    <a:lnTo>
                      <a:pt x="596" y="361"/>
                    </a:lnTo>
                    <a:lnTo>
                      <a:pt x="593" y="361"/>
                    </a:lnTo>
                    <a:lnTo>
                      <a:pt x="592" y="363"/>
                    </a:lnTo>
                    <a:lnTo>
                      <a:pt x="590" y="365"/>
                    </a:lnTo>
                    <a:lnTo>
                      <a:pt x="590" y="367"/>
                    </a:lnTo>
                    <a:lnTo>
                      <a:pt x="590" y="370"/>
                    </a:lnTo>
                    <a:lnTo>
                      <a:pt x="592" y="373"/>
                    </a:lnTo>
                    <a:lnTo>
                      <a:pt x="593" y="374"/>
                    </a:lnTo>
                    <a:lnTo>
                      <a:pt x="589" y="374"/>
                    </a:lnTo>
                    <a:lnTo>
                      <a:pt x="586" y="374"/>
                    </a:lnTo>
                    <a:lnTo>
                      <a:pt x="583" y="375"/>
                    </a:lnTo>
                    <a:lnTo>
                      <a:pt x="580" y="378"/>
                    </a:lnTo>
                    <a:lnTo>
                      <a:pt x="579" y="380"/>
                    </a:lnTo>
                    <a:lnTo>
                      <a:pt x="580" y="381"/>
                    </a:lnTo>
                    <a:lnTo>
                      <a:pt x="582" y="383"/>
                    </a:lnTo>
                    <a:lnTo>
                      <a:pt x="585" y="383"/>
                    </a:lnTo>
                    <a:lnTo>
                      <a:pt x="585" y="384"/>
                    </a:lnTo>
                    <a:lnTo>
                      <a:pt x="583" y="386"/>
                    </a:lnTo>
                    <a:lnTo>
                      <a:pt x="583" y="387"/>
                    </a:lnTo>
                    <a:lnTo>
                      <a:pt x="583" y="388"/>
                    </a:lnTo>
                    <a:lnTo>
                      <a:pt x="582" y="391"/>
                    </a:lnTo>
                    <a:lnTo>
                      <a:pt x="580" y="394"/>
                    </a:lnTo>
                    <a:lnTo>
                      <a:pt x="579" y="397"/>
                    </a:lnTo>
                    <a:lnTo>
                      <a:pt x="576" y="400"/>
                    </a:lnTo>
                    <a:lnTo>
                      <a:pt x="573" y="401"/>
                    </a:lnTo>
                    <a:lnTo>
                      <a:pt x="570" y="401"/>
                    </a:lnTo>
                    <a:lnTo>
                      <a:pt x="563" y="401"/>
                    </a:lnTo>
                    <a:lnTo>
                      <a:pt x="560" y="407"/>
                    </a:lnTo>
                    <a:close/>
                    <a:moveTo>
                      <a:pt x="632" y="38"/>
                    </a:moveTo>
                    <a:lnTo>
                      <a:pt x="633" y="39"/>
                    </a:lnTo>
                    <a:lnTo>
                      <a:pt x="635" y="39"/>
                    </a:lnTo>
                    <a:lnTo>
                      <a:pt x="638" y="39"/>
                    </a:lnTo>
                    <a:lnTo>
                      <a:pt x="639" y="38"/>
                    </a:lnTo>
                    <a:lnTo>
                      <a:pt x="642" y="38"/>
                    </a:lnTo>
                    <a:lnTo>
                      <a:pt x="643" y="38"/>
                    </a:lnTo>
                    <a:lnTo>
                      <a:pt x="645" y="39"/>
                    </a:lnTo>
                    <a:lnTo>
                      <a:pt x="646" y="41"/>
                    </a:lnTo>
                    <a:lnTo>
                      <a:pt x="648" y="41"/>
                    </a:lnTo>
                    <a:lnTo>
                      <a:pt x="651" y="39"/>
                    </a:lnTo>
                    <a:lnTo>
                      <a:pt x="653" y="38"/>
                    </a:lnTo>
                    <a:lnTo>
                      <a:pt x="655" y="38"/>
                    </a:lnTo>
                    <a:lnTo>
                      <a:pt x="656" y="38"/>
                    </a:lnTo>
                    <a:lnTo>
                      <a:pt x="662" y="42"/>
                    </a:lnTo>
                    <a:lnTo>
                      <a:pt x="664" y="42"/>
                    </a:lnTo>
                    <a:lnTo>
                      <a:pt x="665" y="42"/>
                    </a:lnTo>
                    <a:lnTo>
                      <a:pt x="668" y="42"/>
                    </a:lnTo>
                    <a:lnTo>
                      <a:pt x="669" y="41"/>
                    </a:lnTo>
                    <a:lnTo>
                      <a:pt x="674" y="38"/>
                    </a:lnTo>
                    <a:lnTo>
                      <a:pt x="674" y="35"/>
                    </a:lnTo>
                    <a:lnTo>
                      <a:pt x="672" y="28"/>
                    </a:lnTo>
                    <a:lnTo>
                      <a:pt x="678" y="26"/>
                    </a:lnTo>
                    <a:lnTo>
                      <a:pt x="681" y="26"/>
                    </a:lnTo>
                    <a:lnTo>
                      <a:pt x="684" y="25"/>
                    </a:lnTo>
                    <a:lnTo>
                      <a:pt x="682" y="22"/>
                    </a:lnTo>
                    <a:lnTo>
                      <a:pt x="679" y="20"/>
                    </a:lnTo>
                    <a:lnTo>
                      <a:pt x="675" y="20"/>
                    </a:lnTo>
                    <a:lnTo>
                      <a:pt x="672" y="19"/>
                    </a:lnTo>
                    <a:lnTo>
                      <a:pt x="671" y="16"/>
                    </a:lnTo>
                    <a:lnTo>
                      <a:pt x="668" y="16"/>
                    </a:lnTo>
                    <a:lnTo>
                      <a:pt x="662" y="18"/>
                    </a:lnTo>
                    <a:lnTo>
                      <a:pt x="659" y="18"/>
                    </a:lnTo>
                    <a:lnTo>
                      <a:pt x="658" y="18"/>
                    </a:lnTo>
                    <a:lnTo>
                      <a:pt x="656" y="19"/>
                    </a:lnTo>
                    <a:lnTo>
                      <a:pt x="655" y="19"/>
                    </a:lnTo>
                    <a:lnTo>
                      <a:pt x="653" y="22"/>
                    </a:lnTo>
                    <a:lnTo>
                      <a:pt x="652" y="23"/>
                    </a:lnTo>
                    <a:lnTo>
                      <a:pt x="651" y="25"/>
                    </a:lnTo>
                    <a:lnTo>
                      <a:pt x="648" y="26"/>
                    </a:lnTo>
                    <a:lnTo>
                      <a:pt x="646" y="26"/>
                    </a:lnTo>
                    <a:lnTo>
                      <a:pt x="645" y="28"/>
                    </a:lnTo>
                    <a:lnTo>
                      <a:pt x="643" y="30"/>
                    </a:lnTo>
                    <a:lnTo>
                      <a:pt x="642" y="32"/>
                    </a:lnTo>
                    <a:lnTo>
                      <a:pt x="641" y="32"/>
                    </a:lnTo>
                    <a:lnTo>
                      <a:pt x="638" y="30"/>
                    </a:lnTo>
                    <a:lnTo>
                      <a:pt x="636" y="30"/>
                    </a:lnTo>
                    <a:lnTo>
                      <a:pt x="635" y="30"/>
                    </a:lnTo>
                    <a:lnTo>
                      <a:pt x="631" y="32"/>
                    </a:lnTo>
                    <a:lnTo>
                      <a:pt x="631" y="36"/>
                    </a:lnTo>
                    <a:lnTo>
                      <a:pt x="632" y="38"/>
                    </a:lnTo>
                    <a:close/>
                    <a:moveTo>
                      <a:pt x="610" y="76"/>
                    </a:moveTo>
                    <a:lnTo>
                      <a:pt x="612" y="74"/>
                    </a:lnTo>
                    <a:lnTo>
                      <a:pt x="610" y="72"/>
                    </a:lnTo>
                    <a:lnTo>
                      <a:pt x="608" y="71"/>
                    </a:lnTo>
                    <a:lnTo>
                      <a:pt x="602" y="69"/>
                    </a:lnTo>
                    <a:lnTo>
                      <a:pt x="602" y="72"/>
                    </a:lnTo>
                    <a:lnTo>
                      <a:pt x="602" y="74"/>
                    </a:lnTo>
                    <a:lnTo>
                      <a:pt x="600" y="74"/>
                    </a:lnTo>
                    <a:lnTo>
                      <a:pt x="608" y="76"/>
                    </a:lnTo>
                    <a:lnTo>
                      <a:pt x="610" y="76"/>
                    </a:lnTo>
                    <a:close/>
                    <a:moveTo>
                      <a:pt x="575" y="87"/>
                    </a:moveTo>
                    <a:lnTo>
                      <a:pt x="577" y="88"/>
                    </a:lnTo>
                    <a:lnTo>
                      <a:pt x="580" y="88"/>
                    </a:lnTo>
                    <a:lnTo>
                      <a:pt x="585" y="88"/>
                    </a:lnTo>
                    <a:lnTo>
                      <a:pt x="592" y="88"/>
                    </a:lnTo>
                    <a:lnTo>
                      <a:pt x="596" y="88"/>
                    </a:lnTo>
                    <a:lnTo>
                      <a:pt x="599" y="85"/>
                    </a:lnTo>
                    <a:lnTo>
                      <a:pt x="602" y="82"/>
                    </a:lnTo>
                    <a:lnTo>
                      <a:pt x="595" y="79"/>
                    </a:lnTo>
                    <a:lnTo>
                      <a:pt x="593" y="79"/>
                    </a:lnTo>
                    <a:lnTo>
                      <a:pt x="592" y="78"/>
                    </a:lnTo>
                    <a:lnTo>
                      <a:pt x="590" y="76"/>
                    </a:lnTo>
                    <a:lnTo>
                      <a:pt x="587" y="76"/>
                    </a:lnTo>
                    <a:lnTo>
                      <a:pt x="586" y="76"/>
                    </a:lnTo>
                    <a:lnTo>
                      <a:pt x="583" y="78"/>
                    </a:lnTo>
                    <a:lnTo>
                      <a:pt x="575" y="82"/>
                    </a:lnTo>
                    <a:lnTo>
                      <a:pt x="573" y="84"/>
                    </a:lnTo>
                    <a:lnTo>
                      <a:pt x="573" y="85"/>
                    </a:lnTo>
                    <a:lnTo>
                      <a:pt x="575" y="87"/>
                    </a:lnTo>
                    <a:close/>
                    <a:moveTo>
                      <a:pt x="679" y="8"/>
                    </a:moveTo>
                    <a:lnTo>
                      <a:pt x="685" y="6"/>
                    </a:lnTo>
                    <a:lnTo>
                      <a:pt x="694" y="6"/>
                    </a:lnTo>
                    <a:lnTo>
                      <a:pt x="698" y="5"/>
                    </a:lnTo>
                    <a:lnTo>
                      <a:pt x="699" y="2"/>
                    </a:lnTo>
                    <a:lnTo>
                      <a:pt x="694" y="0"/>
                    </a:lnTo>
                    <a:lnTo>
                      <a:pt x="684" y="0"/>
                    </a:lnTo>
                    <a:lnTo>
                      <a:pt x="675" y="3"/>
                    </a:lnTo>
                    <a:lnTo>
                      <a:pt x="674" y="8"/>
                    </a:lnTo>
                    <a:lnTo>
                      <a:pt x="675" y="8"/>
                    </a:lnTo>
                    <a:lnTo>
                      <a:pt x="679" y="8"/>
                    </a:lnTo>
                    <a:close/>
                    <a:moveTo>
                      <a:pt x="661" y="74"/>
                    </a:moveTo>
                    <a:lnTo>
                      <a:pt x="656" y="75"/>
                    </a:lnTo>
                    <a:lnTo>
                      <a:pt x="659" y="76"/>
                    </a:lnTo>
                    <a:lnTo>
                      <a:pt x="661" y="78"/>
                    </a:lnTo>
                    <a:lnTo>
                      <a:pt x="661" y="81"/>
                    </a:lnTo>
                    <a:lnTo>
                      <a:pt x="661" y="84"/>
                    </a:lnTo>
                    <a:lnTo>
                      <a:pt x="662" y="87"/>
                    </a:lnTo>
                    <a:lnTo>
                      <a:pt x="664" y="89"/>
                    </a:lnTo>
                    <a:lnTo>
                      <a:pt x="666" y="91"/>
                    </a:lnTo>
                    <a:lnTo>
                      <a:pt x="669" y="92"/>
                    </a:lnTo>
                    <a:lnTo>
                      <a:pt x="672" y="91"/>
                    </a:lnTo>
                    <a:lnTo>
                      <a:pt x="675" y="89"/>
                    </a:lnTo>
                    <a:lnTo>
                      <a:pt x="678" y="88"/>
                    </a:lnTo>
                    <a:lnTo>
                      <a:pt x="678" y="87"/>
                    </a:lnTo>
                    <a:lnTo>
                      <a:pt x="679" y="85"/>
                    </a:lnTo>
                    <a:lnTo>
                      <a:pt x="679" y="84"/>
                    </a:lnTo>
                    <a:lnTo>
                      <a:pt x="679" y="82"/>
                    </a:lnTo>
                    <a:lnTo>
                      <a:pt x="679" y="81"/>
                    </a:lnTo>
                    <a:lnTo>
                      <a:pt x="681" y="79"/>
                    </a:lnTo>
                    <a:lnTo>
                      <a:pt x="685" y="79"/>
                    </a:lnTo>
                    <a:lnTo>
                      <a:pt x="697" y="79"/>
                    </a:lnTo>
                    <a:lnTo>
                      <a:pt x="692" y="76"/>
                    </a:lnTo>
                    <a:lnTo>
                      <a:pt x="688" y="75"/>
                    </a:lnTo>
                    <a:lnTo>
                      <a:pt x="666" y="74"/>
                    </a:lnTo>
                    <a:lnTo>
                      <a:pt x="661" y="74"/>
                    </a:lnTo>
                    <a:close/>
                    <a:moveTo>
                      <a:pt x="771" y="52"/>
                    </a:moveTo>
                    <a:lnTo>
                      <a:pt x="767" y="52"/>
                    </a:lnTo>
                    <a:lnTo>
                      <a:pt x="761" y="53"/>
                    </a:lnTo>
                    <a:lnTo>
                      <a:pt x="757" y="56"/>
                    </a:lnTo>
                    <a:lnTo>
                      <a:pt x="754" y="59"/>
                    </a:lnTo>
                    <a:lnTo>
                      <a:pt x="760" y="64"/>
                    </a:lnTo>
                    <a:lnTo>
                      <a:pt x="767" y="65"/>
                    </a:lnTo>
                    <a:lnTo>
                      <a:pt x="773" y="65"/>
                    </a:lnTo>
                    <a:lnTo>
                      <a:pt x="787" y="62"/>
                    </a:lnTo>
                    <a:lnTo>
                      <a:pt x="793" y="61"/>
                    </a:lnTo>
                    <a:lnTo>
                      <a:pt x="799" y="58"/>
                    </a:lnTo>
                    <a:lnTo>
                      <a:pt x="806" y="53"/>
                    </a:lnTo>
                    <a:lnTo>
                      <a:pt x="804" y="52"/>
                    </a:lnTo>
                    <a:lnTo>
                      <a:pt x="804" y="51"/>
                    </a:lnTo>
                    <a:lnTo>
                      <a:pt x="804" y="49"/>
                    </a:lnTo>
                    <a:lnTo>
                      <a:pt x="804" y="46"/>
                    </a:lnTo>
                    <a:lnTo>
                      <a:pt x="803" y="45"/>
                    </a:lnTo>
                    <a:lnTo>
                      <a:pt x="801" y="43"/>
                    </a:lnTo>
                    <a:lnTo>
                      <a:pt x="800" y="42"/>
                    </a:lnTo>
                    <a:lnTo>
                      <a:pt x="799" y="41"/>
                    </a:lnTo>
                    <a:lnTo>
                      <a:pt x="794" y="39"/>
                    </a:lnTo>
                    <a:lnTo>
                      <a:pt x="790" y="39"/>
                    </a:lnTo>
                    <a:lnTo>
                      <a:pt x="786" y="41"/>
                    </a:lnTo>
                    <a:lnTo>
                      <a:pt x="784" y="45"/>
                    </a:lnTo>
                    <a:lnTo>
                      <a:pt x="783" y="48"/>
                    </a:lnTo>
                    <a:lnTo>
                      <a:pt x="781" y="49"/>
                    </a:lnTo>
                    <a:lnTo>
                      <a:pt x="780" y="51"/>
                    </a:lnTo>
                    <a:lnTo>
                      <a:pt x="778" y="52"/>
                    </a:lnTo>
                    <a:lnTo>
                      <a:pt x="776" y="52"/>
                    </a:lnTo>
                    <a:lnTo>
                      <a:pt x="771" y="52"/>
                    </a:lnTo>
                    <a:close/>
                    <a:moveTo>
                      <a:pt x="770" y="13"/>
                    </a:moveTo>
                    <a:lnTo>
                      <a:pt x="776" y="10"/>
                    </a:lnTo>
                    <a:lnTo>
                      <a:pt x="771" y="8"/>
                    </a:lnTo>
                    <a:lnTo>
                      <a:pt x="763" y="6"/>
                    </a:lnTo>
                    <a:lnTo>
                      <a:pt x="753" y="8"/>
                    </a:lnTo>
                    <a:lnTo>
                      <a:pt x="747" y="9"/>
                    </a:lnTo>
                    <a:lnTo>
                      <a:pt x="761" y="13"/>
                    </a:lnTo>
                    <a:lnTo>
                      <a:pt x="770" y="13"/>
                    </a:lnTo>
                    <a:close/>
                    <a:moveTo>
                      <a:pt x="725" y="53"/>
                    </a:moveTo>
                    <a:lnTo>
                      <a:pt x="732" y="52"/>
                    </a:lnTo>
                    <a:lnTo>
                      <a:pt x="737" y="48"/>
                    </a:lnTo>
                    <a:lnTo>
                      <a:pt x="732" y="45"/>
                    </a:lnTo>
                    <a:lnTo>
                      <a:pt x="724" y="45"/>
                    </a:lnTo>
                    <a:lnTo>
                      <a:pt x="715" y="48"/>
                    </a:lnTo>
                    <a:lnTo>
                      <a:pt x="711" y="52"/>
                    </a:lnTo>
                    <a:lnTo>
                      <a:pt x="717" y="53"/>
                    </a:lnTo>
                    <a:lnTo>
                      <a:pt x="725" y="53"/>
                    </a:lnTo>
                    <a:close/>
                    <a:moveTo>
                      <a:pt x="684" y="48"/>
                    </a:moveTo>
                    <a:lnTo>
                      <a:pt x="678" y="45"/>
                    </a:lnTo>
                    <a:lnTo>
                      <a:pt x="675" y="45"/>
                    </a:lnTo>
                    <a:lnTo>
                      <a:pt x="674" y="45"/>
                    </a:lnTo>
                    <a:lnTo>
                      <a:pt x="672" y="46"/>
                    </a:lnTo>
                    <a:lnTo>
                      <a:pt x="669" y="48"/>
                    </a:lnTo>
                    <a:lnTo>
                      <a:pt x="668" y="49"/>
                    </a:lnTo>
                    <a:lnTo>
                      <a:pt x="665" y="49"/>
                    </a:lnTo>
                    <a:lnTo>
                      <a:pt x="664" y="49"/>
                    </a:lnTo>
                    <a:lnTo>
                      <a:pt x="662" y="49"/>
                    </a:lnTo>
                    <a:lnTo>
                      <a:pt x="661" y="49"/>
                    </a:lnTo>
                    <a:lnTo>
                      <a:pt x="662" y="52"/>
                    </a:lnTo>
                    <a:lnTo>
                      <a:pt x="664" y="53"/>
                    </a:lnTo>
                    <a:lnTo>
                      <a:pt x="665" y="55"/>
                    </a:lnTo>
                    <a:lnTo>
                      <a:pt x="666" y="55"/>
                    </a:lnTo>
                    <a:lnTo>
                      <a:pt x="669" y="56"/>
                    </a:lnTo>
                    <a:lnTo>
                      <a:pt x="671" y="56"/>
                    </a:lnTo>
                    <a:lnTo>
                      <a:pt x="672" y="58"/>
                    </a:lnTo>
                    <a:lnTo>
                      <a:pt x="674" y="61"/>
                    </a:lnTo>
                    <a:lnTo>
                      <a:pt x="675" y="61"/>
                    </a:lnTo>
                    <a:lnTo>
                      <a:pt x="676" y="62"/>
                    </a:lnTo>
                    <a:lnTo>
                      <a:pt x="678" y="62"/>
                    </a:lnTo>
                    <a:lnTo>
                      <a:pt x="685" y="62"/>
                    </a:lnTo>
                    <a:lnTo>
                      <a:pt x="688" y="62"/>
                    </a:lnTo>
                    <a:lnTo>
                      <a:pt x="691" y="59"/>
                    </a:lnTo>
                    <a:lnTo>
                      <a:pt x="691" y="56"/>
                    </a:lnTo>
                    <a:lnTo>
                      <a:pt x="689" y="53"/>
                    </a:lnTo>
                    <a:lnTo>
                      <a:pt x="688" y="51"/>
                    </a:lnTo>
                    <a:lnTo>
                      <a:pt x="685" y="49"/>
                    </a:lnTo>
                    <a:lnTo>
                      <a:pt x="684" y="48"/>
                    </a:lnTo>
                    <a:close/>
                    <a:moveTo>
                      <a:pt x="53" y="893"/>
                    </a:moveTo>
                    <a:lnTo>
                      <a:pt x="52" y="891"/>
                    </a:lnTo>
                    <a:lnTo>
                      <a:pt x="52" y="890"/>
                    </a:lnTo>
                    <a:lnTo>
                      <a:pt x="47" y="890"/>
                    </a:lnTo>
                    <a:lnTo>
                      <a:pt x="46" y="890"/>
                    </a:lnTo>
                    <a:lnTo>
                      <a:pt x="43" y="890"/>
                    </a:lnTo>
                    <a:lnTo>
                      <a:pt x="42" y="890"/>
                    </a:lnTo>
                    <a:lnTo>
                      <a:pt x="39" y="890"/>
                    </a:lnTo>
                    <a:lnTo>
                      <a:pt x="36" y="889"/>
                    </a:lnTo>
                    <a:lnTo>
                      <a:pt x="33" y="887"/>
                    </a:lnTo>
                    <a:lnTo>
                      <a:pt x="32" y="887"/>
                    </a:lnTo>
                    <a:lnTo>
                      <a:pt x="32" y="886"/>
                    </a:lnTo>
                    <a:lnTo>
                      <a:pt x="30" y="886"/>
                    </a:lnTo>
                    <a:lnTo>
                      <a:pt x="30" y="886"/>
                    </a:lnTo>
                    <a:lnTo>
                      <a:pt x="30" y="886"/>
                    </a:lnTo>
                    <a:lnTo>
                      <a:pt x="29" y="886"/>
                    </a:lnTo>
                    <a:lnTo>
                      <a:pt x="27" y="886"/>
                    </a:lnTo>
                    <a:lnTo>
                      <a:pt x="27" y="890"/>
                    </a:lnTo>
                    <a:lnTo>
                      <a:pt x="27" y="893"/>
                    </a:lnTo>
                    <a:lnTo>
                      <a:pt x="26" y="894"/>
                    </a:lnTo>
                    <a:lnTo>
                      <a:pt x="23" y="894"/>
                    </a:lnTo>
                    <a:lnTo>
                      <a:pt x="22" y="894"/>
                    </a:lnTo>
                    <a:lnTo>
                      <a:pt x="17" y="893"/>
                    </a:lnTo>
                    <a:lnTo>
                      <a:pt x="22" y="887"/>
                    </a:lnTo>
                    <a:lnTo>
                      <a:pt x="23" y="886"/>
                    </a:lnTo>
                    <a:lnTo>
                      <a:pt x="22" y="886"/>
                    </a:lnTo>
                    <a:lnTo>
                      <a:pt x="19" y="889"/>
                    </a:lnTo>
                    <a:lnTo>
                      <a:pt x="17" y="890"/>
                    </a:lnTo>
                    <a:lnTo>
                      <a:pt x="16" y="891"/>
                    </a:lnTo>
                    <a:lnTo>
                      <a:pt x="14" y="893"/>
                    </a:lnTo>
                    <a:lnTo>
                      <a:pt x="10" y="893"/>
                    </a:lnTo>
                    <a:lnTo>
                      <a:pt x="7" y="893"/>
                    </a:lnTo>
                    <a:lnTo>
                      <a:pt x="6" y="894"/>
                    </a:lnTo>
                    <a:lnTo>
                      <a:pt x="6" y="896"/>
                    </a:lnTo>
                    <a:lnTo>
                      <a:pt x="4" y="897"/>
                    </a:lnTo>
                    <a:lnTo>
                      <a:pt x="4" y="900"/>
                    </a:lnTo>
                    <a:lnTo>
                      <a:pt x="3" y="901"/>
                    </a:lnTo>
                    <a:lnTo>
                      <a:pt x="0" y="904"/>
                    </a:lnTo>
                    <a:lnTo>
                      <a:pt x="0" y="904"/>
                    </a:lnTo>
                    <a:lnTo>
                      <a:pt x="3" y="904"/>
                    </a:lnTo>
                    <a:lnTo>
                      <a:pt x="22" y="906"/>
                    </a:lnTo>
                    <a:lnTo>
                      <a:pt x="26" y="906"/>
                    </a:lnTo>
                    <a:lnTo>
                      <a:pt x="33" y="906"/>
                    </a:lnTo>
                    <a:lnTo>
                      <a:pt x="40" y="906"/>
                    </a:lnTo>
                    <a:lnTo>
                      <a:pt x="47" y="907"/>
                    </a:lnTo>
                    <a:lnTo>
                      <a:pt x="49" y="907"/>
                    </a:lnTo>
                    <a:lnTo>
                      <a:pt x="55" y="907"/>
                    </a:lnTo>
                    <a:lnTo>
                      <a:pt x="55" y="907"/>
                    </a:lnTo>
                    <a:lnTo>
                      <a:pt x="55" y="906"/>
                    </a:lnTo>
                    <a:lnTo>
                      <a:pt x="55" y="906"/>
                    </a:lnTo>
                    <a:lnTo>
                      <a:pt x="53" y="904"/>
                    </a:lnTo>
                    <a:lnTo>
                      <a:pt x="53" y="903"/>
                    </a:lnTo>
                    <a:lnTo>
                      <a:pt x="53" y="901"/>
                    </a:lnTo>
                    <a:lnTo>
                      <a:pt x="55" y="900"/>
                    </a:lnTo>
                    <a:lnTo>
                      <a:pt x="55" y="897"/>
                    </a:lnTo>
                    <a:lnTo>
                      <a:pt x="56" y="896"/>
                    </a:lnTo>
                    <a:lnTo>
                      <a:pt x="55" y="894"/>
                    </a:lnTo>
                    <a:lnTo>
                      <a:pt x="53" y="893"/>
                    </a:lnTo>
                    <a:close/>
                    <a:moveTo>
                      <a:pt x="454" y="71"/>
                    </a:moveTo>
                    <a:lnTo>
                      <a:pt x="457" y="71"/>
                    </a:lnTo>
                    <a:lnTo>
                      <a:pt x="460" y="71"/>
                    </a:lnTo>
                    <a:lnTo>
                      <a:pt x="461" y="71"/>
                    </a:lnTo>
                    <a:lnTo>
                      <a:pt x="464" y="72"/>
                    </a:lnTo>
                    <a:lnTo>
                      <a:pt x="464" y="72"/>
                    </a:lnTo>
                    <a:lnTo>
                      <a:pt x="464" y="74"/>
                    </a:lnTo>
                    <a:lnTo>
                      <a:pt x="465" y="75"/>
                    </a:lnTo>
                    <a:lnTo>
                      <a:pt x="465" y="75"/>
                    </a:lnTo>
                    <a:lnTo>
                      <a:pt x="467" y="75"/>
                    </a:lnTo>
                    <a:lnTo>
                      <a:pt x="468" y="75"/>
                    </a:lnTo>
                    <a:lnTo>
                      <a:pt x="470" y="75"/>
                    </a:lnTo>
                    <a:lnTo>
                      <a:pt x="471" y="75"/>
                    </a:lnTo>
                    <a:lnTo>
                      <a:pt x="473" y="74"/>
                    </a:lnTo>
                    <a:lnTo>
                      <a:pt x="474" y="72"/>
                    </a:lnTo>
                    <a:lnTo>
                      <a:pt x="475" y="71"/>
                    </a:lnTo>
                    <a:lnTo>
                      <a:pt x="475" y="71"/>
                    </a:lnTo>
                    <a:lnTo>
                      <a:pt x="478" y="71"/>
                    </a:lnTo>
                    <a:lnTo>
                      <a:pt x="480" y="71"/>
                    </a:lnTo>
                    <a:lnTo>
                      <a:pt x="483" y="71"/>
                    </a:lnTo>
                    <a:lnTo>
                      <a:pt x="485" y="68"/>
                    </a:lnTo>
                    <a:lnTo>
                      <a:pt x="487" y="68"/>
                    </a:lnTo>
                    <a:lnTo>
                      <a:pt x="488" y="66"/>
                    </a:lnTo>
                    <a:lnTo>
                      <a:pt x="491" y="65"/>
                    </a:lnTo>
                    <a:lnTo>
                      <a:pt x="493" y="64"/>
                    </a:lnTo>
                    <a:lnTo>
                      <a:pt x="494" y="62"/>
                    </a:lnTo>
                    <a:lnTo>
                      <a:pt x="496" y="64"/>
                    </a:lnTo>
                    <a:lnTo>
                      <a:pt x="498" y="65"/>
                    </a:lnTo>
                    <a:lnTo>
                      <a:pt x="498" y="66"/>
                    </a:lnTo>
                    <a:lnTo>
                      <a:pt x="500" y="66"/>
                    </a:lnTo>
                    <a:lnTo>
                      <a:pt x="507" y="68"/>
                    </a:lnTo>
                    <a:lnTo>
                      <a:pt x="510" y="68"/>
                    </a:lnTo>
                    <a:lnTo>
                      <a:pt x="510" y="66"/>
                    </a:lnTo>
                    <a:lnTo>
                      <a:pt x="511" y="65"/>
                    </a:lnTo>
                    <a:lnTo>
                      <a:pt x="507" y="61"/>
                    </a:lnTo>
                    <a:lnTo>
                      <a:pt x="504" y="61"/>
                    </a:lnTo>
                    <a:lnTo>
                      <a:pt x="497" y="59"/>
                    </a:lnTo>
                    <a:lnTo>
                      <a:pt x="494" y="59"/>
                    </a:lnTo>
                    <a:lnTo>
                      <a:pt x="490" y="58"/>
                    </a:lnTo>
                    <a:lnTo>
                      <a:pt x="487" y="58"/>
                    </a:lnTo>
                    <a:lnTo>
                      <a:pt x="485" y="58"/>
                    </a:lnTo>
                    <a:lnTo>
                      <a:pt x="483" y="59"/>
                    </a:lnTo>
                    <a:lnTo>
                      <a:pt x="480" y="61"/>
                    </a:lnTo>
                    <a:lnTo>
                      <a:pt x="471" y="64"/>
                    </a:lnTo>
                    <a:lnTo>
                      <a:pt x="452" y="66"/>
                    </a:lnTo>
                    <a:lnTo>
                      <a:pt x="444" y="69"/>
                    </a:lnTo>
                    <a:lnTo>
                      <a:pt x="447" y="69"/>
                    </a:lnTo>
                    <a:lnTo>
                      <a:pt x="454" y="71"/>
                    </a:lnTo>
                    <a:close/>
                    <a:moveTo>
                      <a:pt x="402" y="559"/>
                    </a:moveTo>
                    <a:lnTo>
                      <a:pt x="404" y="559"/>
                    </a:lnTo>
                    <a:lnTo>
                      <a:pt x="405" y="559"/>
                    </a:lnTo>
                    <a:lnTo>
                      <a:pt x="405" y="558"/>
                    </a:lnTo>
                    <a:lnTo>
                      <a:pt x="404" y="557"/>
                    </a:lnTo>
                    <a:lnTo>
                      <a:pt x="402" y="557"/>
                    </a:lnTo>
                    <a:lnTo>
                      <a:pt x="401" y="557"/>
                    </a:lnTo>
                    <a:lnTo>
                      <a:pt x="401" y="558"/>
                    </a:lnTo>
                    <a:lnTo>
                      <a:pt x="402" y="559"/>
                    </a:lnTo>
                    <a:close/>
                    <a:moveTo>
                      <a:pt x="691" y="98"/>
                    </a:moveTo>
                    <a:lnTo>
                      <a:pt x="692" y="99"/>
                    </a:lnTo>
                    <a:lnTo>
                      <a:pt x="697" y="101"/>
                    </a:lnTo>
                    <a:lnTo>
                      <a:pt x="698" y="101"/>
                    </a:lnTo>
                    <a:lnTo>
                      <a:pt x="699" y="101"/>
                    </a:lnTo>
                    <a:lnTo>
                      <a:pt x="701" y="101"/>
                    </a:lnTo>
                    <a:lnTo>
                      <a:pt x="704" y="99"/>
                    </a:lnTo>
                    <a:lnTo>
                      <a:pt x="707" y="98"/>
                    </a:lnTo>
                    <a:lnTo>
                      <a:pt x="708" y="98"/>
                    </a:lnTo>
                    <a:lnTo>
                      <a:pt x="708" y="97"/>
                    </a:lnTo>
                    <a:lnTo>
                      <a:pt x="707" y="95"/>
                    </a:lnTo>
                    <a:lnTo>
                      <a:pt x="704" y="92"/>
                    </a:lnTo>
                    <a:lnTo>
                      <a:pt x="698" y="92"/>
                    </a:lnTo>
                    <a:lnTo>
                      <a:pt x="692" y="94"/>
                    </a:lnTo>
                    <a:lnTo>
                      <a:pt x="691" y="98"/>
                    </a:lnTo>
                    <a:close/>
                    <a:moveTo>
                      <a:pt x="506" y="72"/>
                    </a:moveTo>
                    <a:lnTo>
                      <a:pt x="503" y="72"/>
                    </a:lnTo>
                    <a:lnTo>
                      <a:pt x="496" y="74"/>
                    </a:lnTo>
                    <a:lnTo>
                      <a:pt x="475" y="81"/>
                    </a:lnTo>
                    <a:lnTo>
                      <a:pt x="477" y="84"/>
                    </a:lnTo>
                    <a:lnTo>
                      <a:pt x="478" y="87"/>
                    </a:lnTo>
                    <a:lnTo>
                      <a:pt x="483" y="88"/>
                    </a:lnTo>
                    <a:lnTo>
                      <a:pt x="485" y="88"/>
                    </a:lnTo>
                    <a:lnTo>
                      <a:pt x="491" y="85"/>
                    </a:lnTo>
                    <a:lnTo>
                      <a:pt x="496" y="84"/>
                    </a:lnTo>
                    <a:lnTo>
                      <a:pt x="498" y="87"/>
                    </a:lnTo>
                    <a:lnTo>
                      <a:pt x="496" y="88"/>
                    </a:lnTo>
                    <a:lnTo>
                      <a:pt x="493" y="91"/>
                    </a:lnTo>
                    <a:lnTo>
                      <a:pt x="493" y="92"/>
                    </a:lnTo>
                    <a:lnTo>
                      <a:pt x="497" y="94"/>
                    </a:lnTo>
                    <a:lnTo>
                      <a:pt x="498" y="92"/>
                    </a:lnTo>
                    <a:lnTo>
                      <a:pt x="500" y="91"/>
                    </a:lnTo>
                    <a:lnTo>
                      <a:pt x="501" y="91"/>
                    </a:lnTo>
                    <a:lnTo>
                      <a:pt x="503" y="91"/>
                    </a:lnTo>
                    <a:lnTo>
                      <a:pt x="504" y="92"/>
                    </a:lnTo>
                    <a:lnTo>
                      <a:pt x="506" y="92"/>
                    </a:lnTo>
                    <a:lnTo>
                      <a:pt x="507" y="91"/>
                    </a:lnTo>
                    <a:lnTo>
                      <a:pt x="508" y="89"/>
                    </a:lnTo>
                    <a:lnTo>
                      <a:pt x="508" y="89"/>
                    </a:lnTo>
                    <a:lnTo>
                      <a:pt x="508" y="88"/>
                    </a:lnTo>
                    <a:lnTo>
                      <a:pt x="510" y="88"/>
                    </a:lnTo>
                    <a:lnTo>
                      <a:pt x="511" y="88"/>
                    </a:lnTo>
                    <a:lnTo>
                      <a:pt x="513" y="89"/>
                    </a:lnTo>
                    <a:lnTo>
                      <a:pt x="514" y="89"/>
                    </a:lnTo>
                    <a:lnTo>
                      <a:pt x="516" y="89"/>
                    </a:lnTo>
                    <a:lnTo>
                      <a:pt x="517" y="87"/>
                    </a:lnTo>
                    <a:lnTo>
                      <a:pt x="516" y="84"/>
                    </a:lnTo>
                    <a:lnTo>
                      <a:pt x="510" y="81"/>
                    </a:lnTo>
                    <a:lnTo>
                      <a:pt x="513" y="79"/>
                    </a:lnTo>
                    <a:lnTo>
                      <a:pt x="517" y="78"/>
                    </a:lnTo>
                    <a:lnTo>
                      <a:pt x="524" y="78"/>
                    </a:lnTo>
                    <a:lnTo>
                      <a:pt x="527" y="76"/>
                    </a:lnTo>
                    <a:lnTo>
                      <a:pt x="531" y="74"/>
                    </a:lnTo>
                    <a:lnTo>
                      <a:pt x="534" y="74"/>
                    </a:lnTo>
                    <a:lnTo>
                      <a:pt x="539" y="72"/>
                    </a:lnTo>
                    <a:lnTo>
                      <a:pt x="547" y="72"/>
                    </a:lnTo>
                    <a:lnTo>
                      <a:pt x="550" y="72"/>
                    </a:lnTo>
                    <a:lnTo>
                      <a:pt x="552" y="71"/>
                    </a:lnTo>
                    <a:lnTo>
                      <a:pt x="554" y="69"/>
                    </a:lnTo>
                    <a:lnTo>
                      <a:pt x="554" y="69"/>
                    </a:lnTo>
                    <a:lnTo>
                      <a:pt x="557" y="68"/>
                    </a:lnTo>
                    <a:lnTo>
                      <a:pt x="563" y="65"/>
                    </a:lnTo>
                    <a:lnTo>
                      <a:pt x="563" y="64"/>
                    </a:lnTo>
                    <a:lnTo>
                      <a:pt x="562" y="64"/>
                    </a:lnTo>
                    <a:lnTo>
                      <a:pt x="560" y="64"/>
                    </a:lnTo>
                    <a:lnTo>
                      <a:pt x="559" y="64"/>
                    </a:lnTo>
                    <a:lnTo>
                      <a:pt x="552" y="58"/>
                    </a:lnTo>
                    <a:lnTo>
                      <a:pt x="549" y="56"/>
                    </a:lnTo>
                    <a:lnTo>
                      <a:pt x="546" y="55"/>
                    </a:lnTo>
                    <a:lnTo>
                      <a:pt x="540" y="55"/>
                    </a:lnTo>
                    <a:lnTo>
                      <a:pt x="534" y="55"/>
                    </a:lnTo>
                    <a:lnTo>
                      <a:pt x="527" y="56"/>
                    </a:lnTo>
                    <a:lnTo>
                      <a:pt x="521" y="59"/>
                    </a:lnTo>
                    <a:lnTo>
                      <a:pt x="518" y="65"/>
                    </a:lnTo>
                    <a:lnTo>
                      <a:pt x="518" y="69"/>
                    </a:lnTo>
                    <a:lnTo>
                      <a:pt x="518" y="71"/>
                    </a:lnTo>
                    <a:lnTo>
                      <a:pt x="517" y="72"/>
                    </a:lnTo>
                    <a:lnTo>
                      <a:pt x="514" y="74"/>
                    </a:lnTo>
                    <a:lnTo>
                      <a:pt x="510" y="72"/>
                    </a:lnTo>
                    <a:lnTo>
                      <a:pt x="506" y="72"/>
                    </a:lnTo>
                    <a:close/>
                    <a:moveTo>
                      <a:pt x="541" y="46"/>
                    </a:moveTo>
                    <a:lnTo>
                      <a:pt x="543" y="48"/>
                    </a:lnTo>
                    <a:lnTo>
                      <a:pt x="544" y="48"/>
                    </a:lnTo>
                    <a:lnTo>
                      <a:pt x="546" y="48"/>
                    </a:lnTo>
                    <a:lnTo>
                      <a:pt x="547" y="46"/>
                    </a:lnTo>
                    <a:lnTo>
                      <a:pt x="549" y="46"/>
                    </a:lnTo>
                    <a:lnTo>
                      <a:pt x="550" y="45"/>
                    </a:lnTo>
                    <a:lnTo>
                      <a:pt x="549" y="41"/>
                    </a:lnTo>
                    <a:lnTo>
                      <a:pt x="546" y="41"/>
                    </a:lnTo>
                    <a:lnTo>
                      <a:pt x="540" y="43"/>
                    </a:lnTo>
                    <a:lnTo>
                      <a:pt x="540" y="45"/>
                    </a:lnTo>
                    <a:lnTo>
                      <a:pt x="541" y="46"/>
                    </a:lnTo>
                    <a:close/>
                    <a:moveTo>
                      <a:pt x="520" y="482"/>
                    </a:moveTo>
                    <a:lnTo>
                      <a:pt x="514" y="482"/>
                    </a:lnTo>
                    <a:lnTo>
                      <a:pt x="508" y="483"/>
                    </a:lnTo>
                    <a:lnTo>
                      <a:pt x="506" y="488"/>
                    </a:lnTo>
                    <a:lnTo>
                      <a:pt x="504" y="492"/>
                    </a:lnTo>
                    <a:lnTo>
                      <a:pt x="506" y="498"/>
                    </a:lnTo>
                    <a:lnTo>
                      <a:pt x="510" y="499"/>
                    </a:lnTo>
                    <a:lnTo>
                      <a:pt x="516" y="499"/>
                    </a:lnTo>
                    <a:lnTo>
                      <a:pt x="521" y="498"/>
                    </a:lnTo>
                    <a:lnTo>
                      <a:pt x="524" y="498"/>
                    </a:lnTo>
                    <a:lnTo>
                      <a:pt x="527" y="496"/>
                    </a:lnTo>
                    <a:lnTo>
                      <a:pt x="529" y="495"/>
                    </a:lnTo>
                    <a:lnTo>
                      <a:pt x="533" y="492"/>
                    </a:lnTo>
                    <a:lnTo>
                      <a:pt x="534" y="490"/>
                    </a:lnTo>
                    <a:lnTo>
                      <a:pt x="536" y="490"/>
                    </a:lnTo>
                    <a:lnTo>
                      <a:pt x="536" y="490"/>
                    </a:lnTo>
                    <a:lnTo>
                      <a:pt x="537" y="492"/>
                    </a:lnTo>
                    <a:lnTo>
                      <a:pt x="537" y="492"/>
                    </a:lnTo>
                    <a:lnTo>
                      <a:pt x="537" y="492"/>
                    </a:lnTo>
                    <a:lnTo>
                      <a:pt x="537" y="489"/>
                    </a:lnTo>
                    <a:lnTo>
                      <a:pt x="531" y="485"/>
                    </a:lnTo>
                    <a:lnTo>
                      <a:pt x="524" y="482"/>
                    </a:lnTo>
                    <a:lnTo>
                      <a:pt x="520" y="482"/>
                    </a:lnTo>
                    <a:close/>
                    <a:moveTo>
                      <a:pt x="531" y="94"/>
                    </a:moveTo>
                    <a:lnTo>
                      <a:pt x="533" y="94"/>
                    </a:lnTo>
                    <a:lnTo>
                      <a:pt x="534" y="94"/>
                    </a:lnTo>
                    <a:lnTo>
                      <a:pt x="539" y="88"/>
                    </a:lnTo>
                    <a:lnTo>
                      <a:pt x="537" y="85"/>
                    </a:lnTo>
                    <a:lnTo>
                      <a:pt x="533" y="85"/>
                    </a:lnTo>
                    <a:lnTo>
                      <a:pt x="529" y="87"/>
                    </a:lnTo>
                    <a:lnTo>
                      <a:pt x="526" y="89"/>
                    </a:lnTo>
                    <a:lnTo>
                      <a:pt x="527" y="91"/>
                    </a:lnTo>
                    <a:lnTo>
                      <a:pt x="530" y="92"/>
                    </a:lnTo>
                    <a:lnTo>
                      <a:pt x="531" y="9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grpSp>
        <p:grpSp>
          <p:nvGrpSpPr>
            <p:cNvPr id="12" name="Group 170">
              <a:extLst>
                <a:ext uri="{FF2B5EF4-FFF2-40B4-BE49-F238E27FC236}">
                  <a16:creationId xmlns:a16="http://schemas.microsoft.com/office/drawing/2014/main" id="{7012FF16-E1B6-5FA3-CEF7-D3181849619B}"/>
                </a:ext>
              </a:extLst>
            </p:cNvPr>
            <p:cNvGrpSpPr>
              <a:grpSpLocks noChangeAspect="1"/>
            </p:cNvGrpSpPr>
            <p:nvPr/>
          </p:nvGrpSpPr>
          <p:grpSpPr bwMode="auto">
            <a:xfrm>
              <a:off x="6707205" y="3191606"/>
              <a:ext cx="1859022" cy="2042126"/>
              <a:chOff x="3102" y="2020"/>
              <a:chExt cx="1462" cy="1606"/>
            </a:xfrm>
            <a:grpFill/>
          </p:grpSpPr>
          <p:sp>
            <p:nvSpPr>
              <p:cNvPr id="284" name="Freeform 171">
                <a:extLst>
                  <a:ext uri="{FF2B5EF4-FFF2-40B4-BE49-F238E27FC236}">
                    <a16:creationId xmlns:a16="http://schemas.microsoft.com/office/drawing/2014/main" id="{77DF887D-3C27-A9D2-0603-6196EE0D5183}"/>
                  </a:ext>
                </a:extLst>
              </p:cNvPr>
              <p:cNvSpPr>
                <a:spLocks/>
              </p:cNvSpPr>
              <p:nvPr/>
            </p:nvSpPr>
            <p:spPr bwMode="auto">
              <a:xfrm>
                <a:off x="3332" y="2263"/>
                <a:ext cx="290" cy="275"/>
              </a:xfrm>
              <a:custGeom>
                <a:avLst/>
                <a:gdLst>
                  <a:gd name="T0" fmla="*/ 119 w 290"/>
                  <a:gd name="T1" fmla="*/ 259 h 275"/>
                  <a:gd name="T2" fmla="*/ 123 w 290"/>
                  <a:gd name="T3" fmla="*/ 252 h 275"/>
                  <a:gd name="T4" fmla="*/ 123 w 290"/>
                  <a:gd name="T5" fmla="*/ 246 h 275"/>
                  <a:gd name="T6" fmla="*/ 139 w 290"/>
                  <a:gd name="T7" fmla="*/ 229 h 275"/>
                  <a:gd name="T8" fmla="*/ 140 w 290"/>
                  <a:gd name="T9" fmla="*/ 223 h 275"/>
                  <a:gd name="T10" fmla="*/ 149 w 290"/>
                  <a:gd name="T11" fmla="*/ 219 h 275"/>
                  <a:gd name="T12" fmla="*/ 159 w 290"/>
                  <a:gd name="T13" fmla="*/ 212 h 275"/>
                  <a:gd name="T14" fmla="*/ 165 w 290"/>
                  <a:gd name="T15" fmla="*/ 207 h 275"/>
                  <a:gd name="T16" fmla="*/ 170 w 290"/>
                  <a:gd name="T17" fmla="*/ 202 h 275"/>
                  <a:gd name="T18" fmla="*/ 180 w 290"/>
                  <a:gd name="T19" fmla="*/ 199 h 275"/>
                  <a:gd name="T20" fmla="*/ 185 w 290"/>
                  <a:gd name="T21" fmla="*/ 197 h 275"/>
                  <a:gd name="T22" fmla="*/ 214 w 290"/>
                  <a:gd name="T23" fmla="*/ 187 h 275"/>
                  <a:gd name="T24" fmla="*/ 232 w 290"/>
                  <a:gd name="T25" fmla="*/ 187 h 275"/>
                  <a:gd name="T26" fmla="*/ 270 w 290"/>
                  <a:gd name="T27" fmla="*/ 180 h 275"/>
                  <a:gd name="T28" fmla="*/ 282 w 290"/>
                  <a:gd name="T29" fmla="*/ 174 h 275"/>
                  <a:gd name="T30" fmla="*/ 290 w 290"/>
                  <a:gd name="T31" fmla="*/ 151 h 275"/>
                  <a:gd name="T32" fmla="*/ 271 w 290"/>
                  <a:gd name="T33" fmla="*/ 111 h 275"/>
                  <a:gd name="T34" fmla="*/ 272 w 290"/>
                  <a:gd name="T35" fmla="*/ 102 h 275"/>
                  <a:gd name="T36" fmla="*/ 262 w 290"/>
                  <a:gd name="T37" fmla="*/ 95 h 275"/>
                  <a:gd name="T38" fmla="*/ 252 w 290"/>
                  <a:gd name="T39" fmla="*/ 89 h 275"/>
                  <a:gd name="T40" fmla="*/ 244 w 290"/>
                  <a:gd name="T41" fmla="*/ 85 h 275"/>
                  <a:gd name="T42" fmla="*/ 236 w 290"/>
                  <a:gd name="T43" fmla="*/ 79 h 275"/>
                  <a:gd name="T44" fmla="*/ 130 w 290"/>
                  <a:gd name="T45" fmla="*/ 0 h 275"/>
                  <a:gd name="T46" fmla="*/ 119 w 290"/>
                  <a:gd name="T47" fmla="*/ 160 h 275"/>
                  <a:gd name="T48" fmla="*/ 122 w 290"/>
                  <a:gd name="T49" fmla="*/ 167 h 275"/>
                  <a:gd name="T50" fmla="*/ 53 w 290"/>
                  <a:gd name="T51" fmla="*/ 179 h 275"/>
                  <a:gd name="T52" fmla="*/ 48 w 290"/>
                  <a:gd name="T53" fmla="*/ 180 h 275"/>
                  <a:gd name="T54" fmla="*/ 31 w 290"/>
                  <a:gd name="T55" fmla="*/ 180 h 275"/>
                  <a:gd name="T56" fmla="*/ 20 w 290"/>
                  <a:gd name="T57" fmla="*/ 183 h 275"/>
                  <a:gd name="T58" fmla="*/ 7 w 290"/>
                  <a:gd name="T59" fmla="*/ 189 h 275"/>
                  <a:gd name="T60" fmla="*/ 1 w 290"/>
                  <a:gd name="T61" fmla="*/ 197 h 275"/>
                  <a:gd name="T62" fmla="*/ 4 w 290"/>
                  <a:gd name="T63" fmla="*/ 206 h 275"/>
                  <a:gd name="T64" fmla="*/ 4 w 290"/>
                  <a:gd name="T65" fmla="*/ 210 h 275"/>
                  <a:gd name="T66" fmla="*/ 8 w 290"/>
                  <a:gd name="T67" fmla="*/ 217 h 275"/>
                  <a:gd name="T68" fmla="*/ 11 w 290"/>
                  <a:gd name="T69" fmla="*/ 217 h 275"/>
                  <a:gd name="T70" fmla="*/ 15 w 290"/>
                  <a:gd name="T71" fmla="*/ 233 h 275"/>
                  <a:gd name="T72" fmla="*/ 20 w 290"/>
                  <a:gd name="T73" fmla="*/ 240 h 275"/>
                  <a:gd name="T74" fmla="*/ 25 w 290"/>
                  <a:gd name="T75" fmla="*/ 240 h 275"/>
                  <a:gd name="T76" fmla="*/ 31 w 290"/>
                  <a:gd name="T77" fmla="*/ 240 h 275"/>
                  <a:gd name="T78" fmla="*/ 41 w 290"/>
                  <a:gd name="T79" fmla="*/ 240 h 275"/>
                  <a:gd name="T80" fmla="*/ 51 w 290"/>
                  <a:gd name="T81" fmla="*/ 236 h 275"/>
                  <a:gd name="T82" fmla="*/ 51 w 290"/>
                  <a:gd name="T83" fmla="*/ 233 h 275"/>
                  <a:gd name="T84" fmla="*/ 61 w 290"/>
                  <a:gd name="T85" fmla="*/ 249 h 275"/>
                  <a:gd name="T86" fmla="*/ 66 w 290"/>
                  <a:gd name="T87" fmla="*/ 256 h 275"/>
                  <a:gd name="T88" fmla="*/ 68 w 290"/>
                  <a:gd name="T89" fmla="*/ 259 h 275"/>
                  <a:gd name="T90" fmla="*/ 70 w 290"/>
                  <a:gd name="T91" fmla="*/ 265 h 275"/>
                  <a:gd name="T92" fmla="*/ 74 w 290"/>
                  <a:gd name="T93" fmla="*/ 272 h 275"/>
                  <a:gd name="T94" fmla="*/ 83 w 290"/>
                  <a:gd name="T95" fmla="*/ 271 h 275"/>
                  <a:gd name="T96" fmla="*/ 93 w 290"/>
                  <a:gd name="T97" fmla="*/ 275 h 275"/>
                  <a:gd name="T98" fmla="*/ 97 w 290"/>
                  <a:gd name="T99" fmla="*/ 271 h 275"/>
                  <a:gd name="T100" fmla="*/ 97 w 290"/>
                  <a:gd name="T101" fmla="*/ 268 h 275"/>
                  <a:gd name="T102" fmla="*/ 103 w 290"/>
                  <a:gd name="T103" fmla="*/ 268 h 275"/>
                  <a:gd name="T104" fmla="*/ 106 w 290"/>
                  <a:gd name="T105" fmla="*/ 266 h 275"/>
                  <a:gd name="T106" fmla="*/ 106 w 290"/>
                  <a:gd name="T107" fmla="*/ 273 h 275"/>
                  <a:gd name="T108" fmla="*/ 116 w 290"/>
                  <a:gd name="T109" fmla="*/ 271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0" h="275">
                    <a:moveTo>
                      <a:pt x="119" y="268"/>
                    </a:moveTo>
                    <a:lnTo>
                      <a:pt x="120" y="265"/>
                    </a:lnTo>
                    <a:lnTo>
                      <a:pt x="120" y="263"/>
                    </a:lnTo>
                    <a:lnTo>
                      <a:pt x="119" y="261"/>
                    </a:lnTo>
                    <a:lnTo>
                      <a:pt x="119" y="259"/>
                    </a:lnTo>
                    <a:lnTo>
                      <a:pt x="120" y="259"/>
                    </a:lnTo>
                    <a:lnTo>
                      <a:pt x="120" y="258"/>
                    </a:lnTo>
                    <a:lnTo>
                      <a:pt x="122" y="258"/>
                    </a:lnTo>
                    <a:lnTo>
                      <a:pt x="123" y="255"/>
                    </a:lnTo>
                    <a:lnTo>
                      <a:pt x="123" y="252"/>
                    </a:lnTo>
                    <a:lnTo>
                      <a:pt x="123" y="250"/>
                    </a:lnTo>
                    <a:lnTo>
                      <a:pt x="123" y="249"/>
                    </a:lnTo>
                    <a:lnTo>
                      <a:pt x="123" y="248"/>
                    </a:lnTo>
                    <a:lnTo>
                      <a:pt x="123" y="248"/>
                    </a:lnTo>
                    <a:lnTo>
                      <a:pt x="123" y="246"/>
                    </a:lnTo>
                    <a:lnTo>
                      <a:pt x="126" y="242"/>
                    </a:lnTo>
                    <a:lnTo>
                      <a:pt x="133" y="239"/>
                    </a:lnTo>
                    <a:lnTo>
                      <a:pt x="137" y="236"/>
                    </a:lnTo>
                    <a:lnTo>
                      <a:pt x="137" y="230"/>
                    </a:lnTo>
                    <a:lnTo>
                      <a:pt x="139" y="229"/>
                    </a:lnTo>
                    <a:lnTo>
                      <a:pt x="140" y="227"/>
                    </a:lnTo>
                    <a:lnTo>
                      <a:pt x="140" y="227"/>
                    </a:lnTo>
                    <a:lnTo>
                      <a:pt x="140" y="225"/>
                    </a:lnTo>
                    <a:lnTo>
                      <a:pt x="140" y="223"/>
                    </a:lnTo>
                    <a:lnTo>
                      <a:pt x="140" y="223"/>
                    </a:lnTo>
                    <a:lnTo>
                      <a:pt x="140" y="222"/>
                    </a:lnTo>
                    <a:lnTo>
                      <a:pt x="142" y="220"/>
                    </a:lnTo>
                    <a:lnTo>
                      <a:pt x="145" y="217"/>
                    </a:lnTo>
                    <a:lnTo>
                      <a:pt x="146" y="217"/>
                    </a:lnTo>
                    <a:lnTo>
                      <a:pt x="149" y="219"/>
                    </a:lnTo>
                    <a:lnTo>
                      <a:pt x="152" y="220"/>
                    </a:lnTo>
                    <a:lnTo>
                      <a:pt x="155" y="220"/>
                    </a:lnTo>
                    <a:lnTo>
                      <a:pt x="156" y="219"/>
                    </a:lnTo>
                    <a:lnTo>
                      <a:pt x="157" y="215"/>
                    </a:lnTo>
                    <a:lnTo>
                      <a:pt x="159" y="212"/>
                    </a:lnTo>
                    <a:lnTo>
                      <a:pt x="160" y="212"/>
                    </a:lnTo>
                    <a:lnTo>
                      <a:pt x="162" y="213"/>
                    </a:lnTo>
                    <a:lnTo>
                      <a:pt x="165" y="212"/>
                    </a:lnTo>
                    <a:lnTo>
                      <a:pt x="165" y="210"/>
                    </a:lnTo>
                    <a:lnTo>
                      <a:pt x="165" y="207"/>
                    </a:lnTo>
                    <a:lnTo>
                      <a:pt x="165" y="207"/>
                    </a:lnTo>
                    <a:lnTo>
                      <a:pt x="166" y="206"/>
                    </a:lnTo>
                    <a:lnTo>
                      <a:pt x="168" y="203"/>
                    </a:lnTo>
                    <a:lnTo>
                      <a:pt x="169" y="203"/>
                    </a:lnTo>
                    <a:lnTo>
                      <a:pt x="170" y="202"/>
                    </a:lnTo>
                    <a:lnTo>
                      <a:pt x="173" y="202"/>
                    </a:lnTo>
                    <a:lnTo>
                      <a:pt x="178" y="202"/>
                    </a:lnTo>
                    <a:lnTo>
                      <a:pt x="179" y="202"/>
                    </a:lnTo>
                    <a:lnTo>
                      <a:pt x="180" y="200"/>
                    </a:lnTo>
                    <a:lnTo>
                      <a:pt x="180" y="199"/>
                    </a:lnTo>
                    <a:lnTo>
                      <a:pt x="182" y="197"/>
                    </a:lnTo>
                    <a:lnTo>
                      <a:pt x="182" y="197"/>
                    </a:lnTo>
                    <a:lnTo>
                      <a:pt x="183" y="197"/>
                    </a:lnTo>
                    <a:lnTo>
                      <a:pt x="183" y="197"/>
                    </a:lnTo>
                    <a:lnTo>
                      <a:pt x="185" y="197"/>
                    </a:lnTo>
                    <a:lnTo>
                      <a:pt x="196" y="192"/>
                    </a:lnTo>
                    <a:lnTo>
                      <a:pt x="199" y="190"/>
                    </a:lnTo>
                    <a:lnTo>
                      <a:pt x="203" y="187"/>
                    </a:lnTo>
                    <a:lnTo>
                      <a:pt x="209" y="187"/>
                    </a:lnTo>
                    <a:lnTo>
                      <a:pt x="214" y="187"/>
                    </a:lnTo>
                    <a:lnTo>
                      <a:pt x="219" y="189"/>
                    </a:lnTo>
                    <a:lnTo>
                      <a:pt x="222" y="187"/>
                    </a:lnTo>
                    <a:lnTo>
                      <a:pt x="225" y="187"/>
                    </a:lnTo>
                    <a:lnTo>
                      <a:pt x="229" y="189"/>
                    </a:lnTo>
                    <a:lnTo>
                      <a:pt x="232" y="187"/>
                    </a:lnTo>
                    <a:lnTo>
                      <a:pt x="234" y="187"/>
                    </a:lnTo>
                    <a:lnTo>
                      <a:pt x="236" y="184"/>
                    </a:lnTo>
                    <a:lnTo>
                      <a:pt x="238" y="183"/>
                    </a:lnTo>
                    <a:lnTo>
                      <a:pt x="241" y="181"/>
                    </a:lnTo>
                    <a:lnTo>
                      <a:pt x="270" y="180"/>
                    </a:lnTo>
                    <a:lnTo>
                      <a:pt x="277" y="181"/>
                    </a:lnTo>
                    <a:lnTo>
                      <a:pt x="278" y="179"/>
                    </a:lnTo>
                    <a:lnTo>
                      <a:pt x="280" y="177"/>
                    </a:lnTo>
                    <a:lnTo>
                      <a:pt x="281" y="176"/>
                    </a:lnTo>
                    <a:lnTo>
                      <a:pt x="282" y="174"/>
                    </a:lnTo>
                    <a:lnTo>
                      <a:pt x="284" y="174"/>
                    </a:lnTo>
                    <a:lnTo>
                      <a:pt x="284" y="173"/>
                    </a:lnTo>
                    <a:lnTo>
                      <a:pt x="288" y="160"/>
                    </a:lnTo>
                    <a:lnTo>
                      <a:pt x="290" y="156"/>
                    </a:lnTo>
                    <a:lnTo>
                      <a:pt x="290" y="151"/>
                    </a:lnTo>
                    <a:lnTo>
                      <a:pt x="290" y="111"/>
                    </a:lnTo>
                    <a:lnTo>
                      <a:pt x="280" y="114"/>
                    </a:lnTo>
                    <a:lnTo>
                      <a:pt x="274" y="114"/>
                    </a:lnTo>
                    <a:lnTo>
                      <a:pt x="271" y="112"/>
                    </a:lnTo>
                    <a:lnTo>
                      <a:pt x="271" y="111"/>
                    </a:lnTo>
                    <a:lnTo>
                      <a:pt x="271" y="110"/>
                    </a:lnTo>
                    <a:lnTo>
                      <a:pt x="272" y="108"/>
                    </a:lnTo>
                    <a:lnTo>
                      <a:pt x="272" y="107"/>
                    </a:lnTo>
                    <a:lnTo>
                      <a:pt x="272" y="105"/>
                    </a:lnTo>
                    <a:lnTo>
                      <a:pt x="272" y="102"/>
                    </a:lnTo>
                    <a:lnTo>
                      <a:pt x="271" y="100"/>
                    </a:lnTo>
                    <a:lnTo>
                      <a:pt x="271" y="98"/>
                    </a:lnTo>
                    <a:lnTo>
                      <a:pt x="268" y="97"/>
                    </a:lnTo>
                    <a:lnTo>
                      <a:pt x="267" y="97"/>
                    </a:lnTo>
                    <a:lnTo>
                      <a:pt x="262" y="95"/>
                    </a:lnTo>
                    <a:lnTo>
                      <a:pt x="259" y="94"/>
                    </a:lnTo>
                    <a:lnTo>
                      <a:pt x="258" y="94"/>
                    </a:lnTo>
                    <a:lnTo>
                      <a:pt x="257" y="92"/>
                    </a:lnTo>
                    <a:lnTo>
                      <a:pt x="255" y="91"/>
                    </a:lnTo>
                    <a:lnTo>
                      <a:pt x="252" y="89"/>
                    </a:lnTo>
                    <a:lnTo>
                      <a:pt x="249" y="89"/>
                    </a:lnTo>
                    <a:lnTo>
                      <a:pt x="247" y="89"/>
                    </a:lnTo>
                    <a:lnTo>
                      <a:pt x="245" y="88"/>
                    </a:lnTo>
                    <a:lnTo>
                      <a:pt x="244" y="87"/>
                    </a:lnTo>
                    <a:lnTo>
                      <a:pt x="244" y="85"/>
                    </a:lnTo>
                    <a:lnTo>
                      <a:pt x="244" y="85"/>
                    </a:lnTo>
                    <a:lnTo>
                      <a:pt x="242" y="84"/>
                    </a:lnTo>
                    <a:lnTo>
                      <a:pt x="239" y="82"/>
                    </a:lnTo>
                    <a:lnTo>
                      <a:pt x="238" y="82"/>
                    </a:lnTo>
                    <a:lnTo>
                      <a:pt x="236" y="79"/>
                    </a:lnTo>
                    <a:lnTo>
                      <a:pt x="236" y="78"/>
                    </a:lnTo>
                    <a:lnTo>
                      <a:pt x="236" y="77"/>
                    </a:lnTo>
                    <a:lnTo>
                      <a:pt x="235" y="75"/>
                    </a:lnTo>
                    <a:lnTo>
                      <a:pt x="234" y="72"/>
                    </a:lnTo>
                    <a:lnTo>
                      <a:pt x="130" y="0"/>
                    </a:lnTo>
                    <a:lnTo>
                      <a:pt x="100" y="0"/>
                    </a:lnTo>
                    <a:lnTo>
                      <a:pt x="116" y="156"/>
                    </a:lnTo>
                    <a:lnTo>
                      <a:pt x="117" y="157"/>
                    </a:lnTo>
                    <a:lnTo>
                      <a:pt x="117" y="158"/>
                    </a:lnTo>
                    <a:lnTo>
                      <a:pt x="119" y="160"/>
                    </a:lnTo>
                    <a:lnTo>
                      <a:pt x="119" y="161"/>
                    </a:lnTo>
                    <a:lnTo>
                      <a:pt x="120" y="163"/>
                    </a:lnTo>
                    <a:lnTo>
                      <a:pt x="120" y="164"/>
                    </a:lnTo>
                    <a:lnTo>
                      <a:pt x="122" y="164"/>
                    </a:lnTo>
                    <a:lnTo>
                      <a:pt x="122" y="167"/>
                    </a:lnTo>
                    <a:lnTo>
                      <a:pt x="119" y="176"/>
                    </a:lnTo>
                    <a:lnTo>
                      <a:pt x="119" y="179"/>
                    </a:lnTo>
                    <a:lnTo>
                      <a:pt x="116" y="179"/>
                    </a:lnTo>
                    <a:lnTo>
                      <a:pt x="60" y="179"/>
                    </a:lnTo>
                    <a:lnTo>
                      <a:pt x="53" y="179"/>
                    </a:lnTo>
                    <a:lnTo>
                      <a:pt x="51" y="176"/>
                    </a:lnTo>
                    <a:lnTo>
                      <a:pt x="50" y="176"/>
                    </a:lnTo>
                    <a:lnTo>
                      <a:pt x="50" y="177"/>
                    </a:lnTo>
                    <a:lnTo>
                      <a:pt x="48" y="179"/>
                    </a:lnTo>
                    <a:lnTo>
                      <a:pt x="48" y="180"/>
                    </a:lnTo>
                    <a:lnTo>
                      <a:pt x="45" y="180"/>
                    </a:lnTo>
                    <a:lnTo>
                      <a:pt x="43" y="180"/>
                    </a:lnTo>
                    <a:lnTo>
                      <a:pt x="40" y="180"/>
                    </a:lnTo>
                    <a:lnTo>
                      <a:pt x="37" y="180"/>
                    </a:lnTo>
                    <a:lnTo>
                      <a:pt x="31" y="180"/>
                    </a:lnTo>
                    <a:lnTo>
                      <a:pt x="30" y="180"/>
                    </a:lnTo>
                    <a:lnTo>
                      <a:pt x="28" y="180"/>
                    </a:lnTo>
                    <a:lnTo>
                      <a:pt x="24" y="184"/>
                    </a:lnTo>
                    <a:lnTo>
                      <a:pt x="24" y="184"/>
                    </a:lnTo>
                    <a:lnTo>
                      <a:pt x="20" y="183"/>
                    </a:lnTo>
                    <a:lnTo>
                      <a:pt x="17" y="179"/>
                    </a:lnTo>
                    <a:lnTo>
                      <a:pt x="14" y="176"/>
                    </a:lnTo>
                    <a:lnTo>
                      <a:pt x="10" y="179"/>
                    </a:lnTo>
                    <a:lnTo>
                      <a:pt x="8" y="183"/>
                    </a:lnTo>
                    <a:lnTo>
                      <a:pt x="7" y="189"/>
                    </a:lnTo>
                    <a:lnTo>
                      <a:pt x="4" y="192"/>
                    </a:lnTo>
                    <a:lnTo>
                      <a:pt x="0" y="192"/>
                    </a:lnTo>
                    <a:lnTo>
                      <a:pt x="1" y="193"/>
                    </a:lnTo>
                    <a:lnTo>
                      <a:pt x="1" y="194"/>
                    </a:lnTo>
                    <a:lnTo>
                      <a:pt x="1" y="197"/>
                    </a:lnTo>
                    <a:lnTo>
                      <a:pt x="2" y="199"/>
                    </a:lnTo>
                    <a:lnTo>
                      <a:pt x="4" y="202"/>
                    </a:lnTo>
                    <a:lnTo>
                      <a:pt x="4" y="203"/>
                    </a:lnTo>
                    <a:lnTo>
                      <a:pt x="4" y="206"/>
                    </a:lnTo>
                    <a:lnTo>
                      <a:pt x="4" y="206"/>
                    </a:lnTo>
                    <a:lnTo>
                      <a:pt x="5" y="207"/>
                    </a:lnTo>
                    <a:lnTo>
                      <a:pt x="5" y="207"/>
                    </a:lnTo>
                    <a:lnTo>
                      <a:pt x="5" y="209"/>
                    </a:lnTo>
                    <a:lnTo>
                      <a:pt x="4" y="210"/>
                    </a:lnTo>
                    <a:lnTo>
                      <a:pt x="4" y="210"/>
                    </a:lnTo>
                    <a:lnTo>
                      <a:pt x="4" y="213"/>
                    </a:lnTo>
                    <a:lnTo>
                      <a:pt x="5" y="215"/>
                    </a:lnTo>
                    <a:lnTo>
                      <a:pt x="7" y="216"/>
                    </a:lnTo>
                    <a:lnTo>
                      <a:pt x="7" y="217"/>
                    </a:lnTo>
                    <a:lnTo>
                      <a:pt x="8" y="217"/>
                    </a:lnTo>
                    <a:lnTo>
                      <a:pt x="8" y="217"/>
                    </a:lnTo>
                    <a:lnTo>
                      <a:pt x="8" y="217"/>
                    </a:lnTo>
                    <a:lnTo>
                      <a:pt x="10" y="217"/>
                    </a:lnTo>
                    <a:lnTo>
                      <a:pt x="10" y="217"/>
                    </a:lnTo>
                    <a:lnTo>
                      <a:pt x="11" y="217"/>
                    </a:lnTo>
                    <a:lnTo>
                      <a:pt x="12" y="219"/>
                    </a:lnTo>
                    <a:lnTo>
                      <a:pt x="14" y="225"/>
                    </a:lnTo>
                    <a:lnTo>
                      <a:pt x="15" y="226"/>
                    </a:lnTo>
                    <a:lnTo>
                      <a:pt x="15" y="232"/>
                    </a:lnTo>
                    <a:lnTo>
                      <a:pt x="15" y="233"/>
                    </a:lnTo>
                    <a:lnTo>
                      <a:pt x="15" y="235"/>
                    </a:lnTo>
                    <a:lnTo>
                      <a:pt x="14" y="238"/>
                    </a:lnTo>
                    <a:lnTo>
                      <a:pt x="14" y="240"/>
                    </a:lnTo>
                    <a:lnTo>
                      <a:pt x="17" y="240"/>
                    </a:lnTo>
                    <a:lnTo>
                      <a:pt x="20" y="240"/>
                    </a:lnTo>
                    <a:lnTo>
                      <a:pt x="21" y="240"/>
                    </a:lnTo>
                    <a:lnTo>
                      <a:pt x="21" y="239"/>
                    </a:lnTo>
                    <a:lnTo>
                      <a:pt x="23" y="239"/>
                    </a:lnTo>
                    <a:lnTo>
                      <a:pt x="24" y="239"/>
                    </a:lnTo>
                    <a:lnTo>
                      <a:pt x="25" y="240"/>
                    </a:lnTo>
                    <a:lnTo>
                      <a:pt x="25" y="242"/>
                    </a:lnTo>
                    <a:lnTo>
                      <a:pt x="27" y="243"/>
                    </a:lnTo>
                    <a:lnTo>
                      <a:pt x="28" y="243"/>
                    </a:lnTo>
                    <a:lnTo>
                      <a:pt x="28" y="243"/>
                    </a:lnTo>
                    <a:lnTo>
                      <a:pt x="31" y="240"/>
                    </a:lnTo>
                    <a:lnTo>
                      <a:pt x="33" y="239"/>
                    </a:lnTo>
                    <a:lnTo>
                      <a:pt x="34" y="239"/>
                    </a:lnTo>
                    <a:lnTo>
                      <a:pt x="34" y="239"/>
                    </a:lnTo>
                    <a:lnTo>
                      <a:pt x="35" y="239"/>
                    </a:lnTo>
                    <a:lnTo>
                      <a:pt x="41" y="240"/>
                    </a:lnTo>
                    <a:lnTo>
                      <a:pt x="44" y="240"/>
                    </a:lnTo>
                    <a:lnTo>
                      <a:pt x="45" y="240"/>
                    </a:lnTo>
                    <a:lnTo>
                      <a:pt x="50" y="238"/>
                    </a:lnTo>
                    <a:lnTo>
                      <a:pt x="50" y="236"/>
                    </a:lnTo>
                    <a:lnTo>
                      <a:pt x="51" y="236"/>
                    </a:lnTo>
                    <a:lnTo>
                      <a:pt x="51" y="236"/>
                    </a:lnTo>
                    <a:lnTo>
                      <a:pt x="51" y="235"/>
                    </a:lnTo>
                    <a:lnTo>
                      <a:pt x="51" y="235"/>
                    </a:lnTo>
                    <a:lnTo>
                      <a:pt x="51" y="233"/>
                    </a:lnTo>
                    <a:lnTo>
                      <a:pt x="51" y="233"/>
                    </a:lnTo>
                    <a:lnTo>
                      <a:pt x="54" y="233"/>
                    </a:lnTo>
                    <a:lnTo>
                      <a:pt x="57" y="235"/>
                    </a:lnTo>
                    <a:lnTo>
                      <a:pt x="58" y="238"/>
                    </a:lnTo>
                    <a:lnTo>
                      <a:pt x="61" y="248"/>
                    </a:lnTo>
                    <a:lnTo>
                      <a:pt x="61" y="249"/>
                    </a:lnTo>
                    <a:lnTo>
                      <a:pt x="63" y="249"/>
                    </a:lnTo>
                    <a:lnTo>
                      <a:pt x="67" y="252"/>
                    </a:lnTo>
                    <a:lnTo>
                      <a:pt x="67" y="253"/>
                    </a:lnTo>
                    <a:lnTo>
                      <a:pt x="67" y="255"/>
                    </a:lnTo>
                    <a:lnTo>
                      <a:pt x="66" y="256"/>
                    </a:lnTo>
                    <a:lnTo>
                      <a:pt x="64" y="258"/>
                    </a:lnTo>
                    <a:lnTo>
                      <a:pt x="64" y="261"/>
                    </a:lnTo>
                    <a:lnTo>
                      <a:pt x="66" y="261"/>
                    </a:lnTo>
                    <a:lnTo>
                      <a:pt x="67" y="259"/>
                    </a:lnTo>
                    <a:lnTo>
                      <a:pt x="68" y="259"/>
                    </a:lnTo>
                    <a:lnTo>
                      <a:pt x="68" y="261"/>
                    </a:lnTo>
                    <a:lnTo>
                      <a:pt x="70" y="262"/>
                    </a:lnTo>
                    <a:lnTo>
                      <a:pt x="70" y="263"/>
                    </a:lnTo>
                    <a:lnTo>
                      <a:pt x="70" y="265"/>
                    </a:lnTo>
                    <a:lnTo>
                      <a:pt x="70" y="265"/>
                    </a:lnTo>
                    <a:lnTo>
                      <a:pt x="70" y="268"/>
                    </a:lnTo>
                    <a:lnTo>
                      <a:pt x="70" y="269"/>
                    </a:lnTo>
                    <a:lnTo>
                      <a:pt x="73" y="271"/>
                    </a:lnTo>
                    <a:lnTo>
                      <a:pt x="74" y="272"/>
                    </a:lnTo>
                    <a:lnTo>
                      <a:pt x="74" y="272"/>
                    </a:lnTo>
                    <a:lnTo>
                      <a:pt x="76" y="273"/>
                    </a:lnTo>
                    <a:lnTo>
                      <a:pt x="76" y="275"/>
                    </a:lnTo>
                    <a:lnTo>
                      <a:pt x="77" y="273"/>
                    </a:lnTo>
                    <a:lnTo>
                      <a:pt x="81" y="271"/>
                    </a:lnTo>
                    <a:lnTo>
                      <a:pt x="83" y="271"/>
                    </a:lnTo>
                    <a:lnTo>
                      <a:pt x="86" y="271"/>
                    </a:lnTo>
                    <a:lnTo>
                      <a:pt x="87" y="272"/>
                    </a:lnTo>
                    <a:lnTo>
                      <a:pt x="89" y="273"/>
                    </a:lnTo>
                    <a:lnTo>
                      <a:pt x="91" y="275"/>
                    </a:lnTo>
                    <a:lnTo>
                      <a:pt x="93" y="275"/>
                    </a:lnTo>
                    <a:lnTo>
                      <a:pt x="93" y="273"/>
                    </a:lnTo>
                    <a:lnTo>
                      <a:pt x="93" y="272"/>
                    </a:lnTo>
                    <a:lnTo>
                      <a:pt x="94" y="272"/>
                    </a:lnTo>
                    <a:lnTo>
                      <a:pt x="96" y="271"/>
                    </a:lnTo>
                    <a:lnTo>
                      <a:pt x="97" y="271"/>
                    </a:lnTo>
                    <a:lnTo>
                      <a:pt x="97" y="271"/>
                    </a:lnTo>
                    <a:lnTo>
                      <a:pt x="99" y="271"/>
                    </a:lnTo>
                    <a:lnTo>
                      <a:pt x="99" y="269"/>
                    </a:lnTo>
                    <a:lnTo>
                      <a:pt x="99" y="269"/>
                    </a:lnTo>
                    <a:lnTo>
                      <a:pt x="97" y="268"/>
                    </a:lnTo>
                    <a:lnTo>
                      <a:pt x="99" y="266"/>
                    </a:lnTo>
                    <a:lnTo>
                      <a:pt x="99" y="266"/>
                    </a:lnTo>
                    <a:lnTo>
                      <a:pt x="101" y="268"/>
                    </a:lnTo>
                    <a:lnTo>
                      <a:pt x="103" y="268"/>
                    </a:lnTo>
                    <a:lnTo>
                      <a:pt x="103" y="268"/>
                    </a:lnTo>
                    <a:lnTo>
                      <a:pt x="103" y="266"/>
                    </a:lnTo>
                    <a:lnTo>
                      <a:pt x="103" y="266"/>
                    </a:lnTo>
                    <a:lnTo>
                      <a:pt x="103" y="265"/>
                    </a:lnTo>
                    <a:lnTo>
                      <a:pt x="106" y="265"/>
                    </a:lnTo>
                    <a:lnTo>
                      <a:pt x="106" y="266"/>
                    </a:lnTo>
                    <a:lnTo>
                      <a:pt x="106" y="269"/>
                    </a:lnTo>
                    <a:lnTo>
                      <a:pt x="106" y="272"/>
                    </a:lnTo>
                    <a:lnTo>
                      <a:pt x="106" y="272"/>
                    </a:lnTo>
                    <a:lnTo>
                      <a:pt x="106" y="273"/>
                    </a:lnTo>
                    <a:lnTo>
                      <a:pt x="106" y="273"/>
                    </a:lnTo>
                    <a:lnTo>
                      <a:pt x="107" y="273"/>
                    </a:lnTo>
                    <a:lnTo>
                      <a:pt x="109" y="275"/>
                    </a:lnTo>
                    <a:lnTo>
                      <a:pt x="109" y="273"/>
                    </a:lnTo>
                    <a:lnTo>
                      <a:pt x="114" y="271"/>
                    </a:lnTo>
                    <a:lnTo>
                      <a:pt x="116" y="271"/>
                    </a:lnTo>
                    <a:lnTo>
                      <a:pt x="119" y="271"/>
                    </a:lnTo>
                    <a:lnTo>
                      <a:pt x="119" y="269"/>
                    </a:lnTo>
                    <a:lnTo>
                      <a:pt x="119" y="26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85" name="Freeform 172">
                <a:extLst>
                  <a:ext uri="{FF2B5EF4-FFF2-40B4-BE49-F238E27FC236}">
                    <a16:creationId xmlns:a16="http://schemas.microsoft.com/office/drawing/2014/main" id="{003C6FC3-8830-99B8-3FE9-81A0BF43D2D4}"/>
                  </a:ext>
                </a:extLst>
              </p:cNvPr>
              <p:cNvSpPr>
                <a:spLocks/>
              </p:cNvSpPr>
              <p:nvPr/>
            </p:nvSpPr>
            <p:spPr bwMode="auto">
              <a:xfrm>
                <a:off x="3451" y="2450"/>
                <a:ext cx="139" cy="101"/>
              </a:xfrm>
              <a:custGeom>
                <a:avLst/>
                <a:gdLst>
                  <a:gd name="T0" fmla="*/ 133 w 139"/>
                  <a:gd name="T1" fmla="*/ 48 h 101"/>
                  <a:gd name="T2" fmla="*/ 136 w 139"/>
                  <a:gd name="T3" fmla="*/ 46 h 101"/>
                  <a:gd name="T4" fmla="*/ 133 w 139"/>
                  <a:gd name="T5" fmla="*/ 42 h 101"/>
                  <a:gd name="T6" fmla="*/ 130 w 139"/>
                  <a:gd name="T7" fmla="*/ 42 h 101"/>
                  <a:gd name="T8" fmla="*/ 125 w 139"/>
                  <a:gd name="T9" fmla="*/ 43 h 101"/>
                  <a:gd name="T10" fmla="*/ 113 w 139"/>
                  <a:gd name="T11" fmla="*/ 33 h 101"/>
                  <a:gd name="T12" fmla="*/ 116 w 139"/>
                  <a:gd name="T13" fmla="*/ 30 h 101"/>
                  <a:gd name="T14" fmla="*/ 116 w 139"/>
                  <a:gd name="T15" fmla="*/ 29 h 101"/>
                  <a:gd name="T16" fmla="*/ 106 w 139"/>
                  <a:gd name="T17" fmla="*/ 22 h 101"/>
                  <a:gd name="T18" fmla="*/ 103 w 139"/>
                  <a:gd name="T19" fmla="*/ 15 h 101"/>
                  <a:gd name="T20" fmla="*/ 100 w 139"/>
                  <a:gd name="T21" fmla="*/ 12 h 101"/>
                  <a:gd name="T22" fmla="*/ 100 w 139"/>
                  <a:gd name="T23" fmla="*/ 5 h 101"/>
                  <a:gd name="T24" fmla="*/ 90 w 139"/>
                  <a:gd name="T25" fmla="*/ 0 h 101"/>
                  <a:gd name="T26" fmla="*/ 77 w 139"/>
                  <a:gd name="T27" fmla="*/ 5 h 101"/>
                  <a:gd name="T28" fmla="*/ 64 w 139"/>
                  <a:gd name="T29" fmla="*/ 10 h 101"/>
                  <a:gd name="T30" fmla="*/ 61 w 139"/>
                  <a:gd name="T31" fmla="*/ 12 h 101"/>
                  <a:gd name="T32" fmla="*/ 59 w 139"/>
                  <a:gd name="T33" fmla="*/ 15 h 101"/>
                  <a:gd name="T34" fmla="*/ 50 w 139"/>
                  <a:gd name="T35" fmla="*/ 16 h 101"/>
                  <a:gd name="T36" fmla="*/ 46 w 139"/>
                  <a:gd name="T37" fmla="*/ 20 h 101"/>
                  <a:gd name="T38" fmla="*/ 46 w 139"/>
                  <a:gd name="T39" fmla="*/ 25 h 101"/>
                  <a:gd name="T40" fmla="*/ 40 w 139"/>
                  <a:gd name="T41" fmla="*/ 25 h 101"/>
                  <a:gd name="T42" fmla="*/ 36 w 139"/>
                  <a:gd name="T43" fmla="*/ 33 h 101"/>
                  <a:gd name="T44" fmla="*/ 27 w 139"/>
                  <a:gd name="T45" fmla="*/ 30 h 101"/>
                  <a:gd name="T46" fmla="*/ 21 w 139"/>
                  <a:gd name="T47" fmla="*/ 35 h 101"/>
                  <a:gd name="T48" fmla="*/ 21 w 139"/>
                  <a:gd name="T49" fmla="*/ 38 h 101"/>
                  <a:gd name="T50" fmla="*/ 20 w 139"/>
                  <a:gd name="T51" fmla="*/ 42 h 101"/>
                  <a:gd name="T52" fmla="*/ 14 w 139"/>
                  <a:gd name="T53" fmla="*/ 52 h 101"/>
                  <a:gd name="T54" fmla="*/ 4 w 139"/>
                  <a:gd name="T55" fmla="*/ 61 h 101"/>
                  <a:gd name="T56" fmla="*/ 4 w 139"/>
                  <a:gd name="T57" fmla="*/ 63 h 101"/>
                  <a:gd name="T58" fmla="*/ 3 w 139"/>
                  <a:gd name="T59" fmla="*/ 71 h 101"/>
                  <a:gd name="T60" fmla="*/ 0 w 139"/>
                  <a:gd name="T61" fmla="*/ 72 h 101"/>
                  <a:gd name="T62" fmla="*/ 1 w 139"/>
                  <a:gd name="T63" fmla="*/ 78 h 101"/>
                  <a:gd name="T64" fmla="*/ 0 w 139"/>
                  <a:gd name="T65" fmla="*/ 84 h 101"/>
                  <a:gd name="T66" fmla="*/ 5 w 139"/>
                  <a:gd name="T67" fmla="*/ 85 h 101"/>
                  <a:gd name="T68" fmla="*/ 8 w 139"/>
                  <a:gd name="T69" fmla="*/ 89 h 101"/>
                  <a:gd name="T70" fmla="*/ 10 w 139"/>
                  <a:gd name="T71" fmla="*/ 92 h 101"/>
                  <a:gd name="T72" fmla="*/ 17 w 139"/>
                  <a:gd name="T73" fmla="*/ 97 h 101"/>
                  <a:gd name="T74" fmla="*/ 21 w 139"/>
                  <a:gd name="T75" fmla="*/ 95 h 101"/>
                  <a:gd name="T76" fmla="*/ 30 w 139"/>
                  <a:gd name="T77" fmla="*/ 92 h 101"/>
                  <a:gd name="T78" fmla="*/ 41 w 139"/>
                  <a:gd name="T79" fmla="*/ 94 h 101"/>
                  <a:gd name="T80" fmla="*/ 47 w 139"/>
                  <a:gd name="T81" fmla="*/ 101 h 101"/>
                  <a:gd name="T82" fmla="*/ 47 w 139"/>
                  <a:gd name="T83" fmla="*/ 86 h 101"/>
                  <a:gd name="T84" fmla="*/ 46 w 139"/>
                  <a:gd name="T85" fmla="*/ 75 h 101"/>
                  <a:gd name="T86" fmla="*/ 59 w 139"/>
                  <a:gd name="T87" fmla="*/ 74 h 101"/>
                  <a:gd name="T88" fmla="*/ 84 w 139"/>
                  <a:gd name="T89" fmla="*/ 74 h 101"/>
                  <a:gd name="T90" fmla="*/ 90 w 139"/>
                  <a:gd name="T91" fmla="*/ 71 h 101"/>
                  <a:gd name="T92" fmla="*/ 96 w 139"/>
                  <a:gd name="T93" fmla="*/ 71 h 101"/>
                  <a:gd name="T94" fmla="*/ 112 w 139"/>
                  <a:gd name="T95" fmla="*/ 74 h 101"/>
                  <a:gd name="T96" fmla="*/ 115 w 139"/>
                  <a:gd name="T97" fmla="*/ 72 h 101"/>
                  <a:gd name="T98" fmla="*/ 116 w 139"/>
                  <a:gd name="T99" fmla="*/ 71 h 101"/>
                  <a:gd name="T100" fmla="*/ 123 w 139"/>
                  <a:gd name="T101" fmla="*/ 65 h 101"/>
                  <a:gd name="T102" fmla="*/ 132 w 139"/>
                  <a:gd name="T103" fmla="*/ 63 h 101"/>
                  <a:gd name="T104" fmla="*/ 139 w 139"/>
                  <a:gd name="T105" fmla="*/ 5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9" h="101">
                    <a:moveTo>
                      <a:pt x="135" y="52"/>
                    </a:moveTo>
                    <a:lnTo>
                      <a:pt x="133" y="51"/>
                    </a:lnTo>
                    <a:lnTo>
                      <a:pt x="133" y="48"/>
                    </a:lnTo>
                    <a:lnTo>
                      <a:pt x="135" y="48"/>
                    </a:lnTo>
                    <a:lnTo>
                      <a:pt x="135" y="46"/>
                    </a:lnTo>
                    <a:lnTo>
                      <a:pt x="136" y="46"/>
                    </a:lnTo>
                    <a:lnTo>
                      <a:pt x="135" y="45"/>
                    </a:lnTo>
                    <a:lnTo>
                      <a:pt x="135" y="43"/>
                    </a:lnTo>
                    <a:lnTo>
                      <a:pt x="133" y="42"/>
                    </a:lnTo>
                    <a:lnTo>
                      <a:pt x="133" y="42"/>
                    </a:lnTo>
                    <a:lnTo>
                      <a:pt x="132" y="42"/>
                    </a:lnTo>
                    <a:lnTo>
                      <a:pt x="130" y="42"/>
                    </a:lnTo>
                    <a:lnTo>
                      <a:pt x="128" y="43"/>
                    </a:lnTo>
                    <a:lnTo>
                      <a:pt x="126" y="43"/>
                    </a:lnTo>
                    <a:lnTo>
                      <a:pt x="125" y="43"/>
                    </a:lnTo>
                    <a:lnTo>
                      <a:pt x="122" y="42"/>
                    </a:lnTo>
                    <a:lnTo>
                      <a:pt x="115" y="36"/>
                    </a:lnTo>
                    <a:lnTo>
                      <a:pt x="113" y="33"/>
                    </a:lnTo>
                    <a:lnTo>
                      <a:pt x="113" y="30"/>
                    </a:lnTo>
                    <a:lnTo>
                      <a:pt x="115" y="30"/>
                    </a:lnTo>
                    <a:lnTo>
                      <a:pt x="116" y="30"/>
                    </a:lnTo>
                    <a:lnTo>
                      <a:pt x="116" y="30"/>
                    </a:lnTo>
                    <a:lnTo>
                      <a:pt x="117" y="30"/>
                    </a:lnTo>
                    <a:lnTo>
                      <a:pt x="116" y="29"/>
                    </a:lnTo>
                    <a:lnTo>
                      <a:pt x="113" y="26"/>
                    </a:lnTo>
                    <a:lnTo>
                      <a:pt x="107" y="23"/>
                    </a:lnTo>
                    <a:lnTo>
                      <a:pt x="106" y="22"/>
                    </a:lnTo>
                    <a:lnTo>
                      <a:pt x="105" y="20"/>
                    </a:lnTo>
                    <a:lnTo>
                      <a:pt x="105" y="19"/>
                    </a:lnTo>
                    <a:lnTo>
                      <a:pt x="103" y="15"/>
                    </a:lnTo>
                    <a:lnTo>
                      <a:pt x="103" y="15"/>
                    </a:lnTo>
                    <a:lnTo>
                      <a:pt x="102" y="12"/>
                    </a:lnTo>
                    <a:lnTo>
                      <a:pt x="100" y="12"/>
                    </a:lnTo>
                    <a:lnTo>
                      <a:pt x="100" y="9"/>
                    </a:lnTo>
                    <a:lnTo>
                      <a:pt x="100" y="7"/>
                    </a:lnTo>
                    <a:lnTo>
                      <a:pt x="100" y="5"/>
                    </a:lnTo>
                    <a:lnTo>
                      <a:pt x="100" y="2"/>
                    </a:lnTo>
                    <a:lnTo>
                      <a:pt x="95" y="0"/>
                    </a:lnTo>
                    <a:lnTo>
                      <a:pt x="90" y="0"/>
                    </a:lnTo>
                    <a:lnTo>
                      <a:pt x="84" y="0"/>
                    </a:lnTo>
                    <a:lnTo>
                      <a:pt x="80" y="3"/>
                    </a:lnTo>
                    <a:lnTo>
                      <a:pt x="77" y="5"/>
                    </a:lnTo>
                    <a:lnTo>
                      <a:pt x="66" y="10"/>
                    </a:lnTo>
                    <a:lnTo>
                      <a:pt x="64" y="10"/>
                    </a:lnTo>
                    <a:lnTo>
                      <a:pt x="64" y="10"/>
                    </a:lnTo>
                    <a:lnTo>
                      <a:pt x="63" y="10"/>
                    </a:lnTo>
                    <a:lnTo>
                      <a:pt x="63" y="10"/>
                    </a:lnTo>
                    <a:lnTo>
                      <a:pt x="61" y="12"/>
                    </a:lnTo>
                    <a:lnTo>
                      <a:pt x="61" y="13"/>
                    </a:lnTo>
                    <a:lnTo>
                      <a:pt x="60" y="15"/>
                    </a:lnTo>
                    <a:lnTo>
                      <a:pt x="59" y="15"/>
                    </a:lnTo>
                    <a:lnTo>
                      <a:pt x="54" y="15"/>
                    </a:lnTo>
                    <a:lnTo>
                      <a:pt x="51" y="15"/>
                    </a:lnTo>
                    <a:lnTo>
                      <a:pt x="50" y="16"/>
                    </a:lnTo>
                    <a:lnTo>
                      <a:pt x="49" y="16"/>
                    </a:lnTo>
                    <a:lnTo>
                      <a:pt x="47" y="19"/>
                    </a:lnTo>
                    <a:lnTo>
                      <a:pt x="46" y="20"/>
                    </a:lnTo>
                    <a:lnTo>
                      <a:pt x="46" y="20"/>
                    </a:lnTo>
                    <a:lnTo>
                      <a:pt x="46" y="23"/>
                    </a:lnTo>
                    <a:lnTo>
                      <a:pt x="46" y="25"/>
                    </a:lnTo>
                    <a:lnTo>
                      <a:pt x="43" y="26"/>
                    </a:lnTo>
                    <a:lnTo>
                      <a:pt x="41" y="25"/>
                    </a:lnTo>
                    <a:lnTo>
                      <a:pt x="40" y="25"/>
                    </a:lnTo>
                    <a:lnTo>
                      <a:pt x="38" y="28"/>
                    </a:lnTo>
                    <a:lnTo>
                      <a:pt x="37" y="32"/>
                    </a:lnTo>
                    <a:lnTo>
                      <a:pt x="36" y="33"/>
                    </a:lnTo>
                    <a:lnTo>
                      <a:pt x="33" y="33"/>
                    </a:lnTo>
                    <a:lnTo>
                      <a:pt x="30" y="32"/>
                    </a:lnTo>
                    <a:lnTo>
                      <a:pt x="27" y="30"/>
                    </a:lnTo>
                    <a:lnTo>
                      <a:pt x="26" y="30"/>
                    </a:lnTo>
                    <a:lnTo>
                      <a:pt x="23" y="33"/>
                    </a:lnTo>
                    <a:lnTo>
                      <a:pt x="21" y="35"/>
                    </a:lnTo>
                    <a:lnTo>
                      <a:pt x="21" y="36"/>
                    </a:lnTo>
                    <a:lnTo>
                      <a:pt x="21" y="36"/>
                    </a:lnTo>
                    <a:lnTo>
                      <a:pt x="21" y="38"/>
                    </a:lnTo>
                    <a:lnTo>
                      <a:pt x="21" y="40"/>
                    </a:lnTo>
                    <a:lnTo>
                      <a:pt x="21" y="40"/>
                    </a:lnTo>
                    <a:lnTo>
                      <a:pt x="20" y="42"/>
                    </a:lnTo>
                    <a:lnTo>
                      <a:pt x="18" y="43"/>
                    </a:lnTo>
                    <a:lnTo>
                      <a:pt x="18" y="49"/>
                    </a:lnTo>
                    <a:lnTo>
                      <a:pt x="14" y="52"/>
                    </a:lnTo>
                    <a:lnTo>
                      <a:pt x="7" y="55"/>
                    </a:lnTo>
                    <a:lnTo>
                      <a:pt x="4" y="59"/>
                    </a:lnTo>
                    <a:lnTo>
                      <a:pt x="4" y="61"/>
                    </a:lnTo>
                    <a:lnTo>
                      <a:pt x="4" y="61"/>
                    </a:lnTo>
                    <a:lnTo>
                      <a:pt x="4" y="62"/>
                    </a:lnTo>
                    <a:lnTo>
                      <a:pt x="4" y="63"/>
                    </a:lnTo>
                    <a:lnTo>
                      <a:pt x="4" y="65"/>
                    </a:lnTo>
                    <a:lnTo>
                      <a:pt x="4" y="68"/>
                    </a:lnTo>
                    <a:lnTo>
                      <a:pt x="3" y="71"/>
                    </a:lnTo>
                    <a:lnTo>
                      <a:pt x="1" y="71"/>
                    </a:lnTo>
                    <a:lnTo>
                      <a:pt x="1" y="72"/>
                    </a:lnTo>
                    <a:lnTo>
                      <a:pt x="0" y="72"/>
                    </a:lnTo>
                    <a:lnTo>
                      <a:pt x="0" y="74"/>
                    </a:lnTo>
                    <a:lnTo>
                      <a:pt x="1" y="76"/>
                    </a:lnTo>
                    <a:lnTo>
                      <a:pt x="1" y="78"/>
                    </a:lnTo>
                    <a:lnTo>
                      <a:pt x="0" y="81"/>
                    </a:lnTo>
                    <a:lnTo>
                      <a:pt x="0" y="82"/>
                    </a:lnTo>
                    <a:lnTo>
                      <a:pt x="0" y="84"/>
                    </a:lnTo>
                    <a:lnTo>
                      <a:pt x="1" y="85"/>
                    </a:lnTo>
                    <a:lnTo>
                      <a:pt x="3" y="85"/>
                    </a:lnTo>
                    <a:lnTo>
                      <a:pt x="5" y="85"/>
                    </a:lnTo>
                    <a:lnTo>
                      <a:pt x="7" y="86"/>
                    </a:lnTo>
                    <a:lnTo>
                      <a:pt x="7" y="88"/>
                    </a:lnTo>
                    <a:lnTo>
                      <a:pt x="8" y="89"/>
                    </a:lnTo>
                    <a:lnTo>
                      <a:pt x="8" y="91"/>
                    </a:lnTo>
                    <a:lnTo>
                      <a:pt x="10" y="92"/>
                    </a:lnTo>
                    <a:lnTo>
                      <a:pt x="10" y="92"/>
                    </a:lnTo>
                    <a:lnTo>
                      <a:pt x="13" y="95"/>
                    </a:lnTo>
                    <a:lnTo>
                      <a:pt x="16" y="95"/>
                    </a:lnTo>
                    <a:lnTo>
                      <a:pt x="17" y="97"/>
                    </a:lnTo>
                    <a:lnTo>
                      <a:pt x="18" y="97"/>
                    </a:lnTo>
                    <a:lnTo>
                      <a:pt x="20" y="97"/>
                    </a:lnTo>
                    <a:lnTo>
                      <a:pt x="21" y="95"/>
                    </a:lnTo>
                    <a:lnTo>
                      <a:pt x="23" y="95"/>
                    </a:lnTo>
                    <a:lnTo>
                      <a:pt x="26" y="94"/>
                    </a:lnTo>
                    <a:lnTo>
                      <a:pt x="30" y="92"/>
                    </a:lnTo>
                    <a:lnTo>
                      <a:pt x="33" y="92"/>
                    </a:lnTo>
                    <a:lnTo>
                      <a:pt x="37" y="92"/>
                    </a:lnTo>
                    <a:lnTo>
                      <a:pt x="41" y="94"/>
                    </a:lnTo>
                    <a:lnTo>
                      <a:pt x="43" y="95"/>
                    </a:lnTo>
                    <a:lnTo>
                      <a:pt x="44" y="98"/>
                    </a:lnTo>
                    <a:lnTo>
                      <a:pt x="47" y="101"/>
                    </a:lnTo>
                    <a:lnTo>
                      <a:pt x="49" y="99"/>
                    </a:lnTo>
                    <a:lnTo>
                      <a:pt x="49" y="95"/>
                    </a:lnTo>
                    <a:lnTo>
                      <a:pt x="47" y="86"/>
                    </a:lnTo>
                    <a:lnTo>
                      <a:pt x="47" y="82"/>
                    </a:lnTo>
                    <a:lnTo>
                      <a:pt x="46" y="78"/>
                    </a:lnTo>
                    <a:lnTo>
                      <a:pt x="46" y="75"/>
                    </a:lnTo>
                    <a:lnTo>
                      <a:pt x="47" y="74"/>
                    </a:lnTo>
                    <a:lnTo>
                      <a:pt x="49" y="72"/>
                    </a:lnTo>
                    <a:lnTo>
                      <a:pt x="59" y="74"/>
                    </a:lnTo>
                    <a:lnTo>
                      <a:pt x="76" y="72"/>
                    </a:lnTo>
                    <a:lnTo>
                      <a:pt x="83" y="74"/>
                    </a:lnTo>
                    <a:lnTo>
                      <a:pt x="84" y="74"/>
                    </a:lnTo>
                    <a:lnTo>
                      <a:pt x="86" y="74"/>
                    </a:lnTo>
                    <a:lnTo>
                      <a:pt x="87" y="74"/>
                    </a:lnTo>
                    <a:lnTo>
                      <a:pt x="90" y="71"/>
                    </a:lnTo>
                    <a:lnTo>
                      <a:pt x="92" y="71"/>
                    </a:lnTo>
                    <a:lnTo>
                      <a:pt x="93" y="71"/>
                    </a:lnTo>
                    <a:lnTo>
                      <a:pt x="96" y="71"/>
                    </a:lnTo>
                    <a:lnTo>
                      <a:pt x="105" y="74"/>
                    </a:lnTo>
                    <a:lnTo>
                      <a:pt x="106" y="74"/>
                    </a:lnTo>
                    <a:lnTo>
                      <a:pt x="112" y="74"/>
                    </a:lnTo>
                    <a:lnTo>
                      <a:pt x="113" y="72"/>
                    </a:lnTo>
                    <a:lnTo>
                      <a:pt x="115" y="72"/>
                    </a:lnTo>
                    <a:lnTo>
                      <a:pt x="115" y="72"/>
                    </a:lnTo>
                    <a:lnTo>
                      <a:pt x="116" y="71"/>
                    </a:lnTo>
                    <a:lnTo>
                      <a:pt x="116" y="71"/>
                    </a:lnTo>
                    <a:lnTo>
                      <a:pt x="116" y="71"/>
                    </a:lnTo>
                    <a:lnTo>
                      <a:pt x="119" y="66"/>
                    </a:lnTo>
                    <a:lnTo>
                      <a:pt x="120" y="66"/>
                    </a:lnTo>
                    <a:lnTo>
                      <a:pt x="123" y="65"/>
                    </a:lnTo>
                    <a:lnTo>
                      <a:pt x="126" y="65"/>
                    </a:lnTo>
                    <a:lnTo>
                      <a:pt x="129" y="65"/>
                    </a:lnTo>
                    <a:lnTo>
                      <a:pt x="132" y="63"/>
                    </a:lnTo>
                    <a:lnTo>
                      <a:pt x="135" y="62"/>
                    </a:lnTo>
                    <a:lnTo>
                      <a:pt x="136" y="61"/>
                    </a:lnTo>
                    <a:lnTo>
                      <a:pt x="139" y="56"/>
                    </a:lnTo>
                    <a:lnTo>
                      <a:pt x="136" y="55"/>
                    </a:lnTo>
                    <a:lnTo>
                      <a:pt x="135" y="5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86" name="Freeform 173">
                <a:extLst>
                  <a:ext uri="{FF2B5EF4-FFF2-40B4-BE49-F238E27FC236}">
                    <a16:creationId xmlns:a16="http://schemas.microsoft.com/office/drawing/2014/main" id="{5102BA30-C135-9ECF-DCB5-826FBF665950}"/>
                  </a:ext>
                </a:extLst>
              </p:cNvPr>
              <p:cNvSpPr>
                <a:spLocks/>
              </p:cNvSpPr>
              <p:nvPr/>
            </p:nvSpPr>
            <p:spPr bwMode="auto">
              <a:xfrm>
                <a:off x="4058" y="2759"/>
                <a:ext cx="32" cy="38"/>
              </a:xfrm>
              <a:custGeom>
                <a:avLst/>
                <a:gdLst>
                  <a:gd name="T0" fmla="*/ 23 w 32"/>
                  <a:gd name="T1" fmla="*/ 0 h 38"/>
                  <a:gd name="T2" fmla="*/ 22 w 32"/>
                  <a:gd name="T3" fmla="*/ 0 h 38"/>
                  <a:gd name="T4" fmla="*/ 19 w 32"/>
                  <a:gd name="T5" fmla="*/ 2 h 38"/>
                  <a:gd name="T6" fmla="*/ 19 w 32"/>
                  <a:gd name="T7" fmla="*/ 0 h 38"/>
                  <a:gd name="T8" fmla="*/ 16 w 32"/>
                  <a:gd name="T9" fmla="*/ 0 h 38"/>
                  <a:gd name="T10" fmla="*/ 16 w 32"/>
                  <a:gd name="T11" fmla="*/ 0 h 38"/>
                  <a:gd name="T12" fmla="*/ 16 w 32"/>
                  <a:gd name="T13" fmla="*/ 0 h 38"/>
                  <a:gd name="T14" fmla="*/ 16 w 32"/>
                  <a:gd name="T15" fmla="*/ 5 h 38"/>
                  <a:gd name="T16" fmla="*/ 15 w 32"/>
                  <a:gd name="T17" fmla="*/ 6 h 38"/>
                  <a:gd name="T18" fmla="*/ 13 w 32"/>
                  <a:gd name="T19" fmla="*/ 7 h 38"/>
                  <a:gd name="T20" fmla="*/ 10 w 32"/>
                  <a:gd name="T21" fmla="*/ 7 h 38"/>
                  <a:gd name="T22" fmla="*/ 9 w 32"/>
                  <a:gd name="T23" fmla="*/ 9 h 38"/>
                  <a:gd name="T24" fmla="*/ 6 w 32"/>
                  <a:gd name="T25" fmla="*/ 7 h 38"/>
                  <a:gd name="T26" fmla="*/ 3 w 32"/>
                  <a:gd name="T27" fmla="*/ 5 h 38"/>
                  <a:gd name="T28" fmla="*/ 0 w 32"/>
                  <a:gd name="T29" fmla="*/ 5 h 38"/>
                  <a:gd name="T30" fmla="*/ 0 w 32"/>
                  <a:gd name="T31" fmla="*/ 6 h 38"/>
                  <a:gd name="T32" fmla="*/ 0 w 32"/>
                  <a:gd name="T33" fmla="*/ 7 h 38"/>
                  <a:gd name="T34" fmla="*/ 2 w 32"/>
                  <a:gd name="T35" fmla="*/ 9 h 38"/>
                  <a:gd name="T36" fmla="*/ 2 w 32"/>
                  <a:gd name="T37" fmla="*/ 10 h 38"/>
                  <a:gd name="T38" fmla="*/ 3 w 32"/>
                  <a:gd name="T39" fmla="*/ 12 h 38"/>
                  <a:gd name="T40" fmla="*/ 3 w 32"/>
                  <a:gd name="T41" fmla="*/ 13 h 38"/>
                  <a:gd name="T42" fmla="*/ 3 w 32"/>
                  <a:gd name="T43" fmla="*/ 20 h 38"/>
                  <a:gd name="T44" fmla="*/ 3 w 32"/>
                  <a:gd name="T45" fmla="*/ 25 h 38"/>
                  <a:gd name="T46" fmla="*/ 6 w 32"/>
                  <a:gd name="T47" fmla="*/ 38 h 38"/>
                  <a:gd name="T48" fmla="*/ 12 w 32"/>
                  <a:gd name="T49" fmla="*/ 36 h 38"/>
                  <a:gd name="T50" fmla="*/ 15 w 32"/>
                  <a:gd name="T51" fmla="*/ 35 h 38"/>
                  <a:gd name="T52" fmla="*/ 17 w 32"/>
                  <a:gd name="T53" fmla="*/ 32 h 38"/>
                  <a:gd name="T54" fmla="*/ 29 w 32"/>
                  <a:gd name="T55" fmla="*/ 17 h 38"/>
                  <a:gd name="T56" fmla="*/ 30 w 32"/>
                  <a:gd name="T57" fmla="*/ 15 h 38"/>
                  <a:gd name="T58" fmla="*/ 32 w 32"/>
                  <a:gd name="T59" fmla="*/ 13 h 38"/>
                  <a:gd name="T60" fmla="*/ 30 w 32"/>
                  <a:gd name="T61" fmla="*/ 12 h 38"/>
                  <a:gd name="T62" fmla="*/ 30 w 32"/>
                  <a:gd name="T63" fmla="*/ 12 h 38"/>
                  <a:gd name="T64" fmla="*/ 27 w 32"/>
                  <a:gd name="T65" fmla="*/ 10 h 38"/>
                  <a:gd name="T66" fmla="*/ 26 w 32"/>
                  <a:gd name="T67" fmla="*/ 10 h 38"/>
                  <a:gd name="T68" fmla="*/ 25 w 32"/>
                  <a:gd name="T69" fmla="*/ 7 h 38"/>
                  <a:gd name="T70" fmla="*/ 25 w 32"/>
                  <a:gd name="T71" fmla="*/ 6 h 38"/>
                  <a:gd name="T72" fmla="*/ 26 w 32"/>
                  <a:gd name="T73" fmla="*/ 3 h 38"/>
                  <a:gd name="T74" fmla="*/ 26 w 32"/>
                  <a:gd name="T75" fmla="*/ 0 h 38"/>
                  <a:gd name="T76" fmla="*/ 25 w 32"/>
                  <a:gd name="T77" fmla="*/ 0 h 38"/>
                  <a:gd name="T78" fmla="*/ 23 w 32"/>
                  <a:gd name="T7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38">
                    <a:moveTo>
                      <a:pt x="23" y="0"/>
                    </a:moveTo>
                    <a:lnTo>
                      <a:pt x="22" y="0"/>
                    </a:lnTo>
                    <a:lnTo>
                      <a:pt x="19" y="2"/>
                    </a:lnTo>
                    <a:lnTo>
                      <a:pt x="19" y="0"/>
                    </a:lnTo>
                    <a:lnTo>
                      <a:pt x="16" y="0"/>
                    </a:lnTo>
                    <a:lnTo>
                      <a:pt x="16" y="0"/>
                    </a:lnTo>
                    <a:lnTo>
                      <a:pt x="16" y="0"/>
                    </a:lnTo>
                    <a:lnTo>
                      <a:pt x="16" y="5"/>
                    </a:lnTo>
                    <a:lnTo>
                      <a:pt x="15" y="6"/>
                    </a:lnTo>
                    <a:lnTo>
                      <a:pt x="13" y="7"/>
                    </a:lnTo>
                    <a:lnTo>
                      <a:pt x="10" y="7"/>
                    </a:lnTo>
                    <a:lnTo>
                      <a:pt x="9" y="9"/>
                    </a:lnTo>
                    <a:lnTo>
                      <a:pt x="6" y="7"/>
                    </a:lnTo>
                    <a:lnTo>
                      <a:pt x="3" y="5"/>
                    </a:lnTo>
                    <a:lnTo>
                      <a:pt x="0" y="5"/>
                    </a:lnTo>
                    <a:lnTo>
                      <a:pt x="0" y="6"/>
                    </a:lnTo>
                    <a:lnTo>
                      <a:pt x="0" y="7"/>
                    </a:lnTo>
                    <a:lnTo>
                      <a:pt x="2" y="9"/>
                    </a:lnTo>
                    <a:lnTo>
                      <a:pt x="2" y="10"/>
                    </a:lnTo>
                    <a:lnTo>
                      <a:pt x="3" y="12"/>
                    </a:lnTo>
                    <a:lnTo>
                      <a:pt x="3" y="13"/>
                    </a:lnTo>
                    <a:lnTo>
                      <a:pt x="3" y="20"/>
                    </a:lnTo>
                    <a:lnTo>
                      <a:pt x="3" y="25"/>
                    </a:lnTo>
                    <a:lnTo>
                      <a:pt x="6" y="38"/>
                    </a:lnTo>
                    <a:lnTo>
                      <a:pt x="12" y="36"/>
                    </a:lnTo>
                    <a:lnTo>
                      <a:pt x="15" y="35"/>
                    </a:lnTo>
                    <a:lnTo>
                      <a:pt x="17" y="32"/>
                    </a:lnTo>
                    <a:lnTo>
                      <a:pt x="29" y="17"/>
                    </a:lnTo>
                    <a:lnTo>
                      <a:pt x="30" y="15"/>
                    </a:lnTo>
                    <a:lnTo>
                      <a:pt x="32" y="13"/>
                    </a:lnTo>
                    <a:lnTo>
                      <a:pt x="30" y="12"/>
                    </a:lnTo>
                    <a:lnTo>
                      <a:pt x="30" y="12"/>
                    </a:lnTo>
                    <a:lnTo>
                      <a:pt x="27" y="10"/>
                    </a:lnTo>
                    <a:lnTo>
                      <a:pt x="26" y="10"/>
                    </a:lnTo>
                    <a:lnTo>
                      <a:pt x="25" y="7"/>
                    </a:lnTo>
                    <a:lnTo>
                      <a:pt x="25" y="6"/>
                    </a:lnTo>
                    <a:lnTo>
                      <a:pt x="26" y="3"/>
                    </a:lnTo>
                    <a:lnTo>
                      <a:pt x="26" y="0"/>
                    </a:lnTo>
                    <a:lnTo>
                      <a:pt x="25" y="0"/>
                    </a:lnTo>
                    <a:lnTo>
                      <a:pt x="23"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87" name="Freeform 174">
                <a:extLst>
                  <a:ext uri="{FF2B5EF4-FFF2-40B4-BE49-F238E27FC236}">
                    <a16:creationId xmlns:a16="http://schemas.microsoft.com/office/drawing/2014/main" id="{51C6724D-4900-B6F6-D02C-82F780E0DE64}"/>
                  </a:ext>
                </a:extLst>
              </p:cNvPr>
              <p:cNvSpPr>
                <a:spLocks/>
              </p:cNvSpPr>
              <p:nvPr/>
            </p:nvSpPr>
            <p:spPr bwMode="auto">
              <a:xfrm>
                <a:off x="4088" y="3188"/>
                <a:ext cx="25" cy="30"/>
              </a:xfrm>
              <a:custGeom>
                <a:avLst/>
                <a:gdLst>
                  <a:gd name="T0" fmla="*/ 13 w 25"/>
                  <a:gd name="T1" fmla="*/ 0 h 30"/>
                  <a:gd name="T2" fmla="*/ 10 w 25"/>
                  <a:gd name="T3" fmla="*/ 0 h 30"/>
                  <a:gd name="T4" fmla="*/ 8 w 25"/>
                  <a:gd name="T5" fmla="*/ 1 h 30"/>
                  <a:gd name="T6" fmla="*/ 5 w 25"/>
                  <a:gd name="T7" fmla="*/ 5 h 30"/>
                  <a:gd name="T8" fmla="*/ 2 w 25"/>
                  <a:gd name="T9" fmla="*/ 10 h 30"/>
                  <a:gd name="T10" fmla="*/ 0 w 25"/>
                  <a:gd name="T11" fmla="*/ 12 h 30"/>
                  <a:gd name="T12" fmla="*/ 0 w 25"/>
                  <a:gd name="T13" fmla="*/ 15 h 30"/>
                  <a:gd name="T14" fmla="*/ 2 w 25"/>
                  <a:gd name="T15" fmla="*/ 20 h 30"/>
                  <a:gd name="T16" fmla="*/ 3 w 25"/>
                  <a:gd name="T17" fmla="*/ 23 h 30"/>
                  <a:gd name="T18" fmla="*/ 6 w 25"/>
                  <a:gd name="T19" fmla="*/ 25 h 30"/>
                  <a:gd name="T20" fmla="*/ 9 w 25"/>
                  <a:gd name="T21" fmla="*/ 28 h 30"/>
                  <a:gd name="T22" fmla="*/ 13 w 25"/>
                  <a:gd name="T23" fmla="*/ 30 h 30"/>
                  <a:gd name="T24" fmla="*/ 18 w 25"/>
                  <a:gd name="T25" fmla="*/ 30 h 30"/>
                  <a:gd name="T26" fmla="*/ 22 w 25"/>
                  <a:gd name="T27" fmla="*/ 30 h 30"/>
                  <a:gd name="T28" fmla="*/ 22 w 25"/>
                  <a:gd name="T29" fmla="*/ 27 h 30"/>
                  <a:gd name="T30" fmla="*/ 22 w 25"/>
                  <a:gd name="T31" fmla="*/ 23 h 30"/>
                  <a:gd name="T32" fmla="*/ 22 w 25"/>
                  <a:gd name="T33" fmla="*/ 21 h 30"/>
                  <a:gd name="T34" fmla="*/ 25 w 25"/>
                  <a:gd name="T35" fmla="*/ 20 h 30"/>
                  <a:gd name="T36" fmla="*/ 23 w 25"/>
                  <a:gd name="T37" fmla="*/ 11 h 30"/>
                  <a:gd name="T38" fmla="*/ 23 w 25"/>
                  <a:gd name="T39" fmla="*/ 5 h 30"/>
                  <a:gd name="T40" fmla="*/ 22 w 25"/>
                  <a:gd name="T41" fmla="*/ 2 h 30"/>
                  <a:gd name="T42" fmla="*/ 19 w 25"/>
                  <a:gd name="T43" fmla="*/ 2 h 30"/>
                  <a:gd name="T44" fmla="*/ 13 w 25"/>
                  <a:gd name="T4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30">
                    <a:moveTo>
                      <a:pt x="13" y="0"/>
                    </a:moveTo>
                    <a:lnTo>
                      <a:pt x="10" y="0"/>
                    </a:lnTo>
                    <a:lnTo>
                      <a:pt x="8" y="1"/>
                    </a:lnTo>
                    <a:lnTo>
                      <a:pt x="5" y="5"/>
                    </a:lnTo>
                    <a:lnTo>
                      <a:pt x="2" y="10"/>
                    </a:lnTo>
                    <a:lnTo>
                      <a:pt x="0" y="12"/>
                    </a:lnTo>
                    <a:lnTo>
                      <a:pt x="0" y="15"/>
                    </a:lnTo>
                    <a:lnTo>
                      <a:pt x="2" y="20"/>
                    </a:lnTo>
                    <a:lnTo>
                      <a:pt x="3" y="23"/>
                    </a:lnTo>
                    <a:lnTo>
                      <a:pt x="6" y="25"/>
                    </a:lnTo>
                    <a:lnTo>
                      <a:pt x="9" y="28"/>
                    </a:lnTo>
                    <a:lnTo>
                      <a:pt x="13" y="30"/>
                    </a:lnTo>
                    <a:lnTo>
                      <a:pt x="18" y="30"/>
                    </a:lnTo>
                    <a:lnTo>
                      <a:pt x="22" y="30"/>
                    </a:lnTo>
                    <a:lnTo>
                      <a:pt x="22" y="27"/>
                    </a:lnTo>
                    <a:lnTo>
                      <a:pt x="22" y="23"/>
                    </a:lnTo>
                    <a:lnTo>
                      <a:pt x="22" y="21"/>
                    </a:lnTo>
                    <a:lnTo>
                      <a:pt x="25" y="20"/>
                    </a:lnTo>
                    <a:lnTo>
                      <a:pt x="23" y="11"/>
                    </a:lnTo>
                    <a:lnTo>
                      <a:pt x="23" y="5"/>
                    </a:lnTo>
                    <a:lnTo>
                      <a:pt x="22" y="2"/>
                    </a:lnTo>
                    <a:lnTo>
                      <a:pt x="19" y="2"/>
                    </a:lnTo>
                    <a:lnTo>
                      <a:pt x="13"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88" name="Freeform 175">
                <a:extLst>
                  <a:ext uri="{FF2B5EF4-FFF2-40B4-BE49-F238E27FC236}">
                    <a16:creationId xmlns:a16="http://schemas.microsoft.com/office/drawing/2014/main" id="{A833E01C-2D09-96A3-692B-AED2E426A700}"/>
                  </a:ext>
                </a:extLst>
              </p:cNvPr>
              <p:cNvSpPr>
                <a:spLocks/>
              </p:cNvSpPr>
              <p:nvPr/>
            </p:nvSpPr>
            <p:spPr bwMode="auto">
              <a:xfrm>
                <a:off x="3899" y="3035"/>
                <a:ext cx="165" cy="174"/>
              </a:xfrm>
              <a:custGeom>
                <a:avLst/>
                <a:gdLst>
                  <a:gd name="T0" fmla="*/ 159 w 165"/>
                  <a:gd name="T1" fmla="*/ 79 h 174"/>
                  <a:gd name="T2" fmla="*/ 159 w 165"/>
                  <a:gd name="T3" fmla="*/ 76 h 174"/>
                  <a:gd name="T4" fmla="*/ 146 w 165"/>
                  <a:gd name="T5" fmla="*/ 72 h 174"/>
                  <a:gd name="T6" fmla="*/ 136 w 165"/>
                  <a:gd name="T7" fmla="*/ 62 h 174"/>
                  <a:gd name="T8" fmla="*/ 135 w 165"/>
                  <a:gd name="T9" fmla="*/ 58 h 174"/>
                  <a:gd name="T10" fmla="*/ 135 w 165"/>
                  <a:gd name="T11" fmla="*/ 52 h 174"/>
                  <a:gd name="T12" fmla="*/ 133 w 165"/>
                  <a:gd name="T13" fmla="*/ 50 h 174"/>
                  <a:gd name="T14" fmla="*/ 129 w 165"/>
                  <a:gd name="T15" fmla="*/ 50 h 174"/>
                  <a:gd name="T16" fmla="*/ 128 w 165"/>
                  <a:gd name="T17" fmla="*/ 49 h 174"/>
                  <a:gd name="T18" fmla="*/ 126 w 165"/>
                  <a:gd name="T19" fmla="*/ 45 h 174"/>
                  <a:gd name="T20" fmla="*/ 119 w 165"/>
                  <a:gd name="T21" fmla="*/ 40 h 174"/>
                  <a:gd name="T22" fmla="*/ 109 w 165"/>
                  <a:gd name="T23" fmla="*/ 33 h 174"/>
                  <a:gd name="T24" fmla="*/ 96 w 165"/>
                  <a:gd name="T25" fmla="*/ 12 h 174"/>
                  <a:gd name="T26" fmla="*/ 90 w 165"/>
                  <a:gd name="T27" fmla="*/ 0 h 174"/>
                  <a:gd name="T28" fmla="*/ 85 w 165"/>
                  <a:gd name="T29" fmla="*/ 2 h 174"/>
                  <a:gd name="T30" fmla="*/ 82 w 165"/>
                  <a:gd name="T31" fmla="*/ 5 h 174"/>
                  <a:gd name="T32" fmla="*/ 79 w 165"/>
                  <a:gd name="T33" fmla="*/ 5 h 174"/>
                  <a:gd name="T34" fmla="*/ 73 w 165"/>
                  <a:gd name="T35" fmla="*/ 7 h 174"/>
                  <a:gd name="T36" fmla="*/ 64 w 165"/>
                  <a:gd name="T37" fmla="*/ 13 h 174"/>
                  <a:gd name="T38" fmla="*/ 59 w 165"/>
                  <a:gd name="T39" fmla="*/ 6 h 174"/>
                  <a:gd name="T40" fmla="*/ 27 w 165"/>
                  <a:gd name="T41" fmla="*/ 10 h 174"/>
                  <a:gd name="T42" fmla="*/ 17 w 165"/>
                  <a:gd name="T43" fmla="*/ 79 h 174"/>
                  <a:gd name="T44" fmla="*/ 0 w 165"/>
                  <a:gd name="T45" fmla="*/ 132 h 174"/>
                  <a:gd name="T46" fmla="*/ 11 w 165"/>
                  <a:gd name="T47" fmla="*/ 148 h 174"/>
                  <a:gd name="T48" fmla="*/ 14 w 165"/>
                  <a:gd name="T49" fmla="*/ 161 h 174"/>
                  <a:gd name="T50" fmla="*/ 11 w 165"/>
                  <a:gd name="T51" fmla="*/ 167 h 174"/>
                  <a:gd name="T52" fmla="*/ 11 w 165"/>
                  <a:gd name="T53" fmla="*/ 173 h 174"/>
                  <a:gd name="T54" fmla="*/ 17 w 165"/>
                  <a:gd name="T55" fmla="*/ 173 h 174"/>
                  <a:gd name="T56" fmla="*/ 30 w 165"/>
                  <a:gd name="T57" fmla="*/ 173 h 174"/>
                  <a:gd name="T58" fmla="*/ 31 w 165"/>
                  <a:gd name="T59" fmla="*/ 170 h 174"/>
                  <a:gd name="T60" fmla="*/ 37 w 165"/>
                  <a:gd name="T61" fmla="*/ 168 h 174"/>
                  <a:gd name="T62" fmla="*/ 46 w 165"/>
                  <a:gd name="T63" fmla="*/ 160 h 174"/>
                  <a:gd name="T64" fmla="*/ 50 w 165"/>
                  <a:gd name="T65" fmla="*/ 150 h 174"/>
                  <a:gd name="T66" fmla="*/ 56 w 165"/>
                  <a:gd name="T67" fmla="*/ 142 h 174"/>
                  <a:gd name="T68" fmla="*/ 63 w 165"/>
                  <a:gd name="T69" fmla="*/ 144 h 174"/>
                  <a:gd name="T70" fmla="*/ 73 w 165"/>
                  <a:gd name="T71" fmla="*/ 150 h 174"/>
                  <a:gd name="T72" fmla="*/ 85 w 165"/>
                  <a:gd name="T73" fmla="*/ 153 h 174"/>
                  <a:gd name="T74" fmla="*/ 96 w 165"/>
                  <a:gd name="T75" fmla="*/ 151 h 174"/>
                  <a:gd name="T76" fmla="*/ 103 w 165"/>
                  <a:gd name="T77" fmla="*/ 135 h 174"/>
                  <a:gd name="T78" fmla="*/ 112 w 165"/>
                  <a:gd name="T79" fmla="*/ 130 h 174"/>
                  <a:gd name="T80" fmla="*/ 120 w 165"/>
                  <a:gd name="T81" fmla="*/ 122 h 174"/>
                  <a:gd name="T82" fmla="*/ 125 w 165"/>
                  <a:gd name="T83" fmla="*/ 109 h 174"/>
                  <a:gd name="T84" fmla="*/ 139 w 165"/>
                  <a:gd name="T85" fmla="*/ 99 h 174"/>
                  <a:gd name="T86" fmla="*/ 149 w 165"/>
                  <a:gd name="T87" fmla="*/ 91 h 174"/>
                  <a:gd name="T88" fmla="*/ 158 w 165"/>
                  <a:gd name="T89" fmla="*/ 86 h 174"/>
                  <a:gd name="T90" fmla="*/ 164 w 165"/>
                  <a:gd name="T91" fmla="*/ 8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5" h="174">
                    <a:moveTo>
                      <a:pt x="161" y="81"/>
                    </a:moveTo>
                    <a:lnTo>
                      <a:pt x="159" y="81"/>
                    </a:lnTo>
                    <a:lnTo>
                      <a:pt x="159" y="79"/>
                    </a:lnTo>
                    <a:lnTo>
                      <a:pt x="159" y="78"/>
                    </a:lnTo>
                    <a:lnTo>
                      <a:pt x="159" y="78"/>
                    </a:lnTo>
                    <a:lnTo>
                      <a:pt x="159" y="76"/>
                    </a:lnTo>
                    <a:lnTo>
                      <a:pt x="156" y="75"/>
                    </a:lnTo>
                    <a:lnTo>
                      <a:pt x="153" y="73"/>
                    </a:lnTo>
                    <a:lnTo>
                      <a:pt x="146" y="72"/>
                    </a:lnTo>
                    <a:lnTo>
                      <a:pt x="142" y="71"/>
                    </a:lnTo>
                    <a:lnTo>
                      <a:pt x="141" y="71"/>
                    </a:lnTo>
                    <a:lnTo>
                      <a:pt x="136" y="62"/>
                    </a:lnTo>
                    <a:lnTo>
                      <a:pt x="135" y="62"/>
                    </a:lnTo>
                    <a:lnTo>
                      <a:pt x="135" y="59"/>
                    </a:lnTo>
                    <a:lnTo>
                      <a:pt x="135" y="58"/>
                    </a:lnTo>
                    <a:lnTo>
                      <a:pt x="136" y="55"/>
                    </a:lnTo>
                    <a:lnTo>
                      <a:pt x="135" y="53"/>
                    </a:lnTo>
                    <a:lnTo>
                      <a:pt x="135" y="52"/>
                    </a:lnTo>
                    <a:lnTo>
                      <a:pt x="135" y="52"/>
                    </a:lnTo>
                    <a:lnTo>
                      <a:pt x="133" y="50"/>
                    </a:lnTo>
                    <a:lnTo>
                      <a:pt x="133" y="50"/>
                    </a:lnTo>
                    <a:lnTo>
                      <a:pt x="130" y="50"/>
                    </a:lnTo>
                    <a:lnTo>
                      <a:pt x="130" y="50"/>
                    </a:lnTo>
                    <a:lnTo>
                      <a:pt x="129" y="50"/>
                    </a:lnTo>
                    <a:lnTo>
                      <a:pt x="129" y="50"/>
                    </a:lnTo>
                    <a:lnTo>
                      <a:pt x="129" y="50"/>
                    </a:lnTo>
                    <a:lnTo>
                      <a:pt x="128" y="49"/>
                    </a:lnTo>
                    <a:lnTo>
                      <a:pt x="128" y="48"/>
                    </a:lnTo>
                    <a:lnTo>
                      <a:pt x="128" y="46"/>
                    </a:lnTo>
                    <a:lnTo>
                      <a:pt x="126" y="45"/>
                    </a:lnTo>
                    <a:lnTo>
                      <a:pt x="126" y="43"/>
                    </a:lnTo>
                    <a:lnTo>
                      <a:pt x="125" y="42"/>
                    </a:lnTo>
                    <a:lnTo>
                      <a:pt x="119" y="40"/>
                    </a:lnTo>
                    <a:lnTo>
                      <a:pt x="113" y="38"/>
                    </a:lnTo>
                    <a:lnTo>
                      <a:pt x="110" y="35"/>
                    </a:lnTo>
                    <a:lnTo>
                      <a:pt x="109" y="33"/>
                    </a:lnTo>
                    <a:lnTo>
                      <a:pt x="106" y="30"/>
                    </a:lnTo>
                    <a:lnTo>
                      <a:pt x="103" y="20"/>
                    </a:lnTo>
                    <a:lnTo>
                      <a:pt x="96" y="12"/>
                    </a:lnTo>
                    <a:lnTo>
                      <a:pt x="93" y="6"/>
                    </a:lnTo>
                    <a:lnTo>
                      <a:pt x="93" y="0"/>
                    </a:lnTo>
                    <a:lnTo>
                      <a:pt x="90" y="0"/>
                    </a:lnTo>
                    <a:lnTo>
                      <a:pt x="89" y="2"/>
                    </a:lnTo>
                    <a:lnTo>
                      <a:pt x="86" y="2"/>
                    </a:lnTo>
                    <a:lnTo>
                      <a:pt x="85" y="2"/>
                    </a:lnTo>
                    <a:lnTo>
                      <a:pt x="83" y="3"/>
                    </a:lnTo>
                    <a:lnTo>
                      <a:pt x="82" y="5"/>
                    </a:lnTo>
                    <a:lnTo>
                      <a:pt x="82" y="5"/>
                    </a:lnTo>
                    <a:lnTo>
                      <a:pt x="80" y="5"/>
                    </a:lnTo>
                    <a:lnTo>
                      <a:pt x="80" y="5"/>
                    </a:lnTo>
                    <a:lnTo>
                      <a:pt x="79" y="5"/>
                    </a:lnTo>
                    <a:lnTo>
                      <a:pt x="79" y="5"/>
                    </a:lnTo>
                    <a:lnTo>
                      <a:pt x="74" y="6"/>
                    </a:lnTo>
                    <a:lnTo>
                      <a:pt x="73" y="7"/>
                    </a:lnTo>
                    <a:lnTo>
                      <a:pt x="70" y="9"/>
                    </a:lnTo>
                    <a:lnTo>
                      <a:pt x="67" y="10"/>
                    </a:lnTo>
                    <a:lnTo>
                      <a:pt x="64" y="13"/>
                    </a:lnTo>
                    <a:lnTo>
                      <a:pt x="63" y="12"/>
                    </a:lnTo>
                    <a:lnTo>
                      <a:pt x="62" y="9"/>
                    </a:lnTo>
                    <a:lnTo>
                      <a:pt x="59" y="6"/>
                    </a:lnTo>
                    <a:lnTo>
                      <a:pt x="56" y="5"/>
                    </a:lnTo>
                    <a:lnTo>
                      <a:pt x="51" y="5"/>
                    </a:lnTo>
                    <a:lnTo>
                      <a:pt x="27" y="10"/>
                    </a:lnTo>
                    <a:lnTo>
                      <a:pt x="18" y="10"/>
                    </a:lnTo>
                    <a:lnTo>
                      <a:pt x="17" y="10"/>
                    </a:lnTo>
                    <a:lnTo>
                      <a:pt x="17" y="79"/>
                    </a:lnTo>
                    <a:lnTo>
                      <a:pt x="17" y="79"/>
                    </a:lnTo>
                    <a:lnTo>
                      <a:pt x="0" y="79"/>
                    </a:lnTo>
                    <a:lnTo>
                      <a:pt x="0" y="132"/>
                    </a:lnTo>
                    <a:lnTo>
                      <a:pt x="6" y="137"/>
                    </a:lnTo>
                    <a:lnTo>
                      <a:pt x="8" y="142"/>
                    </a:lnTo>
                    <a:lnTo>
                      <a:pt x="11" y="148"/>
                    </a:lnTo>
                    <a:lnTo>
                      <a:pt x="14" y="155"/>
                    </a:lnTo>
                    <a:lnTo>
                      <a:pt x="14" y="158"/>
                    </a:lnTo>
                    <a:lnTo>
                      <a:pt x="14" y="161"/>
                    </a:lnTo>
                    <a:lnTo>
                      <a:pt x="13" y="163"/>
                    </a:lnTo>
                    <a:lnTo>
                      <a:pt x="11" y="165"/>
                    </a:lnTo>
                    <a:lnTo>
                      <a:pt x="11" y="167"/>
                    </a:lnTo>
                    <a:lnTo>
                      <a:pt x="11" y="168"/>
                    </a:lnTo>
                    <a:lnTo>
                      <a:pt x="11" y="171"/>
                    </a:lnTo>
                    <a:lnTo>
                      <a:pt x="11" y="173"/>
                    </a:lnTo>
                    <a:lnTo>
                      <a:pt x="13" y="173"/>
                    </a:lnTo>
                    <a:lnTo>
                      <a:pt x="14" y="173"/>
                    </a:lnTo>
                    <a:lnTo>
                      <a:pt x="17" y="173"/>
                    </a:lnTo>
                    <a:lnTo>
                      <a:pt x="26" y="174"/>
                    </a:lnTo>
                    <a:lnTo>
                      <a:pt x="29" y="174"/>
                    </a:lnTo>
                    <a:lnTo>
                      <a:pt x="30" y="173"/>
                    </a:lnTo>
                    <a:lnTo>
                      <a:pt x="31" y="173"/>
                    </a:lnTo>
                    <a:lnTo>
                      <a:pt x="31" y="171"/>
                    </a:lnTo>
                    <a:lnTo>
                      <a:pt x="31" y="170"/>
                    </a:lnTo>
                    <a:lnTo>
                      <a:pt x="33" y="170"/>
                    </a:lnTo>
                    <a:lnTo>
                      <a:pt x="36" y="168"/>
                    </a:lnTo>
                    <a:lnTo>
                      <a:pt x="37" y="168"/>
                    </a:lnTo>
                    <a:lnTo>
                      <a:pt x="40" y="164"/>
                    </a:lnTo>
                    <a:lnTo>
                      <a:pt x="41" y="163"/>
                    </a:lnTo>
                    <a:lnTo>
                      <a:pt x="46" y="160"/>
                    </a:lnTo>
                    <a:lnTo>
                      <a:pt x="46" y="158"/>
                    </a:lnTo>
                    <a:lnTo>
                      <a:pt x="47" y="155"/>
                    </a:lnTo>
                    <a:lnTo>
                      <a:pt x="50" y="150"/>
                    </a:lnTo>
                    <a:lnTo>
                      <a:pt x="50" y="147"/>
                    </a:lnTo>
                    <a:lnTo>
                      <a:pt x="53" y="144"/>
                    </a:lnTo>
                    <a:lnTo>
                      <a:pt x="56" y="142"/>
                    </a:lnTo>
                    <a:lnTo>
                      <a:pt x="59" y="142"/>
                    </a:lnTo>
                    <a:lnTo>
                      <a:pt x="62" y="144"/>
                    </a:lnTo>
                    <a:lnTo>
                      <a:pt x="63" y="144"/>
                    </a:lnTo>
                    <a:lnTo>
                      <a:pt x="67" y="147"/>
                    </a:lnTo>
                    <a:lnTo>
                      <a:pt x="69" y="148"/>
                    </a:lnTo>
                    <a:lnTo>
                      <a:pt x="73" y="150"/>
                    </a:lnTo>
                    <a:lnTo>
                      <a:pt x="77" y="153"/>
                    </a:lnTo>
                    <a:lnTo>
                      <a:pt x="82" y="153"/>
                    </a:lnTo>
                    <a:lnTo>
                      <a:pt x="85" y="153"/>
                    </a:lnTo>
                    <a:lnTo>
                      <a:pt x="90" y="153"/>
                    </a:lnTo>
                    <a:lnTo>
                      <a:pt x="95" y="151"/>
                    </a:lnTo>
                    <a:lnTo>
                      <a:pt x="96" y="151"/>
                    </a:lnTo>
                    <a:lnTo>
                      <a:pt x="99" y="148"/>
                    </a:lnTo>
                    <a:lnTo>
                      <a:pt x="100" y="145"/>
                    </a:lnTo>
                    <a:lnTo>
                      <a:pt x="103" y="135"/>
                    </a:lnTo>
                    <a:lnTo>
                      <a:pt x="105" y="134"/>
                    </a:lnTo>
                    <a:lnTo>
                      <a:pt x="106" y="132"/>
                    </a:lnTo>
                    <a:lnTo>
                      <a:pt x="112" y="130"/>
                    </a:lnTo>
                    <a:lnTo>
                      <a:pt x="115" y="128"/>
                    </a:lnTo>
                    <a:lnTo>
                      <a:pt x="118" y="125"/>
                    </a:lnTo>
                    <a:lnTo>
                      <a:pt x="120" y="122"/>
                    </a:lnTo>
                    <a:lnTo>
                      <a:pt x="122" y="119"/>
                    </a:lnTo>
                    <a:lnTo>
                      <a:pt x="123" y="112"/>
                    </a:lnTo>
                    <a:lnTo>
                      <a:pt x="125" y="109"/>
                    </a:lnTo>
                    <a:lnTo>
                      <a:pt x="126" y="108"/>
                    </a:lnTo>
                    <a:lnTo>
                      <a:pt x="136" y="102"/>
                    </a:lnTo>
                    <a:lnTo>
                      <a:pt x="139" y="99"/>
                    </a:lnTo>
                    <a:lnTo>
                      <a:pt x="143" y="95"/>
                    </a:lnTo>
                    <a:lnTo>
                      <a:pt x="146" y="92"/>
                    </a:lnTo>
                    <a:lnTo>
                      <a:pt x="149" y="91"/>
                    </a:lnTo>
                    <a:lnTo>
                      <a:pt x="152" y="89"/>
                    </a:lnTo>
                    <a:lnTo>
                      <a:pt x="156" y="88"/>
                    </a:lnTo>
                    <a:lnTo>
                      <a:pt x="158" y="86"/>
                    </a:lnTo>
                    <a:lnTo>
                      <a:pt x="161" y="85"/>
                    </a:lnTo>
                    <a:lnTo>
                      <a:pt x="165" y="84"/>
                    </a:lnTo>
                    <a:lnTo>
                      <a:pt x="164" y="82"/>
                    </a:lnTo>
                    <a:lnTo>
                      <a:pt x="161" y="8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89" name="Freeform 176">
                <a:extLst>
                  <a:ext uri="{FF2B5EF4-FFF2-40B4-BE49-F238E27FC236}">
                    <a16:creationId xmlns:a16="http://schemas.microsoft.com/office/drawing/2014/main" id="{8FE8E225-285B-323A-F984-2B56D202D830}"/>
                  </a:ext>
                </a:extLst>
              </p:cNvPr>
              <p:cNvSpPr>
                <a:spLocks/>
              </p:cNvSpPr>
              <p:nvPr/>
            </p:nvSpPr>
            <p:spPr bwMode="auto">
              <a:xfrm>
                <a:off x="3992" y="2996"/>
                <a:ext cx="135" cy="127"/>
              </a:xfrm>
              <a:custGeom>
                <a:avLst/>
                <a:gdLst>
                  <a:gd name="T0" fmla="*/ 63 w 135"/>
                  <a:gd name="T1" fmla="*/ 8 h 127"/>
                  <a:gd name="T2" fmla="*/ 62 w 135"/>
                  <a:gd name="T3" fmla="*/ 15 h 127"/>
                  <a:gd name="T4" fmla="*/ 46 w 135"/>
                  <a:gd name="T5" fmla="*/ 23 h 127"/>
                  <a:gd name="T6" fmla="*/ 32 w 135"/>
                  <a:gd name="T7" fmla="*/ 42 h 127"/>
                  <a:gd name="T8" fmla="*/ 22 w 135"/>
                  <a:gd name="T9" fmla="*/ 44 h 127"/>
                  <a:gd name="T10" fmla="*/ 17 w 135"/>
                  <a:gd name="T11" fmla="*/ 42 h 127"/>
                  <a:gd name="T12" fmla="*/ 10 w 135"/>
                  <a:gd name="T13" fmla="*/ 42 h 127"/>
                  <a:gd name="T14" fmla="*/ 4 w 135"/>
                  <a:gd name="T15" fmla="*/ 41 h 127"/>
                  <a:gd name="T16" fmla="*/ 0 w 135"/>
                  <a:gd name="T17" fmla="*/ 45 h 127"/>
                  <a:gd name="T18" fmla="*/ 13 w 135"/>
                  <a:gd name="T19" fmla="*/ 69 h 127"/>
                  <a:gd name="T20" fmla="*/ 20 w 135"/>
                  <a:gd name="T21" fmla="*/ 77 h 127"/>
                  <a:gd name="T22" fmla="*/ 33 w 135"/>
                  <a:gd name="T23" fmla="*/ 82 h 127"/>
                  <a:gd name="T24" fmla="*/ 35 w 135"/>
                  <a:gd name="T25" fmla="*/ 87 h 127"/>
                  <a:gd name="T26" fmla="*/ 36 w 135"/>
                  <a:gd name="T27" fmla="*/ 89 h 127"/>
                  <a:gd name="T28" fmla="*/ 37 w 135"/>
                  <a:gd name="T29" fmla="*/ 89 h 127"/>
                  <a:gd name="T30" fmla="*/ 42 w 135"/>
                  <a:gd name="T31" fmla="*/ 91 h 127"/>
                  <a:gd name="T32" fmla="*/ 43 w 135"/>
                  <a:gd name="T33" fmla="*/ 94 h 127"/>
                  <a:gd name="T34" fmla="*/ 42 w 135"/>
                  <a:gd name="T35" fmla="*/ 101 h 127"/>
                  <a:gd name="T36" fmla="*/ 49 w 135"/>
                  <a:gd name="T37" fmla="*/ 110 h 127"/>
                  <a:gd name="T38" fmla="*/ 63 w 135"/>
                  <a:gd name="T39" fmla="*/ 114 h 127"/>
                  <a:gd name="T40" fmla="*/ 66 w 135"/>
                  <a:gd name="T41" fmla="*/ 117 h 127"/>
                  <a:gd name="T42" fmla="*/ 68 w 135"/>
                  <a:gd name="T43" fmla="*/ 120 h 127"/>
                  <a:gd name="T44" fmla="*/ 76 w 135"/>
                  <a:gd name="T45" fmla="*/ 123 h 127"/>
                  <a:gd name="T46" fmla="*/ 102 w 135"/>
                  <a:gd name="T47" fmla="*/ 124 h 127"/>
                  <a:gd name="T48" fmla="*/ 119 w 135"/>
                  <a:gd name="T49" fmla="*/ 112 h 127"/>
                  <a:gd name="T50" fmla="*/ 125 w 135"/>
                  <a:gd name="T51" fmla="*/ 105 h 127"/>
                  <a:gd name="T52" fmla="*/ 125 w 135"/>
                  <a:gd name="T53" fmla="*/ 101 h 127"/>
                  <a:gd name="T54" fmla="*/ 127 w 135"/>
                  <a:gd name="T55" fmla="*/ 95 h 127"/>
                  <a:gd name="T56" fmla="*/ 132 w 135"/>
                  <a:gd name="T57" fmla="*/ 87 h 127"/>
                  <a:gd name="T58" fmla="*/ 135 w 135"/>
                  <a:gd name="T59" fmla="*/ 81 h 127"/>
                  <a:gd name="T60" fmla="*/ 134 w 135"/>
                  <a:gd name="T61" fmla="*/ 75 h 127"/>
                  <a:gd name="T62" fmla="*/ 132 w 135"/>
                  <a:gd name="T63" fmla="*/ 71 h 127"/>
                  <a:gd name="T64" fmla="*/ 132 w 135"/>
                  <a:gd name="T65" fmla="*/ 66 h 127"/>
                  <a:gd name="T66" fmla="*/ 132 w 135"/>
                  <a:gd name="T67" fmla="*/ 64 h 127"/>
                  <a:gd name="T68" fmla="*/ 131 w 135"/>
                  <a:gd name="T69" fmla="*/ 61 h 127"/>
                  <a:gd name="T70" fmla="*/ 134 w 135"/>
                  <a:gd name="T71" fmla="*/ 58 h 127"/>
                  <a:gd name="T72" fmla="*/ 135 w 135"/>
                  <a:gd name="T73" fmla="*/ 44 h 127"/>
                  <a:gd name="T74" fmla="*/ 134 w 135"/>
                  <a:gd name="T75" fmla="*/ 26 h 127"/>
                  <a:gd name="T76" fmla="*/ 135 w 135"/>
                  <a:gd name="T77" fmla="*/ 21 h 127"/>
                  <a:gd name="T78" fmla="*/ 134 w 135"/>
                  <a:gd name="T79" fmla="*/ 21 h 127"/>
                  <a:gd name="T80" fmla="*/ 131 w 135"/>
                  <a:gd name="T81" fmla="*/ 19 h 127"/>
                  <a:gd name="T82" fmla="*/ 125 w 135"/>
                  <a:gd name="T83" fmla="*/ 16 h 127"/>
                  <a:gd name="T84" fmla="*/ 118 w 135"/>
                  <a:gd name="T85" fmla="*/ 15 h 127"/>
                  <a:gd name="T86" fmla="*/ 109 w 135"/>
                  <a:gd name="T87" fmla="*/ 10 h 127"/>
                  <a:gd name="T88" fmla="*/ 93 w 135"/>
                  <a:gd name="T89" fmla="*/ 8 h 127"/>
                  <a:gd name="T90" fmla="*/ 91 w 135"/>
                  <a:gd name="T91" fmla="*/ 3 h 127"/>
                  <a:gd name="T92" fmla="*/ 76 w 135"/>
                  <a:gd name="T93"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5" h="127">
                    <a:moveTo>
                      <a:pt x="76" y="0"/>
                    </a:moveTo>
                    <a:lnTo>
                      <a:pt x="69" y="3"/>
                    </a:lnTo>
                    <a:lnTo>
                      <a:pt x="63" y="8"/>
                    </a:lnTo>
                    <a:lnTo>
                      <a:pt x="62" y="10"/>
                    </a:lnTo>
                    <a:lnTo>
                      <a:pt x="62" y="13"/>
                    </a:lnTo>
                    <a:lnTo>
                      <a:pt x="62" y="15"/>
                    </a:lnTo>
                    <a:lnTo>
                      <a:pt x="59" y="18"/>
                    </a:lnTo>
                    <a:lnTo>
                      <a:pt x="49" y="22"/>
                    </a:lnTo>
                    <a:lnTo>
                      <a:pt x="46" y="23"/>
                    </a:lnTo>
                    <a:lnTo>
                      <a:pt x="42" y="29"/>
                    </a:lnTo>
                    <a:lnTo>
                      <a:pt x="37" y="36"/>
                    </a:lnTo>
                    <a:lnTo>
                      <a:pt x="32" y="42"/>
                    </a:lnTo>
                    <a:lnTo>
                      <a:pt x="26" y="45"/>
                    </a:lnTo>
                    <a:lnTo>
                      <a:pt x="25" y="45"/>
                    </a:lnTo>
                    <a:lnTo>
                      <a:pt x="22" y="44"/>
                    </a:lnTo>
                    <a:lnTo>
                      <a:pt x="20" y="44"/>
                    </a:lnTo>
                    <a:lnTo>
                      <a:pt x="19" y="42"/>
                    </a:lnTo>
                    <a:lnTo>
                      <a:pt x="17" y="42"/>
                    </a:lnTo>
                    <a:lnTo>
                      <a:pt x="15" y="44"/>
                    </a:lnTo>
                    <a:lnTo>
                      <a:pt x="13" y="44"/>
                    </a:lnTo>
                    <a:lnTo>
                      <a:pt x="10" y="42"/>
                    </a:lnTo>
                    <a:lnTo>
                      <a:pt x="7" y="41"/>
                    </a:lnTo>
                    <a:lnTo>
                      <a:pt x="6" y="41"/>
                    </a:lnTo>
                    <a:lnTo>
                      <a:pt x="4" y="41"/>
                    </a:lnTo>
                    <a:lnTo>
                      <a:pt x="2" y="41"/>
                    </a:lnTo>
                    <a:lnTo>
                      <a:pt x="0" y="39"/>
                    </a:lnTo>
                    <a:lnTo>
                      <a:pt x="0" y="45"/>
                    </a:lnTo>
                    <a:lnTo>
                      <a:pt x="3" y="51"/>
                    </a:lnTo>
                    <a:lnTo>
                      <a:pt x="10" y="59"/>
                    </a:lnTo>
                    <a:lnTo>
                      <a:pt x="13" y="69"/>
                    </a:lnTo>
                    <a:lnTo>
                      <a:pt x="16" y="72"/>
                    </a:lnTo>
                    <a:lnTo>
                      <a:pt x="17" y="74"/>
                    </a:lnTo>
                    <a:lnTo>
                      <a:pt x="20" y="77"/>
                    </a:lnTo>
                    <a:lnTo>
                      <a:pt x="26" y="79"/>
                    </a:lnTo>
                    <a:lnTo>
                      <a:pt x="32" y="81"/>
                    </a:lnTo>
                    <a:lnTo>
                      <a:pt x="33" y="82"/>
                    </a:lnTo>
                    <a:lnTo>
                      <a:pt x="33" y="84"/>
                    </a:lnTo>
                    <a:lnTo>
                      <a:pt x="35" y="85"/>
                    </a:lnTo>
                    <a:lnTo>
                      <a:pt x="35" y="87"/>
                    </a:lnTo>
                    <a:lnTo>
                      <a:pt x="35" y="88"/>
                    </a:lnTo>
                    <a:lnTo>
                      <a:pt x="36" y="89"/>
                    </a:lnTo>
                    <a:lnTo>
                      <a:pt x="36" y="89"/>
                    </a:lnTo>
                    <a:lnTo>
                      <a:pt x="36" y="89"/>
                    </a:lnTo>
                    <a:lnTo>
                      <a:pt x="37" y="89"/>
                    </a:lnTo>
                    <a:lnTo>
                      <a:pt x="37" y="89"/>
                    </a:lnTo>
                    <a:lnTo>
                      <a:pt x="40" y="89"/>
                    </a:lnTo>
                    <a:lnTo>
                      <a:pt x="40" y="89"/>
                    </a:lnTo>
                    <a:lnTo>
                      <a:pt x="42" y="91"/>
                    </a:lnTo>
                    <a:lnTo>
                      <a:pt x="42" y="91"/>
                    </a:lnTo>
                    <a:lnTo>
                      <a:pt x="42" y="92"/>
                    </a:lnTo>
                    <a:lnTo>
                      <a:pt x="43" y="94"/>
                    </a:lnTo>
                    <a:lnTo>
                      <a:pt x="42" y="97"/>
                    </a:lnTo>
                    <a:lnTo>
                      <a:pt x="42" y="98"/>
                    </a:lnTo>
                    <a:lnTo>
                      <a:pt x="42" y="101"/>
                    </a:lnTo>
                    <a:lnTo>
                      <a:pt x="43" y="101"/>
                    </a:lnTo>
                    <a:lnTo>
                      <a:pt x="48" y="110"/>
                    </a:lnTo>
                    <a:lnTo>
                      <a:pt x="49" y="110"/>
                    </a:lnTo>
                    <a:lnTo>
                      <a:pt x="53" y="111"/>
                    </a:lnTo>
                    <a:lnTo>
                      <a:pt x="60" y="112"/>
                    </a:lnTo>
                    <a:lnTo>
                      <a:pt x="63" y="114"/>
                    </a:lnTo>
                    <a:lnTo>
                      <a:pt x="66" y="115"/>
                    </a:lnTo>
                    <a:lnTo>
                      <a:pt x="66" y="117"/>
                    </a:lnTo>
                    <a:lnTo>
                      <a:pt x="66" y="117"/>
                    </a:lnTo>
                    <a:lnTo>
                      <a:pt x="66" y="118"/>
                    </a:lnTo>
                    <a:lnTo>
                      <a:pt x="66" y="120"/>
                    </a:lnTo>
                    <a:lnTo>
                      <a:pt x="68" y="120"/>
                    </a:lnTo>
                    <a:lnTo>
                      <a:pt x="71" y="121"/>
                    </a:lnTo>
                    <a:lnTo>
                      <a:pt x="72" y="123"/>
                    </a:lnTo>
                    <a:lnTo>
                      <a:pt x="76" y="123"/>
                    </a:lnTo>
                    <a:lnTo>
                      <a:pt x="91" y="125"/>
                    </a:lnTo>
                    <a:lnTo>
                      <a:pt x="98" y="124"/>
                    </a:lnTo>
                    <a:lnTo>
                      <a:pt x="102" y="124"/>
                    </a:lnTo>
                    <a:lnTo>
                      <a:pt x="105" y="127"/>
                    </a:lnTo>
                    <a:lnTo>
                      <a:pt x="109" y="123"/>
                    </a:lnTo>
                    <a:lnTo>
                      <a:pt x="119" y="112"/>
                    </a:lnTo>
                    <a:lnTo>
                      <a:pt x="124" y="107"/>
                    </a:lnTo>
                    <a:lnTo>
                      <a:pt x="125" y="105"/>
                    </a:lnTo>
                    <a:lnTo>
                      <a:pt x="125" y="105"/>
                    </a:lnTo>
                    <a:lnTo>
                      <a:pt x="125" y="104"/>
                    </a:lnTo>
                    <a:lnTo>
                      <a:pt x="125" y="102"/>
                    </a:lnTo>
                    <a:lnTo>
                      <a:pt x="125" y="101"/>
                    </a:lnTo>
                    <a:lnTo>
                      <a:pt x="127" y="98"/>
                    </a:lnTo>
                    <a:lnTo>
                      <a:pt x="127" y="97"/>
                    </a:lnTo>
                    <a:lnTo>
                      <a:pt x="127" y="95"/>
                    </a:lnTo>
                    <a:lnTo>
                      <a:pt x="128" y="94"/>
                    </a:lnTo>
                    <a:lnTo>
                      <a:pt x="131" y="89"/>
                    </a:lnTo>
                    <a:lnTo>
                      <a:pt x="132" y="87"/>
                    </a:lnTo>
                    <a:lnTo>
                      <a:pt x="134" y="85"/>
                    </a:lnTo>
                    <a:lnTo>
                      <a:pt x="135" y="82"/>
                    </a:lnTo>
                    <a:lnTo>
                      <a:pt x="135" y="81"/>
                    </a:lnTo>
                    <a:lnTo>
                      <a:pt x="135" y="79"/>
                    </a:lnTo>
                    <a:lnTo>
                      <a:pt x="135" y="78"/>
                    </a:lnTo>
                    <a:lnTo>
                      <a:pt x="134" y="75"/>
                    </a:lnTo>
                    <a:lnTo>
                      <a:pt x="132" y="74"/>
                    </a:lnTo>
                    <a:lnTo>
                      <a:pt x="132" y="72"/>
                    </a:lnTo>
                    <a:lnTo>
                      <a:pt x="132" y="71"/>
                    </a:lnTo>
                    <a:lnTo>
                      <a:pt x="132" y="69"/>
                    </a:lnTo>
                    <a:lnTo>
                      <a:pt x="132" y="68"/>
                    </a:lnTo>
                    <a:lnTo>
                      <a:pt x="132" y="66"/>
                    </a:lnTo>
                    <a:lnTo>
                      <a:pt x="134" y="65"/>
                    </a:lnTo>
                    <a:lnTo>
                      <a:pt x="132" y="64"/>
                    </a:lnTo>
                    <a:lnTo>
                      <a:pt x="132" y="64"/>
                    </a:lnTo>
                    <a:lnTo>
                      <a:pt x="131" y="62"/>
                    </a:lnTo>
                    <a:lnTo>
                      <a:pt x="131" y="62"/>
                    </a:lnTo>
                    <a:lnTo>
                      <a:pt x="131" y="61"/>
                    </a:lnTo>
                    <a:lnTo>
                      <a:pt x="131" y="59"/>
                    </a:lnTo>
                    <a:lnTo>
                      <a:pt x="132" y="59"/>
                    </a:lnTo>
                    <a:lnTo>
                      <a:pt x="134" y="58"/>
                    </a:lnTo>
                    <a:lnTo>
                      <a:pt x="135" y="54"/>
                    </a:lnTo>
                    <a:lnTo>
                      <a:pt x="135" y="51"/>
                    </a:lnTo>
                    <a:lnTo>
                      <a:pt x="135" y="44"/>
                    </a:lnTo>
                    <a:lnTo>
                      <a:pt x="135" y="33"/>
                    </a:lnTo>
                    <a:lnTo>
                      <a:pt x="135" y="31"/>
                    </a:lnTo>
                    <a:lnTo>
                      <a:pt x="134" y="26"/>
                    </a:lnTo>
                    <a:lnTo>
                      <a:pt x="134" y="23"/>
                    </a:lnTo>
                    <a:lnTo>
                      <a:pt x="134" y="23"/>
                    </a:lnTo>
                    <a:lnTo>
                      <a:pt x="135" y="21"/>
                    </a:lnTo>
                    <a:lnTo>
                      <a:pt x="135" y="21"/>
                    </a:lnTo>
                    <a:lnTo>
                      <a:pt x="134" y="21"/>
                    </a:lnTo>
                    <a:lnTo>
                      <a:pt x="134" y="21"/>
                    </a:lnTo>
                    <a:lnTo>
                      <a:pt x="134" y="21"/>
                    </a:lnTo>
                    <a:lnTo>
                      <a:pt x="132" y="19"/>
                    </a:lnTo>
                    <a:lnTo>
                      <a:pt x="131" y="19"/>
                    </a:lnTo>
                    <a:lnTo>
                      <a:pt x="129" y="18"/>
                    </a:lnTo>
                    <a:lnTo>
                      <a:pt x="128" y="16"/>
                    </a:lnTo>
                    <a:lnTo>
                      <a:pt x="125" y="16"/>
                    </a:lnTo>
                    <a:lnTo>
                      <a:pt x="124" y="16"/>
                    </a:lnTo>
                    <a:lnTo>
                      <a:pt x="119" y="15"/>
                    </a:lnTo>
                    <a:lnTo>
                      <a:pt x="118" y="15"/>
                    </a:lnTo>
                    <a:lnTo>
                      <a:pt x="116" y="13"/>
                    </a:lnTo>
                    <a:lnTo>
                      <a:pt x="115" y="12"/>
                    </a:lnTo>
                    <a:lnTo>
                      <a:pt x="109" y="10"/>
                    </a:lnTo>
                    <a:lnTo>
                      <a:pt x="105" y="8"/>
                    </a:lnTo>
                    <a:lnTo>
                      <a:pt x="102" y="8"/>
                    </a:lnTo>
                    <a:lnTo>
                      <a:pt x="93" y="8"/>
                    </a:lnTo>
                    <a:lnTo>
                      <a:pt x="92" y="6"/>
                    </a:lnTo>
                    <a:lnTo>
                      <a:pt x="91" y="5"/>
                    </a:lnTo>
                    <a:lnTo>
                      <a:pt x="91" y="3"/>
                    </a:lnTo>
                    <a:lnTo>
                      <a:pt x="91" y="0"/>
                    </a:lnTo>
                    <a:lnTo>
                      <a:pt x="83" y="0"/>
                    </a:lnTo>
                    <a:lnTo>
                      <a:pt x="76"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90" name="Freeform 177">
                <a:extLst>
                  <a:ext uri="{FF2B5EF4-FFF2-40B4-BE49-F238E27FC236}">
                    <a16:creationId xmlns:a16="http://schemas.microsoft.com/office/drawing/2014/main" id="{A27528D1-B476-1B49-3769-51CFF9F2C2EA}"/>
                  </a:ext>
                </a:extLst>
              </p:cNvPr>
              <p:cNvSpPr>
                <a:spLocks/>
              </p:cNvSpPr>
              <p:nvPr/>
            </p:nvSpPr>
            <p:spPr bwMode="auto">
              <a:xfrm>
                <a:off x="3933" y="2863"/>
                <a:ext cx="206" cy="178"/>
              </a:xfrm>
              <a:custGeom>
                <a:avLst/>
                <a:gdLst>
                  <a:gd name="T0" fmla="*/ 119 w 206"/>
                  <a:gd name="T1" fmla="*/ 13 h 178"/>
                  <a:gd name="T2" fmla="*/ 114 w 206"/>
                  <a:gd name="T3" fmla="*/ 18 h 178"/>
                  <a:gd name="T4" fmla="*/ 118 w 206"/>
                  <a:gd name="T5" fmla="*/ 28 h 178"/>
                  <a:gd name="T6" fmla="*/ 114 w 206"/>
                  <a:gd name="T7" fmla="*/ 57 h 178"/>
                  <a:gd name="T8" fmla="*/ 119 w 206"/>
                  <a:gd name="T9" fmla="*/ 69 h 178"/>
                  <a:gd name="T10" fmla="*/ 131 w 206"/>
                  <a:gd name="T11" fmla="*/ 74 h 178"/>
                  <a:gd name="T12" fmla="*/ 134 w 206"/>
                  <a:gd name="T13" fmla="*/ 72 h 178"/>
                  <a:gd name="T14" fmla="*/ 138 w 206"/>
                  <a:gd name="T15" fmla="*/ 70 h 178"/>
                  <a:gd name="T16" fmla="*/ 137 w 206"/>
                  <a:gd name="T17" fmla="*/ 93 h 178"/>
                  <a:gd name="T18" fmla="*/ 130 w 206"/>
                  <a:gd name="T19" fmla="*/ 92 h 178"/>
                  <a:gd name="T20" fmla="*/ 121 w 206"/>
                  <a:gd name="T21" fmla="*/ 86 h 178"/>
                  <a:gd name="T22" fmla="*/ 115 w 206"/>
                  <a:gd name="T23" fmla="*/ 80 h 178"/>
                  <a:gd name="T24" fmla="*/ 111 w 206"/>
                  <a:gd name="T25" fmla="*/ 74 h 178"/>
                  <a:gd name="T26" fmla="*/ 98 w 206"/>
                  <a:gd name="T27" fmla="*/ 67 h 178"/>
                  <a:gd name="T28" fmla="*/ 94 w 206"/>
                  <a:gd name="T29" fmla="*/ 63 h 178"/>
                  <a:gd name="T30" fmla="*/ 91 w 206"/>
                  <a:gd name="T31" fmla="*/ 60 h 178"/>
                  <a:gd name="T32" fmla="*/ 86 w 206"/>
                  <a:gd name="T33" fmla="*/ 66 h 178"/>
                  <a:gd name="T34" fmla="*/ 72 w 206"/>
                  <a:gd name="T35" fmla="*/ 66 h 178"/>
                  <a:gd name="T36" fmla="*/ 61 w 206"/>
                  <a:gd name="T37" fmla="*/ 60 h 178"/>
                  <a:gd name="T38" fmla="*/ 59 w 206"/>
                  <a:gd name="T39" fmla="*/ 54 h 178"/>
                  <a:gd name="T40" fmla="*/ 49 w 206"/>
                  <a:gd name="T41" fmla="*/ 56 h 178"/>
                  <a:gd name="T42" fmla="*/ 43 w 206"/>
                  <a:gd name="T43" fmla="*/ 53 h 178"/>
                  <a:gd name="T44" fmla="*/ 40 w 206"/>
                  <a:gd name="T45" fmla="*/ 50 h 178"/>
                  <a:gd name="T46" fmla="*/ 36 w 206"/>
                  <a:gd name="T47" fmla="*/ 47 h 178"/>
                  <a:gd name="T48" fmla="*/ 36 w 206"/>
                  <a:gd name="T49" fmla="*/ 73 h 178"/>
                  <a:gd name="T50" fmla="*/ 36 w 206"/>
                  <a:gd name="T51" fmla="*/ 83 h 178"/>
                  <a:gd name="T52" fmla="*/ 0 w 206"/>
                  <a:gd name="T53" fmla="*/ 86 h 178"/>
                  <a:gd name="T54" fmla="*/ 3 w 206"/>
                  <a:gd name="T55" fmla="*/ 148 h 178"/>
                  <a:gd name="T56" fmla="*/ 43 w 206"/>
                  <a:gd name="T57" fmla="*/ 168 h 178"/>
                  <a:gd name="T58" fmla="*/ 63 w 206"/>
                  <a:gd name="T59" fmla="*/ 174 h 178"/>
                  <a:gd name="T60" fmla="*/ 72 w 206"/>
                  <a:gd name="T61" fmla="*/ 177 h 178"/>
                  <a:gd name="T62" fmla="*/ 79 w 206"/>
                  <a:gd name="T63" fmla="*/ 177 h 178"/>
                  <a:gd name="T64" fmla="*/ 91 w 206"/>
                  <a:gd name="T65" fmla="*/ 175 h 178"/>
                  <a:gd name="T66" fmla="*/ 108 w 206"/>
                  <a:gd name="T67" fmla="*/ 155 h 178"/>
                  <a:gd name="T68" fmla="*/ 121 w 206"/>
                  <a:gd name="T69" fmla="*/ 143 h 178"/>
                  <a:gd name="T70" fmla="*/ 142 w 206"/>
                  <a:gd name="T71" fmla="*/ 133 h 178"/>
                  <a:gd name="T72" fmla="*/ 147 w 206"/>
                  <a:gd name="T73" fmla="*/ 123 h 178"/>
                  <a:gd name="T74" fmla="*/ 198 w 206"/>
                  <a:gd name="T75" fmla="*/ 103 h 178"/>
                  <a:gd name="T76" fmla="*/ 194 w 206"/>
                  <a:gd name="T77" fmla="*/ 103 h 178"/>
                  <a:gd name="T78" fmla="*/ 191 w 206"/>
                  <a:gd name="T79" fmla="*/ 97 h 178"/>
                  <a:gd name="T80" fmla="*/ 191 w 206"/>
                  <a:gd name="T81" fmla="*/ 95 h 178"/>
                  <a:gd name="T82" fmla="*/ 194 w 206"/>
                  <a:gd name="T83" fmla="*/ 82 h 178"/>
                  <a:gd name="T84" fmla="*/ 201 w 206"/>
                  <a:gd name="T85" fmla="*/ 76 h 178"/>
                  <a:gd name="T86" fmla="*/ 200 w 206"/>
                  <a:gd name="T87" fmla="*/ 72 h 178"/>
                  <a:gd name="T88" fmla="*/ 198 w 206"/>
                  <a:gd name="T89" fmla="*/ 59 h 178"/>
                  <a:gd name="T90" fmla="*/ 201 w 206"/>
                  <a:gd name="T91" fmla="*/ 53 h 178"/>
                  <a:gd name="T92" fmla="*/ 200 w 206"/>
                  <a:gd name="T93" fmla="*/ 47 h 178"/>
                  <a:gd name="T94" fmla="*/ 206 w 206"/>
                  <a:gd name="T95" fmla="*/ 40 h 178"/>
                  <a:gd name="T96" fmla="*/ 201 w 206"/>
                  <a:gd name="T97" fmla="*/ 33 h 178"/>
                  <a:gd name="T98" fmla="*/ 200 w 206"/>
                  <a:gd name="T99" fmla="*/ 28 h 178"/>
                  <a:gd name="T100" fmla="*/ 196 w 206"/>
                  <a:gd name="T101" fmla="*/ 24 h 178"/>
                  <a:gd name="T102" fmla="*/ 193 w 206"/>
                  <a:gd name="T103" fmla="*/ 21 h 178"/>
                  <a:gd name="T104" fmla="*/ 177 w 206"/>
                  <a:gd name="T105" fmla="*/ 14 h 178"/>
                  <a:gd name="T106" fmla="*/ 168 w 206"/>
                  <a:gd name="T107" fmla="*/ 10 h 178"/>
                  <a:gd name="T108" fmla="*/ 167 w 206"/>
                  <a:gd name="T109" fmla="*/ 7 h 178"/>
                  <a:gd name="T110" fmla="*/ 161 w 206"/>
                  <a:gd name="T111" fmla="*/ 5 h 178"/>
                  <a:gd name="T112" fmla="*/ 131 w 206"/>
                  <a:gd name="T113" fmla="*/ 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6" h="178">
                    <a:moveTo>
                      <a:pt x="122" y="4"/>
                    </a:moveTo>
                    <a:lnTo>
                      <a:pt x="124" y="7"/>
                    </a:lnTo>
                    <a:lnTo>
                      <a:pt x="122" y="10"/>
                    </a:lnTo>
                    <a:lnTo>
                      <a:pt x="119" y="13"/>
                    </a:lnTo>
                    <a:lnTo>
                      <a:pt x="118" y="16"/>
                    </a:lnTo>
                    <a:lnTo>
                      <a:pt x="115" y="17"/>
                    </a:lnTo>
                    <a:lnTo>
                      <a:pt x="114" y="17"/>
                    </a:lnTo>
                    <a:lnTo>
                      <a:pt x="114" y="18"/>
                    </a:lnTo>
                    <a:lnTo>
                      <a:pt x="114" y="20"/>
                    </a:lnTo>
                    <a:lnTo>
                      <a:pt x="117" y="24"/>
                    </a:lnTo>
                    <a:lnTo>
                      <a:pt x="118" y="26"/>
                    </a:lnTo>
                    <a:lnTo>
                      <a:pt x="118" y="28"/>
                    </a:lnTo>
                    <a:lnTo>
                      <a:pt x="118" y="41"/>
                    </a:lnTo>
                    <a:lnTo>
                      <a:pt x="117" y="46"/>
                    </a:lnTo>
                    <a:lnTo>
                      <a:pt x="114" y="54"/>
                    </a:lnTo>
                    <a:lnTo>
                      <a:pt x="114" y="57"/>
                    </a:lnTo>
                    <a:lnTo>
                      <a:pt x="114" y="60"/>
                    </a:lnTo>
                    <a:lnTo>
                      <a:pt x="115" y="63"/>
                    </a:lnTo>
                    <a:lnTo>
                      <a:pt x="117" y="66"/>
                    </a:lnTo>
                    <a:lnTo>
                      <a:pt x="119" y="69"/>
                    </a:lnTo>
                    <a:lnTo>
                      <a:pt x="124" y="72"/>
                    </a:lnTo>
                    <a:lnTo>
                      <a:pt x="127" y="73"/>
                    </a:lnTo>
                    <a:lnTo>
                      <a:pt x="128" y="74"/>
                    </a:lnTo>
                    <a:lnTo>
                      <a:pt x="131" y="74"/>
                    </a:lnTo>
                    <a:lnTo>
                      <a:pt x="134" y="74"/>
                    </a:lnTo>
                    <a:lnTo>
                      <a:pt x="134" y="74"/>
                    </a:lnTo>
                    <a:lnTo>
                      <a:pt x="134" y="73"/>
                    </a:lnTo>
                    <a:lnTo>
                      <a:pt x="134" y="72"/>
                    </a:lnTo>
                    <a:lnTo>
                      <a:pt x="134" y="72"/>
                    </a:lnTo>
                    <a:lnTo>
                      <a:pt x="135" y="70"/>
                    </a:lnTo>
                    <a:lnTo>
                      <a:pt x="137" y="70"/>
                    </a:lnTo>
                    <a:lnTo>
                      <a:pt x="138" y="70"/>
                    </a:lnTo>
                    <a:lnTo>
                      <a:pt x="140" y="90"/>
                    </a:lnTo>
                    <a:lnTo>
                      <a:pt x="138" y="93"/>
                    </a:lnTo>
                    <a:lnTo>
                      <a:pt x="137" y="93"/>
                    </a:lnTo>
                    <a:lnTo>
                      <a:pt x="137" y="93"/>
                    </a:lnTo>
                    <a:lnTo>
                      <a:pt x="135" y="92"/>
                    </a:lnTo>
                    <a:lnTo>
                      <a:pt x="135" y="90"/>
                    </a:lnTo>
                    <a:lnTo>
                      <a:pt x="132" y="90"/>
                    </a:lnTo>
                    <a:lnTo>
                      <a:pt x="130" y="92"/>
                    </a:lnTo>
                    <a:lnTo>
                      <a:pt x="127" y="93"/>
                    </a:lnTo>
                    <a:lnTo>
                      <a:pt x="125" y="92"/>
                    </a:lnTo>
                    <a:lnTo>
                      <a:pt x="124" y="90"/>
                    </a:lnTo>
                    <a:lnTo>
                      <a:pt x="121" y="86"/>
                    </a:lnTo>
                    <a:lnTo>
                      <a:pt x="119" y="85"/>
                    </a:lnTo>
                    <a:lnTo>
                      <a:pt x="117" y="83"/>
                    </a:lnTo>
                    <a:lnTo>
                      <a:pt x="117" y="82"/>
                    </a:lnTo>
                    <a:lnTo>
                      <a:pt x="115" y="80"/>
                    </a:lnTo>
                    <a:lnTo>
                      <a:pt x="115" y="79"/>
                    </a:lnTo>
                    <a:lnTo>
                      <a:pt x="114" y="77"/>
                    </a:lnTo>
                    <a:lnTo>
                      <a:pt x="112" y="76"/>
                    </a:lnTo>
                    <a:lnTo>
                      <a:pt x="111" y="74"/>
                    </a:lnTo>
                    <a:lnTo>
                      <a:pt x="101" y="72"/>
                    </a:lnTo>
                    <a:lnTo>
                      <a:pt x="99" y="72"/>
                    </a:lnTo>
                    <a:lnTo>
                      <a:pt x="99" y="70"/>
                    </a:lnTo>
                    <a:lnTo>
                      <a:pt x="98" y="67"/>
                    </a:lnTo>
                    <a:lnTo>
                      <a:pt x="96" y="66"/>
                    </a:lnTo>
                    <a:lnTo>
                      <a:pt x="95" y="64"/>
                    </a:lnTo>
                    <a:lnTo>
                      <a:pt x="94" y="64"/>
                    </a:lnTo>
                    <a:lnTo>
                      <a:pt x="94" y="63"/>
                    </a:lnTo>
                    <a:lnTo>
                      <a:pt x="94" y="62"/>
                    </a:lnTo>
                    <a:lnTo>
                      <a:pt x="92" y="60"/>
                    </a:lnTo>
                    <a:lnTo>
                      <a:pt x="92" y="60"/>
                    </a:lnTo>
                    <a:lnTo>
                      <a:pt x="91" y="60"/>
                    </a:lnTo>
                    <a:lnTo>
                      <a:pt x="89" y="62"/>
                    </a:lnTo>
                    <a:lnTo>
                      <a:pt x="89" y="64"/>
                    </a:lnTo>
                    <a:lnTo>
                      <a:pt x="88" y="66"/>
                    </a:lnTo>
                    <a:lnTo>
                      <a:pt x="86" y="66"/>
                    </a:lnTo>
                    <a:lnTo>
                      <a:pt x="85" y="67"/>
                    </a:lnTo>
                    <a:lnTo>
                      <a:pt x="84" y="67"/>
                    </a:lnTo>
                    <a:lnTo>
                      <a:pt x="82" y="67"/>
                    </a:lnTo>
                    <a:lnTo>
                      <a:pt x="72" y="66"/>
                    </a:lnTo>
                    <a:lnTo>
                      <a:pt x="68" y="64"/>
                    </a:lnTo>
                    <a:lnTo>
                      <a:pt x="63" y="63"/>
                    </a:lnTo>
                    <a:lnTo>
                      <a:pt x="62" y="62"/>
                    </a:lnTo>
                    <a:lnTo>
                      <a:pt x="61" y="60"/>
                    </a:lnTo>
                    <a:lnTo>
                      <a:pt x="59" y="59"/>
                    </a:lnTo>
                    <a:lnTo>
                      <a:pt x="59" y="57"/>
                    </a:lnTo>
                    <a:lnTo>
                      <a:pt x="59" y="54"/>
                    </a:lnTo>
                    <a:lnTo>
                      <a:pt x="59" y="54"/>
                    </a:lnTo>
                    <a:lnTo>
                      <a:pt x="59" y="54"/>
                    </a:lnTo>
                    <a:lnTo>
                      <a:pt x="58" y="54"/>
                    </a:lnTo>
                    <a:lnTo>
                      <a:pt x="53" y="54"/>
                    </a:lnTo>
                    <a:lnTo>
                      <a:pt x="49" y="56"/>
                    </a:lnTo>
                    <a:lnTo>
                      <a:pt x="45" y="57"/>
                    </a:lnTo>
                    <a:lnTo>
                      <a:pt x="42" y="56"/>
                    </a:lnTo>
                    <a:lnTo>
                      <a:pt x="43" y="54"/>
                    </a:lnTo>
                    <a:lnTo>
                      <a:pt x="43" y="53"/>
                    </a:lnTo>
                    <a:lnTo>
                      <a:pt x="43" y="53"/>
                    </a:lnTo>
                    <a:lnTo>
                      <a:pt x="42" y="51"/>
                    </a:lnTo>
                    <a:lnTo>
                      <a:pt x="42" y="51"/>
                    </a:lnTo>
                    <a:lnTo>
                      <a:pt x="40" y="50"/>
                    </a:lnTo>
                    <a:lnTo>
                      <a:pt x="40" y="50"/>
                    </a:lnTo>
                    <a:lnTo>
                      <a:pt x="39" y="49"/>
                    </a:lnTo>
                    <a:lnTo>
                      <a:pt x="38" y="47"/>
                    </a:lnTo>
                    <a:lnTo>
                      <a:pt x="36" y="47"/>
                    </a:lnTo>
                    <a:lnTo>
                      <a:pt x="36" y="51"/>
                    </a:lnTo>
                    <a:lnTo>
                      <a:pt x="36" y="54"/>
                    </a:lnTo>
                    <a:lnTo>
                      <a:pt x="36" y="66"/>
                    </a:lnTo>
                    <a:lnTo>
                      <a:pt x="36" y="73"/>
                    </a:lnTo>
                    <a:lnTo>
                      <a:pt x="35" y="77"/>
                    </a:lnTo>
                    <a:lnTo>
                      <a:pt x="35" y="80"/>
                    </a:lnTo>
                    <a:lnTo>
                      <a:pt x="35" y="82"/>
                    </a:lnTo>
                    <a:lnTo>
                      <a:pt x="36" y="83"/>
                    </a:lnTo>
                    <a:lnTo>
                      <a:pt x="35" y="85"/>
                    </a:lnTo>
                    <a:lnTo>
                      <a:pt x="33" y="86"/>
                    </a:lnTo>
                    <a:lnTo>
                      <a:pt x="32" y="86"/>
                    </a:lnTo>
                    <a:lnTo>
                      <a:pt x="0" y="86"/>
                    </a:lnTo>
                    <a:lnTo>
                      <a:pt x="2" y="139"/>
                    </a:lnTo>
                    <a:lnTo>
                      <a:pt x="2" y="142"/>
                    </a:lnTo>
                    <a:lnTo>
                      <a:pt x="2" y="145"/>
                    </a:lnTo>
                    <a:lnTo>
                      <a:pt x="3" y="148"/>
                    </a:lnTo>
                    <a:lnTo>
                      <a:pt x="5" y="151"/>
                    </a:lnTo>
                    <a:lnTo>
                      <a:pt x="26" y="171"/>
                    </a:lnTo>
                    <a:lnTo>
                      <a:pt x="35" y="168"/>
                    </a:lnTo>
                    <a:lnTo>
                      <a:pt x="43" y="168"/>
                    </a:lnTo>
                    <a:lnTo>
                      <a:pt x="52" y="168"/>
                    </a:lnTo>
                    <a:lnTo>
                      <a:pt x="59" y="172"/>
                    </a:lnTo>
                    <a:lnTo>
                      <a:pt x="61" y="174"/>
                    </a:lnTo>
                    <a:lnTo>
                      <a:pt x="63" y="174"/>
                    </a:lnTo>
                    <a:lnTo>
                      <a:pt x="65" y="174"/>
                    </a:lnTo>
                    <a:lnTo>
                      <a:pt x="66" y="174"/>
                    </a:lnTo>
                    <a:lnTo>
                      <a:pt x="69" y="175"/>
                    </a:lnTo>
                    <a:lnTo>
                      <a:pt x="72" y="177"/>
                    </a:lnTo>
                    <a:lnTo>
                      <a:pt x="74" y="177"/>
                    </a:lnTo>
                    <a:lnTo>
                      <a:pt x="76" y="175"/>
                    </a:lnTo>
                    <a:lnTo>
                      <a:pt x="78" y="175"/>
                    </a:lnTo>
                    <a:lnTo>
                      <a:pt x="79" y="177"/>
                    </a:lnTo>
                    <a:lnTo>
                      <a:pt x="81" y="177"/>
                    </a:lnTo>
                    <a:lnTo>
                      <a:pt x="84" y="178"/>
                    </a:lnTo>
                    <a:lnTo>
                      <a:pt x="85" y="178"/>
                    </a:lnTo>
                    <a:lnTo>
                      <a:pt x="91" y="175"/>
                    </a:lnTo>
                    <a:lnTo>
                      <a:pt x="96" y="169"/>
                    </a:lnTo>
                    <a:lnTo>
                      <a:pt x="101" y="162"/>
                    </a:lnTo>
                    <a:lnTo>
                      <a:pt x="105" y="156"/>
                    </a:lnTo>
                    <a:lnTo>
                      <a:pt x="108" y="155"/>
                    </a:lnTo>
                    <a:lnTo>
                      <a:pt x="118" y="151"/>
                    </a:lnTo>
                    <a:lnTo>
                      <a:pt x="121" y="148"/>
                    </a:lnTo>
                    <a:lnTo>
                      <a:pt x="121" y="146"/>
                    </a:lnTo>
                    <a:lnTo>
                      <a:pt x="121" y="143"/>
                    </a:lnTo>
                    <a:lnTo>
                      <a:pt x="122" y="141"/>
                    </a:lnTo>
                    <a:lnTo>
                      <a:pt x="128" y="136"/>
                    </a:lnTo>
                    <a:lnTo>
                      <a:pt x="135" y="133"/>
                    </a:lnTo>
                    <a:lnTo>
                      <a:pt x="142" y="133"/>
                    </a:lnTo>
                    <a:lnTo>
                      <a:pt x="150" y="133"/>
                    </a:lnTo>
                    <a:lnTo>
                      <a:pt x="148" y="131"/>
                    </a:lnTo>
                    <a:lnTo>
                      <a:pt x="147" y="125"/>
                    </a:lnTo>
                    <a:lnTo>
                      <a:pt x="147" y="123"/>
                    </a:lnTo>
                    <a:lnTo>
                      <a:pt x="147" y="122"/>
                    </a:lnTo>
                    <a:lnTo>
                      <a:pt x="147" y="120"/>
                    </a:lnTo>
                    <a:lnTo>
                      <a:pt x="150" y="120"/>
                    </a:lnTo>
                    <a:lnTo>
                      <a:pt x="198" y="103"/>
                    </a:lnTo>
                    <a:lnTo>
                      <a:pt x="197" y="103"/>
                    </a:lnTo>
                    <a:lnTo>
                      <a:pt x="197" y="103"/>
                    </a:lnTo>
                    <a:lnTo>
                      <a:pt x="196" y="103"/>
                    </a:lnTo>
                    <a:lnTo>
                      <a:pt x="194" y="103"/>
                    </a:lnTo>
                    <a:lnTo>
                      <a:pt x="194" y="103"/>
                    </a:lnTo>
                    <a:lnTo>
                      <a:pt x="191" y="100"/>
                    </a:lnTo>
                    <a:lnTo>
                      <a:pt x="191" y="99"/>
                    </a:lnTo>
                    <a:lnTo>
                      <a:pt x="191" y="97"/>
                    </a:lnTo>
                    <a:lnTo>
                      <a:pt x="191" y="97"/>
                    </a:lnTo>
                    <a:lnTo>
                      <a:pt x="190" y="96"/>
                    </a:lnTo>
                    <a:lnTo>
                      <a:pt x="188" y="96"/>
                    </a:lnTo>
                    <a:lnTo>
                      <a:pt x="191" y="95"/>
                    </a:lnTo>
                    <a:lnTo>
                      <a:pt x="194" y="90"/>
                    </a:lnTo>
                    <a:lnTo>
                      <a:pt x="194" y="87"/>
                    </a:lnTo>
                    <a:lnTo>
                      <a:pt x="194" y="83"/>
                    </a:lnTo>
                    <a:lnTo>
                      <a:pt x="194" y="82"/>
                    </a:lnTo>
                    <a:lnTo>
                      <a:pt x="194" y="80"/>
                    </a:lnTo>
                    <a:lnTo>
                      <a:pt x="196" y="79"/>
                    </a:lnTo>
                    <a:lnTo>
                      <a:pt x="198" y="77"/>
                    </a:lnTo>
                    <a:lnTo>
                      <a:pt x="201" y="76"/>
                    </a:lnTo>
                    <a:lnTo>
                      <a:pt x="203" y="76"/>
                    </a:lnTo>
                    <a:lnTo>
                      <a:pt x="204" y="73"/>
                    </a:lnTo>
                    <a:lnTo>
                      <a:pt x="201" y="73"/>
                    </a:lnTo>
                    <a:lnTo>
                      <a:pt x="200" y="72"/>
                    </a:lnTo>
                    <a:lnTo>
                      <a:pt x="200" y="69"/>
                    </a:lnTo>
                    <a:lnTo>
                      <a:pt x="200" y="66"/>
                    </a:lnTo>
                    <a:lnTo>
                      <a:pt x="200" y="63"/>
                    </a:lnTo>
                    <a:lnTo>
                      <a:pt x="198" y="59"/>
                    </a:lnTo>
                    <a:lnTo>
                      <a:pt x="198" y="57"/>
                    </a:lnTo>
                    <a:lnTo>
                      <a:pt x="200" y="56"/>
                    </a:lnTo>
                    <a:lnTo>
                      <a:pt x="201" y="54"/>
                    </a:lnTo>
                    <a:lnTo>
                      <a:pt x="201" y="53"/>
                    </a:lnTo>
                    <a:lnTo>
                      <a:pt x="201" y="51"/>
                    </a:lnTo>
                    <a:lnTo>
                      <a:pt x="200" y="50"/>
                    </a:lnTo>
                    <a:lnTo>
                      <a:pt x="200" y="49"/>
                    </a:lnTo>
                    <a:lnTo>
                      <a:pt x="200" y="47"/>
                    </a:lnTo>
                    <a:lnTo>
                      <a:pt x="204" y="44"/>
                    </a:lnTo>
                    <a:lnTo>
                      <a:pt x="206" y="43"/>
                    </a:lnTo>
                    <a:lnTo>
                      <a:pt x="206" y="41"/>
                    </a:lnTo>
                    <a:lnTo>
                      <a:pt x="206" y="40"/>
                    </a:lnTo>
                    <a:lnTo>
                      <a:pt x="206" y="37"/>
                    </a:lnTo>
                    <a:lnTo>
                      <a:pt x="204" y="36"/>
                    </a:lnTo>
                    <a:lnTo>
                      <a:pt x="203" y="34"/>
                    </a:lnTo>
                    <a:lnTo>
                      <a:pt x="201" y="33"/>
                    </a:lnTo>
                    <a:lnTo>
                      <a:pt x="201" y="33"/>
                    </a:lnTo>
                    <a:lnTo>
                      <a:pt x="200" y="31"/>
                    </a:lnTo>
                    <a:lnTo>
                      <a:pt x="200" y="30"/>
                    </a:lnTo>
                    <a:lnTo>
                      <a:pt x="200" y="28"/>
                    </a:lnTo>
                    <a:lnTo>
                      <a:pt x="198" y="24"/>
                    </a:lnTo>
                    <a:lnTo>
                      <a:pt x="197" y="24"/>
                    </a:lnTo>
                    <a:lnTo>
                      <a:pt x="197" y="24"/>
                    </a:lnTo>
                    <a:lnTo>
                      <a:pt x="196" y="24"/>
                    </a:lnTo>
                    <a:lnTo>
                      <a:pt x="196" y="26"/>
                    </a:lnTo>
                    <a:lnTo>
                      <a:pt x="196" y="24"/>
                    </a:lnTo>
                    <a:lnTo>
                      <a:pt x="194" y="23"/>
                    </a:lnTo>
                    <a:lnTo>
                      <a:pt x="193" y="21"/>
                    </a:lnTo>
                    <a:lnTo>
                      <a:pt x="190" y="20"/>
                    </a:lnTo>
                    <a:lnTo>
                      <a:pt x="184" y="17"/>
                    </a:lnTo>
                    <a:lnTo>
                      <a:pt x="178" y="16"/>
                    </a:lnTo>
                    <a:lnTo>
                      <a:pt x="177" y="14"/>
                    </a:lnTo>
                    <a:lnTo>
                      <a:pt x="173" y="11"/>
                    </a:lnTo>
                    <a:lnTo>
                      <a:pt x="170" y="11"/>
                    </a:lnTo>
                    <a:lnTo>
                      <a:pt x="170" y="10"/>
                    </a:lnTo>
                    <a:lnTo>
                      <a:pt x="168" y="10"/>
                    </a:lnTo>
                    <a:lnTo>
                      <a:pt x="168" y="8"/>
                    </a:lnTo>
                    <a:lnTo>
                      <a:pt x="168" y="8"/>
                    </a:lnTo>
                    <a:lnTo>
                      <a:pt x="167" y="7"/>
                    </a:lnTo>
                    <a:lnTo>
                      <a:pt x="167" y="7"/>
                    </a:lnTo>
                    <a:lnTo>
                      <a:pt x="165" y="7"/>
                    </a:lnTo>
                    <a:lnTo>
                      <a:pt x="165" y="7"/>
                    </a:lnTo>
                    <a:lnTo>
                      <a:pt x="164" y="7"/>
                    </a:lnTo>
                    <a:lnTo>
                      <a:pt x="161" y="5"/>
                    </a:lnTo>
                    <a:lnTo>
                      <a:pt x="158" y="4"/>
                    </a:lnTo>
                    <a:lnTo>
                      <a:pt x="157" y="3"/>
                    </a:lnTo>
                    <a:lnTo>
                      <a:pt x="155" y="0"/>
                    </a:lnTo>
                    <a:lnTo>
                      <a:pt x="131" y="3"/>
                    </a:lnTo>
                    <a:lnTo>
                      <a:pt x="122" y="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91" name="Freeform 178">
                <a:extLst>
                  <a:ext uri="{FF2B5EF4-FFF2-40B4-BE49-F238E27FC236}">
                    <a16:creationId xmlns:a16="http://schemas.microsoft.com/office/drawing/2014/main" id="{F563E061-14DA-1986-2EDB-0CDD01BF5090}"/>
                  </a:ext>
                </a:extLst>
              </p:cNvPr>
              <p:cNvSpPr>
                <a:spLocks/>
              </p:cNvSpPr>
              <p:nvPr/>
            </p:nvSpPr>
            <p:spPr bwMode="auto">
              <a:xfrm>
                <a:off x="3754" y="3021"/>
                <a:ext cx="238" cy="228"/>
              </a:xfrm>
              <a:custGeom>
                <a:avLst/>
                <a:gdLst>
                  <a:gd name="T0" fmla="*/ 89 w 238"/>
                  <a:gd name="T1" fmla="*/ 218 h 228"/>
                  <a:gd name="T2" fmla="*/ 92 w 238"/>
                  <a:gd name="T3" fmla="*/ 211 h 228"/>
                  <a:gd name="T4" fmla="*/ 96 w 238"/>
                  <a:gd name="T5" fmla="*/ 213 h 228"/>
                  <a:gd name="T6" fmla="*/ 99 w 238"/>
                  <a:gd name="T7" fmla="*/ 217 h 228"/>
                  <a:gd name="T8" fmla="*/ 99 w 238"/>
                  <a:gd name="T9" fmla="*/ 218 h 228"/>
                  <a:gd name="T10" fmla="*/ 99 w 238"/>
                  <a:gd name="T11" fmla="*/ 221 h 228"/>
                  <a:gd name="T12" fmla="*/ 100 w 238"/>
                  <a:gd name="T13" fmla="*/ 224 h 228"/>
                  <a:gd name="T14" fmla="*/ 103 w 238"/>
                  <a:gd name="T15" fmla="*/ 224 h 228"/>
                  <a:gd name="T16" fmla="*/ 130 w 238"/>
                  <a:gd name="T17" fmla="*/ 228 h 228"/>
                  <a:gd name="T18" fmla="*/ 132 w 238"/>
                  <a:gd name="T19" fmla="*/ 227 h 228"/>
                  <a:gd name="T20" fmla="*/ 136 w 238"/>
                  <a:gd name="T21" fmla="*/ 223 h 228"/>
                  <a:gd name="T22" fmla="*/ 142 w 238"/>
                  <a:gd name="T23" fmla="*/ 220 h 228"/>
                  <a:gd name="T24" fmla="*/ 145 w 238"/>
                  <a:gd name="T25" fmla="*/ 146 h 228"/>
                  <a:gd name="T26" fmla="*/ 162 w 238"/>
                  <a:gd name="T27" fmla="*/ 93 h 228"/>
                  <a:gd name="T28" fmla="*/ 162 w 238"/>
                  <a:gd name="T29" fmla="*/ 24 h 228"/>
                  <a:gd name="T30" fmla="*/ 172 w 238"/>
                  <a:gd name="T31" fmla="*/ 24 h 228"/>
                  <a:gd name="T32" fmla="*/ 201 w 238"/>
                  <a:gd name="T33" fmla="*/ 19 h 228"/>
                  <a:gd name="T34" fmla="*/ 207 w 238"/>
                  <a:gd name="T35" fmla="*/ 23 h 228"/>
                  <a:gd name="T36" fmla="*/ 209 w 238"/>
                  <a:gd name="T37" fmla="*/ 27 h 228"/>
                  <a:gd name="T38" fmla="*/ 215 w 238"/>
                  <a:gd name="T39" fmla="*/ 23 h 228"/>
                  <a:gd name="T40" fmla="*/ 219 w 238"/>
                  <a:gd name="T41" fmla="*/ 20 h 228"/>
                  <a:gd name="T42" fmla="*/ 224 w 238"/>
                  <a:gd name="T43" fmla="*/ 19 h 228"/>
                  <a:gd name="T44" fmla="*/ 225 w 238"/>
                  <a:gd name="T45" fmla="*/ 19 h 228"/>
                  <a:gd name="T46" fmla="*/ 227 w 238"/>
                  <a:gd name="T47" fmla="*/ 19 h 228"/>
                  <a:gd name="T48" fmla="*/ 230 w 238"/>
                  <a:gd name="T49" fmla="*/ 16 h 228"/>
                  <a:gd name="T50" fmla="*/ 234 w 238"/>
                  <a:gd name="T51" fmla="*/ 16 h 228"/>
                  <a:gd name="T52" fmla="*/ 238 w 238"/>
                  <a:gd name="T53" fmla="*/ 14 h 228"/>
                  <a:gd name="T54" fmla="*/ 222 w 238"/>
                  <a:gd name="T55" fmla="*/ 10 h 228"/>
                  <a:gd name="T56" fmla="*/ 205 w 238"/>
                  <a:gd name="T57" fmla="*/ 13 h 228"/>
                  <a:gd name="T58" fmla="*/ 158 w 238"/>
                  <a:gd name="T59" fmla="*/ 19 h 228"/>
                  <a:gd name="T60" fmla="*/ 126 w 238"/>
                  <a:gd name="T61" fmla="*/ 16 h 228"/>
                  <a:gd name="T62" fmla="*/ 122 w 238"/>
                  <a:gd name="T63" fmla="*/ 13 h 228"/>
                  <a:gd name="T64" fmla="*/ 118 w 238"/>
                  <a:gd name="T65" fmla="*/ 8 h 228"/>
                  <a:gd name="T66" fmla="*/ 47 w 238"/>
                  <a:gd name="T67" fmla="*/ 7 h 228"/>
                  <a:gd name="T68" fmla="*/ 36 w 238"/>
                  <a:gd name="T69" fmla="*/ 6 h 228"/>
                  <a:gd name="T70" fmla="*/ 28 w 238"/>
                  <a:gd name="T71" fmla="*/ 1 h 228"/>
                  <a:gd name="T72" fmla="*/ 18 w 238"/>
                  <a:gd name="T73" fmla="*/ 1 h 228"/>
                  <a:gd name="T74" fmla="*/ 14 w 238"/>
                  <a:gd name="T75" fmla="*/ 4 h 228"/>
                  <a:gd name="T76" fmla="*/ 10 w 238"/>
                  <a:gd name="T77" fmla="*/ 4 h 228"/>
                  <a:gd name="T78" fmla="*/ 5 w 238"/>
                  <a:gd name="T79" fmla="*/ 4 h 228"/>
                  <a:gd name="T80" fmla="*/ 4 w 238"/>
                  <a:gd name="T81" fmla="*/ 4 h 228"/>
                  <a:gd name="T82" fmla="*/ 0 w 238"/>
                  <a:gd name="T83" fmla="*/ 6 h 228"/>
                  <a:gd name="T84" fmla="*/ 1 w 238"/>
                  <a:gd name="T85" fmla="*/ 20 h 228"/>
                  <a:gd name="T86" fmla="*/ 14 w 238"/>
                  <a:gd name="T87" fmla="*/ 37 h 228"/>
                  <a:gd name="T88" fmla="*/ 28 w 238"/>
                  <a:gd name="T89" fmla="*/ 69 h 228"/>
                  <a:gd name="T90" fmla="*/ 46 w 238"/>
                  <a:gd name="T91" fmla="*/ 98 h 228"/>
                  <a:gd name="T92" fmla="*/ 49 w 238"/>
                  <a:gd name="T93" fmla="*/ 110 h 228"/>
                  <a:gd name="T94" fmla="*/ 47 w 238"/>
                  <a:gd name="T95" fmla="*/ 113 h 228"/>
                  <a:gd name="T96" fmla="*/ 49 w 238"/>
                  <a:gd name="T97" fmla="*/ 133 h 228"/>
                  <a:gd name="T98" fmla="*/ 53 w 238"/>
                  <a:gd name="T99" fmla="*/ 148 h 228"/>
                  <a:gd name="T100" fmla="*/ 54 w 238"/>
                  <a:gd name="T101" fmla="*/ 159 h 228"/>
                  <a:gd name="T102" fmla="*/ 57 w 238"/>
                  <a:gd name="T103" fmla="*/ 178 h 228"/>
                  <a:gd name="T104" fmla="*/ 59 w 238"/>
                  <a:gd name="T105" fmla="*/ 182 h 228"/>
                  <a:gd name="T106" fmla="*/ 62 w 238"/>
                  <a:gd name="T107" fmla="*/ 194 h 228"/>
                  <a:gd name="T108" fmla="*/ 67 w 238"/>
                  <a:gd name="T109" fmla="*/ 205 h 228"/>
                  <a:gd name="T110" fmla="*/ 77 w 238"/>
                  <a:gd name="T111" fmla="*/ 217 h 228"/>
                  <a:gd name="T112" fmla="*/ 84 w 238"/>
                  <a:gd name="T113" fmla="*/ 2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8" h="228">
                    <a:moveTo>
                      <a:pt x="87" y="220"/>
                    </a:moveTo>
                    <a:lnTo>
                      <a:pt x="89" y="218"/>
                    </a:lnTo>
                    <a:lnTo>
                      <a:pt x="90" y="213"/>
                    </a:lnTo>
                    <a:lnTo>
                      <a:pt x="92" y="211"/>
                    </a:lnTo>
                    <a:lnTo>
                      <a:pt x="95" y="211"/>
                    </a:lnTo>
                    <a:lnTo>
                      <a:pt x="96" y="213"/>
                    </a:lnTo>
                    <a:lnTo>
                      <a:pt x="97" y="214"/>
                    </a:lnTo>
                    <a:lnTo>
                      <a:pt x="99" y="217"/>
                    </a:lnTo>
                    <a:lnTo>
                      <a:pt x="99" y="218"/>
                    </a:lnTo>
                    <a:lnTo>
                      <a:pt x="99" y="218"/>
                    </a:lnTo>
                    <a:lnTo>
                      <a:pt x="99" y="220"/>
                    </a:lnTo>
                    <a:lnTo>
                      <a:pt x="99" y="221"/>
                    </a:lnTo>
                    <a:lnTo>
                      <a:pt x="100" y="223"/>
                    </a:lnTo>
                    <a:lnTo>
                      <a:pt x="100" y="224"/>
                    </a:lnTo>
                    <a:lnTo>
                      <a:pt x="102" y="224"/>
                    </a:lnTo>
                    <a:lnTo>
                      <a:pt x="103" y="224"/>
                    </a:lnTo>
                    <a:lnTo>
                      <a:pt x="109" y="227"/>
                    </a:lnTo>
                    <a:lnTo>
                      <a:pt x="130" y="228"/>
                    </a:lnTo>
                    <a:lnTo>
                      <a:pt x="132" y="227"/>
                    </a:lnTo>
                    <a:lnTo>
                      <a:pt x="132" y="227"/>
                    </a:lnTo>
                    <a:lnTo>
                      <a:pt x="133" y="224"/>
                    </a:lnTo>
                    <a:lnTo>
                      <a:pt x="136" y="223"/>
                    </a:lnTo>
                    <a:lnTo>
                      <a:pt x="139" y="221"/>
                    </a:lnTo>
                    <a:lnTo>
                      <a:pt x="142" y="220"/>
                    </a:lnTo>
                    <a:lnTo>
                      <a:pt x="145" y="220"/>
                    </a:lnTo>
                    <a:lnTo>
                      <a:pt x="145" y="146"/>
                    </a:lnTo>
                    <a:lnTo>
                      <a:pt x="145" y="93"/>
                    </a:lnTo>
                    <a:lnTo>
                      <a:pt x="162" y="93"/>
                    </a:lnTo>
                    <a:lnTo>
                      <a:pt x="162" y="93"/>
                    </a:lnTo>
                    <a:lnTo>
                      <a:pt x="162" y="24"/>
                    </a:lnTo>
                    <a:lnTo>
                      <a:pt x="163" y="24"/>
                    </a:lnTo>
                    <a:lnTo>
                      <a:pt x="172" y="24"/>
                    </a:lnTo>
                    <a:lnTo>
                      <a:pt x="196" y="19"/>
                    </a:lnTo>
                    <a:lnTo>
                      <a:pt x="201" y="19"/>
                    </a:lnTo>
                    <a:lnTo>
                      <a:pt x="204" y="20"/>
                    </a:lnTo>
                    <a:lnTo>
                      <a:pt x="207" y="23"/>
                    </a:lnTo>
                    <a:lnTo>
                      <a:pt x="208" y="26"/>
                    </a:lnTo>
                    <a:lnTo>
                      <a:pt x="209" y="27"/>
                    </a:lnTo>
                    <a:lnTo>
                      <a:pt x="212" y="24"/>
                    </a:lnTo>
                    <a:lnTo>
                      <a:pt x="215" y="23"/>
                    </a:lnTo>
                    <a:lnTo>
                      <a:pt x="218" y="21"/>
                    </a:lnTo>
                    <a:lnTo>
                      <a:pt x="219" y="20"/>
                    </a:lnTo>
                    <a:lnTo>
                      <a:pt x="224" y="19"/>
                    </a:lnTo>
                    <a:lnTo>
                      <a:pt x="224" y="19"/>
                    </a:lnTo>
                    <a:lnTo>
                      <a:pt x="225" y="19"/>
                    </a:lnTo>
                    <a:lnTo>
                      <a:pt x="225" y="19"/>
                    </a:lnTo>
                    <a:lnTo>
                      <a:pt x="227" y="19"/>
                    </a:lnTo>
                    <a:lnTo>
                      <a:pt x="227" y="19"/>
                    </a:lnTo>
                    <a:lnTo>
                      <a:pt x="228" y="17"/>
                    </a:lnTo>
                    <a:lnTo>
                      <a:pt x="230" y="16"/>
                    </a:lnTo>
                    <a:lnTo>
                      <a:pt x="231" y="16"/>
                    </a:lnTo>
                    <a:lnTo>
                      <a:pt x="234" y="16"/>
                    </a:lnTo>
                    <a:lnTo>
                      <a:pt x="235" y="14"/>
                    </a:lnTo>
                    <a:lnTo>
                      <a:pt x="238" y="14"/>
                    </a:lnTo>
                    <a:lnTo>
                      <a:pt x="231" y="10"/>
                    </a:lnTo>
                    <a:lnTo>
                      <a:pt x="222" y="10"/>
                    </a:lnTo>
                    <a:lnTo>
                      <a:pt x="214" y="10"/>
                    </a:lnTo>
                    <a:lnTo>
                      <a:pt x="205" y="13"/>
                    </a:lnTo>
                    <a:lnTo>
                      <a:pt x="174" y="19"/>
                    </a:lnTo>
                    <a:lnTo>
                      <a:pt x="158" y="19"/>
                    </a:lnTo>
                    <a:lnTo>
                      <a:pt x="149" y="17"/>
                    </a:lnTo>
                    <a:lnTo>
                      <a:pt x="126" y="16"/>
                    </a:lnTo>
                    <a:lnTo>
                      <a:pt x="125" y="14"/>
                    </a:lnTo>
                    <a:lnTo>
                      <a:pt x="122" y="13"/>
                    </a:lnTo>
                    <a:lnTo>
                      <a:pt x="120" y="10"/>
                    </a:lnTo>
                    <a:lnTo>
                      <a:pt x="118" y="8"/>
                    </a:lnTo>
                    <a:lnTo>
                      <a:pt x="118" y="7"/>
                    </a:lnTo>
                    <a:lnTo>
                      <a:pt x="47" y="7"/>
                    </a:lnTo>
                    <a:lnTo>
                      <a:pt x="40" y="7"/>
                    </a:lnTo>
                    <a:lnTo>
                      <a:pt x="36" y="6"/>
                    </a:lnTo>
                    <a:lnTo>
                      <a:pt x="31" y="3"/>
                    </a:lnTo>
                    <a:lnTo>
                      <a:pt x="28" y="1"/>
                    </a:lnTo>
                    <a:lnTo>
                      <a:pt x="24" y="0"/>
                    </a:lnTo>
                    <a:lnTo>
                      <a:pt x="18" y="1"/>
                    </a:lnTo>
                    <a:lnTo>
                      <a:pt x="17" y="3"/>
                    </a:lnTo>
                    <a:lnTo>
                      <a:pt x="14" y="4"/>
                    </a:lnTo>
                    <a:lnTo>
                      <a:pt x="11" y="4"/>
                    </a:lnTo>
                    <a:lnTo>
                      <a:pt x="10" y="4"/>
                    </a:lnTo>
                    <a:lnTo>
                      <a:pt x="8" y="4"/>
                    </a:lnTo>
                    <a:lnTo>
                      <a:pt x="5" y="4"/>
                    </a:lnTo>
                    <a:lnTo>
                      <a:pt x="4" y="3"/>
                    </a:lnTo>
                    <a:lnTo>
                      <a:pt x="4" y="4"/>
                    </a:lnTo>
                    <a:lnTo>
                      <a:pt x="1" y="4"/>
                    </a:lnTo>
                    <a:lnTo>
                      <a:pt x="0" y="6"/>
                    </a:lnTo>
                    <a:lnTo>
                      <a:pt x="0" y="13"/>
                    </a:lnTo>
                    <a:lnTo>
                      <a:pt x="1" y="20"/>
                    </a:lnTo>
                    <a:lnTo>
                      <a:pt x="4" y="26"/>
                    </a:lnTo>
                    <a:lnTo>
                      <a:pt x="14" y="37"/>
                    </a:lnTo>
                    <a:lnTo>
                      <a:pt x="26" y="62"/>
                    </a:lnTo>
                    <a:lnTo>
                      <a:pt x="28" y="69"/>
                    </a:lnTo>
                    <a:lnTo>
                      <a:pt x="30" y="73"/>
                    </a:lnTo>
                    <a:lnTo>
                      <a:pt x="46" y="98"/>
                    </a:lnTo>
                    <a:lnTo>
                      <a:pt x="49" y="105"/>
                    </a:lnTo>
                    <a:lnTo>
                      <a:pt x="49" y="110"/>
                    </a:lnTo>
                    <a:lnTo>
                      <a:pt x="47" y="110"/>
                    </a:lnTo>
                    <a:lnTo>
                      <a:pt x="47" y="113"/>
                    </a:lnTo>
                    <a:lnTo>
                      <a:pt x="49" y="125"/>
                    </a:lnTo>
                    <a:lnTo>
                      <a:pt x="49" y="133"/>
                    </a:lnTo>
                    <a:lnTo>
                      <a:pt x="49" y="138"/>
                    </a:lnTo>
                    <a:lnTo>
                      <a:pt x="53" y="148"/>
                    </a:lnTo>
                    <a:lnTo>
                      <a:pt x="54" y="152"/>
                    </a:lnTo>
                    <a:lnTo>
                      <a:pt x="54" y="159"/>
                    </a:lnTo>
                    <a:lnTo>
                      <a:pt x="57" y="175"/>
                    </a:lnTo>
                    <a:lnTo>
                      <a:pt x="57" y="178"/>
                    </a:lnTo>
                    <a:lnTo>
                      <a:pt x="59" y="181"/>
                    </a:lnTo>
                    <a:lnTo>
                      <a:pt x="59" y="182"/>
                    </a:lnTo>
                    <a:lnTo>
                      <a:pt x="60" y="187"/>
                    </a:lnTo>
                    <a:lnTo>
                      <a:pt x="62" y="194"/>
                    </a:lnTo>
                    <a:lnTo>
                      <a:pt x="63" y="198"/>
                    </a:lnTo>
                    <a:lnTo>
                      <a:pt x="67" y="205"/>
                    </a:lnTo>
                    <a:lnTo>
                      <a:pt x="72" y="211"/>
                    </a:lnTo>
                    <a:lnTo>
                      <a:pt x="77" y="217"/>
                    </a:lnTo>
                    <a:lnTo>
                      <a:pt x="83" y="223"/>
                    </a:lnTo>
                    <a:lnTo>
                      <a:pt x="84" y="221"/>
                    </a:lnTo>
                    <a:lnTo>
                      <a:pt x="87" y="22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92" name="Freeform 179">
                <a:extLst>
                  <a:ext uri="{FF2B5EF4-FFF2-40B4-BE49-F238E27FC236}">
                    <a16:creationId xmlns:a16="http://schemas.microsoft.com/office/drawing/2014/main" id="{EE2A70F2-6913-0D3B-9D58-C1C349FB93D1}"/>
                  </a:ext>
                </a:extLst>
              </p:cNvPr>
              <p:cNvSpPr>
                <a:spLocks/>
              </p:cNvSpPr>
              <p:nvPr/>
            </p:nvSpPr>
            <p:spPr bwMode="auto">
              <a:xfrm>
                <a:off x="3701" y="2677"/>
                <a:ext cx="102" cy="110"/>
              </a:xfrm>
              <a:custGeom>
                <a:avLst/>
                <a:gdLst>
                  <a:gd name="T0" fmla="*/ 46 w 102"/>
                  <a:gd name="T1" fmla="*/ 104 h 110"/>
                  <a:gd name="T2" fmla="*/ 50 w 102"/>
                  <a:gd name="T3" fmla="*/ 104 h 110"/>
                  <a:gd name="T4" fmla="*/ 53 w 102"/>
                  <a:gd name="T5" fmla="*/ 105 h 110"/>
                  <a:gd name="T6" fmla="*/ 56 w 102"/>
                  <a:gd name="T7" fmla="*/ 105 h 110"/>
                  <a:gd name="T8" fmla="*/ 54 w 102"/>
                  <a:gd name="T9" fmla="*/ 104 h 110"/>
                  <a:gd name="T10" fmla="*/ 56 w 102"/>
                  <a:gd name="T11" fmla="*/ 98 h 110"/>
                  <a:gd name="T12" fmla="*/ 53 w 102"/>
                  <a:gd name="T13" fmla="*/ 95 h 110"/>
                  <a:gd name="T14" fmla="*/ 50 w 102"/>
                  <a:gd name="T15" fmla="*/ 91 h 110"/>
                  <a:gd name="T16" fmla="*/ 50 w 102"/>
                  <a:gd name="T17" fmla="*/ 82 h 110"/>
                  <a:gd name="T18" fmla="*/ 61 w 102"/>
                  <a:gd name="T19" fmla="*/ 82 h 110"/>
                  <a:gd name="T20" fmla="*/ 66 w 102"/>
                  <a:gd name="T21" fmla="*/ 81 h 110"/>
                  <a:gd name="T22" fmla="*/ 66 w 102"/>
                  <a:gd name="T23" fmla="*/ 75 h 110"/>
                  <a:gd name="T24" fmla="*/ 74 w 102"/>
                  <a:gd name="T25" fmla="*/ 79 h 110"/>
                  <a:gd name="T26" fmla="*/ 81 w 102"/>
                  <a:gd name="T27" fmla="*/ 82 h 110"/>
                  <a:gd name="T28" fmla="*/ 87 w 102"/>
                  <a:gd name="T29" fmla="*/ 79 h 110"/>
                  <a:gd name="T30" fmla="*/ 90 w 102"/>
                  <a:gd name="T31" fmla="*/ 82 h 110"/>
                  <a:gd name="T32" fmla="*/ 90 w 102"/>
                  <a:gd name="T33" fmla="*/ 84 h 110"/>
                  <a:gd name="T34" fmla="*/ 93 w 102"/>
                  <a:gd name="T35" fmla="*/ 84 h 110"/>
                  <a:gd name="T36" fmla="*/ 96 w 102"/>
                  <a:gd name="T37" fmla="*/ 82 h 110"/>
                  <a:gd name="T38" fmla="*/ 100 w 102"/>
                  <a:gd name="T39" fmla="*/ 72 h 110"/>
                  <a:gd name="T40" fmla="*/ 100 w 102"/>
                  <a:gd name="T41" fmla="*/ 62 h 110"/>
                  <a:gd name="T42" fmla="*/ 102 w 102"/>
                  <a:gd name="T43" fmla="*/ 52 h 110"/>
                  <a:gd name="T44" fmla="*/ 96 w 102"/>
                  <a:gd name="T45" fmla="*/ 48 h 110"/>
                  <a:gd name="T46" fmla="*/ 90 w 102"/>
                  <a:gd name="T47" fmla="*/ 42 h 110"/>
                  <a:gd name="T48" fmla="*/ 92 w 102"/>
                  <a:gd name="T49" fmla="*/ 33 h 110"/>
                  <a:gd name="T50" fmla="*/ 97 w 102"/>
                  <a:gd name="T51" fmla="*/ 30 h 110"/>
                  <a:gd name="T52" fmla="*/ 100 w 102"/>
                  <a:gd name="T53" fmla="*/ 25 h 110"/>
                  <a:gd name="T54" fmla="*/ 97 w 102"/>
                  <a:gd name="T55" fmla="*/ 19 h 110"/>
                  <a:gd name="T56" fmla="*/ 83 w 102"/>
                  <a:gd name="T57" fmla="*/ 19 h 110"/>
                  <a:gd name="T58" fmla="*/ 79 w 102"/>
                  <a:gd name="T59" fmla="*/ 15 h 110"/>
                  <a:gd name="T60" fmla="*/ 79 w 102"/>
                  <a:gd name="T61" fmla="*/ 9 h 110"/>
                  <a:gd name="T62" fmla="*/ 76 w 102"/>
                  <a:gd name="T63" fmla="*/ 0 h 110"/>
                  <a:gd name="T64" fmla="*/ 46 w 102"/>
                  <a:gd name="T65" fmla="*/ 0 h 110"/>
                  <a:gd name="T66" fmla="*/ 46 w 102"/>
                  <a:gd name="T67" fmla="*/ 23 h 110"/>
                  <a:gd name="T68" fmla="*/ 20 w 102"/>
                  <a:gd name="T69" fmla="*/ 23 h 110"/>
                  <a:gd name="T70" fmla="*/ 17 w 102"/>
                  <a:gd name="T71" fmla="*/ 22 h 110"/>
                  <a:gd name="T72" fmla="*/ 15 w 102"/>
                  <a:gd name="T73" fmla="*/ 26 h 110"/>
                  <a:gd name="T74" fmla="*/ 15 w 102"/>
                  <a:gd name="T75" fmla="*/ 30 h 110"/>
                  <a:gd name="T76" fmla="*/ 13 w 102"/>
                  <a:gd name="T77" fmla="*/ 29 h 110"/>
                  <a:gd name="T78" fmla="*/ 13 w 102"/>
                  <a:gd name="T79" fmla="*/ 33 h 110"/>
                  <a:gd name="T80" fmla="*/ 18 w 102"/>
                  <a:gd name="T81" fmla="*/ 36 h 110"/>
                  <a:gd name="T82" fmla="*/ 21 w 102"/>
                  <a:gd name="T83" fmla="*/ 38 h 110"/>
                  <a:gd name="T84" fmla="*/ 18 w 102"/>
                  <a:gd name="T85" fmla="*/ 39 h 110"/>
                  <a:gd name="T86" fmla="*/ 13 w 102"/>
                  <a:gd name="T87" fmla="*/ 36 h 110"/>
                  <a:gd name="T88" fmla="*/ 10 w 102"/>
                  <a:gd name="T89" fmla="*/ 46 h 110"/>
                  <a:gd name="T90" fmla="*/ 4 w 102"/>
                  <a:gd name="T91" fmla="*/ 52 h 110"/>
                  <a:gd name="T92" fmla="*/ 4 w 102"/>
                  <a:gd name="T93" fmla="*/ 61 h 110"/>
                  <a:gd name="T94" fmla="*/ 10 w 102"/>
                  <a:gd name="T95" fmla="*/ 66 h 110"/>
                  <a:gd name="T96" fmla="*/ 14 w 102"/>
                  <a:gd name="T97" fmla="*/ 69 h 110"/>
                  <a:gd name="T98" fmla="*/ 5 w 102"/>
                  <a:gd name="T99" fmla="*/ 64 h 110"/>
                  <a:gd name="T100" fmla="*/ 10 w 102"/>
                  <a:gd name="T101" fmla="*/ 72 h 110"/>
                  <a:gd name="T102" fmla="*/ 13 w 102"/>
                  <a:gd name="T103" fmla="*/ 74 h 110"/>
                  <a:gd name="T104" fmla="*/ 11 w 102"/>
                  <a:gd name="T105" fmla="*/ 75 h 110"/>
                  <a:gd name="T106" fmla="*/ 15 w 102"/>
                  <a:gd name="T107" fmla="*/ 81 h 110"/>
                  <a:gd name="T108" fmla="*/ 24 w 102"/>
                  <a:gd name="T109" fmla="*/ 85 h 110"/>
                  <a:gd name="T110" fmla="*/ 18 w 102"/>
                  <a:gd name="T111" fmla="*/ 85 h 110"/>
                  <a:gd name="T112" fmla="*/ 28 w 102"/>
                  <a:gd name="T113" fmla="*/ 94 h 110"/>
                  <a:gd name="T114" fmla="*/ 43 w 102"/>
                  <a:gd name="T11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 h="110">
                    <a:moveTo>
                      <a:pt x="44" y="107"/>
                    </a:moveTo>
                    <a:lnTo>
                      <a:pt x="44" y="105"/>
                    </a:lnTo>
                    <a:lnTo>
                      <a:pt x="46" y="104"/>
                    </a:lnTo>
                    <a:lnTo>
                      <a:pt x="47" y="102"/>
                    </a:lnTo>
                    <a:lnTo>
                      <a:pt x="48" y="102"/>
                    </a:lnTo>
                    <a:lnTo>
                      <a:pt x="50" y="104"/>
                    </a:lnTo>
                    <a:lnTo>
                      <a:pt x="51" y="104"/>
                    </a:lnTo>
                    <a:lnTo>
                      <a:pt x="51" y="105"/>
                    </a:lnTo>
                    <a:lnTo>
                      <a:pt x="53" y="105"/>
                    </a:lnTo>
                    <a:lnTo>
                      <a:pt x="54" y="107"/>
                    </a:lnTo>
                    <a:lnTo>
                      <a:pt x="54" y="105"/>
                    </a:lnTo>
                    <a:lnTo>
                      <a:pt x="56" y="105"/>
                    </a:lnTo>
                    <a:lnTo>
                      <a:pt x="56" y="104"/>
                    </a:lnTo>
                    <a:lnTo>
                      <a:pt x="54" y="104"/>
                    </a:lnTo>
                    <a:lnTo>
                      <a:pt x="54" y="104"/>
                    </a:lnTo>
                    <a:lnTo>
                      <a:pt x="56" y="101"/>
                    </a:lnTo>
                    <a:lnTo>
                      <a:pt x="56" y="99"/>
                    </a:lnTo>
                    <a:lnTo>
                      <a:pt x="56" y="98"/>
                    </a:lnTo>
                    <a:lnTo>
                      <a:pt x="53" y="98"/>
                    </a:lnTo>
                    <a:lnTo>
                      <a:pt x="53" y="97"/>
                    </a:lnTo>
                    <a:lnTo>
                      <a:pt x="53" y="95"/>
                    </a:lnTo>
                    <a:lnTo>
                      <a:pt x="53" y="92"/>
                    </a:lnTo>
                    <a:lnTo>
                      <a:pt x="51" y="91"/>
                    </a:lnTo>
                    <a:lnTo>
                      <a:pt x="50" y="91"/>
                    </a:lnTo>
                    <a:lnTo>
                      <a:pt x="50" y="89"/>
                    </a:lnTo>
                    <a:lnTo>
                      <a:pt x="50" y="84"/>
                    </a:lnTo>
                    <a:lnTo>
                      <a:pt x="50" y="82"/>
                    </a:lnTo>
                    <a:lnTo>
                      <a:pt x="51" y="82"/>
                    </a:lnTo>
                    <a:lnTo>
                      <a:pt x="57" y="82"/>
                    </a:lnTo>
                    <a:lnTo>
                      <a:pt x="61" y="82"/>
                    </a:lnTo>
                    <a:lnTo>
                      <a:pt x="63" y="82"/>
                    </a:lnTo>
                    <a:lnTo>
                      <a:pt x="66" y="82"/>
                    </a:lnTo>
                    <a:lnTo>
                      <a:pt x="66" y="81"/>
                    </a:lnTo>
                    <a:lnTo>
                      <a:pt x="66" y="78"/>
                    </a:lnTo>
                    <a:lnTo>
                      <a:pt x="66" y="76"/>
                    </a:lnTo>
                    <a:lnTo>
                      <a:pt x="66" y="75"/>
                    </a:lnTo>
                    <a:lnTo>
                      <a:pt x="67" y="72"/>
                    </a:lnTo>
                    <a:lnTo>
                      <a:pt x="71" y="75"/>
                    </a:lnTo>
                    <a:lnTo>
                      <a:pt x="74" y="79"/>
                    </a:lnTo>
                    <a:lnTo>
                      <a:pt x="77" y="82"/>
                    </a:lnTo>
                    <a:lnTo>
                      <a:pt x="80" y="82"/>
                    </a:lnTo>
                    <a:lnTo>
                      <a:pt x="81" y="82"/>
                    </a:lnTo>
                    <a:lnTo>
                      <a:pt x="84" y="82"/>
                    </a:lnTo>
                    <a:lnTo>
                      <a:pt x="86" y="81"/>
                    </a:lnTo>
                    <a:lnTo>
                      <a:pt x="87" y="79"/>
                    </a:lnTo>
                    <a:lnTo>
                      <a:pt x="89" y="79"/>
                    </a:lnTo>
                    <a:lnTo>
                      <a:pt x="89" y="79"/>
                    </a:lnTo>
                    <a:lnTo>
                      <a:pt x="90" y="82"/>
                    </a:lnTo>
                    <a:lnTo>
                      <a:pt x="92" y="82"/>
                    </a:lnTo>
                    <a:lnTo>
                      <a:pt x="90" y="84"/>
                    </a:lnTo>
                    <a:lnTo>
                      <a:pt x="90" y="84"/>
                    </a:lnTo>
                    <a:lnTo>
                      <a:pt x="92" y="84"/>
                    </a:lnTo>
                    <a:lnTo>
                      <a:pt x="93" y="85"/>
                    </a:lnTo>
                    <a:lnTo>
                      <a:pt x="93" y="84"/>
                    </a:lnTo>
                    <a:lnTo>
                      <a:pt x="94" y="84"/>
                    </a:lnTo>
                    <a:lnTo>
                      <a:pt x="94" y="84"/>
                    </a:lnTo>
                    <a:lnTo>
                      <a:pt x="96" y="82"/>
                    </a:lnTo>
                    <a:lnTo>
                      <a:pt x="96" y="79"/>
                    </a:lnTo>
                    <a:lnTo>
                      <a:pt x="97" y="76"/>
                    </a:lnTo>
                    <a:lnTo>
                      <a:pt x="100" y="72"/>
                    </a:lnTo>
                    <a:lnTo>
                      <a:pt x="100" y="71"/>
                    </a:lnTo>
                    <a:lnTo>
                      <a:pt x="100" y="69"/>
                    </a:lnTo>
                    <a:lnTo>
                      <a:pt x="100" y="62"/>
                    </a:lnTo>
                    <a:lnTo>
                      <a:pt x="100" y="59"/>
                    </a:lnTo>
                    <a:lnTo>
                      <a:pt x="102" y="53"/>
                    </a:lnTo>
                    <a:lnTo>
                      <a:pt x="102" y="52"/>
                    </a:lnTo>
                    <a:lnTo>
                      <a:pt x="100" y="51"/>
                    </a:lnTo>
                    <a:lnTo>
                      <a:pt x="99" y="49"/>
                    </a:lnTo>
                    <a:lnTo>
                      <a:pt x="96" y="48"/>
                    </a:lnTo>
                    <a:lnTo>
                      <a:pt x="92" y="45"/>
                    </a:lnTo>
                    <a:lnTo>
                      <a:pt x="92" y="43"/>
                    </a:lnTo>
                    <a:lnTo>
                      <a:pt x="90" y="42"/>
                    </a:lnTo>
                    <a:lnTo>
                      <a:pt x="90" y="39"/>
                    </a:lnTo>
                    <a:lnTo>
                      <a:pt x="92" y="36"/>
                    </a:lnTo>
                    <a:lnTo>
                      <a:pt x="92" y="33"/>
                    </a:lnTo>
                    <a:lnTo>
                      <a:pt x="94" y="32"/>
                    </a:lnTo>
                    <a:lnTo>
                      <a:pt x="96" y="30"/>
                    </a:lnTo>
                    <a:lnTo>
                      <a:pt x="97" y="30"/>
                    </a:lnTo>
                    <a:lnTo>
                      <a:pt x="99" y="29"/>
                    </a:lnTo>
                    <a:lnTo>
                      <a:pt x="100" y="26"/>
                    </a:lnTo>
                    <a:lnTo>
                      <a:pt x="100" y="25"/>
                    </a:lnTo>
                    <a:lnTo>
                      <a:pt x="100" y="23"/>
                    </a:lnTo>
                    <a:lnTo>
                      <a:pt x="99" y="20"/>
                    </a:lnTo>
                    <a:lnTo>
                      <a:pt x="97" y="19"/>
                    </a:lnTo>
                    <a:lnTo>
                      <a:pt x="93" y="16"/>
                    </a:lnTo>
                    <a:lnTo>
                      <a:pt x="87" y="18"/>
                    </a:lnTo>
                    <a:lnTo>
                      <a:pt x="83" y="19"/>
                    </a:lnTo>
                    <a:lnTo>
                      <a:pt x="79" y="18"/>
                    </a:lnTo>
                    <a:lnTo>
                      <a:pt x="79" y="16"/>
                    </a:lnTo>
                    <a:lnTo>
                      <a:pt x="79" y="15"/>
                    </a:lnTo>
                    <a:lnTo>
                      <a:pt x="79" y="13"/>
                    </a:lnTo>
                    <a:lnTo>
                      <a:pt x="79" y="12"/>
                    </a:lnTo>
                    <a:lnTo>
                      <a:pt x="79" y="9"/>
                    </a:lnTo>
                    <a:lnTo>
                      <a:pt x="80" y="5"/>
                    </a:lnTo>
                    <a:lnTo>
                      <a:pt x="80" y="3"/>
                    </a:lnTo>
                    <a:lnTo>
                      <a:pt x="76" y="0"/>
                    </a:lnTo>
                    <a:lnTo>
                      <a:pt x="64" y="0"/>
                    </a:lnTo>
                    <a:lnTo>
                      <a:pt x="46" y="0"/>
                    </a:lnTo>
                    <a:lnTo>
                      <a:pt x="46" y="0"/>
                    </a:lnTo>
                    <a:lnTo>
                      <a:pt x="46" y="2"/>
                    </a:lnTo>
                    <a:lnTo>
                      <a:pt x="46" y="2"/>
                    </a:lnTo>
                    <a:lnTo>
                      <a:pt x="46" y="23"/>
                    </a:lnTo>
                    <a:lnTo>
                      <a:pt x="23" y="23"/>
                    </a:lnTo>
                    <a:lnTo>
                      <a:pt x="21" y="23"/>
                    </a:lnTo>
                    <a:lnTo>
                      <a:pt x="20" y="23"/>
                    </a:lnTo>
                    <a:lnTo>
                      <a:pt x="18" y="23"/>
                    </a:lnTo>
                    <a:lnTo>
                      <a:pt x="17" y="22"/>
                    </a:lnTo>
                    <a:lnTo>
                      <a:pt x="17" y="22"/>
                    </a:lnTo>
                    <a:lnTo>
                      <a:pt x="15" y="22"/>
                    </a:lnTo>
                    <a:lnTo>
                      <a:pt x="15" y="25"/>
                    </a:lnTo>
                    <a:lnTo>
                      <a:pt x="15" y="26"/>
                    </a:lnTo>
                    <a:lnTo>
                      <a:pt x="15" y="28"/>
                    </a:lnTo>
                    <a:lnTo>
                      <a:pt x="15" y="30"/>
                    </a:lnTo>
                    <a:lnTo>
                      <a:pt x="15" y="30"/>
                    </a:lnTo>
                    <a:lnTo>
                      <a:pt x="14" y="29"/>
                    </a:lnTo>
                    <a:lnTo>
                      <a:pt x="14" y="29"/>
                    </a:lnTo>
                    <a:lnTo>
                      <a:pt x="13" y="29"/>
                    </a:lnTo>
                    <a:lnTo>
                      <a:pt x="11" y="30"/>
                    </a:lnTo>
                    <a:lnTo>
                      <a:pt x="11" y="32"/>
                    </a:lnTo>
                    <a:lnTo>
                      <a:pt x="13" y="33"/>
                    </a:lnTo>
                    <a:lnTo>
                      <a:pt x="14" y="35"/>
                    </a:lnTo>
                    <a:lnTo>
                      <a:pt x="15" y="36"/>
                    </a:lnTo>
                    <a:lnTo>
                      <a:pt x="18" y="36"/>
                    </a:lnTo>
                    <a:lnTo>
                      <a:pt x="20" y="36"/>
                    </a:lnTo>
                    <a:lnTo>
                      <a:pt x="23" y="38"/>
                    </a:lnTo>
                    <a:lnTo>
                      <a:pt x="21" y="38"/>
                    </a:lnTo>
                    <a:lnTo>
                      <a:pt x="20" y="38"/>
                    </a:lnTo>
                    <a:lnTo>
                      <a:pt x="20" y="39"/>
                    </a:lnTo>
                    <a:lnTo>
                      <a:pt x="18" y="39"/>
                    </a:lnTo>
                    <a:lnTo>
                      <a:pt x="17" y="39"/>
                    </a:lnTo>
                    <a:lnTo>
                      <a:pt x="14" y="38"/>
                    </a:lnTo>
                    <a:lnTo>
                      <a:pt x="13" y="36"/>
                    </a:lnTo>
                    <a:lnTo>
                      <a:pt x="11" y="35"/>
                    </a:lnTo>
                    <a:lnTo>
                      <a:pt x="10" y="38"/>
                    </a:lnTo>
                    <a:lnTo>
                      <a:pt x="10" y="46"/>
                    </a:lnTo>
                    <a:lnTo>
                      <a:pt x="8" y="49"/>
                    </a:lnTo>
                    <a:lnTo>
                      <a:pt x="5" y="52"/>
                    </a:lnTo>
                    <a:lnTo>
                      <a:pt x="4" y="52"/>
                    </a:lnTo>
                    <a:lnTo>
                      <a:pt x="1" y="52"/>
                    </a:lnTo>
                    <a:lnTo>
                      <a:pt x="0" y="51"/>
                    </a:lnTo>
                    <a:lnTo>
                      <a:pt x="4" y="61"/>
                    </a:lnTo>
                    <a:lnTo>
                      <a:pt x="7" y="64"/>
                    </a:lnTo>
                    <a:lnTo>
                      <a:pt x="11" y="64"/>
                    </a:lnTo>
                    <a:lnTo>
                      <a:pt x="10" y="66"/>
                    </a:lnTo>
                    <a:lnTo>
                      <a:pt x="11" y="68"/>
                    </a:lnTo>
                    <a:lnTo>
                      <a:pt x="13" y="68"/>
                    </a:lnTo>
                    <a:lnTo>
                      <a:pt x="14" y="69"/>
                    </a:lnTo>
                    <a:lnTo>
                      <a:pt x="11" y="69"/>
                    </a:lnTo>
                    <a:lnTo>
                      <a:pt x="10" y="68"/>
                    </a:lnTo>
                    <a:lnTo>
                      <a:pt x="5" y="64"/>
                    </a:lnTo>
                    <a:lnTo>
                      <a:pt x="5" y="65"/>
                    </a:lnTo>
                    <a:lnTo>
                      <a:pt x="8" y="71"/>
                    </a:lnTo>
                    <a:lnTo>
                      <a:pt x="10" y="72"/>
                    </a:lnTo>
                    <a:lnTo>
                      <a:pt x="10" y="72"/>
                    </a:lnTo>
                    <a:lnTo>
                      <a:pt x="11" y="74"/>
                    </a:lnTo>
                    <a:lnTo>
                      <a:pt x="13" y="74"/>
                    </a:lnTo>
                    <a:lnTo>
                      <a:pt x="13" y="75"/>
                    </a:lnTo>
                    <a:lnTo>
                      <a:pt x="13" y="75"/>
                    </a:lnTo>
                    <a:lnTo>
                      <a:pt x="11" y="75"/>
                    </a:lnTo>
                    <a:lnTo>
                      <a:pt x="10" y="74"/>
                    </a:lnTo>
                    <a:lnTo>
                      <a:pt x="14" y="79"/>
                    </a:lnTo>
                    <a:lnTo>
                      <a:pt x="15" y="81"/>
                    </a:lnTo>
                    <a:lnTo>
                      <a:pt x="17" y="82"/>
                    </a:lnTo>
                    <a:lnTo>
                      <a:pt x="21" y="84"/>
                    </a:lnTo>
                    <a:lnTo>
                      <a:pt x="24" y="85"/>
                    </a:lnTo>
                    <a:lnTo>
                      <a:pt x="23" y="87"/>
                    </a:lnTo>
                    <a:lnTo>
                      <a:pt x="21" y="85"/>
                    </a:lnTo>
                    <a:lnTo>
                      <a:pt x="18" y="85"/>
                    </a:lnTo>
                    <a:lnTo>
                      <a:pt x="17" y="84"/>
                    </a:lnTo>
                    <a:lnTo>
                      <a:pt x="21" y="88"/>
                    </a:lnTo>
                    <a:lnTo>
                      <a:pt x="28" y="94"/>
                    </a:lnTo>
                    <a:lnTo>
                      <a:pt x="38" y="105"/>
                    </a:lnTo>
                    <a:lnTo>
                      <a:pt x="41" y="108"/>
                    </a:lnTo>
                    <a:lnTo>
                      <a:pt x="43" y="110"/>
                    </a:lnTo>
                    <a:lnTo>
                      <a:pt x="43" y="108"/>
                    </a:lnTo>
                    <a:lnTo>
                      <a:pt x="44" y="10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93" name="Freeform 180">
                <a:extLst>
                  <a:ext uri="{FF2B5EF4-FFF2-40B4-BE49-F238E27FC236}">
                    <a16:creationId xmlns:a16="http://schemas.microsoft.com/office/drawing/2014/main" id="{6FCF21D1-05B1-0C0B-F773-D220039D134C}"/>
                  </a:ext>
                </a:extLst>
              </p:cNvPr>
              <p:cNvSpPr>
                <a:spLocks noEditPoints="1"/>
              </p:cNvSpPr>
              <p:nvPr/>
            </p:nvSpPr>
            <p:spPr bwMode="auto">
              <a:xfrm>
                <a:off x="3754" y="2797"/>
                <a:ext cx="215" cy="243"/>
              </a:xfrm>
              <a:custGeom>
                <a:avLst/>
                <a:gdLst>
                  <a:gd name="T0" fmla="*/ 1 w 215"/>
                  <a:gd name="T1" fmla="*/ 212 h 243"/>
                  <a:gd name="T2" fmla="*/ 1 w 215"/>
                  <a:gd name="T3" fmla="*/ 202 h 243"/>
                  <a:gd name="T4" fmla="*/ 5 w 215"/>
                  <a:gd name="T5" fmla="*/ 195 h 243"/>
                  <a:gd name="T6" fmla="*/ 16 w 215"/>
                  <a:gd name="T7" fmla="*/ 158 h 243"/>
                  <a:gd name="T8" fmla="*/ 21 w 215"/>
                  <a:gd name="T9" fmla="*/ 151 h 243"/>
                  <a:gd name="T10" fmla="*/ 30 w 215"/>
                  <a:gd name="T11" fmla="*/ 142 h 243"/>
                  <a:gd name="T12" fmla="*/ 36 w 215"/>
                  <a:gd name="T13" fmla="*/ 132 h 243"/>
                  <a:gd name="T14" fmla="*/ 34 w 215"/>
                  <a:gd name="T15" fmla="*/ 109 h 243"/>
                  <a:gd name="T16" fmla="*/ 23 w 215"/>
                  <a:gd name="T17" fmla="*/ 84 h 243"/>
                  <a:gd name="T18" fmla="*/ 23 w 215"/>
                  <a:gd name="T19" fmla="*/ 79 h 243"/>
                  <a:gd name="T20" fmla="*/ 23 w 215"/>
                  <a:gd name="T21" fmla="*/ 80 h 243"/>
                  <a:gd name="T22" fmla="*/ 28 w 215"/>
                  <a:gd name="T23" fmla="*/ 70 h 243"/>
                  <a:gd name="T24" fmla="*/ 18 w 215"/>
                  <a:gd name="T25" fmla="*/ 44 h 243"/>
                  <a:gd name="T26" fmla="*/ 11 w 215"/>
                  <a:gd name="T27" fmla="*/ 33 h 243"/>
                  <a:gd name="T28" fmla="*/ 11 w 215"/>
                  <a:gd name="T29" fmla="*/ 28 h 243"/>
                  <a:gd name="T30" fmla="*/ 18 w 215"/>
                  <a:gd name="T31" fmla="*/ 25 h 243"/>
                  <a:gd name="T32" fmla="*/ 31 w 215"/>
                  <a:gd name="T33" fmla="*/ 23 h 243"/>
                  <a:gd name="T34" fmla="*/ 87 w 215"/>
                  <a:gd name="T35" fmla="*/ 33 h 243"/>
                  <a:gd name="T36" fmla="*/ 99 w 215"/>
                  <a:gd name="T37" fmla="*/ 60 h 243"/>
                  <a:gd name="T38" fmla="*/ 107 w 215"/>
                  <a:gd name="T39" fmla="*/ 64 h 243"/>
                  <a:gd name="T40" fmla="*/ 118 w 215"/>
                  <a:gd name="T41" fmla="*/ 61 h 243"/>
                  <a:gd name="T42" fmla="*/ 128 w 215"/>
                  <a:gd name="T43" fmla="*/ 61 h 243"/>
                  <a:gd name="T44" fmla="*/ 133 w 215"/>
                  <a:gd name="T45" fmla="*/ 61 h 243"/>
                  <a:gd name="T46" fmla="*/ 136 w 215"/>
                  <a:gd name="T47" fmla="*/ 50 h 243"/>
                  <a:gd name="T48" fmla="*/ 145 w 215"/>
                  <a:gd name="T49" fmla="*/ 44 h 243"/>
                  <a:gd name="T50" fmla="*/ 155 w 215"/>
                  <a:gd name="T51" fmla="*/ 44 h 243"/>
                  <a:gd name="T52" fmla="*/ 155 w 215"/>
                  <a:gd name="T53" fmla="*/ 47 h 243"/>
                  <a:gd name="T54" fmla="*/ 172 w 215"/>
                  <a:gd name="T55" fmla="*/ 48 h 243"/>
                  <a:gd name="T56" fmla="*/ 178 w 215"/>
                  <a:gd name="T57" fmla="*/ 54 h 243"/>
                  <a:gd name="T58" fmla="*/ 176 w 215"/>
                  <a:gd name="T59" fmla="*/ 64 h 243"/>
                  <a:gd name="T60" fmla="*/ 178 w 215"/>
                  <a:gd name="T61" fmla="*/ 74 h 243"/>
                  <a:gd name="T62" fmla="*/ 178 w 215"/>
                  <a:gd name="T63" fmla="*/ 92 h 243"/>
                  <a:gd name="T64" fmla="*/ 185 w 215"/>
                  <a:gd name="T65" fmla="*/ 103 h 243"/>
                  <a:gd name="T66" fmla="*/ 185 w 215"/>
                  <a:gd name="T67" fmla="*/ 112 h 243"/>
                  <a:gd name="T68" fmla="*/ 184 w 215"/>
                  <a:gd name="T69" fmla="*/ 113 h 243"/>
                  <a:gd name="T70" fmla="*/ 185 w 215"/>
                  <a:gd name="T71" fmla="*/ 117 h 243"/>
                  <a:gd name="T72" fmla="*/ 196 w 215"/>
                  <a:gd name="T73" fmla="*/ 117 h 243"/>
                  <a:gd name="T74" fmla="*/ 204 w 215"/>
                  <a:gd name="T75" fmla="*/ 116 h 243"/>
                  <a:gd name="T76" fmla="*/ 211 w 215"/>
                  <a:gd name="T77" fmla="*/ 116 h 243"/>
                  <a:gd name="T78" fmla="*/ 215 w 215"/>
                  <a:gd name="T79" fmla="*/ 117 h 243"/>
                  <a:gd name="T80" fmla="*/ 215 w 215"/>
                  <a:gd name="T81" fmla="*/ 139 h 243"/>
                  <a:gd name="T82" fmla="*/ 214 w 215"/>
                  <a:gd name="T83" fmla="*/ 148 h 243"/>
                  <a:gd name="T84" fmla="*/ 212 w 215"/>
                  <a:gd name="T85" fmla="*/ 152 h 243"/>
                  <a:gd name="T86" fmla="*/ 181 w 215"/>
                  <a:gd name="T87" fmla="*/ 205 h 243"/>
                  <a:gd name="T88" fmla="*/ 182 w 215"/>
                  <a:gd name="T89" fmla="*/ 214 h 243"/>
                  <a:gd name="T90" fmla="*/ 174 w 215"/>
                  <a:gd name="T91" fmla="*/ 243 h 243"/>
                  <a:gd name="T92" fmla="*/ 126 w 215"/>
                  <a:gd name="T93" fmla="*/ 240 h 243"/>
                  <a:gd name="T94" fmla="*/ 120 w 215"/>
                  <a:gd name="T95" fmla="*/ 234 h 243"/>
                  <a:gd name="T96" fmla="*/ 47 w 215"/>
                  <a:gd name="T97" fmla="*/ 231 h 243"/>
                  <a:gd name="T98" fmla="*/ 31 w 215"/>
                  <a:gd name="T99" fmla="*/ 227 h 243"/>
                  <a:gd name="T100" fmla="*/ 18 w 215"/>
                  <a:gd name="T101" fmla="*/ 225 h 243"/>
                  <a:gd name="T102" fmla="*/ 11 w 215"/>
                  <a:gd name="T103" fmla="*/ 228 h 243"/>
                  <a:gd name="T104" fmla="*/ 5 w 215"/>
                  <a:gd name="T105" fmla="*/ 228 h 243"/>
                  <a:gd name="T106" fmla="*/ 1 w 215"/>
                  <a:gd name="T107" fmla="*/ 228 h 243"/>
                  <a:gd name="T108" fmla="*/ 14 w 215"/>
                  <a:gd name="T109" fmla="*/ 17 h 243"/>
                  <a:gd name="T110" fmla="*/ 14 w 215"/>
                  <a:gd name="T111" fmla="*/ 10 h 243"/>
                  <a:gd name="T112" fmla="*/ 17 w 215"/>
                  <a:gd name="T113" fmla="*/ 5 h 243"/>
                  <a:gd name="T114" fmla="*/ 18 w 215"/>
                  <a:gd name="T115" fmla="*/ 0 h 243"/>
                  <a:gd name="T116" fmla="*/ 5 w 215"/>
                  <a:gd name="T117" fmla="*/ 8 h 243"/>
                  <a:gd name="T118" fmla="*/ 8 w 215"/>
                  <a:gd name="T119" fmla="*/ 15 h 243"/>
                  <a:gd name="T120" fmla="*/ 7 w 215"/>
                  <a:gd name="T121" fmla="*/ 20 h 243"/>
                  <a:gd name="T122" fmla="*/ 13 w 215"/>
                  <a:gd name="T123" fmla="*/ 21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5" h="243">
                    <a:moveTo>
                      <a:pt x="1" y="228"/>
                    </a:moveTo>
                    <a:lnTo>
                      <a:pt x="0" y="230"/>
                    </a:lnTo>
                    <a:lnTo>
                      <a:pt x="1" y="212"/>
                    </a:lnTo>
                    <a:lnTo>
                      <a:pt x="0" y="207"/>
                    </a:lnTo>
                    <a:lnTo>
                      <a:pt x="0" y="204"/>
                    </a:lnTo>
                    <a:lnTo>
                      <a:pt x="1" y="202"/>
                    </a:lnTo>
                    <a:lnTo>
                      <a:pt x="3" y="201"/>
                    </a:lnTo>
                    <a:lnTo>
                      <a:pt x="4" y="198"/>
                    </a:lnTo>
                    <a:lnTo>
                      <a:pt x="5" y="195"/>
                    </a:lnTo>
                    <a:lnTo>
                      <a:pt x="14" y="163"/>
                    </a:lnTo>
                    <a:lnTo>
                      <a:pt x="14" y="161"/>
                    </a:lnTo>
                    <a:lnTo>
                      <a:pt x="16" y="158"/>
                    </a:lnTo>
                    <a:lnTo>
                      <a:pt x="17" y="156"/>
                    </a:lnTo>
                    <a:lnTo>
                      <a:pt x="20" y="152"/>
                    </a:lnTo>
                    <a:lnTo>
                      <a:pt x="21" y="151"/>
                    </a:lnTo>
                    <a:lnTo>
                      <a:pt x="23" y="148"/>
                    </a:lnTo>
                    <a:lnTo>
                      <a:pt x="24" y="146"/>
                    </a:lnTo>
                    <a:lnTo>
                      <a:pt x="30" y="142"/>
                    </a:lnTo>
                    <a:lnTo>
                      <a:pt x="31" y="140"/>
                    </a:lnTo>
                    <a:lnTo>
                      <a:pt x="33" y="139"/>
                    </a:lnTo>
                    <a:lnTo>
                      <a:pt x="36" y="132"/>
                    </a:lnTo>
                    <a:lnTo>
                      <a:pt x="37" y="123"/>
                    </a:lnTo>
                    <a:lnTo>
                      <a:pt x="37" y="116"/>
                    </a:lnTo>
                    <a:lnTo>
                      <a:pt x="34" y="109"/>
                    </a:lnTo>
                    <a:lnTo>
                      <a:pt x="27" y="97"/>
                    </a:lnTo>
                    <a:lnTo>
                      <a:pt x="26" y="93"/>
                    </a:lnTo>
                    <a:lnTo>
                      <a:pt x="23" y="84"/>
                    </a:lnTo>
                    <a:lnTo>
                      <a:pt x="23" y="82"/>
                    </a:lnTo>
                    <a:lnTo>
                      <a:pt x="23" y="80"/>
                    </a:lnTo>
                    <a:lnTo>
                      <a:pt x="23" y="79"/>
                    </a:lnTo>
                    <a:lnTo>
                      <a:pt x="24" y="77"/>
                    </a:lnTo>
                    <a:lnTo>
                      <a:pt x="24" y="79"/>
                    </a:lnTo>
                    <a:lnTo>
                      <a:pt x="23" y="80"/>
                    </a:lnTo>
                    <a:lnTo>
                      <a:pt x="26" y="77"/>
                    </a:lnTo>
                    <a:lnTo>
                      <a:pt x="28" y="74"/>
                    </a:lnTo>
                    <a:lnTo>
                      <a:pt x="28" y="70"/>
                    </a:lnTo>
                    <a:lnTo>
                      <a:pt x="28" y="67"/>
                    </a:lnTo>
                    <a:lnTo>
                      <a:pt x="21" y="53"/>
                    </a:lnTo>
                    <a:lnTo>
                      <a:pt x="18" y="44"/>
                    </a:lnTo>
                    <a:lnTo>
                      <a:pt x="17" y="43"/>
                    </a:lnTo>
                    <a:lnTo>
                      <a:pt x="13" y="34"/>
                    </a:lnTo>
                    <a:lnTo>
                      <a:pt x="11" y="33"/>
                    </a:lnTo>
                    <a:lnTo>
                      <a:pt x="11" y="30"/>
                    </a:lnTo>
                    <a:lnTo>
                      <a:pt x="10" y="28"/>
                    </a:lnTo>
                    <a:lnTo>
                      <a:pt x="11" y="28"/>
                    </a:lnTo>
                    <a:lnTo>
                      <a:pt x="11" y="27"/>
                    </a:lnTo>
                    <a:lnTo>
                      <a:pt x="17" y="27"/>
                    </a:lnTo>
                    <a:lnTo>
                      <a:pt x="18" y="25"/>
                    </a:lnTo>
                    <a:lnTo>
                      <a:pt x="21" y="25"/>
                    </a:lnTo>
                    <a:lnTo>
                      <a:pt x="23" y="24"/>
                    </a:lnTo>
                    <a:lnTo>
                      <a:pt x="31" y="23"/>
                    </a:lnTo>
                    <a:lnTo>
                      <a:pt x="76" y="24"/>
                    </a:lnTo>
                    <a:lnTo>
                      <a:pt x="83" y="25"/>
                    </a:lnTo>
                    <a:lnTo>
                      <a:pt x="87" y="33"/>
                    </a:lnTo>
                    <a:lnTo>
                      <a:pt x="89" y="40"/>
                    </a:lnTo>
                    <a:lnTo>
                      <a:pt x="92" y="47"/>
                    </a:lnTo>
                    <a:lnTo>
                      <a:pt x="99" y="60"/>
                    </a:lnTo>
                    <a:lnTo>
                      <a:pt x="102" y="61"/>
                    </a:lnTo>
                    <a:lnTo>
                      <a:pt x="105" y="63"/>
                    </a:lnTo>
                    <a:lnTo>
                      <a:pt x="107" y="64"/>
                    </a:lnTo>
                    <a:lnTo>
                      <a:pt x="110" y="64"/>
                    </a:lnTo>
                    <a:lnTo>
                      <a:pt x="115" y="63"/>
                    </a:lnTo>
                    <a:lnTo>
                      <a:pt x="118" y="61"/>
                    </a:lnTo>
                    <a:lnTo>
                      <a:pt x="120" y="61"/>
                    </a:lnTo>
                    <a:lnTo>
                      <a:pt x="125" y="61"/>
                    </a:lnTo>
                    <a:lnTo>
                      <a:pt x="128" y="61"/>
                    </a:lnTo>
                    <a:lnTo>
                      <a:pt x="129" y="61"/>
                    </a:lnTo>
                    <a:lnTo>
                      <a:pt x="130" y="61"/>
                    </a:lnTo>
                    <a:lnTo>
                      <a:pt x="133" y="61"/>
                    </a:lnTo>
                    <a:lnTo>
                      <a:pt x="133" y="60"/>
                    </a:lnTo>
                    <a:lnTo>
                      <a:pt x="135" y="57"/>
                    </a:lnTo>
                    <a:lnTo>
                      <a:pt x="136" y="50"/>
                    </a:lnTo>
                    <a:lnTo>
                      <a:pt x="138" y="46"/>
                    </a:lnTo>
                    <a:lnTo>
                      <a:pt x="140" y="44"/>
                    </a:lnTo>
                    <a:lnTo>
                      <a:pt x="145" y="44"/>
                    </a:lnTo>
                    <a:lnTo>
                      <a:pt x="149" y="43"/>
                    </a:lnTo>
                    <a:lnTo>
                      <a:pt x="153" y="43"/>
                    </a:lnTo>
                    <a:lnTo>
                      <a:pt x="155" y="44"/>
                    </a:lnTo>
                    <a:lnTo>
                      <a:pt x="156" y="46"/>
                    </a:lnTo>
                    <a:lnTo>
                      <a:pt x="155" y="46"/>
                    </a:lnTo>
                    <a:lnTo>
                      <a:pt x="155" y="47"/>
                    </a:lnTo>
                    <a:lnTo>
                      <a:pt x="156" y="48"/>
                    </a:lnTo>
                    <a:lnTo>
                      <a:pt x="158" y="50"/>
                    </a:lnTo>
                    <a:lnTo>
                      <a:pt x="172" y="48"/>
                    </a:lnTo>
                    <a:lnTo>
                      <a:pt x="176" y="50"/>
                    </a:lnTo>
                    <a:lnTo>
                      <a:pt x="178" y="53"/>
                    </a:lnTo>
                    <a:lnTo>
                      <a:pt x="178" y="54"/>
                    </a:lnTo>
                    <a:lnTo>
                      <a:pt x="176" y="60"/>
                    </a:lnTo>
                    <a:lnTo>
                      <a:pt x="176" y="61"/>
                    </a:lnTo>
                    <a:lnTo>
                      <a:pt x="176" y="64"/>
                    </a:lnTo>
                    <a:lnTo>
                      <a:pt x="178" y="67"/>
                    </a:lnTo>
                    <a:lnTo>
                      <a:pt x="179" y="70"/>
                    </a:lnTo>
                    <a:lnTo>
                      <a:pt x="178" y="74"/>
                    </a:lnTo>
                    <a:lnTo>
                      <a:pt x="176" y="83"/>
                    </a:lnTo>
                    <a:lnTo>
                      <a:pt x="176" y="87"/>
                    </a:lnTo>
                    <a:lnTo>
                      <a:pt x="178" y="92"/>
                    </a:lnTo>
                    <a:lnTo>
                      <a:pt x="184" y="97"/>
                    </a:lnTo>
                    <a:lnTo>
                      <a:pt x="185" y="100"/>
                    </a:lnTo>
                    <a:lnTo>
                      <a:pt x="185" y="103"/>
                    </a:lnTo>
                    <a:lnTo>
                      <a:pt x="185" y="105"/>
                    </a:lnTo>
                    <a:lnTo>
                      <a:pt x="185" y="110"/>
                    </a:lnTo>
                    <a:lnTo>
                      <a:pt x="185" y="112"/>
                    </a:lnTo>
                    <a:lnTo>
                      <a:pt x="185" y="112"/>
                    </a:lnTo>
                    <a:lnTo>
                      <a:pt x="185" y="112"/>
                    </a:lnTo>
                    <a:lnTo>
                      <a:pt x="184" y="113"/>
                    </a:lnTo>
                    <a:lnTo>
                      <a:pt x="184" y="113"/>
                    </a:lnTo>
                    <a:lnTo>
                      <a:pt x="184" y="117"/>
                    </a:lnTo>
                    <a:lnTo>
                      <a:pt x="185" y="117"/>
                    </a:lnTo>
                    <a:lnTo>
                      <a:pt x="191" y="116"/>
                    </a:lnTo>
                    <a:lnTo>
                      <a:pt x="192" y="116"/>
                    </a:lnTo>
                    <a:lnTo>
                      <a:pt x="196" y="117"/>
                    </a:lnTo>
                    <a:lnTo>
                      <a:pt x="199" y="117"/>
                    </a:lnTo>
                    <a:lnTo>
                      <a:pt x="201" y="116"/>
                    </a:lnTo>
                    <a:lnTo>
                      <a:pt x="204" y="116"/>
                    </a:lnTo>
                    <a:lnTo>
                      <a:pt x="205" y="115"/>
                    </a:lnTo>
                    <a:lnTo>
                      <a:pt x="208" y="115"/>
                    </a:lnTo>
                    <a:lnTo>
                      <a:pt x="211" y="116"/>
                    </a:lnTo>
                    <a:lnTo>
                      <a:pt x="214" y="115"/>
                    </a:lnTo>
                    <a:lnTo>
                      <a:pt x="215" y="113"/>
                    </a:lnTo>
                    <a:lnTo>
                      <a:pt x="215" y="117"/>
                    </a:lnTo>
                    <a:lnTo>
                      <a:pt x="215" y="120"/>
                    </a:lnTo>
                    <a:lnTo>
                      <a:pt x="215" y="132"/>
                    </a:lnTo>
                    <a:lnTo>
                      <a:pt x="215" y="139"/>
                    </a:lnTo>
                    <a:lnTo>
                      <a:pt x="214" y="143"/>
                    </a:lnTo>
                    <a:lnTo>
                      <a:pt x="214" y="146"/>
                    </a:lnTo>
                    <a:lnTo>
                      <a:pt x="214" y="148"/>
                    </a:lnTo>
                    <a:lnTo>
                      <a:pt x="215" y="149"/>
                    </a:lnTo>
                    <a:lnTo>
                      <a:pt x="214" y="151"/>
                    </a:lnTo>
                    <a:lnTo>
                      <a:pt x="212" y="152"/>
                    </a:lnTo>
                    <a:lnTo>
                      <a:pt x="211" y="152"/>
                    </a:lnTo>
                    <a:lnTo>
                      <a:pt x="179" y="152"/>
                    </a:lnTo>
                    <a:lnTo>
                      <a:pt x="181" y="205"/>
                    </a:lnTo>
                    <a:lnTo>
                      <a:pt x="181" y="208"/>
                    </a:lnTo>
                    <a:lnTo>
                      <a:pt x="181" y="211"/>
                    </a:lnTo>
                    <a:lnTo>
                      <a:pt x="182" y="214"/>
                    </a:lnTo>
                    <a:lnTo>
                      <a:pt x="184" y="217"/>
                    </a:lnTo>
                    <a:lnTo>
                      <a:pt x="205" y="237"/>
                    </a:lnTo>
                    <a:lnTo>
                      <a:pt x="174" y="243"/>
                    </a:lnTo>
                    <a:lnTo>
                      <a:pt x="158" y="243"/>
                    </a:lnTo>
                    <a:lnTo>
                      <a:pt x="149" y="241"/>
                    </a:lnTo>
                    <a:lnTo>
                      <a:pt x="126" y="240"/>
                    </a:lnTo>
                    <a:lnTo>
                      <a:pt x="125" y="238"/>
                    </a:lnTo>
                    <a:lnTo>
                      <a:pt x="122" y="237"/>
                    </a:lnTo>
                    <a:lnTo>
                      <a:pt x="120" y="234"/>
                    </a:lnTo>
                    <a:lnTo>
                      <a:pt x="118" y="232"/>
                    </a:lnTo>
                    <a:lnTo>
                      <a:pt x="118" y="231"/>
                    </a:lnTo>
                    <a:lnTo>
                      <a:pt x="47" y="231"/>
                    </a:lnTo>
                    <a:lnTo>
                      <a:pt x="40" y="231"/>
                    </a:lnTo>
                    <a:lnTo>
                      <a:pt x="36" y="230"/>
                    </a:lnTo>
                    <a:lnTo>
                      <a:pt x="31" y="227"/>
                    </a:lnTo>
                    <a:lnTo>
                      <a:pt x="28" y="225"/>
                    </a:lnTo>
                    <a:lnTo>
                      <a:pt x="24" y="224"/>
                    </a:lnTo>
                    <a:lnTo>
                      <a:pt x="18" y="225"/>
                    </a:lnTo>
                    <a:lnTo>
                      <a:pt x="17" y="227"/>
                    </a:lnTo>
                    <a:lnTo>
                      <a:pt x="14" y="228"/>
                    </a:lnTo>
                    <a:lnTo>
                      <a:pt x="11" y="228"/>
                    </a:lnTo>
                    <a:lnTo>
                      <a:pt x="10" y="228"/>
                    </a:lnTo>
                    <a:lnTo>
                      <a:pt x="8" y="228"/>
                    </a:lnTo>
                    <a:lnTo>
                      <a:pt x="5" y="228"/>
                    </a:lnTo>
                    <a:lnTo>
                      <a:pt x="4" y="227"/>
                    </a:lnTo>
                    <a:lnTo>
                      <a:pt x="4" y="228"/>
                    </a:lnTo>
                    <a:lnTo>
                      <a:pt x="1" y="228"/>
                    </a:lnTo>
                    <a:close/>
                    <a:moveTo>
                      <a:pt x="13" y="21"/>
                    </a:moveTo>
                    <a:lnTo>
                      <a:pt x="14" y="20"/>
                    </a:lnTo>
                    <a:lnTo>
                      <a:pt x="14" y="17"/>
                    </a:lnTo>
                    <a:lnTo>
                      <a:pt x="13" y="13"/>
                    </a:lnTo>
                    <a:lnTo>
                      <a:pt x="13" y="11"/>
                    </a:lnTo>
                    <a:lnTo>
                      <a:pt x="14" y="10"/>
                    </a:lnTo>
                    <a:lnTo>
                      <a:pt x="14" y="10"/>
                    </a:lnTo>
                    <a:lnTo>
                      <a:pt x="14" y="8"/>
                    </a:lnTo>
                    <a:lnTo>
                      <a:pt x="17" y="5"/>
                    </a:lnTo>
                    <a:lnTo>
                      <a:pt x="23" y="2"/>
                    </a:lnTo>
                    <a:lnTo>
                      <a:pt x="21" y="0"/>
                    </a:lnTo>
                    <a:lnTo>
                      <a:pt x="18" y="0"/>
                    </a:lnTo>
                    <a:lnTo>
                      <a:pt x="17" y="0"/>
                    </a:lnTo>
                    <a:lnTo>
                      <a:pt x="13" y="1"/>
                    </a:lnTo>
                    <a:lnTo>
                      <a:pt x="5" y="8"/>
                    </a:lnTo>
                    <a:lnTo>
                      <a:pt x="7" y="13"/>
                    </a:lnTo>
                    <a:lnTo>
                      <a:pt x="7" y="14"/>
                    </a:lnTo>
                    <a:lnTo>
                      <a:pt x="8" y="15"/>
                    </a:lnTo>
                    <a:lnTo>
                      <a:pt x="8" y="17"/>
                    </a:lnTo>
                    <a:lnTo>
                      <a:pt x="7" y="18"/>
                    </a:lnTo>
                    <a:lnTo>
                      <a:pt x="7" y="20"/>
                    </a:lnTo>
                    <a:lnTo>
                      <a:pt x="8" y="23"/>
                    </a:lnTo>
                    <a:lnTo>
                      <a:pt x="11" y="21"/>
                    </a:lnTo>
                    <a:lnTo>
                      <a:pt x="13" y="2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94" name="Freeform 181">
                <a:extLst>
                  <a:ext uri="{FF2B5EF4-FFF2-40B4-BE49-F238E27FC236}">
                    <a16:creationId xmlns:a16="http://schemas.microsoft.com/office/drawing/2014/main" id="{6D92AE4F-B31A-87E6-75C9-7DD89F50B0B4}"/>
                  </a:ext>
                </a:extLst>
              </p:cNvPr>
              <p:cNvSpPr>
                <a:spLocks/>
              </p:cNvSpPr>
              <p:nvPr/>
            </p:nvSpPr>
            <p:spPr bwMode="auto">
              <a:xfrm>
                <a:off x="3744" y="2653"/>
                <a:ext cx="130" cy="152"/>
              </a:xfrm>
              <a:custGeom>
                <a:avLst/>
                <a:gdLst>
                  <a:gd name="T0" fmla="*/ 33 w 130"/>
                  <a:gd name="T1" fmla="*/ 146 h 152"/>
                  <a:gd name="T2" fmla="*/ 38 w 130"/>
                  <a:gd name="T3" fmla="*/ 149 h 152"/>
                  <a:gd name="T4" fmla="*/ 44 w 130"/>
                  <a:gd name="T5" fmla="*/ 146 h 152"/>
                  <a:gd name="T6" fmla="*/ 46 w 130"/>
                  <a:gd name="T7" fmla="*/ 142 h 152"/>
                  <a:gd name="T8" fmla="*/ 49 w 130"/>
                  <a:gd name="T9" fmla="*/ 144 h 152"/>
                  <a:gd name="T10" fmla="*/ 57 w 130"/>
                  <a:gd name="T11" fmla="*/ 146 h 152"/>
                  <a:gd name="T12" fmla="*/ 66 w 130"/>
                  <a:gd name="T13" fmla="*/ 148 h 152"/>
                  <a:gd name="T14" fmla="*/ 80 w 130"/>
                  <a:gd name="T15" fmla="*/ 135 h 152"/>
                  <a:gd name="T16" fmla="*/ 86 w 130"/>
                  <a:gd name="T17" fmla="*/ 128 h 152"/>
                  <a:gd name="T18" fmla="*/ 89 w 130"/>
                  <a:gd name="T19" fmla="*/ 109 h 152"/>
                  <a:gd name="T20" fmla="*/ 93 w 130"/>
                  <a:gd name="T21" fmla="*/ 99 h 152"/>
                  <a:gd name="T22" fmla="*/ 100 w 130"/>
                  <a:gd name="T23" fmla="*/ 86 h 152"/>
                  <a:gd name="T24" fmla="*/ 113 w 130"/>
                  <a:gd name="T25" fmla="*/ 77 h 152"/>
                  <a:gd name="T26" fmla="*/ 116 w 130"/>
                  <a:gd name="T27" fmla="*/ 72 h 152"/>
                  <a:gd name="T28" fmla="*/ 117 w 130"/>
                  <a:gd name="T29" fmla="*/ 60 h 152"/>
                  <a:gd name="T30" fmla="*/ 119 w 130"/>
                  <a:gd name="T31" fmla="*/ 43 h 152"/>
                  <a:gd name="T32" fmla="*/ 122 w 130"/>
                  <a:gd name="T33" fmla="*/ 31 h 152"/>
                  <a:gd name="T34" fmla="*/ 130 w 130"/>
                  <a:gd name="T35" fmla="*/ 10 h 152"/>
                  <a:gd name="T36" fmla="*/ 123 w 130"/>
                  <a:gd name="T37" fmla="*/ 3 h 152"/>
                  <a:gd name="T38" fmla="*/ 110 w 130"/>
                  <a:gd name="T39" fmla="*/ 0 h 152"/>
                  <a:gd name="T40" fmla="*/ 93 w 130"/>
                  <a:gd name="T41" fmla="*/ 10 h 152"/>
                  <a:gd name="T42" fmla="*/ 89 w 130"/>
                  <a:gd name="T43" fmla="*/ 24 h 152"/>
                  <a:gd name="T44" fmla="*/ 86 w 130"/>
                  <a:gd name="T45" fmla="*/ 31 h 152"/>
                  <a:gd name="T46" fmla="*/ 86 w 130"/>
                  <a:gd name="T47" fmla="*/ 34 h 152"/>
                  <a:gd name="T48" fmla="*/ 66 w 130"/>
                  <a:gd name="T49" fmla="*/ 29 h 152"/>
                  <a:gd name="T50" fmla="*/ 37 w 130"/>
                  <a:gd name="T51" fmla="*/ 27 h 152"/>
                  <a:gd name="T52" fmla="*/ 36 w 130"/>
                  <a:gd name="T53" fmla="*/ 37 h 152"/>
                  <a:gd name="T54" fmla="*/ 40 w 130"/>
                  <a:gd name="T55" fmla="*/ 43 h 152"/>
                  <a:gd name="T56" fmla="*/ 56 w 130"/>
                  <a:gd name="T57" fmla="*/ 44 h 152"/>
                  <a:gd name="T58" fmla="*/ 56 w 130"/>
                  <a:gd name="T59" fmla="*/ 53 h 152"/>
                  <a:gd name="T60" fmla="*/ 49 w 130"/>
                  <a:gd name="T61" fmla="*/ 57 h 152"/>
                  <a:gd name="T62" fmla="*/ 49 w 130"/>
                  <a:gd name="T63" fmla="*/ 67 h 152"/>
                  <a:gd name="T64" fmla="*/ 57 w 130"/>
                  <a:gd name="T65" fmla="*/ 75 h 152"/>
                  <a:gd name="T66" fmla="*/ 57 w 130"/>
                  <a:gd name="T67" fmla="*/ 86 h 152"/>
                  <a:gd name="T68" fmla="*/ 54 w 130"/>
                  <a:gd name="T69" fmla="*/ 100 h 152"/>
                  <a:gd name="T70" fmla="*/ 51 w 130"/>
                  <a:gd name="T71" fmla="*/ 108 h 152"/>
                  <a:gd name="T72" fmla="*/ 47 w 130"/>
                  <a:gd name="T73" fmla="*/ 108 h 152"/>
                  <a:gd name="T74" fmla="*/ 46 w 130"/>
                  <a:gd name="T75" fmla="*/ 103 h 152"/>
                  <a:gd name="T76" fmla="*/ 41 w 130"/>
                  <a:gd name="T77" fmla="*/ 106 h 152"/>
                  <a:gd name="T78" fmla="*/ 31 w 130"/>
                  <a:gd name="T79" fmla="*/ 103 h 152"/>
                  <a:gd name="T80" fmla="*/ 23 w 130"/>
                  <a:gd name="T81" fmla="*/ 100 h 152"/>
                  <a:gd name="T82" fmla="*/ 20 w 130"/>
                  <a:gd name="T83" fmla="*/ 106 h 152"/>
                  <a:gd name="T84" fmla="*/ 7 w 130"/>
                  <a:gd name="T85" fmla="*/ 106 h 152"/>
                  <a:gd name="T86" fmla="*/ 8 w 130"/>
                  <a:gd name="T87" fmla="*/ 115 h 152"/>
                  <a:gd name="T88" fmla="*/ 10 w 130"/>
                  <a:gd name="T89" fmla="*/ 122 h 152"/>
                  <a:gd name="T90" fmla="*/ 11 w 130"/>
                  <a:gd name="T91" fmla="*/ 128 h 152"/>
                  <a:gd name="T92" fmla="*/ 11 w 130"/>
                  <a:gd name="T93" fmla="*/ 129 h 152"/>
                  <a:gd name="T94" fmla="*/ 8 w 130"/>
                  <a:gd name="T95" fmla="*/ 128 h 152"/>
                  <a:gd name="T96" fmla="*/ 3 w 130"/>
                  <a:gd name="T97" fmla="*/ 128 h 152"/>
                  <a:gd name="T98" fmla="*/ 0 w 130"/>
                  <a:gd name="T99" fmla="*/ 134 h 152"/>
                  <a:gd name="T100" fmla="*/ 11 w 130"/>
                  <a:gd name="T101" fmla="*/ 148 h 152"/>
                  <a:gd name="T102" fmla="*/ 27 w 130"/>
                  <a:gd name="T103" fmla="*/ 1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 h="152">
                    <a:moveTo>
                      <a:pt x="27" y="144"/>
                    </a:moveTo>
                    <a:lnTo>
                      <a:pt x="28" y="144"/>
                    </a:lnTo>
                    <a:lnTo>
                      <a:pt x="31" y="144"/>
                    </a:lnTo>
                    <a:lnTo>
                      <a:pt x="33" y="146"/>
                    </a:lnTo>
                    <a:lnTo>
                      <a:pt x="34" y="146"/>
                    </a:lnTo>
                    <a:lnTo>
                      <a:pt x="36" y="146"/>
                    </a:lnTo>
                    <a:lnTo>
                      <a:pt x="37" y="148"/>
                    </a:lnTo>
                    <a:lnTo>
                      <a:pt x="38" y="149"/>
                    </a:lnTo>
                    <a:lnTo>
                      <a:pt x="40" y="149"/>
                    </a:lnTo>
                    <a:lnTo>
                      <a:pt x="41" y="149"/>
                    </a:lnTo>
                    <a:lnTo>
                      <a:pt x="43" y="148"/>
                    </a:lnTo>
                    <a:lnTo>
                      <a:pt x="44" y="146"/>
                    </a:lnTo>
                    <a:lnTo>
                      <a:pt x="44" y="145"/>
                    </a:lnTo>
                    <a:lnTo>
                      <a:pt x="44" y="144"/>
                    </a:lnTo>
                    <a:lnTo>
                      <a:pt x="44" y="144"/>
                    </a:lnTo>
                    <a:lnTo>
                      <a:pt x="46" y="142"/>
                    </a:lnTo>
                    <a:lnTo>
                      <a:pt x="46" y="142"/>
                    </a:lnTo>
                    <a:lnTo>
                      <a:pt x="47" y="144"/>
                    </a:lnTo>
                    <a:lnTo>
                      <a:pt x="47" y="144"/>
                    </a:lnTo>
                    <a:lnTo>
                      <a:pt x="49" y="144"/>
                    </a:lnTo>
                    <a:lnTo>
                      <a:pt x="54" y="141"/>
                    </a:lnTo>
                    <a:lnTo>
                      <a:pt x="56" y="141"/>
                    </a:lnTo>
                    <a:lnTo>
                      <a:pt x="57" y="142"/>
                    </a:lnTo>
                    <a:lnTo>
                      <a:pt x="57" y="146"/>
                    </a:lnTo>
                    <a:lnTo>
                      <a:pt x="57" y="149"/>
                    </a:lnTo>
                    <a:lnTo>
                      <a:pt x="61" y="151"/>
                    </a:lnTo>
                    <a:lnTo>
                      <a:pt x="63" y="149"/>
                    </a:lnTo>
                    <a:lnTo>
                      <a:pt x="66" y="148"/>
                    </a:lnTo>
                    <a:lnTo>
                      <a:pt x="69" y="144"/>
                    </a:lnTo>
                    <a:lnTo>
                      <a:pt x="73" y="139"/>
                    </a:lnTo>
                    <a:lnTo>
                      <a:pt x="77" y="136"/>
                    </a:lnTo>
                    <a:lnTo>
                      <a:pt x="80" y="135"/>
                    </a:lnTo>
                    <a:lnTo>
                      <a:pt x="82" y="134"/>
                    </a:lnTo>
                    <a:lnTo>
                      <a:pt x="83" y="132"/>
                    </a:lnTo>
                    <a:lnTo>
                      <a:pt x="84" y="131"/>
                    </a:lnTo>
                    <a:lnTo>
                      <a:pt x="86" y="128"/>
                    </a:lnTo>
                    <a:lnTo>
                      <a:pt x="87" y="125"/>
                    </a:lnTo>
                    <a:lnTo>
                      <a:pt x="89" y="121"/>
                    </a:lnTo>
                    <a:lnTo>
                      <a:pt x="89" y="118"/>
                    </a:lnTo>
                    <a:lnTo>
                      <a:pt x="89" y="109"/>
                    </a:lnTo>
                    <a:lnTo>
                      <a:pt x="89" y="106"/>
                    </a:lnTo>
                    <a:lnTo>
                      <a:pt x="89" y="103"/>
                    </a:lnTo>
                    <a:lnTo>
                      <a:pt x="90" y="100"/>
                    </a:lnTo>
                    <a:lnTo>
                      <a:pt x="93" y="99"/>
                    </a:lnTo>
                    <a:lnTo>
                      <a:pt x="94" y="96"/>
                    </a:lnTo>
                    <a:lnTo>
                      <a:pt x="96" y="93"/>
                    </a:lnTo>
                    <a:lnTo>
                      <a:pt x="99" y="89"/>
                    </a:lnTo>
                    <a:lnTo>
                      <a:pt x="100" y="86"/>
                    </a:lnTo>
                    <a:lnTo>
                      <a:pt x="103" y="85"/>
                    </a:lnTo>
                    <a:lnTo>
                      <a:pt x="109" y="82"/>
                    </a:lnTo>
                    <a:lnTo>
                      <a:pt x="110" y="79"/>
                    </a:lnTo>
                    <a:lnTo>
                      <a:pt x="113" y="77"/>
                    </a:lnTo>
                    <a:lnTo>
                      <a:pt x="115" y="76"/>
                    </a:lnTo>
                    <a:lnTo>
                      <a:pt x="115" y="75"/>
                    </a:lnTo>
                    <a:lnTo>
                      <a:pt x="116" y="73"/>
                    </a:lnTo>
                    <a:lnTo>
                      <a:pt x="116" y="72"/>
                    </a:lnTo>
                    <a:lnTo>
                      <a:pt x="115" y="70"/>
                    </a:lnTo>
                    <a:lnTo>
                      <a:pt x="115" y="69"/>
                    </a:lnTo>
                    <a:lnTo>
                      <a:pt x="116" y="66"/>
                    </a:lnTo>
                    <a:lnTo>
                      <a:pt x="117" y="60"/>
                    </a:lnTo>
                    <a:lnTo>
                      <a:pt x="119" y="57"/>
                    </a:lnTo>
                    <a:lnTo>
                      <a:pt x="117" y="47"/>
                    </a:lnTo>
                    <a:lnTo>
                      <a:pt x="119" y="44"/>
                    </a:lnTo>
                    <a:lnTo>
                      <a:pt x="119" y="43"/>
                    </a:lnTo>
                    <a:lnTo>
                      <a:pt x="120" y="39"/>
                    </a:lnTo>
                    <a:lnTo>
                      <a:pt x="120" y="37"/>
                    </a:lnTo>
                    <a:lnTo>
                      <a:pt x="122" y="36"/>
                    </a:lnTo>
                    <a:lnTo>
                      <a:pt x="122" y="31"/>
                    </a:lnTo>
                    <a:lnTo>
                      <a:pt x="122" y="30"/>
                    </a:lnTo>
                    <a:lnTo>
                      <a:pt x="123" y="23"/>
                    </a:lnTo>
                    <a:lnTo>
                      <a:pt x="128" y="17"/>
                    </a:lnTo>
                    <a:lnTo>
                      <a:pt x="130" y="10"/>
                    </a:lnTo>
                    <a:lnTo>
                      <a:pt x="130" y="3"/>
                    </a:lnTo>
                    <a:lnTo>
                      <a:pt x="129" y="1"/>
                    </a:lnTo>
                    <a:lnTo>
                      <a:pt x="128" y="1"/>
                    </a:lnTo>
                    <a:lnTo>
                      <a:pt x="123" y="3"/>
                    </a:lnTo>
                    <a:lnTo>
                      <a:pt x="122" y="3"/>
                    </a:lnTo>
                    <a:lnTo>
                      <a:pt x="122" y="3"/>
                    </a:lnTo>
                    <a:lnTo>
                      <a:pt x="113" y="1"/>
                    </a:lnTo>
                    <a:lnTo>
                      <a:pt x="110" y="0"/>
                    </a:lnTo>
                    <a:lnTo>
                      <a:pt x="99" y="3"/>
                    </a:lnTo>
                    <a:lnTo>
                      <a:pt x="96" y="4"/>
                    </a:lnTo>
                    <a:lnTo>
                      <a:pt x="93" y="9"/>
                    </a:lnTo>
                    <a:lnTo>
                      <a:pt x="93" y="10"/>
                    </a:lnTo>
                    <a:lnTo>
                      <a:pt x="93" y="14"/>
                    </a:lnTo>
                    <a:lnTo>
                      <a:pt x="93" y="16"/>
                    </a:lnTo>
                    <a:lnTo>
                      <a:pt x="92" y="17"/>
                    </a:lnTo>
                    <a:lnTo>
                      <a:pt x="89" y="24"/>
                    </a:lnTo>
                    <a:lnTo>
                      <a:pt x="87" y="26"/>
                    </a:lnTo>
                    <a:lnTo>
                      <a:pt x="87" y="27"/>
                    </a:lnTo>
                    <a:lnTo>
                      <a:pt x="86" y="29"/>
                    </a:lnTo>
                    <a:lnTo>
                      <a:pt x="86" y="31"/>
                    </a:lnTo>
                    <a:lnTo>
                      <a:pt x="87" y="33"/>
                    </a:lnTo>
                    <a:lnTo>
                      <a:pt x="87" y="34"/>
                    </a:lnTo>
                    <a:lnTo>
                      <a:pt x="87" y="34"/>
                    </a:lnTo>
                    <a:lnTo>
                      <a:pt x="86" y="34"/>
                    </a:lnTo>
                    <a:lnTo>
                      <a:pt x="83" y="33"/>
                    </a:lnTo>
                    <a:lnTo>
                      <a:pt x="79" y="31"/>
                    </a:lnTo>
                    <a:lnTo>
                      <a:pt x="76" y="30"/>
                    </a:lnTo>
                    <a:lnTo>
                      <a:pt x="66" y="29"/>
                    </a:lnTo>
                    <a:lnTo>
                      <a:pt x="63" y="27"/>
                    </a:lnTo>
                    <a:lnTo>
                      <a:pt x="61" y="27"/>
                    </a:lnTo>
                    <a:lnTo>
                      <a:pt x="59" y="27"/>
                    </a:lnTo>
                    <a:lnTo>
                      <a:pt x="37" y="27"/>
                    </a:lnTo>
                    <a:lnTo>
                      <a:pt x="37" y="29"/>
                    </a:lnTo>
                    <a:lnTo>
                      <a:pt x="36" y="33"/>
                    </a:lnTo>
                    <a:lnTo>
                      <a:pt x="36" y="36"/>
                    </a:lnTo>
                    <a:lnTo>
                      <a:pt x="36" y="37"/>
                    </a:lnTo>
                    <a:lnTo>
                      <a:pt x="36" y="39"/>
                    </a:lnTo>
                    <a:lnTo>
                      <a:pt x="36" y="40"/>
                    </a:lnTo>
                    <a:lnTo>
                      <a:pt x="36" y="42"/>
                    </a:lnTo>
                    <a:lnTo>
                      <a:pt x="40" y="43"/>
                    </a:lnTo>
                    <a:lnTo>
                      <a:pt x="44" y="42"/>
                    </a:lnTo>
                    <a:lnTo>
                      <a:pt x="50" y="40"/>
                    </a:lnTo>
                    <a:lnTo>
                      <a:pt x="54" y="43"/>
                    </a:lnTo>
                    <a:lnTo>
                      <a:pt x="56" y="44"/>
                    </a:lnTo>
                    <a:lnTo>
                      <a:pt x="57" y="47"/>
                    </a:lnTo>
                    <a:lnTo>
                      <a:pt x="57" y="49"/>
                    </a:lnTo>
                    <a:lnTo>
                      <a:pt x="57" y="50"/>
                    </a:lnTo>
                    <a:lnTo>
                      <a:pt x="56" y="53"/>
                    </a:lnTo>
                    <a:lnTo>
                      <a:pt x="54" y="54"/>
                    </a:lnTo>
                    <a:lnTo>
                      <a:pt x="53" y="54"/>
                    </a:lnTo>
                    <a:lnTo>
                      <a:pt x="51" y="56"/>
                    </a:lnTo>
                    <a:lnTo>
                      <a:pt x="49" y="57"/>
                    </a:lnTo>
                    <a:lnTo>
                      <a:pt x="49" y="60"/>
                    </a:lnTo>
                    <a:lnTo>
                      <a:pt x="47" y="63"/>
                    </a:lnTo>
                    <a:lnTo>
                      <a:pt x="47" y="66"/>
                    </a:lnTo>
                    <a:lnTo>
                      <a:pt x="49" y="67"/>
                    </a:lnTo>
                    <a:lnTo>
                      <a:pt x="49" y="69"/>
                    </a:lnTo>
                    <a:lnTo>
                      <a:pt x="53" y="72"/>
                    </a:lnTo>
                    <a:lnTo>
                      <a:pt x="56" y="73"/>
                    </a:lnTo>
                    <a:lnTo>
                      <a:pt x="57" y="75"/>
                    </a:lnTo>
                    <a:lnTo>
                      <a:pt x="59" y="76"/>
                    </a:lnTo>
                    <a:lnTo>
                      <a:pt x="59" y="77"/>
                    </a:lnTo>
                    <a:lnTo>
                      <a:pt x="57" y="83"/>
                    </a:lnTo>
                    <a:lnTo>
                      <a:pt x="57" y="86"/>
                    </a:lnTo>
                    <a:lnTo>
                      <a:pt x="57" y="93"/>
                    </a:lnTo>
                    <a:lnTo>
                      <a:pt x="57" y="95"/>
                    </a:lnTo>
                    <a:lnTo>
                      <a:pt x="57" y="96"/>
                    </a:lnTo>
                    <a:lnTo>
                      <a:pt x="54" y="100"/>
                    </a:lnTo>
                    <a:lnTo>
                      <a:pt x="53" y="103"/>
                    </a:lnTo>
                    <a:lnTo>
                      <a:pt x="53" y="106"/>
                    </a:lnTo>
                    <a:lnTo>
                      <a:pt x="51" y="108"/>
                    </a:lnTo>
                    <a:lnTo>
                      <a:pt x="51" y="108"/>
                    </a:lnTo>
                    <a:lnTo>
                      <a:pt x="50" y="108"/>
                    </a:lnTo>
                    <a:lnTo>
                      <a:pt x="50" y="109"/>
                    </a:lnTo>
                    <a:lnTo>
                      <a:pt x="49" y="108"/>
                    </a:lnTo>
                    <a:lnTo>
                      <a:pt x="47" y="108"/>
                    </a:lnTo>
                    <a:lnTo>
                      <a:pt x="47" y="108"/>
                    </a:lnTo>
                    <a:lnTo>
                      <a:pt x="49" y="106"/>
                    </a:lnTo>
                    <a:lnTo>
                      <a:pt x="47" y="106"/>
                    </a:lnTo>
                    <a:lnTo>
                      <a:pt x="46" y="103"/>
                    </a:lnTo>
                    <a:lnTo>
                      <a:pt x="46" y="103"/>
                    </a:lnTo>
                    <a:lnTo>
                      <a:pt x="44" y="103"/>
                    </a:lnTo>
                    <a:lnTo>
                      <a:pt x="43" y="105"/>
                    </a:lnTo>
                    <a:lnTo>
                      <a:pt x="41" y="106"/>
                    </a:lnTo>
                    <a:lnTo>
                      <a:pt x="38" y="106"/>
                    </a:lnTo>
                    <a:lnTo>
                      <a:pt x="37" y="106"/>
                    </a:lnTo>
                    <a:lnTo>
                      <a:pt x="34" y="106"/>
                    </a:lnTo>
                    <a:lnTo>
                      <a:pt x="31" y="103"/>
                    </a:lnTo>
                    <a:lnTo>
                      <a:pt x="28" y="99"/>
                    </a:lnTo>
                    <a:lnTo>
                      <a:pt x="24" y="96"/>
                    </a:lnTo>
                    <a:lnTo>
                      <a:pt x="23" y="99"/>
                    </a:lnTo>
                    <a:lnTo>
                      <a:pt x="23" y="100"/>
                    </a:lnTo>
                    <a:lnTo>
                      <a:pt x="23" y="102"/>
                    </a:lnTo>
                    <a:lnTo>
                      <a:pt x="23" y="105"/>
                    </a:lnTo>
                    <a:lnTo>
                      <a:pt x="23" y="106"/>
                    </a:lnTo>
                    <a:lnTo>
                      <a:pt x="20" y="106"/>
                    </a:lnTo>
                    <a:lnTo>
                      <a:pt x="18" y="106"/>
                    </a:lnTo>
                    <a:lnTo>
                      <a:pt x="14" y="106"/>
                    </a:lnTo>
                    <a:lnTo>
                      <a:pt x="8" y="106"/>
                    </a:lnTo>
                    <a:lnTo>
                      <a:pt x="7" y="106"/>
                    </a:lnTo>
                    <a:lnTo>
                      <a:pt x="7" y="108"/>
                    </a:lnTo>
                    <a:lnTo>
                      <a:pt x="7" y="113"/>
                    </a:lnTo>
                    <a:lnTo>
                      <a:pt x="7" y="115"/>
                    </a:lnTo>
                    <a:lnTo>
                      <a:pt x="8" y="115"/>
                    </a:lnTo>
                    <a:lnTo>
                      <a:pt x="10" y="116"/>
                    </a:lnTo>
                    <a:lnTo>
                      <a:pt x="10" y="119"/>
                    </a:lnTo>
                    <a:lnTo>
                      <a:pt x="10" y="121"/>
                    </a:lnTo>
                    <a:lnTo>
                      <a:pt x="10" y="122"/>
                    </a:lnTo>
                    <a:lnTo>
                      <a:pt x="13" y="122"/>
                    </a:lnTo>
                    <a:lnTo>
                      <a:pt x="13" y="123"/>
                    </a:lnTo>
                    <a:lnTo>
                      <a:pt x="13" y="125"/>
                    </a:lnTo>
                    <a:lnTo>
                      <a:pt x="11" y="128"/>
                    </a:lnTo>
                    <a:lnTo>
                      <a:pt x="11" y="128"/>
                    </a:lnTo>
                    <a:lnTo>
                      <a:pt x="13" y="128"/>
                    </a:lnTo>
                    <a:lnTo>
                      <a:pt x="13" y="129"/>
                    </a:lnTo>
                    <a:lnTo>
                      <a:pt x="11" y="129"/>
                    </a:lnTo>
                    <a:lnTo>
                      <a:pt x="11" y="131"/>
                    </a:lnTo>
                    <a:lnTo>
                      <a:pt x="10" y="129"/>
                    </a:lnTo>
                    <a:lnTo>
                      <a:pt x="8" y="129"/>
                    </a:lnTo>
                    <a:lnTo>
                      <a:pt x="8" y="128"/>
                    </a:lnTo>
                    <a:lnTo>
                      <a:pt x="7" y="128"/>
                    </a:lnTo>
                    <a:lnTo>
                      <a:pt x="5" y="126"/>
                    </a:lnTo>
                    <a:lnTo>
                      <a:pt x="4" y="126"/>
                    </a:lnTo>
                    <a:lnTo>
                      <a:pt x="3" y="128"/>
                    </a:lnTo>
                    <a:lnTo>
                      <a:pt x="1" y="129"/>
                    </a:lnTo>
                    <a:lnTo>
                      <a:pt x="1" y="131"/>
                    </a:lnTo>
                    <a:lnTo>
                      <a:pt x="0" y="132"/>
                    </a:lnTo>
                    <a:lnTo>
                      <a:pt x="0" y="134"/>
                    </a:lnTo>
                    <a:lnTo>
                      <a:pt x="7" y="141"/>
                    </a:lnTo>
                    <a:lnTo>
                      <a:pt x="10" y="144"/>
                    </a:lnTo>
                    <a:lnTo>
                      <a:pt x="11" y="146"/>
                    </a:lnTo>
                    <a:lnTo>
                      <a:pt x="11" y="148"/>
                    </a:lnTo>
                    <a:lnTo>
                      <a:pt x="13" y="151"/>
                    </a:lnTo>
                    <a:lnTo>
                      <a:pt x="15" y="152"/>
                    </a:lnTo>
                    <a:lnTo>
                      <a:pt x="23" y="145"/>
                    </a:lnTo>
                    <a:lnTo>
                      <a:pt x="27" y="14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95" name="Freeform 182">
                <a:extLst>
                  <a:ext uri="{FF2B5EF4-FFF2-40B4-BE49-F238E27FC236}">
                    <a16:creationId xmlns:a16="http://schemas.microsoft.com/office/drawing/2014/main" id="{45A976AF-ACCC-4439-EB75-4500DA57CEBE}"/>
                  </a:ext>
                </a:extLst>
              </p:cNvPr>
              <p:cNvSpPr>
                <a:spLocks noEditPoints="1"/>
              </p:cNvSpPr>
              <p:nvPr/>
            </p:nvSpPr>
            <p:spPr bwMode="auto">
              <a:xfrm>
                <a:off x="4080" y="2903"/>
                <a:ext cx="185" cy="306"/>
              </a:xfrm>
              <a:custGeom>
                <a:avLst/>
                <a:gdLst>
                  <a:gd name="T0" fmla="*/ 145 w 185"/>
                  <a:gd name="T1" fmla="*/ 16 h 306"/>
                  <a:gd name="T2" fmla="*/ 133 w 185"/>
                  <a:gd name="T3" fmla="*/ 16 h 306"/>
                  <a:gd name="T4" fmla="*/ 126 w 185"/>
                  <a:gd name="T5" fmla="*/ 22 h 306"/>
                  <a:gd name="T6" fmla="*/ 106 w 185"/>
                  <a:gd name="T7" fmla="*/ 22 h 306"/>
                  <a:gd name="T8" fmla="*/ 97 w 185"/>
                  <a:gd name="T9" fmla="*/ 19 h 306"/>
                  <a:gd name="T10" fmla="*/ 79 w 185"/>
                  <a:gd name="T11" fmla="*/ 20 h 306"/>
                  <a:gd name="T12" fmla="*/ 76 w 185"/>
                  <a:gd name="T13" fmla="*/ 52 h 306"/>
                  <a:gd name="T14" fmla="*/ 95 w 185"/>
                  <a:gd name="T15" fmla="*/ 70 h 306"/>
                  <a:gd name="T16" fmla="*/ 97 w 185"/>
                  <a:gd name="T17" fmla="*/ 95 h 306"/>
                  <a:gd name="T18" fmla="*/ 89 w 185"/>
                  <a:gd name="T19" fmla="*/ 103 h 306"/>
                  <a:gd name="T20" fmla="*/ 87 w 185"/>
                  <a:gd name="T21" fmla="*/ 116 h 306"/>
                  <a:gd name="T22" fmla="*/ 84 w 185"/>
                  <a:gd name="T23" fmla="*/ 118 h 306"/>
                  <a:gd name="T24" fmla="*/ 73 w 185"/>
                  <a:gd name="T25" fmla="*/ 103 h 306"/>
                  <a:gd name="T26" fmla="*/ 74 w 185"/>
                  <a:gd name="T27" fmla="*/ 88 h 306"/>
                  <a:gd name="T28" fmla="*/ 74 w 185"/>
                  <a:gd name="T29" fmla="*/ 75 h 306"/>
                  <a:gd name="T30" fmla="*/ 60 w 185"/>
                  <a:gd name="T31" fmla="*/ 73 h 306"/>
                  <a:gd name="T32" fmla="*/ 3 w 185"/>
                  <a:gd name="T33" fmla="*/ 80 h 306"/>
                  <a:gd name="T34" fmla="*/ 1 w 185"/>
                  <a:gd name="T35" fmla="*/ 91 h 306"/>
                  <a:gd name="T36" fmla="*/ 5 w 185"/>
                  <a:gd name="T37" fmla="*/ 101 h 306"/>
                  <a:gd name="T38" fmla="*/ 28 w 185"/>
                  <a:gd name="T39" fmla="*/ 106 h 306"/>
                  <a:gd name="T40" fmla="*/ 40 w 185"/>
                  <a:gd name="T41" fmla="*/ 109 h 306"/>
                  <a:gd name="T42" fmla="*/ 46 w 185"/>
                  <a:gd name="T43" fmla="*/ 114 h 306"/>
                  <a:gd name="T44" fmla="*/ 46 w 185"/>
                  <a:gd name="T45" fmla="*/ 116 h 306"/>
                  <a:gd name="T46" fmla="*/ 47 w 185"/>
                  <a:gd name="T47" fmla="*/ 144 h 306"/>
                  <a:gd name="T48" fmla="*/ 43 w 185"/>
                  <a:gd name="T49" fmla="*/ 154 h 306"/>
                  <a:gd name="T50" fmla="*/ 46 w 185"/>
                  <a:gd name="T51" fmla="*/ 158 h 306"/>
                  <a:gd name="T52" fmla="*/ 44 w 185"/>
                  <a:gd name="T53" fmla="*/ 165 h 306"/>
                  <a:gd name="T54" fmla="*/ 47 w 185"/>
                  <a:gd name="T55" fmla="*/ 174 h 306"/>
                  <a:gd name="T56" fmla="*/ 40 w 185"/>
                  <a:gd name="T57" fmla="*/ 187 h 306"/>
                  <a:gd name="T58" fmla="*/ 37 w 185"/>
                  <a:gd name="T59" fmla="*/ 195 h 306"/>
                  <a:gd name="T60" fmla="*/ 31 w 185"/>
                  <a:gd name="T61" fmla="*/ 205 h 306"/>
                  <a:gd name="T62" fmla="*/ 28 w 185"/>
                  <a:gd name="T63" fmla="*/ 251 h 306"/>
                  <a:gd name="T64" fmla="*/ 30 w 185"/>
                  <a:gd name="T65" fmla="*/ 287 h 306"/>
                  <a:gd name="T66" fmla="*/ 46 w 185"/>
                  <a:gd name="T67" fmla="*/ 306 h 306"/>
                  <a:gd name="T68" fmla="*/ 46 w 185"/>
                  <a:gd name="T69" fmla="*/ 295 h 306"/>
                  <a:gd name="T70" fmla="*/ 43 w 185"/>
                  <a:gd name="T71" fmla="*/ 283 h 306"/>
                  <a:gd name="T72" fmla="*/ 76 w 185"/>
                  <a:gd name="T73" fmla="*/ 266 h 306"/>
                  <a:gd name="T74" fmla="*/ 92 w 185"/>
                  <a:gd name="T75" fmla="*/ 246 h 306"/>
                  <a:gd name="T76" fmla="*/ 92 w 185"/>
                  <a:gd name="T77" fmla="*/ 234 h 306"/>
                  <a:gd name="T78" fmla="*/ 93 w 185"/>
                  <a:gd name="T79" fmla="*/ 218 h 306"/>
                  <a:gd name="T80" fmla="*/ 89 w 185"/>
                  <a:gd name="T81" fmla="*/ 218 h 306"/>
                  <a:gd name="T82" fmla="*/ 77 w 185"/>
                  <a:gd name="T83" fmla="*/ 181 h 306"/>
                  <a:gd name="T84" fmla="*/ 79 w 185"/>
                  <a:gd name="T85" fmla="*/ 170 h 306"/>
                  <a:gd name="T86" fmla="*/ 87 w 185"/>
                  <a:gd name="T87" fmla="*/ 167 h 306"/>
                  <a:gd name="T88" fmla="*/ 103 w 185"/>
                  <a:gd name="T89" fmla="*/ 152 h 306"/>
                  <a:gd name="T90" fmla="*/ 119 w 185"/>
                  <a:gd name="T91" fmla="*/ 135 h 306"/>
                  <a:gd name="T92" fmla="*/ 152 w 185"/>
                  <a:gd name="T93" fmla="*/ 118 h 306"/>
                  <a:gd name="T94" fmla="*/ 168 w 185"/>
                  <a:gd name="T95" fmla="*/ 106 h 306"/>
                  <a:gd name="T96" fmla="*/ 171 w 185"/>
                  <a:gd name="T97" fmla="*/ 103 h 306"/>
                  <a:gd name="T98" fmla="*/ 182 w 185"/>
                  <a:gd name="T99" fmla="*/ 83 h 306"/>
                  <a:gd name="T100" fmla="*/ 185 w 185"/>
                  <a:gd name="T101" fmla="*/ 73 h 306"/>
                  <a:gd name="T102" fmla="*/ 184 w 185"/>
                  <a:gd name="T103" fmla="*/ 70 h 306"/>
                  <a:gd name="T104" fmla="*/ 182 w 185"/>
                  <a:gd name="T105" fmla="*/ 66 h 306"/>
                  <a:gd name="T106" fmla="*/ 181 w 185"/>
                  <a:gd name="T107" fmla="*/ 46 h 306"/>
                  <a:gd name="T108" fmla="*/ 179 w 185"/>
                  <a:gd name="T109" fmla="*/ 43 h 306"/>
                  <a:gd name="T110" fmla="*/ 179 w 185"/>
                  <a:gd name="T111" fmla="*/ 19 h 306"/>
                  <a:gd name="T112" fmla="*/ 181 w 185"/>
                  <a:gd name="T113" fmla="*/ 6 h 306"/>
                  <a:gd name="T114" fmla="*/ 181 w 185"/>
                  <a:gd name="T115" fmla="*/ 4 h 306"/>
                  <a:gd name="T116" fmla="*/ 179 w 185"/>
                  <a:gd name="T117" fmla="*/ 0 h 306"/>
                  <a:gd name="T118" fmla="*/ 76 w 185"/>
                  <a:gd name="T119" fmla="*/ 27 h 306"/>
                  <a:gd name="T120" fmla="*/ 77 w 185"/>
                  <a:gd name="T121" fmla="*/ 2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5" h="306">
                    <a:moveTo>
                      <a:pt x="168" y="7"/>
                    </a:moveTo>
                    <a:lnTo>
                      <a:pt x="161" y="10"/>
                    </a:lnTo>
                    <a:lnTo>
                      <a:pt x="152" y="13"/>
                    </a:lnTo>
                    <a:lnTo>
                      <a:pt x="149" y="14"/>
                    </a:lnTo>
                    <a:lnTo>
                      <a:pt x="145" y="16"/>
                    </a:lnTo>
                    <a:lnTo>
                      <a:pt x="145" y="16"/>
                    </a:lnTo>
                    <a:lnTo>
                      <a:pt x="139" y="14"/>
                    </a:lnTo>
                    <a:lnTo>
                      <a:pt x="136" y="14"/>
                    </a:lnTo>
                    <a:lnTo>
                      <a:pt x="135" y="14"/>
                    </a:lnTo>
                    <a:lnTo>
                      <a:pt x="133" y="16"/>
                    </a:lnTo>
                    <a:lnTo>
                      <a:pt x="133" y="16"/>
                    </a:lnTo>
                    <a:lnTo>
                      <a:pt x="133" y="17"/>
                    </a:lnTo>
                    <a:lnTo>
                      <a:pt x="132" y="19"/>
                    </a:lnTo>
                    <a:lnTo>
                      <a:pt x="129" y="22"/>
                    </a:lnTo>
                    <a:lnTo>
                      <a:pt x="126" y="22"/>
                    </a:lnTo>
                    <a:lnTo>
                      <a:pt x="123" y="22"/>
                    </a:lnTo>
                    <a:lnTo>
                      <a:pt x="119" y="20"/>
                    </a:lnTo>
                    <a:lnTo>
                      <a:pt x="116" y="20"/>
                    </a:lnTo>
                    <a:lnTo>
                      <a:pt x="109" y="23"/>
                    </a:lnTo>
                    <a:lnTo>
                      <a:pt x="106" y="22"/>
                    </a:lnTo>
                    <a:lnTo>
                      <a:pt x="105" y="22"/>
                    </a:lnTo>
                    <a:lnTo>
                      <a:pt x="102" y="19"/>
                    </a:lnTo>
                    <a:lnTo>
                      <a:pt x="100" y="19"/>
                    </a:lnTo>
                    <a:lnTo>
                      <a:pt x="99" y="17"/>
                    </a:lnTo>
                    <a:lnTo>
                      <a:pt x="97" y="19"/>
                    </a:lnTo>
                    <a:lnTo>
                      <a:pt x="96" y="19"/>
                    </a:lnTo>
                    <a:lnTo>
                      <a:pt x="95" y="20"/>
                    </a:lnTo>
                    <a:lnTo>
                      <a:pt x="92" y="20"/>
                    </a:lnTo>
                    <a:lnTo>
                      <a:pt x="82" y="20"/>
                    </a:lnTo>
                    <a:lnTo>
                      <a:pt x="79" y="20"/>
                    </a:lnTo>
                    <a:lnTo>
                      <a:pt x="77" y="20"/>
                    </a:lnTo>
                    <a:lnTo>
                      <a:pt x="76" y="23"/>
                    </a:lnTo>
                    <a:lnTo>
                      <a:pt x="73" y="30"/>
                    </a:lnTo>
                    <a:lnTo>
                      <a:pt x="72" y="32"/>
                    </a:lnTo>
                    <a:lnTo>
                      <a:pt x="76" y="52"/>
                    </a:lnTo>
                    <a:lnTo>
                      <a:pt x="77" y="53"/>
                    </a:lnTo>
                    <a:lnTo>
                      <a:pt x="82" y="56"/>
                    </a:lnTo>
                    <a:lnTo>
                      <a:pt x="86" y="59"/>
                    </a:lnTo>
                    <a:lnTo>
                      <a:pt x="90" y="65"/>
                    </a:lnTo>
                    <a:lnTo>
                      <a:pt x="95" y="70"/>
                    </a:lnTo>
                    <a:lnTo>
                      <a:pt x="97" y="75"/>
                    </a:lnTo>
                    <a:lnTo>
                      <a:pt x="97" y="78"/>
                    </a:lnTo>
                    <a:lnTo>
                      <a:pt x="97" y="80"/>
                    </a:lnTo>
                    <a:lnTo>
                      <a:pt x="97" y="85"/>
                    </a:lnTo>
                    <a:lnTo>
                      <a:pt x="97" y="95"/>
                    </a:lnTo>
                    <a:lnTo>
                      <a:pt x="97" y="98"/>
                    </a:lnTo>
                    <a:lnTo>
                      <a:pt x="96" y="101"/>
                    </a:lnTo>
                    <a:lnTo>
                      <a:pt x="95" y="102"/>
                    </a:lnTo>
                    <a:lnTo>
                      <a:pt x="92" y="102"/>
                    </a:lnTo>
                    <a:lnTo>
                      <a:pt x="89" y="103"/>
                    </a:lnTo>
                    <a:lnTo>
                      <a:pt x="87" y="105"/>
                    </a:lnTo>
                    <a:lnTo>
                      <a:pt x="87" y="106"/>
                    </a:lnTo>
                    <a:lnTo>
                      <a:pt x="86" y="109"/>
                    </a:lnTo>
                    <a:lnTo>
                      <a:pt x="86" y="111"/>
                    </a:lnTo>
                    <a:lnTo>
                      <a:pt x="87" y="116"/>
                    </a:lnTo>
                    <a:lnTo>
                      <a:pt x="89" y="119"/>
                    </a:lnTo>
                    <a:lnTo>
                      <a:pt x="86" y="121"/>
                    </a:lnTo>
                    <a:lnTo>
                      <a:pt x="84" y="121"/>
                    </a:lnTo>
                    <a:lnTo>
                      <a:pt x="84" y="119"/>
                    </a:lnTo>
                    <a:lnTo>
                      <a:pt x="84" y="118"/>
                    </a:lnTo>
                    <a:lnTo>
                      <a:pt x="84" y="116"/>
                    </a:lnTo>
                    <a:lnTo>
                      <a:pt x="83" y="115"/>
                    </a:lnTo>
                    <a:lnTo>
                      <a:pt x="77" y="109"/>
                    </a:lnTo>
                    <a:lnTo>
                      <a:pt x="74" y="105"/>
                    </a:lnTo>
                    <a:lnTo>
                      <a:pt x="73" y="103"/>
                    </a:lnTo>
                    <a:lnTo>
                      <a:pt x="70" y="99"/>
                    </a:lnTo>
                    <a:lnTo>
                      <a:pt x="70" y="98"/>
                    </a:lnTo>
                    <a:lnTo>
                      <a:pt x="70" y="96"/>
                    </a:lnTo>
                    <a:lnTo>
                      <a:pt x="72" y="93"/>
                    </a:lnTo>
                    <a:lnTo>
                      <a:pt x="74" y="88"/>
                    </a:lnTo>
                    <a:lnTo>
                      <a:pt x="74" y="86"/>
                    </a:lnTo>
                    <a:lnTo>
                      <a:pt x="76" y="83"/>
                    </a:lnTo>
                    <a:lnTo>
                      <a:pt x="76" y="80"/>
                    </a:lnTo>
                    <a:lnTo>
                      <a:pt x="74" y="78"/>
                    </a:lnTo>
                    <a:lnTo>
                      <a:pt x="74" y="75"/>
                    </a:lnTo>
                    <a:lnTo>
                      <a:pt x="73" y="72"/>
                    </a:lnTo>
                    <a:lnTo>
                      <a:pt x="72" y="72"/>
                    </a:lnTo>
                    <a:lnTo>
                      <a:pt x="69" y="72"/>
                    </a:lnTo>
                    <a:lnTo>
                      <a:pt x="62" y="73"/>
                    </a:lnTo>
                    <a:lnTo>
                      <a:pt x="60" y="73"/>
                    </a:lnTo>
                    <a:lnTo>
                      <a:pt x="59" y="73"/>
                    </a:lnTo>
                    <a:lnTo>
                      <a:pt x="56" y="72"/>
                    </a:lnTo>
                    <a:lnTo>
                      <a:pt x="53" y="66"/>
                    </a:lnTo>
                    <a:lnTo>
                      <a:pt x="51" y="63"/>
                    </a:lnTo>
                    <a:lnTo>
                      <a:pt x="3" y="80"/>
                    </a:lnTo>
                    <a:lnTo>
                      <a:pt x="0" y="80"/>
                    </a:lnTo>
                    <a:lnTo>
                      <a:pt x="0" y="82"/>
                    </a:lnTo>
                    <a:lnTo>
                      <a:pt x="0" y="83"/>
                    </a:lnTo>
                    <a:lnTo>
                      <a:pt x="0" y="85"/>
                    </a:lnTo>
                    <a:lnTo>
                      <a:pt x="1" y="91"/>
                    </a:lnTo>
                    <a:lnTo>
                      <a:pt x="3" y="93"/>
                    </a:lnTo>
                    <a:lnTo>
                      <a:pt x="3" y="96"/>
                    </a:lnTo>
                    <a:lnTo>
                      <a:pt x="3" y="98"/>
                    </a:lnTo>
                    <a:lnTo>
                      <a:pt x="4" y="99"/>
                    </a:lnTo>
                    <a:lnTo>
                      <a:pt x="5" y="101"/>
                    </a:lnTo>
                    <a:lnTo>
                      <a:pt x="14" y="101"/>
                    </a:lnTo>
                    <a:lnTo>
                      <a:pt x="17" y="101"/>
                    </a:lnTo>
                    <a:lnTo>
                      <a:pt x="21" y="103"/>
                    </a:lnTo>
                    <a:lnTo>
                      <a:pt x="27" y="105"/>
                    </a:lnTo>
                    <a:lnTo>
                      <a:pt x="28" y="106"/>
                    </a:lnTo>
                    <a:lnTo>
                      <a:pt x="30" y="108"/>
                    </a:lnTo>
                    <a:lnTo>
                      <a:pt x="31" y="108"/>
                    </a:lnTo>
                    <a:lnTo>
                      <a:pt x="36" y="109"/>
                    </a:lnTo>
                    <a:lnTo>
                      <a:pt x="37" y="109"/>
                    </a:lnTo>
                    <a:lnTo>
                      <a:pt x="40" y="109"/>
                    </a:lnTo>
                    <a:lnTo>
                      <a:pt x="41" y="111"/>
                    </a:lnTo>
                    <a:lnTo>
                      <a:pt x="43" y="112"/>
                    </a:lnTo>
                    <a:lnTo>
                      <a:pt x="44" y="112"/>
                    </a:lnTo>
                    <a:lnTo>
                      <a:pt x="46" y="114"/>
                    </a:lnTo>
                    <a:lnTo>
                      <a:pt x="46" y="114"/>
                    </a:lnTo>
                    <a:lnTo>
                      <a:pt x="46" y="114"/>
                    </a:lnTo>
                    <a:lnTo>
                      <a:pt x="47" y="114"/>
                    </a:lnTo>
                    <a:lnTo>
                      <a:pt x="47" y="114"/>
                    </a:lnTo>
                    <a:lnTo>
                      <a:pt x="46" y="116"/>
                    </a:lnTo>
                    <a:lnTo>
                      <a:pt x="46" y="116"/>
                    </a:lnTo>
                    <a:lnTo>
                      <a:pt x="46" y="119"/>
                    </a:lnTo>
                    <a:lnTo>
                      <a:pt x="47" y="124"/>
                    </a:lnTo>
                    <a:lnTo>
                      <a:pt x="47" y="126"/>
                    </a:lnTo>
                    <a:lnTo>
                      <a:pt x="47" y="137"/>
                    </a:lnTo>
                    <a:lnTo>
                      <a:pt x="47" y="144"/>
                    </a:lnTo>
                    <a:lnTo>
                      <a:pt x="47" y="147"/>
                    </a:lnTo>
                    <a:lnTo>
                      <a:pt x="46" y="151"/>
                    </a:lnTo>
                    <a:lnTo>
                      <a:pt x="44" y="152"/>
                    </a:lnTo>
                    <a:lnTo>
                      <a:pt x="43" y="152"/>
                    </a:lnTo>
                    <a:lnTo>
                      <a:pt x="43" y="154"/>
                    </a:lnTo>
                    <a:lnTo>
                      <a:pt x="43" y="155"/>
                    </a:lnTo>
                    <a:lnTo>
                      <a:pt x="43" y="155"/>
                    </a:lnTo>
                    <a:lnTo>
                      <a:pt x="44" y="157"/>
                    </a:lnTo>
                    <a:lnTo>
                      <a:pt x="44" y="157"/>
                    </a:lnTo>
                    <a:lnTo>
                      <a:pt x="46" y="158"/>
                    </a:lnTo>
                    <a:lnTo>
                      <a:pt x="44" y="159"/>
                    </a:lnTo>
                    <a:lnTo>
                      <a:pt x="44" y="161"/>
                    </a:lnTo>
                    <a:lnTo>
                      <a:pt x="44" y="162"/>
                    </a:lnTo>
                    <a:lnTo>
                      <a:pt x="44" y="164"/>
                    </a:lnTo>
                    <a:lnTo>
                      <a:pt x="44" y="165"/>
                    </a:lnTo>
                    <a:lnTo>
                      <a:pt x="44" y="167"/>
                    </a:lnTo>
                    <a:lnTo>
                      <a:pt x="46" y="168"/>
                    </a:lnTo>
                    <a:lnTo>
                      <a:pt x="47" y="171"/>
                    </a:lnTo>
                    <a:lnTo>
                      <a:pt x="47" y="172"/>
                    </a:lnTo>
                    <a:lnTo>
                      <a:pt x="47" y="174"/>
                    </a:lnTo>
                    <a:lnTo>
                      <a:pt x="47" y="175"/>
                    </a:lnTo>
                    <a:lnTo>
                      <a:pt x="46" y="178"/>
                    </a:lnTo>
                    <a:lnTo>
                      <a:pt x="44" y="180"/>
                    </a:lnTo>
                    <a:lnTo>
                      <a:pt x="43" y="182"/>
                    </a:lnTo>
                    <a:lnTo>
                      <a:pt x="40" y="187"/>
                    </a:lnTo>
                    <a:lnTo>
                      <a:pt x="39" y="188"/>
                    </a:lnTo>
                    <a:lnTo>
                      <a:pt x="39" y="190"/>
                    </a:lnTo>
                    <a:lnTo>
                      <a:pt x="39" y="191"/>
                    </a:lnTo>
                    <a:lnTo>
                      <a:pt x="37" y="194"/>
                    </a:lnTo>
                    <a:lnTo>
                      <a:pt x="37" y="195"/>
                    </a:lnTo>
                    <a:lnTo>
                      <a:pt x="37" y="197"/>
                    </a:lnTo>
                    <a:lnTo>
                      <a:pt x="37" y="198"/>
                    </a:lnTo>
                    <a:lnTo>
                      <a:pt x="37" y="198"/>
                    </a:lnTo>
                    <a:lnTo>
                      <a:pt x="36" y="200"/>
                    </a:lnTo>
                    <a:lnTo>
                      <a:pt x="31" y="205"/>
                    </a:lnTo>
                    <a:lnTo>
                      <a:pt x="21" y="216"/>
                    </a:lnTo>
                    <a:lnTo>
                      <a:pt x="17" y="220"/>
                    </a:lnTo>
                    <a:lnTo>
                      <a:pt x="18" y="224"/>
                    </a:lnTo>
                    <a:lnTo>
                      <a:pt x="23" y="241"/>
                    </a:lnTo>
                    <a:lnTo>
                      <a:pt x="28" y="251"/>
                    </a:lnTo>
                    <a:lnTo>
                      <a:pt x="28" y="256"/>
                    </a:lnTo>
                    <a:lnTo>
                      <a:pt x="30" y="260"/>
                    </a:lnTo>
                    <a:lnTo>
                      <a:pt x="30" y="279"/>
                    </a:lnTo>
                    <a:lnTo>
                      <a:pt x="28" y="286"/>
                    </a:lnTo>
                    <a:lnTo>
                      <a:pt x="30" y="287"/>
                    </a:lnTo>
                    <a:lnTo>
                      <a:pt x="31" y="290"/>
                    </a:lnTo>
                    <a:lnTo>
                      <a:pt x="31" y="296"/>
                    </a:lnTo>
                    <a:lnTo>
                      <a:pt x="33" y="305"/>
                    </a:lnTo>
                    <a:lnTo>
                      <a:pt x="36" y="305"/>
                    </a:lnTo>
                    <a:lnTo>
                      <a:pt x="46" y="306"/>
                    </a:lnTo>
                    <a:lnTo>
                      <a:pt x="47" y="290"/>
                    </a:lnTo>
                    <a:lnTo>
                      <a:pt x="46" y="290"/>
                    </a:lnTo>
                    <a:lnTo>
                      <a:pt x="46" y="292"/>
                    </a:lnTo>
                    <a:lnTo>
                      <a:pt x="46" y="293"/>
                    </a:lnTo>
                    <a:lnTo>
                      <a:pt x="46" y="295"/>
                    </a:lnTo>
                    <a:lnTo>
                      <a:pt x="43" y="292"/>
                    </a:lnTo>
                    <a:lnTo>
                      <a:pt x="41" y="290"/>
                    </a:lnTo>
                    <a:lnTo>
                      <a:pt x="41" y="289"/>
                    </a:lnTo>
                    <a:lnTo>
                      <a:pt x="41" y="286"/>
                    </a:lnTo>
                    <a:lnTo>
                      <a:pt x="43" y="283"/>
                    </a:lnTo>
                    <a:lnTo>
                      <a:pt x="46" y="280"/>
                    </a:lnTo>
                    <a:lnTo>
                      <a:pt x="47" y="279"/>
                    </a:lnTo>
                    <a:lnTo>
                      <a:pt x="50" y="276"/>
                    </a:lnTo>
                    <a:lnTo>
                      <a:pt x="57" y="273"/>
                    </a:lnTo>
                    <a:lnTo>
                      <a:pt x="76" y="266"/>
                    </a:lnTo>
                    <a:lnTo>
                      <a:pt x="82" y="263"/>
                    </a:lnTo>
                    <a:lnTo>
                      <a:pt x="87" y="259"/>
                    </a:lnTo>
                    <a:lnTo>
                      <a:pt x="92" y="253"/>
                    </a:lnTo>
                    <a:lnTo>
                      <a:pt x="92" y="247"/>
                    </a:lnTo>
                    <a:lnTo>
                      <a:pt x="92" y="246"/>
                    </a:lnTo>
                    <a:lnTo>
                      <a:pt x="90" y="246"/>
                    </a:lnTo>
                    <a:lnTo>
                      <a:pt x="90" y="246"/>
                    </a:lnTo>
                    <a:lnTo>
                      <a:pt x="90" y="244"/>
                    </a:lnTo>
                    <a:lnTo>
                      <a:pt x="90" y="240"/>
                    </a:lnTo>
                    <a:lnTo>
                      <a:pt x="92" y="234"/>
                    </a:lnTo>
                    <a:lnTo>
                      <a:pt x="93" y="230"/>
                    </a:lnTo>
                    <a:lnTo>
                      <a:pt x="93" y="228"/>
                    </a:lnTo>
                    <a:lnTo>
                      <a:pt x="92" y="226"/>
                    </a:lnTo>
                    <a:lnTo>
                      <a:pt x="92" y="224"/>
                    </a:lnTo>
                    <a:lnTo>
                      <a:pt x="93" y="218"/>
                    </a:lnTo>
                    <a:lnTo>
                      <a:pt x="92" y="217"/>
                    </a:lnTo>
                    <a:lnTo>
                      <a:pt x="92" y="214"/>
                    </a:lnTo>
                    <a:lnTo>
                      <a:pt x="90" y="216"/>
                    </a:lnTo>
                    <a:lnTo>
                      <a:pt x="90" y="220"/>
                    </a:lnTo>
                    <a:lnTo>
                      <a:pt x="89" y="218"/>
                    </a:lnTo>
                    <a:lnTo>
                      <a:pt x="87" y="207"/>
                    </a:lnTo>
                    <a:lnTo>
                      <a:pt x="84" y="193"/>
                    </a:lnTo>
                    <a:lnTo>
                      <a:pt x="83" y="190"/>
                    </a:lnTo>
                    <a:lnTo>
                      <a:pt x="79" y="184"/>
                    </a:lnTo>
                    <a:lnTo>
                      <a:pt x="77" y="181"/>
                    </a:lnTo>
                    <a:lnTo>
                      <a:pt x="77" y="178"/>
                    </a:lnTo>
                    <a:lnTo>
                      <a:pt x="79" y="174"/>
                    </a:lnTo>
                    <a:lnTo>
                      <a:pt x="79" y="171"/>
                    </a:lnTo>
                    <a:lnTo>
                      <a:pt x="77" y="168"/>
                    </a:lnTo>
                    <a:lnTo>
                      <a:pt x="79" y="170"/>
                    </a:lnTo>
                    <a:lnTo>
                      <a:pt x="80" y="170"/>
                    </a:lnTo>
                    <a:lnTo>
                      <a:pt x="82" y="170"/>
                    </a:lnTo>
                    <a:lnTo>
                      <a:pt x="83" y="170"/>
                    </a:lnTo>
                    <a:lnTo>
                      <a:pt x="86" y="168"/>
                    </a:lnTo>
                    <a:lnTo>
                      <a:pt x="87" y="167"/>
                    </a:lnTo>
                    <a:lnTo>
                      <a:pt x="96" y="158"/>
                    </a:lnTo>
                    <a:lnTo>
                      <a:pt x="97" y="155"/>
                    </a:lnTo>
                    <a:lnTo>
                      <a:pt x="100" y="154"/>
                    </a:lnTo>
                    <a:lnTo>
                      <a:pt x="102" y="154"/>
                    </a:lnTo>
                    <a:lnTo>
                      <a:pt x="103" y="152"/>
                    </a:lnTo>
                    <a:lnTo>
                      <a:pt x="105" y="152"/>
                    </a:lnTo>
                    <a:lnTo>
                      <a:pt x="105" y="149"/>
                    </a:lnTo>
                    <a:lnTo>
                      <a:pt x="107" y="151"/>
                    </a:lnTo>
                    <a:lnTo>
                      <a:pt x="109" y="148"/>
                    </a:lnTo>
                    <a:lnTo>
                      <a:pt x="119" y="135"/>
                    </a:lnTo>
                    <a:lnTo>
                      <a:pt x="122" y="134"/>
                    </a:lnTo>
                    <a:lnTo>
                      <a:pt x="128" y="129"/>
                    </a:lnTo>
                    <a:lnTo>
                      <a:pt x="133" y="125"/>
                    </a:lnTo>
                    <a:lnTo>
                      <a:pt x="140" y="122"/>
                    </a:lnTo>
                    <a:lnTo>
                      <a:pt x="152" y="118"/>
                    </a:lnTo>
                    <a:lnTo>
                      <a:pt x="153" y="118"/>
                    </a:lnTo>
                    <a:lnTo>
                      <a:pt x="165" y="111"/>
                    </a:lnTo>
                    <a:lnTo>
                      <a:pt x="168" y="108"/>
                    </a:lnTo>
                    <a:lnTo>
                      <a:pt x="168" y="108"/>
                    </a:lnTo>
                    <a:lnTo>
                      <a:pt x="168" y="106"/>
                    </a:lnTo>
                    <a:lnTo>
                      <a:pt x="168" y="105"/>
                    </a:lnTo>
                    <a:lnTo>
                      <a:pt x="168" y="105"/>
                    </a:lnTo>
                    <a:lnTo>
                      <a:pt x="169" y="105"/>
                    </a:lnTo>
                    <a:lnTo>
                      <a:pt x="171" y="105"/>
                    </a:lnTo>
                    <a:lnTo>
                      <a:pt x="171" y="103"/>
                    </a:lnTo>
                    <a:lnTo>
                      <a:pt x="172" y="101"/>
                    </a:lnTo>
                    <a:lnTo>
                      <a:pt x="179" y="92"/>
                    </a:lnTo>
                    <a:lnTo>
                      <a:pt x="181" y="89"/>
                    </a:lnTo>
                    <a:lnTo>
                      <a:pt x="182" y="88"/>
                    </a:lnTo>
                    <a:lnTo>
                      <a:pt x="182" y="83"/>
                    </a:lnTo>
                    <a:lnTo>
                      <a:pt x="182" y="82"/>
                    </a:lnTo>
                    <a:lnTo>
                      <a:pt x="185" y="79"/>
                    </a:lnTo>
                    <a:lnTo>
                      <a:pt x="185" y="79"/>
                    </a:lnTo>
                    <a:lnTo>
                      <a:pt x="185" y="76"/>
                    </a:lnTo>
                    <a:lnTo>
                      <a:pt x="185" y="73"/>
                    </a:lnTo>
                    <a:lnTo>
                      <a:pt x="184" y="72"/>
                    </a:lnTo>
                    <a:lnTo>
                      <a:pt x="182" y="73"/>
                    </a:lnTo>
                    <a:lnTo>
                      <a:pt x="182" y="72"/>
                    </a:lnTo>
                    <a:lnTo>
                      <a:pt x="182" y="70"/>
                    </a:lnTo>
                    <a:lnTo>
                      <a:pt x="184" y="70"/>
                    </a:lnTo>
                    <a:lnTo>
                      <a:pt x="184" y="69"/>
                    </a:lnTo>
                    <a:lnTo>
                      <a:pt x="184" y="68"/>
                    </a:lnTo>
                    <a:lnTo>
                      <a:pt x="182" y="68"/>
                    </a:lnTo>
                    <a:lnTo>
                      <a:pt x="182" y="68"/>
                    </a:lnTo>
                    <a:lnTo>
                      <a:pt x="182" y="66"/>
                    </a:lnTo>
                    <a:lnTo>
                      <a:pt x="181" y="63"/>
                    </a:lnTo>
                    <a:lnTo>
                      <a:pt x="181" y="56"/>
                    </a:lnTo>
                    <a:lnTo>
                      <a:pt x="181" y="49"/>
                    </a:lnTo>
                    <a:lnTo>
                      <a:pt x="181" y="46"/>
                    </a:lnTo>
                    <a:lnTo>
                      <a:pt x="181" y="46"/>
                    </a:lnTo>
                    <a:lnTo>
                      <a:pt x="179" y="45"/>
                    </a:lnTo>
                    <a:lnTo>
                      <a:pt x="179" y="45"/>
                    </a:lnTo>
                    <a:lnTo>
                      <a:pt x="178" y="45"/>
                    </a:lnTo>
                    <a:lnTo>
                      <a:pt x="179" y="43"/>
                    </a:lnTo>
                    <a:lnTo>
                      <a:pt x="179" y="43"/>
                    </a:lnTo>
                    <a:lnTo>
                      <a:pt x="181" y="43"/>
                    </a:lnTo>
                    <a:lnTo>
                      <a:pt x="181" y="42"/>
                    </a:lnTo>
                    <a:lnTo>
                      <a:pt x="181" y="40"/>
                    </a:lnTo>
                    <a:lnTo>
                      <a:pt x="179" y="33"/>
                    </a:lnTo>
                    <a:lnTo>
                      <a:pt x="179" y="19"/>
                    </a:lnTo>
                    <a:lnTo>
                      <a:pt x="179" y="16"/>
                    </a:lnTo>
                    <a:lnTo>
                      <a:pt x="179" y="13"/>
                    </a:lnTo>
                    <a:lnTo>
                      <a:pt x="179" y="10"/>
                    </a:lnTo>
                    <a:lnTo>
                      <a:pt x="181" y="7"/>
                    </a:lnTo>
                    <a:lnTo>
                      <a:pt x="181" y="6"/>
                    </a:lnTo>
                    <a:lnTo>
                      <a:pt x="181" y="6"/>
                    </a:lnTo>
                    <a:lnTo>
                      <a:pt x="179" y="6"/>
                    </a:lnTo>
                    <a:lnTo>
                      <a:pt x="179" y="6"/>
                    </a:lnTo>
                    <a:lnTo>
                      <a:pt x="181" y="4"/>
                    </a:lnTo>
                    <a:lnTo>
                      <a:pt x="181" y="4"/>
                    </a:lnTo>
                    <a:lnTo>
                      <a:pt x="182" y="3"/>
                    </a:lnTo>
                    <a:lnTo>
                      <a:pt x="181" y="3"/>
                    </a:lnTo>
                    <a:lnTo>
                      <a:pt x="181" y="1"/>
                    </a:lnTo>
                    <a:lnTo>
                      <a:pt x="179" y="1"/>
                    </a:lnTo>
                    <a:lnTo>
                      <a:pt x="179" y="0"/>
                    </a:lnTo>
                    <a:lnTo>
                      <a:pt x="174" y="4"/>
                    </a:lnTo>
                    <a:lnTo>
                      <a:pt x="168" y="7"/>
                    </a:lnTo>
                    <a:close/>
                    <a:moveTo>
                      <a:pt x="76" y="29"/>
                    </a:moveTo>
                    <a:lnTo>
                      <a:pt x="74" y="27"/>
                    </a:lnTo>
                    <a:lnTo>
                      <a:pt x="76" y="27"/>
                    </a:lnTo>
                    <a:lnTo>
                      <a:pt x="77" y="27"/>
                    </a:lnTo>
                    <a:lnTo>
                      <a:pt x="76" y="29"/>
                    </a:lnTo>
                    <a:close/>
                    <a:moveTo>
                      <a:pt x="77" y="29"/>
                    </a:moveTo>
                    <a:lnTo>
                      <a:pt x="77" y="29"/>
                    </a:lnTo>
                    <a:lnTo>
                      <a:pt x="77" y="27"/>
                    </a:lnTo>
                    <a:lnTo>
                      <a:pt x="79" y="29"/>
                    </a:lnTo>
                    <a:lnTo>
                      <a:pt x="77" y="2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96" name="Freeform 183">
                <a:extLst>
                  <a:ext uri="{FF2B5EF4-FFF2-40B4-BE49-F238E27FC236}">
                    <a16:creationId xmlns:a16="http://schemas.microsoft.com/office/drawing/2014/main" id="{71577D71-F81B-2634-1CA7-A081B2373984}"/>
                  </a:ext>
                </a:extLst>
              </p:cNvPr>
              <p:cNvSpPr>
                <a:spLocks/>
              </p:cNvSpPr>
              <p:nvPr/>
            </p:nvSpPr>
            <p:spPr bwMode="auto">
              <a:xfrm>
                <a:off x="3762" y="2624"/>
                <a:ext cx="335" cy="332"/>
              </a:xfrm>
              <a:custGeom>
                <a:avLst/>
                <a:gdLst>
                  <a:gd name="T0" fmla="*/ 94 w 335"/>
                  <a:gd name="T1" fmla="*/ 234 h 332"/>
                  <a:gd name="T2" fmla="*/ 117 w 335"/>
                  <a:gd name="T3" fmla="*/ 234 h 332"/>
                  <a:gd name="T4" fmla="*/ 128 w 335"/>
                  <a:gd name="T5" fmla="*/ 223 h 332"/>
                  <a:gd name="T6" fmla="*/ 148 w 335"/>
                  <a:gd name="T7" fmla="*/ 219 h 332"/>
                  <a:gd name="T8" fmla="*/ 170 w 335"/>
                  <a:gd name="T9" fmla="*/ 226 h 332"/>
                  <a:gd name="T10" fmla="*/ 170 w 335"/>
                  <a:gd name="T11" fmla="*/ 247 h 332"/>
                  <a:gd name="T12" fmla="*/ 177 w 335"/>
                  <a:gd name="T13" fmla="*/ 278 h 332"/>
                  <a:gd name="T14" fmla="*/ 176 w 335"/>
                  <a:gd name="T15" fmla="*/ 290 h 332"/>
                  <a:gd name="T16" fmla="*/ 196 w 335"/>
                  <a:gd name="T17" fmla="*/ 289 h 332"/>
                  <a:gd name="T18" fmla="*/ 210 w 335"/>
                  <a:gd name="T19" fmla="*/ 288 h 332"/>
                  <a:gd name="T20" fmla="*/ 214 w 335"/>
                  <a:gd name="T21" fmla="*/ 293 h 332"/>
                  <a:gd name="T22" fmla="*/ 230 w 335"/>
                  <a:gd name="T23" fmla="*/ 293 h 332"/>
                  <a:gd name="T24" fmla="*/ 239 w 335"/>
                  <a:gd name="T25" fmla="*/ 303 h 332"/>
                  <a:gd name="T26" fmla="*/ 260 w 335"/>
                  <a:gd name="T27" fmla="*/ 303 h 332"/>
                  <a:gd name="T28" fmla="*/ 265 w 335"/>
                  <a:gd name="T29" fmla="*/ 303 h 332"/>
                  <a:gd name="T30" fmla="*/ 282 w 335"/>
                  <a:gd name="T31" fmla="*/ 313 h 332"/>
                  <a:gd name="T32" fmla="*/ 290 w 335"/>
                  <a:gd name="T33" fmla="*/ 324 h 332"/>
                  <a:gd name="T34" fmla="*/ 306 w 335"/>
                  <a:gd name="T35" fmla="*/ 329 h 332"/>
                  <a:gd name="T36" fmla="*/ 308 w 335"/>
                  <a:gd name="T37" fmla="*/ 309 h 332"/>
                  <a:gd name="T38" fmla="*/ 302 w 335"/>
                  <a:gd name="T39" fmla="*/ 313 h 332"/>
                  <a:gd name="T40" fmla="*/ 285 w 335"/>
                  <a:gd name="T41" fmla="*/ 299 h 332"/>
                  <a:gd name="T42" fmla="*/ 288 w 335"/>
                  <a:gd name="T43" fmla="*/ 263 h 332"/>
                  <a:gd name="T44" fmla="*/ 293 w 335"/>
                  <a:gd name="T45" fmla="*/ 249 h 332"/>
                  <a:gd name="T46" fmla="*/ 315 w 335"/>
                  <a:gd name="T47" fmla="*/ 216 h 332"/>
                  <a:gd name="T48" fmla="*/ 302 w 335"/>
                  <a:gd name="T49" fmla="*/ 181 h 332"/>
                  <a:gd name="T50" fmla="*/ 299 w 335"/>
                  <a:gd name="T51" fmla="*/ 147 h 332"/>
                  <a:gd name="T52" fmla="*/ 298 w 335"/>
                  <a:gd name="T53" fmla="*/ 131 h 332"/>
                  <a:gd name="T54" fmla="*/ 306 w 335"/>
                  <a:gd name="T55" fmla="*/ 106 h 332"/>
                  <a:gd name="T56" fmla="*/ 312 w 335"/>
                  <a:gd name="T57" fmla="*/ 79 h 332"/>
                  <a:gd name="T58" fmla="*/ 332 w 335"/>
                  <a:gd name="T59" fmla="*/ 53 h 332"/>
                  <a:gd name="T60" fmla="*/ 328 w 335"/>
                  <a:gd name="T61" fmla="*/ 43 h 332"/>
                  <a:gd name="T62" fmla="*/ 326 w 335"/>
                  <a:gd name="T63" fmla="*/ 30 h 332"/>
                  <a:gd name="T64" fmla="*/ 323 w 335"/>
                  <a:gd name="T65" fmla="*/ 29 h 332"/>
                  <a:gd name="T66" fmla="*/ 322 w 335"/>
                  <a:gd name="T67" fmla="*/ 27 h 332"/>
                  <a:gd name="T68" fmla="*/ 311 w 335"/>
                  <a:gd name="T69" fmla="*/ 17 h 332"/>
                  <a:gd name="T70" fmla="*/ 303 w 335"/>
                  <a:gd name="T71" fmla="*/ 13 h 332"/>
                  <a:gd name="T72" fmla="*/ 295 w 335"/>
                  <a:gd name="T73" fmla="*/ 15 h 332"/>
                  <a:gd name="T74" fmla="*/ 280 w 335"/>
                  <a:gd name="T75" fmla="*/ 16 h 332"/>
                  <a:gd name="T76" fmla="*/ 275 w 335"/>
                  <a:gd name="T77" fmla="*/ 12 h 332"/>
                  <a:gd name="T78" fmla="*/ 267 w 335"/>
                  <a:gd name="T79" fmla="*/ 3 h 332"/>
                  <a:gd name="T80" fmla="*/ 253 w 335"/>
                  <a:gd name="T81" fmla="*/ 4 h 332"/>
                  <a:gd name="T82" fmla="*/ 227 w 335"/>
                  <a:gd name="T83" fmla="*/ 6 h 332"/>
                  <a:gd name="T84" fmla="*/ 194 w 335"/>
                  <a:gd name="T85" fmla="*/ 12 h 332"/>
                  <a:gd name="T86" fmla="*/ 177 w 335"/>
                  <a:gd name="T87" fmla="*/ 20 h 332"/>
                  <a:gd name="T88" fmla="*/ 143 w 335"/>
                  <a:gd name="T89" fmla="*/ 10 h 332"/>
                  <a:gd name="T90" fmla="*/ 114 w 335"/>
                  <a:gd name="T91" fmla="*/ 17 h 332"/>
                  <a:gd name="T92" fmla="*/ 104 w 335"/>
                  <a:gd name="T93" fmla="*/ 59 h 332"/>
                  <a:gd name="T94" fmla="*/ 99 w 335"/>
                  <a:gd name="T95" fmla="*/ 76 h 332"/>
                  <a:gd name="T96" fmla="*/ 98 w 335"/>
                  <a:gd name="T97" fmla="*/ 102 h 332"/>
                  <a:gd name="T98" fmla="*/ 82 w 335"/>
                  <a:gd name="T99" fmla="*/ 115 h 332"/>
                  <a:gd name="T100" fmla="*/ 71 w 335"/>
                  <a:gd name="T101" fmla="*/ 135 h 332"/>
                  <a:gd name="T102" fmla="*/ 65 w 335"/>
                  <a:gd name="T103" fmla="*/ 161 h 332"/>
                  <a:gd name="T104" fmla="*/ 45 w 335"/>
                  <a:gd name="T105" fmla="*/ 178 h 332"/>
                  <a:gd name="T106" fmla="*/ 31 w 335"/>
                  <a:gd name="T107" fmla="*/ 173 h 332"/>
                  <a:gd name="T108" fmla="*/ 26 w 335"/>
                  <a:gd name="T109" fmla="*/ 174 h 332"/>
                  <a:gd name="T110" fmla="*/ 18 w 335"/>
                  <a:gd name="T111" fmla="*/ 175 h 332"/>
                  <a:gd name="T112" fmla="*/ 5 w 335"/>
                  <a:gd name="T113" fmla="*/ 184 h 332"/>
                  <a:gd name="T114" fmla="*/ 3 w 335"/>
                  <a:gd name="T115" fmla="*/ 198 h 332"/>
                  <a:gd name="T116" fmla="*/ 68 w 335"/>
                  <a:gd name="T117" fmla="*/ 19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5" h="332">
                    <a:moveTo>
                      <a:pt x="68" y="197"/>
                    </a:moveTo>
                    <a:lnTo>
                      <a:pt x="75" y="198"/>
                    </a:lnTo>
                    <a:lnTo>
                      <a:pt x="79" y="206"/>
                    </a:lnTo>
                    <a:lnTo>
                      <a:pt x="81" y="213"/>
                    </a:lnTo>
                    <a:lnTo>
                      <a:pt x="84" y="220"/>
                    </a:lnTo>
                    <a:lnTo>
                      <a:pt x="91" y="233"/>
                    </a:lnTo>
                    <a:lnTo>
                      <a:pt x="94" y="234"/>
                    </a:lnTo>
                    <a:lnTo>
                      <a:pt x="97" y="236"/>
                    </a:lnTo>
                    <a:lnTo>
                      <a:pt x="99" y="237"/>
                    </a:lnTo>
                    <a:lnTo>
                      <a:pt x="102" y="237"/>
                    </a:lnTo>
                    <a:lnTo>
                      <a:pt x="107" y="236"/>
                    </a:lnTo>
                    <a:lnTo>
                      <a:pt x="110" y="234"/>
                    </a:lnTo>
                    <a:lnTo>
                      <a:pt x="112" y="234"/>
                    </a:lnTo>
                    <a:lnTo>
                      <a:pt x="117" y="234"/>
                    </a:lnTo>
                    <a:lnTo>
                      <a:pt x="120" y="234"/>
                    </a:lnTo>
                    <a:lnTo>
                      <a:pt x="121" y="234"/>
                    </a:lnTo>
                    <a:lnTo>
                      <a:pt x="122" y="234"/>
                    </a:lnTo>
                    <a:lnTo>
                      <a:pt x="125" y="234"/>
                    </a:lnTo>
                    <a:lnTo>
                      <a:pt x="125" y="233"/>
                    </a:lnTo>
                    <a:lnTo>
                      <a:pt x="127" y="230"/>
                    </a:lnTo>
                    <a:lnTo>
                      <a:pt x="128" y="223"/>
                    </a:lnTo>
                    <a:lnTo>
                      <a:pt x="130" y="219"/>
                    </a:lnTo>
                    <a:lnTo>
                      <a:pt x="132" y="217"/>
                    </a:lnTo>
                    <a:lnTo>
                      <a:pt x="137" y="217"/>
                    </a:lnTo>
                    <a:lnTo>
                      <a:pt x="141" y="216"/>
                    </a:lnTo>
                    <a:lnTo>
                      <a:pt x="145" y="216"/>
                    </a:lnTo>
                    <a:lnTo>
                      <a:pt x="147" y="217"/>
                    </a:lnTo>
                    <a:lnTo>
                      <a:pt x="148" y="219"/>
                    </a:lnTo>
                    <a:lnTo>
                      <a:pt x="147" y="219"/>
                    </a:lnTo>
                    <a:lnTo>
                      <a:pt x="147" y="220"/>
                    </a:lnTo>
                    <a:lnTo>
                      <a:pt x="148" y="221"/>
                    </a:lnTo>
                    <a:lnTo>
                      <a:pt x="150" y="223"/>
                    </a:lnTo>
                    <a:lnTo>
                      <a:pt x="164" y="221"/>
                    </a:lnTo>
                    <a:lnTo>
                      <a:pt x="168" y="223"/>
                    </a:lnTo>
                    <a:lnTo>
                      <a:pt x="170" y="226"/>
                    </a:lnTo>
                    <a:lnTo>
                      <a:pt x="170" y="227"/>
                    </a:lnTo>
                    <a:lnTo>
                      <a:pt x="168" y="233"/>
                    </a:lnTo>
                    <a:lnTo>
                      <a:pt x="168" y="234"/>
                    </a:lnTo>
                    <a:lnTo>
                      <a:pt x="168" y="237"/>
                    </a:lnTo>
                    <a:lnTo>
                      <a:pt x="170" y="240"/>
                    </a:lnTo>
                    <a:lnTo>
                      <a:pt x="171" y="243"/>
                    </a:lnTo>
                    <a:lnTo>
                      <a:pt x="170" y="247"/>
                    </a:lnTo>
                    <a:lnTo>
                      <a:pt x="168" y="256"/>
                    </a:lnTo>
                    <a:lnTo>
                      <a:pt x="168" y="260"/>
                    </a:lnTo>
                    <a:lnTo>
                      <a:pt x="170" y="265"/>
                    </a:lnTo>
                    <a:lnTo>
                      <a:pt x="176" y="270"/>
                    </a:lnTo>
                    <a:lnTo>
                      <a:pt x="177" y="273"/>
                    </a:lnTo>
                    <a:lnTo>
                      <a:pt x="177" y="276"/>
                    </a:lnTo>
                    <a:lnTo>
                      <a:pt x="177" y="278"/>
                    </a:lnTo>
                    <a:lnTo>
                      <a:pt x="177" y="283"/>
                    </a:lnTo>
                    <a:lnTo>
                      <a:pt x="177" y="285"/>
                    </a:lnTo>
                    <a:lnTo>
                      <a:pt x="177" y="285"/>
                    </a:lnTo>
                    <a:lnTo>
                      <a:pt x="177" y="285"/>
                    </a:lnTo>
                    <a:lnTo>
                      <a:pt x="176" y="286"/>
                    </a:lnTo>
                    <a:lnTo>
                      <a:pt x="176" y="286"/>
                    </a:lnTo>
                    <a:lnTo>
                      <a:pt x="176" y="290"/>
                    </a:lnTo>
                    <a:lnTo>
                      <a:pt x="177" y="290"/>
                    </a:lnTo>
                    <a:lnTo>
                      <a:pt x="183" y="289"/>
                    </a:lnTo>
                    <a:lnTo>
                      <a:pt x="184" y="289"/>
                    </a:lnTo>
                    <a:lnTo>
                      <a:pt x="188" y="290"/>
                    </a:lnTo>
                    <a:lnTo>
                      <a:pt x="191" y="290"/>
                    </a:lnTo>
                    <a:lnTo>
                      <a:pt x="193" y="289"/>
                    </a:lnTo>
                    <a:lnTo>
                      <a:pt x="196" y="289"/>
                    </a:lnTo>
                    <a:lnTo>
                      <a:pt x="197" y="288"/>
                    </a:lnTo>
                    <a:lnTo>
                      <a:pt x="200" y="288"/>
                    </a:lnTo>
                    <a:lnTo>
                      <a:pt x="203" y="289"/>
                    </a:lnTo>
                    <a:lnTo>
                      <a:pt x="206" y="288"/>
                    </a:lnTo>
                    <a:lnTo>
                      <a:pt x="207" y="286"/>
                    </a:lnTo>
                    <a:lnTo>
                      <a:pt x="209" y="286"/>
                    </a:lnTo>
                    <a:lnTo>
                      <a:pt x="210" y="288"/>
                    </a:lnTo>
                    <a:lnTo>
                      <a:pt x="211" y="289"/>
                    </a:lnTo>
                    <a:lnTo>
                      <a:pt x="211" y="289"/>
                    </a:lnTo>
                    <a:lnTo>
                      <a:pt x="213" y="290"/>
                    </a:lnTo>
                    <a:lnTo>
                      <a:pt x="213" y="290"/>
                    </a:lnTo>
                    <a:lnTo>
                      <a:pt x="214" y="292"/>
                    </a:lnTo>
                    <a:lnTo>
                      <a:pt x="214" y="292"/>
                    </a:lnTo>
                    <a:lnTo>
                      <a:pt x="214" y="293"/>
                    </a:lnTo>
                    <a:lnTo>
                      <a:pt x="213" y="295"/>
                    </a:lnTo>
                    <a:lnTo>
                      <a:pt x="216" y="296"/>
                    </a:lnTo>
                    <a:lnTo>
                      <a:pt x="220" y="295"/>
                    </a:lnTo>
                    <a:lnTo>
                      <a:pt x="224" y="293"/>
                    </a:lnTo>
                    <a:lnTo>
                      <a:pt x="229" y="293"/>
                    </a:lnTo>
                    <a:lnTo>
                      <a:pt x="230" y="293"/>
                    </a:lnTo>
                    <a:lnTo>
                      <a:pt x="230" y="293"/>
                    </a:lnTo>
                    <a:lnTo>
                      <a:pt x="230" y="293"/>
                    </a:lnTo>
                    <a:lnTo>
                      <a:pt x="230" y="296"/>
                    </a:lnTo>
                    <a:lnTo>
                      <a:pt x="230" y="298"/>
                    </a:lnTo>
                    <a:lnTo>
                      <a:pt x="232" y="299"/>
                    </a:lnTo>
                    <a:lnTo>
                      <a:pt x="233" y="301"/>
                    </a:lnTo>
                    <a:lnTo>
                      <a:pt x="234" y="302"/>
                    </a:lnTo>
                    <a:lnTo>
                      <a:pt x="239" y="303"/>
                    </a:lnTo>
                    <a:lnTo>
                      <a:pt x="243" y="305"/>
                    </a:lnTo>
                    <a:lnTo>
                      <a:pt x="253" y="306"/>
                    </a:lnTo>
                    <a:lnTo>
                      <a:pt x="255" y="306"/>
                    </a:lnTo>
                    <a:lnTo>
                      <a:pt x="256" y="306"/>
                    </a:lnTo>
                    <a:lnTo>
                      <a:pt x="257" y="305"/>
                    </a:lnTo>
                    <a:lnTo>
                      <a:pt x="259" y="305"/>
                    </a:lnTo>
                    <a:lnTo>
                      <a:pt x="260" y="303"/>
                    </a:lnTo>
                    <a:lnTo>
                      <a:pt x="260" y="301"/>
                    </a:lnTo>
                    <a:lnTo>
                      <a:pt x="262" y="299"/>
                    </a:lnTo>
                    <a:lnTo>
                      <a:pt x="263" y="299"/>
                    </a:lnTo>
                    <a:lnTo>
                      <a:pt x="263" y="299"/>
                    </a:lnTo>
                    <a:lnTo>
                      <a:pt x="265" y="301"/>
                    </a:lnTo>
                    <a:lnTo>
                      <a:pt x="265" y="302"/>
                    </a:lnTo>
                    <a:lnTo>
                      <a:pt x="265" y="303"/>
                    </a:lnTo>
                    <a:lnTo>
                      <a:pt x="266" y="303"/>
                    </a:lnTo>
                    <a:lnTo>
                      <a:pt x="267" y="305"/>
                    </a:lnTo>
                    <a:lnTo>
                      <a:pt x="269" y="306"/>
                    </a:lnTo>
                    <a:lnTo>
                      <a:pt x="270" y="309"/>
                    </a:lnTo>
                    <a:lnTo>
                      <a:pt x="270" y="311"/>
                    </a:lnTo>
                    <a:lnTo>
                      <a:pt x="272" y="311"/>
                    </a:lnTo>
                    <a:lnTo>
                      <a:pt x="282" y="313"/>
                    </a:lnTo>
                    <a:lnTo>
                      <a:pt x="283" y="315"/>
                    </a:lnTo>
                    <a:lnTo>
                      <a:pt x="285" y="316"/>
                    </a:lnTo>
                    <a:lnTo>
                      <a:pt x="286" y="318"/>
                    </a:lnTo>
                    <a:lnTo>
                      <a:pt x="286" y="319"/>
                    </a:lnTo>
                    <a:lnTo>
                      <a:pt x="288" y="321"/>
                    </a:lnTo>
                    <a:lnTo>
                      <a:pt x="288" y="322"/>
                    </a:lnTo>
                    <a:lnTo>
                      <a:pt x="290" y="324"/>
                    </a:lnTo>
                    <a:lnTo>
                      <a:pt x="292" y="325"/>
                    </a:lnTo>
                    <a:lnTo>
                      <a:pt x="295" y="329"/>
                    </a:lnTo>
                    <a:lnTo>
                      <a:pt x="296" y="331"/>
                    </a:lnTo>
                    <a:lnTo>
                      <a:pt x="298" y="332"/>
                    </a:lnTo>
                    <a:lnTo>
                      <a:pt x="301" y="331"/>
                    </a:lnTo>
                    <a:lnTo>
                      <a:pt x="303" y="329"/>
                    </a:lnTo>
                    <a:lnTo>
                      <a:pt x="306" y="329"/>
                    </a:lnTo>
                    <a:lnTo>
                      <a:pt x="306" y="331"/>
                    </a:lnTo>
                    <a:lnTo>
                      <a:pt x="308" y="332"/>
                    </a:lnTo>
                    <a:lnTo>
                      <a:pt x="308" y="332"/>
                    </a:lnTo>
                    <a:lnTo>
                      <a:pt x="309" y="332"/>
                    </a:lnTo>
                    <a:lnTo>
                      <a:pt x="311" y="329"/>
                    </a:lnTo>
                    <a:lnTo>
                      <a:pt x="309" y="309"/>
                    </a:lnTo>
                    <a:lnTo>
                      <a:pt x="308" y="309"/>
                    </a:lnTo>
                    <a:lnTo>
                      <a:pt x="306" y="309"/>
                    </a:lnTo>
                    <a:lnTo>
                      <a:pt x="305" y="311"/>
                    </a:lnTo>
                    <a:lnTo>
                      <a:pt x="305" y="311"/>
                    </a:lnTo>
                    <a:lnTo>
                      <a:pt x="305" y="312"/>
                    </a:lnTo>
                    <a:lnTo>
                      <a:pt x="305" y="313"/>
                    </a:lnTo>
                    <a:lnTo>
                      <a:pt x="305" y="313"/>
                    </a:lnTo>
                    <a:lnTo>
                      <a:pt x="302" y="313"/>
                    </a:lnTo>
                    <a:lnTo>
                      <a:pt x="299" y="313"/>
                    </a:lnTo>
                    <a:lnTo>
                      <a:pt x="298" y="312"/>
                    </a:lnTo>
                    <a:lnTo>
                      <a:pt x="295" y="311"/>
                    </a:lnTo>
                    <a:lnTo>
                      <a:pt x="290" y="308"/>
                    </a:lnTo>
                    <a:lnTo>
                      <a:pt x="288" y="305"/>
                    </a:lnTo>
                    <a:lnTo>
                      <a:pt x="286" y="302"/>
                    </a:lnTo>
                    <a:lnTo>
                      <a:pt x="285" y="299"/>
                    </a:lnTo>
                    <a:lnTo>
                      <a:pt x="285" y="296"/>
                    </a:lnTo>
                    <a:lnTo>
                      <a:pt x="285" y="293"/>
                    </a:lnTo>
                    <a:lnTo>
                      <a:pt x="288" y="285"/>
                    </a:lnTo>
                    <a:lnTo>
                      <a:pt x="289" y="280"/>
                    </a:lnTo>
                    <a:lnTo>
                      <a:pt x="289" y="267"/>
                    </a:lnTo>
                    <a:lnTo>
                      <a:pt x="289" y="265"/>
                    </a:lnTo>
                    <a:lnTo>
                      <a:pt x="288" y="263"/>
                    </a:lnTo>
                    <a:lnTo>
                      <a:pt x="285" y="259"/>
                    </a:lnTo>
                    <a:lnTo>
                      <a:pt x="285" y="257"/>
                    </a:lnTo>
                    <a:lnTo>
                      <a:pt x="285" y="256"/>
                    </a:lnTo>
                    <a:lnTo>
                      <a:pt x="286" y="256"/>
                    </a:lnTo>
                    <a:lnTo>
                      <a:pt x="289" y="255"/>
                    </a:lnTo>
                    <a:lnTo>
                      <a:pt x="290" y="252"/>
                    </a:lnTo>
                    <a:lnTo>
                      <a:pt x="293" y="249"/>
                    </a:lnTo>
                    <a:lnTo>
                      <a:pt x="295" y="246"/>
                    </a:lnTo>
                    <a:lnTo>
                      <a:pt x="293" y="243"/>
                    </a:lnTo>
                    <a:lnTo>
                      <a:pt x="302" y="242"/>
                    </a:lnTo>
                    <a:lnTo>
                      <a:pt x="326" y="239"/>
                    </a:lnTo>
                    <a:lnTo>
                      <a:pt x="322" y="229"/>
                    </a:lnTo>
                    <a:lnTo>
                      <a:pt x="318" y="220"/>
                    </a:lnTo>
                    <a:lnTo>
                      <a:pt x="315" y="216"/>
                    </a:lnTo>
                    <a:lnTo>
                      <a:pt x="308" y="210"/>
                    </a:lnTo>
                    <a:lnTo>
                      <a:pt x="306" y="206"/>
                    </a:lnTo>
                    <a:lnTo>
                      <a:pt x="305" y="201"/>
                    </a:lnTo>
                    <a:lnTo>
                      <a:pt x="305" y="194"/>
                    </a:lnTo>
                    <a:lnTo>
                      <a:pt x="305" y="190"/>
                    </a:lnTo>
                    <a:lnTo>
                      <a:pt x="302" y="183"/>
                    </a:lnTo>
                    <a:lnTo>
                      <a:pt x="302" y="181"/>
                    </a:lnTo>
                    <a:lnTo>
                      <a:pt x="302" y="178"/>
                    </a:lnTo>
                    <a:lnTo>
                      <a:pt x="302" y="174"/>
                    </a:lnTo>
                    <a:lnTo>
                      <a:pt x="302" y="173"/>
                    </a:lnTo>
                    <a:lnTo>
                      <a:pt x="299" y="160"/>
                    </a:lnTo>
                    <a:lnTo>
                      <a:pt x="299" y="155"/>
                    </a:lnTo>
                    <a:lnTo>
                      <a:pt x="299" y="148"/>
                    </a:lnTo>
                    <a:lnTo>
                      <a:pt x="299" y="147"/>
                    </a:lnTo>
                    <a:lnTo>
                      <a:pt x="298" y="145"/>
                    </a:lnTo>
                    <a:lnTo>
                      <a:pt x="298" y="144"/>
                    </a:lnTo>
                    <a:lnTo>
                      <a:pt x="296" y="142"/>
                    </a:lnTo>
                    <a:lnTo>
                      <a:pt x="296" y="141"/>
                    </a:lnTo>
                    <a:lnTo>
                      <a:pt x="293" y="140"/>
                    </a:lnTo>
                    <a:lnTo>
                      <a:pt x="293" y="137"/>
                    </a:lnTo>
                    <a:lnTo>
                      <a:pt x="298" y="131"/>
                    </a:lnTo>
                    <a:lnTo>
                      <a:pt x="299" y="128"/>
                    </a:lnTo>
                    <a:lnTo>
                      <a:pt x="298" y="127"/>
                    </a:lnTo>
                    <a:lnTo>
                      <a:pt x="299" y="124"/>
                    </a:lnTo>
                    <a:lnTo>
                      <a:pt x="301" y="122"/>
                    </a:lnTo>
                    <a:lnTo>
                      <a:pt x="302" y="121"/>
                    </a:lnTo>
                    <a:lnTo>
                      <a:pt x="306" y="118"/>
                    </a:lnTo>
                    <a:lnTo>
                      <a:pt x="306" y="106"/>
                    </a:lnTo>
                    <a:lnTo>
                      <a:pt x="308" y="95"/>
                    </a:lnTo>
                    <a:lnTo>
                      <a:pt x="309" y="92"/>
                    </a:lnTo>
                    <a:lnTo>
                      <a:pt x="311" y="88"/>
                    </a:lnTo>
                    <a:lnTo>
                      <a:pt x="312" y="85"/>
                    </a:lnTo>
                    <a:lnTo>
                      <a:pt x="312" y="83"/>
                    </a:lnTo>
                    <a:lnTo>
                      <a:pt x="312" y="81"/>
                    </a:lnTo>
                    <a:lnTo>
                      <a:pt x="312" y="79"/>
                    </a:lnTo>
                    <a:lnTo>
                      <a:pt x="313" y="79"/>
                    </a:lnTo>
                    <a:lnTo>
                      <a:pt x="332" y="63"/>
                    </a:lnTo>
                    <a:lnTo>
                      <a:pt x="335" y="58"/>
                    </a:lnTo>
                    <a:lnTo>
                      <a:pt x="335" y="56"/>
                    </a:lnTo>
                    <a:lnTo>
                      <a:pt x="335" y="55"/>
                    </a:lnTo>
                    <a:lnTo>
                      <a:pt x="334" y="55"/>
                    </a:lnTo>
                    <a:lnTo>
                      <a:pt x="332" y="53"/>
                    </a:lnTo>
                    <a:lnTo>
                      <a:pt x="331" y="52"/>
                    </a:lnTo>
                    <a:lnTo>
                      <a:pt x="326" y="50"/>
                    </a:lnTo>
                    <a:lnTo>
                      <a:pt x="326" y="50"/>
                    </a:lnTo>
                    <a:lnTo>
                      <a:pt x="326" y="49"/>
                    </a:lnTo>
                    <a:lnTo>
                      <a:pt x="326" y="46"/>
                    </a:lnTo>
                    <a:lnTo>
                      <a:pt x="328" y="45"/>
                    </a:lnTo>
                    <a:lnTo>
                      <a:pt x="328" y="43"/>
                    </a:lnTo>
                    <a:lnTo>
                      <a:pt x="328" y="43"/>
                    </a:lnTo>
                    <a:lnTo>
                      <a:pt x="328" y="42"/>
                    </a:lnTo>
                    <a:lnTo>
                      <a:pt x="326" y="40"/>
                    </a:lnTo>
                    <a:lnTo>
                      <a:pt x="328" y="33"/>
                    </a:lnTo>
                    <a:lnTo>
                      <a:pt x="328" y="32"/>
                    </a:lnTo>
                    <a:lnTo>
                      <a:pt x="328" y="32"/>
                    </a:lnTo>
                    <a:lnTo>
                      <a:pt x="326" y="30"/>
                    </a:lnTo>
                    <a:lnTo>
                      <a:pt x="326" y="30"/>
                    </a:lnTo>
                    <a:lnTo>
                      <a:pt x="326" y="30"/>
                    </a:lnTo>
                    <a:lnTo>
                      <a:pt x="325" y="29"/>
                    </a:lnTo>
                    <a:lnTo>
                      <a:pt x="325" y="29"/>
                    </a:lnTo>
                    <a:lnTo>
                      <a:pt x="323" y="30"/>
                    </a:lnTo>
                    <a:lnTo>
                      <a:pt x="323" y="30"/>
                    </a:lnTo>
                    <a:lnTo>
                      <a:pt x="323" y="29"/>
                    </a:lnTo>
                    <a:lnTo>
                      <a:pt x="323" y="29"/>
                    </a:lnTo>
                    <a:lnTo>
                      <a:pt x="323" y="29"/>
                    </a:lnTo>
                    <a:lnTo>
                      <a:pt x="322" y="29"/>
                    </a:lnTo>
                    <a:lnTo>
                      <a:pt x="322" y="29"/>
                    </a:lnTo>
                    <a:lnTo>
                      <a:pt x="322" y="29"/>
                    </a:lnTo>
                    <a:lnTo>
                      <a:pt x="322" y="27"/>
                    </a:lnTo>
                    <a:lnTo>
                      <a:pt x="322" y="27"/>
                    </a:lnTo>
                    <a:lnTo>
                      <a:pt x="322" y="26"/>
                    </a:lnTo>
                    <a:lnTo>
                      <a:pt x="322" y="26"/>
                    </a:lnTo>
                    <a:lnTo>
                      <a:pt x="321" y="26"/>
                    </a:lnTo>
                    <a:lnTo>
                      <a:pt x="321" y="25"/>
                    </a:lnTo>
                    <a:lnTo>
                      <a:pt x="316" y="23"/>
                    </a:lnTo>
                    <a:lnTo>
                      <a:pt x="313" y="20"/>
                    </a:lnTo>
                    <a:lnTo>
                      <a:pt x="311" y="17"/>
                    </a:lnTo>
                    <a:lnTo>
                      <a:pt x="311" y="16"/>
                    </a:lnTo>
                    <a:lnTo>
                      <a:pt x="306" y="13"/>
                    </a:lnTo>
                    <a:lnTo>
                      <a:pt x="306" y="13"/>
                    </a:lnTo>
                    <a:lnTo>
                      <a:pt x="305" y="12"/>
                    </a:lnTo>
                    <a:lnTo>
                      <a:pt x="305" y="12"/>
                    </a:lnTo>
                    <a:lnTo>
                      <a:pt x="303" y="13"/>
                    </a:lnTo>
                    <a:lnTo>
                      <a:pt x="303" y="13"/>
                    </a:lnTo>
                    <a:lnTo>
                      <a:pt x="302" y="15"/>
                    </a:lnTo>
                    <a:lnTo>
                      <a:pt x="302" y="15"/>
                    </a:lnTo>
                    <a:lnTo>
                      <a:pt x="301" y="16"/>
                    </a:lnTo>
                    <a:lnTo>
                      <a:pt x="299" y="16"/>
                    </a:lnTo>
                    <a:lnTo>
                      <a:pt x="298" y="16"/>
                    </a:lnTo>
                    <a:lnTo>
                      <a:pt x="296" y="16"/>
                    </a:lnTo>
                    <a:lnTo>
                      <a:pt x="295" y="15"/>
                    </a:lnTo>
                    <a:lnTo>
                      <a:pt x="293" y="15"/>
                    </a:lnTo>
                    <a:lnTo>
                      <a:pt x="290" y="15"/>
                    </a:lnTo>
                    <a:lnTo>
                      <a:pt x="285" y="17"/>
                    </a:lnTo>
                    <a:lnTo>
                      <a:pt x="282" y="17"/>
                    </a:lnTo>
                    <a:lnTo>
                      <a:pt x="282" y="17"/>
                    </a:lnTo>
                    <a:lnTo>
                      <a:pt x="282" y="17"/>
                    </a:lnTo>
                    <a:lnTo>
                      <a:pt x="280" y="16"/>
                    </a:lnTo>
                    <a:lnTo>
                      <a:pt x="280" y="16"/>
                    </a:lnTo>
                    <a:lnTo>
                      <a:pt x="279" y="16"/>
                    </a:lnTo>
                    <a:lnTo>
                      <a:pt x="278" y="15"/>
                    </a:lnTo>
                    <a:lnTo>
                      <a:pt x="278" y="13"/>
                    </a:lnTo>
                    <a:lnTo>
                      <a:pt x="275" y="13"/>
                    </a:lnTo>
                    <a:lnTo>
                      <a:pt x="275" y="12"/>
                    </a:lnTo>
                    <a:lnTo>
                      <a:pt x="275" y="12"/>
                    </a:lnTo>
                    <a:lnTo>
                      <a:pt x="273" y="10"/>
                    </a:lnTo>
                    <a:lnTo>
                      <a:pt x="273" y="9"/>
                    </a:lnTo>
                    <a:lnTo>
                      <a:pt x="272" y="9"/>
                    </a:lnTo>
                    <a:lnTo>
                      <a:pt x="270" y="7"/>
                    </a:lnTo>
                    <a:lnTo>
                      <a:pt x="269" y="6"/>
                    </a:lnTo>
                    <a:lnTo>
                      <a:pt x="267" y="4"/>
                    </a:lnTo>
                    <a:lnTo>
                      <a:pt x="267" y="3"/>
                    </a:lnTo>
                    <a:lnTo>
                      <a:pt x="265" y="3"/>
                    </a:lnTo>
                    <a:lnTo>
                      <a:pt x="263" y="3"/>
                    </a:lnTo>
                    <a:lnTo>
                      <a:pt x="262" y="3"/>
                    </a:lnTo>
                    <a:lnTo>
                      <a:pt x="260" y="3"/>
                    </a:lnTo>
                    <a:lnTo>
                      <a:pt x="256" y="4"/>
                    </a:lnTo>
                    <a:lnTo>
                      <a:pt x="255" y="4"/>
                    </a:lnTo>
                    <a:lnTo>
                      <a:pt x="253" y="4"/>
                    </a:lnTo>
                    <a:lnTo>
                      <a:pt x="243" y="2"/>
                    </a:lnTo>
                    <a:lnTo>
                      <a:pt x="237" y="0"/>
                    </a:lnTo>
                    <a:lnTo>
                      <a:pt x="233" y="0"/>
                    </a:lnTo>
                    <a:lnTo>
                      <a:pt x="232" y="2"/>
                    </a:lnTo>
                    <a:lnTo>
                      <a:pt x="230" y="3"/>
                    </a:lnTo>
                    <a:lnTo>
                      <a:pt x="229" y="4"/>
                    </a:lnTo>
                    <a:lnTo>
                      <a:pt x="227" y="6"/>
                    </a:lnTo>
                    <a:lnTo>
                      <a:pt x="224" y="6"/>
                    </a:lnTo>
                    <a:lnTo>
                      <a:pt x="222" y="6"/>
                    </a:lnTo>
                    <a:lnTo>
                      <a:pt x="217" y="6"/>
                    </a:lnTo>
                    <a:lnTo>
                      <a:pt x="211" y="6"/>
                    </a:lnTo>
                    <a:lnTo>
                      <a:pt x="203" y="10"/>
                    </a:lnTo>
                    <a:lnTo>
                      <a:pt x="199" y="12"/>
                    </a:lnTo>
                    <a:lnTo>
                      <a:pt x="194" y="12"/>
                    </a:lnTo>
                    <a:lnTo>
                      <a:pt x="190" y="10"/>
                    </a:lnTo>
                    <a:lnTo>
                      <a:pt x="187" y="12"/>
                    </a:lnTo>
                    <a:lnTo>
                      <a:pt x="183" y="16"/>
                    </a:lnTo>
                    <a:lnTo>
                      <a:pt x="181" y="19"/>
                    </a:lnTo>
                    <a:lnTo>
                      <a:pt x="181" y="20"/>
                    </a:lnTo>
                    <a:lnTo>
                      <a:pt x="180" y="20"/>
                    </a:lnTo>
                    <a:lnTo>
                      <a:pt x="177" y="20"/>
                    </a:lnTo>
                    <a:lnTo>
                      <a:pt x="171" y="19"/>
                    </a:lnTo>
                    <a:lnTo>
                      <a:pt x="168" y="19"/>
                    </a:lnTo>
                    <a:lnTo>
                      <a:pt x="164" y="17"/>
                    </a:lnTo>
                    <a:lnTo>
                      <a:pt x="150" y="15"/>
                    </a:lnTo>
                    <a:lnTo>
                      <a:pt x="148" y="15"/>
                    </a:lnTo>
                    <a:lnTo>
                      <a:pt x="147" y="13"/>
                    </a:lnTo>
                    <a:lnTo>
                      <a:pt x="143" y="10"/>
                    </a:lnTo>
                    <a:lnTo>
                      <a:pt x="140" y="9"/>
                    </a:lnTo>
                    <a:lnTo>
                      <a:pt x="135" y="6"/>
                    </a:lnTo>
                    <a:lnTo>
                      <a:pt x="130" y="3"/>
                    </a:lnTo>
                    <a:lnTo>
                      <a:pt x="124" y="6"/>
                    </a:lnTo>
                    <a:lnTo>
                      <a:pt x="121" y="9"/>
                    </a:lnTo>
                    <a:lnTo>
                      <a:pt x="117" y="15"/>
                    </a:lnTo>
                    <a:lnTo>
                      <a:pt x="114" y="17"/>
                    </a:lnTo>
                    <a:lnTo>
                      <a:pt x="112" y="19"/>
                    </a:lnTo>
                    <a:lnTo>
                      <a:pt x="112" y="29"/>
                    </a:lnTo>
                    <a:lnTo>
                      <a:pt x="112" y="32"/>
                    </a:lnTo>
                    <a:lnTo>
                      <a:pt x="112" y="39"/>
                    </a:lnTo>
                    <a:lnTo>
                      <a:pt x="110" y="46"/>
                    </a:lnTo>
                    <a:lnTo>
                      <a:pt x="105" y="52"/>
                    </a:lnTo>
                    <a:lnTo>
                      <a:pt x="104" y="59"/>
                    </a:lnTo>
                    <a:lnTo>
                      <a:pt x="104" y="60"/>
                    </a:lnTo>
                    <a:lnTo>
                      <a:pt x="104" y="65"/>
                    </a:lnTo>
                    <a:lnTo>
                      <a:pt x="102" y="66"/>
                    </a:lnTo>
                    <a:lnTo>
                      <a:pt x="102" y="68"/>
                    </a:lnTo>
                    <a:lnTo>
                      <a:pt x="101" y="72"/>
                    </a:lnTo>
                    <a:lnTo>
                      <a:pt x="101" y="73"/>
                    </a:lnTo>
                    <a:lnTo>
                      <a:pt x="99" y="76"/>
                    </a:lnTo>
                    <a:lnTo>
                      <a:pt x="101" y="86"/>
                    </a:lnTo>
                    <a:lnTo>
                      <a:pt x="99" y="89"/>
                    </a:lnTo>
                    <a:lnTo>
                      <a:pt x="98" y="95"/>
                    </a:lnTo>
                    <a:lnTo>
                      <a:pt x="97" y="98"/>
                    </a:lnTo>
                    <a:lnTo>
                      <a:pt x="97" y="99"/>
                    </a:lnTo>
                    <a:lnTo>
                      <a:pt x="98" y="101"/>
                    </a:lnTo>
                    <a:lnTo>
                      <a:pt x="98" y="102"/>
                    </a:lnTo>
                    <a:lnTo>
                      <a:pt x="97" y="104"/>
                    </a:lnTo>
                    <a:lnTo>
                      <a:pt x="97" y="105"/>
                    </a:lnTo>
                    <a:lnTo>
                      <a:pt x="95" y="106"/>
                    </a:lnTo>
                    <a:lnTo>
                      <a:pt x="92" y="108"/>
                    </a:lnTo>
                    <a:lnTo>
                      <a:pt x="91" y="111"/>
                    </a:lnTo>
                    <a:lnTo>
                      <a:pt x="85" y="114"/>
                    </a:lnTo>
                    <a:lnTo>
                      <a:pt x="82" y="115"/>
                    </a:lnTo>
                    <a:lnTo>
                      <a:pt x="81" y="118"/>
                    </a:lnTo>
                    <a:lnTo>
                      <a:pt x="78" y="122"/>
                    </a:lnTo>
                    <a:lnTo>
                      <a:pt x="76" y="125"/>
                    </a:lnTo>
                    <a:lnTo>
                      <a:pt x="75" y="128"/>
                    </a:lnTo>
                    <a:lnTo>
                      <a:pt x="72" y="129"/>
                    </a:lnTo>
                    <a:lnTo>
                      <a:pt x="71" y="132"/>
                    </a:lnTo>
                    <a:lnTo>
                      <a:pt x="71" y="135"/>
                    </a:lnTo>
                    <a:lnTo>
                      <a:pt x="71" y="138"/>
                    </a:lnTo>
                    <a:lnTo>
                      <a:pt x="71" y="147"/>
                    </a:lnTo>
                    <a:lnTo>
                      <a:pt x="71" y="150"/>
                    </a:lnTo>
                    <a:lnTo>
                      <a:pt x="69" y="154"/>
                    </a:lnTo>
                    <a:lnTo>
                      <a:pt x="68" y="157"/>
                    </a:lnTo>
                    <a:lnTo>
                      <a:pt x="66" y="160"/>
                    </a:lnTo>
                    <a:lnTo>
                      <a:pt x="65" y="161"/>
                    </a:lnTo>
                    <a:lnTo>
                      <a:pt x="64" y="163"/>
                    </a:lnTo>
                    <a:lnTo>
                      <a:pt x="62" y="164"/>
                    </a:lnTo>
                    <a:lnTo>
                      <a:pt x="59" y="165"/>
                    </a:lnTo>
                    <a:lnTo>
                      <a:pt x="55" y="168"/>
                    </a:lnTo>
                    <a:lnTo>
                      <a:pt x="51" y="173"/>
                    </a:lnTo>
                    <a:lnTo>
                      <a:pt x="48" y="177"/>
                    </a:lnTo>
                    <a:lnTo>
                      <a:pt x="45" y="178"/>
                    </a:lnTo>
                    <a:lnTo>
                      <a:pt x="43" y="180"/>
                    </a:lnTo>
                    <a:lnTo>
                      <a:pt x="39" y="178"/>
                    </a:lnTo>
                    <a:lnTo>
                      <a:pt x="39" y="175"/>
                    </a:lnTo>
                    <a:lnTo>
                      <a:pt x="39" y="171"/>
                    </a:lnTo>
                    <a:lnTo>
                      <a:pt x="38" y="170"/>
                    </a:lnTo>
                    <a:lnTo>
                      <a:pt x="36" y="170"/>
                    </a:lnTo>
                    <a:lnTo>
                      <a:pt x="31" y="173"/>
                    </a:lnTo>
                    <a:lnTo>
                      <a:pt x="29" y="173"/>
                    </a:lnTo>
                    <a:lnTo>
                      <a:pt x="29" y="173"/>
                    </a:lnTo>
                    <a:lnTo>
                      <a:pt x="28" y="171"/>
                    </a:lnTo>
                    <a:lnTo>
                      <a:pt x="28" y="171"/>
                    </a:lnTo>
                    <a:lnTo>
                      <a:pt x="26" y="173"/>
                    </a:lnTo>
                    <a:lnTo>
                      <a:pt x="26" y="173"/>
                    </a:lnTo>
                    <a:lnTo>
                      <a:pt x="26" y="174"/>
                    </a:lnTo>
                    <a:lnTo>
                      <a:pt x="26" y="175"/>
                    </a:lnTo>
                    <a:lnTo>
                      <a:pt x="25" y="177"/>
                    </a:lnTo>
                    <a:lnTo>
                      <a:pt x="23" y="178"/>
                    </a:lnTo>
                    <a:lnTo>
                      <a:pt x="22" y="178"/>
                    </a:lnTo>
                    <a:lnTo>
                      <a:pt x="20" y="178"/>
                    </a:lnTo>
                    <a:lnTo>
                      <a:pt x="19" y="177"/>
                    </a:lnTo>
                    <a:lnTo>
                      <a:pt x="18" y="175"/>
                    </a:lnTo>
                    <a:lnTo>
                      <a:pt x="16" y="175"/>
                    </a:lnTo>
                    <a:lnTo>
                      <a:pt x="15" y="175"/>
                    </a:lnTo>
                    <a:lnTo>
                      <a:pt x="9" y="178"/>
                    </a:lnTo>
                    <a:lnTo>
                      <a:pt x="6" y="181"/>
                    </a:lnTo>
                    <a:lnTo>
                      <a:pt x="6" y="183"/>
                    </a:lnTo>
                    <a:lnTo>
                      <a:pt x="6" y="183"/>
                    </a:lnTo>
                    <a:lnTo>
                      <a:pt x="5" y="184"/>
                    </a:lnTo>
                    <a:lnTo>
                      <a:pt x="5" y="186"/>
                    </a:lnTo>
                    <a:lnTo>
                      <a:pt x="6" y="190"/>
                    </a:lnTo>
                    <a:lnTo>
                      <a:pt x="6" y="193"/>
                    </a:lnTo>
                    <a:lnTo>
                      <a:pt x="5" y="194"/>
                    </a:lnTo>
                    <a:lnTo>
                      <a:pt x="3" y="194"/>
                    </a:lnTo>
                    <a:lnTo>
                      <a:pt x="0" y="196"/>
                    </a:lnTo>
                    <a:lnTo>
                      <a:pt x="3" y="198"/>
                    </a:lnTo>
                    <a:lnTo>
                      <a:pt x="8" y="198"/>
                    </a:lnTo>
                    <a:lnTo>
                      <a:pt x="10" y="197"/>
                    </a:lnTo>
                    <a:lnTo>
                      <a:pt x="15" y="197"/>
                    </a:lnTo>
                    <a:lnTo>
                      <a:pt x="23" y="196"/>
                    </a:lnTo>
                    <a:lnTo>
                      <a:pt x="68" y="197"/>
                    </a:lnTo>
                    <a:lnTo>
                      <a:pt x="68" y="197"/>
                    </a:lnTo>
                    <a:lnTo>
                      <a:pt x="68" y="197"/>
                    </a:lnTo>
                    <a:lnTo>
                      <a:pt x="68" y="19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97" name="Freeform 184">
                <a:extLst>
                  <a:ext uri="{FF2B5EF4-FFF2-40B4-BE49-F238E27FC236}">
                    <a16:creationId xmlns:a16="http://schemas.microsoft.com/office/drawing/2014/main" id="{130C5876-F49A-9B46-A44E-EC99E2158DC9}"/>
                  </a:ext>
                </a:extLst>
              </p:cNvPr>
              <p:cNvSpPr>
                <a:spLocks noEditPoints="1"/>
              </p:cNvSpPr>
              <p:nvPr/>
            </p:nvSpPr>
            <p:spPr bwMode="auto">
              <a:xfrm>
                <a:off x="3837" y="3119"/>
                <a:ext cx="289" cy="244"/>
              </a:xfrm>
              <a:custGeom>
                <a:avLst/>
                <a:gdLst>
                  <a:gd name="T0" fmla="*/ 273 w 289"/>
                  <a:gd name="T1" fmla="*/ 99 h 244"/>
                  <a:gd name="T2" fmla="*/ 254 w 289"/>
                  <a:gd name="T3" fmla="*/ 92 h 244"/>
                  <a:gd name="T4" fmla="*/ 256 w 289"/>
                  <a:gd name="T5" fmla="*/ 74 h 244"/>
                  <a:gd name="T6" fmla="*/ 273 w 289"/>
                  <a:gd name="T7" fmla="*/ 71 h 244"/>
                  <a:gd name="T8" fmla="*/ 271 w 289"/>
                  <a:gd name="T9" fmla="*/ 35 h 244"/>
                  <a:gd name="T10" fmla="*/ 253 w 289"/>
                  <a:gd name="T11" fmla="*/ 1 h 244"/>
                  <a:gd name="T12" fmla="*/ 220 w 289"/>
                  <a:gd name="T13" fmla="*/ 2 h 244"/>
                  <a:gd name="T14" fmla="*/ 205 w 289"/>
                  <a:gd name="T15" fmla="*/ 11 h 244"/>
                  <a:gd name="T16" fmla="*/ 185 w 289"/>
                  <a:gd name="T17" fmla="*/ 28 h 244"/>
                  <a:gd name="T18" fmla="*/ 174 w 289"/>
                  <a:gd name="T19" fmla="*/ 46 h 244"/>
                  <a:gd name="T20" fmla="*/ 161 w 289"/>
                  <a:gd name="T21" fmla="*/ 64 h 244"/>
                  <a:gd name="T22" fmla="*/ 144 w 289"/>
                  <a:gd name="T23" fmla="*/ 69 h 244"/>
                  <a:gd name="T24" fmla="*/ 125 w 289"/>
                  <a:gd name="T25" fmla="*/ 60 h 244"/>
                  <a:gd name="T26" fmla="*/ 112 w 289"/>
                  <a:gd name="T27" fmla="*/ 63 h 244"/>
                  <a:gd name="T28" fmla="*/ 103 w 289"/>
                  <a:gd name="T29" fmla="*/ 79 h 244"/>
                  <a:gd name="T30" fmla="*/ 93 w 289"/>
                  <a:gd name="T31" fmla="*/ 86 h 244"/>
                  <a:gd name="T32" fmla="*/ 88 w 289"/>
                  <a:gd name="T33" fmla="*/ 90 h 244"/>
                  <a:gd name="T34" fmla="*/ 73 w 289"/>
                  <a:gd name="T35" fmla="*/ 87 h 244"/>
                  <a:gd name="T36" fmla="*/ 76 w 289"/>
                  <a:gd name="T37" fmla="*/ 77 h 244"/>
                  <a:gd name="T38" fmla="*/ 68 w 289"/>
                  <a:gd name="T39" fmla="*/ 53 h 244"/>
                  <a:gd name="T40" fmla="*/ 53 w 289"/>
                  <a:gd name="T41" fmla="*/ 125 h 244"/>
                  <a:gd name="T42" fmla="*/ 26 w 289"/>
                  <a:gd name="T43" fmla="*/ 129 h 244"/>
                  <a:gd name="T44" fmla="*/ 16 w 289"/>
                  <a:gd name="T45" fmla="*/ 123 h 244"/>
                  <a:gd name="T46" fmla="*/ 14 w 289"/>
                  <a:gd name="T47" fmla="*/ 116 h 244"/>
                  <a:gd name="T48" fmla="*/ 6 w 289"/>
                  <a:gd name="T49" fmla="*/ 120 h 244"/>
                  <a:gd name="T50" fmla="*/ 7 w 289"/>
                  <a:gd name="T51" fmla="*/ 136 h 244"/>
                  <a:gd name="T52" fmla="*/ 33 w 289"/>
                  <a:gd name="T53" fmla="*/ 198 h 244"/>
                  <a:gd name="T54" fmla="*/ 27 w 289"/>
                  <a:gd name="T55" fmla="*/ 202 h 244"/>
                  <a:gd name="T56" fmla="*/ 33 w 289"/>
                  <a:gd name="T57" fmla="*/ 218 h 244"/>
                  <a:gd name="T58" fmla="*/ 33 w 289"/>
                  <a:gd name="T59" fmla="*/ 230 h 244"/>
                  <a:gd name="T60" fmla="*/ 35 w 289"/>
                  <a:gd name="T61" fmla="*/ 232 h 244"/>
                  <a:gd name="T62" fmla="*/ 40 w 289"/>
                  <a:gd name="T63" fmla="*/ 231 h 244"/>
                  <a:gd name="T64" fmla="*/ 43 w 289"/>
                  <a:gd name="T65" fmla="*/ 235 h 244"/>
                  <a:gd name="T66" fmla="*/ 50 w 289"/>
                  <a:gd name="T67" fmla="*/ 238 h 244"/>
                  <a:gd name="T68" fmla="*/ 65 w 289"/>
                  <a:gd name="T69" fmla="*/ 242 h 244"/>
                  <a:gd name="T70" fmla="*/ 78 w 289"/>
                  <a:gd name="T71" fmla="*/ 235 h 244"/>
                  <a:gd name="T72" fmla="*/ 101 w 289"/>
                  <a:gd name="T73" fmla="*/ 231 h 244"/>
                  <a:gd name="T74" fmla="*/ 121 w 289"/>
                  <a:gd name="T75" fmla="*/ 230 h 244"/>
                  <a:gd name="T76" fmla="*/ 136 w 289"/>
                  <a:gd name="T77" fmla="*/ 230 h 244"/>
                  <a:gd name="T78" fmla="*/ 147 w 289"/>
                  <a:gd name="T79" fmla="*/ 230 h 244"/>
                  <a:gd name="T80" fmla="*/ 155 w 289"/>
                  <a:gd name="T81" fmla="*/ 228 h 244"/>
                  <a:gd name="T82" fmla="*/ 162 w 289"/>
                  <a:gd name="T83" fmla="*/ 225 h 244"/>
                  <a:gd name="T84" fmla="*/ 172 w 289"/>
                  <a:gd name="T85" fmla="*/ 222 h 244"/>
                  <a:gd name="T86" fmla="*/ 194 w 289"/>
                  <a:gd name="T87" fmla="*/ 214 h 244"/>
                  <a:gd name="T88" fmla="*/ 269 w 289"/>
                  <a:gd name="T89" fmla="*/ 132 h 244"/>
                  <a:gd name="T90" fmla="*/ 284 w 289"/>
                  <a:gd name="T91" fmla="*/ 106 h 244"/>
                  <a:gd name="T92" fmla="*/ 227 w 289"/>
                  <a:gd name="T93" fmla="*/ 139 h 244"/>
                  <a:gd name="T94" fmla="*/ 211 w 289"/>
                  <a:gd name="T95" fmla="*/ 153 h 244"/>
                  <a:gd name="T96" fmla="*/ 198 w 289"/>
                  <a:gd name="T97" fmla="*/ 162 h 244"/>
                  <a:gd name="T98" fmla="*/ 187 w 289"/>
                  <a:gd name="T99" fmla="*/ 143 h 244"/>
                  <a:gd name="T100" fmla="*/ 195 w 289"/>
                  <a:gd name="T101" fmla="*/ 136 h 244"/>
                  <a:gd name="T102" fmla="*/ 213 w 289"/>
                  <a:gd name="T103" fmla="*/ 125 h 244"/>
                  <a:gd name="T104" fmla="*/ 227 w 289"/>
                  <a:gd name="T105" fmla="*/ 13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9" h="244">
                    <a:moveTo>
                      <a:pt x="276" y="89"/>
                    </a:moveTo>
                    <a:lnTo>
                      <a:pt x="273" y="90"/>
                    </a:lnTo>
                    <a:lnTo>
                      <a:pt x="273" y="92"/>
                    </a:lnTo>
                    <a:lnTo>
                      <a:pt x="273" y="96"/>
                    </a:lnTo>
                    <a:lnTo>
                      <a:pt x="273" y="99"/>
                    </a:lnTo>
                    <a:lnTo>
                      <a:pt x="269" y="99"/>
                    </a:lnTo>
                    <a:lnTo>
                      <a:pt x="264" y="99"/>
                    </a:lnTo>
                    <a:lnTo>
                      <a:pt x="260" y="97"/>
                    </a:lnTo>
                    <a:lnTo>
                      <a:pt x="257" y="94"/>
                    </a:lnTo>
                    <a:lnTo>
                      <a:pt x="254" y="92"/>
                    </a:lnTo>
                    <a:lnTo>
                      <a:pt x="253" y="89"/>
                    </a:lnTo>
                    <a:lnTo>
                      <a:pt x="251" y="84"/>
                    </a:lnTo>
                    <a:lnTo>
                      <a:pt x="251" y="81"/>
                    </a:lnTo>
                    <a:lnTo>
                      <a:pt x="253" y="79"/>
                    </a:lnTo>
                    <a:lnTo>
                      <a:pt x="256" y="74"/>
                    </a:lnTo>
                    <a:lnTo>
                      <a:pt x="259" y="70"/>
                    </a:lnTo>
                    <a:lnTo>
                      <a:pt x="261" y="69"/>
                    </a:lnTo>
                    <a:lnTo>
                      <a:pt x="264" y="69"/>
                    </a:lnTo>
                    <a:lnTo>
                      <a:pt x="270" y="71"/>
                    </a:lnTo>
                    <a:lnTo>
                      <a:pt x="273" y="71"/>
                    </a:lnTo>
                    <a:lnTo>
                      <a:pt x="271" y="70"/>
                    </a:lnTo>
                    <a:lnTo>
                      <a:pt x="273" y="63"/>
                    </a:lnTo>
                    <a:lnTo>
                      <a:pt x="273" y="44"/>
                    </a:lnTo>
                    <a:lnTo>
                      <a:pt x="271" y="40"/>
                    </a:lnTo>
                    <a:lnTo>
                      <a:pt x="271" y="35"/>
                    </a:lnTo>
                    <a:lnTo>
                      <a:pt x="266" y="25"/>
                    </a:lnTo>
                    <a:lnTo>
                      <a:pt x="261" y="8"/>
                    </a:lnTo>
                    <a:lnTo>
                      <a:pt x="260" y="4"/>
                    </a:lnTo>
                    <a:lnTo>
                      <a:pt x="257" y="1"/>
                    </a:lnTo>
                    <a:lnTo>
                      <a:pt x="253" y="1"/>
                    </a:lnTo>
                    <a:lnTo>
                      <a:pt x="246" y="2"/>
                    </a:lnTo>
                    <a:lnTo>
                      <a:pt x="231" y="0"/>
                    </a:lnTo>
                    <a:lnTo>
                      <a:pt x="227" y="0"/>
                    </a:lnTo>
                    <a:lnTo>
                      <a:pt x="223" y="1"/>
                    </a:lnTo>
                    <a:lnTo>
                      <a:pt x="220" y="2"/>
                    </a:lnTo>
                    <a:lnTo>
                      <a:pt x="218" y="4"/>
                    </a:lnTo>
                    <a:lnTo>
                      <a:pt x="214" y="5"/>
                    </a:lnTo>
                    <a:lnTo>
                      <a:pt x="211" y="7"/>
                    </a:lnTo>
                    <a:lnTo>
                      <a:pt x="208" y="8"/>
                    </a:lnTo>
                    <a:lnTo>
                      <a:pt x="205" y="11"/>
                    </a:lnTo>
                    <a:lnTo>
                      <a:pt x="201" y="15"/>
                    </a:lnTo>
                    <a:lnTo>
                      <a:pt x="198" y="18"/>
                    </a:lnTo>
                    <a:lnTo>
                      <a:pt x="188" y="24"/>
                    </a:lnTo>
                    <a:lnTo>
                      <a:pt x="187" y="25"/>
                    </a:lnTo>
                    <a:lnTo>
                      <a:pt x="185" y="28"/>
                    </a:lnTo>
                    <a:lnTo>
                      <a:pt x="184" y="35"/>
                    </a:lnTo>
                    <a:lnTo>
                      <a:pt x="182" y="38"/>
                    </a:lnTo>
                    <a:lnTo>
                      <a:pt x="180" y="41"/>
                    </a:lnTo>
                    <a:lnTo>
                      <a:pt x="177" y="44"/>
                    </a:lnTo>
                    <a:lnTo>
                      <a:pt x="174" y="46"/>
                    </a:lnTo>
                    <a:lnTo>
                      <a:pt x="168" y="48"/>
                    </a:lnTo>
                    <a:lnTo>
                      <a:pt x="167" y="50"/>
                    </a:lnTo>
                    <a:lnTo>
                      <a:pt x="165" y="51"/>
                    </a:lnTo>
                    <a:lnTo>
                      <a:pt x="162" y="61"/>
                    </a:lnTo>
                    <a:lnTo>
                      <a:pt x="161" y="64"/>
                    </a:lnTo>
                    <a:lnTo>
                      <a:pt x="158" y="67"/>
                    </a:lnTo>
                    <a:lnTo>
                      <a:pt x="157" y="67"/>
                    </a:lnTo>
                    <a:lnTo>
                      <a:pt x="152" y="69"/>
                    </a:lnTo>
                    <a:lnTo>
                      <a:pt x="147" y="69"/>
                    </a:lnTo>
                    <a:lnTo>
                      <a:pt x="144" y="69"/>
                    </a:lnTo>
                    <a:lnTo>
                      <a:pt x="139" y="69"/>
                    </a:lnTo>
                    <a:lnTo>
                      <a:pt x="135" y="66"/>
                    </a:lnTo>
                    <a:lnTo>
                      <a:pt x="131" y="64"/>
                    </a:lnTo>
                    <a:lnTo>
                      <a:pt x="129" y="63"/>
                    </a:lnTo>
                    <a:lnTo>
                      <a:pt x="125" y="60"/>
                    </a:lnTo>
                    <a:lnTo>
                      <a:pt x="124" y="60"/>
                    </a:lnTo>
                    <a:lnTo>
                      <a:pt x="121" y="58"/>
                    </a:lnTo>
                    <a:lnTo>
                      <a:pt x="118" y="58"/>
                    </a:lnTo>
                    <a:lnTo>
                      <a:pt x="115" y="60"/>
                    </a:lnTo>
                    <a:lnTo>
                      <a:pt x="112" y="63"/>
                    </a:lnTo>
                    <a:lnTo>
                      <a:pt x="112" y="66"/>
                    </a:lnTo>
                    <a:lnTo>
                      <a:pt x="109" y="71"/>
                    </a:lnTo>
                    <a:lnTo>
                      <a:pt x="108" y="74"/>
                    </a:lnTo>
                    <a:lnTo>
                      <a:pt x="108" y="76"/>
                    </a:lnTo>
                    <a:lnTo>
                      <a:pt x="103" y="79"/>
                    </a:lnTo>
                    <a:lnTo>
                      <a:pt x="102" y="80"/>
                    </a:lnTo>
                    <a:lnTo>
                      <a:pt x="99" y="84"/>
                    </a:lnTo>
                    <a:lnTo>
                      <a:pt x="98" y="84"/>
                    </a:lnTo>
                    <a:lnTo>
                      <a:pt x="95" y="86"/>
                    </a:lnTo>
                    <a:lnTo>
                      <a:pt x="93" y="86"/>
                    </a:lnTo>
                    <a:lnTo>
                      <a:pt x="93" y="87"/>
                    </a:lnTo>
                    <a:lnTo>
                      <a:pt x="93" y="89"/>
                    </a:lnTo>
                    <a:lnTo>
                      <a:pt x="92" y="89"/>
                    </a:lnTo>
                    <a:lnTo>
                      <a:pt x="91" y="90"/>
                    </a:lnTo>
                    <a:lnTo>
                      <a:pt x="88" y="90"/>
                    </a:lnTo>
                    <a:lnTo>
                      <a:pt x="79" y="89"/>
                    </a:lnTo>
                    <a:lnTo>
                      <a:pt x="76" y="89"/>
                    </a:lnTo>
                    <a:lnTo>
                      <a:pt x="75" y="89"/>
                    </a:lnTo>
                    <a:lnTo>
                      <a:pt x="73" y="89"/>
                    </a:lnTo>
                    <a:lnTo>
                      <a:pt x="73" y="87"/>
                    </a:lnTo>
                    <a:lnTo>
                      <a:pt x="73" y="84"/>
                    </a:lnTo>
                    <a:lnTo>
                      <a:pt x="73" y="83"/>
                    </a:lnTo>
                    <a:lnTo>
                      <a:pt x="73" y="81"/>
                    </a:lnTo>
                    <a:lnTo>
                      <a:pt x="75" y="79"/>
                    </a:lnTo>
                    <a:lnTo>
                      <a:pt x="76" y="77"/>
                    </a:lnTo>
                    <a:lnTo>
                      <a:pt x="76" y="74"/>
                    </a:lnTo>
                    <a:lnTo>
                      <a:pt x="76" y="71"/>
                    </a:lnTo>
                    <a:lnTo>
                      <a:pt x="73" y="64"/>
                    </a:lnTo>
                    <a:lnTo>
                      <a:pt x="70" y="58"/>
                    </a:lnTo>
                    <a:lnTo>
                      <a:pt x="68" y="53"/>
                    </a:lnTo>
                    <a:lnTo>
                      <a:pt x="62" y="48"/>
                    </a:lnTo>
                    <a:lnTo>
                      <a:pt x="62" y="122"/>
                    </a:lnTo>
                    <a:lnTo>
                      <a:pt x="59" y="122"/>
                    </a:lnTo>
                    <a:lnTo>
                      <a:pt x="56" y="123"/>
                    </a:lnTo>
                    <a:lnTo>
                      <a:pt x="53" y="125"/>
                    </a:lnTo>
                    <a:lnTo>
                      <a:pt x="50" y="126"/>
                    </a:lnTo>
                    <a:lnTo>
                      <a:pt x="49" y="129"/>
                    </a:lnTo>
                    <a:lnTo>
                      <a:pt x="49" y="129"/>
                    </a:lnTo>
                    <a:lnTo>
                      <a:pt x="47" y="130"/>
                    </a:lnTo>
                    <a:lnTo>
                      <a:pt x="26" y="129"/>
                    </a:lnTo>
                    <a:lnTo>
                      <a:pt x="20" y="126"/>
                    </a:lnTo>
                    <a:lnTo>
                      <a:pt x="19" y="126"/>
                    </a:lnTo>
                    <a:lnTo>
                      <a:pt x="17" y="126"/>
                    </a:lnTo>
                    <a:lnTo>
                      <a:pt x="17" y="125"/>
                    </a:lnTo>
                    <a:lnTo>
                      <a:pt x="16" y="123"/>
                    </a:lnTo>
                    <a:lnTo>
                      <a:pt x="16" y="122"/>
                    </a:lnTo>
                    <a:lnTo>
                      <a:pt x="16" y="120"/>
                    </a:lnTo>
                    <a:lnTo>
                      <a:pt x="16" y="120"/>
                    </a:lnTo>
                    <a:lnTo>
                      <a:pt x="16" y="119"/>
                    </a:lnTo>
                    <a:lnTo>
                      <a:pt x="14" y="116"/>
                    </a:lnTo>
                    <a:lnTo>
                      <a:pt x="13" y="115"/>
                    </a:lnTo>
                    <a:lnTo>
                      <a:pt x="12" y="113"/>
                    </a:lnTo>
                    <a:lnTo>
                      <a:pt x="9" y="113"/>
                    </a:lnTo>
                    <a:lnTo>
                      <a:pt x="7" y="115"/>
                    </a:lnTo>
                    <a:lnTo>
                      <a:pt x="6" y="120"/>
                    </a:lnTo>
                    <a:lnTo>
                      <a:pt x="4" y="122"/>
                    </a:lnTo>
                    <a:lnTo>
                      <a:pt x="1" y="123"/>
                    </a:lnTo>
                    <a:lnTo>
                      <a:pt x="0" y="125"/>
                    </a:lnTo>
                    <a:lnTo>
                      <a:pt x="4" y="130"/>
                    </a:lnTo>
                    <a:lnTo>
                      <a:pt x="7" y="136"/>
                    </a:lnTo>
                    <a:lnTo>
                      <a:pt x="16" y="161"/>
                    </a:lnTo>
                    <a:lnTo>
                      <a:pt x="30" y="184"/>
                    </a:lnTo>
                    <a:lnTo>
                      <a:pt x="33" y="189"/>
                    </a:lnTo>
                    <a:lnTo>
                      <a:pt x="33" y="196"/>
                    </a:lnTo>
                    <a:lnTo>
                      <a:pt x="33" y="198"/>
                    </a:lnTo>
                    <a:lnTo>
                      <a:pt x="32" y="199"/>
                    </a:lnTo>
                    <a:lnTo>
                      <a:pt x="32" y="201"/>
                    </a:lnTo>
                    <a:lnTo>
                      <a:pt x="30" y="202"/>
                    </a:lnTo>
                    <a:lnTo>
                      <a:pt x="29" y="202"/>
                    </a:lnTo>
                    <a:lnTo>
                      <a:pt x="27" y="202"/>
                    </a:lnTo>
                    <a:lnTo>
                      <a:pt x="27" y="202"/>
                    </a:lnTo>
                    <a:lnTo>
                      <a:pt x="26" y="202"/>
                    </a:lnTo>
                    <a:lnTo>
                      <a:pt x="24" y="205"/>
                    </a:lnTo>
                    <a:lnTo>
                      <a:pt x="26" y="208"/>
                    </a:lnTo>
                    <a:lnTo>
                      <a:pt x="33" y="218"/>
                    </a:lnTo>
                    <a:lnTo>
                      <a:pt x="35" y="221"/>
                    </a:lnTo>
                    <a:lnTo>
                      <a:pt x="35" y="224"/>
                    </a:lnTo>
                    <a:lnTo>
                      <a:pt x="35" y="225"/>
                    </a:lnTo>
                    <a:lnTo>
                      <a:pt x="33" y="228"/>
                    </a:lnTo>
                    <a:lnTo>
                      <a:pt x="33" y="230"/>
                    </a:lnTo>
                    <a:lnTo>
                      <a:pt x="33" y="231"/>
                    </a:lnTo>
                    <a:lnTo>
                      <a:pt x="33" y="232"/>
                    </a:lnTo>
                    <a:lnTo>
                      <a:pt x="35" y="234"/>
                    </a:lnTo>
                    <a:lnTo>
                      <a:pt x="35" y="235"/>
                    </a:lnTo>
                    <a:lnTo>
                      <a:pt x="35" y="232"/>
                    </a:lnTo>
                    <a:lnTo>
                      <a:pt x="36" y="231"/>
                    </a:lnTo>
                    <a:lnTo>
                      <a:pt x="36" y="230"/>
                    </a:lnTo>
                    <a:lnTo>
                      <a:pt x="39" y="230"/>
                    </a:lnTo>
                    <a:lnTo>
                      <a:pt x="40" y="230"/>
                    </a:lnTo>
                    <a:lnTo>
                      <a:pt x="40" y="231"/>
                    </a:lnTo>
                    <a:lnTo>
                      <a:pt x="42" y="232"/>
                    </a:lnTo>
                    <a:lnTo>
                      <a:pt x="42" y="234"/>
                    </a:lnTo>
                    <a:lnTo>
                      <a:pt x="42" y="235"/>
                    </a:lnTo>
                    <a:lnTo>
                      <a:pt x="42" y="235"/>
                    </a:lnTo>
                    <a:lnTo>
                      <a:pt x="43" y="235"/>
                    </a:lnTo>
                    <a:lnTo>
                      <a:pt x="43" y="235"/>
                    </a:lnTo>
                    <a:lnTo>
                      <a:pt x="47" y="235"/>
                    </a:lnTo>
                    <a:lnTo>
                      <a:pt x="49" y="237"/>
                    </a:lnTo>
                    <a:lnTo>
                      <a:pt x="50" y="237"/>
                    </a:lnTo>
                    <a:lnTo>
                      <a:pt x="50" y="238"/>
                    </a:lnTo>
                    <a:lnTo>
                      <a:pt x="50" y="240"/>
                    </a:lnTo>
                    <a:lnTo>
                      <a:pt x="53" y="241"/>
                    </a:lnTo>
                    <a:lnTo>
                      <a:pt x="59" y="244"/>
                    </a:lnTo>
                    <a:lnTo>
                      <a:pt x="63" y="244"/>
                    </a:lnTo>
                    <a:lnTo>
                      <a:pt x="65" y="242"/>
                    </a:lnTo>
                    <a:lnTo>
                      <a:pt x="68" y="240"/>
                    </a:lnTo>
                    <a:lnTo>
                      <a:pt x="70" y="238"/>
                    </a:lnTo>
                    <a:lnTo>
                      <a:pt x="72" y="237"/>
                    </a:lnTo>
                    <a:lnTo>
                      <a:pt x="75" y="237"/>
                    </a:lnTo>
                    <a:lnTo>
                      <a:pt x="78" y="235"/>
                    </a:lnTo>
                    <a:lnTo>
                      <a:pt x="80" y="235"/>
                    </a:lnTo>
                    <a:lnTo>
                      <a:pt x="88" y="235"/>
                    </a:lnTo>
                    <a:lnTo>
                      <a:pt x="91" y="235"/>
                    </a:lnTo>
                    <a:lnTo>
                      <a:pt x="95" y="234"/>
                    </a:lnTo>
                    <a:lnTo>
                      <a:pt x="101" y="231"/>
                    </a:lnTo>
                    <a:lnTo>
                      <a:pt x="105" y="230"/>
                    </a:lnTo>
                    <a:lnTo>
                      <a:pt x="109" y="228"/>
                    </a:lnTo>
                    <a:lnTo>
                      <a:pt x="116" y="230"/>
                    </a:lnTo>
                    <a:lnTo>
                      <a:pt x="119" y="230"/>
                    </a:lnTo>
                    <a:lnTo>
                      <a:pt x="121" y="230"/>
                    </a:lnTo>
                    <a:lnTo>
                      <a:pt x="124" y="228"/>
                    </a:lnTo>
                    <a:lnTo>
                      <a:pt x="126" y="228"/>
                    </a:lnTo>
                    <a:lnTo>
                      <a:pt x="128" y="228"/>
                    </a:lnTo>
                    <a:lnTo>
                      <a:pt x="132" y="228"/>
                    </a:lnTo>
                    <a:lnTo>
                      <a:pt x="136" y="230"/>
                    </a:lnTo>
                    <a:lnTo>
                      <a:pt x="141" y="231"/>
                    </a:lnTo>
                    <a:lnTo>
                      <a:pt x="142" y="231"/>
                    </a:lnTo>
                    <a:lnTo>
                      <a:pt x="145" y="231"/>
                    </a:lnTo>
                    <a:lnTo>
                      <a:pt x="147" y="231"/>
                    </a:lnTo>
                    <a:lnTo>
                      <a:pt x="147" y="230"/>
                    </a:lnTo>
                    <a:lnTo>
                      <a:pt x="148" y="230"/>
                    </a:lnTo>
                    <a:lnTo>
                      <a:pt x="151" y="228"/>
                    </a:lnTo>
                    <a:lnTo>
                      <a:pt x="151" y="228"/>
                    </a:lnTo>
                    <a:lnTo>
                      <a:pt x="152" y="227"/>
                    </a:lnTo>
                    <a:lnTo>
                      <a:pt x="155" y="228"/>
                    </a:lnTo>
                    <a:lnTo>
                      <a:pt x="158" y="228"/>
                    </a:lnTo>
                    <a:lnTo>
                      <a:pt x="159" y="228"/>
                    </a:lnTo>
                    <a:lnTo>
                      <a:pt x="161" y="228"/>
                    </a:lnTo>
                    <a:lnTo>
                      <a:pt x="162" y="227"/>
                    </a:lnTo>
                    <a:lnTo>
                      <a:pt x="162" y="225"/>
                    </a:lnTo>
                    <a:lnTo>
                      <a:pt x="162" y="224"/>
                    </a:lnTo>
                    <a:lnTo>
                      <a:pt x="165" y="222"/>
                    </a:lnTo>
                    <a:lnTo>
                      <a:pt x="167" y="222"/>
                    </a:lnTo>
                    <a:lnTo>
                      <a:pt x="170" y="222"/>
                    </a:lnTo>
                    <a:lnTo>
                      <a:pt x="172" y="222"/>
                    </a:lnTo>
                    <a:lnTo>
                      <a:pt x="174" y="222"/>
                    </a:lnTo>
                    <a:lnTo>
                      <a:pt x="177" y="222"/>
                    </a:lnTo>
                    <a:lnTo>
                      <a:pt x="181" y="221"/>
                    </a:lnTo>
                    <a:lnTo>
                      <a:pt x="187" y="218"/>
                    </a:lnTo>
                    <a:lnTo>
                      <a:pt x="194" y="214"/>
                    </a:lnTo>
                    <a:lnTo>
                      <a:pt x="218" y="194"/>
                    </a:lnTo>
                    <a:lnTo>
                      <a:pt x="243" y="171"/>
                    </a:lnTo>
                    <a:lnTo>
                      <a:pt x="263" y="139"/>
                    </a:lnTo>
                    <a:lnTo>
                      <a:pt x="266" y="135"/>
                    </a:lnTo>
                    <a:lnTo>
                      <a:pt x="269" y="132"/>
                    </a:lnTo>
                    <a:lnTo>
                      <a:pt x="276" y="127"/>
                    </a:lnTo>
                    <a:lnTo>
                      <a:pt x="279" y="125"/>
                    </a:lnTo>
                    <a:lnTo>
                      <a:pt x="282" y="120"/>
                    </a:lnTo>
                    <a:lnTo>
                      <a:pt x="283" y="116"/>
                    </a:lnTo>
                    <a:lnTo>
                      <a:pt x="284" y="106"/>
                    </a:lnTo>
                    <a:lnTo>
                      <a:pt x="287" y="93"/>
                    </a:lnTo>
                    <a:lnTo>
                      <a:pt x="289" y="90"/>
                    </a:lnTo>
                    <a:lnTo>
                      <a:pt x="279" y="89"/>
                    </a:lnTo>
                    <a:lnTo>
                      <a:pt x="276" y="89"/>
                    </a:lnTo>
                    <a:close/>
                    <a:moveTo>
                      <a:pt x="227" y="139"/>
                    </a:moveTo>
                    <a:lnTo>
                      <a:pt x="226" y="142"/>
                    </a:lnTo>
                    <a:lnTo>
                      <a:pt x="221" y="149"/>
                    </a:lnTo>
                    <a:lnTo>
                      <a:pt x="220" y="150"/>
                    </a:lnTo>
                    <a:lnTo>
                      <a:pt x="217" y="152"/>
                    </a:lnTo>
                    <a:lnTo>
                      <a:pt x="211" y="153"/>
                    </a:lnTo>
                    <a:lnTo>
                      <a:pt x="210" y="155"/>
                    </a:lnTo>
                    <a:lnTo>
                      <a:pt x="207" y="156"/>
                    </a:lnTo>
                    <a:lnTo>
                      <a:pt x="204" y="162"/>
                    </a:lnTo>
                    <a:lnTo>
                      <a:pt x="203" y="163"/>
                    </a:lnTo>
                    <a:lnTo>
                      <a:pt x="198" y="162"/>
                    </a:lnTo>
                    <a:lnTo>
                      <a:pt x="194" y="159"/>
                    </a:lnTo>
                    <a:lnTo>
                      <a:pt x="191" y="155"/>
                    </a:lnTo>
                    <a:lnTo>
                      <a:pt x="188" y="149"/>
                    </a:lnTo>
                    <a:lnTo>
                      <a:pt x="187" y="145"/>
                    </a:lnTo>
                    <a:lnTo>
                      <a:pt x="187" y="143"/>
                    </a:lnTo>
                    <a:lnTo>
                      <a:pt x="188" y="142"/>
                    </a:lnTo>
                    <a:lnTo>
                      <a:pt x="190" y="142"/>
                    </a:lnTo>
                    <a:lnTo>
                      <a:pt x="191" y="140"/>
                    </a:lnTo>
                    <a:lnTo>
                      <a:pt x="192" y="139"/>
                    </a:lnTo>
                    <a:lnTo>
                      <a:pt x="195" y="136"/>
                    </a:lnTo>
                    <a:lnTo>
                      <a:pt x="198" y="132"/>
                    </a:lnTo>
                    <a:lnTo>
                      <a:pt x="200" y="130"/>
                    </a:lnTo>
                    <a:lnTo>
                      <a:pt x="204" y="127"/>
                    </a:lnTo>
                    <a:lnTo>
                      <a:pt x="210" y="125"/>
                    </a:lnTo>
                    <a:lnTo>
                      <a:pt x="213" y="125"/>
                    </a:lnTo>
                    <a:lnTo>
                      <a:pt x="214" y="125"/>
                    </a:lnTo>
                    <a:lnTo>
                      <a:pt x="224" y="132"/>
                    </a:lnTo>
                    <a:lnTo>
                      <a:pt x="226" y="133"/>
                    </a:lnTo>
                    <a:lnTo>
                      <a:pt x="227" y="136"/>
                    </a:lnTo>
                    <a:lnTo>
                      <a:pt x="227" y="13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98" name="Freeform 185">
                <a:extLst>
                  <a:ext uri="{FF2B5EF4-FFF2-40B4-BE49-F238E27FC236}">
                    <a16:creationId xmlns:a16="http://schemas.microsoft.com/office/drawing/2014/main" id="{1E4F6176-AFAC-9C43-8FF1-DF1340884631}"/>
                  </a:ext>
                </a:extLst>
              </p:cNvPr>
              <p:cNvSpPr>
                <a:spLocks/>
              </p:cNvSpPr>
              <p:nvPr/>
            </p:nvSpPr>
            <p:spPr bwMode="auto">
              <a:xfrm>
                <a:off x="3982" y="2134"/>
                <a:ext cx="214" cy="187"/>
              </a:xfrm>
              <a:custGeom>
                <a:avLst/>
                <a:gdLst>
                  <a:gd name="T0" fmla="*/ 172 w 214"/>
                  <a:gd name="T1" fmla="*/ 20 h 187"/>
                  <a:gd name="T2" fmla="*/ 167 w 214"/>
                  <a:gd name="T3" fmla="*/ 7 h 187"/>
                  <a:gd name="T4" fmla="*/ 160 w 214"/>
                  <a:gd name="T5" fmla="*/ 9 h 187"/>
                  <a:gd name="T6" fmla="*/ 148 w 214"/>
                  <a:gd name="T7" fmla="*/ 9 h 187"/>
                  <a:gd name="T8" fmla="*/ 137 w 214"/>
                  <a:gd name="T9" fmla="*/ 10 h 187"/>
                  <a:gd name="T10" fmla="*/ 132 w 214"/>
                  <a:gd name="T11" fmla="*/ 9 h 187"/>
                  <a:gd name="T12" fmla="*/ 128 w 214"/>
                  <a:gd name="T13" fmla="*/ 7 h 187"/>
                  <a:gd name="T14" fmla="*/ 125 w 214"/>
                  <a:gd name="T15" fmla="*/ 6 h 187"/>
                  <a:gd name="T16" fmla="*/ 128 w 214"/>
                  <a:gd name="T17" fmla="*/ 4 h 187"/>
                  <a:gd name="T18" fmla="*/ 128 w 214"/>
                  <a:gd name="T19" fmla="*/ 3 h 187"/>
                  <a:gd name="T20" fmla="*/ 115 w 214"/>
                  <a:gd name="T21" fmla="*/ 1 h 187"/>
                  <a:gd name="T22" fmla="*/ 106 w 214"/>
                  <a:gd name="T23" fmla="*/ 3 h 187"/>
                  <a:gd name="T24" fmla="*/ 101 w 214"/>
                  <a:gd name="T25" fmla="*/ 3 h 187"/>
                  <a:gd name="T26" fmla="*/ 89 w 214"/>
                  <a:gd name="T27" fmla="*/ 10 h 187"/>
                  <a:gd name="T28" fmla="*/ 75 w 214"/>
                  <a:gd name="T29" fmla="*/ 14 h 187"/>
                  <a:gd name="T30" fmla="*/ 25 w 214"/>
                  <a:gd name="T31" fmla="*/ 1 h 187"/>
                  <a:gd name="T32" fmla="*/ 7 w 214"/>
                  <a:gd name="T33" fmla="*/ 0 h 187"/>
                  <a:gd name="T34" fmla="*/ 3 w 214"/>
                  <a:gd name="T35" fmla="*/ 12 h 187"/>
                  <a:gd name="T36" fmla="*/ 3 w 214"/>
                  <a:gd name="T37" fmla="*/ 22 h 187"/>
                  <a:gd name="T38" fmla="*/ 2 w 214"/>
                  <a:gd name="T39" fmla="*/ 35 h 187"/>
                  <a:gd name="T40" fmla="*/ 7 w 214"/>
                  <a:gd name="T41" fmla="*/ 187 h 187"/>
                  <a:gd name="T42" fmla="*/ 22 w 214"/>
                  <a:gd name="T43" fmla="*/ 187 h 187"/>
                  <a:gd name="T44" fmla="*/ 39 w 214"/>
                  <a:gd name="T45" fmla="*/ 187 h 187"/>
                  <a:gd name="T46" fmla="*/ 56 w 214"/>
                  <a:gd name="T47" fmla="*/ 187 h 187"/>
                  <a:gd name="T48" fmla="*/ 70 w 214"/>
                  <a:gd name="T49" fmla="*/ 187 h 187"/>
                  <a:gd name="T50" fmla="*/ 81 w 214"/>
                  <a:gd name="T51" fmla="*/ 187 h 187"/>
                  <a:gd name="T52" fmla="*/ 99 w 214"/>
                  <a:gd name="T53" fmla="*/ 187 h 187"/>
                  <a:gd name="T54" fmla="*/ 109 w 214"/>
                  <a:gd name="T55" fmla="*/ 187 h 187"/>
                  <a:gd name="T56" fmla="*/ 116 w 214"/>
                  <a:gd name="T57" fmla="*/ 185 h 187"/>
                  <a:gd name="T58" fmla="*/ 118 w 214"/>
                  <a:gd name="T59" fmla="*/ 183 h 187"/>
                  <a:gd name="T60" fmla="*/ 118 w 214"/>
                  <a:gd name="T61" fmla="*/ 183 h 187"/>
                  <a:gd name="T62" fmla="*/ 128 w 214"/>
                  <a:gd name="T63" fmla="*/ 187 h 187"/>
                  <a:gd name="T64" fmla="*/ 171 w 214"/>
                  <a:gd name="T65" fmla="*/ 187 h 187"/>
                  <a:gd name="T66" fmla="*/ 200 w 214"/>
                  <a:gd name="T67" fmla="*/ 187 h 187"/>
                  <a:gd name="T68" fmla="*/ 213 w 214"/>
                  <a:gd name="T69" fmla="*/ 184 h 187"/>
                  <a:gd name="T70" fmla="*/ 194 w 214"/>
                  <a:gd name="T71" fmla="*/ 170 h 187"/>
                  <a:gd name="T72" fmla="*/ 195 w 214"/>
                  <a:gd name="T73" fmla="*/ 149 h 187"/>
                  <a:gd name="T74" fmla="*/ 162 w 214"/>
                  <a:gd name="T75" fmla="*/ 93 h 187"/>
                  <a:gd name="T76" fmla="*/ 157 w 214"/>
                  <a:gd name="T77" fmla="*/ 79 h 187"/>
                  <a:gd name="T78" fmla="*/ 154 w 214"/>
                  <a:gd name="T79" fmla="*/ 70 h 187"/>
                  <a:gd name="T80" fmla="*/ 139 w 214"/>
                  <a:gd name="T81" fmla="*/ 49 h 187"/>
                  <a:gd name="T82" fmla="*/ 137 w 214"/>
                  <a:gd name="T83" fmla="*/ 33 h 187"/>
                  <a:gd name="T84" fmla="*/ 142 w 214"/>
                  <a:gd name="T85" fmla="*/ 42 h 187"/>
                  <a:gd name="T86" fmla="*/ 149 w 214"/>
                  <a:gd name="T87" fmla="*/ 53 h 187"/>
                  <a:gd name="T88" fmla="*/ 162 w 214"/>
                  <a:gd name="T89" fmla="*/ 72 h 187"/>
                  <a:gd name="T90" fmla="*/ 167 w 214"/>
                  <a:gd name="T91" fmla="*/ 75 h 187"/>
                  <a:gd name="T92" fmla="*/ 171 w 214"/>
                  <a:gd name="T93" fmla="*/ 68 h 187"/>
                  <a:gd name="T94" fmla="*/ 177 w 214"/>
                  <a:gd name="T95" fmla="*/ 46 h 187"/>
                  <a:gd name="T96" fmla="*/ 175 w 214"/>
                  <a:gd name="T97" fmla="*/ 2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4" h="187">
                    <a:moveTo>
                      <a:pt x="175" y="27"/>
                    </a:moveTo>
                    <a:lnTo>
                      <a:pt x="172" y="23"/>
                    </a:lnTo>
                    <a:lnTo>
                      <a:pt x="172" y="22"/>
                    </a:lnTo>
                    <a:lnTo>
                      <a:pt x="172" y="20"/>
                    </a:lnTo>
                    <a:lnTo>
                      <a:pt x="171" y="17"/>
                    </a:lnTo>
                    <a:lnTo>
                      <a:pt x="170" y="14"/>
                    </a:lnTo>
                    <a:lnTo>
                      <a:pt x="168" y="7"/>
                    </a:lnTo>
                    <a:lnTo>
                      <a:pt x="167" y="7"/>
                    </a:lnTo>
                    <a:lnTo>
                      <a:pt x="167" y="6"/>
                    </a:lnTo>
                    <a:lnTo>
                      <a:pt x="164" y="7"/>
                    </a:lnTo>
                    <a:lnTo>
                      <a:pt x="162" y="9"/>
                    </a:lnTo>
                    <a:lnTo>
                      <a:pt x="160" y="9"/>
                    </a:lnTo>
                    <a:lnTo>
                      <a:pt x="152" y="10"/>
                    </a:lnTo>
                    <a:lnTo>
                      <a:pt x="151" y="10"/>
                    </a:lnTo>
                    <a:lnTo>
                      <a:pt x="149" y="10"/>
                    </a:lnTo>
                    <a:lnTo>
                      <a:pt x="148" y="9"/>
                    </a:lnTo>
                    <a:lnTo>
                      <a:pt x="147" y="10"/>
                    </a:lnTo>
                    <a:lnTo>
                      <a:pt x="141" y="12"/>
                    </a:lnTo>
                    <a:lnTo>
                      <a:pt x="139" y="12"/>
                    </a:lnTo>
                    <a:lnTo>
                      <a:pt x="137" y="10"/>
                    </a:lnTo>
                    <a:lnTo>
                      <a:pt x="134" y="7"/>
                    </a:lnTo>
                    <a:lnTo>
                      <a:pt x="132" y="7"/>
                    </a:lnTo>
                    <a:lnTo>
                      <a:pt x="132" y="9"/>
                    </a:lnTo>
                    <a:lnTo>
                      <a:pt x="132" y="9"/>
                    </a:lnTo>
                    <a:lnTo>
                      <a:pt x="131" y="10"/>
                    </a:lnTo>
                    <a:lnTo>
                      <a:pt x="129" y="10"/>
                    </a:lnTo>
                    <a:lnTo>
                      <a:pt x="129" y="10"/>
                    </a:lnTo>
                    <a:lnTo>
                      <a:pt x="128" y="7"/>
                    </a:lnTo>
                    <a:lnTo>
                      <a:pt x="126" y="7"/>
                    </a:lnTo>
                    <a:lnTo>
                      <a:pt x="125" y="7"/>
                    </a:lnTo>
                    <a:lnTo>
                      <a:pt x="124" y="7"/>
                    </a:lnTo>
                    <a:lnTo>
                      <a:pt x="125" y="6"/>
                    </a:lnTo>
                    <a:lnTo>
                      <a:pt x="125" y="4"/>
                    </a:lnTo>
                    <a:lnTo>
                      <a:pt x="126" y="4"/>
                    </a:lnTo>
                    <a:lnTo>
                      <a:pt x="126" y="3"/>
                    </a:lnTo>
                    <a:lnTo>
                      <a:pt x="128" y="4"/>
                    </a:lnTo>
                    <a:lnTo>
                      <a:pt x="129" y="6"/>
                    </a:lnTo>
                    <a:lnTo>
                      <a:pt x="131" y="6"/>
                    </a:lnTo>
                    <a:lnTo>
                      <a:pt x="129" y="4"/>
                    </a:lnTo>
                    <a:lnTo>
                      <a:pt x="128" y="3"/>
                    </a:lnTo>
                    <a:lnTo>
                      <a:pt x="126" y="3"/>
                    </a:lnTo>
                    <a:lnTo>
                      <a:pt x="121" y="3"/>
                    </a:lnTo>
                    <a:lnTo>
                      <a:pt x="119" y="3"/>
                    </a:lnTo>
                    <a:lnTo>
                      <a:pt x="115" y="1"/>
                    </a:lnTo>
                    <a:lnTo>
                      <a:pt x="112" y="1"/>
                    </a:lnTo>
                    <a:lnTo>
                      <a:pt x="106" y="4"/>
                    </a:lnTo>
                    <a:lnTo>
                      <a:pt x="103" y="4"/>
                    </a:lnTo>
                    <a:lnTo>
                      <a:pt x="106" y="3"/>
                    </a:lnTo>
                    <a:lnTo>
                      <a:pt x="108" y="3"/>
                    </a:lnTo>
                    <a:lnTo>
                      <a:pt x="109" y="1"/>
                    </a:lnTo>
                    <a:lnTo>
                      <a:pt x="102" y="3"/>
                    </a:lnTo>
                    <a:lnTo>
                      <a:pt x="101" y="3"/>
                    </a:lnTo>
                    <a:lnTo>
                      <a:pt x="101" y="4"/>
                    </a:lnTo>
                    <a:lnTo>
                      <a:pt x="99" y="6"/>
                    </a:lnTo>
                    <a:lnTo>
                      <a:pt x="98" y="6"/>
                    </a:lnTo>
                    <a:lnTo>
                      <a:pt x="89" y="10"/>
                    </a:lnTo>
                    <a:lnTo>
                      <a:pt x="85" y="13"/>
                    </a:lnTo>
                    <a:lnTo>
                      <a:pt x="82" y="14"/>
                    </a:lnTo>
                    <a:lnTo>
                      <a:pt x="78" y="16"/>
                    </a:lnTo>
                    <a:lnTo>
                      <a:pt x="75" y="14"/>
                    </a:lnTo>
                    <a:lnTo>
                      <a:pt x="65" y="12"/>
                    </a:lnTo>
                    <a:lnTo>
                      <a:pt x="55" y="10"/>
                    </a:lnTo>
                    <a:lnTo>
                      <a:pt x="42" y="4"/>
                    </a:lnTo>
                    <a:lnTo>
                      <a:pt x="25" y="1"/>
                    </a:lnTo>
                    <a:lnTo>
                      <a:pt x="20" y="0"/>
                    </a:lnTo>
                    <a:lnTo>
                      <a:pt x="13" y="3"/>
                    </a:lnTo>
                    <a:lnTo>
                      <a:pt x="10" y="3"/>
                    </a:lnTo>
                    <a:lnTo>
                      <a:pt x="7" y="0"/>
                    </a:lnTo>
                    <a:lnTo>
                      <a:pt x="6" y="3"/>
                    </a:lnTo>
                    <a:lnTo>
                      <a:pt x="3" y="6"/>
                    </a:lnTo>
                    <a:lnTo>
                      <a:pt x="3" y="9"/>
                    </a:lnTo>
                    <a:lnTo>
                      <a:pt x="3" y="12"/>
                    </a:lnTo>
                    <a:lnTo>
                      <a:pt x="4" y="16"/>
                    </a:lnTo>
                    <a:lnTo>
                      <a:pt x="4" y="17"/>
                    </a:lnTo>
                    <a:lnTo>
                      <a:pt x="4" y="20"/>
                    </a:lnTo>
                    <a:lnTo>
                      <a:pt x="3" y="22"/>
                    </a:lnTo>
                    <a:lnTo>
                      <a:pt x="0" y="26"/>
                    </a:lnTo>
                    <a:lnTo>
                      <a:pt x="0" y="27"/>
                    </a:lnTo>
                    <a:lnTo>
                      <a:pt x="0" y="29"/>
                    </a:lnTo>
                    <a:lnTo>
                      <a:pt x="2" y="35"/>
                    </a:lnTo>
                    <a:lnTo>
                      <a:pt x="4" y="45"/>
                    </a:lnTo>
                    <a:lnTo>
                      <a:pt x="4" y="47"/>
                    </a:lnTo>
                    <a:lnTo>
                      <a:pt x="4" y="187"/>
                    </a:lnTo>
                    <a:lnTo>
                      <a:pt x="7" y="187"/>
                    </a:lnTo>
                    <a:lnTo>
                      <a:pt x="10" y="187"/>
                    </a:lnTo>
                    <a:lnTo>
                      <a:pt x="13" y="187"/>
                    </a:lnTo>
                    <a:lnTo>
                      <a:pt x="16" y="187"/>
                    </a:lnTo>
                    <a:lnTo>
                      <a:pt x="22" y="187"/>
                    </a:lnTo>
                    <a:lnTo>
                      <a:pt x="30" y="187"/>
                    </a:lnTo>
                    <a:lnTo>
                      <a:pt x="32" y="187"/>
                    </a:lnTo>
                    <a:lnTo>
                      <a:pt x="35" y="187"/>
                    </a:lnTo>
                    <a:lnTo>
                      <a:pt x="39" y="187"/>
                    </a:lnTo>
                    <a:lnTo>
                      <a:pt x="49" y="187"/>
                    </a:lnTo>
                    <a:lnTo>
                      <a:pt x="52" y="187"/>
                    </a:lnTo>
                    <a:lnTo>
                      <a:pt x="53" y="187"/>
                    </a:lnTo>
                    <a:lnTo>
                      <a:pt x="56" y="187"/>
                    </a:lnTo>
                    <a:lnTo>
                      <a:pt x="59" y="187"/>
                    </a:lnTo>
                    <a:lnTo>
                      <a:pt x="65" y="187"/>
                    </a:lnTo>
                    <a:lnTo>
                      <a:pt x="68" y="187"/>
                    </a:lnTo>
                    <a:lnTo>
                      <a:pt x="70" y="187"/>
                    </a:lnTo>
                    <a:lnTo>
                      <a:pt x="73" y="187"/>
                    </a:lnTo>
                    <a:lnTo>
                      <a:pt x="76" y="187"/>
                    </a:lnTo>
                    <a:lnTo>
                      <a:pt x="76" y="187"/>
                    </a:lnTo>
                    <a:lnTo>
                      <a:pt x="81" y="187"/>
                    </a:lnTo>
                    <a:lnTo>
                      <a:pt x="83" y="187"/>
                    </a:lnTo>
                    <a:lnTo>
                      <a:pt x="85" y="187"/>
                    </a:lnTo>
                    <a:lnTo>
                      <a:pt x="92" y="187"/>
                    </a:lnTo>
                    <a:lnTo>
                      <a:pt x="99" y="187"/>
                    </a:lnTo>
                    <a:lnTo>
                      <a:pt x="102" y="187"/>
                    </a:lnTo>
                    <a:lnTo>
                      <a:pt x="103" y="187"/>
                    </a:lnTo>
                    <a:lnTo>
                      <a:pt x="108" y="187"/>
                    </a:lnTo>
                    <a:lnTo>
                      <a:pt x="109" y="187"/>
                    </a:lnTo>
                    <a:lnTo>
                      <a:pt x="112" y="187"/>
                    </a:lnTo>
                    <a:lnTo>
                      <a:pt x="115" y="187"/>
                    </a:lnTo>
                    <a:lnTo>
                      <a:pt x="115" y="187"/>
                    </a:lnTo>
                    <a:lnTo>
                      <a:pt x="116" y="185"/>
                    </a:lnTo>
                    <a:lnTo>
                      <a:pt x="116" y="184"/>
                    </a:lnTo>
                    <a:lnTo>
                      <a:pt x="116" y="184"/>
                    </a:lnTo>
                    <a:lnTo>
                      <a:pt x="116" y="183"/>
                    </a:lnTo>
                    <a:lnTo>
                      <a:pt x="118" y="183"/>
                    </a:lnTo>
                    <a:lnTo>
                      <a:pt x="118" y="183"/>
                    </a:lnTo>
                    <a:lnTo>
                      <a:pt x="118" y="183"/>
                    </a:lnTo>
                    <a:lnTo>
                      <a:pt x="118" y="183"/>
                    </a:lnTo>
                    <a:lnTo>
                      <a:pt x="118" y="183"/>
                    </a:lnTo>
                    <a:lnTo>
                      <a:pt x="119" y="183"/>
                    </a:lnTo>
                    <a:lnTo>
                      <a:pt x="119" y="184"/>
                    </a:lnTo>
                    <a:lnTo>
                      <a:pt x="118" y="187"/>
                    </a:lnTo>
                    <a:lnTo>
                      <a:pt x="128" y="187"/>
                    </a:lnTo>
                    <a:lnTo>
                      <a:pt x="134" y="187"/>
                    </a:lnTo>
                    <a:lnTo>
                      <a:pt x="142" y="187"/>
                    </a:lnTo>
                    <a:lnTo>
                      <a:pt x="162" y="187"/>
                    </a:lnTo>
                    <a:lnTo>
                      <a:pt x="171" y="187"/>
                    </a:lnTo>
                    <a:lnTo>
                      <a:pt x="182" y="187"/>
                    </a:lnTo>
                    <a:lnTo>
                      <a:pt x="185" y="187"/>
                    </a:lnTo>
                    <a:lnTo>
                      <a:pt x="191" y="187"/>
                    </a:lnTo>
                    <a:lnTo>
                      <a:pt x="200" y="187"/>
                    </a:lnTo>
                    <a:lnTo>
                      <a:pt x="203" y="187"/>
                    </a:lnTo>
                    <a:lnTo>
                      <a:pt x="208" y="187"/>
                    </a:lnTo>
                    <a:lnTo>
                      <a:pt x="214" y="187"/>
                    </a:lnTo>
                    <a:lnTo>
                      <a:pt x="213" y="184"/>
                    </a:lnTo>
                    <a:lnTo>
                      <a:pt x="210" y="181"/>
                    </a:lnTo>
                    <a:lnTo>
                      <a:pt x="201" y="175"/>
                    </a:lnTo>
                    <a:lnTo>
                      <a:pt x="197" y="171"/>
                    </a:lnTo>
                    <a:lnTo>
                      <a:pt x="194" y="170"/>
                    </a:lnTo>
                    <a:lnTo>
                      <a:pt x="191" y="164"/>
                    </a:lnTo>
                    <a:lnTo>
                      <a:pt x="190" y="157"/>
                    </a:lnTo>
                    <a:lnTo>
                      <a:pt x="190" y="151"/>
                    </a:lnTo>
                    <a:lnTo>
                      <a:pt x="195" y="149"/>
                    </a:lnTo>
                    <a:lnTo>
                      <a:pt x="187" y="142"/>
                    </a:lnTo>
                    <a:lnTo>
                      <a:pt x="184" y="139"/>
                    </a:lnTo>
                    <a:lnTo>
                      <a:pt x="162" y="96"/>
                    </a:lnTo>
                    <a:lnTo>
                      <a:pt x="162" y="93"/>
                    </a:lnTo>
                    <a:lnTo>
                      <a:pt x="161" y="88"/>
                    </a:lnTo>
                    <a:lnTo>
                      <a:pt x="160" y="85"/>
                    </a:lnTo>
                    <a:lnTo>
                      <a:pt x="157" y="81"/>
                    </a:lnTo>
                    <a:lnTo>
                      <a:pt x="157" y="79"/>
                    </a:lnTo>
                    <a:lnTo>
                      <a:pt x="155" y="78"/>
                    </a:lnTo>
                    <a:lnTo>
                      <a:pt x="155" y="73"/>
                    </a:lnTo>
                    <a:lnTo>
                      <a:pt x="155" y="72"/>
                    </a:lnTo>
                    <a:lnTo>
                      <a:pt x="154" y="70"/>
                    </a:lnTo>
                    <a:lnTo>
                      <a:pt x="149" y="65"/>
                    </a:lnTo>
                    <a:lnTo>
                      <a:pt x="141" y="55"/>
                    </a:lnTo>
                    <a:lnTo>
                      <a:pt x="141" y="52"/>
                    </a:lnTo>
                    <a:lnTo>
                      <a:pt x="139" y="49"/>
                    </a:lnTo>
                    <a:lnTo>
                      <a:pt x="138" y="45"/>
                    </a:lnTo>
                    <a:lnTo>
                      <a:pt x="135" y="39"/>
                    </a:lnTo>
                    <a:lnTo>
                      <a:pt x="135" y="36"/>
                    </a:lnTo>
                    <a:lnTo>
                      <a:pt x="137" y="33"/>
                    </a:lnTo>
                    <a:lnTo>
                      <a:pt x="138" y="32"/>
                    </a:lnTo>
                    <a:lnTo>
                      <a:pt x="139" y="35"/>
                    </a:lnTo>
                    <a:lnTo>
                      <a:pt x="141" y="40"/>
                    </a:lnTo>
                    <a:lnTo>
                      <a:pt x="142" y="42"/>
                    </a:lnTo>
                    <a:lnTo>
                      <a:pt x="144" y="45"/>
                    </a:lnTo>
                    <a:lnTo>
                      <a:pt x="147" y="49"/>
                    </a:lnTo>
                    <a:lnTo>
                      <a:pt x="148" y="52"/>
                    </a:lnTo>
                    <a:lnTo>
                      <a:pt x="149" y="53"/>
                    </a:lnTo>
                    <a:lnTo>
                      <a:pt x="149" y="56"/>
                    </a:lnTo>
                    <a:lnTo>
                      <a:pt x="151" y="59"/>
                    </a:lnTo>
                    <a:lnTo>
                      <a:pt x="152" y="60"/>
                    </a:lnTo>
                    <a:lnTo>
                      <a:pt x="162" y="72"/>
                    </a:lnTo>
                    <a:lnTo>
                      <a:pt x="164" y="73"/>
                    </a:lnTo>
                    <a:lnTo>
                      <a:pt x="164" y="73"/>
                    </a:lnTo>
                    <a:lnTo>
                      <a:pt x="165" y="75"/>
                    </a:lnTo>
                    <a:lnTo>
                      <a:pt x="167" y="75"/>
                    </a:lnTo>
                    <a:lnTo>
                      <a:pt x="168" y="73"/>
                    </a:lnTo>
                    <a:lnTo>
                      <a:pt x="168" y="73"/>
                    </a:lnTo>
                    <a:lnTo>
                      <a:pt x="170" y="70"/>
                    </a:lnTo>
                    <a:lnTo>
                      <a:pt x="171" y="68"/>
                    </a:lnTo>
                    <a:lnTo>
                      <a:pt x="171" y="62"/>
                    </a:lnTo>
                    <a:lnTo>
                      <a:pt x="172" y="60"/>
                    </a:lnTo>
                    <a:lnTo>
                      <a:pt x="174" y="55"/>
                    </a:lnTo>
                    <a:lnTo>
                      <a:pt x="177" y="46"/>
                    </a:lnTo>
                    <a:lnTo>
                      <a:pt x="177" y="43"/>
                    </a:lnTo>
                    <a:lnTo>
                      <a:pt x="180" y="42"/>
                    </a:lnTo>
                    <a:lnTo>
                      <a:pt x="178" y="40"/>
                    </a:lnTo>
                    <a:lnTo>
                      <a:pt x="175" y="2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99" name="Freeform 186">
                <a:extLst>
                  <a:ext uri="{FF2B5EF4-FFF2-40B4-BE49-F238E27FC236}">
                    <a16:creationId xmlns:a16="http://schemas.microsoft.com/office/drawing/2014/main" id="{E0D8801C-D7E7-45A2-954C-4674587E368E}"/>
                  </a:ext>
                </a:extLst>
              </p:cNvPr>
              <p:cNvSpPr>
                <a:spLocks/>
              </p:cNvSpPr>
              <p:nvPr/>
            </p:nvSpPr>
            <p:spPr bwMode="auto">
              <a:xfrm>
                <a:off x="4282" y="2492"/>
                <a:ext cx="29" cy="32"/>
              </a:xfrm>
              <a:custGeom>
                <a:avLst/>
                <a:gdLst>
                  <a:gd name="T0" fmla="*/ 19 w 29"/>
                  <a:gd name="T1" fmla="*/ 1 h 32"/>
                  <a:gd name="T2" fmla="*/ 19 w 29"/>
                  <a:gd name="T3" fmla="*/ 3 h 32"/>
                  <a:gd name="T4" fmla="*/ 17 w 29"/>
                  <a:gd name="T5" fmla="*/ 4 h 32"/>
                  <a:gd name="T6" fmla="*/ 17 w 29"/>
                  <a:gd name="T7" fmla="*/ 6 h 32"/>
                  <a:gd name="T8" fmla="*/ 15 w 29"/>
                  <a:gd name="T9" fmla="*/ 6 h 32"/>
                  <a:gd name="T10" fmla="*/ 13 w 29"/>
                  <a:gd name="T11" fmla="*/ 4 h 32"/>
                  <a:gd name="T12" fmla="*/ 12 w 29"/>
                  <a:gd name="T13" fmla="*/ 4 h 32"/>
                  <a:gd name="T14" fmla="*/ 10 w 29"/>
                  <a:gd name="T15" fmla="*/ 4 h 32"/>
                  <a:gd name="T16" fmla="*/ 3 w 29"/>
                  <a:gd name="T17" fmla="*/ 16 h 32"/>
                  <a:gd name="T18" fmla="*/ 0 w 29"/>
                  <a:gd name="T19" fmla="*/ 21 h 32"/>
                  <a:gd name="T20" fmla="*/ 0 w 29"/>
                  <a:gd name="T21" fmla="*/ 27 h 32"/>
                  <a:gd name="T22" fmla="*/ 0 w 29"/>
                  <a:gd name="T23" fmla="*/ 30 h 32"/>
                  <a:gd name="T24" fmla="*/ 0 w 29"/>
                  <a:gd name="T25" fmla="*/ 30 h 32"/>
                  <a:gd name="T26" fmla="*/ 2 w 29"/>
                  <a:gd name="T27" fmla="*/ 32 h 32"/>
                  <a:gd name="T28" fmla="*/ 3 w 29"/>
                  <a:gd name="T29" fmla="*/ 32 h 32"/>
                  <a:gd name="T30" fmla="*/ 5 w 29"/>
                  <a:gd name="T31" fmla="*/ 32 h 32"/>
                  <a:gd name="T32" fmla="*/ 15 w 29"/>
                  <a:gd name="T33" fmla="*/ 30 h 32"/>
                  <a:gd name="T34" fmla="*/ 16 w 29"/>
                  <a:gd name="T35" fmla="*/ 30 h 32"/>
                  <a:gd name="T36" fmla="*/ 17 w 29"/>
                  <a:gd name="T37" fmla="*/ 30 h 32"/>
                  <a:gd name="T38" fmla="*/ 17 w 29"/>
                  <a:gd name="T39" fmla="*/ 30 h 32"/>
                  <a:gd name="T40" fmla="*/ 19 w 29"/>
                  <a:gd name="T41" fmla="*/ 30 h 32"/>
                  <a:gd name="T42" fmla="*/ 20 w 29"/>
                  <a:gd name="T43" fmla="*/ 32 h 32"/>
                  <a:gd name="T44" fmla="*/ 22 w 29"/>
                  <a:gd name="T45" fmla="*/ 27 h 32"/>
                  <a:gd name="T46" fmla="*/ 25 w 29"/>
                  <a:gd name="T47" fmla="*/ 23 h 32"/>
                  <a:gd name="T48" fmla="*/ 26 w 29"/>
                  <a:gd name="T49" fmla="*/ 21 h 32"/>
                  <a:gd name="T50" fmla="*/ 23 w 29"/>
                  <a:gd name="T51" fmla="*/ 20 h 32"/>
                  <a:gd name="T52" fmla="*/ 15 w 29"/>
                  <a:gd name="T53" fmla="*/ 21 h 32"/>
                  <a:gd name="T54" fmla="*/ 13 w 29"/>
                  <a:gd name="T55" fmla="*/ 20 h 32"/>
                  <a:gd name="T56" fmla="*/ 15 w 29"/>
                  <a:gd name="T57" fmla="*/ 20 h 32"/>
                  <a:gd name="T58" fmla="*/ 17 w 29"/>
                  <a:gd name="T59" fmla="*/ 19 h 32"/>
                  <a:gd name="T60" fmla="*/ 20 w 29"/>
                  <a:gd name="T61" fmla="*/ 17 h 32"/>
                  <a:gd name="T62" fmla="*/ 25 w 29"/>
                  <a:gd name="T63" fmla="*/ 14 h 32"/>
                  <a:gd name="T64" fmla="*/ 26 w 29"/>
                  <a:gd name="T65" fmla="*/ 14 h 32"/>
                  <a:gd name="T66" fmla="*/ 28 w 29"/>
                  <a:gd name="T67" fmla="*/ 13 h 32"/>
                  <a:gd name="T68" fmla="*/ 29 w 29"/>
                  <a:gd name="T69" fmla="*/ 9 h 32"/>
                  <a:gd name="T70" fmla="*/ 28 w 29"/>
                  <a:gd name="T71" fmla="*/ 6 h 32"/>
                  <a:gd name="T72" fmla="*/ 23 w 29"/>
                  <a:gd name="T73" fmla="*/ 0 h 32"/>
                  <a:gd name="T74" fmla="*/ 20 w 29"/>
                  <a:gd name="T75" fmla="*/ 1 h 32"/>
                  <a:gd name="T76" fmla="*/ 19 w 29"/>
                  <a:gd name="T77"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32">
                    <a:moveTo>
                      <a:pt x="19" y="1"/>
                    </a:moveTo>
                    <a:lnTo>
                      <a:pt x="19" y="3"/>
                    </a:lnTo>
                    <a:lnTo>
                      <a:pt x="17" y="4"/>
                    </a:lnTo>
                    <a:lnTo>
                      <a:pt x="17" y="6"/>
                    </a:lnTo>
                    <a:lnTo>
                      <a:pt x="15" y="6"/>
                    </a:lnTo>
                    <a:lnTo>
                      <a:pt x="13" y="4"/>
                    </a:lnTo>
                    <a:lnTo>
                      <a:pt x="12" y="4"/>
                    </a:lnTo>
                    <a:lnTo>
                      <a:pt x="10" y="4"/>
                    </a:lnTo>
                    <a:lnTo>
                      <a:pt x="3" y="16"/>
                    </a:lnTo>
                    <a:lnTo>
                      <a:pt x="0" y="21"/>
                    </a:lnTo>
                    <a:lnTo>
                      <a:pt x="0" y="27"/>
                    </a:lnTo>
                    <a:lnTo>
                      <a:pt x="0" y="30"/>
                    </a:lnTo>
                    <a:lnTo>
                      <a:pt x="0" y="30"/>
                    </a:lnTo>
                    <a:lnTo>
                      <a:pt x="2" y="32"/>
                    </a:lnTo>
                    <a:lnTo>
                      <a:pt x="3" y="32"/>
                    </a:lnTo>
                    <a:lnTo>
                      <a:pt x="5" y="32"/>
                    </a:lnTo>
                    <a:lnTo>
                      <a:pt x="15" y="30"/>
                    </a:lnTo>
                    <a:lnTo>
                      <a:pt x="16" y="30"/>
                    </a:lnTo>
                    <a:lnTo>
                      <a:pt x="17" y="30"/>
                    </a:lnTo>
                    <a:lnTo>
                      <a:pt x="17" y="30"/>
                    </a:lnTo>
                    <a:lnTo>
                      <a:pt x="19" y="30"/>
                    </a:lnTo>
                    <a:lnTo>
                      <a:pt x="20" y="32"/>
                    </a:lnTo>
                    <a:lnTo>
                      <a:pt x="22" y="27"/>
                    </a:lnTo>
                    <a:lnTo>
                      <a:pt x="25" y="23"/>
                    </a:lnTo>
                    <a:lnTo>
                      <a:pt x="26" y="21"/>
                    </a:lnTo>
                    <a:lnTo>
                      <a:pt x="23" y="20"/>
                    </a:lnTo>
                    <a:lnTo>
                      <a:pt x="15" y="21"/>
                    </a:lnTo>
                    <a:lnTo>
                      <a:pt x="13" y="20"/>
                    </a:lnTo>
                    <a:lnTo>
                      <a:pt x="15" y="20"/>
                    </a:lnTo>
                    <a:lnTo>
                      <a:pt x="17" y="19"/>
                    </a:lnTo>
                    <a:lnTo>
                      <a:pt x="20" y="17"/>
                    </a:lnTo>
                    <a:lnTo>
                      <a:pt x="25" y="14"/>
                    </a:lnTo>
                    <a:lnTo>
                      <a:pt x="26" y="14"/>
                    </a:lnTo>
                    <a:lnTo>
                      <a:pt x="28" y="13"/>
                    </a:lnTo>
                    <a:lnTo>
                      <a:pt x="29" y="9"/>
                    </a:lnTo>
                    <a:lnTo>
                      <a:pt x="28" y="6"/>
                    </a:lnTo>
                    <a:lnTo>
                      <a:pt x="23" y="0"/>
                    </a:lnTo>
                    <a:lnTo>
                      <a:pt x="20" y="1"/>
                    </a:lnTo>
                    <a:lnTo>
                      <a:pt x="19" y="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00" name="Freeform 187">
                <a:extLst>
                  <a:ext uri="{FF2B5EF4-FFF2-40B4-BE49-F238E27FC236}">
                    <a16:creationId xmlns:a16="http://schemas.microsoft.com/office/drawing/2014/main" id="{B4629E19-A1E8-1A47-6D78-56BDED9381EB}"/>
                  </a:ext>
                </a:extLst>
              </p:cNvPr>
              <p:cNvSpPr>
                <a:spLocks/>
              </p:cNvSpPr>
              <p:nvPr/>
            </p:nvSpPr>
            <p:spPr bwMode="auto">
              <a:xfrm>
                <a:off x="3712" y="2105"/>
                <a:ext cx="277" cy="263"/>
              </a:xfrm>
              <a:custGeom>
                <a:avLst/>
                <a:gdLst>
                  <a:gd name="T0" fmla="*/ 274 w 277"/>
                  <a:gd name="T1" fmla="*/ 230 h 263"/>
                  <a:gd name="T2" fmla="*/ 274 w 277"/>
                  <a:gd name="T3" fmla="*/ 76 h 263"/>
                  <a:gd name="T4" fmla="*/ 270 w 277"/>
                  <a:gd name="T5" fmla="*/ 58 h 263"/>
                  <a:gd name="T6" fmla="*/ 273 w 277"/>
                  <a:gd name="T7" fmla="*/ 51 h 263"/>
                  <a:gd name="T8" fmla="*/ 274 w 277"/>
                  <a:gd name="T9" fmla="*/ 45 h 263"/>
                  <a:gd name="T10" fmla="*/ 273 w 277"/>
                  <a:gd name="T11" fmla="*/ 35 h 263"/>
                  <a:gd name="T12" fmla="*/ 276 w 277"/>
                  <a:gd name="T13" fmla="*/ 25 h 263"/>
                  <a:gd name="T14" fmla="*/ 261 w 277"/>
                  <a:gd name="T15" fmla="*/ 22 h 263"/>
                  <a:gd name="T16" fmla="*/ 246 w 277"/>
                  <a:gd name="T17" fmla="*/ 19 h 263"/>
                  <a:gd name="T18" fmla="*/ 241 w 277"/>
                  <a:gd name="T19" fmla="*/ 15 h 263"/>
                  <a:gd name="T20" fmla="*/ 240 w 277"/>
                  <a:gd name="T21" fmla="*/ 10 h 263"/>
                  <a:gd name="T22" fmla="*/ 228 w 277"/>
                  <a:gd name="T23" fmla="*/ 6 h 263"/>
                  <a:gd name="T24" fmla="*/ 214 w 277"/>
                  <a:gd name="T25" fmla="*/ 5 h 263"/>
                  <a:gd name="T26" fmla="*/ 203 w 277"/>
                  <a:gd name="T27" fmla="*/ 9 h 263"/>
                  <a:gd name="T28" fmla="*/ 193 w 277"/>
                  <a:gd name="T29" fmla="*/ 15 h 263"/>
                  <a:gd name="T30" fmla="*/ 187 w 277"/>
                  <a:gd name="T31" fmla="*/ 23 h 263"/>
                  <a:gd name="T32" fmla="*/ 188 w 277"/>
                  <a:gd name="T33" fmla="*/ 33 h 263"/>
                  <a:gd name="T34" fmla="*/ 184 w 277"/>
                  <a:gd name="T35" fmla="*/ 49 h 263"/>
                  <a:gd name="T36" fmla="*/ 167 w 277"/>
                  <a:gd name="T37" fmla="*/ 53 h 263"/>
                  <a:gd name="T38" fmla="*/ 155 w 277"/>
                  <a:gd name="T39" fmla="*/ 46 h 263"/>
                  <a:gd name="T40" fmla="*/ 139 w 277"/>
                  <a:gd name="T41" fmla="*/ 39 h 263"/>
                  <a:gd name="T42" fmla="*/ 116 w 277"/>
                  <a:gd name="T43" fmla="*/ 36 h 263"/>
                  <a:gd name="T44" fmla="*/ 108 w 277"/>
                  <a:gd name="T45" fmla="*/ 29 h 263"/>
                  <a:gd name="T46" fmla="*/ 102 w 277"/>
                  <a:gd name="T47" fmla="*/ 16 h 263"/>
                  <a:gd name="T48" fmla="*/ 88 w 277"/>
                  <a:gd name="T49" fmla="*/ 10 h 263"/>
                  <a:gd name="T50" fmla="*/ 66 w 277"/>
                  <a:gd name="T51" fmla="*/ 5 h 263"/>
                  <a:gd name="T52" fmla="*/ 52 w 277"/>
                  <a:gd name="T53" fmla="*/ 6 h 263"/>
                  <a:gd name="T54" fmla="*/ 43 w 277"/>
                  <a:gd name="T55" fmla="*/ 2 h 263"/>
                  <a:gd name="T56" fmla="*/ 37 w 277"/>
                  <a:gd name="T57" fmla="*/ 7 h 263"/>
                  <a:gd name="T58" fmla="*/ 37 w 277"/>
                  <a:gd name="T59" fmla="*/ 15 h 263"/>
                  <a:gd name="T60" fmla="*/ 22 w 277"/>
                  <a:gd name="T61" fmla="*/ 26 h 263"/>
                  <a:gd name="T62" fmla="*/ 16 w 277"/>
                  <a:gd name="T63" fmla="*/ 29 h 263"/>
                  <a:gd name="T64" fmla="*/ 13 w 277"/>
                  <a:gd name="T65" fmla="*/ 35 h 263"/>
                  <a:gd name="T66" fmla="*/ 14 w 277"/>
                  <a:gd name="T67" fmla="*/ 48 h 263"/>
                  <a:gd name="T68" fmla="*/ 3 w 277"/>
                  <a:gd name="T69" fmla="*/ 56 h 263"/>
                  <a:gd name="T70" fmla="*/ 0 w 277"/>
                  <a:gd name="T71" fmla="*/ 59 h 263"/>
                  <a:gd name="T72" fmla="*/ 4 w 277"/>
                  <a:gd name="T73" fmla="*/ 65 h 263"/>
                  <a:gd name="T74" fmla="*/ 7 w 277"/>
                  <a:gd name="T75" fmla="*/ 74 h 263"/>
                  <a:gd name="T76" fmla="*/ 9 w 277"/>
                  <a:gd name="T77" fmla="*/ 94 h 263"/>
                  <a:gd name="T78" fmla="*/ 7 w 277"/>
                  <a:gd name="T79" fmla="*/ 111 h 263"/>
                  <a:gd name="T80" fmla="*/ 7 w 277"/>
                  <a:gd name="T81" fmla="*/ 118 h 263"/>
                  <a:gd name="T82" fmla="*/ 7 w 277"/>
                  <a:gd name="T83" fmla="*/ 128 h 263"/>
                  <a:gd name="T84" fmla="*/ 3 w 277"/>
                  <a:gd name="T85" fmla="*/ 133 h 263"/>
                  <a:gd name="T86" fmla="*/ 2 w 277"/>
                  <a:gd name="T87" fmla="*/ 137 h 263"/>
                  <a:gd name="T88" fmla="*/ 13 w 277"/>
                  <a:gd name="T89" fmla="*/ 163 h 263"/>
                  <a:gd name="T90" fmla="*/ 20 w 277"/>
                  <a:gd name="T91" fmla="*/ 168 h 263"/>
                  <a:gd name="T92" fmla="*/ 25 w 277"/>
                  <a:gd name="T93" fmla="*/ 167 h 263"/>
                  <a:gd name="T94" fmla="*/ 40 w 277"/>
                  <a:gd name="T95" fmla="*/ 174 h 263"/>
                  <a:gd name="T96" fmla="*/ 69 w 277"/>
                  <a:gd name="T97" fmla="*/ 191 h 263"/>
                  <a:gd name="T98" fmla="*/ 86 w 277"/>
                  <a:gd name="T99" fmla="*/ 204 h 263"/>
                  <a:gd name="T100" fmla="*/ 116 w 277"/>
                  <a:gd name="T101" fmla="*/ 189 h 263"/>
                  <a:gd name="T102" fmla="*/ 274 w 277"/>
                  <a:gd name="T103" fmla="*/ 25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7" h="263">
                    <a:moveTo>
                      <a:pt x="274" y="253"/>
                    </a:moveTo>
                    <a:lnTo>
                      <a:pt x="274" y="253"/>
                    </a:lnTo>
                    <a:lnTo>
                      <a:pt x="274" y="230"/>
                    </a:lnTo>
                    <a:lnTo>
                      <a:pt x="274" y="223"/>
                    </a:lnTo>
                    <a:lnTo>
                      <a:pt x="274" y="216"/>
                    </a:lnTo>
                    <a:lnTo>
                      <a:pt x="274" y="76"/>
                    </a:lnTo>
                    <a:lnTo>
                      <a:pt x="274" y="74"/>
                    </a:lnTo>
                    <a:lnTo>
                      <a:pt x="272" y="64"/>
                    </a:lnTo>
                    <a:lnTo>
                      <a:pt x="270" y="58"/>
                    </a:lnTo>
                    <a:lnTo>
                      <a:pt x="270" y="56"/>
                    </a:lnTo>
                    <a:lnTo>
                      <a:pt x="270" y="55"/>
                    </a:lnTo>
                    <a:lnTo>
                      <a:pt x="273" y="51"/>
                    </a:lnTo>
                    <a:lnTo>
                      <a:pt x="274" y="49"/>
                    </a:lnTo>
                    <a:lnTo>
                      <a:pt x="274" y="46"/>
                    </a:lnTo>
                    <a:lnTo>
                      <a:pt x="274" y="45"/>
                    </a:lnTo>
                    <a:lnTo>
                      <a:pt x="273" y="41"/>
                    </a:lnTo>
                    <a:lnTo>
                      <a:pt x="273" y="38"/>
                    </a:lnTo>
                    <a:lnTo>
                      <a:pt x="273" y="35"/>
                    </a:lnTo>
                    <a:lnTo>
                      <a:pt x="276" y="32"/>
                    </a:lnTo>
                    <a:lnTo>
                      <a:pt x="277" y="29"/>
                    </a:lnTo>
                    <a:lnTo>
                      <a:pt x="276" y="25"/>
                    </a:lnTo>
                    <a:lnTo>
                      <a:pt x="273" y="23"/>
                    </a:lnTo>
                    <a:lnTo>
                      <a:pt x="270" y="22"/>
                    </a:lnTo>
                    <a:lnTo>
                      <a:pt x="261" y="22"/>
                    </a:lnTo>
                    <a:lnTo>
                      <a:pt x="254" y="20"/>
                    </a:lnTo>
                    <a:lnTo>
                      <a:pt x="250" y="19"/>
                    </a:lnTo>
                    <a:lnTo>
                      <a:pt x="246" y="19"/>
                    </a:lnTo>
                    <a:lnTo>
                      <a:pt x="243" y="18"/>
                    </a:lnTo>
                    <a:lnTo>
                      <a:pt x="241" y="16"/>
                    </a:lnTo>
                    <a:lnTo>
                      <a:pt x="241" y="15"/>
                    </a:lnTo>
                    <a:lnTo>
                      <a:pt x="241" y="13"/>
                    </a:lnTo>
                    <a:lnTo>
                      <a:pt x="241" y="12"/>
                    </a:lnTo>
                    <a:lnTo>
                      <a:pt x="240" y="10"/>
                    </a:lnTo>
                    <a:lnTo>
                      <a:pt x="237" y="7"/>
                    </a:lnTo>
                    <a:lnTo>
                      <a:pt x="233" y="6"/>
                    </a:lnTo>
                    <a:lnTo>
                      <a:pt x="228" y="6"/>
                    </a:lnTo>
                    <a:lnTo>
                      <a:pt x="218" y="5"/>
                    </a:lnTo>
                    <a:lnTo>
                      <a:pt x="216" y="5"/>
                    </a:lnTo>
                    <a:lnTo>
                      <a:pt x="214" y="5"/>
                    </a:lnTo>
                    <a:lnTo>
                      <a:pt x="211" y="7"/>
                    </a:lnTo>
                    <a:lnTo>
                      <a:pt x="210" y="7"/>
                    </a:lnTo>
                    <a:lnTo>
                      <a:pt x="203" y="9"/>
                    </a:lnTo>
                    <a:lnTo>
                      <a:pt x="198" y="10"/>
                    </a:lnTo>
                    <a:lnTo>
                      <a:pt x="195" y="13"/>
                    </a:lnTo>
                    <a:lnTo>
                      <a:pt x="193" y="15"/>
                    </a:lnTo>
                    <a:lnTo>
                      <a:pt x="190" y="18"/>
                    </a:lnTo>
                    <a:lnTo>
                      <a:pt x="188" y="20"/>
                    </a:lnTo>
                    <a:lnTo>
                      <a:pt x="187" y="23"/>
                    </a:lnTo>
                    <a:lnTo>
                      <a:pt x="187" y="28"/>
                    </a:lnTo>
                    <a:lnTo>
                      <a:pt x="187" y="30"/>
                    </a:lnTo>
                    <a:lnTo>
                      <a:pt x="188" y="33"/>
                    </a:lnTo>
                    <a:lnTo>
                      <a:pt x="190" y="38"/>
                    </a:lnTo>
                    <a:lnTo>
                      <a:pt x="188" y="43"/>
                    </a:lnTo>
                    <a:lnTo>
                      <a:pt x="184" y="49"/>
                    </a:lnTo>
                    <a:lnTo>
                      <a:pt x="177" y="53"/>
                    </a:lnTo>
                    <a:lnTo>
                      <a:pt x="171" y="55"/>
                    </a:lnTo>
                    <a:lnTo>
                      <a:pt x="167" y="53"/>
                    </a:lnTo>
                    <a:lnTo>
                      <a:pt x="162" y="52"/>
                    </a:lnTo>
                    <a:lnTo>
                      <a:pt x="160" y="49"/>
                    </a:lnTo>
                    <a:lnTo>
                      <a:pt x="155" y="46"/>
                    </a:lnTo>
                    <a:lnTo>
                      <a:pt x="152" y="45"/>
                    </a:lnTo>
                    <a:lnTo>
                      <a:pt x="147" y="42"/>
                    </a:lnTo>
                    <a:lnTo>
                      <a:pt x="139" y="39"/>
                    </a:lnTo>
                    <a:lnTo>
                      <a:pt x="132" y="38"/>
                    </a:lnTo>
                    <a:lnTo>
                      <a:pt x="121" y="36"/>
                    </a:lnTo>
                    <a:lnTo>
                      <a:pt x="116" y="36"/>
                    </a:lnTo>
                    <a:lnTo>
                      <a:pt x="114" y="33"/>
                    </a:lnTo>
                    <a:lnTo>
                      <a:pt x="111" y="32"/>
                    </a:lnTo>
                    <a:lnTo>
                      <a:pt x="108" y="29"/>
                    </a:lnTo>
                    <a:lnTo>
                      <a:pt x="106" y="26"/>
                    </a:lnTo>
                    <a:lnTo>
                      <a:pt x="104" y="18"/>
                    </a:lnTo>
                    <a:lnTo>
                      <a:pt x="102" y="16"/>
                    </a:lnTo>
                    <a:lnTo>
                      <a:pt x="99" y="15"/>
                    </a:lnTo>
                    <a:lnTo>
                      <a:pt x="95" y="13"/>
                    </a:lnTo>
                    <a:lnTo>
                      <a:pt x="88" y="10"/>
                    </a:lnTo>
                    <a:lnTo>
                      <a:pt x="81" y="7"/>
                    </a:lnTo>
                    <a:lnTo>
                      <a:pt x="73" y="6"/>
                    </a:lnTo>
                    <a:lnTo>
                      <a:pt x="66" y="5"/>
                    </a:lnTo>
                    <a:lnTo>
                      <a:pt x="59" y="6"/>
                    </a:lnTo>
                    <a:lnTo>
                      <a:pt x="56" y="7"/>
                    </a:lnTo>
                    <a:lnTo>
                      <a:pt x="52" y="6"/>
                    </a:lnTo>
                    <a:lnTo>
                      <a:pt x="50" y="5"/>
                    </a:lnTo>
                    <a:lnTo>
                      <a:pt x="46" y="3"/>
                    </a:lnTo>
                    <a:lnTo>
                      <a:pt x="43" y="2"/>
                    </a:lnTo>
                    <a:lnTo>
                      <a:pt x="39" y="0"/>
                    </a:lnTo>
                    <a:lnTo>
                      <a:pt x="37" y="0"/>
                    </a:lnTo>
                    <a:lnTo>
                      <a:pt x="37" y="7"/>
                    </a:lnTo>
                    <a:lnTo>
                      <a:pt x="37" y="10"/>
                    </a:lnTo>
                    <a:lnTo>
                      <a:pt x="37" y="13"/>
                    </a:lnTo>
                    <a:lnTo>
                      <a:pt x="37" y="15"/>
                    </a:lnTo>
                    <a:lnTo>
                      <a:pt x="26" y="22"/>
                    </a:lnTo>
                    <a:lnTo>
                      <a:pt x="23" y="23"/>
                    </a:lnTo>
                    <a:lnTo>
                      <a:pt x="22" y="26"/>
                    </a:lnTo>
                    <a:lnTo>
                      <a:pt x="20" y="28"/>
                    </a:lnTo>
                    <a:lnTo>
                      <a:pt x="17" y="28"/>
                    </a:lnTo>
                    <a:lnTo>
                      <a:pt x="16" y="29"/>
                    </a:lnTo>
                    <a:lnTo>
                      <a:pt x="14" y="29"/>
                    </a:lnTo>
                    <a:lnTo>
                      <a:pt x="14" y="32"/>
                    </a:lnTo>
                    <a:lnTo>
                      <a:pt x="13" y="35"/>
                    </a:lnTo>
                    <a:lnTo>
                      <a:pt x="16" y="41"/>
                    </a:lnTo>
                    <a:lnTo>
                      <a:pt x="16" y="43"/>
                    </a:lnTo>
                    <a:lnTo>
                      <a:pt x="14" y="48"/>
                    </a:lnTo>
                    <a:lnTo>
                      <a:pt x="12" y="51"/>
                    </a:lnTo>
                    <a:lnTo>
                      <a:pt x="7" y="53"/>
                    </a:lnTo>
                    <a:lnTo>
                      <a:pt x="3" y="56"/>
                    </a:lnTo>
                    <a:lnTo>
                      <a:pt x="2" y="56"/>
                    </a:lnTo>
                    <a:lnTo>
                      <a:pt x="0" y="58"/>
                    </a:lnTo>
                    <a:lnTo>
                      <a:pt x="0" y="59"/>
                    </a:lnTo>
                    <a:lnTo>
                      <a:pt x="0" y="61"/>
                    </a:lnTo>
                    <a:lnTo>
                      <a:pt x="2" y="62"/>
                    </a:lnTo>
                    <a:lnTo>
                      <a:pt x="4" y="65"/>
                    </a:lnTo>
                    <a:lnTo>
                      <a:pt x="4" y="68"/>
                    </a:lnTo>
                    <a:lnTo>
                      <a:pt x="6" y="71"/>
                    </a:lnTo>
                    <a:lnTo>
                      <a:pt x="7" y="74"/>
                    </a:lnTo>
                    <a:lnTo>
                      <a:pt x="9" y="78"/>
                    </a:lnTo>
                    <a:lnTo>
                      <a:pt x="9" y="81"/>
                    </a:lnTo>
                    <a:lnTo>
                      <a:pt x="9" y="94"/>
                    </a:lnTo>
                    <a:lnTo>
                      <a:pt x="9" y="102"/>
                    </a:lnTo>
                    <a:lnTo>
                      <a:pt x="9" y="105"/>
                    </a:lnTo>
                    <a:lnTo>
                      <a:pt x="7" y="111"/>
                    </a:lnTo>
                    <a:lnTo>
                      <a:pt x="7" y="112"/>
                    </a:lnTo>
                    <a:lnTo>
                      <a:pt x="7" y="114"/>
                    </a:lnTo>
                    <a:lnTo>
                      <a:pt x="7" y="118"/>
                    </a:lnTo>
                    <a:lnTo>
                      <a:pt x="9" y="122"/>
                    </a:lnTo>
                    <a:lnTo>
                      <a:pt x="9" y="125"/>
                    </a:lnTo>
                    <a:lnTo>
                      <a:pt x="7" y="128"/>
                    </a:lnTo>
                    <a:lnTo>
                      <a:pt x="6" y="130"/>
                    </a:lnTo>
                    <a:lnTo>
                      <a:pt x="4" y="131"/>
                    </a:lnTo>
                    <a:lnTo>
                      <a:pt x="3" y="133"/>
                    </a:lnTo>
                    <a:lnTo>
                      <a:pt x="2" y="134"/>
                    </a:lnTo>
                    <a:lnTo>
                      <a:pt x="2" y="135"/>
                    </a:lnTo>
                    <a:lnTo>
                      <a:pt x="2" y="137"/>
                    </a:lnTo>
                    <a:lnTo>
                      <a:pt x="9" y="148"/>
                    </a:lnTo>
                    <a:lnTo>
                      <a:pt x="10" y="151"/>
                    </a:lnTo>
                    <a:lnTo>
                      <a:pt x="13" y="163"/>
                    </a:lnTo>
                    <a:lnTo>
                      <a:pt x="16" y="166"/>
                    </a:lnTo>
                    <a:lnTo>
                      <a:pt x="19" y="168"/>
                    </a:lnTo>
                    <a:lnTo>
                      <a:pt x="20" y="168"/>
                    </a:lnTo>
                    <a:lnTo>
                      <a:pt x="22" y="167"/>
                    </a:lnTo>
                    <a:lnTo>
                      <a:pt x="23" y="167"/>
                    </a:lnTo>
                    <a:lnTo>
                      <a:pt x="25" y="167"/>
                    </a:lnTo>
                    <a:lnTo>
                      <a:pt x="35" y="170"/>
                    </a:lnTo>
                    <a:lnTo>
                      <a:pt x="37" y="171"/>
                    </a:lnTo>
                    <a:lnTo>
                      <a:pt x="40" y="174"/>
                    </a:lnTo>
                    <a:lnTo>
                      <a:pt x="42" y="178"/>
                    </a:lnTo>
                    <a:lnTo>
                      <a:pt x="46" y="187"/>
                    </a:lnTo>
                    <a:lnTo>
                      <a:pt x="69" y="191"/>
                    </a:lnTo>
                    <a:lnTo>
                      <a:pt x="75" y="194"/>
                    </a:lnTo>
                    <a:lnTo>
                      <a:pt x="83" y="203"/>
                    </a:lnTo>
                    <a:lnTo>
                      <a:pt x="86" y="204"/>
                    </a:lnTo>
                    <a:lnTo>
                      <a:pt x="89" y="203"/>
                    </a:lnTo>
                    <a:lnTo>
                      <a:pt x="99" y="197"/>
                    </a:lnTo>
                    <a:lnTo>
                      <a:pt x="116" y="189"/>
                    </a:lnTo>
                    <a:lnTo>
                      <a:pt x="257" y="263"/>
                    </a:lnTo>
                    <a:lnTo>
                      <a:pt x="257" y="253"/>
                    </a:lnTo>
                    <a:lnTo>
                      <a:pt x="274" y="25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01" name="Freeform 188">
                <a:extLst>
                  <a:ext uri="{FF2B5EF4-FFF2-40B4-BE49-F238E27FC236}">
                    <a16:creationId xmlns:a16="http://schemas.microsoft.com/office/drawing/2014/main" id="{BFA3B2DA-413E-4DFC-BA57-0CAAC628892E}"/>
                  </a:ext>
                </a:extLst>
              </p:cNvPr>
              <p:cNvSpPr>
                <a:spLocks/>
              </p:cNvSpPr>
              <p:nvPr/>
            </p:nvSpPr>
            <p:spPr bwMode="auto">
              <a:xfrm>
                <a:off x="3283" y="2493"/>
                <a:ext cx="130" cy="97"/>
              </a:xfrm>
              <a:custGeom>
                <a:avLst/>
                <a:gdLst>
                  <a:gd name="T0" fmla="*/ 37 w 130"/>
                  <a:gd name="T1" fmla="*/ 61 h 97"/>
                  <a:gd name="T2" fmla="*/ 41 w 130"/>
                  <a:gd name="T3" fmla="*/ 56 h 97"/>
                  <a:gd name="T4" fmla="*/ 49 w 130"/>
                  <a:gd name="T5" fmla="*/ 49 h 97"/>
                  <a:gd name="T6" fmla="*/ 54 w 130"/>
                  <a:gd name="T7" fmla="*/ 49 h 97"/>
                  <a:gd name="T8" fmla="*/ 56 w 130"/>
                  <a:gd name="T9" fmla="*/ 48 h 97"/>
                  <a:gd name="T10" fmla="*/ 64 w 130"/>
                  <a:gd name="T11" fmla="*/ 48 h 97"/>
                  <a:gd name="T12" fmla="*/ 76 w 130"/>
                  <a:gd name="T13" fmla="*/ 58 h 97"/>
                  <a:gd name="T14" fmla="*/ 76 w 130"/>
                  <a:gd name="T15" fmla="*/ 64 h 97"/>
                  <a:gd name="T16" fmla="*/ 79 w 130"/>
                  <a:gd name="T17" fmla="*/ 66 h 97"/>
                  <a:gd name="T18" fmla="*/ 79 w 130"/>
                  <a:gd name="T19" fmla="*/ 72 h 97"/>
                  <a:gd name="T20" fmla="*/ 83 w 130"/>
                  <a:gd name="T21" fmla="*/ 75 h 97"/>
                  <a:gd name="T22" fmla="*/ 87 w 130"/>
                  <a:gd name="T23" fmla="*/ 75 h 97"/>
                  <a:gd name="T24" fmla="*/ 93 w 130"/>
                  <a:gd name="T25" fmla="*/ 75 h 97"/>
                  <a:gd name="T26" fmla="*/ 100 w 130"/>
                  <a:gd name="T27" fmla="*/ 89 h 97"/>
                  <a:gd name="T28" fmla="*/ 99 w 130"/>
                  <a:gd name="T29" fmla="*/ 94 h 97"/>
                  <a:gd name="T30" fmla="*/ 106 w 130"/>
                  <a:gd name="T31" fmla="*/ 97 h 97"/>
                  <a:gd name="T32" fmla="*/ 112 w 130"/>
                  <a:gd name="T33" fmla="*/ 91 h 97"/>
                  <a:gd name="T34" fmla="*/ 119 w 130"/>
                  <a:gd name="T35" fmla="*/ 91 h 97"/>
                  <a:gd name="T36" fmla="*/ 123 w 130"/>
                  <a:gd name="T37" fmla="*/ 84 h 97"/>
                  <a:gd name="T38" fmla="*/ 123 w 130"/>
                  <a:gd name="T39" fmla="*/ 81 h 97"/>
                  <a:gd name="T40" fmla="*/ 119 w 130"/>
                  <a:gd name="T41" fmla="*/ 78 h 97"/>
                  <a:gd name="T42" fmla="*/ 128 w 130"/>
                  <a:gd name="T43" fmla="*/ 77 h 97"/>
                  <a:gd name="T44" fmla="*/ 126 w 130"/>
                  <a:gd name="T45" fmla="*/ 69 h 97"/>
                  <a:gd name="T46" fmla="*/ 128 w 130"/>
                  <a:gd name="T47" fmla="*/ 64 h 97"/>
                  <a:gd name="T48" fmla="*/ 126 w 130"/>
                  <a:gd name="T49" fmla="*/ 58 h 97"/>
                  <a:gd name="T50" fmla="*/ 122 w 130"/>
                  <a:gd name="T51" fmla="*/ 49 h 97"/>
                  <a:gd name="T52" fmla="*/ 125 w 130"/>
                  <a:gd name="T53" fmla="*/ 43 h 97"/>
                  <a:gd name="T54" fmla="*/ 119 w 130"/>
                  <a:gd name="T55" fmla="*/ 39 h 97"/>
                  <a:gd name="T56" fmla="*/ 119 w 130"/>
                  <a:gd name="T57" fmla="*/ 33 h 97"/>
                  <a:gd name="T58" fmla="*/ 116 w 130"/>
                  <a:gd name="T59" fmla="*/ 29 h 97"/>
                  <a:gd name="T60" fmla="*/ 115 w 130"/>
                  <a:gd name="T61" fmla="*/ 26 h 97"/>
                  <a:gd name="T62" fmla="*/ 112 w 130"/>
                  <a:gd name="T63" fmla="*/ 19 h 97"/>
                  <a:gd name="T64" fmla="*/ 106 w 130"/>
                  <a:gd name="T65" fmla="*/ 5 h 97"/>
                  <a:gd name="T66" fmla="*/ 100 w 130"/>
                  <a:gd name="T67" fmla="*/ 5 h 97"/>
                  <a:gd name="T68" fmla="*/ 99 w 130"/>
                  <a:gd name="T69" fmla="*/ 6 h 97"/>
                  <a:gd name="T70" fmla="*/ 90 w 130"/>
                  <a:gd name="T71" fmla="*/ 10 h 97"/>
                  <a:gd name="T72" fmla="*/ 82 w 130"/>
                  <a:gd name="T73" fmla="*/ 9 h 97"/>
                  <a:gd name="T74" fmla="*/ 76 w 130"/>
                  <a:gd name="T75" fmla="*/ 13 h 97"/>
                  <a:gd name="T76" fmla="*/ 72 w 130"/>
                  <a:gd name="T77" fmla="*/ 9 h 97"/>
                  <a:gd name="T78" fmla="*/ 66 w 130"/>
                  <a:gd name="T79" fmla="*/ 10 h 97"/>
                  <a:gd name="T80" fmla="*/ 61 w 130"/>
                  <a:gd name="T81" fmla="*/ 5 h 97"/>
                  <a:gd name="T82" fmla="*/ 44 w 130"/>
                  <a:gd name="T83" fmla="*/ 5 h 97"/>
                  <a:gd name="T84" fmla="*/ 36 w 130"/>
                  <a:gd name="T85" fmla="*/ 3 h 97"/>
                  <a:gd name="T86" fmla="*/ 34 w 130"/>
                  <a:gd name="T87" fmla="*/ 2 h 97"/>
                  <a:gd name="T88" fmla="*/ 23 w 130"/>
                  <a:gd name="T89" fmla="*/ 0 h 97"/>
                  <a:gd name="T90" fmla="*/ 24 w 130"/>
                  <a:gd name="T91" fmla="*/ 6 h 97"/>
                  <a:gd name="T92" fmla="*/ 20 w 130"/>
                  <a:gd name="T93" fmla="*/ 9 h 97"/>
                  <a:gd name="T94" fmla="*/ 21 w 130"/>
                  <a:gd name="T95" fmla="*/ 18 h 97"/>
                  <a:gd name="T96" fmla="*/ 13 w 130"/>
                  <a:gd name="T97" fmla="*/ 19 h 97"/>
                  <a:gd name="T98" fmla="*/ 3 w 130"/>
                  <a:gd name="T99" fmla="*/ 25 h 97"/>
                  <a:gd name="T100" fmla="*/ 1 w 130"/>
                  <a:gd name="T101" fmla="*/ 33 h 97"/>
                  <a:gd name="T102" fmla="*/ 5 w 130"/>
                  <a:gd name="T103" fmla="*/ 32 h 97"/>
                  <a:gd name="T104" fmla="*/ 10 w 130"/>
                  <a:gd name="T105" fmla="*/ 41 h 97"/>
                  <a:gd name="T106" fmla="*/ 17 w 130"/>
                  <a:gd name="T107" fmla="*/ 45 h 97"/>
                  <a:gd name="T108" fmla="*/ 18 w 130"/>
                  <a:gd name="T109" fmla="*/ 48 h 97"/>
                  <a:gd name="T110" fmla="*/ 24 w 130"/>
                  <a:gd name="T111" fmla="*/ 49 h 97"/>
                  <a:gd name="T112" fmla="*/ 27 w 130"/>
                  <a:gd name="T113" fmla="*/ 56 h 97"/>
                  <a:gd name="T114" fmla="*/ 33 w 130"/>
                  <a:gd name="T115" fmla="*/ 6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97">
                    <a:moveTo>
                      <a:pt x="34" y="64"/>
                    </a:moveTo>
                    <a:lnTo>
                      <a:pt x="36" y="62"/>
                    </a:lnTo>
                    <a:lnTo>
                      <a:pt x="37" y="61"/>
                    </a:lnTo>
                    <a:lnTo>
                      <a:pt x="37" y="61"/>
                    </a:lnTo>
                    <a:lnTo>
                      <a:pt x="38" y="59"/>
                    </a:lnTo>
                    <a:lnTo>
                      <a:pt x="40" y="59"/>
                    </a:lnTo>
                    <a:lnTo>
                      <a:pt x="41" y="58"/>
                    </a:lnTo>
                    <a:lnTo>
                      <a:pt x="41" y="56"/>
                    </a:lnTo>
                    <a:lnTo>
                      <a:pt x="44" y="52"/>
                    </a:lnTo>
                    <a:lnTo>
                      <a:pt x="44" y="51"/>
                    </a:lnTo>
                    <a:lnTo>
                      <a:pt x="46" y="49"/>
                    </a:lnTo>
                    <a:lnTo>
                      <a:pt x="49" y="49"/>
                    </a:lnTo>
                    <a:lnTo>
                      <a:pt x="50" y="49"/>
                    </a:lnTo>
                    <a:lnTo>
                      <a:pt x="51" y="49"/>
                    </a:lnTo>
                    <a:lnTo>
                      <a:pt x="53" y="49"/>
                    </a:lnTo>
                    <a:lnTo>
                      <a:pt x="54" y="49"/>
                    </a:lnTo>
                    <a:lnTo>
                      <a:pt x="56" y="49"/>
                    </a:lnTo>
                    <a:lnTo>
                      <a:pt x="56" y="49"/>
                    </a:lnTo>
                    <a:lnTo>
                      <a:pt x="56" y="48"/>
                    </a:lnTo>
                    <a:lnTo>
                      <a:pt x="56" y="48"/>
                    </a:lnTo>
                    <a:lnTo>
                      <a:pt x="56" y="48"/>
                    </a:lnTo>
                    <a:lnTo>
                      <a:pt x="59" y="48"/>
                    </a:lnTo>
                    <a:lnTo>
                      <a:pt x="61" y="48"/>
                    </a:lnTo>
                    <a:lnTo>
                      <a:pt x="64" y="48"/>
                    </a:lnTo>
                    <a:lnTo>
                      <a:pt x="67" y="49"/>
                    </a:lnTo>
                    <a:lnTo>
                      <a:pt x="69" y="51"/>
                    </a:lnTo>
                    <a:lnTo>
                      <a:pt x="73" y="55"/>
                    </a:lnTo>
                    <a:lnTo>
                      <a:pt x="76" y="58"/>
                    </a:lnTo>
                    <a:lnTo>
                      <a:pt x="77" y="61"/>
                    </a:lnTo>
                    <a:lnTo>
                      <a:pt x="77" y="61"/>
                    </a:lnTo>
                    <a:lnTo>
                      <a:pt x="76" y="64"/>
                    </a:lnTo>
                    <a:lnTo>
                      <a:pt x="76" y="64"/>
                    </a:lnTo>
                    <a:lnTo>
                      <a:pt x="76" y="64"/>
                    </a:lnTo>
                    <a:lnTo>
                      <a:pt x="77" y="65"/>
                    </a:lnTo>
                    <a:lnTo>
                      <a:pt x="77" y="65"/>
                    </a:lnTo>
                    <a:lnTo>
                      <a:pt x="79" y="66"/>
                    </a:lnTo>
                    <a:lnTo>
                      <a:pt x="77" y="68"/>
                    </a:lnTo>
                    <a:lnTo>
                      <a:pt x="79" y="68"/>
                    </a:lnTo>
                    <a:lnTo>
                      <a:pt x="79" y="71"/>
                    </a:lnTo>
                    <a:lnTo>
                      <a:pt x="79" y="72"/>
                    </a:lnTo>
                    <a:lnTo>
                      <a:pt x="76" y="78"/>
                    </a:lnTo>
                    <a:lnTo>
                      <a:pt x="79" y="78"/>
                    </a:lnTo>
                    <a:lnTo>
                      <a:pt x="82" y="75"/>
                    </a:lnTo>
                    <a:lnTo>
                      <a:pt x="83" y="75"/>
                    </a:lnTo>
                    <a:lnTo>
                      <a:pt x="84" y="75"/>
                    </a:lnTo>
                    <a:lnTo>
                      <a:pt x="86" y="75"/>
                    </a:lnTo>
                    <a:lnTo>
                      <a:pt x="87" y="75"/>
                    </a:lnTo>
                    <a:lnTo>
                      <a:pt x="87" y="75"/>
                    </a:lnTo>
                    <a:lnTo>
                      <a:pt x="89" y="75"/>
                    </a:lnTo>
                    <a:lnTo>
                      <a:pt x="90" y="74"/>
                    </a:lnTo>
                    <a:lnTo>
                      <a:pt x="93" y="74"/>
                    </a:lnTo>
                    <a:lnTo>
                      <a:pt x="93" y="75"/>
                    </a:lnTo>
                    <a:lnTo>
                      <a:pt x="96" y="75"/>
                    </a:lnTo>
                    <a:lnTo>
                      <a:pt x="97" y="78"/>
                    </a:lnTo>
                    <a:lnTo>
                      <a:pt x="100" y="88"/>
                    </a:lnTo>
                    <a:lnTo>
                      <a:pt x="100" y="89"/>
                    </a:lnTo>
                    <a:lnTo>
                      <a:pt x="99" y="91"/>
                    </a:lnTo>
                    <a:lnTo>
                      <a:pt x="99" y="92"/>
                    </a:lnTo>
                    <a:lnTo>
                      <a:pt x="99" y="92"/>
                    </a:lnTo>
                    <a:lnTo>
                      <a:pt x="99" y="94"/>
                    </a:lnTo>
                    <a:lnTo>
                      <a:pt x="100" y="94"/>
                    </a:lnTo>
                    <a:lnTo>
                      <a:pt x="105" y="97"/>
                    </a:lnTo>
                    <a:lnTo>
                      <a:pt x="105" y="97"/>
                    </a:lnTo>
                    <a:lnTo>
                      <a:pt x="106" y="97"/>
                    </a:lnTo>
                    <a:lnTo>
                      <a:pt x="107" y="97"/>
                    </a:lnTo>
                    <a:lnTo>
                      <a:pt x="109" y="95"/>
                    </a:lnTo>
                    <a:lnTo>
                      <a:pt x="110" y="92"/>
                    </a:lnTo>
                    <a:lnTo>
                      <a:pt x="112" y="91"/>
                    </a:lnTo>
                    <a:lnTo>
                      <a:pt x="113" y="89"/>
                    </a:lnTo>
                    <a:lnTo>
                      <a:pt x="115" y="91"/>
                    </a:lnTo>
                    <a:lnTo>
                      <a:pt x="117" y="91"/>
                    </a:lnTo>
                    <a:lnTo>
                      <a:pt x="119" y="91"/>
                    </a:lnTo>
                    <a:lnTo>
                      <a:pt x="119" y="91"/>
                    </a:lnTo>
                    <a:lnTo>
                      <a:pt x="120" y="89"/>
                    </a:lnTo>
                    <a:lnTo>
                      <a:pt x="122" y="88"/>
                    </a:lnTo>
                    <a:lnTo>
                      <a:pt x="123" y="84"/>
                    </a:lnTo>
                    <a:lnTo>
                      <a:pt x="123" y="84"/>
                    </a:lnTo>
                    <a:lnTo>
                      <a:pt x="123" y="82"/>
                    </a:lnTo>
                    <a:lnTo>
                      <a:pt x="123" y="81"/>
                    </a:lnTo>
                    <a:lnTo>
                      <a:pt x="123" y="81"/>
                    </a:lnTo>
                    <a:lnTo>
                      <a:pt x="122" y="81"/>
                    </a:lnTo>
                    <a:lnTo>
                      <a:pt x="120" y="79"/>
                    </a:lnTo>
                    <a:lnTo>
                      <a:pt x="119" y="78"/>
                    </a:lnTo>
                    <a:lnTo>
                      <a:pt x="119" y="78"/>
                    </a:lnTo>
                    <a:lnTo>
                      <a:pt x="120" y="75"/>
                    </a:lnTo>
                    <a:lnTo>
                      <a:pt x="122" y="74"/>
                    </a:lnTo>
                    <a:lnTo>
                      <a:pt x="125" y="75"/>
                    </a:lnTo>
                    <a:lnTo>
                      <a:pt x="128" y="77"/>
                    </a:lnTo>
                    <a:lnTo>
                      <a:pt x="129" y="77"/>
                    </a:lnTo>
                    <a:lnTo>
                      <a:pt x="130" y="74"/>
                    </a:lnTo>
                    <a:lnTo>
                      <a:pt x="129" y="72"/>
                    </a:lnTo>
                    <a:lnTo>
                      <a:pt x="126" y="69"/>
                    </a:lnTo>
                    <a:lnTo>
                      <a:pt x="125" y="68"/>
                    </a:lnTo>
                    <a:lnTo>
                      <a:pt x="125" y="66"/>
                    </a:lnTo>
                    <a:lnTo>
                      <a:pt x="126" y="65"/>
                    </a:lnTo>
                    <a:lnTo>
                      <a:pt x="128" y="64"/>
                    </a:lnTo>
                    <a:lnTo>
                      <a:pt x="126" y="62"/>
                    </a:lnTo>
                    <a:lnTo>
                      <a:pt x="126" y="62"/>
                    </a:lnTo>
                    <a:lnTo>
                      <a:pt x="126" y="61"/>
                    </a:lnTo>
                    <a:lnTo>
                      <a:pt x="126" y="58"/>
                    </a:lnTo>
                    <a:lnTo>
                      <a:pt x="123" y="58"/>
                    </a:lnTo>
                    <a:lnTo>
                      <a:pt x="122" y="56"/>
                    </a:lnTo>
                    <a:lnTo>
                      <a:pt x="122" y="55"/>
                    </a:lnTo>
                    <a:lnTo>
                      <a:pt x="122" y="49"/>
                    </a:lnTo>
                    <a:lnTo>
                      <a:pt x="122" y="48"/>
                    </a:lnTo>
                    <a:lnTo>
                      <a:pt x="122" y="46"/>
                    </a:lnTo>
                    <a:lnTo>
                      <a:pt x="125" y="45"/>
                    </a:lnTo>
                    <a:lnTo>
                      <a:pt x="125" y="43"/>
                    </a:lnTo>
                    <a:lnTo>
                      <a:pt x="123" y="42"/>
                    </a:lnTo>
                    <a:lnTo>
                      <a:pt x="123" y="42"/>
                    </a:lnTo>
                    <a:lnTo>
                      <a:pt x="122" y="41"/>
                    </a:lnTo>
                    <a:lnTo>
                      <a:pt x="119" y="39"/>
                    </a:lnTo>
                    <a:lnTo>
                      <a:pt x="119" y="38"/>
                    </a:lnTo>
                    <a:lnTo>
                      <a:pt x="119" y="35"/>
                    </a:lnTo>
                    <a:lnTo>
                      <a:pt x="119" y="35"/>
                    </a:lnTo>
                    <a:lnTo>
                      <a:pt x="119" y="33"/>
                    </a:lnTo>
                    <a:lnTo>
                      <a:pt x="119" y="32"/>
                    </a:lnTo>
                    <a:lnTo>
                      <a:pt x="117" y="31"/>
                    </a:lnTo>
                    <a:lnTo>
                      <a:pt x="117" y="29"/>
                    </a:lnTo>
                    <a:lnTo>
                      <a:pt x="116" y="29"/>
                    </a:lnTo>
                    <a:lnTo>
                      <a:pt x="115" y="31"/>
                    </a:lnTo>
                    <a:lnTo>
                      <a:pt x="113" y="31"/>
                    </a:lnTo>
                    <a:lnTo>
                      <a:pt x="113" y="28"/>
                    </a:lnTo>
                    <a:lnTo>
                      <a:pt x="115" y="26"/>
                    </a:lnTo>
                    <a:lnTo>
                      <a:pt x="116" y="25"/>
                    </a:lnTo>
                    <a:lnTo>
                      <a:pt x="116" y="23"/>
                    </a:lnTo>
                    <a:lnTo>
                      <a:pt x="116" y="22"/>
                    </a:lnTo>
                    <a:lnTo>
                      <a:pt x="112" y="19"/>
                    </a:lnTo>
                    <a:lnTo>
                      <a:pt x="110" y="19"/>
                    </a:lnTo>
                    <a:lnTo>
                      <a:pt x="110" y="18"/>
                    </a:lnTo>
                    <a:lnTo>
                      <a:pt x="107" y="8"/>
                    </a:lnTo>
                    <a:lnTo>
                      <a:pt x="106" y="5"/>
                    </a:lnTo>
                    <a:lnTo>
                      <a:pt x="103" y="3"/>
                    </a:lnTo>
                    <a:lnTo>
                      <a:pt x="100" y="3"/>
                    </a:lnTo>
                    <a:lnTo>
                      <a:pt x="100" y="3"/>
                    </a:lnTo>
                    <a:lnTo>
                      <a:pt x="100" y="5"/>
                    </a:lnTo>
                    <a:lnTo>
                      <a:pt x="100" y="5"/>
                    </a:lnTo>
                    <a:lnTo>
                      <a:pt x="100" y="6"/>
                    </a:lnTo>
                    <a:lnTo>
                      <a:pt x="100" y="6"/>
                    </a:lnTo>
                    <a:lnTo>
                      <a:pt x="99" y="6"/>
                    </a:lnTo>
                    <a:lnTo>
                      <a:pt x="99" y="8"/>
                    </a:lnTo>
                    <a:lnTo>
                      <a:pt x="94" y="10"/>
                    </a:lnTo>
                    <a:lnTo>
                      <a:pt x="93" y="10"/>
                    </a:lnTo>
                    <a:lnTo>
                      <a:pt x="90" y="10"/>
                    </a:lnTo>
                    <a:lnTo>
                      <a:pt x="84" y="9"/>
                    </a:lnTo>
                    <a:lnTo>
                      <a:pt x="83" y="9"/>
                    </a:lnTo>
                    <a:lnTo>
                      <a:pt x="83" y="9"/>
                    </a:lnTo>
                    <a:lnTo>
                      <a:pt x="82" y="9"/>
                    </a:lnTo>
                    <a:lnTo>
                      <a:pt x="80" y="10"/>
                    </a:lnTo>
                    <a:lnTo>
                      <a:pt x="77" y="13"/>
                    </a:lnTo>
                    <a:lnTo>
                      <a:pt x="77" y="13"/>
                    </a:lnTo>
                    <a:lnTo>
                      <a:pt x="76" y="13"/>
                    </a:lnTo>
                    <a:lnTo>
                      <a:pt x="74" y="12"/>
                    </a:lnTo>
                    <a:lnTo>
                      <a:pt x="74" y="10"/>
                    </a:lnTo>
                    <a:lnTo>
                      <a:pt x="73" y="9"/>
                    </a:lnTo>
                    <a:lnTo>
                      <a:pt x="72" y="9"/>
                    </a:lnTo>
                    <a:lnTo>
                      <a:pt x="70" y="9"/>
                    </a:lnTo>
                    <a:lnTo>
                      <a:pt x="70" y="10"/>
                    </a:lnTo>
                    <a:lnTo>
                      <a:pt x="69" y="10"/>
                    </a:lnTo>
                    <a:lnTo>
                      <a:pt x="66" y="10"/>
                    </a:lnTo>
                    <a:lnTo>
                      <a:pt x="63" y="10"/>
                    </a:lnTo>
                    <a:lnTo>
                      <a:pt x="63" y="8"/>
                    </a:lnTo>
                    <a:lnTo>
                      <a:pt x="64" y="5"/>
                    </a:lnTo>
                    <a:lnTo>
                      <a:pt x="61" y="5"/>
                    </a:lnTo>
                    <a:lnTo>
                      <a:pt x="57" y="5"/>
                    </a:lnTo>
                    <a:lnTo>
                      <a:pt x="50" y="5"/>
                    </a:lnTo>
                    <a:lnTo>
                      <a:pt x="47" y="5"/>
                    </a:lnTo>
                    <a:lnTo>
                      <a:pt x="44" y="5"/>
                    </a:lnTo>
                    <a:lnTo>
                      <a:pt x="38" y="3"/>
                    </a:lnTo>
                    <a:lnTo>
                      <a:pt x="37" y="3"/>
                    </a:lnTo>
                    <a:lnTo>
                      <a:pt x="37" y="3"/>
                    </a:lnTo>
                    <a:lnTo>
                      <a:pt x="36" y="3"/>
                    </a:lnTo>
                    <a:lnTo>
                      <a:pt x="36" y="3"/>
                    </a:lnTo>
                    <a:lnTo>
                      <a:pt x="36" y="3"/>
                    </a:lnTo>
                    <a:lnTo>
                      <a:pt x="36" y="2"/>
                    </a:lnTo>
                    <a:lnTo>
                      <a:pt x="34" y="2"/>
                    </a:lnTo>
                    <a:lnTo>
                      <a:pt x="34" y="0"/>
                    </a:lnTo>
                    <a:lnTo>
                      <a:pt x="33" y="0"/>
                    </a:lnTo>
                    <a:lnTo>
                      <a:pt x="28" y="0"/>
                    </a:lnTo>
                    <a:lnTo>
                      <a:pt x="23" y="0"/>
                    </a:lnTo>
                    <a:lnTo>
                      <a:pt x="23" y="2"/>
                    </a:lnTo>
                    <a:lnTo>
                      <a:pt x="24" y="3"/>
                    </a:lnTo>
                    <a:lnTo>
                      <a:pt x="24" y="5"/>
                    </a:lnTo>
                    <a:lnTo>
                      <a:pt x="24" y="6"/>
                    </a:lnTo>
                    <a:lnTo>
                      <a:pt x="23" y="8"/>
                    </a:lnTo>
                    <a:lnTo>
                      <a:pt x="20" y="8"/>
                    </a:lnTo>
                    <a:lnTo>
                      <a:pt x="20" y="8"/>
                    </a:lnTo>
                    <a:lnTo>
                      <a:pt x="20" y="9"/>
                    </a:lnTo>
                    <a:lnTo>
                      <a:pt x="21" y="10"/>
                    </a:lnTo>
                    <a:lnTo>
                      <a:pt x="23" y="13"/>
                    </a:lnTo>
                    <a:lnTo>
                      <a:pt x="23" y="16"/>
                    </a:lnTo>
                    <a:lnTo>
                      <a:pt x="21" y="18"/>
                    </a:lnTo>
                    <a:lnTo>
                      <a:pt x="20" y="18"/>
                    </a:lnTo>
                    <a:lnTo>
                      <a:pt x="15" y="18"/>
                    </a:lnTo>
                    <a:lnTo>
                      <a:pt x="14" y="19"/>
                    </a:lnTo>
                    <a:lnTo>
                      <a:pt x="13" y="19"/>
                    </a:lnTo>
                    <a:lnTo>
                      <a:pt x="7" y="22"/>
                    </a:lnTo>
                    <a:lnTo>
                      <a:pt x="5" y="22"/>
                    </a:lnTo>
                    <a:lnTo>
                      <a:pt x="4" y="23"/>
                    </a:lnTo>
                    <a:lnTo>
                      <a:pt x="3" y="25"/>
                    </a:lnTo>
                    <a:lnTo>
                      <a:pt x="1" y="29"/>
                    </a:lnTo>
                    <a:lnTo>
                      <a:pt x="0" y="31"/>
                    </a:lnTo>
                    <a:lnTo>
                      <a:pt x="0" y="33"/>
                    </a:lnTo>
                    <a:lnTo>
                      <a:pt x="1" y="33"/>
                    </a:lnTo>
                    <a:lnTo>
                      <a:pt x="3" y="32"/>
                    </a:lnTo>
                    <a:lnTo>
                      <a:pt x="3" y="31"/>
                    </a:lnTo>
                    <a:lnTo>
                      <a:pt x="4" y="31"/>
                    </a:lnTo>
                    <a:lnTo>
                      <a:pt x="5" y="32"/>
                    </a:lnTo>
                    <a:lnTo>
                      <a:pt x="7" y="35"/>
                    </a:lnTo>
                    <a:lnTo>
                      <a:pt x="8" y="33"/>
                    </a:lnTo>
                    <a:lnTo>
                      <a:pt x="8" y="38"/>
                    </a:lnTo>
                    <a:lnTo>
                      <a:pt x="10" y="41"/>
                    </a:lnTo>
                    <a:lnTo>
                      <a:pt x="13" y="43"/>
                    </a:lnTo>
                    <a:lnTo>
                      <a:pt x="15" y="45"/>
                    </a:lnTo>
                    <a:lnTo>
                      <a:pt x="15" y="45"/>
                    </a:lnTo>
                    <a:lnTo>
                      <a:pt x="17" y="45"/>
                    </a:lnTo>
                    <a:lnTo>
                      <a:pt x="18" y="45"/>
                    </a:lnTo>
                    <a:lnTo>
                      <a:pt x="18" y="46"/>
                    </a:lnTo>
                    <a:lnTo>
                      <a:pt x="18" y="48"/>
                    </a:lnTo>
                    <a:lnTo>
                      <a:pt x="18" y="48"/>
                    </a:lnTo>
                    <a:lnTo>
                      <a:pt x="20" y="49"/>
                    </a:lnTo>
                    <a:lnTo>
                      <a:pt x="21" y="49"/>
                    </a:lnTo>
                    <a:lnTo>
                      <a:pt x="23" y="49"/>
                    </a:lnTo>
                    <a:lnTo>
                      <a:pt x="24" y="49"/>
                    </a:lnTo>
                    <a:lnTo>
                      <a:pt x="24" y="52"/>
                    </a:lnTo>
                    <a:lnTo>
                      <a:pt x="24" y="54"/>
                    </a:lnTo>
                    <a:lnTo>
                      <a:pt x="24" y="56"/>
                    </a:lnTo>
                    <a:lnTo>
                      <a:pt x="27" y="56"/>
                    </a:lnTo>
                    <a:lnTo>
                      <a:pt x="28" y="59"/>
                    </a:lnTo>
                    <a:lnTo>
                      <a:pt x="31" y="62"/>
                    </a:lnTo>
                    <a:lnTo>
                      <a:pt x="31" y="65"/>
                    </a:lnTo>
                    <a:lnTo>
                      <a:pt x="33" y="65"/>
                    </a:lnTo>
                    <a:lnTo>
                      <a:pt x="34" y="6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02" name="Freeform 189">
                <a:extLst>
                  <a:ext uri="{FF2B5EF4-FFF2-40B4-BE49-F238E27FC236}">
                    <a16:creationId xmlns:a16="http://schemas.microsoft.com/office/drawing/2014/main" id="{0E9C90C6-99C6-0887-5CE2-F1F3A8827729}"/>
                  </a:ext>
                </a:extLst>
              </p:cNvPr>
              <p:cNvSpPr>
                <a:spLocks/>
              </p:cNvSpPr>
              <p:nvPr/>
            </p:nvSpPr>
            <p:spPr bwMode="auto">
              <a:xfrm>
                <a:off x="3344" y="2567"/>
                <a:ext cx="74" cy="74"/>
              </a:xfrm>
              <a:custGeom>
                <a:avLst/>
                <a:gdLst>
                  <a:gd name="T0" fmla="*/ 71 w 74"/>
                  <a:gd name="T1" fmla="*/ 63 h 74"/>
                  <a:gd name="T2" fmla="*/ 74 w 74"/>
                  <a:gd name="T3" fmla="*/ 53 h 74"/>
                  <a:gd name="T4" fmla="*/ 72 w 74"/>
                  <a:gd name="T5" fmla="*/ 47 h 74"/>
                  <a:gd name="T6" fmla="*/ 68 w 74"/>
                  <a:gd name="T7" fmla="*/ 46 h 74"/>
                  <a:gd name="T8" fmla="*/ 65 w 74"/>
                  <a:gd name="T9" fmla="*/ 43 h 74"/>
                  <a:gd name="T10" fmla="*/ 64 w 74"/>
                  <a:gd name="T11" fmla="*/ 40 h 74"/>
                  <a:gd name="T12" fmla="*/ 58 w 74"/>
                  <a:gd name="T13" fmla="*/ 38 h 74"/>
                  <a:gd name="T14" fmla="*/ 54 w 74"/>
                  <a:gd name="T15" fmla="*/ 37 h 74"/>
                  <a:gd name="T16" fmla="*/ 55 w 74"/>
                  <a:gd name="T17" fmla="*/ 31 h 74"/>
                  <a:gd name="T18" fmla="*/ 56 w 74"/>
                  <a:gd name="T19" fmla="*/ 23 h 74"/>
                  <a:gd name="T20" fmla="*/ 52 w 74"/>
                  <a:gd name="T21" fmla="*/ 15 h 74"/>
                  <a:gd name="T22" fmla="*/ 49 w 74"/>
                  <a:gd name="T23" fmla="*/ 18 h 74"/>
                  <a:gd name="T24" fmla="*/ 46 w 74"/>
                  <a:gd name="T25" fmla="*/ 23 h 74"/>
                  <a:gd name="T26" fmla="*/ 44 w 74"/>
                  <a:gd name="T27" fmla="*/ 23 h 74"/>
                  <a:gd name="T28" fmla="*/ 39 w 74"/>
                  <a:gd name="T29" fmla="*/ 20 h 74"/>
                  <a:gd name="T30" fmla="*/ 38 w 74"/>
                  <a:gd name="T31" fmla="*/ 18 h 74"/>
                  <a:gd name="T32" fmla="*/ 38 w 74"/>
                  <a:gd name="T33" fmla="*/ 17 h 74"/>
                  <a:gd name="T34" fmla="*/ 39 w 74"/>
                  <a:gd name="T35" fmla="*/ 14 h 74"/>
                  <a:gd name="T36" fmla="*/ 35 w 74"/>
                  <a:gd name="T37" fmla="*/ 1 h 74"/>
                  <a:gd name="T38" fmla="*/ 32 w 74"/>
                  <a:gd name="T39" fmla="*/ 0 h 74"/>
                  <a:gd name="T40" fmla="*/ 28 w 74"/>
                  <a:gd name="T41" fmla="*/ 1 h 74"/>
                  <a:gd name="T42" fmla="*/ 26 w 74"/>
                  <a:gd name="T43" fmla="*/ 1 h 74"/>
                  <a:gd name="T44" fmla="*/ 23 w 74"/>
                  <a:gd name="T45" fmla="*/ 1 h 74"/>
                  <a:gd name="T46" fmla="*/ 22 w 74"/>
                  <a:gd name="T47" fmla="*/ 3 h 74"/>
                  <a:gd name="T48" fmla="*/ 22 w 74"/>
                  <a:gd name="T49" fmla="*/ 5 h 74"/>
                  <a:gd name="T50" fmla="*/ 19 w 74"/>
                  <a:gd name="T51" fmla="*/ 7 h 74"/>
                  <a:gd name="T52" fmla="*/ 18 w 74"/>
                  <a:gd name="T53" fmla="*/ 8 h 74"/>
                  <a:gd name="T54" fmla="*/ 15 w 74"/>
                  <a:gd name="T55" fmla="*/ 14 h 74"/>
                  <a:gd name="T56" fmla="*/ 8 w 74"/>
                  <a:gd name="T57" fmla="*/ 21 h 74"/>
                  <a:gd name="T58" fmla="*/ 3 w 74"/>
                  <a:gd name="T59" fmla="*/ 27 h 74"/>
                  <a:gd name="T60" fmla="*/ 3 w 74"/>
                  <a:gd name="T61" fmla="*/ 31 h 74"/>
                  <a:gd name="T62" fmla="*/ 9 w 74"/>
                  <a:gd name="T63" fmla="*/ 34 h 74"/>
                  <a:gd name="T64" fmla="*/ 15 w 74"/>
                  <a:gd name="T65" fmla="*/ 40 h 74"/>
                  <a:gd name="T66" fmla="*/ 22 w 74"/>
                  <a:gd name="T67" fmla="*/ 44 h 74"/>
                  <a:gd name="T68" fmla="*/ 42 w 74"/>
                  <a:gd name="T69" fmla="*/ 60 h 74"/>
                  <a:gd name="T70" fmla="*/ 61 w 74"/>
                  <a:gd name="T71" fmla="*/ 70 h 74"/>
                  <a:gd name="T72" fmla="*/ 71 w 74"/>
                  <a:gd name="T73" fmla="*/ 74 h 74"/>
                  <a:gd name="T74" fmla="*/ 69 w 74"/>
                  <a:gd name="T75" fmla="*/ 6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 h="74">
                    <a:moveTo>
                      <a:pt x="69" y="67"/>
                    </a:moveTo>
                    <a:lnTo>
                      <a:pt x="71" y="63"/>
                    </a:lnTo>
                    <a:lnTo>
                      <a:pt x="72" y="57"/>
                    </a:lnTo>
                    <a:lnTo>
                      <a:pt x="74" y="53"/>
                    </a:lnTo>
                    <a:lnTo>
                      <a:pt x="72" y="50"/>
                    </a:lnTo>
                    <a:lnTo>
                      <a:pt x="72" y="47"/>
                    </a:lnTo>
                    <a:lnTo>
                      <a:pt x="71" y="47"/>
                    </a:lnTo>
                    <a:lnTo>
                      <a:pt x="68" y="46"/>
                    </a:lnTo>
                    <a:lnTo>
                      <a:pt x="67" y="44"/>
                    </a:lnTo>
                    <a:lnTo>
                      <a:pt x="65" y="43"/>
                    </a:lnTo>
                    <a:lnTo>
                      <a:pt x="65" y="41"/>
                    </a:lnTo>
                    <a:lnTo>
                      <a:pt x="64" y="40"/>
                    </a:lnTo>
                    <a:lnTo>
                      <a:pt x="62" y="40"/>
                    </a:lnTo>
                    <a:lnTo>
                      <a:pt x="58" y="38"/>
                    </a:lnTo>
                    <a:lnTo>
                      <a:pt x="56" y="38"/>
                    </a:lnTo>
                    <a:lnTo>
                      <a:pt x="54" y="37"/>
                    </a:lnTo>
                    <a:lnTo>
                      <a:pt x="52" y="36"/>
                    </a:lnTo>
                    <a:lnTo>
                      <a:pt x="55" y="31"/>
                    </a:lnTo>
                    <a:lnTo>
                      <a:pt x="58" y="27"/>
                    </a:lnTo>
                    <a:lnTo>
                      <a:pt x="56" y="23"/>
                    </a:lnTo>
                    <a:lnTo>
                      <a:pt x="54" y="17"/>
                    </a:lnTo>
                    <a:lnTo>
                      <a:pt x="52" y="15"/>
                    </a:lnTo>
                    <a:lnTo>
                      <a:pt x="51" y="17"/>
                    </a:lnTo>
                    <a:lnTo>
                      <a:pt x="49" y="18"/>
                    </a:lnTo>
                    <a:lnTo>
                      <a:pt x="48" y="21"/>
                    </a:lnTo>
                    <a:lnTo>
                      <a:pt x="46" y="23"/>
                    </a:lnTo>
                    <a:lnTo>
                      <a:pt x="45" y="23"/>
                    </a:lnTo>
                    <a:lnTo>
                      <a:pt x="44" y="23"/>
                    </a:lnTo>
                    <a:lnTo>
                      <a:pt x="44" y="23"/>
                    </a:lnTo>
                    <a:lnTo>
                      <a:pt x="39" y="20"/>
                    </a:lnTo>
                    <a:lnTo>
                      <a:pt x="38" y="20"/>
                    </a:lnTo>
                    <a:lnTo>
                      <a:pt x="38" y="18"/>
                    </a:lnTo>
                    <a:lnTo>
                      <a:pt x="38" y="18"/>
                    </a:lnTo>
                    <a:lnTo>
                      <a:pt x="38" y="17"/>
                    </a:lnTo>
                    <a:lnTo>
                      <a:pt x="39" y="15"/>
                    </a:lnTo>
                    <a:lnTo>
                      <a:pt x="39" y="14"/>
                    </a:lnTo>
                    <a:lnTo>
                      <a:pt x="36" y="4"/>
                    </a:lnTo>
                    <a:lnTo>
                      <a:pt x="35" y="1"/>
                    </a:lnTo>
                    <a:lnTo>
                      <a:pt x="32" y="1"/>
                    </a:lnTo>
                    <a:lnTo>
                      <a:pt x="32" y="0"/>
                    </a:lnTo>
                    <a:lnTo>
                      <a:pt x="29" y="0"/>
                    </a:lnTo>
                    <a:lnTo>
                      <a:pt x="28" y="1"/>
                    </a:lnTo>
                    <a:lnTo>
                      <a:pt x="26" y="1"/>
                    </a:lnTo>
                    <a:lnTo>
                      <a:pt x="26" y="1"/>
                    </a:lnTo>
                    <a:lnTo>
                      <a:pt x="25" y="1"/>
                    </a:lnTo>
                    <a:lnTo>
                      <a:pt x="23" y="1"/>
                    </a:lnTo>
                    <a:lnTo>
                      <a:pt x="22" y="1"/>
                    </a:lnTo>
                    <a:lnTo>
                      <a:pt x="22" y="3"/>
                    </a:lnTo>
                    <a:lnTo>
                      <a:pt x="22" y="4"/>
                    </a:lnTo>
                    <a:lnTo>
                      <a:pt x="22" y="5"/>
                    </a:lnTo>
                    <a:lnTo>
                      <a:pt x="21" y="5"/>
                    </a:lnTo>
                    <a:lnTo>
                      <a:pt x="19" y="7"/>
                    </a:lnTo>
                    <a:lnTo>
                      <a:pt x="19" y="7"/>
                    </a:lnTo>
                    <a:lnTo>
                      <a:pt x="18" y="8"/>
                    </a:lnTo>
                    <a:lnTo>
                      <a:pt x="16" y="13"/>
                    </a:lnTo>
                    <a:lnTo>
                      <a:pt x="15" y="14"/>
                    </a:lnTo>
                    <a:lnTo>
                      <a:pt x="13" y="17"/>
                    </a:lnTo>
                    <a:lnTo>
                      <a:pt x="8" y="21"/>
                    </a:lnTo>
                    <a:lnTo>
                      <a:pt x="6" y="23"/>
                    </a:lnTo>
                    <a:lnTo>
                      <a:pt x="3" y="27"/>
                    </a:lnTo>
                    <a:lnTo>
                      <a:pt x="0" y="28"/>
                    </a:lnTo>
                    <a:lnTo>
                      <a:pt x="3" y="31"/>
                    </a:lnTo>
                    <a:lnTo>
                      <a:pt x="5" y="33"/>
                    </a:lnTo>
                    <a:lnTo>
                      <a:pt x="9" y="34"/>
                    </a:lnTo>
                    <a:lnTo>
                      <a:pt x="12" y="36"/>
                    </a:lnTo>
                    <a:lnTo>
                      <a:pt x="15" y="40"/>
                    </a:lnTo>
                    <a:lnTo>
                      <a:pt x="16" y="41"/>
                    </a:lnTo>
                    <a:lnTo>
                      <a:pt x="22" y="44"/>
                    </a:lnTo>
                    <a:lnTo>
                      <a:pt x="25" y="47"/>
                    </a:lnTo>
                    <a:lnTo>
                      <a:pt x="42" y="60"/>
                    </a:lnTo>
                    <a:lnTo>
                      <a:pt x="46" y="63"/>
                    </a:lnTo>
                    <a:lnTo>
                      <a:pt x="61" y="70"/>
                    </a:lnTo>
                    <a:lnTo>
                      <a:pt x="65" y="73"/>
                    </a:lnTo>
                    <a:lnTo>
                      <a:pt x="71" y="74"/>
                    </a:lnTo>
                    <a:lnTo>
                      <a:pt x="69" y="70"/>
                    </a:lnTo>
                    <a:lnTo>
                      <a:pt x="69" y="6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03" name="Freeform 190">
                <a:extLst>
                  <a:ext uri="{FF2B5EF4-FFF2-40B4-BE49-F238E27FC236}">
                    <a16:creationId xmlns:a16="http://schemas.microsoft.com/office/drawing/2014/main" id="{126A0D0B-B45D-6FAF-BD1D-DE4FC8512997}"/>
                  </a:ext>
                </a:extLst>
              </p:cNvPr>
              <p:cNvSpPr>
                <a:spLocks/>
              </p:cNvSpPr>
              <p:nvPr/>
            </p:nvSpPr>
            <p:spPr bwMode="auto">
              <a:xfrm>
                <a:off x="3240" y="2420"/>
                <a:ext cx="107" cy="79"/>
              </a:xfrm>
              <a:custGeom>
                <a:avLst/>
                <a:gdLst>
                  <a:gd name="T0" fmla="*/ 34 w 107"/>
                  <a:gd name="T1" fmla="*/ 75 h 79"/>
                  <a:gd name="T2" fmla="*/ 51 w 107"/>
                  <a:gd name="T3" fmla="*/ 72 h 79"/>
                  <a:gd name="T4" fmla="*/ 76 w 107"/>
                  <a:gd name="T5" fmla="*/ 73 h 79"/>
                  <a:gd name="T6" fmla="*/ 79 w 107"/>
                  <a:gd name="T7" fmla="*/ 75 h 79"/>
                  <a:gd name="T8" fmla="*/ 79 w 107"/>
                  <a:gd name="T9" fmla="*/ 76 h 79"/>
                  <a:gd name="T10" fmla="*/ 81 w 107"/>
                  <a:gd name="T11" fmla="*/ 76 h 79"/>
                  <a:gd name="T12" fmla="*/ 93 w 107"/>
                  <a:gd name="T13" fmla="*/ 78 h 79"/>
                  <a:gd name="T14" fmla="*/ 107 w 107"/>
                  <a:gd name="T15" fmla="*/ 78 h 79"/>
                  <a:gd name="T16" fmla="*/ 107 w 107"/>
                  <a:gd name="T17" fmla="*/ 69 h 79"/>
                  <a:gd name="T18" fmla="*/ 103 w 107"/>
                  <a:gd name="T19" fmla="*/ 60 h 79"/>
                  <a:gd name="T20" fmla="*/ 100 w 107"/>
                  <a:gd name="T21" fmla="*/ 60 h 79"/>
                  <a:gd name="T22" fmla="*/ 99 w 107"/>
                  <a:gd name="T23" fmla="*/ 60 h 79"/>
                  <a:gd name="T24" fmla="*/ 96 w 107"/>
                  <a:gd name="T25" fmla="*/ 56 h 79"/>
                  <a:gd name="T26" fmla="*/ 97 w 107"/>
                  <a:gd name="T27" fmla="*/ 52 h 79"/>
                  <a:gd name="T28" fmla="*/ 96 w 107"/>
                  <a:gd name="T29" fmla="*/ 49 h 79"/>
                  <a:gd name="T30" fmla="*/ 96 w 107"/>
                  <a:gd name="T31" fmla="*/ 45 h 79"/>
                  <a:gd name="T32" fmla="*/ 93 w 107"/>
                  <a:gd name="T33" fmla="*/ 37 h 79"/>
                  <a:gd name="T34" fmla="*/ 89 w 107"/>
                  <a:gd name="T35" fmla="*/ 33 h 79"/>
                  <a:gd name="T36" fmla="*/ 83 w 107"/>
                  <a:gd name="T37" fmla="*/ 27 h 79"/>
                  <a:gd name="T38" fmla="*/ 76 w 107"/>
                  <a:gd name="T39" fmla="*/ 19 h 79"/>
                  <a:gd name="T40" fmla="*/ 69 w 107"/>
                  <a:gd name="T41" fmla="*/ 10 h 79"/>
                  <a:gd name="T42" fmla="*/ 64 w 107"/>
                  <a:gd name="T43" fmla="*/ 9 h 79"/>
                  <a:gd name="T44" fmla="*/ 58 w 107"/>
                  <a:gd name="T45" fmla="*/ 3 h 79"/>
                  <a:gd name="T46" fmla="*/ 47 w 107"/>
                  <a:gd name="T47" fmla="*/ 0 h 79"/>
                  <a:gd name="T48" fmla="*/ 27 w 107"/>
                  <a:gd name="T49" fmla="*/ 3 h 79"/>
                  <a:gd name="T50" fmla="*/ 24 w 107"/>
                  <a:gd name="T51" fmla="*/ 3 h 79"/>
                  <a:gd name="T52" fmla="*/ 18 w 107"/>
                  <a:gd name="T53" fmla="*/ 9 h 79"/>
                  <a:gd name="T54" fmla="*/ 10 w 107"/>
                  <a:gd name="T55" fmla="*/ 27 h 79"/>
                  <a:gd name="T56" fmla="*/ 0 w 107"/>
                  <a:gd name="T57" fmla="*/ 36 h 79"/>
                  <a:gd name="T58" fmla="*/ 1 w 107"/>
                  <a:gd name="T59" fmla="*/ 37 h 79"/>
                  <a:gd name="T60" fmla="*/ 11 w 107"/>
                  <a:gd name="T61" fmla="*/ 45 h 79"/>
                  <a:gd name="T62" fmla="*/ 15 w 107"/>
                  <a:gd name="T63" fmla="*/ 47 h 79"/>
                  <a:gd name="T64" fmla="*/ 15 w 107"/>
                  <a:gd name="T65" fmla="*/ 53 h 79"/>
                  <a:gd name="T66" fmla="*/ 31 w 107"/>
                  <a:gd name="T67" fmla="*/ 56 h 79"/>
                  <a:gd name="T68" fmla="*/ 34 w 107"/>
                  <a:gd name="T69" fmla="*/ 56 h 79"/>
                  <a:gd name="T70" fmla="*/ 36 w 107"/>
                  <a:gd name="T71" fmla="*/ 53 h 79"/>
                  <a:gd name="T72" fmla="*/ 41 w 107"/>
                  <a:gd name="T73" fmla="*/ 52 h 79"/>
                  <a:gd name="T74" fmla="*/ 53 w 107"/>
                  <a:gd name="T75" fmla="*/ 56 h 79"/>
                  <a:gd name="T76" fmla="*/ 61 w 107"/>
                  <a:gd name="T77" fmla="*/ 58 h 79"/>
                  <a:gd name="T78" fmla="*/ 60 w 107"/>
                  <a:gd name="T79" fmla="*/ 62 h 79"/>
                  <a:gd name="T80" fmla="*/ 53 w 107"/>
                  <a:gd name="T81" fmla="*/ 62 h 79"/>
                  <a:gd name="T82" fmla="*/ 40 w 107"/>
                  <a:gd name="T83" fmla="*/ 58 h 79"/>
                  <a:gd name="T84" fmla="*/ 37 w 107"/>
                  <a:gd name="T85" fmla="*/ 60 h 79"/>
                  <a:gd name="T86" fmla="*/ 31 w 107"/>
                  <a:gd name="T87" fmla="*/ 60 h 79"/>
                  <a:gd name="T88" fmla="*/ 28 w 107"/>
                  <a:gd name="T89" fmla="*/ 65 h 79"/>
                  <a:gd name="T90" fmla="*/ 15 w 107"/>
                  <a:gd name="T91" fmla="*/ 65 h 79"/>
                  <a:gd name="T92" fmla="*/ 13 w 107"/>
                  <a:gd name="T93" fmla="*/ 73 h 79"/>
                  <a:gd name="T94" fmla="*/ 15 w 107"/>
                  <a:gd name="T95" fmla="*/ 73 h 79"/>
                  <a:gd name="T96" fmla="*/ 15 w 107"/>
                  <a:gd name="T97" fmla="*/ 75 h 79"/>
                  <a:gd name="T98" fmla="*/ 14 w 107"/>
                  <a:gd name="T9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7" h="79">
                    <a:moveTo>
                      <a:pt x="21" y="78"/>
                    </a:moveTo>
                    <a:lnTo>
                      <a:pt x="31" y="76"/>
                    </a:lnTo>
                    <a:lnTo>
                      <a:pt x="34" y="75"/>
                    </a:lnTo>
                    <a:lnTo>
                      <a:pt x="37" y="73"/>
                    </a:lnTo>
                    <a:lnTo>
                      <a:pt x="44" y="72"/>
                    </a:lnTo>
                    <a:lnTo>
                      <a:pt x="51" y="72"/>
                    </a:lnTo>
                    <a:lnTo>
                      <a:pt x="66" y="73"/>
                    </a:lnTo>
                    <a:lnTo>
                      <a:pt x="71" y="73"/>
                    </a:lnTo>
                    <a:lnTo>
                      <a:pt x="76" y="73"/>
                    </a:lnTo>
                    <a:lnTo>
                      <a:pt x="77" y="73"/>
                    </a:lnTo>
                    <a:lnTo>
                      <a:pt x="77" y="75"/>
                    </a:lnTo>
                    <a:lnTo>
                      <a:pt x="79" y="75"/>
                    </a:lnTo>
                    <a:lnTo>
                      <a:pt x="79" y="76"/>
                    </a:lnTo>
                    <a:lnTo>
                      <a:pt x="79" y="76"/>
                    </a:lnTo>
                    <a:lnTo>
                      <a:pt x="79" y="76"/>
                    </a:lnTo>
                    <a:lnTo>
                      <a:pt x="80" y="76"/>
                    </a:lnTo>
                    <a:lnTo>
                      <a:pt x="80" y="76"/>
                    </a:lnTo>
                    <a:lnTo>
                      <a:pt x="81" y="76"/>
                    </a:lnTo>
                    <a:lnTo>
                      <a:pt x="87" y="78"/>
                    </a:lnTo>
                    <a:lnTo>
                      <a:pt x="90" y="78"/>
                    </a:lnTo>
                    <a:lnTo>
                      <a:pt x="93" y="78"/>
                    </a:lnTo>
                    <a:lnTo>
                      <a:pt x="100" y="78"/>
                    </a:lnTo>
                    <a:lnTo>
                      <a:pt x="104" y="78"/>
                    </a:lnTo>
                    <a:lnTo>
                      <a:pt x="107" y="78"/>
                    </a:lnTo>
                    <a:lnTo>
                      <a:pt x="107" y="76"/>
                    </a:lnTo>
                    <a:lnTo>
                      <a:pt x="107" y="75"/>
                    </a:lnTo>
                    <a:lnTo>
                      <a:pt x="107" y="69"/>
                    </a:lnTo>
                    <a:lnTo>
                      <a:pt x="106" y="68"/>
                    </a:lnTo>
                    <a:lnTo>
                      <a:pt x="104" y="62"/>
                    </a:lnTo>
                    <a:lnTo>
                      <a:pt x="103" y="60"/>
                    </a:lnTo>
                    <a:lnTo>
                      <a:pt x="102" y="60"/>
                    </a:lnTo>
                    <a:lnTo>
                      <a:pt x="102" y="60"/>
                    </a:lnTo>
                    <a:lnTo>
                      <a:pt x="100" y="60"/>
                    </a:lnTo>
                    <a:lnTo>
                      <a:pt x="100" y="60"/>
                    </a:lnTo>
                    <a:lnTo>
                      <a:pt x="100" y="60"/>
                    </a:lnTo>
                    <a:lnTo>
                      <a:pt x="99" y="60"/>
                    </a:lnTo>
                    <a:lnTo>
                      <a:pt x="99" y="59"/>
                    </a:lnTo>
                    <a:lnTo>
                      <a:pt x="97" y="58"/>
                    </a:lnTo>
                    <a:lnTo>
                      <a:pt x="96" y="56"/>
                    </a:lnTo>
                    <a:lnTo>
                      <a:pt x="96" y="53"/>
                    </a:lnTo>
                    <a:lnTo>
                      <a:pt x="96" y="53"/>
                    </a:lnTo>
                    <a:lnTo>
                      <a:pt x="97" y="52"/>
                    </a:lnTo>
                    <a:lnTo>
                      <a:pt x="97" y="50"/>
                    </a:lnTo>
                    <a:lnTo>
                      <a:pt x="97" y="50"/>
                    </a:lnTo>
                    <a:lnTo>
                      <a:pt x="96" y="49"/>
                    </a:lnTo>
                    <a:lnTo>
                      <a:pt x="96" y="49"/>
                    </a:lnTo>
                    <a:lnTo>
                      <a:pt x="96" y="46"/>
                    </a:lnTo>
                    <a:lnTo>
                      <a:pt x="96" y="45"/>
                    </a:lnTo>
                    <a:lnTo>
                      <a:pt x="94" y="42"/>
                    </a:lnTo>
                    <a:lnTo>
                      <a:pt x="93" y="40"/>
                    </a:lnTo>
                    <a:lnTo>
                      <a:pt x="93" y="37"/>
                    </a:lnTo>
                    <a:lnTo>
                      <a:pt x="93" y="36"/>
                    </a:lnTo>
                    <a:lnTo>
                      <a:pt x="92" y="35"/>
                    </a:lnTo>
                    <a:lnTo>
                      <a:pt x="89" y="33"/>
                    </a:lnTo>
                    <a:lnTo>
                      <a:pt x="87" y="30"/>
                    </a:lnTo>
                    <a:lnTo>
                      <a:pt x="84" y="29"/>
                    </a:lnTo>
                    <a:lnTo>
                      <a:pt x="83" y="27"/>
                    </a:lnTo>
                    <a:lnTo>
                      <a:pt x="80" y="23"/>
                    </a:lnTo>
                    <a:lnTo>
                      <a:pt x="79" y="22"/>
                    </a:lnTo>
                    <a:lnTo>
                      <a:pt x="76" y="19"/>
                    </a:lnTo>
                    <a:lnTo>
                      <a:pt x="74" y="14"/>
                    </a:lnTo>
                    <a:lnTo>
                      <a:pt x="71" y="12"/>
                    </a:lnTo>
                    <a:lnTo>
                      <a:pt x="69" y="10"/>
                    </a:lnTo>
                    <a:lnTo>
                      <a:pt x="67" y="10"/>
                    </a:lnTo>
                    <a:lnTo>
                      <a:pt x="66" y="9"/>
                    </a:lnTo>
                    <a:lnTo>
                      <a:pt x="64" y="9"/>
                    </a:lnTo>
                    <a:lnTo>
                      <a:pt x="63" y="9"/>
                    </a:lnTo>
                    <a:lnTo>
                      <a:pt x="60" y="6"/>
                    </a:lnTo>
                    <a:lnTo>
                      <a:pt x="58" y="3"/>
                    </a:lnTo>
                    <a:lnTo>
                      <a:pt x="56" y="1"/>
                    </a:lnTo>
                    <a:lnTo>
                      <a:pt x="53" y="0"/>
                    </a:lnTo>
                    <a:lnTo>
                      <a:pt x="47" y="0"/>
                    </a:lnTo>
                    <a:lnTo>
                      <a:pt x="43" y="0"/>
                    </a:lnTo>
                    <a:lnTo>
                      <a:pt x="30" y="3"/>
                    </a:lnTo>
                    <a:lnTo>
                      <a:pt x="27" y="3"/>
                    </a:lnTo>
                    <a:lnTo>
                      <a:pt x="25" y="3"/>
                    </a:lnTo>
                    <a:lnTo>
                      <a:pt x="24" y="3"/>
                    </a:lnTo>
                    <a:lnTo>
                      <a:pt x="24" y="3"/>
                    </a:lnTo>
                    <a:lnTo>
                      <a:pt x="23" y="3"/>
                    </a:lnTo>
                    <a:lnTo>
                      <a:pt x="20" y="4"/>
                    </a:lnTo>
                    <a:lnTo>
                      <a:pt x="18" y="9"/>
                    </a:lnTo>
                    <a:lnTo>
                      <a:pt x="17" y="16"/>
                    </a:lnTo>
                    <a:lnTo>
                      <a:pt x="14" y="22"/>
                    </a:lnTo>
                    <a:lnTo>
                      <a:pt x="10" y="27"/>
                    </a:lnTo>
                    <a:lnTo>
                      <a:pt x="5" y="32"/>
                    </a:lnTo>
                    <a:lnTo>
                      <a:pt x="0" y="35"/>
                    </a:lnTo>
                    <a:lnTo>
                      <a:pt x="0" y="36"/>
                    </a:lnTo>
                    <a:lnTo>
                      <a:pt x="0" y="36"/>
                    </a:lnTo>
                    <a:lnTo>
                      <a:pt x="0" y="36"/>
                    </a:lnTo>
                    <a:lnTo>
                      <a:pt x="1" y="37"/>
                    </a:lnTo>
                    <a:lnTo>
                      <a:pt x="4" y="36"/>
                    </a:lnTo>
                    <a:lnTo>
                      <a:pt x="7" y="39"/>
                    </a:lnTo>
                    <a:lnTo>
                      <a:pt x="11" y="45"/>
                    </a:lnTo>
                    <a:lnTo>
                      <a:pt x="13" y="49"/>
                    </a:lnTo>
                    <a:lnTo>
                      <a:pt x="14" y="49"/>
                    </a:lnTo>
                    <a:lnTo>
                      <a:pt x="15" y="47"/>
                    </a:lnTo>
                    <a:lnTo>
                      <a:pt x="13" y="50"/>
                    </a:lnTo>
                    <a:lnTo>
                      <a:pt x="14" y="52"/>
                    </a:lnTo>
                    <a:lnTo>
                      <a:pt x="15" y="53"/>
                    </a:lnTo>
                    <a:lnTo>
                      <a:pt x="17" y="56"/>
                    </a:lnTo>
                    <a:lnTo>
                      <a:pt x="28" y="56"/>
                    </a:lnTo>
                    <a:lnTo>
                      <a:pt x="31" y="56"/>
                    </a:lnTo>
                    <a:lnTo>
                      <a:pt x="33" y="56"/>
                    </a:lnTo>
                    <a:lnTo>
                      <a:pt x="34" y="56"/>
                    </a:lnTo>
                    <a:lnTo>
                      <a:pt x="34" y="56"/>
                    </a:lnTo>
                    <a:lnTo>
                      <a:pt x="36" y="56"/>
                    </a:lnTo>
                    <a:lnTo>
                      <a:pt x="36" y="55"/>
                    </a:lnTo>
                    <a:lnTo>
                      <a:pt x="36" y="53"/>
                    </a:lnTo>
                    <a:lnTo>
                      <a:pt x="38" y="53"/>
                    </a:lnTo>
                    <a:lnTo>
                      <a:pt x="40" y="52"/>
                    </a:lnTo>
                    <a:lnTo>
                      <a:pt x="41" y="52"/>
                    </a:lnTo>
                    <a:lnTo>
                      <a:pt x="43" y="52"/>
                    </a:lnTo>
                    <a:lnTo>
                      <a:pt x="46" y="53"/>
                    </a:lnTo>
                    <a:lnTo>
                      <a:pt x="53" y="56"/>
                    </a:lnTo>
                    <a:lnTo>
                      <a:pt x="54" y="58"/>
                    </a:lnTo>
                    <a:lnTo>
                      <a:pt x="60" y="56"/>
                    </a:lnTo>
                    <a:lnTo>
                      <a:pt x="61" y="58"/>
                    </a:lnTo>
                    <a:lnTo>
                      <a:pt x="64" y="59"/>
                    </a:lnTo>
                    <a:lnTo>
                      <a:pt x="63" y="60"/>
                    </a:lnTo>
                    <a:lnTo>
                      <a:pt x="60" y="62"/>
                    </a:lnTo>
                    <a:lnTo>
                      <a:pt x="57" y="62"/>
                    </a:lnTo>
                    <a:lnTo>
                      <a:pt x="54" y="62"/>
                    </a:lnTo>
                    <a:lnTo>
                      <a:pt x="53" y="62"/>
                    </a:lnTo>
                    <a:lnTo>
                      <a:pt x="43" y="58"/>
                    </a:lnTo>
                    <a:lnTo>
                      <a:pt x="41" y="58"/>
                    </a:lnTo>
                    <a:lnTo>
                      <a:pt x="40" y="58"/>
                    </a:lnTo>
                    <a:lnTo>
                      <a:pt x="40" y="58"/>
                    </a:lnTo>
                    <a:lnTo>
                      <a:pt x="38" y="59"/>
                    </a:lnTo>
                    <a:lnTo>
                      <a:pt x="37" y="60"/>
                    </a:lnTo>
                    <a:lnTo>
                      <a:pt x="36" y="60"/>
                    </a:lnTo>
                    <a:lnTo>
                      <a:pt x="33" y="60"/>
                    </a:lnTo>
                    <a:lnTo>
                      <a:pt x="31" y="60"/>
                    </a:lnTo>
                    <a:lnTo>
                      <a:pt x="30" y="62"/>
                    </a:lnTo>
                    <a:lnTo>
                      <a:pt x="30" y="63"/>
                    </a:lnTo>
                    <a:lnTo>
                      <a:pt x="28" y="65"/>
                    </a:lnTo>
                    <a:lnTo>
                      <a:pt x="27" y="65"/>
                    </a:lnTo>
                    <a:lnTo>
                      <a:pt x="17" y="63"/>
                    </a:lnTo>
                    <a:lnTo>
                      <a:pt x="15" y="65"/>
                    </a:lnTo>
                    <a:lnTo>
                      <a:pt x="13" y="66"/>
                    </a:lnTo>
                    <a:lnTo>
                      <a:pt x="13" y="70"/>
                    </a:lnTo>
                    <a:lnTo>
                      <a:pt x="13" y="73"/>
                    </a:lnTo>
                    <a:lnTo>
                      <a:pt x="14" y="75"/>
                    </a:lnTo>
                    <a:lnTo>
                      <a:pt x="14" y="73"/>
                    </a:lnTo>
                    <a:lnTo>
                      <a:pt x="15" y="73"/>
                    </a:lnTo>
                    <a:lnTo>
                      <a:pt x="17" y="72"/>
                    </a:lnTo>
                    <a:lnTo>
                      <a:pt x="18" y="75"/>
                    </a:lnTo>
                    <a:lnTo>
                      <a:pt x="15" y="75"/>
                    </a:lnTo>
                    <a:lnTo>
                      <a:pt x="14" y="75"/>
                    </a:lnTo>
                    <a:lnTo>
                      <a:pt x="13" y="76"/>
                    </a:lnTo>
                    <a:lnTo>
                      <a:pt x="14" y="79"/>
                    </a:lnTo>
                    <a:lnTo>
                      <a:pt x="17" y="78"/>
                    </a:lnTo>
                    <a:lnTo>
                      <a:pt x="21" y="7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04" name="Freeform 191">
                <a:extLst>
                  <a:ext uri="{FF2B5EF4-FFF2-40B4-BE49-F238E27FC236}">
                    <a16:creationId xmlns:a16="http://schemas.microsoft.com/office/drawing/2014/main" id="{EDBC3211-E00A-0E37-7EF9-F67BB9279B11}"/>
                  </a:ext>
                </a:extLst>
              </p:cNvPr>
              <p:cNvSpPr>
                <a:spLocks/>
              </p:cNvSpPr>
              <p:nvPr/>
            </p:nvSpPr>
            <p:spPr bwMode="auto">
              <a:xfrm>
                <a:off x="3253" y="2472"/>
                <a:ext cx="51" cy="14"/>
              </a:xfrm>
              <a:custGeom>
                <a:avLst/>
                <a:gdLst>
                  <a:gd name="T0" fmla="*/ 4 w 51"/>
                  <a:gd name="T1" fmla="*/ 11 h 14"/>
                  <a:gd name="T2" fmla="*/ 14 w 51"/>
                  <a:gd name="T3" fmla="*/ 13 h 14"/>
                  <a:gd name="T4" fmla="*/ 15 w 51"/>
                  <a:gd name="T5" fmla="*/ 13 h 14"/>
                  <a:gd name="T6" fmla="*/ 17 w 51"/>
                  <a:gd name="T7" fmla="*/ 11 h 14"/>
                  <a:gd name="T8" fmla="*/ 17 w 51"/>
                  <a:gd name="T9" fmla="*/ 10 h 14"/>
                  <a:gd name="T10" fmla="*/ 18 w 51"/>
                  <a:gd name="T11" fmla="*/ 8 h 14"/>
                  <a:gd name="T12" fmla="*/ 20 w 51"/>
                  <a:gd name="T13" fmla="*/ 8 h 14"/>
                  <a:gd name="T14" fmla="*/ 23 w 51"/>
                  <a:gd name="T15" fmla="*/ 8 h 14"/>
                  <a:gd name="T16" fmla="*/ 24 w 51"/>
                  <a:gd name="T17" fmla="*/ 8 h 14"/>
                  <a:gd name="T18" fmla="*/ 25 w 51"/>
                  <a:gd name="T19" fmla="*/ 7 h 14"/>
                  <a:gd name="T20" fmla="*/ 27 w 51"/>
                  <a:gd name="T21" fmla="*/ 6 h 14"/>
                  <a:gd name="T22" fmla="*/ 27 w 51"/>
                  <a:gd name="T23" fmla="*/ 6 h 14"/>
                  <a:gd name="T24" fmla="*/ 28 w 51"/>
                  <a:gd name="T25" fmla="*/ 6 h 14"/>
                  <a:gd name="T26" fmla="*/ 30 w 51"/>
                  <a:gd name="T27" fmla="*/ 6 h 14"/>
                  <a:gd name="T28" fmla="*/ 40 w 51"/>
                  <a:gd name="T29" fmla="*/ 10 h 14"/>
                  <a:gd name="T30" fmla="*/ 41 w 51"/>
                  <a:gd name="T31" fmla="*/ 10 h 14"/>
                  <a:gd name="T32" fmla="*/ 44 w 51"/>
                  <a:gd name="T33" fmla="*/ 10 h 14"/>
                  <a:gd name="T34" fmla="*/ 47 w 51"/>
                  <a:gd name="T35" fmla="*/ 10 h 14"/>
                  <a:gd name="T36" fmla="*/ 50 w 51"/>
                  <a:gd name="T37" fmla="*/ 8 h 14"/>
                  <a:gd name="T38" fmla="*/ 51 w 51"/>
                  <a:gd name="T39" fmla="*/ 7 h 14"/>
                  <a:gd name="T40" fmla="*/ 48 w 51"/>
                  <a:gd name="T41" fmla="*/ 6 h 14"/>
                  <a:gd name="T42" fmla="*/ 47 w 51"/>
                  <a:gd name="T43" fmla="*/ 4 h 14"/>
                  <a:gd name="T44" fmla="*/ 41 w 51"/>
                  <a:gd name="T45" fmla="*/ 6 h 14"/>
                  <a:gd name="T46" fmla="*/ 40 w 51"/>
                  <a:gd name="T47" fmla="*/ 4 h 14"/>
                  <a:gd name="T48" fmla="*/ 33 w 51"/>
                  <a:gd name="T49" fmla="*/ 1 h 14"/>
                  <a:gd name="T50" fmla="*/ 30 w 51"/>
                  <a:gd name="T51" fmla="*/ 0 h 14"/>
                  <a:gd name="T52" fmla="*/ 28 w 51"/>
                  <a:gd name="T53" fmla="*/ 0 h 14"/>
                  <a:gd name="T54" fmla="*/ 27 w 51"/>
                  <a:gd name="T55" fmla="*/ 0 h 14"/>
                  <a:gd name="T56" fmla="*/ 25 w 51"/>
                  <a:gd name="T57" fmla="*/ 1 h 14"/>
                  <a:gd name="T58" fmla="*/ 23 w 51"/>
                  <a:gd name="T59" fmla="*/ 1 h 14"/>
                  <a:gd name="T60" fmla="*/ 23 w 51"/>
                  <a:gd name="T61" fmla="*/ 3 h 14"/>
                  <a:gd name="T62" fmla="*/ 23 w 51"/>
                  <a:gd name="T63" fmla="*/ 4 h 14"/>
                  <a:gd name="T64" fmla="*/ 21 w 51"/>
                  <a:gd name="T65" fmla="*/ 4 h 14"/>
                  <a:gd name="T66" fmla="*/ 21 w 51"/>
                  <a:gd name="T67" fmla="*/ 4 h 14"/>
                  <a:gd name="T68" fmla="*/ 20 w 51"/>
                  <a:gd name="T69" fmla="*/ 4 h 14"/>
                  <a:gd name="T70" fmla="*/ 18 w 51"/>
                  <a:gd name="T71" fmla="*/ 4 h 14"/>
                  <a:gd name="T72" fmla="*/ 15 w 51"/>
                  <a:gd name="T73" fmla="*/ 4 h 14"/>
                  <a:gd name="T74" fmla="*/ 4 w 51"/>
                  <a:gd name="T75" fmla="*/ 4 h 14"/>
                  <a:gd name="T76" fmla="*/ 5 w 51"/>
                  <a:gd name="T77" fmla="*/ 8 h 14"/>
                  <a:gd name="T78" fmla="*/ 11 w 51"/>
                  <a:gd name="T79" fmla="*/ 7 h 14"/>
                  <a:gd name="T80" fmla="*/ 20 w 51"/>
                  <a:gd name="T81" fmla="*/ 6 h 14"/>
                  <a:gd name="T82" fmla="*/ 23 w 51"/>
                  <a:gd name="T83" fmla="*/ 7 h 14"/>
                  <a:gd name="T84" fmla="*/ 15 w 51"/>
                  <a:gd name="T85" fmla="*/ 7 h 14"/>
                  <a:gd name="T86" fmla="*/ 11 w 51"/>
                  <a:gd name="T87" fmla="*/ 8 h 14"/>
                  <a:gd name="T88" fmla="*/ 10 w 51"/>
                  <a:gd name="T89" fmla="*/ 10 h 14"/>
                  <a:gd name="T90" fmla="*/ 8 w 51"/>
                  <a:gd name="T91" fmla="*/ 10 h 14"/>
                  <a:gd name="T92" fmla="*/ 7 w 51"/>
                  <a:gd name="T93" fmla="*/ 10 h 14"/>
                  <a:gd name="T94" fmla="*/ 5 w 51"/>
                  <a:gd name="T95" fmla="*/ 10 h 14"/>
                  <a:gd name="T96" fmla="*/ 4 w 51"/>
                  <a:gd name="T97" fmla="*/ 10 h 14"/>
                  <a:gd name="T98" fmla="*/ 4 w 51"/>
                  <a:gd name="T99" fmla="*/ 8 h 14"/>
                  <a:gd name="T100" fmla="*/ 2 w 51"/>
                  <a:gd name="T101" fmla="*/ 7 h 14"/>
                  <a:gd name="T102" fmla="*/ 2 w 51"/>
                  <a:gd name="T103" fmla="*/ 7 h 14"/>
                  <a:gd name="T104" fmla="*/ 0 w 51"/>
                  <a:gd name="T105" fmla="*/ 7 h 14"/>
                  <a:gd name="T106" fmla="*/ 0 w 51"/>
                  <a:gd name="T107" fmla="*/ 8 h 14"/>
                  <a:gd name="T108" fmla="*/ 0 w 51"/>
                  <a:gd name="T109" fmla="*/ 14 h 14"/>
                  <a:gd name="T110" fmla="*/ 2 w 51"/>
                  <a:gd name="T111" fmla="*/ 13 h 14"/>
                  <a:gd name="T112" fmla="*/ 4 w 51"/>
                  <a:gd name="T113"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 h="14">
                    <a:moveTo>
                      <a:pt x="4" y="11"/>
                    </a:moveTo>
                    <a:lnTo>
                      <a:pt x="14" y="13"/>
                    </a:lnTo>
                    <a:lnTo>
                      <a:pt x="15" y="13"/>
                    </a:lnTo>
                    <a:lnTo>
                      <a:pt x="17" y="11"/>
                    </a:lnTo>
                    <a:lnTo>
                      <a:pt x="17" y="10"/>
                    </a:lnTo>
                    <a:lnTo>
                      <a:pt x="18" y="8"/>
                    </a:lnTo>
                    <a:lnTo>
                      <a:pt x="20" y="8"/>
                    </a:lnTo>
                    <a:lnTo>
                      <a:pt x="23" y="8"/>
                    </a:lnTo>
                    <a:lnTo>
                      <a:pt x="24" y="8"/>
                    </a:lnTo>
                    <a:lnTo>
                      <a:pt x="25" y="7"/>
                    </a:lnTo>
                    <a:lnTo>
                      <a:pt x="27" y="6"/>
                    </a:lnTo>
                    <a:lnTo>
                      <a:pt x="27" y="6"/>
                    </a:lnTo>
                    <a:lnTo>
                      <a:pt x="28" y="6"/>
                    </a:lnTo>
                    <a:lnTo>
                      <a:pt x="30" y="6"/>
                    </a:lnTo>
                    <a:lnTo>
                      <a:pt x="40" y="10"/>
                    </a:lnTo>
                    <a:lnTo>
                      <a:pt x="41" y="10"/>
                    </a:lnTo>
                    <a:lnTo>
                      <a:pt x="44" y="10"/>
                    </a:lnTo>
                    <a:lnTo>
                      <a:pt x="47" y="10"/>
                    </a:lnTo>
                    <a:lnTo>
                      <a:pt x="50" y="8"/>
                    </a:lnTo>
                    <a:lnTo>
                      <a:pt x="51" y="7"/>
                    </a:lnTo>
                    <a:lnTo>
                      <a:pt x="48" y="6"/>
                    </a:lnTo>
                    <a:lnTo>
                      <a:pt x="47" y="4"/>
                    </a:lnTo>
                    <a:lnTo>
                      <a:pt x="41" y="6"/>
                    </a:lnTo>
                    <a:lnTo>
                      <a:pt x="40" y="4"/>
                    </a:lnTo>
                    <a:lnTo>
                      <a:pt x="33" y="1"/>
                    </a:lnTo>
                    <a:lnTo>
                      <a:pt x="30" y="0"/>
                    </a:lnTo>
                    <a:lnTo>
                      <a:pt x="28" y="0"/>
                    </a:lnTo>
                    <a:lnTo>
                      <a:pt x="27" y="0"/>
                    </a:lnTo>
                    <a:lnTo>
                      <a:pt x="25" y="1"/>
                    </a:lnTo>
                    <a:lnTo>
                      <a:pt x="23" y="1"/>
                    </a:lnTo>
                    <a:lnTo>
                      <a:pt x="23" y="3"/>
                    </a:lnTo>
                    <a:lnTo>
                      <a:pt x="23" y="4"/>
                    </a:lnTo>
                    <a:lnTo>
                      <a:pt x="21" y="4"/>
                    </a:lnTo>
                    <a:lnTo>
                      <a:pt x="21" y="4"/>
                    </a:lnTo>
                    <a:lnTo>
                      <a:pt x="20" y="4"/>
                    </a:lnTo>
                    <a:lnTo>
                      <a:pt x="18" y="4"/>
                    </a:lnTo>
                    <a:lnTo>
                      <a:pt x="15" y="4"/>
                    </a:lnTo>
                    <a:lnTo>
                      <a:pt x="4" y="4"/>
                    </a:lnTo>
                    <a:lnTo>
                      <a:pt x="5" y="8"/>
                    </a:lnTo>
                    <a:lnTo>
                      <a:pt x="11" y="7"/>
                    </a:lnTo>
                    <a:lnTo>
                      <a:pt x="20" y="6"/>
                    </a:lnTo>
                    <a:lnTo>
                      <a:pt x="23" y="7"/>
                    </a:lnTo>
                    <a:lnTo>
                      <a:pt x="15" y="7"/>
                    </a:lnTo>
                    <a:lnTo>
                      <a:pt x="11" y="8"/>
                    </a:lnTo>
                    <a:lnTo>
                      <a:pt x="10" y="10"/>
                    </a:lnTo>
                    <a:lnTo>
                      <a:pt x="8" y="10"/>
                    </a:lnTo>
                    <a:lnTo>
                      <a:pt x="7" y="10"/>
                    </a:lnTo>
                    <a:lnTo>
                      <a:pt x="5" y="10"/>
                    </a:lnTo>
                    <a:lnTo>
                      <a:pt x="4" y="10"/>
                    </a:lnTo>
                    <a:lnTo>
                      <a:pt x="4" y="8"/>
                    </a:lnTo>
                    <a:lnTo>
                      <a:pt x="2" y="7"/>
                    </a:lnTo>
                    <a:lnTo>
                      <a:pt x="2" y="7"/>
                    </a:lnTo>
                    <a:lnTo>
                      <a:pt x="0" y="7"/>
                    </a:lnTo>
                    <a:lnTo>
                      <a:pt x="0" y="8"/>
                    </a:lnTo>
                    <a:lnTo>
                      <a:pt x="0" y="14"/>
                    </a:lnTo>
                    <a:lnTo>
                      <a:pt x="2" y="13"/>
                    </a:lnTo>
                    <a:lnTo>
                      <a:pt x="4" y="1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05" name="Freeform 192">
                <a:extLst>
                  <a:ext uri="{FF2B5EF4-FFF2-40B4-BE49-F238E27FC236}">
                    <a16:creationId xmlns:a16="http://schemas.microsoft.com/office/drawing/2014/main" id="{BAC1490E-B71D-6089-0CE2-351A443531FE}"/>
                  </a:ext>
                </a:extLst>
              </p:cNvPr>
              <p:cNvSpPr>
                <a:spLocks/>
              </p:cNvSpPr>
              <p:nvPr/>
            </p:nvSpPr>
            <p:spPr bwMode="auto">
              <a:xfrm>
                <a:off x="3698" y="2485"/>
                <a:ext cx="135" cy="202"/>
              </a:xfrm>
              <a:custGeom>
                <a:avLst/>
                <a:gdLst>
                  <a:gd name="T0" fmla="*/ 49 w 135"/>
                  <a:gd name="T1" fmla="*/ 192 h 202"/>
                  <a:gd name="T2" fmla="*/ 83 w 135"/>
                  <a:gd name="T3" fmla="*/ 195 h 202"/>
                  <a:gd name="T4" fmla="*/ 112 w 135"/>
                  <a:gd name="T5" fmla="*/ 197 h 202"/>
                  <a:gd name="T6" fmla="*/ 132 w 135"/>
                  <a:gd name="T7" fmla="*/ 202 h 202"/>
                  <a:gd name="T8" fmla="*/ 132 w 135"/>
                  <a:gd name="T9" fmla="*/ 199 h 202"/>
                  <a:gd name="T10" fmla="*/ 135 w 135"/>
                  <a:gd name="T11" fmla="*/ 192 h 202"/>
                  <a:gd name="T12" fmla="*/ 129 w 135"/>
                  <a:gd name="T13" fmla="*/ 178 h 202"/>
                  <a:gd name="T14" fmla="*/ 116 w 135"/>
                  <a:gd name="T15" fmla="*/ 161 h 202"/>
                  <a:gd name="T16" fmla="*/ 109 w 135"/>
                  <a:gd name="T17" fmla="*/ 151 h 202"/>
                  <a:gd name="T18" fmla="*/ 106 w 135"/>
                  <a:gd name="T19" fmla="*/ 133 h 202"/>
                  <a:gd name="T20" fmla="*/ 105 w 135"/>
                  <a:gd name="T21" fmla="*/ 126 h 202"/>
                  <a:gd name="T22" fmla="*/ 107 w 135"/>
                  <a:gd name="T23" fmla="*/ 122 h 202"/>
                  <a:gd name="T24" fmla="*/ 118 w 135"/>
                  <a:gd name="T25" fmla="*/ 106 h 202"/>
                  <a:gd name="T26" fmla="*/ 120 w 135"/>
                  <a:gd name="T27" fmla="*/ 92 h 202"/>
                  <a:gd name="T28" fmla="*/ 106 w 135"/>
                  <a:gd name="T29" fmla="*/ 73 h 202"/>
                  <a:gd name="T30" fmla="*/ 96 w 135"/>
                  <a:gd name="T31" fmla="*/ 62 h 202"/>
                  <a:gd name="T32" fmla="*/ 103 w 135"/>
                  <a:gd name="T33" fmla="*/ 56 h 202"/>
                  <a:gd name="T34" fmla="*/ 122 w 135"/>
                  <a:gd name="T35" fmla="*/ 53 h 202"/>
                  <a:gd name="T36" fmla="*/ 115 w 135"/>
                  <a:gd name="T37" fmla="*/ 37 h 202"/>
                  <a:gd name="T38" fmla="*/ 115 w 135"/>
                  <a:gd name="T39" fmla="*/ 21 h 202"/>
                  <a:gd name="T40" fmla="*/ 109 w 135"/>
                  <a:gd name="T41" fmla="*/ 8 h 202"/>
                  <a:gd name="T42" fmla="*/ 105 w 135"/>
                  <a:gd name="T43" fmla="*/ 4 h 202"/>
                  <a:gd name="T44" fmla="*/ 99 w 135"/>
                  <a:gd name="T45" fmla="*/ 0 h 202"/>
                  <a:gd name="T46" fmla="*/ 100 w 135"/>
                  <a:gd name="T47" fmla="*/ 13 h 202"/>
                  <a:gd name="T48" fmla="*/ 106 w 135"/>
                  <a:gd name="T49" fmla="*/ 20 h 202"/>
                  <a:gd name="T50" fmla="*/ 105 w 135"/>
                  <a:gd name="T51" fmla="*/ 30 h 202"/>
                  <a:gd name="T52" fmla="*/ 93 w 135"/>
                  <a:gd name="T53" fmla="*/ 36 h 202"/>
                  <a:gd name="T54" fmla="*/ 87 w 135"/>
                  <a:gd name="T55" fmla="*/ 44 h 202"/>
                  <a:gd name="T56" fmla="*/ 80 w 135"/>
                  <a:gd name="T57" fmla="*/ 63 h 202"/>
                  <a:gd name="T58" fmla="*/ 76 w 135"/>
                  <a:gd name="T59" fmla="*/ 73 h 202"/>
                  <a:gd name="T60" fmla="*/ 70 w 135"/>
                  <a:gd name="T61" fmla="*/ 80 h 202"/>
                  <a:gd name="T62" fmla="*/ 61 w 135"/>
                  <a:gd name="T63" fmla="*/ 96 h 202"/>
                  <a:gd name="T64" fmla="*/ 57 w 135"/>
                  <a:gd name="T65" fmla="*/ 106 h 202"/>
                  <a:gd name="T66" fmla="*/ 57 w 135"/>
                  <a:gd name="T67" fmla="*/ 108 h 202"/>
                  <a:gd name="T68" fmla="*/ 53 w 135"/>
                  <a:gd name="T69" fmla="*/ 113 h 202"/>
                  <a:gd name="T70" fmla="*/ 46 w 135"/>
                  <a:gd name="T71" fmla="*/ 119 h 202"/>
                  <a:gd name="T72" fmla="*/ 39 w 135"/>
                  <a:gd name="T73" fmla="*/ 109 h 202"/>
                  <a:gd name="T74" fmla="*/ 34 w 135"/>
                  <a:gd name="T75" fmla="*/ 110 h 202"/>
                  <a:gd name="T76" fmla="*/ 28 w 135"/>
                  <a:gd name="T77" fmla="*/ 110 h 202"/>
                  <a:gd name="T78" fmla="*/ 10 w 135"/>
                  <a:gd name="T79" fmla="*/ 126 h 202"/>
                  <a:gd name="T80" fmla="*/ 0 w 135"/>
                  <a:gd name="T81" fmla="*/ 149 h 202"/>
                  <a:gd name="T82" fmla="*/ 1 w 135"/>
                  <a:gd name="T83" fmla="*/ 151 h 202"/>
                  <a:gd name="T84" fmla="*/ 7 w 135"/>
                  <a:gd name="T85" fmla="*/ 154 h 202"/>
                  <a:gd name="T86" fmla="*/ 10 w 135"/>
                  <a:gd name="T87" fmla="*/ 161 h 202"/>
                  <a:gd name="T88" fmla="*/ 16 w 135"/>
                  <a:gd name="T89" fmla="*/ 164 h 202"/>
                  <a:gd name="T90" fmla="*/ 18 w 135"/>
                  <a:gd name="T91" fmla="*/ 162 h 202"/>
                  <a:gd name="T92" fmla="*/ 20 w 135"/>
                  <a:gd name="T93" fmla="*/ 164 h 202"/>
                  <a:gd name="T94" fmla="*/ 18 w 135"/>
                  <a:gd name="T95" fmla="*/ 165 h 202"/>
                  <a:gd name="T96" fmla="*/ 18 w 135"/>
                  <a:gd name="T97" fmla="*/ 168 h 202"/>
                  <a:gd name="T98" fmla="*/ 21 w 135"/>
                  <a:gd name="T99" fmla="*/ 174 h 202"/>
                  <a:gd name="T100" fmla="*/ 21 w 135"/>
                  <a:gd name="T101" fmla="*/ 19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5" h="202">
                    <a:moveTo>
                      <a:pt x="26" y="194"/>
                    </a:moveTo>
                    <a:lnTo>
                      <a:pt x="49" y="194"/>
                    </a:lnTo>
                    <a:lnTo>
                      <a:pt x="49" y="194"/>
                    </a:lnTo>
                    <a:lnTo>
                      <a:pt x="49" y="192"/>
                    </a:lnTo>
                    <a:lnTo>
                      <a:pt x="49" y="192"/>
                    </a:lnTo>
                    <a:lnTo>
                      <a:pt x="67" y="192"/>
                    </a:lnTo>
                    <a:lnTo>
                      <a:pt x="79" y="192"/>
                    </a:lnTo>
                    <a:lnTo>
                      <a:pt x="83" y="195"/>
                    </a:lnTo>
                    <a:lnTo>
                      <a:pt x="105" y="195"/>
                    </a:lnTo>
                    <a:lnTo>
                      <a:pt x="107" y="195"/>
                    </a:lnTo>
                    <a:lnTo>
                      <a:pt x="109" y="195"/>
                    </a:lnTo>
                    <a:lnTo>
                      <a:pt x="112" y="197"/>
                    </a:lnTo>
                    <a:lnTo>
                      <a:pt x="122" y="198"/>
                    </a:lnTo>
                    <a:lnTo>
                      <a:pt x="125" y="199"/>
                    </a:lnTo>
                    <a:lnTo>
                      <a:pt x="129" y="201"/>
                    </a:lnTo>
                    <a:lnTo>
                      <a:pt x="132" y="202"/>
                    </a:lnTo>
                    <a:lnTo>
                      <a:pt x="133" y="202"/>
                    </a:lnTo>
                    <a:lnTo>
                      <a:pt x="133" y="202"/>
                    </a:lnTo>
                    <a:lnTo>
                      <a:pt x="133" y="201"/>
                    </a:lnTo>
                    <a:lnTo>
                      <a:pt x="132" y="199"/>
                    </a:lnTo>
                    <a:lnTo>
                      <a:pt x="132" y="197"/>
                    </a:lnTo>
                    <a:lnTo>
                      <a:pt x="133" y="195"/>
                    </a:lnTo>
                    <a:lnTo>
                      <a:pt x="133" y="194"/>
                    </a:lnTo>
                    <a:lnTo>
                      <a:pt x="135" y="192"/>
                    </a:lnTo>
                    <a:lnTo>
                      <a:pt x="133" y="188"/>
                    </a:lnTo>
                    <a:lnTo>
                      <a:pt x="132" y="185"/>
                    </a:lnTo>
                    <a:lnTo>
                      <a:pt x="132" y="181"/>
                    </a:lnTo>
                    <a:lnTo>
                      <a:pt x="129" y="178"/>
                    </a:lnTo>
                    <a:lnTo>
                      <a:pt x="120" y="171"/>
                    </a:lnTo>
                    <a:lnTo>
                      <a:pt x="116" y="166"/>
                    </a:lnTo>
                    <a:lnTo>
                      <a:pt x="113" y="162"/>
                    </a:lnTo>
                    <a:lnTo>
                      <a:pt x="116" y="161"/>
                    </a:lnTo>
                    <a:lnTo>
                      <a:pt x="115" y="159"/>
                    </a:lnTo>
                    <a:lnTo>
                      <a:pt x="115" y="156"/>
                    </a:lnTo>
                    <a:lnTo>
                      <a:pt x="113" y="155"/>
                    </a:lnTo>
                    <a:lnTo>
                      <a:pt x="109" y="151"/>
                    </a:lnTo>
                    <a:lnTo>
                      <a:pt x="109" y="149"/>
                    </a:lnTo>
                    <a:lnTo>
                      <a:pt x="106" y="138"/>
                    </a:lnTo>
                    <a:lnTo>
                      <a:pt x="106" y="135"/>
                    </a:lnTo>
                    <a:lnTo>
                      <a:pt x="106" y="133"/>
                    </a:lnTo>
                    <a:lnTo>
                      <a:pt x="106" y="131"/>
                    </a:lnTo>
                    <a:lnTo>
                      <a:pt x="106" y="128"/>
                    </a:lnTo>
                    <a:lnTo>
                      <a:pt x="105" y="128"/>
                    </a:lnTo>
                    <a:lnTo>
                      <a:pt x="105" y="126"/>
                    </a:lnTo>
                    <a:lnTo>
                      <a:pt x="103" y="126"/>
                    </a:lnTo>
                    <a:lnTo>
                      <a:pt x="105" y="123"/>
                    </a:lnTo>
                    <a:lnTo>
                      <a:pt x="106" y="123"/>
                    </a:lnTo>
                    <a:lnTo>
                      <a:pt x="107" y="122"/>
                    </a:lnTo>
                    <a:lnTo>
                      <a:pt x="109" y="122"/>
                    </a:lnTo>
                    <a:lnTo>
                      <a:pt x="109" y="122"/>
                    </a:lnTo>
                    <a:lnTo>
                      <a:pt x="110" y="119"/>
                    </a:lnTo>
                    <a:lnTo>
                      <a:pt x="118" y="106"/>
                    </a:lnTo>
                    <a:lnTo>
                      <a:pt x="120" y="102"/>
                    </a:lnTo>
                    <a:lnTo>
                      <a:pt x="122" y="100"/>
                    </a:lnTo>
                    <a:lnTo>
                      <a:pt x="122" y="96"/>
                    </a:lnTo>
                    <a:lnTo>
                      <a:pt x="120" y="92"/>
                    </a:lnTo>
                    <a:lnTo>
                      <a:pt x="119" y="86"/>
                    </a:lnTo>
                    <a:lnTo>
                      <a:pt x="116" y="83"/>
                    </a:lnTo>
                    <a:lnTo>
                      <a:pt x="113" y="79"/>
                    </a:lnTo>
                    <a:lnTo>
                      <a:pt x="106" y="73"/>
                    </a:lnTo>
                    <a:lnTo>
                      <a:pt x="102" y="70"/>
                    </a:lnTo>
                    <a:lnTo>
                      <a:pt x="97" y="66"/>
                    </a:lnTo>
                    <a:lnTo>
                      <a:pt x="96" y="64"/>
                    </a:lnTo>
                    <a:lnTo>
                      <a:pt x="96" y="62"/>
                    </a:lnTo>
                    <a:lnTo>
                      <a:pt x="96" y="60"/>
                    </a:lnTo>
                    <a:lnTo>
                      <a:pt x="97" y="57"/>
                    </a:lnTo>
                    <a:lnTo>
                      <a:pt x="100" y="57"/>
                    </a:lnTo>
                    <a:lnTo>
                      <a:pt x="103" y="56"/>
                    </a:lnTo>
                    <a:lnTo>
                      <a:pt x="120" y="57"/>
                    </a:lnTo>
                    <a:lnTo>
                      <a:pt x="122" y="56"/>
                    </a:lnTo>
                    <a:lnTo>
                      <a:pt x="125" y="56"/>
                    </a:lnTo>
                    <a:lnTo>
                      <a:pt x="122" y="53"/>
                    </a:lnTo>
                    <a:lnTo>
                      <a:pt x="119" y="50"/>
                    </a:lnTo>
                    <a:lnTo>
                      <a:pt x="116" y="46"/>
                    </a:lnTo>
                    <a:lnTo>
                      <a:pt x="115" y="41"/>
                    </a:lnTo>
                    <a:lnTo>
                      <a:pt x="115" y="37"/>
                    </a:lnTo>
                    <a:lnTo>
                      <a:pt x="115" y="28"/>
                    </a:lnTo>
                    <a:lnTo>
                      <a:pt x="115" y="24"/>
                    </a:lnTo>
                    <a:lnTo>
                      <a:pt x="115" y="23"/>
                    </a:lnTo>
                    <a:lnTo>
                      <a:pt x="115" y="21"/>
                    </a:lnTo>
                    <a:lnTo>
                      <a:pt x="113" y="18"/>
                    </a:lnTo>
                    <a:lnTo>
                      <a:pt x="110" y="11"/>
                    </a:lnTo>
                    <a:lnTo>
                      <a:pt x="110" y="10"/>
                    </a:lnTo>
                    <a:lnTo>
                      <a:pt x="109" y="8"/>
                    </a:lnTo>
                    <a:lnTo>
                      <a:pt x="107" y="7"/>
                    </a:lnTo>
                    <a:lnTo>
                      <a:pt x="106" y="7"/>
                    </a:lnTo>
                    <a:lnTo>
                      <a:pt x="106" y="5"/>
                    </a:lnTo>
                    <a:lnTo>
                      <a:pt x="105" y="4"/>
                    </a:lnTo>
                    <a:lnTo>
                      <a:pt x="105" y="3"/>
                    </a:lnTo>
                    <a:lnTo>
                      <a:pt x="103" y="1"/>
                    </a:lnTo>
                    <a:lnTo>
                      <a:pt x="102" y="1"/>
                    </a:lnTo>
                    <a:lnTo>
                      <a:pt x="99" y="0"/>
                    </a:lnTo>
                    <a:lnTo>
                      <a:pt x="97" y="0"/>
                    </a:lnTo>
                    <a:lnTo>
                      <a:pt x="97" y="8"/>
                    </a:lnTo>
                    <a:lnTo>
                      <a:pt x="99" y="11"/>
                    </a:lnTo>
                    <a:lnTo>
                      <a:pt x="100" y="13"/>
                    </a:lnTo>
                    <a:lnTo>
                      <a:pt x="105" y="14"/>
                    </a:lnTo>
                    <a:lnTo>
                      <a:pt x="106" y="16"/>
                    </a:lnTo>
                    <a:lnTo>
                      <a:pt x="106" y="18"/>
                    </a:lnTo>
                    <a:lnTo>
                      <a:pt x="106" y="20"/>
                    </a:lnTo>
                    <a:lnTo>
                      <a:pt x="106" y="24"/>
                    </a:lnTo>
                    <a:lnTo>
                      <a:pt x="106" y="27"/>
                    </a:lnTo>
                    <a:lnTo>
                      <a:pt x="105" y="28"/>
                    </a:lnTo>
                    <a:lnTo>
                      <a:pt x="105" y="30"/>
                    </a:lnTo>
                    <a:lnTo>
                      <a:pt x="102" y="31"/>
                    </a:lnTo>
                    <a:lnTo>
                      <a:pt x="100" y="33"/>
                    </a:lnTo>
                    <a:lnTo>
                      <a:pt x="96" y="34"/>
                    </a:lnTo>
                    <a:lnTo>
                      <a:pt x="93" y="36"/>
                    </a:lnTo>
                    <a:lnTo>
                      <a:pt x="92" y="37"/>
                    </a:lnTo>
                    <a:lnTo>
                      <a:pt x="90" y="40"/>
                    </a:lnTo>
                    <a:lnTo>
                      <a:pt x="89" y="43"/>
                    </a:lnTo>
                    <a:lnTo>
                      <a:pt x="87" y="44"/>
                    </a:lnTo>
                    <a:lnTo>
                      <a:pt x="83" y="56"/>
                    </a:lnTo>
                    <a:lnTo>
                      <a:pt x="83" y="60"/>
                    </a:lnTo>
                    <a:lnTo>
                      <a:pt x="82" y="62"/>
                    </a:lnTo>
                    <a:lnTo>
                      <a:pt x="80" y="63"/>
                    </a:lnTo>
                    <a:lnTo>
                      <a:pt x="77" y="66"/>
                    </a:lnTo>
                    <a:lnTo>
                      <a:pt x="76" y="67"/>
                    </a:lnTo>
                    <a:lnTo>
                      <a:pt x="76" y="70"/>
                    </a:lnTo>
                    <a:lnTo>
                      <a:pt x="76" y="73"/>
                    </a:lnTo>
                    <a:lnTo>
                      <a:pt x="74" y="76"/>
                    </a:lnTo>
                    <a:lnTo>
                      <a:pt x="73" y="77"/>
                    </a:lnTo>
                    <a:lnTo>
                      <a:pt x="72" y="79"/>
                    </a:lnTo>
                    <a:lnTo>
                      <a:pt x="70" y="80"/>
                    </a:lnTo>
                    <a:lnTo>
                      <a:pt x="67" y="82"/>
                    </a:lnTo>
                    <a:lnTo>
                      <a:pt x="66" y="83"/>
                    </a:lnTo>
                    <a:lnTo>
                      <a:pt x="66" y="85"/>
                    </a:lnTo>
                    <a:lnTo>
                      <a:pt x="61" y="96"/>
                    </a:lnTo>
                    <a:lnTo>
                      <a:pt x="61" y="97"/>
                    </a:lnTo>
                    <a:lnTo>
                      <a:pt x="57" y="103"/>
                    </a:lnTo>
                    <a:lnTo>
                      <a:pt x="57" y="105"/>
                    </a:lnTo>
                    <a:lnTo>
                      <a:pt x="57" y="106"/>
                    </a:lnTo>
                    <a:lnTo>
                      <a:pt x="59" y="106"/>
                    </a:lnTo>
                    <a:lnTo>
                      <a:pt x="59" y="108"/>
                    </a:lnTo>
                    <a:lnTo>
                      <a:pt x="57" y="108"/>
                    </a:lnTo>
                    <a:lnTo>
                      <a:pt x="57" y="108"/>
                    </a:lnTo>
                    <a:lnTo>
                      <a:pt x="56" y="109"/>
                    </a:lnTo>
                    <a:lnTo>
                      <a:pt x="54" y="110"/>
                    </a:lnTo>
                    <a:lnTo>
                      <a:pt x="53" y="112"/>
                    </a:lnTo>
                    <a:lnTo>
                      <a:pt x="53" y="113"/>
                    </a:lnTo>
                    <a:lnTo>
                      <a:pt x="51" y="115"/>
                    </a:lnTo>
                    <a:lnTo>
                      <a:pt x="51" y="116"/>
                    </a:lnTo>
                    <a:lnTo>
                      <a:pt x="50" y="118"/>
                    </a:lnTo>
                    <a:lnTo>
                      <a:pt x="46" y="119"/>
                    </a:lnTo>
                    <a:lnTo>
                      <a:pt x="44" y="118"/>
                    </a:lnTo>
                    <a:lnTo>
                      <a:pt x="43" y="113"/>
                    </a:lnTo>
                    <a:lnTo>
                      <a:pt x="40" y="110"/>
                    </a:lnTo>
                    <a:lnTo>
                      <a:pt x="39" y="109"/>
                    </a:lnTo>
                    <a:lnTo>
                      <a:pt x="37" y="108"/>
                    </a:lnTo>
                    <a:lnTo>
                      <a:pt x="36" y="108"/>
                    </a:lnTo>
                    <a:lnTo>
                      <a:pt x="36" y="109"/>
                    </a:lnTo>
                    <a:lnTo>
                      <a:pt x="34" y="110"/>
                    </a:lnTo>
                    <a:lnTo>
                      <a:pt x="34" y="110"/>
                    </a:lnTo>
                    <a:lnTo>
                      <a:pt x="31" y="112"/>
                    </a:lnTo>
                    <a:lnTo>
                      <a:pt x="30" y="112"/>
                    </a:lnTo>
                    <a:lnTo>
                      <a:pt x="28" y="110"/>
                    </a:lnTo>
                    <a:lnTo>
                      <a:pt x="28" y="109"/>
                    </a:lnTo>
                    <a:lnTo>
                      <a:pt x="20" y="116"/>
                    </a:lnTo>
                    <a:lnTo>
                      <a:pt x="11" y="123"/>
                    </a:lnTo>
                    <a:lnTo>
                      <a:pt x="10" y="126"/>
                    </a:lnTo>
                    <a:lnTo>
                      <a:pt x="7" y="129"/>
                    </a:lnTo>
                    <a:lnTo>
                      <a:pt x="7" y="133"/>
                    </a:lnTo>
                    <a:lnTo>
                      <a:pt x="4" y="139"/>
                    </a:lnTo>
                    <a:lnTo>
                      <a:pt x="0" y="149"/>
                    </a:lnTo>
                    <a:lnTo>
                      <a:pt x="0" y="152"/>
                    </a:lnTo>
                    <a:lnTo>
                      <a:pt x="1" y="152"/>
                    </a:lnTo>
                    <a:lnTo>
                      <a:pt x="3" y="152"/>
                    </a:lnTo>
                    <a:lnTo>
                      <a:pt x="1" y="151"/>
                    </a:lnTo>
                    <a:lnTo>
                      <a:pt x="3" y="151"/>
                    </a:lnTo>
                    <a:lnTo>
                      <a:pt x="5" y="152"/>
                    </a:lnTo>
                    <a:lnTo>
                      <a:pt x="5" y="152"/>
                    </a:lnTo>
                    <a:lnTo>
                      <a:pt x="7" y="154"/>
                    </a:lnTo>
                    <a:lnTo>
                      <a:pt x="7" y="158"/>
                    </a:lnTo>
                    <a:lnTo>
                      <a:pt x="7" y="159"/>
                    </a:lnTo>
                    <a:lnTo>
                      <a:pt x="8" y="161"/>
                    </a:lnTo>
                    <a:lnTo>
                      <a:pt x="10" y="161"/>
                    </a:lnTo>
                    <a:lnTo>
                      <a:pt x="11" y="162"/>
                    </a:lnTo>
                    <a:lnTo>
                      <a:pt x="13" y="164"/>
                    </a:lnTo>
                    <a:lnTo>
                      <a:pt x="14" y="164"/>
                    </a:lnTo>
                    <a:lnTo>
                      <a:pt x="16" y="164"/>
                    </a:lnTo>
                    <a:lnTo>
                      <a:pt x="17" y="162"/>
                    </a:lnTo>
                    <a:lnTo>
                      <a:pt x="17" y="161"/>
                    </a:lnTo>
                    <a:lnTo>
                      <a:pt x="17" y="161"/>
                    </a:lnTo>
                    <a:lnTo>
                      <a:pt x="18" y="162"/>
                    </a:lnTo>
                    <a:lnTo>
                      <a:pt x="18" y="162"/>
                    </a:lnTo>
                    <a:lnTo>
                      <a:pt x="20" y="161"/>
                    </a:lnTo>
                    <a:lnTo>
                      <a:pt x="20" y="162"/>
                    </a:lnTo>
                    <a:lnTo>
                      <a:pt x="20" y="164"/>
                    </a:lnTo>
                    <a:lnTo>
                      <a:pt x="20" y="164"/>
                    </a:lnTo>
                    <a:lnTo>
                      <a:pt x="21" y="165"/>
                    </a:lnTo>
                    <a:lnTo>
                      <a:pt x="20" y="165"/>
                    </a:lnTo>
                    <a:lnTo>
                      <a:pt x="18" y="165"/>
                    </a:lnTo>
                    <a:lnTo>
                      <a:pt x="18" y="165"/>
                    </a:lnTo>
                    <a:lnTo>
                      <a:pt x="17" y="165"/>
                    </a:lnTo>
                    <a:lnTo>
                      <a:pt x="18" y="166"/>
                    </a:lnTo>
                    <a:lnTo>
                      <a:pt x="18" y="168"/>
                    </a:lnTo>
                    <a:lnTo>
                      <a:pt x="20" y="169"/>
                    </a:lnTo>
                    <a:lnTo>
                      <a:pt x="21" y="169"/>
                    </a:lnTo>
                    <a:lnTo>
                      <a:pt x="20" y="171"/>
                    </a:lnTo>
                    <a:lnTo>
                      <a:pt x="21" y="174"/>
                    </a:lnTo>
                    <a:lnTo>
                      <a:pt x="23" y="177"/>
                    </a:lnTo>
                    <a:lnTo>
                      <a:pt x="24" y="179"/>
                    </a:lnTo>
                    <a:lnTo>
                      <a:pt x="24" y="182"/>
                    </a:lnTo>
                    <a:lnTo>
                      <a:pt x="21" y="192"/>
                    </a:lnTo>
                    <a:lnTo>
                      <a:pt x="23" y="194"/>
                    </a:lnTo>
                    <a:lnTo>
                      <a:pt x="26" y="19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06" name="Freeform 193">
                <a:extLst>
                  <a:ext uri="{FF2B5EF4-FFF2-40B4-BE49-F238E27FC236}">
                    <a16:creationId xmlns:a16="http://schemas.microsoft.com/office/drawing/2014/main" id="{66095A34-89DA-4746-15AB-3879474F8BF7}"/>
                  </a:ext>
                </a:extLst>
              </p:cNvPr>
              <p:cNvSpPr>
                <a:spLocks noEditPoints="1"/>
              </p:cNvSpPr>
              <p:nvPr/>
            </p:nvSpPr>
            <p:spPr bwMode="auto">
              <a:xfrm>
                <a:off x="3396" y="2528"/>
                <a:ext cx="108" cy="113"/>
              </a:xfrm>
              <a:custGeom>
                <a:avLst/>
                <a:gdLst>
                  <a:gd name="T0" fmla="*/ 95 w 108"/>
                  <a:gd name="T1" fmla="*/ 99 h 113"/>
                  <a:gd name="T2" fmla="*/ 98 w 108"/>
                  <a:gd name="T3" fmla="*/ 99 h 113"/>
                  <a:gd name="T4" fmla="*/ 104 w 108"/>
                  <a:gd name="T5" fmla="*/ 95 h 113"/>
                  <a:gd name="T6" fmla="*/ 101 w 108"/>
                  <a:gd name="T7" fmla="*/ 90 h 113"/>
                  <a:gd name="T8" fmla="*/ 95 w 108"/>
                  <a:gd name="T9" fmla="*/ 79 h 113"/>
                  <a:gd name="T10" fmla="*/ 96 w 108"/>
                  <a:gd name="T11" fmla="*/ 66 h 113"/>
                  <a:gd name="T12" fmla="*/ 101 w 108"/>
                  <a:gd name="T13" fmla="*/ 54 h 113"/>
                  <a:gd name="T14" fmla="*/ 105 w 108"/>
                  <a:gd name="T15" fmla="*/ 47 h 113"/>
                  <a:gd name="T16" fmla="*/ 106 w 108"/>
                  <a:gd name="T17" fmla="*/ 44 h 113"/>
                  <a:gd name="T18" fmla="*/ 108 w 108"/>
                  <a:gd name="T19" fmla="*/ 42 h 113"/>
                  <a:gd name="T20" fmla="*/ 104 w 108"/>
                  <a:gd name="T21" fmla="*/ 31 h 113"/>
                  <a:gd name="T22" fmla="*/ 104 w 108"/>
                  <a:gd name="T23" fmla="*/ 21 h 113"/>
                  <a:gd name="T24" fmla="*/ 98 w 108"/>
                  <a:gd name="T25" fmla="*/ 17 h 113"/>
                  <a:gd name="T26" fmla="*/ 88 w 108"/>
                  <a:gd name="T27" fmla="*/ 14 h 113"/>
                  <a:gd name="T28" fmla="*/ 78 w 108"/>
                  <a:gd name="T29" fmla="*/ 17 h 113"/>
                  <a:gd name="T30" fmla="*/ 73 w 108"/>
                  <a:gd name="T31" fmla="*/ 19 h 113"/>
                  <a:gd name="T32" fmla="*/ 68 w 108"/>
                  <a:gd name="T33" fmla="*/ 17 h 113"/>
                  <a:gd name="T34" fmla="*/ 63 w 108"/>
                  <a:gd name="T35" fmla="*/ 13 h 113"/>
                  <a:gd name="T36" fmla="*/ 62 w 108"/>
                  <a:gd name="T37" fmla="*/ 8 h 113"/>
                  <a:gd name="T38" fmla="*/ 56 w 108"/>
                  <a:gd name="T39" fmla="*/ 7 h 113"/>
                  <a:gd name="T40" fmla="*/ 50 w 108"/>
                  <a:gd name="T41" fmla="*/ 6 h 113"/>
                  <a:gd name="T42" fmla="*/ 43 w 108"/>
                  <a:gd name="T43" fmla="*/ 8 h 113"/>
                  <a:gd name="T44" fmla="*/ 42 w 108"/>
                  <a:gd name="T45" fmla="*/ 7 h 113"/>
                  <a:gd name="T46" fmla="*/ 42 w 108"/>
                  <a:gd name="T47" fmla="*/ 1 h 113"/>
                  <a:gd name="T48" fmla="*/ 39 w 108"/>
                  <a:gd name="T49" fmla="*/ 1 h 113"/>
                  <a:gd name="T50" fmla="*/ 39 w 108"/>
                  <a:gd name="T51" fmla="*/ 3 h 113"/>
                  <a:gd name="T52" fmla="*/ 35 w 108"/>
                  <a:gd name="T53" fmla="*/ 1 h 113"/>
                  <a:gd name="T54" fmla="*/ 35 w 108"/>
                  <a:gd name="T55" fmla="*/ 4 h 113"/>
                  <a:gd name="T56" fmla="*/ 33 w 108"/>
                  <a:gd name="T57" fmla="*/ 6 h 113"/>
                  <a:gd name="T58" fmla="*/ 29 w 108"/>
                  <a:gd name="T59" fmla="*/ 7 h 113"/>
                  <a:gd name="T60" fmla="*/ 27 w 108"/>
                  <a:gd name="T61" fmla="*/ 10 h 113"/>
                  <a:gd name="T62" fmla="*/ 22 w 108"/>
                  <a:gd name="T63" fmla="*/ 6 h 113"/>
                  <a:gd name="T64" fmla="*/ 13 w 108"/>
                  <a:gd name="T65" fmla="*/ 8 h 113"/>
                  <a:gd name="T66" fmla="*/ 9 w 108"/>
                  <a:gd name="T67" fmla="*/ 13 h 113"/>
                  <a:gd name="T68" fmla="*/ 9 w 108"/>
                  <a:gd name="T69" fmla="*/ 21 h 113"/>
                  <a:gd name="T70" fmla="*/ 13 w 108"/>
                  <a:gd name="T71" fmla="*/ 26 h 113"/>
                  <a:gd name="T72" fmla="*/ 15 w 108"/>
                  <a:gd name="T73" fmla="*/ 29 h 113"/>
                  <a:gd name="T74" fmla="*/ 12 w 108"/>
                  <a:gd name="T75" fmla="*/ 33 h 113"/>
                  <a:gd name="T76" fmla="*/ 17 w 108"/>
                  <a:gd name="T77" fmla="*/ 39 h 113"/>
                  <a:gd name="T78" fmla="*/ 12 w 108"/>
                  <a:gd name="T79" fmla="*/ 40 h 113"/>
                  <a:gd name="T80" fmla="*/ 6 w 108"/>
                  <a:gd name="T81" fmla="*/ 43 h 113"/>
                  <a:gd name="T82" fmla="*/ 9 w 108"/>
                  <a:gd name="T83" fmla="*/ 46 h 113"/>
                  <a:gd name="T84" fmla="*/ 10 w 108"/>
                  <a:gd name="T85" fmla="*/ 47 h 113"/>
                  <a:gd name="T86" fmla="*/ 9 w 108"/>
                  <a:gd name="T87" fmla="*/ 53 h 113"/>
                  <a:gd name="T88" fmla="*/ 6 w 108"/>
                  <a:gd name="T89" fmla="*/ 56 h 113"/>
                  <a:gd name="T90" fmla="*/ 4 w 108"/>
                  <a:gd name="T91" fmla="*/ 62 h 113"/>
                  <a:gd name="T92" fmla="*/ 0 w 108"/>
                  <a:gd name="T93" fmla="*/ 75 h 113"/>
                  <a:gd name="T94" fmla="*/ 6 w 108"/>
                  <a:gd name="T95" fmla="*/ 77 h 113"/>
                  <a:gd name="T96" fmla="*/ 13 w 108"/>
                  <a:gd name="T97" fmla="*/ 80 h 113"/>
                  <a:gd name="T98" fmla="*/ 16 w 108"/>
                  <a:gd name="T99" fmla="*/ 85 h 113"/>
                  <a:gd name="T100" fmla="*/ 20 w 108"/>
                  <a:gd name="T101" fmla="*/ 89 h 113"/>
                  <a:gd name="T102" fmla="*/ 19 w 108"/>
                  <a:gd name="T103" fmla="*/ 102 h 113"/>
                  <a:gd name="T104" fmla="*/ 19 w 108"/>
                  <a:gd name="T105" fmla="*/ 113 h 113"/>
                  <a:gd name="T106" fmla="*/ 50 w 108"/>
                  <a:gd name="T107" fmla="*/ 100 h 113"/>
                  <a:gd name="T108" fmla="*/ 62 w 108"/>
                  <a:gd name="T109" fmla="*/ 99 h 113"/>
                  <a:gd name="T110" fmla="*/ 59 w 108"/>
                  <a:gd name="T111" fmla="*/ 98 h 113"/>
                  <a:gd name="T112" fmla="*/ 66 w 108"/>
                  <a:gd name="T113" fmla="*/ 99 h 113"/>
                  <a:gd name="T114" fmla="*/ 78 w 108"/>
                  <a:gd name="T115" fmla="*/ 96 h 113"/>
                  <a:gd name="T116" fmla="*/ 73 w 108"/>
                  <a:gd name="T117" fmla="*/ 96 h 113"/>
                  <a:gd name="T118" fmla="*/ 91 w 108"/>
                  <a:gd name="T119" fmla="*/ 99 h 113"/>
                  <a:gd name="T120" fmla="*/ 95 w 108"/>
                  <a:gd name="T121" fmla="*/ 96 h 113"/>
                  <a:gd name="T122" fmla="*/ 96 w 108"/>
                  <a:gd name="T123" fmla="*/ 96 h 113"/>
                  <a:gd name="T124" fmla="*/ 98 w 108"/>
                  <a:gd name="T12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 h="113">
                    <a:moveTo>
                      <a:pt x="98" y="99"/>
                    </a:moveTo>
                    <a:lnTo>
                      <a:pt x="96" y="100"/>
                    </a:lnTo>
                    <a:lnTo>
                      <a:pt x="95" y="99"/>
                    </a:lnTo>
                    <a:lnTo>
                      <a:pt x="95" y="99"/>
                    </a:lnTo>
                    <a:lnTo>
                      <a:pt x="96" y="99"/>
                    </a:lnTo>
                    <a:lnTo>
                      <a:pt x="98" y="99"/>
                    </a:lnTo>
                    <a:close/>
                    <a:moveTo>
                      <a:pt x="102" y="98"/>
                    </a:moveTo>
                    <a:lnTo>
                      <a:pt x="102" y="96"/>
                    </a:lnTo>
                    <a:lnTo>
                      <a:pt x="104" y="95"/>
                    </a:lnTo>
                    <a:lnTo>
                      <a:pt x="102" y="92"/>
                    </a:lnTo>
                    <a:lnTo>
                      <a:pt x="102" y="90"/>
                    </a:lnTo>
                    <a:lnTo>
                      <a:pt x="101" y="90"/>
                    </a:lnTo>
                    <a:lnTo>
                      <a:pt x="99" y="88"/>
                    </a:lnTo>
                    <a:lnTo>
                      <a:pt x="96" y="83"/>
                    </a:lnTo>
                    <a:lnTo>
                      <a:pt x="95" y="79"/>
                    </a:lnTo>
                    <a:lnTo>
                      <a:pt x="95" y="73"/>
                    </a:lnTo>
                    <a:lnTo>
                      <a:pt x="95" y="69"/>
                    </a:lnTo>
                    <a:lnTo>
                      <a:pt x="96" y="66"/>
                    </a:lnTo>
                    <a:lnTo>
                      <a:pt x="98" y="63"/>
                    </a:lnTo>
                    <a:lnTo>
                      <a:pt x="99" y="60"/>
                    </a:lnTo>
                    <a:lnTo>
                      <a:pt x="101" y="54"/>
                    </a:lnTo>
                    <a:lnTo>
                      <a:pt x="101" y="53"/>
                    </a:lnTo>
                    <a:lnTo>
                      <a:pt x="102" y="50"/>
                    </a:lnTo>
                    <a:lnTo>
                      <a:pt x="105" y="47"/>
                    </a:lnTo>
                    <a:lnTo>
                      <a:pt x="106" y="46"/>
                    </a:lnTo>
                    <a:lnTo>
                      <a:pt x="106" y="44"/>
                    </a:lnTo>
                    <a:lnTo>
                      <a:pt x="106" y="44"/>
                    </a:lnTo>
                    <a:lnTo>
                      <a:pt x="106" y="44"/>
                    </a:lnTo>
                    <a:lnTo>
                      <a:pt x="108" y="43"/>
                    </a:lnTo>
                    <a:lnTo>
                      <a:pt x="108" y="42"/>
                    </a:lnTo>
                    <a:lnTo>
                      <a:pt x="106" y="37"/>
                    </a:lnTo>
                    <a:lnTo>
                      <a:pt x="105" y="34"/>
                    </a:lnTo>
                    <a:lnTo>
                      <a:pt x="104" y="31"/>
                    </a:lnTo>
                    <a:lnTo>
                      <a:pt x="104" y="29"/>
                    </a:lnTo>
                    <a:lnTo>
                      <a:pt x="104" y="27"/>
                    </a:lnTo>
                    <a:lnTo>
                      <a:pt x="104" y="21"/>
                    </a:lnTo>
                    <a:lnTo>
                      <a:pt x="102" y="23"/>
                    </a:lnTo>
                    <a:lnTo>
                      <a:pt x="99" y="20"/>
                    </a:lnTo>
                    <a:lnTo>
                      <a:pt x="98" y="17"/>
                    </a:lnTo>
                    <a:lnTo>
                      <a:pt x="96" y="16"/>
                    </a:lnTo>
                    <a:lnTo>
                      <a:pt x="92" y="14"/>
                    </a:lnTo>
                    <a:lnTo>
                      <a:pt x="88" y="14"/>
                    </a:lnTo>
                    <a:lnTo>
                      <a:pt x="85" y="14"/>
                    </a:lnTo>
                    <a:lnTo>
                      <a:pt x="81" y="16"/>
                    </a:lnTo>
                    <a:lnTo>
                      <a:pt x="78" y="17"/>
                    </a:lnTo>
                    <a:lnTo>
                      <a:pt x="76" y="17"/>
                    </a:lnTo>
                    <a:lnTo>
                      <a:pt x="75" y="19"/>
                    </a:lnTo>
                    <a:lnTo>
                      <a:pt x="73" y="19"/>
                    </a:lnTo>
                    <a:lnTo>
                      <a:pt x="72" y="19"/>
                    </a:lnTo>
                    <a:lnTo>
                      <a:pt x="71" y="17"/>
                    </a:lnTo>
                    <a:lnTo>
                      <a:pt x="68" y="17"/>
                    </a:lnTo>
                    <a:lnTo>
                      <a:pt x="65" y="14"/>
                    </a:lnTo>
                    <a:lnTo>
                      <a:pt x="65" y="14"/>
                    </a:lnTo>
                    <a:lnTo>
                      <a:pt x="63" y="13"/>
                    </a:lnTo>
                    <a:lnTo>
                      <a:pt x="63" y="11"/>
                    </a:lnTo>
                    <a:lnTo>
                      <a:pt x="62" y="10"/>
                    </a:lnTo>
                    <a:lnTo>
                      <a:pt x="62" y="8"/>
                    </a:lnTo>
                    <a:lnTo>
                      <a:pt x="60" y="7"/>
                    </a:lnTo>
                    <a:lnTo>
                      <a:pt x="58" y="7"/>
                    </a:lnTo>
                    <a:lnTo>
                      <a:pt x="56" y="7"/>
                    </a:lnTo>
                    <a:lnTo>
                      <a:pt x="55" y="6"/>
                    </a:lnTo>
                    <a:lnTo>
                      <a:pt x="52" y="6"/>
                    </a:lnTo>
                    <a:lnTo>
                      <a:pt x="50" y="6"/>
                    </a:lnTo>
                    <a:lnTo>
                      <a:pt x="45" y="8"/>
                    </a:lnTo>
                    <a:lnTo>
                      <a:pt x="45" y="10"/>
                    </a:lnTo>
                    <a:lnTo>
                      <a:pt x="43" y="8"/>
                    </a:lnTo>
                    <a:lnTo>
                      <a:pt x="42" y="8"/>
                    </a:lnTo>
                    <a:lnTo>
                      <a:pt x="42" y="8"/>
                    </a:lnTo>
                    <a:lnTo>
                      <a:pt x="42" y="7"/>
                    </a:lnTo>
                    <a:lnTo>
                      <a:pt x="42" y="7"/>
                    </a:lnTo>
                    <a:lnTo>
                      <a:pt x="42" y="4"/>
                    </a:lnTo>
                    <a:lnTo>
                      <a:pt x="42" y="1"/>
                    </a:lnTo>
                    <a:lnTo>
                      <a:pt x="42" y="0"/>
                    </a:lnTo>
                    <a:lnTo>
                      <a:pt x="39" y="0"/>
                    </a:lnTo>
                    <a:lnTo>
                      <a:pt x="39" y="1"/>
                    </a:lnTo>
                    <a:lnTo>
                      <a:pt x="39" y="1"/>
                    </a:lnTo>
                    <a:lnTo>
                      <a:pt x="39" y="3"/>
                    </a:lnTo>
                    <a:lnTo>
                      <a:pt x="39" y="3"/>
                    </a:lnTo>
                    <a:lnTo>
                      <a:pt x="37" y="3"/>
                    </a:lnTo>
                    <a:lnTo>
                      <a:pt x="35" y="1"/>
                    </a:lnTo>
                    <a:lnTo>
                      <a:pt x="35" y="1"/>
                    </a:lnTo>
                    <a:lnTo>
                      <a:pt x="33" y="3"/>
                    </a:lnTo>
                    <a:lnTo>
                      <a:pt x="35" y="4"/>
                    </a:lnTo>
                    <a:lnTo>
                      <a:pt x="35" y="4"/>
                    </a:lnTo>
                    <a:lnTo>
                      <a:pt x="35" y="6"/>
                    </a:lnTo>
                    <a:lnTo>
                      <a:pt x="33" y="6"/>
                    </a:lnTo>
                    <a:lnTo>
                      <a:pt x="33" y="6"/>
                    </a:lnTo>
                    <a:lnTo>
                      <a:pt x="32" y="6"/>
                    </a:lnTo>
                    <a:lnTo>
                      <a:pt x="30" y="7"/>
                    </a:lnTo>
                    <a:lnTo>
                      <a:pt x="29" y="7"/>
                    </a:lnTo>
                    <a:lnTo>
                      <a:pt x="29" y="8"/>
                    </a:lnTo>
                    <a:lnTo>
                      <a:pt x="29" y="10"/>
                    </a:lnTo>
                    <a:lnTo>
                      <a:pt x="27" y="10"/>
                    </a:lnTo>
                    <a:lnTo>
                      <a:pt x="25" y="8"/>
                    </a:lnTo>
                    <a:lnTo>
                      <a:pt x="23" y="7"/>
                    </a:lnTo>
                    <a:lnTo>
                      <a:pt x="22" y="6"/>
                    </a:lnTo>
                    <a:lnTo>
                      <a:pt x="19" y="6"/>
                    </a:lnTo>
                    <a:lnTo>
                      <a:pt x="17" y="6"/>
                    </a:lnTo>
                    <a:lnTo>
                      <a:pt x="13" y="8"/>
                    </a:lnTo>
                    <a:lnTo>
                      <a:pt x="12" y="10"/>
                    </a:lnTo>
                    <a:lnTo>
                      <a:pt x="9" y="11"/>
                    </a:lnTo>
                    <a:lnTo>
                      <a:pt x="9" y="13"/>
                    </a:lnTo>
                    <a:lnTo>
                      <a:pt x="9" y="14"/>
                    </a:lnTo>
                    <a:lnTo>
                      <a:pt x="9" y="20"/>
                    </a:lnTo>
                    <a:lnTo>
                      <a:pt x="9" y="21"/>
                    </a:lnTo>
                    <a:lnTo>
                      <a:pt x="10" y="23"/>
                    </a:lnTo>
                    <a:lnTo>
                      <a:pt x="13" y="23"/>
                    </a:lnTo>
                    <a:lnTo>
                      <a:pt x="13" y="26"/>
                    </a:lnTo>
                    <a:lnTo>
                      <a:pt x="13" y="27"/>
                    </a:lnTo>
                    <a:lnTo>
                      <a:pt x="13" y="27"/>
                    </a:lnTo>
                    <a:lnTo>
                      <a:pt x="15" y="29"/>
                    </a:lnTo>
                    <a:lnTo>
                      <a:pt x="13" y="30"/>
                    </a:lnTo>
                    <a:lnTo>
                      <a:pt x="12" y="31"/>
                    </a:lnTo>
                    <a:lnTo>
                      <a:pt x="12" y="33"/>
                    </a:lnTo>
                    <a:lnTo>
                      <a:pt x="13" y="34"/>
                    </a:lnTo>
                    <a:lnTo>
                      <a:pt x="16" y="37"/>
                    </a:lnTo>
                    <a:lnTo>
                      <a:pt x="17" y="39"/>
                    </a:lnTo>
                    <a:lnTo>
                      <a:pt x="16" y="42"/>
                    </a:lnTo>
                    <a:lnTo>
                      <a:pt x="15" y="42"/>
                    </a:lnTo>
                    <a:lnTo>
                      <a:pt x="12" y="40"/>
                    </a:lnTo>
                    <a:lnTo>
                      <a:pt x="9" y="39"/>
                    </a:lnTo>
                    <a:lnTo>
                      <a:pt x="7" y="40"/>
                    </a:lnTo>
                    <a:lnTo>
                      <a:pt x="6" y="43"/>
                    </a:lnTo>
                    <a:lnTo>
                      <a:pt x="6" y="43"/>
                    </a:lnTo>
                    <a:lnTo>
                      <a:pt x="7" y="44"/>
                    </a:lnTo>
                    <a:lnTo>
                      <a:pt x="9" y="46"/>
                    </a:lnTo>
                    <a:lnTo>
                      <a:pt x="10" y="46"/>
                    </a:lnTo>
                    <a:lnTo>
                      <a:pt x="10" y="46"/>
                    </a:lnTo>
                    <a:lnTo>
                      <a:pt x="10" y="47"/>
                    </a:lnTo>
                    <a:lnTo>
                      <a:pt x="10" y="49"/>
                    </a:lnTo>
                    <a:lnTo>
                      <a:pt x="10" y="49"/>
                    </a:lnTo>
                    <a:lnTo>
                      <a:pt x="9" y="53"/>
                    </a:lnTo>
                    <a:lnTo>
                      <a:pt x="7" y="54"/>
                    </a:lnTo>
                    <a:lnTo>
                      <a:pt x="6" y="56"/>
                    </a:lnTo>
                    <a:lnTo>
                      <a:pt x="6" y="56"/>
                    </a:lnTo>
                    <a:lnTo>
                      <a:pt x="4" y="56"/>
                    </a:lnTo>
                    <a:lnTo>
                      <a:pt x="2" y="56"/>
                    </a:lnTo>
                    <a:lnTo>
                      <a:pt x="4" y="62"/>
                    </a:lnTo>
                    <a:lnTo>
                      <a:pt x="6" y="66"/>
                    </a:lnTo>
                    <a:lnTo>
                      <a:pt x="3" y="70"/>
                    </a:lnTo>
                    <a:lnTo>
                      <a:pt x="0" y="75"/>
                    </a:lnTo>
                    <a:lnTo>
                      <a:pt x="2" y="76"/>
                    </a:lnTo>
                    <a:lnTo>
                      <a:pt x="4" y="77"/>
                    </a:lnTo>
                    <a:lnTo>
                      <a:pt x="6" y="77"/>
                    </a:lnTo>
                    <a:lnTo>
                      <a:pt x="10" y="79"/>
                    </a:lnTo>
                    <a:lnTo>
                      <a:pt x="12" y="79"/>
                    </a:lnTo>
                    <a:lnTo>
                      <a:pt x="13" y="80"/>
                    </a:lnTo>
                    <a:lnTo>
                      <a:pt x="13" y="82"/>
                    </a:lnTo>
                    <a:lnTo>
                      <a:pt x="15" y="83"/>
                    </a:lnTo>
                    <a:lnTo>
                      <a:pt x="16" y="85"/>
                    </a:lnTo>
                    <a:lnTo>
                      <a:pt x="19" y="86"/>
                    </a:lnTo>
                    <a:lnTo>
                      <a:pt x="20" y="86"/>
                    </a:lnTo>
                    <a:lnTo>
                      <a:pt x="20" y="89"/>
                    </a:lnTo>
                    <a:lnTo>
                      <a:pt x="22" y="92"/>
                    </a:lnTo>
                    <a:lnTo>
                      <a:pt x="20" y="96"/>
                    </a:lnTo>
                    <a:lnTo>
                      <a:pt x="19" y="102"/>
                    </a:lnTo>
                    <a:lnTo>
                      <a:pt x="17" y="106"/>
                    </a:lnTo>
                    <a:lnTo>
                      <a:pt x="17" y="109"/>
                    </a:lnTo>
                    <a:lnTo>
                      <a:pt x="19" y="113"/>
                    </a:lnTo>
                    <a:lnTo>
                      <a:pt x="22" y="112"/>
                    </a:lnTo>
                    <a:lnTo>
                      <a:pt x="29" y="108"/>
                    </a:lnTo>
                    <a:lnTo>
                      <a:pt x="50" y="100"/>
                    </a:lnTo>
                    <a:lnTo>
                      <a:pt x="56" y="100"/>
                    </a:lnTo>
                    <a:lnTo>
                      <a:pt x="62" y="99"/>
                    </a:lnTo>
                    <a:lnTo>
                      <a:pt x="62" y="99"/>
                    </a:lnTo>
                    <a:lnTo>
                      <a:pt x="60" y="99"/>
                    </a:lnTo>
                    <a:lnTo>
                      <a:pt x="58" y="99"/>
                    </a:lnTo>
                    <a:lnTo>
                      <a:pt x="59" y="98"/>
                    </a:lnTo>
                    <a:lnTo>
                      <a:pt x="62" y="98"/>
                    </a:lnTo>
                    <a:lnTo>
                      <a:pt x="63" y="99"/>
                    </a:lnTo>
                    <a:lnTo>
                      <a:pt x="66" y="99"/>
                    </a:lnTo>
                    <a:lnTo>
                      <a:pt x="69" y="99"/>
                    </a:lnTo>
                    <a:lnTo>
                      <a:pt x="81" y="98"/>
                    </a:lnTo>
                    <a:lnTo>
                      <a:pt x="78" y="96"/>
                    </a:lnTo>
                    <a:lnTo>
                      <a:pt x="76" y="96"/>
                    </a:lnTo>
                    <a:lnTo>
                      <a:pt x="71" y="98"/>
                    </a:lnTo>
                    <a:lnTo>
                      <a:pt x="73" y="96"/>
                    </a:lnTo>
                    <a:lnTo>
                      <a:pt x="78" y="96"/>
                    </a:lnTo>
                    <a:lnTo>
                      <a:pt x="89" y="99"/>
                    </a:lnTo>
                    <a:lnTo>
                      <a:pt x="91" y="99"/>
                    </a:lnTo>
                    <a:lnTo>
                      <a:pt x="93" y="99"/>
                    </a:lnTo>
                    <a:lnTo>
                      <a:pt x="93" y="98"/>
                    </a:lnTo>
                    <a:lnTo>
                      <a:pt x="95" y="96"/>
                    </a:lnTo>
                    <a:lnTo>
                      <a:pt x="95" y="96"/>
                    </a:lnTo>
                    <a:lnTo>
                      <a:pt x="96" y="95"/>
                    </a:lnTo>
                    <a:lnTo>
                      <a:pt x="96" y="96"/>
                    </a:lnTo>
                    <a:lnTo>
                      <a:pt x="96" y="98"/>
                    </a:lnTo>
                    <a:lnTo>
                      <a:pt x="98" y="99"/>
                    </a:lnTo>
                    <a:lnTo>
                      <a:pt x="98" y="99"/>
                    </a:lnTo>
                    <a:lnTo>
                      <a:pt x="101" y="99"/>
                    </a:lnTo>
                    <a:lnTo>
                      <a:pt x="102" y="9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07" name="Freeform 194">
                <a:extLst>
                  <a:ext uri="{FF2B5EF4-FFF2-40B4-BE49-F238E27FC236}">
                    <a16:creationId xmlns:a16="http://schemas.microsoft.com/office/drawing/2014/main" id="{7A657D12-9360-5E31-84D1-427CF596E617}"/>
                  </a:ext>
                </a:extLst>
              </p:cNvPr>
              <p:cNvSpPr>
                <a:spLocks/>
              </p:cNvSpPr>
              <p:nvPr/>
            </p:nvSpPr>
            <p:spPr bwMode="auto">
              <a:xfrm>
                <a:off x="3561" y="2498"/>
                <a:ext cx="53" cy="110"/>
              </a:xfrm>
              <a:custGeom>
                <a:avLst/>
                <a:gdLst>
                  <a:gd name="T0" fmla="*/ 35 w 53"/>
                  <a:gd name="T1" fmla="*/ 80 h 110"/>
                  <a:gd name="T2" fmla="*/ 35 w 53"/>
                  <a:gd name="T3" fmla="*/ 64 h 110"/>
                  <a:gd name="T4" fmla="*/ 36 w 53"/>
                  <a:gd name="T5" fmla="*/ 60 h 110"/>
                  <a:gd name="T6" fmla="*/ 39 w 53"/>
                  <a:gd name="T7" fmla="*/ 59 h 110"/>
                  <a:gd name="T8" fmla="*/ 41 w 53"/>
                  <a:gd name="T9" fmla="*/ 57 h 110"/>
                  <a:gd name="T10" fmla="*/ 43 w 53"/>
                  <a:gd name="T11" fmla="*/ 51 h 110"/>
                  <a:gd name="T12" fmla="*/ 45 w 53"/>
                  <a:gd name="T13" fmla="*/ 46 h 110"/>
                  <a:gd name="T14" fmla="*/ 49 w 53"/>
                  <a:gd name="T15" fmla="*/ 44 h 110"/>
                  <a:gd name="T16" fmla="*/ 51 w 53"/>
                  <a:gd name="T17" fmla="*/ 41 h 110"/>
                  <a:gd name="T18" fmla="*/ 49 w 53"/>
                  <a:gd name="T19" fmla="*/ 38 h 110"/>
                  <a:gd name="T20" fmla="*/ 51 w 53"/>
                  <a:gd name="T21" fmla="*/ 36 h 110"/>
                  <a:gd name="T22" fmla="*/ 53 w 53"/>
                  <a:gd name="T23" fmla="*/ 34 h 110"/>
                  <a:gd name="T24" fmla="*/ 53 w 53"/>
                  <a:gd name="T25" fmla="*/ 27 h 110"/>
                  <a:gd name="T26" fmla="*/ 49 w 53"/>
                  <a:gd name="T27" fmla="*/ 17 h 110"/>
                  <a:gd name="T28" fmla="*/ 49 w 53"/>
                  <a:gd name="T29" fmla="*/ 11 h 110"/>
                  <a:gd name="T30" fmla="*/ 41 w 53"/>
                  <a:gd name="T31" fmla="*/ 3 h 110"/>
                  <a:gd name="T32" fmla="*/ 36 w 53"/>
                  <a:gd name="T33" fmla="*/ 0 h 110"/>
                  <a:gd name="T34" fmla="*/ 30 w 53"/>
                  <a:gd name="T35" fmla="*/ 3 h 110"/>
                  <a:gd name="T36" fmla="*/ 29 w 53"/>
                  <a:gd name="T37" fmla="*/ 4 h 110"/>
                  <a:gd name="T38" fmla="*/ 29 w 53"/>
                  <a:gd name="T39" fmla="*/ 8 h 110"/>
                  <a:gd name="T40" fmla="*/ 25 w 53"/>
                  <a:gd name="T41" fmla="*/ 14 h 110"/>
                  <a:gd name="T42" fmla="*/ 19 w 53"/>
                  <a:gd name="T43" fmla="*/ 17 h 110"/>
                  <a:gd name="T44" fmla="*/ 13 w 53"/>
                  <a:gd name="T45" fmla="*/ 17 h 110"/>
                  <a:gd name="T46" fmla="*/ 9 w 53"/>
                  <a:gd name="T47" fmla="*/ 18 h 110"/>
                  <a:gd name="T48" fmla="*/ 6 w 53"/>
                  <a:gd name="T49" fmla="*/ 23 h 110"/>
                  <a:gd name="T50" fmla="*/ 5 w 53"/>
                  <a:gd name="T51" fmla="*/ 24 h 110"/>
                  <a:gd name="T52" fmla="*/ 3 w 53"/>
                  <a:gd name="T53" fmla="*/ 24 h 110"/>
                  <a:gd name="T54" fmla="*/ 2 w 53"/>
                  <a:gd name="T55" fmla="*/ 27 h 110"/>
                  <a:gd name="T56" fmla="*/ 0 w 53"/>
                  <a:gd name="T57" fmla="*/ 31 h 110"/>
                  <a:gd name="T58" fmla="*/ 0 w 53"/>
                  <a:gd name="T59" fmla="*/ 36 h 110"/>
                  <a:gd name="T60" fmla="*/ 7 w 53"/>
                  <a:gd name="T61" fmla="*/ 41 h 110"/>
                  <a:gd name="T62" fmla="*/ 9 w 53"/>
                  <a:gd name="T63" fmla="*/ 44 h 110"/>
                  <a:gd name="T64" fmla="*/ 10 w 53"/>
                  <a:gd name="T65" fmla="*/ 51 h 110"/>
                  <a:gd name="T66" fmla="*/ 12 w 53"/>
                  <a:gd name="T67" fmla="*/ 56 h 110"/>
                  <a:gd name="T68" fmla="*/ 15 w 53"/>
                  <a:gd name="T69" fmla="*/ 61 h 110"/>
                  <a:gd name="T70" fmla="*/ 15 w 53"/>
                  <a:gd name="T71" fmla="*/ 95 h 110"/>
                  <a:gd name="T72" fmla="*/ 15 w 53"/>
                  <a:gd name="T73" fmla="*/ 97 h 110"/>
                  <a:gd name="T74" fmla="*/ 15 w 53"/>
                  <a:gd name="T75" fmla="*/ 103 h 110"/>
                  <a:gd name="T76" fmla="*/ 16 w 53"/>
                  <a:gd name="T77" fmla="*/ 106 h 110"/>
                  <a:gd name="T78" fmla="*/ 18 w 53"/>
                  <a:gd name="T79" fmla="*/ 107 h 110"/>
                  <a:gd name="T80" fmla="*/ 16 w 53"/>
                  <a:gd name="T81" fmla="*/ 109 h 110"/>
                  <a:gd name="T82" fmla="*/ 25 w 53"/>
                  <a:gd name="T83" fmla="*/ 109 h 110"/>
                  <a:gd name="T84" fmla="*/ 36 w 53"/>
                  <a:gd name="T85" fmla="*/ 9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110">
                    <a:moveTo>
                      <a:pt x="35" y="87"/>
                    </a:moveTo>
                    <a:lnTo>
                      <a:pt x="35" y="80"/>
                    </a:lnTo>
                    <a:lnTo>
                      <a:pt x="33" y="77"/>
                    </a:lnTo>
                    <a:lnTo>
                      <a:pt x="35" y="64"/>
                    </a:lnTo>
                    <a:lnTo>
                      <a:pt x="35" y="61"/>
                    </a:lnTo>
                    <a:lnTo>
                      <a:pt x="36" y="60"/>
                    </a:lnTo>
                    <a:lnTo>
                      <a:pt x="38" y="60"/>
                    </a:lnTo>
                    <a:lnTo>
                      <a:pt x="39" y="59"/>
                    </a:lnTo>
                    <a:lnTo>
                      <a:pt x="41" y="57"/>
                    </a:lnTo>
                    <a:lnTo>
                      <a:pt x="41" y="57"/>
                    </a:lnTo>
                    <a:lnTo>
                      <a:pt x="42" y="54"/>
                    </a:lnTo>
                    <a:lnTo>
                      <a:pt x="43" y="51"/>
                    </a:lnTo>
                    <a:lnTo>
                      <a:pt x="45" y="47"/>
                    </a:lnTo>
                    <a:lnTo>
                      <a:pt x="45" y="46"/>
                    </a:lnTo>
                    <a:lnTo>
                      <a:pt x="46" y="46"/>
                    </a:lnTo>
                    <a:lnTo>
                      <a:pt x="49" y="44"/>
                    </a:lnTo>
                    <a:lnTo>
                      <a:pt x="49" y="44"/>
                    </a:lnTo>
                    <a:lnTo>
                      <a:pt x="51" y="41"/>
                    </a:lnTo>
                    <a:lnTo>
                      <a:pt x="51" y="40"/>
                    </a:lnTo>
                    <a:lnTo>
                      <a:pt x="49" y="38"/>
                    </a:lnTo>
                    <a:lnTo>
                      <a:pt x="49" y="38"/>
                    </a:lnTo>
                    <a:lnTo>
                      <a:pt x="51" y="36"/>
                    </a:lnTo>
                    <a:lnTo>
                      <a:pt x="52" y="36"/>
                    </a:lnTo>
                    <a:lnTo>
                      <a:pt x="53" y="34"/>
                    </a:lnTo>
                    <a:lnTo>
                      <a:pt x="53" y="31"/>
                    </a:lnTo>
                    <a:lnTo>
                      <a:pt x="53" y="27"/>
                    </a:lnTo>
                    <a:lnTo>
                      <a:pt x="51" y="21"/>
                    </a:lnTo>
                    <a:lnTo>
                      <a:pt x="49" y="17"/>
                    </a:lnTo>
                    <a:lnTo>
                      <a:pt x="49" y="13"/>
                    </a:lnTo>
                    <a:lnTo>
                      <a:pt x="49" y="11"/>
                    </a:lnTo>
                    <a:lnTo>
                      <a:pt x="43" y="7"/>
                    </a:lnTo>
                    <a:lnTo>
                      <a:pt x="41" y="3"/>
                    </a:lnTo>
                    <a:lnTo>
                      <a:pt x="38" y="1"/>
                    </a:lnTo>
                    <a:lnTo>
                      <a:pt x="36" y="0"/>
                    </a:lnTo>
                    <a:lnTo>
                      <a:pt x="35" y="0"/>
                    </a:lnTo>
                    <a:lnTo>
                      <a:pt x="30" y="3"/>
                    </a:lnTo>
                    <a:lnTo>
                      <a:pt x="29" y="4"/>
                    </a:lnTo>
                    <a:lnTo>
                      <a:pt x="29" y="4"/>
                    </a:lnTo>
                    <a:lnTo>
                      <a:pt x="29" y="7"/>
                    </a:lnTo>
                    <a:lnTo>
                      <a:pt x="29" y="8"/>
                    </a:lnTo>
                    <a:lnTo>
                      <a:pt x="26" y="13"/>
                    </a:lnTo>
                    <a:lnTo>
                      <a:pt x="25" y="14"/>
                    </a:lnTo>
                    <a:lnTo>
                      <a:pt x="22" y="15"/>
                    </a:lnTo>
                    <a:lnTo>
                      <a:pt x="19" y="17"/>
                    </a:lnTo>
                    <a:lnTo>
                      <a:pt x="16" y="17"/>
                    </a:lnTo>
                    <a:lnTo>
                      <a:pt x="13" y="17"/>
                    </a:lnTo>
                    <a:lnTo>
                      <a:pt x="10" y="18"/>
                    </a:lnTo>
                    <a:lnTo>
                      <a:pt x="9" y="18"/>
                    </a:lnTo>
                    <a:lnTo>
                      <a:pt x="6" y="23"/>
                    </a:lnTo>
                    <a:lnTo>
                      <a:pt x="6" y="23"/>
                    </a:lnTo>
                    <a:lnTo>
                      <a:pt x="6" y="23"/>
                    </a:lnTo>
                    <a:lnTo>
                      <a:pt x="5" y="24"/>
                    </a:lnTo>
                    <a:lnTo>
                      <a:pt x="5" y="24"/>
                    </a:lnTo>
                    <a:lnTo>
                      <a:pt x="3" y="24"/>
                    </a:lnTo>
                    <a:lnTo>
                      <a:pt x="2" y="26"/>
                    </a:lnTo>
                    <a:lnTo>
                      <a:pt x="2" y="27"/>
                    </a:lnTo>
                    <a:lnTo>
                      <a:pt x="0" y="30"/>
                    </a:lnTo>
                    <a:lnTo>
                      <a:pt x="0" y="31"/>
                    </a:lnTo>
                    <a:lnTo>
                      <a:pt x="0" y="34"/>
                    </a:lnTo>
                    <a:lnTo>
                      <a:pt x="0" y="36"/>
                    </a:lnTo>
                    <a:lnTo>
                      <a:pt x="2" y="37"/>
                    </a:lnTo>
                    <a:lnTo>
                      <a:pt x="7" y="41"/>
                    </a:lnTo>
                    <a:lnTo>
                      <a:pt x="9" y="41"/>
                    </a:lnTo>
                    <a:lnTo>
                      <a:pt x="9" y="44"/>
                    </a:lnTo>
                    <a:lnTo>
                      <a:pt x="10" y="46"/>
                    </a:lnTo>
                    <a:lnTo>
                      <a:pt x="10" y="51"/>
                    </a:lnTo>
                    <a:lnTo>
                      <a:pt x="10" y="53"/>
                    </a:lnTo>
                    <a:lnTo>
                      <a:pt x="12" y="56"/>
                    </a:lnTo>
                    <a:lnTo>
                      <a:pt x="13" y="60"/>
                    </a:lnTo>
                    <a:lnTo>
                      <a:pt x="15" y="61"/>
                    </a:lnTo>
                    <a:lnTo>
                      <a:pt x="16" y="93"/>
                    </a:lnTo>
                    <a:lnTo>
                      <a:pt x="15" y="95"/>
                    </a:lnTo>
                    <a:lnTo>
                      <a:pt x="13" y="96"/>
                    </a:lnTo>
                    <a:lnTo>
                      <a:pt x="15" y="97"/>
                    </a:lnTo>
                    <a:lnTo>
                      <a:pt x="15" y="102"/>
                    </a:lnTo>
                    <a:lnTo>
                      <a:pt x="15" y="103"/>
                    </a:lnTo>
                    <a:lnTo>
                      <a:pt x="16" y="105"/>
                    </a:lnTo>
                    <a:lnTo>
                      <a:pt x="16" y="106"/>
                    </a:lnTo>
                    <a:lnTo>
                      <a:pt x="18" y="106"/>
                    </a:lnTo>
                    <a:lnTo>
                      <a:pt x="18" y="107"/>
                    </a:lnTo>
                    <a:lnTo>
                      <a:pt x="18" y="109"/>
                    </a:lnTo>
                    <a:lnTo>
                      <a:pt x="16" y="109"/>
                    </a:lnTo>
                    <a:lnTo>
                      <a:pt x="15" y="110"/>
                    </a:lnTo>
                    <a:lnTo>
                      <a:pt x="25" y="109"/>
                    </a:lnTo>
                    <a:lnTo>
                      <a:pt x="35" y="107"/>
                    </a:lnTo>
                    <a:lnTo>
                      <a:pt x="36" y="93"/>
                    </a:lnTo>
                    <a:lnTo>
                      <a:pt x="35" y="8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08" name="Freeform 195">
                <a:extLst>
                  <a:ext uri="{FF2B5EF4-FFF2-40B4-BE49-F238E27FC236}">
                    <a16:creationId xmlns:a16="http://schemas.microsoft.com/office/drawing/2014/main" id="{279559C2-B8A7-F60F-2A58-68D5BB84FADD}"/>
                  </a:ext>
                </a:extLst>
              </p:cNvPr>
              <p:cNvSpPr>
                <a:spLocks/>
              </p:cNvSpPr>
              <p:nvPr/>
            </p:nvSpPr>
            <p:spPr bwMode="auto">
              <a:xfrm>
                <a:off x="3491" y="2521"/>
                <a:ext cx="77" cy="113"/>
              </a:xfrm>
              <a:custGeom>
                <a:avLst/>
                <a:gdLst>
                  <a:gd name="T0" fmla="*/ 69 w 77"/>
                  <a:gd name="T1" fmla="*/ 82 h 113"/>
                  <a:gd name="T2" fmla="*/ 66 w 77"/>
                  <a:gd name="T3" fmla="*/ 76 h 113"/>
                  <a:gd name="T4" fmla="*/ 67 w 77"/>
                  <a:gd name="T5" fmla="*/ 69 h 113"/>
                  <a:gd name="T6" fmla="*/ 66 w 77"/>
                  <a:gd name="T7" fmla="*/ 67 h 113"/>
                  <a:gd name="T8" fmla="*/ 66 w 77"/>
                  <a:gd name="T9" fmla="*/ 66 h 113"/>
                  <a:gd name="T10" fmla="*/ 66 w 77"/>
                  <a:gd name="T11" fmla="*/ 63 h 113"/>
                  <a:gd name="T12" fmla="*/ 67 w 77"/>
                  <a:gd name="T13" fmla="*/ 57 h 113"/>
                  <a:gd name="T14" fmla="*/ 67 w 77"/>
                  <a:gd name="T15" fmla="*/ 51 h 113"/>
                  <a:gd name="T16" fmla="*/ 69 w 77"/>
                  <a:gd name="T17" fmla="*/ 50 h 113"/>
                  <a:gd name="T18" fmla="*/ 63 w 77"/>
                  <a:gd name="T19" fmla="*/ 41 h 113"/>
                  <a:gd name="T20" fmla="*/ 65 w 77"/>
                  <a:gd name="T21" fmla="*/ 38 h 113"/>
                  <a:gd name="T22" fmla="*/ 66 w 77"/>
                  <a:gd name="T23" fmla="*/ 31 h 113"/>
                  <a:gd name="T24" fmla="*/ 65 w 77"/>
                  <a:gd name="T25" fmla="*/ 30 h 113"/>
                  <a:gd name="T26" fmla="*/ 62 w 77"/>
                  <a:gd name="T27" fmla="*/ 30 h 113"/>
                  <a:gd name="T28" fmla="*/ 62 w 77"/>
                  <a:gd name="T29" fmla="*/ 27 h 113"/>
                  <a:gd name="T30" fmla="*/ 62 w 77"/>
                  <a:gd name="T31" fmla="*/ 24 h 113"/>
                  <a:gd name="T32" fmla="*/ 63 w 77"/>
                  <a:gd name="T33" fmla="*/ 17 h 113"/>
                  <a:gd name="T34" fmla="*/ 60 w 77"/>
                  <a:gd name="T35" fmla="*/ 13 h 113"/>
                  <a:gd name="T36" fmla="*/ 56 w 77"/>
                  <a:gd name="T37" fmla="*/ 5 h 113"/>
                  <a:gd name="T38" fmla="*/ 56 w 77"/>
                  <a:gd name="T39" fmla="*/ 0 h 113"/>
                  <a:gd name="T40" fmla="*/ 50 w 77"/>
                  <a:gd name="T41" fmla="*/ 0 h 113"/>
                  <a:gd name="T42" fmla="*/ 44 w 77"/>
                  <a:gd name="T43" fmla="*/ 3 h 113"/>
                  <a:gd name="T44" fmla="*/ 19 w 77"/>
                  <a:gd name="T45" fmla="*/ 3 h 113"/>
                  <a:gd name="T46" fmla="*/ 6 w 77"/>
                  <a:gd name="T47" fmla="*/ 4 h 113"/>
                  <a:gd name="T48" fmla="*/ 7 w 77"/>
                  <a:gd name="T49" fmla="*/ 15 h 113"/>
                  <a:gd name="T50" fmla="*/ 9 w 77"/>
                  <a:gd name="T51" fmla="*/ 34 h 113"/>
                  <a:gd name="T52" fmla="*/ 10 w 77"/>
                  <a:gd name="T53" fmla="*/ 41 h 113"/>
                  <a:gd name="T54" fmla="*/ 13 w 77"/>
                  <a:gd name="T55" fmla="*/ 50 h 113"/>
                  <a:gd name="T56" fmla="*/ 11 w 77"/>
                  <a:gd name="T57" fmla="*/ 51 h 113"/>
                  <a:gd name="T58" fmla="*/ 7 w 77"/>
                  <a:gd name="T59" fmla="*/ 57 h 113"/>
                  <a:gd name="T60" fmla="*/ 4 w 77"/>
                  <a:gd name="T61" fmla="*/ 67 h 113"/>
                  <a:gd name="T62" fmla="*/ 0 w 77"/>
                  <a:gd name="T63" fmla="*/ 76 h 113"/>
                  <a:gd name="T64" fmla="*/ 1 w 77"/>
                  <a:gd name="T65" fmla="*/ 90 h 113"/>
                  <a:gd name="T66" fmla="*/ 7 w 77"/>
                  <a:gd name="T67" fmla="*/ 97 h 113"/>
                  <a:gd name="T68" fmla="*/ 7 w 77"/>
                  <a:gd name="T69" fmla="*/ 103 h 113"/>
                  <a:gd name="T70" fmla="*/ 3 w 77"/>
                  <a:gd name="T71" fmla="*/ 106 h 113"/>
                  <a:gd name="T72" fmla="*/ 11 w 77"/>
                  <a:gd name="T73" fmla="*/ 109 h 113"/>
                  <a:gd name="T74" fmla="*/ 20 w 77"/>
                  <a:gd name="T75" fmla="*/ 113 h 113"/>
                  <a:gd name="T76" fmla="*/ 32 w 77"/>
                  <a:gd name="T77" fmla="*/ 107 h 113"/>
                  <a:gd name="T78" fmla="*/ 55 w 77"/>
                  <a:gd name="T79" fmla="*/ 97 h 113"/>
                  <a:gd name="T80" fmla="*/ 67 w 77"/>
                  <a:gd name="T81" fmla="*/ 96 h 113"/>
                  <a:gd name="T82" fmla="*/ 75 w 77"/>
                  <a:gd name="T83" fmla="*/ 90 h 113"/>
                  <a:gd name="T84" fmla="*/ 72 w 77"/>
                  <a:gd name="T85"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7" h="113">
                    <a:moveTo>
                      <a:pt x="72" y="84"/>
                    </a:moveTo>
                    <a:lnTo>
                      <a:pt x="70" y="83"/>
                    </a:lnTo>
                    <a:lnTo>
                      <a:pt x="69" y="82"/>
                    </a:lnTo>
                    <a:lnTo>
                      <a:pt x="67" y="80"/>
                    </a:lnTo>
                    <a:lnTo>
                      <a:pt x="67" y="77"/>
                    </a:lnTo>
                    <a:lnTo>
                      <a:pt x="66" y="76"/>
                    </a:lnTo>
                    <a:lnTo>
                      <a:pt x="66" y="76"/>
                    </a:lnTo>
                    <a:lnTo>
                      <a:pt x="67" y="70"/>
                    </a:lnTo>
                    <a:lnTo>
                      <a:pt x="67" y="69"/>
                    </a:lnTo>
                    <a:lnTo>
                      <a:pt x="67" y="69"/>
                    </a:lnTo>
                    <a:lnTo>
                      <a:pt x="67" y="67"/>
                    </a:lnTo>
                    <a:lnTo>
                      <a:pt x="66" y="67"/>
                    </a:lnTo>
                    <a:lnTo>
                      <a:pt x="66" y="66"/>
                    </a:lnTo>
                    <a:lnTo>
                      <a:pt x="66" y="66"/>
                    </a:lnTo>
                    <a:lnTo>
                      <a:pt x="66" y="66"/>
                    </a:lnTo>
                    <a:lnTo>
                      <a:pt x="66" y="64"/>
                    </a:lnTo>
                    <a:lnTo>
                      <a:pt x="66" y="64"/>
                    </a:lnTo>
                    <a:lnTo>
                      <a:pt x="66" y="63"/>
                    </a:lnTo>
                    <a:lnTo>
                      <a:pt x="66" y="60"/>
                    </a:lnTo>
                    <a:lnTo>
                      <a:pt x="67" y="59"/>
                    </a:lnTo>
                    <a:lnTo>
                      <a:pt x="67" y="57"/>
                    </a:lnTo>
                    <a:lnTo>
                      <a:pt x="67" y="54"/>
                    </a:lnTo>
                    <a:lnTo>
                      <a:pt x="67" y="51"/>
                    </a:lnTo>
                    <a:lnTo>
                      <a:pt x="67" y="51"/>
                    </a:lnTo>
                    <a:lnTo>
                      <a:pt x="67" y="51"/>
                    </a:lnTo>
                    <a:lnTo>
                      <a:pt x="69" y="50"/>
                    </a:lnTo>
                    <a:lnTo>
                      <a:pt x="69" y="50"/>
                    </a:lnTo>
                    <a:lnTo>
                      <a:pt x="67" y="47"/>
                    </a:lnTo>
                    <a:lnTo>
                      <a:pt x="65" y="44"/>
                    </a:lnTo>
                    <a:lnTo>
                      <a:pt x="63" y="41"/>
                    </a:lnTo>
                    <a:lnTo>
                      <a:pt x="63" y="41"/>
                    </a:lnTo>
                    <a:lnTo>
                      <a:pt x="65" y="40"/>
                    </a:lnTo>
                    <a:lnTo>
                      <a:pt x="65" y="38"/>
                    </a:lnTo>
                    <a:lnTo>
                      <a:pt x="65" y="38"/>
                    </a:lnTo>
                    <a:lnTo>
                      <a:pt x="65" y="34"/>
                    </a:lnTo>
                    <a:lnTo>
                      <a:pt x="66" y="31"/>
                    </a:lnTo>
                    <a:lnTo>
                      <a:pt x="66" y="30"/>
                    </a:lnTo>
                    <a:lnTo>
                      <a:pt x="65" y="30"/>
                    </a:lnTo>
                    <a:lnTo>
                      <a:pt x="65" y="30"/>
                    </a:lnTo>
                    <a:lnTo>
                      <a:pt x="63" y="30"/>
                    </a:lnTo>
                    <a:lnTo>
                      <a:pt x="62" y="30"/>
                    </a:lnTo>
                    <a:lnTo>
                      <a:pt x="62" y="30"/>
                    </a:lnTo>
                    <a:lnTo>
                      <a:pt x="62" y="28"/>
                    </a:lnTo>
                    <a:lnTo>
                      <a:pt x="60" y="28"/>
                    </a:lnTo>
                    <a:lnTo>
                      <a:pt x="62" y="27"/>
                    </a:lnTo>
                    <a:lnTo>
                      <a:pt x="63" y="27"/>
                    </a:lnTo>
                    <a:lnTo>
                      <a:pt x="62" y="26"/>
                    </a:lnTo>
                    <a:lnTo>
                      <a:pt x="62" y="24"/>
                    </a:lnTo>
                    <a:lnTo>
                      <a:pt x="62" y="23"/>
                    </a:lnTo>
                    <a:lnTo>
                      <a:pt x="63" y="21"/>
                    </a:lnTo>
                    <a:lnTo>
                      <a:pt x="63" y="17"/>
                    </a:lnTo>
                    <a:lnTo>
                      <a:pt x="63" y="15"/>
                    </a:lnTo>
                    <a:lnTo>
                      <a:pt x="62" y="14"/>
                    </a:lnTo>
                    <a:lnTo>
                      <a:pt x="60" y="13"/>
                    </a:lnTo>
                    <a:lnTo>
                      <a:pt x="56" y="10"/>
                    </a:lnTo>
                    <a:lnTo>
                      <a:pt x="55" y="7"/>
                    </a:lnTo>
                    <a:lnTo>
                      <a:pt x="56" y="5"/>
                    </a:lnTo>
                    <a:lnTo>
                      <a:pt x="56" y="4"/>
                    </a:lnTo>
                    <a:lnTo>
                      <a:pt x="56" y="1"/>
                    </a:lnTo>
                    <a:lnTo>
                      <a:pt x="56" y="0"/>
                    </a:lnTo>
                    <a:lnTo>
                      <a:pt x="53" y="0"/>
                    </a:lnTo>
                    <a:lnTo>
                      <a:pt x="52" y="0"/>
                    </a:lnTo>
                    <a:lnTo>
                      <a:pt x="50" y="0"/>
                    </a:lnTo>
                    <a:lnTo>
                      <a:pt x="47" y="3"/>
                    </a:lnTo>
                    <a:lnTo>
                      <a:pt x="46" y="3"/>
                    </a:lnTo>
                    <a:lnTo>
                      <a:pt x="44" y="3"/>
                    </a:lnTo>
                    <a:lnTo>
                      <a:pt x="43" y="3"/>
                    </a:lnTo>
                    <a:lnTo>
                      <a:pt x="36" y="1"/>
                    </a:lnTo>
                    <a:lnTo>
                      <a:pt x="19" y="3"/>
                    </a:lnTo>
                    <a:lnTo>
                      <a:pt x="9" y="1"/>
                    </a:lnTo>
                    <a:lnTo>
                      <a:pt x="7" y="3"/>
                    </a:lnTo>
                    <a:lnTo>
                      <a:pt x="6" y="4"/>
                    </a:lnTo>
                    <a:lnTo>
                      <a:pt x="6" y="7"/>
                    </a:lnTo>
                    <a:lnTo>
                      <a:pt x="7" y="11"/>
                    </a:lnTo>
                    <a:lnTo>
                      <a:pt x="7" y="15"/>
                    </a:lnTo>
                    <a:lnTo>
                      <a:pt x="9" y="24"/>
                    </a:lnTo>
                    <a:lnTo>
                      <a:pt x="9" y="28"/>
                    </a:lnTo>
                    <a:lnTo>
                      <a:pt x="9" y="34"/>
                    </a:lnTo>
                    <a:lnTo>
                      <a:pt x="9" y="36"/>
                    </a:lnTo>
                    <a:lnTo>
                      <a:pt x="9" y="38"/>
                    </a:lnTo>
                    <a:lnTo>
                      <a:pt x="10" y="41"/>
                    </a:lnTo>
                    <a:lnTo>
                      <a:pt x="11" y="44"/>
                    </a:lnTo>
                    <a:lnTo>
                      <a:pt x="13" y="49"/>
                    </a:lnTo>
                    <a:lnTo>
                      <a:pt x="13" y="50"/>
                    </a:lnTo>
                    <a:lnTo>
                      <a:pt x="11" y="51"/>
                    </a:lnTo>
                    <a:lnTo>
                      <a:pt x="11" y="51"/>
                    </a:lnTo>
                    <a:lnTo>
                      <a:pt x="11" y="51"/>
                    </a:lnTo>
                    <a:lnTo>
                      <a:pt x="11" y="53"/>
                    </a:lnTo>
                    <a:lnTo>
                      <a:pt x="10" y="54"/>
                    </a:lnTo>
                    <a:lnTo>
                      <a:pt x="7" y="57"/>
                    </a:lnTo>
                    <a:lnTo>
                      <a:pt x="6" y="60"/>
                    </a:lnTo>
                    <a:lnTo>
                      <a:pt x="6" y="61"/>
                    </a:lnTo>
                    <a:lnTo>
                      <a:pt x="4" y="67"/>
                    </a:lnTo>
                    <a:lnTo>
                      <a:pt x="3" y="70"/>
                    </a:lnTo>
                    <a:lnTo>
                      <a:pt x="1" y="73"/>
                    </a:lnTo>
                    <a:lnTo>
                      <a:pt x="0" y="76"/>
                    </a:lnTo>
                    <a:lnTo>
                      <a:pt x="0" y="80"/>
                    </a:lnTo>
                    <a:lnTo>
                      <a:pt x="0" y="86"/>
                    </a:lnTo>
                    <a:lnTo>
                      <a:pt x="1" y="90"/>
                    </a:lnTo>
                    <a:lnTo>
                      <a:pt x="4" y="95"/>
                    </a:lnTo>
                    <a:lnTo>
                      <a:pt x="6" y="97"/>
                    </a:lnTo>
                    <a:lnTo>
                      <a:pt x="7" y="97"/>
                    </a:lnTo>
                    <a:lnTo>
                      <a:pt x="7" y="99"/>
                    </a:lnTo>
                    <a:lnTo>
                      <a:pt x="9" y="102"/>
                    </a:lnTo>
                    <a:lnTo>
                      <a:pt x="7" y="103"/>
                    </a:lnTo>
                    <a:lnTo>
                      <a:pt x="7" y="105"/>
                    </a:lnTo>
                    <a:lnTo>
                      <a:pt x="6" y="106"/>
                    </a:lnTo>
                    <a:lnTo>
                      <a:pt x="3" y="106"/>
                    </a:lnTo>
                    <a:lnTo>
                      <a:pt x="3" y="106"/>
                    </a:lnTo>
                    <a:lnTo>
                      <a:pt x="1" y="107"/>
                    </a:lnTo>
                    <a:lnTo>
                      <a:pt x="11" y="109"/>
                    </a:lnTo>
                    <a:lnTo>
                      <a:pt x="14" y="110"/>
                    </a:lnTo>
                    <a:lnTo>
                      <a:pt x="19" y="112"/>
                    </a:lnTo>
                    <a:lnTo>
                      <a:pt x="20" y="113"/>
                    </a:lnTo>
                    <a:lnTo>
                      <a:pt x="23" y="112"/>
                    </a:lnTo>
                    <a:lnTo>
                      <a:pt x="30" y="107"/>
                    </a:lnTo>
                    <a:lnTo>
                      <a:pt x="32" y="107"/>
                    </a:lnTo>
                    <a:lnTo>
                      <a:pt x="40" y="105"/>
                    </a:lnTo>
                    <a:lnTo>
                      <a:pt x="46" y="103"/>
                    </a:lnTo>
                    <a:lnTo>
                      <a:pt x="55" y="97"/>
                    </a:lnTo>
                    <a:lnTo>
                      <a:pt x="60" y="96"/>
                    </a:lnTo>
                    <a:lnTo>
                      <a:pt x="63" y="95"/>
                    </a:lnTo>
                    <a:lnTo>
                      <a:pt x="67" y="96"/>
                    </a:lnTo>
                    <a:lnTo>
                      <a:pt x="70" y="95"/>
                    </a:lnTo>
                    <a:lnTo>
                      <a:pt x="72" y="95"/>
                    </a:lnTo>
                    <a:lnTo>
                      <a:pt x="75" y="90"/>
                    </a:lnTo>
                    <a:lnTo>
                      <a:pt x="77" y="89"/>
                    </a:lnTo>
                    <a:lnTo>
                      <a:pt x="76" y="87"/>
                    </a:lnTo>
                    <a:lnTo>
                      <a:pt x="72" y="8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09" name="Freeform 196">
                <a:extLst>
                  <a:ext uri="{FF2B5EF4-FFF2-40B4-BE49-F238E27FC236}">
                    <a16:creationId xmlns:a16="http://schemas.microsoft.com/office/drawing/2014/main" id="{4F1F302F-B992-FCD9-25E0-255C0CC44930}"/>
                  </a:ext>
                </a:extLst>
              </p:cNvPr>
              <p:cNvSpPr>
                <a:spLocks/>
              </p:cNvSpPr>
              <p:nvPr/>
            </p:nvSpPr>
            <p:spPr bwMode="auto">
              <a:xfrm>
                <a:off x="3546" y="2521"/>
                <a:ext cx="33" cy="89"/>
              </a:xfrm>
              <a:custGeom>
                <a:avLst/>
                <a:gdLst>
                  <a:gd name="T0" fmla="*/ 33 w 33"/>
                  <a:gd name="T1" fmla="*/ 84 h 89"/>
                  <a:gd name="T2" fmla="*/ 31 w 33"/>
                  <a:gd name="T3" fmla="*/ 83 h 89"/>
                  <a:gd name="T4" fmla="*/ 30 w 33"/>
                  <a:gd name="T5" fmla="*/ 80 h 89"/>
                  <a:gd name="T6" fmla="*/ 30 w 33"/>
                  <a:gd name="T7" fmla="*/ 74 h 89"/>
                  <a:gd name="T8" fmla="*/ 30 w 33"/>
                  <a:gd name="T9" fmla="*/ 72 h 89"/>
                  <a:gd name="T10" fmla="*/ 30 w 33"/>
                  <a:gd name="T11" fmla="*/ 38 h 89"/>
                  <a:gd name="T12" fmla="*/ 27 w 33"/>
                  <a:gd name="T13" fmla="*/ 33 h 89"/>
                  <a:gd name="T14" fmla="*/ 25 w 33"/>
                  <a:gd name="T15" fmla="*/ 28 h 89"/>
                  <a:gd name="T16" fmla="*/ 24 w 33"/>
                  <a:gd name="T17" fmla="*/ 21 h 89"/>
                  <a:gd name="T18" fmla="*/ 22 w 33"/>
                  <a:gd name="T19" fmla="*/ 18 h 89"/>
                  <a:gd name="T20" fmla="*/ 15 w 33"/>
                  <a:gd name="T21" fmla="*/ 13 h 89"/>
                  <a:gd name="T22" fmla="*/ 15 w 33"/>
                  <a:gd name="T23" fmla="*/ 8 h 89"/>
                  <a:gd name="T24" fmla="*/ 17 w 33"/>
                  <a:gd name="T25" fmla="*/ 4 h 89"/>
                  <a:gd name="T26" fmla="*/ 11 w 33"/>
                  <a:gd name="T27" fmla="*/ 3 h 89"/>
                  <a:gd name="T28" fmla="*/ 1 w 33"/>
                  <a:gd name="T29" fmla="*/ 0 h 89"/>
                  <a:gd name="T30" fmla="*/ 1 w 33"/>
                  <a:gd name="T31" fmla="*/ 4 h 89"/>
                  <a:gd name="T32" fmla="*/ 0 w 33"/>
                  <a:gd name="T33" fmla="*/ 7 h 89"/>
                  <a:gd name="T34" fmla="*/ 5 w 33"/>
                  <a:gd name="T35" fmla="*/ 13 h 89"/>
                  <a:gd name="T36" fmla="*/ 8 w 33"/>
                  <a:gd name="T37" fmla="*/ 15 h 89"/>
                  <a:gd name="T38" fmla="*/ 8 w 33"/>
                  <a:gd name="T39" fmla="*/ 21 h 89"/>
                  <a:gd name="T40" fmla="*/ 7 w 33"/>
                  <a:gd name="T41" fmla="*/ 24 h 89"/>
                  <a:gd name="T42" fmla="*/ 8 w 33"/>
                  <a:gd name="T43" fmla="*/ 27 h 89"/>
                  <a:gd name="T44" fmla="*/ 5 w 33"/>
                  <a:gd name="T45" fmla="*/ 28 h 89"/>
                  <a:gd name="T46" fmla="*/ 7 w 33"/>
                  <a:gd name="T47" fmla="*/ 30 h 89"/>
                  <a:gd name="T48" fmla="*/ 8 w 33"/>
                  <a:gd name="T49" fmla="*/ 30 h 89"/>
                  <a:gd name="T50" fmla="*/ 10 w 33"/>
                  <a:gd name="T51" fmla="*/ 30 h 89"/>
                  <a:gd name="T52" fmla="*/ 11 w 33"/>
                  <a:gd name="T53" fmla="*/ 31 h 89"/>
                  <a:gd name="T54" fmla="*/ 10 w 33"/>
                  <a:gd name="T55" fmla="*/ 38 h 89"/>
                  <a:gd name="T56" fmla="*/ 10 w 33"/>
                  <a:gd name="T57" fmla="*/ 40 h 89"/>
                  <a:gd name="T58" fmla="*/ 8 w 33"/>
                  <a:gd name="T59" fmla="*/ 41 h 89"/>
                  <a:gd name="T60" fmla="*/ 12 w 33"/>
                  <a:gd name="T61" fmla="*/ 47 h 89"/>
                  <a:gd name="T62" fmla="*/ 14 w 33"/>
                  <a:gd name="T63" fmla="*/ 50 h 89"/>
                  <a:gd name="T64" fmla="*/ 12 w 33"/>
                  <a:gd name="T65" fmla="*/ 51 h 89"/>
                  <a:gd name="T66" fmla="*/ 12 w 33"/>
                  <a:gd name="T67" fmla="*/ 54 h 89"/>
                  <a:gd name="T68" fmla="*/ 12 w 33"/>
                  <a:gd name="T69" fmla="*/ 59 h 89"/>
                  <a:gd name="T70" fmla="*/ 11 w 33"/>
                  <a:gd name="T71" fmla="*/ 63 h 89"/>
                  <a:gd name="T72" fmla="*/ 11 w 33"/>
                  <a:gd name="T73" fmla="*/ 64 h 89"/>
                  <a:gd name="T74" fmla="*/ 11 w 33"/>
                  <a:gd name="T75" fmla="*/ 66 h 89"/>
                  <a:gd name="T76" fmla="*/ 11 w 33"/>
                  <a:gd name="T77" fmla="*/ 67 h 89"/>
                  <a:gd name="T78" fmla="*/ 12 w 33"/>
                  <a:gd name="T79" fmla="*/ 69 h 89"/>
                  <a:gd name="T80" fmla="*/ 12 w 33"/>
                  <a:gd name="T81" fmla="*/ 70 h 89"/>
                  <a:gd name="T82" fmla="*/ 11 w 33"/>
                  <a:gd name="T83" fmla="*/ 76 h 89"/>
                  <a:gd name="T84" fmla="*/ 12 w 33"/>
                  <a:gd name="T85" fmla="*/ 80 h 89"/>
                  <a:gd name="T86" fmla="*/ 15 w 33"/>
                  <a:gd name="T87" fmla="*/ 83 h 89"/>
                  <a:gd name="T88" fmla="*/ 21 w 33"/>
                  <a:gd name="T89" fmla="*/ 87 h 89"/>
                  <a:gd name="T90" fmla="*/ 24 w 33"/>
                  <a:gd name="T91" fmla="*/ 89 h 89"/>
                  <a:gd name="T92" fmla="*/ 30 w 33"/>
                  <a:gd name="T93" fmla="*/ 87 h 89"/>
                  <a:gd name="T94" fmla="*/ 33 w 33"/>
                  <a:gd name="T95" fmla="*/ 8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 h="89">
                    <a:moveTo>
                      <a:pt x="33" y="86"/>
                    </a:moveTo>
                    <a:lnTo>
                      <a:pt x="33" y="84"/>
                    </a:lnTo>
                    <a:lnTo>
                      <a:pt x="33" y="83"/>
                    </a:lnTo>
                    <a:lnTo>
                      <a:pt x="31" y="83"/>
                    </a:lnTo>
                    <a:lnTo>
                      <a:pt x="31" y="82"/>
                    </a:lnTo>
                    <a:lnTo>
                      <a:pt x="30" y="80"/>
                    </a:lnTo>
                    <a:lnTo>
                      <a:pt x="30" y="79"/>
                    </a:lnTo>
                    <a:lnTo>
                      <a:pt x="30" y="74"/>
                    </a:lnTo>
                    <a:lnTo>
                      <a:pt x="28" y="73"/>
                    </a:lnTo>
                    <a:lnTo>
                      <a:pt x="30" y="72"/>
                    </a:lnTo>
                    <a:lnTo>
                      <a:pt x="31" y="70"/>
                    </a:lnTo>
                    <a:lnTo>
                      <a:pt x="30" y="38"/>
                    </a:lnTo>
                    <a:lnTo>
                      <a:pt x="28" y="37"/>
                    </a:lnTo>
                    <a:lnTo>
                      <a:pt x="27" y="33"/>
                    </a:lnTo>
                    <a:lnTo>
                      <a:pt x="25" y="30"/>
                    </a:lnTo>
                    <a:lnTo>
                      <a:pt x="25" y="28"/>
                    </a:lnTo>
                    <a:lnTo>
                      <a:pt x="25" y="23"/>
                    </a:lnTo>
                    <a:lnTo>
                      <a:pt x="24" y="21"/>
                    </a:lnTo>
                    <a:lnTo>
                      <a:pt x="24" y="18"/>
                    </a:lnTo>
                    <a:lnTo>
                      <a:pt x="22" y="18"/>
                    </a:lnTo>
                    <a:lnTo>
                      <a:pt x="17" y="14"/>
                    </a:lnTo>
                    <a:lnTo>
                      <a:pt x="15" y="13"/>
                    </a:lnTo>
                    <a:lnTo>
                      <a:pt x="15" y="11"/>
                    </a:lnTo>
                    <a:lnTo>
                      <a:pt x="15" y="8"/>
                    </a:lnTo>
                    <a:lnTo>
                      <a:pt x="15" y="7"/>
                    </a:lnTo>
                    <a:lnTo>
                      <a:pt x="17" y="4"/>
                    </a:lnTo>
                    <a:lnTo>
                      <a:pt x="17" y="3"/>
                    </a:lnTo>
                    <a:lnTo>
                      <a:pt x="11" y="3"/>
                    </a:lnTo>
                    <a:lnTo>
                      <a:pt x="10" y="3"/>
                    </a:lnTo>
                    <a:lnTo>
                      <a:pt x="1" y="0"/>
                    </a:lnTo>
                    <a:lnTo>
                      <a:pt x="1" y="1"/>
                    </a:lnTo>
                    <a:lnTo>
                      <a:pt x="1" y="4"/>
                    </a:lnTo>
                    <a:lnTo>
                      <a:pt x="1" y="5"/>
                    </a:lnTo>
                    <a:lnTo>
                      <a:pt x="0" y="7"/>
                    </a:lnTo>
                    <a:lnTo>
                      <a:pt x="1" y="10"/>
                    </a:lnTo>
                    <a:lnTo>
                      <a:pt x="5" y="13"/>
                    </a:lnTo>
                    <a:lnTo>
                      <a:pt x="7" y="14"/>
                    </a:lnTo>
                    <a:lnTo>
                      <a:pt x="8" y="15"/>
                    </a:lnTo>
                    <a:lnTo>
                      <a:pt x="8" y="17"/>
                    </a:lnTo>
                    <a:lnTo>
                      <a:pt x="8" y="21"/>
                    </a:lnTo>
                    <a:lnTo>
                      <a:pt x="7" y="23"/>
                    </a:lnTo>
                    <a:lnTo>
                      <a:pt x="7" y="24"/>
                    </a:lnTo>
                    <a:lnTo>
                      <a:pt x="7" y="26"/>
                    </a:lnTo>
                    <a:lnTo>
                      <a:pt x="8" y="27"/>
                    </a:lnTo>
                    <a:lnTo>
                      <a:pt x="7" y="27"/>
                    </a:lnTo>
                    <a:lnTo>
                      <a:pt x="5" y="28"/>
                    </a:lnTo>
                    <a:lnTo>
                      <a:pt x="7" y="28"/>
                    </a:lnTo>
                    <a:lnTo>
                      <a:pt x="7" y="30"/>
                    </a:lnTo>
                    <a:lnTo>
                      <a:pt x="7" y="30"/>
                    </a:lnTo>
                    <a:lnTo>
                      <a:pt x="8" y="30"/>
                    </a:lnTo>
                    <a:lnTo>
                      <a:pt x="10" y="30"/>
                    </a:lnTo>
                    <a:lnTo>
                      <a:pt x="10" y="30"/>
                    </a:lnTo>
                    <a:lnTo>
                      <a:pt x="11" y="30"/>
                    </a:lnTo>
                    <a:lnTo>
                      <a:pt x="11" y="31"/>
                    </a:lnTo>
                    <a:lnTo>
                      <a:pt x="10" y="34"/>
                    </a:lnTo>
                    <a:lnTo>
                      <a:pt x="10" y="38"/>
                    </a:lnTo>
                    <a:lnTo>
                      <a:pt x="10" y="38"/>
                    </a:lnTo>
                    <a:lnTo>
                      <a:pt x="10" y="40"/>
                    </a:lnTo>
                    <a:lnTo>
                      <a:pt x="8" y="41"/>
                    </a:lnTo>
                    <a:lnTo>
                      <a:pt x="8" y="41"/>
                    </a:lnTo>
                    <a:lnTo>
                      <a:pt x="10" y="44"/>
                    </a:lnTo>
                    <a:lnTo>
                      <a:pt x="12" y="47"/>
                    </a:lnTo>
                    <a:lnTo>
                      <a:pt x="14" y="50"/>
                    </a:lnTo>
                    <a:lnTo>
                      <a:pt x="14" y="50"/>
                    </a:lnTo>
                    <a:lnTo>
                      <a:pt x="12" y="51"/>
                    </a:lnTo>
                    <a:lnTo>
                      <a:pt x="12" y="51"/>
                    </a:lnTo>
                    <a:lnTo>
                      <a:pt x="12" y="51"/>
                    </a:lnTo>
                    <a:lnTo>
                      <a:pt x="12" y="54"/>
                    </a:lnTo>
                    <a:lnTo>
                      <a:pt x="12" y="57"/>
                    </a:lnTo>
                    <a:lnTo>
                      <a:pt x="12" y="59"/>
                    </a:lnTo>
                    <a:lnTo>
                      <a:pt x="11" y="60"/>
                    </a:lnTo>
                    <a:lnTo>
                      <a:pt x="11" y="63"/>
                    </a:lnTo>
                    <a:lnTo>
                      <a:pt x="11" y="64"/>
                    </a:lnTo>
                    <a:lnTo>
                      <a:pt x="11" y="64"/>
                    </a:lnTo>
                    <a:lnTo>
                      <a:pt x="11" y="66"/>
                    </a:lnTo>
                    <a:lnTo>
                      <a:pt x="11" y="66"/>
                    </a:lnTo>
                    <a:lnTo>
                      <a:pt x="11" y="66"/>
                    </a:lnTo>
                    <a:lnTo>
                      <a:pt x="11" y="67"/>
                    </a:lnTo>
                    <a:lnTo>
                      <a:pt x="12" y="67"/>
                    </a:lnTo>
                    <a:lnTo>
                      <a:pt x="12" y="69"/>
                    </a:lnTo>
                    <a:lnTo>
                      <a:pt x="12" y="69"/>
                    </a:lnTo>
                    <a:lnTo>
                      <a:pt x="12" y="70"/>
                    </a:lnTo>
                    <a:lnTo>
                      <a:pt x="11" y="76"/>
                    </a:lnTo>
                    <a:lnTo>
                      <a:pt x="11" y="76"/>
                    </a:lnTo>
                    <a:lnTo>
                      <a:pt x="12" y="77"/>
                    </a:lnTo>
                    <a:lnTo>
                      <a:pt x="12" y="80"/>
                    </a:lnTo>
                    <a:lnTo>
                      <a:pt x="14" y="82"/>
                    </a:lnTo>
                    <a:lnTo>
                      <a:pt x="15" y="83"/>
                    </a:lnTo>
                    <a:lnTo>
                      <a:pt x="17" y="84"/>
                    </a:lnTo>
                    <a:lnTo>
                      <a:pt x="21" y="87"/>
                    </a:lnTo>
                    <a:lnTo>
                      <a:pt x="22" y="89"/>
                    </a:lnTo>
                    <a:lnTo>
                      <a:pt x="24" y="89"/>
                    </a:lnTo>
                    <a:lnTo>
                      <a:pt x="27" y="87"/>
                    </a:lnTo>
                    <a:lnTo>
                      <a:pt x="30" y="87"/>
                    </a:lnTo>
                    <a:lnTo>
                      <a:pt x="31" y="86"/>
                    </a:lnTo>
                    <a:lnTo>
                      <a:pt x="33" y="8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10" name="Freeform 197">
                <a:extLst>
                  <a:ext uri="{FF2B5EF4-FFF2-40B4-BE49-F238E27FC236}">
                    <a16:creationId xmlns:a16="http://schemas.microsoft.com/office/drawing/2014/main" id="{2302E6C8-B160-A63C-340C-CB6ACAA0AA6A}"/>
                  </a:ext>
                </a:extLst>
              </p:cNvPr>
              <p:cNvSpPr>
                <a:spLocks/>
              </p:cNvSpPr>
              <p:nvPr/>
            </p:nvSpPr>
            <p:spPr bwMode="auto">
              <a:xfrm>
                <a:off x="3395" y="2026"/>
                <a:ext cx="363" cy="351"/>
              </a:xfrm>
              <a:custGeom>
                <a:avLst/>
                <a:gdLst>
                  <a:gd name="T0" fmla="*/ 206 w 253"/>
                  <a:gd name="T1" fmla="*/ 35 h 244"/>
                  <a:gd name="T2" fmla="*/ 208 w 253"/>
                  <a:gd name="T3" fmla="*/ 19 h 244"/>
                  <a:gd name="T4" fmla="*/ 208 w 253"/>
                  <a:gd name="T5" fmla="*/ 9 h 244"/>
                  <a:gd name="T6" fmla="*/ 208 w 253"/>
                  <a:gd name="T7" fmla="*/ 7 h 244"/>
                  <a:gd name="T8" fmla="*/ 203 w 253"/>
                  <a:gd name="T9" fmla="*/ 3 h 244"/>
                  <a:gd name="T10" fmla="*/ 191 w 253"/>
                  <a:gd name="T11" fmla="*/ 2 h 244"/>
                  <a:gd name="T12" fmla="*/ 181 w 253"/>
                  <a:gd name="T13" fmla="*/ 3 h 244"/>
                  <a:gd name="T14" fmla="*/ 170 w 253"/>
                  <a:gd name="T15" fmla="*/ 6 h 244"/>
                  <a:gd name="T16" fmla="*/ 157 w 253"/>
                  <a:gd name="T17" fmla="*/ 2 h 244"/>
                  <a:gd name="T18" fmla="*/ 140 w 253"/>
                  <a:gd name="T19" fmla="*/ 6 h 244"/>
                  <a:gd name="T20" fmla="*/ 118 w 253"/>
                  <a:gd name="T21" fmla="*/ 9 h 244"/>
                  <a:gd name="T22" fmla="*/ 107 w 253"/>
                  <a:gd name="T23" fmla="*/ 16 h 244"/>
                  <a:gd name="T24" fmla="*/ 94 w 253"/>
                  <a:gd name="T25" fmla="*/ 21 h 244"/>
                  <a:gd name="T26" fmla="*/ 80 w 253"/>
                  <a:gd name="T27" fmla="*/ 29 h 244"/>
                  <a:gd name="T28" fmla="*/ 84 w 253"/>
                  <a:gd name="T29" fmla="*/ 35 h 244"/>
                  <a:gd name="T30" fmla="*/ 85 w 253"/>
                  <a:gd name="T31" fmla="*/ 37 h 244"/>
                  <a:gd name="T32" fmla="*/ 86 w 253"/>
                  <a:gd name="T33" fmla="*/ 45 h 244"/>
                  <a:gd name="T34" fmla="*/ 86 w 253"/>
                  <a:gd name="T35" fmla="*/ 53 h 244"/>
                  <a:gd name="T36" fmla="*/ 88 w 253"/>
                  <a:gd name="T37" fmla="*/ 57 h 244"/>
                  <a:gd name="T38" fmla="*/ 93 w 253"/>
                  <a:gd name="T39" fmla="*/ 63 h 244"/>
                  <a:gd name="T40" fmla="*/ 93 w 253"/>
                  <a:gd name="T41" fmla="*/ 65 h 244"/>
                  <a:gd name="T42" fmla="*/ 91 w 253"/>
                  <a:gd name="T43" fmla="*/ 67 h 244"/>
                  <a:gd name="T44" fmla="*/ 90 w 253"/>
                  <a:gd name="T45" fmla="*/ 69 h 244"/>
                  <a:gd name="T46" fmla="*/ 83 w 253"/>
                  <a:gd name="T47" fmla="*/ 69 h 244"/>
                  <a:gd name="T48" fmla="*/ 72 w 253"/>
                  <a:gd name="T49" fmla="*/ 69 h 244"/>
                  <a:gd name="T50" fmla="*/ 70 w 253"/>
                  <a:gd name="T51" fmla="*/ 72 h 244"/>
                  <a:gd name="T52" fmla="*/ 60 w 253"/>
                  <a:gd name="T53" fmla="*/ 75 h 244"/>
                  <a:gd name="T54" fmla="*/ 60 w 253"/>
                  <a:gd name="T55" fmla="*/ 81 h 244"/>
                  <a:gd name="T56" fmla="*/ 62 w 253"/>
                  <a:gd name="T57" fmla="*/ 83 h 244"/>
                  <a:gd name="T58" fmla="*/ 46 w 253"/>
                  <a:gd name="T59" fmla="*/ 91 h 244"/>
                  <a:gd name="T60" fmla="*/ 26 w 253"/>
                  <a:gd name="T61" fmla="*/ 102 h 244"/>
                  <a:gd name="T62" fmla="*/ 13 w 253"/>
                  <a:gd name="T63" fmla="*/ 105 h 244"/>
                  <a:gd name="T64" fmla="*/ 47 w 253"/>
                  <a:gd name="T65" fmla="*/ 165 h 244"/>
                  <a:gd name="T66" fmla="*/ 121 w 253"/>
                  <a:gd name="T67" fmla="*/ 220 h 244"/>
                  <a:gd name="T68" fmla="*/ 126 w 253"/>
                  <a:gd name="T69" fmla="*/ 224 h 244"/>
                  <a:gd name="T70" fmla="*/ 132 w 253"/>
                  <a:gd name="T71" fmla="*/ 227 h 244"/>
                  <a:gd name="T72" fmla="*/ 139 w 253"/>
                  <a:gd name="T73" fmla="*/ 231 h 244"/>
                  <a:gd name="T74" fmla="*/ 146 w 253"/>
                  <a:gd name="T75" fmla="*/ 236 h 244"/>
                  <a:gd name="T76" fmla="*/ 145 w 253"/>
                  <a:gd name="T77" fmla="*/ 242 h 244"/>
                  <a:gd name="T78" fmla="*/ 174 w 253"/>
                  <a:gd name="T79" fmla="*/ 239 h 244"/>
                  <a:gd name="T80" fmla="*/ 253 w 253"/>
                  <a:gd name="T81" fmla="*/ 185 h 244"/>
                  <a:gd name="T82" fmla="*/ 238 w 253"/>
                  <a:gd name="T83" fmla="*/ 171 h 244"/>
                  <a:gd name="T84" fmla="*/ 232 w 253"/>
                  <a:gd name="T85" fmla="*/ 170 h 244"/>
                  <a:gd name="T86" fmla="*/ 222 w 253"/>
                  <a:gd name="T87" fmla="*/ 149 h 244"/>
                  <a:gd name="T88" fmla="*/ 226 w 253"/>
                  <a:gd name="T89" fmla="*/ 144 h 244"/>
                  <a:gd name="T90" fmla="*/ 226 w 253"/>
                  <a:gd name="T91" fmla="*/ 133 h 244"/>
                  <a:gd name="T92" fmla="*/ 227 w 253"/>
                  <a:gd name="T93" fmla="*/ 111 h 244"/>
                  <a:gd name="T94" fmla="*/ 224 w 253"/>
                  <a:gd name="T95" fmla="*/ 100 h 244"/>
                  <a:gd name="T96" fmla="*/ 222 w 253"/>
                  <a:gd name="T97" fmla="*/ 94 h 244"/>
                  <a:gd name="T98" fmla="*/ 210 w 253"/>
                  <a:gd name="T99" fmla="*/ 64 h 244"/>
                  <a:gd name="T100" fmla="*/ 206 w 253"/>
                  <a:gd name="T101" fmla="*/ 57 h 244"/>
                  <a:gd name="T102" fmla="*/ 199 w 253"/>
                  <a:gd name="T103" fmla="*/ 5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3" h="244">
                    <a:moveTo>
                      <a:pt x="199" y="42"/>
                    </a:moveTo>
                    <a:cubicBezTo>
                      <a:pt x="199" y="42"/>
                      <a:pt x="200" y="40"/>
                      <a:pt x="200" y="40"/>
                    </a:cubicBezTo>
                    <a:cubicBezTo>
                      <a:pt x="202" y="38"/>
                      <a:pt x="202" y="38"/>
                      <a:pt x="202" y="38"/>
                    </a:cubicBezTo>
                    <a:cubicBezTo>
                      <a:pt x="204" y="37"/>
                      <a:pt x="204" y="37"/>
                      <a:pt x="204" y="37"/>
                    </a:cubicBezTo>
                    <a:cubicBezTo>
                      <a:pt x="206" y="35"/>
                      <a:pt x="206" y="35"/>
                      <a:pt x="206" y="35"/>
                    </a:cubicBezTo>
                    <a:cubicBezTo>
                      <a:pt x="207" y="32"/>
                      <a:pt x="207" y="32"/>
                      <a:pt x="207" y="32"/>
                    </a:cubicBezTo>
                    <a:cubicBezTo>
                      <a:pt x="208" y="30"/>
                      <a:pt x="208" y="30"/>
                      <a:pt x="208" y="30"/>
                    </a:cubicBezTo>
                    <a:cubicBezTo>
                      <a:pt x="209" y="27"/>
                      <a:pt x="209" y="27"/>
                      <a:pt x="209" y="27"/>
                    </a:cubicBezTo>
                    <a:cubicBezTo>
                      <a:pt x="209" y="24"/>
                      <a:pt x="209" y="24"/>
                      <a:pt x="209" y="24"/>
                    </a:cubicBezTo>
                    <a:cubicBezTo>
                      <a:pt x="208" y="19"/>
                      <a:pt x="208" y="19"/>
                      <a:pt x="208" y="19"/>
                    </a:cubicBezTo>
                    <a:cubicBezTo>
                      <a:pt x="207" y="17"/>
                      <a:pt x="207" y="17"/>
                      <a:pt x="207" y="17"/>
                    </a:cubicBezTo>
                    <a:cubicBezTo>
                      <a:pt x="207" y="16"/>
                      <a:pt x="207" y="16"/>
                      <a:pt x="207" y="16"/>
                    </a:cubicBezTo>
                    <a:cubicBezTo>
                      <a:pt x="208" y="13"/>
                      <a:pt x="208" y="13"/>
                      <a:pt x="208" y="13"/>
                    </a:cubicBezTo>
                    <a:cubicBezTo>
                      <a:pt x="208" y="10"/>
                      <a:pt x="208" y="10"/>
                      <a:pt x="208" y="10"/>
                    </a:cubicBezTo>
                    <a:cubicBezTo>
                      <a:pt x="208" y="9"/>
                      <a:pt x="208" y="9"/>
                      <a:pt x="208" y="9"/>
                    </a:cubicBezTo>
                    <a:cubicBezTo>
                      <a:pt x="208" y="9"/>
                      <a:pt x="208" y="9"/>
                      <a:pt x="208" y="9"/>
                    </a:cubicBezTo>
                    <a:cubicBezTo>
                      <a:pt x="208" y="9"/>
                      <a:pt x="208" y="9"/>
                      <a:pt x="208" y="9"/>
                    </a:cubicBezTo>
                    <a:cubicBezTo>
                      <a:pt x="207" y="8"/>
                      <a:pt x="207" y="8"/>
                      <a:pt x="207" y="8"/>
                    </a:cubicBezTo>
                    <a:cubicBezTo>
                      <a:pt x="207" y="8"/>
                      <a:pt x="207" y="8"/>
                      <a:pt x="207" y="8"/>
                    </a:cubicBezTo>
                    <a:cubicBezTo>
                      <a:pt x="208" y="7"/>
                      <a:pt x="208" y="7"/>
                      <a:pt x="208" y="7"/>
                    </a:cubicBezTo>
                    <a:cubicBezTo>
                      <a:pt x="210" y="5"/>
                      <a:pt x="210" y="5"/>
                      <a:pt x="210" y="5"/>
                    </a:cubicBezTo>
                    <a:cubicBezTo>
                      <a:pt x="211" y="4"/>
                      <a:pt x="211" y="4"/>
                      <a:pt x="211" y="4"/>
                    </a:cubicBezTo>
                    <a:cubicBezTo>
                      <a:pt x="211" y="2"/>
                      <a:pt x="211" y="2"/>
                      <a:pt x="211" y="2"/>
                    </a:cubicBezTo>
                    <a:cubicBezTo>
                      <a:pt x="205" y="3"/>
                      <a:pt x="205" y="3"/>
                      <a:pt x="205" y="3"/>
                    </a:cubicBezTo>
                    <a:cubicBezTo>
                      <a:pt x="203" y="3"/>
                      <a:pt x="203" y="3"/>
                      <a:pt x="203" y="3"/>
                    </a:cubicBezTo>
                    <a:cubicBezTo>
                      <a:pt x="201" y="3"/>
                      <a:pt x="201" y="3"/>
                      <a:pt x="201" y="3"/>
                    </a:cubicBezTo>
                    <a:cubicBezTo>
                      <a:pt x="197" y="1"/>
                      <a:pt x="197" y="1"/>
                      <a:pt x="197" y="1"/>
                    </a:cubicBezTo>
                    <a:cubicBezTo>
                      <a:pt x="195" y="0"/>
                      <a:pt x="195" y="0"/>
                      <a:pt x="195" y="0"/>
                    </a:cubicBezTo>
                    <a:cubicBezTo>
                      <a:pt x="194" y="2"/>
                      <a:pt x="194" y="2"/>
                      <a:pt x="194" y="2"/>
                    </a:cubicBezTo>
                    <a:cubicBezTo>
                      <a:pt x="191" y="2"/>
                      <a:pt x="191" y="2"/>
                      <a:pt x="191" y="2"/>
                    </a:cubicBezTo>
                    <a:cubicBezTo>
                      <a:pt x="186" y="0"/>
                      <a:pt x="186" y="0"/>
                      <a:pt x="186" y="0"/>
                    </a:cubicBezTo>
                    <a:cubicBezTo>
                      <a:pt x="184" y="0"/>
                      <a:pt x="184" y="0"/>
                      <a:pt x="184" y="0"/>
                    </a:cubicBezTo>
                    <a:cubicBezTo>
                      <a:pt x="183" y="1"/>
                      <a:pt x="183" y="1"/>
                      <a:pt x="183" y="1"/>
                    </a:cubicBezTo>
                    <a:cubicBezTo>
                      <a:pt x="182" y="2"/>
                      <a:pt x="182" y="2"/>
                      <a:pt x="182" y="2"/>
                    </a:cubicBezTo>
                    <a:cubicBezTo>
                      <a:pt x="181" y="3"/>
                      <a:pt x="181" y="3"/>
                      <a:pt x="181" y="3"/>
                    </a:cubicBezTo>
                    <a:cubicBezTo>
                      <a:pt x="179" y="3"/>
                      <a:pt x="179" y="3"/>
                      <a:pt x="179" y="3"/>
                    </a:cubicBezTo>
                    <a:cubicBezTo>
                      <a:pt x="175" y="5"/>
                      <a:pt x="175" y="5"/>
                      <a:pt x="175" y="5"/>
                    </a:cubicBezTo>
                    <a:cubicBezTo>
                      <a:pt x="172" y="6"/>
                      <a:pt x="172" y="6"/>
                      <a:pt x="172" y="6"/>
                    </a:cubicBezTo>
                    <a:cubicBezTo>
                      <a:pt x="171" y="6"/>
                      <a:pt x="171" y="6"/>
                      <a:pt x="171" y="6"/>
                    </a:cubicBezTo>
                    <a:cubicBezTo>
                      <a:pt x="170" y="6"/>
                      <a:pt x="170" y="6"/>
                      <a:pt x="170" y="6"/>
                    </a:cubicBezTo>
                    <a:cubicBezTo>
                      <a:pt x="168" y="5"/>
                      <a:pt x="168" y="5"/>
                      <a:pt x="168" y="5"/>
                    </a:cubicBezTo>
                    <a:cubicBezTo>
                      <a:pt x="166" y="3"/>
                      <a:pt x="166" y="3"/>
                      <a:pt x="166" y="3"/>
                    </a:cubicBezTo>
                    <a:cubicBezTo>
                      <a:pt x="165" y="3"/>
                      <a:pt x="165" y="3"/>
                      <a:pt x="165" y="3"/>
                    </a:cubicBezTo>
                    <a:cubicBezTo>
                      <a:pt x="161" y="2"/>
                      <a:pt x="161" y="2"/>
                      <a:pt x="161" y="2"/>
                    </a:cubicBezTo>
                    <a:cubicBezTo>
                      <a:pt x="157" y="2"/>
                      <a:pt x="157" y="2"/>
                      <a:pt x="157" y="2"/>
                    </a:cubicBezTo>
                    <a:cubicBezTo>
                      <a:pt x="149" y="4"/>
                      <a:pt x="149" y="4"/>
                      <a:pt x="149" y="4"/>
                    </a:cubicBezTo>
                    <a:cubicBezTo>
                      <a:pt x="145" y="4"/>
                      <a:pt x="145" y="4"/>
                      <a:pt x="145" y="4"/>
                    </a:cubicBezTo>
                    <a:cubicBezTo>
                      <a:pt x="144" y="4"/>
                      <a:pt x="144" y="4"/>
                      <a:pt x="144" y="4"/>
                    </a:cubicBezTo>
                    <a:cubicBezTo>
                      <a:pt x="142" y="5"/>
                      <a:pt x="142" y="5"/>
                      <a:pt x="142" y="5"/>
                    </a:cubicBezTo>
                    <a:cubicBezTo>
                      <a:pt x="140" y="6"/>
                      <a:pt x="140" y="6"/>
                      <a:pt x="140" y="6"/>
                    </a:cubicBezTo>
                    <a:cubicBezTo>
                      <a:pt x="138" y="7"/>
                      <a:pt x="138" y="7"/>
                      <a:pt x="138" y="7"/>
                    </a:cubicBezTo>
                    <a:cubicBezTo>
                      <a:pt x="135" y="7"/>
                      <a:pt x="135" y="7"/>
                      <a:pt x="135" y="7"/>
                    </a:cubicBezTo>
                    <a:cubicBezTo>
                      <a:pt x="124" y="8"/>
                      <a:pt x="124" y="8"/>
                      <a:pt x="124" y="8"/>
                    </a:cubicBezTo>
                    <a:cubicBezTo>
                      <a:pt x="121" y="8"/>
                      <a:pt x="121" y="8"/>
                      <a:pt x="121" y="8"/>
                    </a:cubicBezTo>
                    <a:cubicBezTo>
                      <a:pt x="118" y="9"/>
                      <a:pt x="118" y="9"/>
                      <a:pt x="118" y="9"/>
                    </a:cubicBezTo>
                    <a:cubicBezTo>
                      <a:pt x="113" y="12"/>
                      <a:pt x="113" y="12"/>
                      <a:pt x="113" y="12"/>
                    </a:cubicBezTo>
                    <a:cubicBezTo>
                      <a:pt x="110" y="13"/>
                      <a:pt x="110" y="13"/>
                      <a:pt x="110" y="13"/>
                    </a:cubicBezTo>
                    <a:cubicBezTo>
                      <a:pt x="109" y="14"/>
                      <a:pt x="109" y="14"/>
                      <a:pt x="109" y="14"/>
                    </a:cubicBezTo>
                    <a:cubicBezTo>
                      <a:pt x="108" y="15"/>
                      <a:pt x="108" y="15"/>
                      <a:pt x="108" y="15"/>
                    </a:cubicBezTo>
                    <a:cubicBezTo>
                      <a:pt x="107" y="16"/>
                      <a:pt x="107" y="16"/>
                      <a:pt x="107" y="16"/>
                    </a:cubicBezTo>
                    <a:cubicBezTo>
                      <a:pt x="106" y="17"/>
                      <a:pt x="106" y="17"/>
                      <a:pt x="106" y="17"/>
                    </a:cubicBezTo>
                    <a:cubicBezTo>
                      <a:pt x="105" y="17"/>
                      <a:pt x="105" y="17"/>
                      <a:pt x="105" y="17"/>
                    </a:cubicBezTo>
                    <a:cubicBezTo>
                      <a:pt x="100" y="18"/>
                      <a:pt x="100" y="18"/>
                      <a:pt x="100" y="18"/>
                    </a:cubicBezTo>
                    <a:cubicBezTo>
                      <a:pt x="97" y="19"/>
                      <a:pt x="97" y="19"/>
                      <a:pt x="97" y="19"/>
                    </a:cubicBezTo>
                    <a:cubicBezTo>
                      <a:pt x="94" y="21"/>
                      <a:pt x="94" y="21"/>
                      <a:pt x="94" y="21"/>
                    </a:cubicBezTo>
                    <a:cubicBezTo>
                      <a:pt x="89" y="25"/>
                      <a:pt x="89" y="25"/>
                      <a:pt x="89" y="25"/>
                    </a:cubicBezTo>
                    <a:cubicBezTo>
                      <a:pt x="86" y="27"/>
                      <a:pt x="86" y="27"/>
                      <a:pt x="86" y="27"/>
                    </a:cubicBezTo>
                    <a:cubicBezTo>
                      <a:pt x="83" y="28"/>
                      <a:pt x="83" y="28"/>
                      <a:pt x="83" y="28"/>
                    </a:cubicBezTo>
                    <a:cubicBezTo>
                      <a:pt x="79" y="28"/>
                      <a:pt x="79" y="28"/>
                      <a:pt x="79" y="28"/>
                    </a:cubicBezTo>
                    <a:cubicBezTo>
                      <a:pt x="80" y="29"/>
                      <a:pt x="80" y="29"/>
                      <a:pt x="80" y="29"/>
                    </a:cubicBezTo>
                    <a:cubicBezTo>
                      <a:pt x="81" y="30"/>
                      <a:pt x="81" y="30"/>
                      <a:pt x="81" y="30"/>
                    </a:cubicBezTo>
                    <a:cubicBezTo>
                      <a:pt x="83" y="31"/>
                      <a:pt x="83" y="31"/>
                      <a:pt x="83" y="31"/>
                    </a:cubicBezTo>
                    <a:cubicBezTo>
                      <a:pt x="84" y="32"/>
                      <a:pt x="84" y="32"/>
                      <a:pt x="84" y="32"/>
                    </a:cubicBezTo>
                    <a:cubicBezTo>
                      <a:pt x="84" y="33"/>
                      <a:pt x="84" y="33"/>
                      <a:pt x="84" y="33"/>
                    </a:cubicBezTo>
                    <a:cubicBezTo>
                      <a:pt x="84" y="35"/>
                      <a:pt x="84" y="35"/>
                      <a:pt x="84" y="35"/>
                    </a:cubicBezTo>
                    <a:cubicBezTo>
                      <a:pt x="84" y="35"/>
                      <a:pt x="84" y="35"/>
                      <a:pt x="84" y="35"/>
                    </a:cubicBezTo>
                    <a:cubicBezTo>
                      <a:pt x="84" y="36"/>
                      <a:pt x="84" y="36"/>
                      <a:pt x="84" y="36"/>
                    </a:cubicBezTo>
                    <a:cubicBezTo>
                      <a:pt x="85" y="36"/>
                      <a:pt x="85" y="36"/>
                      <a:pt x="85" y="36"/>
                    </a:cubicBezTo>
                    <a:cubicBezTo>
                      <a:pt x="85" y="36"/>
                      <a:pt x="85" y="36"/>
                      <a:pt x="85" y="36"/>
                    </a:cubicBezTo>
                    <a:cubicBezTo>
                      <a:pt x="85" y="37"/>
                      <a:pt x="85" y="37"/>
                      <a:pt x="85" y="37"/>
                    </a:cubicBezTo>
                    <a:cubicBezTo>
                      <a:pt x="84" y="38"/>
                      <a:pt x="84" y="38"/>
                      <a:pt x="84" y="38"/>
                    </a:cubicBezTo>
                    <a:cubicBezTo>
                      <a:pt x="85" y="39"/>
                      <a:pt x="85" y="39"/>
                      <a:pt x="85" y="39"/>
                    </a:cubicBezTo>
                    <a:cubicBezTo>
                      <a:pt x="85" y="41"/>
                      <a:pt x="85" y="41"/>
                      <a:pt x="85" y="41"/>
                    </a:cubicBezTo>
                    <a:cubicBezTo>
                      <a:pt x="86" y="43"/>
                      <a:pt x="86" y="43"/>
                      <a:pt x="86" y="43"/>
                    </a:cubicBezTo>
                    <a:cubicBezTo>
                      <a:pt x="86" y="45"/>
                      <a:pt x="86" y="45"/>
                      <a:pt x="86" y="45"/>
                    </a:cubicBezTo>
                    <a:cubicBezTo>
                      <a:pt x="86" y="46"/>
                      <a:pt x="86" y="46"/>
                      <a:pt x="86" y="46"/>
                    </a:cubicBezTo>
                    <a:cubicBezTo>
                      <a:pt x="86" y="49"/>
                      <a:pt x="86" y="49"/>
                      <a:pt x="86" y="49"/>
                    </a:cubicBezTo>
                    <a:cubicBezTo>
                      <a:pt x="86" y="50"/>
                      <a:pt x="86" y="50"/>
                      <a:pt x="86" y="50"/>
                    </a:cubicBezTo>
                    <a:cubicBezTo>
                      <a:pt x="86" y="52"/>
                      <a:pt x="86" y="52"/>
                      <a:pt x="86" y="52"/>
                    </a:cubicBezTo>
                    <a:cubicBezTo>
                      <a:pt x="86" y="53"/>
                      <a:pt x="86" y="53"/>
                      <a:pt x="86" y="53"/>
                    </a:cubicBezTo>
                    <a:cubicBezTo>
                      <a:pt x="86" y="55"/>
                      <a:pt x="86" y="55"/>
                      <a:pt x="86" y="55"/>
                    </a:cubicBezTo>
                    <a:cubicBezTo>
                      <a:pt x="87" y="55"/>
                      <a:pt x="87" y="55"/>
                      <a:pt x="87" y="55"/>
                    </a:cubicBezTo>
                    <a:cubicBezTo>
                      <a:pt x="87" y="56"/>
                      <a:pt x="87" y="56"/>
                      <a:pt x="87" y="56"/>
                    </a:cubicBezTo>
                    <a:cubicBezTo>
                      <a:pt x="88" y="57"/>
                      <a:pt x="88" y="57"/>
                      <a:pt x="88" y="57"/>
                    </a:cubicBezTo>
                    <a:cubicBezTo>
                      <a:pt x="88" y="57"/>
                      <a:pt x="88" y="57"/>
                      <a:pt x="88" y="57"/>
                    </a:cubicBezTo>
                    <a:cubicBezTo>
                      <a:pt x="88" y="58"/>
                      <a:pt x="88" y="58"/>
                      <a:pt x="88" y="58"/>
                    </a:cubicBezTo>
                    <a:cubicBezTo>
                      <a:pt x="88" y="58"/>
                      <a:pt x="88" y="58"/>
                      <a:pt x="88" y="58"/>
                    </a:cubicBezTo>
                    <a:cubicBezTo>
                      <a:pt x="89" y="60"/>
                      <a:pt x="89" y="60"/>
                      <a:pt x="89" y="60"/>
                    </a:cubicBezTo>
                    <a:cubicBezTo>
                      <a:pt x="90" y="61"/>
                      <a:pt x="90" y="61"/>
                      <a:pt x="90" y="61"/>
                    </a:cubicBezTo>
                    <a:cubicBezTo>
                      <a:pt x="93" y="63"/>
                      <a:pt x="93" y="63"/>
                      <a:pt x="93" y="63"/>
                    </a:cubicBezTo>
                    <a:cubicBezTo>
                      <a:pt x="93" y="63"/>
                      <a:pt x="93" y="63"/>
                      <a:pt x="93" y="63"/>
                    </a:cubicBezTo>
                    <a:cubicBezTo>
                      <a:pt x="93" y="64"/>
                      <a:pt x="93" y="64"/>
                      <a:pt x="93" y="64"/>
                    </a:cubicBezTo>
                    <a:cubicBezTo>
                      <a:pt x="93" y="64"/>
                      <a:pt x="93" y="64"/>
                      <a:pt x="93" y="64"/>
                    </a:cubicBezTo>
                    <a:cubicBezTo>
                      <a:pt x="93" y="64"/>
                      <a:pt x="93" y="64"/>
                      <a:pt x="93" y="64"/>
                    </a:cubicBezTo>
                    <a:cubicBezTo>
                      <a:pt x="93" y="65"/>
                      <a:pt x="93" y="65"/>
                      <a:pt x="93" y="65"/>
                    </a:cubicBezTo>
                    <a:cubicBezTo>
                      <a:pt x="91" y="66"/>
                      <a:pt x="91" y="66"/>
                      <a:pt x="91" y="66"/>
                    </a:cubicBezTo>
                    <a:cubicBezTo>
                      <a:pt x="91" y="66"/>
                      <a:pt x="91" y="66"/>
                      <a:pt x="91" y="66"/>
                    </a:cubicBezTo>
                    <a:cubicBezTo>
                      <a:pt x="91" y="67"/>
                      <a:pt x="91" y="67"/>
                      <a:pt x="91" y="67"/>
                    </a:cubicBezTo>
                    <a:cubicBezTo>
                      <a:pt x="91" y="67"/>
                      <a:pt x="91" y="67"/>
                      <a:pt x="91" y="67"/>
                    </a:cubicBezTo>
                    <a:cubicBezTo>
                      <a:pt x="91" y="67"/>
                      <a:pt x="91" y="67"/>
                      <a:pt x="91" y="67"/>
                    </a:cubicBezTo>
                    <a:cubicBezTo>
                      <a:pt x="91" y="68"/>
                      <a:pt x="91" y="68"/>
                      <a:pt x="91" y="68"/>
                    </a:cubicBezTo>
                    <a:cubicBezTo>
                      <a:pt x="91" y="68"/>
                      <a:pt x="91" y="68"/>
                      <a:pt x="91" y="68"/>
                    </a:cubicBezTo>
                    <a:cubicBezTo>
                      <a:pt x="91" y="69"/>
                      <a:pt x="91" y="69"/>
                      <a:pt x="91" y="69"/>
                    </a:cubicBezTo>
                    <a:cubicBezTo>
                      <a:pt x="91" y="69"/>
                      <a:pt x="91" y="69"/>
                      <a:pt x="91" y="69"/>
                    </a:cubicBezTo>
                    <a:cubicBezTo>
                      <a:pt x="90" y="69"/>
                      <a:pt x="90" y="69"/>
                      <a:pt x="90" y="69"/>
                    </a:cubicBezTo>
                    <a:cubicBezTo>
                      <a:pt x="90" y="69"/>
                      <a:pt x="90" y="69"/>
                      <a:pt x="90" y="69"/>
                    </a:cubicBezTo>
                    <a:cubicBezTo>
                      <a:pt x="89" y="69"/>
                      <a:pt x="89" y="69"/>
                      <a:pt x="89" y="69"/>
                    </a:cubicBezTo>
                    <a:cubicBezTo>
                      <a:pt x="88" y="69"/>
                      <a:pt x="88" y="69"/>
                      <a:pt x="88" y="69"/>
                    </a:cubicBezTo>
                    <a:cubicBezTo>
                      <a:pt x="84" y="69"/>
                      <a:pt x="84" y="69"/>
                      <a:pt x="84" y="69"/>
                    </a:cubicBezTo>
                    <a:cubicBezTo>
                      <a:pt x="83" y="69"/>
                      <a:pt x="83" y="69"/>
                      <a:pt x="83" y="69"/>
                    </a:cubicBezTo>
                    <a:cubicBezTo>
                      <a:pt x="80" y="69"/>
                      <a:pt x="80" y="69"/>
                      <a:pt x="80" y="69"/>
                    </a:cubicBezTo>
                    <a:cubicBezTo>
                      <a:pt x="78" y="69"/>
                      <a:pt x="78" y="69"/>
                      <a:pt x="78" y="69"/>
                    </a:cubicBezTo>
                    <a:cubicBezTo>
                      <a:pt x="77" y="69"/>
                      <a:pt x="77" y="69"/>
                      <a:pt x="77" y="69"/>
                    </a:cubicBezTo>
                    <a:cubicBezTo>
                      <a:pt x="75" y="69"/>
                      <a:pt x="75" y="69"/>
                      <a:pt x="75" y="69"/>
                    </a:cubicBezTo>
                    <a:cubicBezTo>
                      <a:pt x="72" y="69"/>
                      <a:pt x="72" y="69"/>
                      <a:pt x="72" y="69"/>
                    </a:cubicBezTo>
                    <a:cubicBezTo>
                      <a:pt x="72" y="69"/>
                      <a:pt x="72" y="69"/>
                      <a:pt x="72" y="69"/>
                    </a:cubicBezTo>
                    <a:cubicBezTo>
                      <a:pt x="71" y="69"/>
                      <a:pt x="71" y="69"/>
                      <a:pt x="71" y="69"/>
                    </a:cubicBezTo>
                    <a:cubicBezTo>
                      <a:pt x="71" y="69"/>
                      <a:pt x="71" y="69"/>
                      <a:pt x="71" y="69"/>
                    </a:cubicBezTo>
                    <a:cubicBezTo>
                      <a:pt x="70" y="70"/>
                      <a:pt x="70" y="70"/>
                      <a:pt x="70" y="70"/>
                    </a:cubicBezTo>
                    <a:cubicBezTo>
                      <a:pt x="70" y="72"/>
                      <a:pt x="70" y="72"/>
                      <a:pt x="70" y="72"/>
                    </a:cubicBezTo>
                    <a:cubicBezTo>
                      <a:pt x="69" y="72"/>
                      <a:pt x="69" y="72"/>
                      <a:pt x="69" y="72"/>
                    </a:cubicBezTo>
                    <a:cubicBezTo>
                      <a:pt x="63" y="74"/>
                      <a:pt x="63" y="74"/>
                      <a:pt x="63" y="74"/>
                    </a:cubicBezTo>
                    <a:cubicBezTo>
                      <a:pt x="61" y="74"/>
                      <a:pt x="61" y="74"/>
                      <a:pt x="61" y="74"/>
                    </a:cubicBezTo>
                    <a:cubicBezTo>
                      <a:pt x="60" y="74"/>
                      <a:pt x="60" y="74"/>
                      <a:pt x="60" y="74"/>
                    </a:cubicBezTo>
                    <a:cubicBezTo>
                      <a:pt x="60" y="75"/>
                      <a:pt x="60" y="75"/>
                      <a:pt x="60" y="75"/>
                    </a:cubicBezTo>
                    <a:cubicBezTo>
                      <a:pt x="59" y="75"/>
                      <a:pt x="59" y="75"/>
                      <a:pt x="59" y="75"/>
                    </a:cubicBezTo>
                    <a:cubicBezTo>
                      <a:pt x="60" y="78"/>
                      <a:pt x="60" y="78"/>
                      <a:pt x="60" y="78"/>
                    </a:cubicBezTo>
                    <a:cubicBezTo>
                      <a:pt x="59" y="81"/>
                      <a:pt x="59" y="81"/>
                      <a:pt x="59" y="81"/>
                    </a:cubicBezTo>
                    <a:cubicBezTo>
                      <a:pt x="59" y="81"/>
                      <a:pt x="59" y="81"/>
                      <a:pt x="59" y="81"/>
                    </a:cubicBezTo>
                    <a:cubicBezTo>
                      <a:pt x="60" y="81"/>
                      <a:pt x="60" y="81"/>
                      <a:pt x="60" y="81"/>
                    </a:cubicBezTo>
                    <a:cubicBezTo>
                      <a:pt x="60" y="81"/>
                      <a:pt x="60" y="81"/>
                      <a:pt x="60" y="81"/>
                    </a:cubicBezTo>
                    <a:cubicBezTo>
                      <a:pt x="61" y="82"/>
                      <a:pt x="61" y="82"/>
                      <a:pt x="61" y="82"/>
                    </a:cubicBezTo>
                    <a:cubicBezTo>
                      <a:pt x="62" y="83"/>
                      <a:pt x="62" y="83"/>
                      <a:pt x="62" y="83"/>
                    </a:cubicBezTo>
                    <a:cubicBezTo>
                      <a:pt x="62" y="83"/>
                      <a:pt x="62" y="83"/>
                      <a:pt x="62" y="83"/>
                    </a:cubicBezTo>
                    <a:cubicBezTo>
                      <a:pt x="62" y="83"/>
                      <a:pt x="62" y="83"/>
                      <a:pt x="62" y="83"/>
                    </a:cubicBezTo>
                    <a:cubicBezTo>
                      <a:pt x="62" y="84"/>
                      <a:pt x="62" y="84"/>
                      <a:pt x="62" y="84"/>
                    </a:cubicBezTo>
                    <a:cubicBezTo>
                      <a:pt x="61" y="84"/>
                      <a:pt x="61" y="84"/>
                      <a:pt x="61" y="84"/>
                    </a:cubicBezTo>
                    <a:cubicBezTo>
                      <a:pt x="60" y="84"/>
                      <a:pt x="60" y="84"/>
                      <a:pt x="60" y="84"/>
                    </a:cubicBezTo>
                    <a:cubicBezTo>
                      <a:pt x="58" y="85"/>
                      <a:pt x="58" y="85"/>
                      <a:pt x="58" y="85"/>
                    </a:cubicBezTo>
                    <a:cubicBezTo>
                      <a:pt x="46" y="91"/>
                      <a:pt x="46" y="91"/>
                      <a:pt x="46" y="91"/>
                    </a:cubicBezTo>
                    <a:cubicBezTo>
                      <a:pt x="42" y="96"/>
                      <a:pt x="42" y="96"/>
                      <a:pt x="42" y="96"/>
                    </a:cubicBezTo>
                    <a:cubicBezTo>
                      <a:pt x="40" y="97"/>
                      <a:pt x="40" y="97"/>
                      <a:pt x="40" y="97"/>
                    </a:cubicBezTo>
                    <a:cubicBezTo>
                      <a:pt x="27" y="99"/>
                      <a:pt x="27" y="99"/>
                      <a:pt x="27" y="99"/>
                    </a:cubicBezTo>
                    <a:cubicBezTo>
                      <a:pt x="27" y="100"/>
                      <a:pt x="27" y="100"/>
                      <a:pt x="27" y="100"/>
                    </a:cubicBezTo>
                    <a:cubicBezTo>
                      <a:pt x="26" y="102"/>
                      <a:pt x="26" y="102"/>
                      <a:pt x="26" y="102"/>
                    </a:cubicBezTo>
                    <a:cubicBezTo>
                      <a:pt x="25" y="102"/>
                      <a:pt x="25" y="102"/>
                      <a:pt x="25" y="102"/>
                    </a:cubicBezTo>
                    <a:cubicBezTo>
                      <a:pt x="25" y="102"/>
                      <a:pt x="25" y="102"/>
                      <a:pt x="25" y="102"/>
                    </a:cubicBezTo>
                    <a:cubicBezTo>
                      <a:pt x="19" y="102"/>
                      <a:pt x="19" y="102"/>
                      <a:pt x="19" y="102"/>
                    </a:cubicBezTo>
                    <a:cubicBezTo>
                      <a:pt x="15" y="105"/>
                      <a:pt x="15" y="105"/>
                      <a:pt x="15" y="105"/>
                    </a:cubicBezTo>
                    <a:cubicBezTo>
                      <a:pt x="13" y="105"/>
                      <a:pt x="13" y="105"/>
                      <a:pt x="13" y="105"/>
                    </a:cubicBezTo>
                    <a:cubicBezTo>
                      <a:pt x="0" y="114"/>
                      <a:pt x="0" y="114"/>
                      <a:pt x="0" y="114"/>
                    </a:cubicBezTo>
                    <a:cubicBezTo>
                      <a:pt x="0" y="114"/>
                      <a:pt x="0" y="114"/>
                      <a:pt x="0" y="114"/>
                    </a:cubicBezTo>
                    <a:cubicBezTo>
                      <a:pt x="0" y="128"/>
                      <a:pt x="0" y="128"/>
                      <a:pt x="0" y="128"/>
                    </a:cubicBezTo>
                    <a:cubicBezTo>
                      <a:pt x="0" y="134"/>
                      <a:pt x="0" y="134"/>
                      <a:pt x="0" y="134"/>
                    </a:cubicBezTo>
                    <a:cubicBezTo>
                      <a:pt x="47" y="165"/>
                      <a:pt x="47" y="165"/>
                      <a:pt x="47" y="165"/>
                    </a:cubicBezTo>
                    <a:cubicBezTo>
                      <a:pt x="119" y="215"/>
                      <a:pt x="119" y="215"/>
                      <a:pt x="119" y="215"/>
                    </a:cubicBezTo>
                    <a:cubicBezTo>
                      <a:pt x="120" y="217"/>
                      <a:pt x="120" y="217"/>
                      <a:pt x="120" y="217"/>
                    </a:cubicBezTo>
                    <a:cubicBezTo>
                      <a:pt x="121" y="218"/>
                      <a:pt x="121" y="218"/>
                      <a:pt x="121" y="218"/>
                    </a:cubicBezTo>
                    <a:cubicBezTo>
                      <a:pt x="121" y="219"/>
                      <a:pt x="121" y="219"/>
                      <a:pt x="121" y="219"/>
                    </a:cubicBezTo>
                    <a:cubicBezTo>
                      <a:pt x="121" y="220"/>
                      <a:pt x="121" y="220"/>
                      <a:pt x="121" y="220"/>
                    </a:cubicBezTo>
                    <a:cubicBezTo>
                      <a:pt x="122" y="222"/>
                      <a:pt x="122" y="222"/>
                      <a:pt x="122" y="222"/>
                    </a:cubicBezTo>
                    <a:cubicBezTo>
                      <a:pt x="123" y="222"/>
                      <a:pt x="123" y="222"/>
                      <a:pt x="123" y="222"/>
                    </a:cubicBezTo>
                    <a:cubicBezTo>
                      <a:pt x="125" y="223"/>
                      <a:pt x="125" y="223"/>
                      <a:pt x="125" y="223"/>
                    </a:cubicBezTo>
                    <a:cubicBezTo>
                      <a:pt x="126" y="224"/>
                      <a:pt x="126" y="224"/>
                      <a:pt x="126" y="224"/>
                    </a:cubicBezTo>
                    <a:cubicBezTo>
                      <a:pt x="126" y="224"/>
                      <a:pt x="126" y="224"/>
                      <a:pt x="126" y="224"/>
                    </a:cubicBezTo>
                    <a:cubicBezTo>
                      <a:pt x="126" y="225"/>
                      <a:pt x="126" y="225"/>
                      <a:pt x="126" y="225"/>
                    </a:cubicBezTo>
                    <a:cubicBezTo>
                      <a:pt x="127" y="226"/>
                      <a:pt x="127" y="226"/>
                      <a:pt x="127" y="226"/>
                    </a:cubicBezTo>
                    <a:cubicBezTo>
                      <a:pt x="128" y="227"/>
                      <a:pt x="128" y="227"/>
                      <a:pt x="128" y="227"/>
                    </a:cubicBezTo>
                    <a:cubicBezTo>
                      <a:pt x="130" y="227"/>
                      <a:pt x="130" y="227"/>
                      <a:pt x="130" y="227"/>
                    </a:cubicBezTo>
                    <a:cubicBezTo>
                      <a:pt x="132" y="227"/>
                      <a:pt x="132" y="227"/>
                      <a:pt x="132" y="227"/>
                    </a:cubicBezTo>
                    <a:cubicBezTo>
                      <a:pt x="134" y="228"/>
                      <a:pt x="134" y="228"/>
                      <a:pt x="134" y="228"/>
                    </a:cubicBezTo>
                    <a:cubicBezTo>
                      <a:pt x="135" y="229"/>
                      <a:pt x="135" y="229"/>
                      <a:pt x="135" y="229"/>
                    </a:cubicBezTo>
                    <a:cubicBezTo>
                      <a:pt x="136" y="230"/>
                      <a:pt x="136" y="230"/>
                      <a:pt x="136" y="230"/>
                    </a:cubicBezTo>
                    <a:cubicBezTo>
                      <a:pt x="137" y="230"/>
                      <a:pt x="137" y="230"/>
                      <a:pt x="137" y="230"/>
                    </a:cubicBezTo>
                    <a:cubicBezTo>
                      <a:pt x="139" y="231"/>
                      <a:pt x="139" y="231"/>
                      <a:pt x="139" y="231"/>
                    </a:cubicBezTo>
                    <a:cubicBezTo>
                      <a:pt x="142" y="232"/>
                      <a:pt x="142" y="232"/>
                      <a:pt x="142" y="232"/>
                    </a:cubicBezTo>
                    <a:cubicBezTo>
                      <a:pt x="143" y="232"/>
                      <a:pt x="143" y="232"/>
                      <a:pt x="143" y="232"/>
                    </a:cubicBezTo>
                    <a:cubicBezTo>
                      <a:pt x="145" y="233"/>
                      <a:pt x="145" y="233"/>
                      <a:pt x="145" y="233"/>
                    </a:cubicBezTo>
                    <a:cubicBezTo>
                      <a:pt x="145" y="234"/>
                      <a:pt x="145" y="234"/>
                      <a:pt x="145" y="234"/>
                    </a:cubicBezTo>
                    <a:cubicBezTo>
                      <a:pt x="146" y="236"/>
                      <a:pt x="146" y="236"/>
                      <a:pt x="146" y="236"/>
                    </a:cubicBezTo>
                    <a:cubicBezTo>
                      <a:pt x="146" y="238"/>
                      <a:pt x="146" y="238"/>
                      <a:pt x="146" y="238"/>
                    </a:cubicBezTo>
                    <a:cubicBezTo>
                      <a:pt x="146" y="239"/>
                      <a:pt x="146" y="239"/>
                      <a:pt x="146" y="239"/>
                    </a:cubicBezTo>
                    <a:cubicBezTo>
                      <a:pt x="146" y="240"/>
                      <a:pt x="146" y="240"/>
                      <a:pt x="146" y="240"/>
                    </a:cubicBezTo>
                    <a:cubicBezTo>
                      <a:pt x="145" y="241"/>
                      <a:pt x="145" y="241"/>
                      <a:pt x="145" y="241"/>
                    </a:cubicBezTo>
                    <a:cubicBezTo>
                      <a:pt x="145" y="242"/>
                      <a:pt x="145" y="242"/>
                      <a:pt x="145" y="242"/>
                    </a:cubicBezTo>
                    <a:cubicBezTo>
                      <a:pt x="145" y="243"/>
                      <a:pt x="145" y="243"/>
                      <a:pt x="145" y="243"/>
                    </a:cubicBezTo>
                    <a:cubicBezTo>
                      <a:pt x="147" y="244"/>
                      <a:pt x="147" y="244"/>
                      <a:pt x="147" y="244"/>
                    </a:cubicBezTo>
                    <a:cubicBezTo>
                      <a:pt x="151" y="244"/>
                      <a:pt x="151" y="244"/>
                      <a:pt x="151" y="244"/>
                    </a:cubicBezTo>
                    <a:cubicBezTo>
                      <a:pt x="158" y="242"/>
                      <a:pt x="158" y="242"/>
                      <a:pt x="158" y="242"/>
                    </a:cubicBezTo>
                    <a:cubicBezTo>
                      <a:pt x="174" y="239"/>
                      <a:pt x="174" y="239"/>
                      <a:pt x="174" y="239"/>
                    </a:cubicBezTo>
                    <a:cubicBezTo>
                      <a:pt x="178" y="238"/>
                      <a:pt x="178" y="238"/>
                      <a:pt x="178" y="238"/>
                    </a:cubicBezTo>
                    <a:cubicBezTo>
                      <a:pt x="182" y="234"/>
                      <a:pt x="182" y="234"/>
                      <a:pt x="182" y="234"/>
                    </a:cubicBezTo>
                    <a:cubicBezTo>
                      <a:pt x="194" y="223"/>
                      <a:pt x="194" y="223"/>
                      <a:pt x="194" y="223"/>
                    </a:cubicBezTo>
                    <a:cubicBezTo>
                      <a:pt x="203" y="216"/>
                      <a:pt x="203" y="216"/>
                      <a:pt x="203" y="216"/>
                    </a:cubicBezTo>
                    <a:cubicBezTo>
                      <a:pt x="253" y="185"/>
                      <a:pt x="253" y="185"/>
                      <a:pt x="253" y="185"/>
                    </a:cubicBezTo>
                    <a:cubicBezTo>
                      <a:pt x="250" y="179"/>
                      <a:pt x="250" y="179"/>
                      <a:pt x="250" y="179"/>
                    </a:cubicBezTo>
                    <a:cubicBezTo>
                      <a:pt x="249" y="176"/>
                      <a:pt x="249" y="176"/>
                      <a:pt x="249" y="176"/>
                    </a:cubicBezTo>
                    <a:cubicBezTo>
                      <a:pt x="247" y="174"/>
                      <a:pt x="247" y="174"/>
                      <a:pt x="247" y="174"/>
                    </a:cubicBezTo>
                    <a:cubicBezTo>
                      <a:pt x="245" y="173"/>
                      <a:pt x="245" y="173"/>
                      <a:pt x="245" y="173"/>
                    </a:cubicBezTo>
                    <a:cubicBezTo>
                      <a:pt x="238" y="171"/>
                      <a:pt x="238" y="171"/>
                      <a:pt x="238" y="171"/>
                    </a:cubicBezTo>
                    <a:cubicBezTo>
                      <a:pt x="237" y="171"/>
                      <a:pt x="237" y="171"/>
                      <a:pt x="237" y="171"/>
                    </a:cubicBezTo>
                    <a:cubicBezTo>
                      <a:pt x="236" y="171"/>
                      <a:pt x="236" y="171"/>
                      <a:pt x="236" y="171"/>
                    </a:cubicBezTo>
                    <a:cubicBezTo>
                      <a:pt x="235" y="172"/>
                      <a:pt x="235" y="172"/>
                      <a:pt x="235" y="172"/>
                    </a:cubicBezTo>
                    <a:cubicBezTo>
                      <a:pt x="234" y="172"/>
                      <a:pt x="234" y="172"/>
                      <a:pt x="234" y="172"/>
                    </a:cubicBezTo>
                    <a:cubicBezTo>
                      <a:pt x="232" y="170"/>
                      <a:pt x="232" y="170"/>
                      <a:pt x="232" y="170"/>
                    </a:cubicBezTo>
                    <a:cubicBezTo>
                      <a:pt x="230" y="168"/>
                      <a:pt x="230" y="168"/>
                      <a:pt x="230" y="168"/>
                    </a:cubicBezTo>
                    <a:cubicBezTo>
                      <a:pt x="228" y="160"/>
                      <a:pt x="228" y="160"/>
                      <a:pt x="228" y="160"/>
                    </a:cubicBezTo>
                    <a:cubicBezTo>
                      <a:pt x="227" y="158"/>
                      <a:pt x="227" y="158"/>
                      <a:pt x="227" y="158"/>
                    </a:cubicBezTo>
                    <a:cubicBezTo>
                      <a:pt x="222" y="150"/>
                      <a:pt x="222" y="150"/>
                      <a:pt x="222" y="150"/>
                    </a:cubicBezTo>
                    <a:cubicBezTo>
                      <a:pt x="222" y="149"/>
                      <a:pt x="222" y="149"/>
                      <a:pt x="222" y="149"/>
                    </a:cubicBezTo>
                    <a:cubicBezTo>
                      <a:pt x="222" y="148"/>
                      <a:pt x="222" y="148"/>
                      <a:pt x="222" y="148"/>
                    </a:cubicBezTo>
                    <a:cubicBezTo>
                      <a:pt x="223" y="147"/>
                      <a:pt x="223" y="147"/>
                      <a:pt x="223" y="147"/>
                    </a:cubicBezTo>
                    <a:cubicBezTo>
                      <a:pt x="224" y="146"/>
                      <a:pt x="224" y="146"/>
                      <a:pt x="224" y="146"/>
                    </a:cubicBezTo>
                    <a:cubicBezTo>
                      <a:pt x="225" y="145"/>
                      <a:pt x="225" y="145"/>
                      <a:pt x="225" y="145"/>
                    </a:cubicBezTo>
                    <a:cubicBezTo>
                      <a:pt x="226" y="144"/>
                      <a:pt x="226" y="144"/>
                      <a:pt x="226" y="144"/>
                    </a:cubicBezTo>
                    <a:cubicBezTo>
                      <a:pt x="227" y="142"/>
                      <a:pt x="227" y="142"/>
                      <a:pt x="227" y="142"/>
                    </a:cubicBezTo>
                    <a:cubicBezTo>
                      <a:pt x="227" y="140"/>
                      <a:pt x="227" y="140"/>
                      <a:pt x="227" y="140"/>
                    </a:cubicBezTo>
                    <a:cubicBezTo>
                      <a:pt x="226" y="137"/>
                      <a:pt x="226" y="137"/>
                      <a:pt x="226" y="137"/>
                    </a:cubicBezTo>
                    <a:cubicBezTo>
                      <a:pt x="226" y="134"/>
                      <a:pt x="226" y="134"/>
                      <a:pt x="226" y="134"/>
                    </a:cubicBezTo>
                    <a:cubicBezTo>
                      <a:pt x="226" y="133"/>
                      <a:pt x="226" y="133"/>
                      <a:pt x="226" y="133"/>
                    </a:cubicBezTo>
                    <a:cubicBezTo>
                      <a:pt x="226" y="132"/>
                      <a:pt x="226" y="132"/>
                      <a:pt x="226" y="132"/>
                    </a:cubicBezTo>
                    <a:cubicBezTo>
                      <a:pt x="227" y="128"/>
                      <a:pt x="227" y="128"/>
                      <a:pt x="227" y="128"/>
                    </a:cubicBezTo>
                    <a:cubicBezTo>
                      <a:pt x="227" y="126"/>
                      <a:pt x="227" y="126"/>
                      <a:pt x="227" y="126"/>
                    </a:cubicBezTo>
                    <a:cubicBezTo>
                      <a:pt x="227" y="120"/>
                      <a:pt x="227" y="120"/>
                      <a:pt x="227" y="120"/>
                    </a:cubicBezTo>
                    <a:cubicBezTo>
                      <a:pt x="227" y="111"/>
                      <a:pt x="227" y="111"/>
                      <a:pt x="227" y="111"/>
                    </a:cubicBezTo>
                    <a:cubicBezTo>
                      <a:pt x="227" y="109"/>
                      <a:pt x="227" y="109"/>
                      <a:pt x="227" y="109"/>
                    </a:cubicBezTo>
                    <a:cubicBezTo>
                      <a:pt x="226" y="106"/>
                      <a:pt x="226" y="106"/>
                      <a:pt x="226" y="106"/>
                    </a:cubicBezTo>
                    <a:cubicBezTo>
                      <a:pt x="225" y="104"/>
                      <a:pt x="225" y="104"/>
                      <a:pt x="225" y="104"/>
                    </a:cubicBezTo>
                    <a:cubicBezTo>
                      <a:pt x="224" y="102"/>
                      <a:pt x="224" y="102"/>
                      <a:pt x="224" y="102"/>
                    </a:cubicBezTo>
                    <a:cubicBezTo>
                      <a:pt x="224" y="100"/>
                      <a:pt x="224" y="100"/>
                      <a:pt x="224" y="100"/>
                    </a:cubicBezTo>
                    <a:cubicBezTo>
                      <a:pt x="222" y="98"/>
                      <a:pt x="222" y="98"/>
                      <a:pt x="222" y="98"/>
                    </a:cubicBezTo>
                    <a:cubicBezTo>
                      <a:pt x="221" y="97"/>
                      <a:pt x="221" y="97"/>
                      <a:pt x="221" y="97"/>
                    </a:cubicBezTo>
                    <a:cubicBezTo>
                      <a:pt x="221" y="96"/>
                      <a:pt x="221" y="96"/>
                      <a:pt x="221" y="96"/>
                    </a:cubicBezTo>
                    <a:cubicBezTo>
                      <a:pt x="221" y="95"/>
                      <a:pt x="221" y="95"/>
                      <a:pt x="221" y="95"/>
                    </a:cubicBezTo>
                    <a:cubicBezTo>
                      <a:pt x="222" y="94"/>
                      <a:pt x="222" y="94"/>
                      <a:pt x="222" y="94"/>
                    </a:cubicBezTo>
                    <a:cubicBezTo>
                      <a:pt x="223" y="94"/>
                      <a:pt x="223" y="94"/>
                      <a:pt x="223" y="94"/>
                    </a:cubicBezTo>
                    <a:cubicBezTo>
                      <a:pt x="218" y="71"/>
                      <a:pt x="218" y="71"/>
                      <a:pt x="218" y="71"/>
                    </a:cubicBezTo>
                    <a:cubicBezTo>
                      <a:pt x="217" y="69"/>
                      <a:pt x="217" y="69"/>
                      <a:pt x="217" y="69"/>
                    </a:cubicBezTo>
                    <a:cubicBezTo>
                      <a:pt x="215" y="67"/>
                      <a:pt x="215" y="67"/>
                      <a:pt x="215" y="67"/>
                    </a:cubicBezTo>
                    <a:cubicBezTo>
                      <a:pt x="210" y="64"/>
                      <a:pt x="210" y="64"/>
                      <a:pt x="210" y="64"/>
                    </a:cubicBezTo>
                    <a:cubicBezTo>
                      <a:pt x="208" y="62"/>
                      <a:pt x="208" y="62"/>
                      <a:pt x="208" y="62"/>
                    </a:cubicBezTo>
                    <a:cubicBezTo>
                      <a:pt x="208" y="61"/>
                      <a:pt x="208" y="61"/>
                      <a:pt x="208" y="61"/>
                    </a:cubicBezTo>
                    <a:cubicBezTo>
                      <a:pt x="207" y="59"/>
                      <a:pt x="207" y="59"/>
                      <a:pt x="207" y="59"/>
                    </a:cubicBezTo>
                    <a:cubicBezTo>
                      <a:pt x="207" y="58"/>
                      <a:pt x="207" y="58"/>
                      <a:pt x="207" y="58"/>
                    </a:cubicBezTo>
                    <a:cubicBezTo>
                      <a:pt x="206" y="57"/>
                      <a:pt x="206" y="57"/>
                      <a:pt x="206" y="57"/>
                    </a:cubicBezTo>
                    <a:cubicBezTo>
                      <a:pt x="205" y="56"/>
                      <a:pt x="205" y="56"/>
                      <a:pt x="205" y="56"/>
                    </a:cubicBezTo>
                    <a:cubicBezTo>
                      <a:pt x="203" y="55"/>
                      <a:pt x="203" y="55"/>
                      <a:pt x="203" y="55"/>
                    </a:cubicBezTo>
                    <a:cubicBezTo>
                      <a:pt x="202" y="54"/>
                      <a:pt x="202" y="54"/>
                      <a:pt x="202" y="54"/>
                    </a:cubicBezTo>
                    <a:cubicBezTo>
                      <a:pt x="201" y="52"/>
                      <a:pt x="201" y="52"/>
                      <a:pt x="201" y="52"/>
                    </a:cubicBezTo>
                    <a:cubicBezTo>
                      <a:pt x="199" y="50"/>
                      <a:pt x="199" y="50"/>
                      <a:pt x="199" y="50"/>
                    </a:cubicBezTo>
                    <a:cubicBezTo>
                      <a:pt x="199" y="47"/>
                      <a:pt x="199" y="47"/>
                      <a:pt x="199" y="47"/>
                    </a:cubicBezTo>
                    <a:cubicBezTo>
                      <a:pt x="198" y="45"/>
                      <a:pt x="198" y="45"/>
                      <a:pt x="198" y="45"/>
                    </a:cubicBezTo>
                    <a:cubicBezTo>
                      <a:pt x="199" y="42"/>
                      <a:pt x="199" y="42"/>
                      <a:pt x="199" y="42"/>
                    </a:cubicBezTo>
                    <a:cubicBezTo>
                      <a:pt x="199" y="42"/>
                      <a:pt x="199" y="42"/>
                      <a:pt x="199" y="42"/>
                    </a:cubicBez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11" name="Freeform 198">
                <a:extLst>
                  <a:ext uri="{FF2B5EF4-FFF2-40B4-BE49-F238E27FC236}">
                    <a16:creationId xmlns:a16="http://schemas.microsoft.com/office/drawing/2014/main" id="{CFB26B3E-7D0A-C438-6267-8BEA77585DA6}"/>
                  </a:ext>
                </a:extLst>
              </p:cNvPr>
              <p:cNvSpPr>
                <a:spLocks/>
              </p:cNvSpPr>
              <p:nvPr/>
            </p:nvSpPr>
            <p:spPr bwMode="auto">
              <a:xfrm>
                <a:off x="3551" y="2292"/>
                <a:ext cx="277" cy="219"/>
              </a:xfrm>
              <a:custGeom>
                <a:avLst/>
                <a:gdLst>
                  <a:gd name="T0" fmla="*/ 99 w 277"/>
                  <a:gd name="T1" fmla="*/ 76 h 219"/>
                  <a:gd name="T2" fmla="*/ 71 w 277"/>
                  <a:gd name="T3" fmla="*/ 122 h 219"/>
                  <a:gd name="T4" fmla="*/ 65 w 277"/>
                  <a:gd name="T5" fmla="*/ 144 h 219"/>
                  <a:gd name="T6" fmla="*/ 62 w 277"/>
                  <a:gd name="T7" fmla="*/ 147 h 219"/>
                  <a:gd name="T8" fmla="*/ 58 w 277"/>
                  <a:gd name="T9" fmla="*/ 152 h 219"/>
                  <a:gd name="T10" fmla="*/ 19 w 277"/>
                  <a:gd name="T11" fmla="*/ 154 h 219"/>
                  <a:gd name="T12" fmla="*/ 13 w 277"/>
                  <a:gd name="T13" fmla="*/ 158 h 219"/>
                  <a:gd name="T14" fmla="*/ 3 w 277"/>
                  <a:gd name="T15" fmla="*/ 158 h 219"/>
                  <a:gd name="T16" fmla="*/ 0 w 277"/>
                  <a:gd name="T17" fmla="*/ 165 h 219"/>
                  <a:gd name="T18" fmla="*/ 2 w 277"/>
                  <a:gd name="T19" fmla="*/ 170 h 219"/>
                  <a:gd name="T20" fmla="*/ 5 w 277"/>
                  <a:gd name="T21" fmla="*/ 177 h 219"/>
                  <a:gd name="T22" fmla="*/ 7 w 277"/>
                  <a:gd name="T23" fmla="*/ 181 h 219"/>
                  <a:gd name="T24" fmla="*/ 17 w 277"/>
                  <a:gd name="T25" fmla="*/ 188 h 219"/>
                  <a:gd name="T26" fmla="*/ 15 w 277"/>
                  <a:gd name="T27" fmla="*/ 188 h 219"/>
                  <a:gd name="T28" fmla="*/ 15 w 277"/>
                  <a:gd name="T29" fmla="*/ 194 h 219"/>
                  <a:gd name="T30" fmla="*/ 26 w 277"/>
                  <a:gd name="T31" fmla="*/ 201 h 219"/>
                  <a:gd name="T32" fmla="*/ 32 w 277"/>
                  <a:gd name="T33" fmla="*/ 200 h 219"/>
                  <a:gd name="T34" fmla="*/ 35 w 277"/>
                  <a:gd name="T35" fmla="*/ 201 h 219"/>
                  <a:gd name="T36" fmla="*/ 35 w 277"/>
                  <a:gd name="T37" fmla="*/ 204 h 219"/>
                  <a:gd name="T38" fmla="*/ 33 w 277"/>
                  <a:gd name="T39" fmla="*/ 209 h 219"/>
                  <a:gd name="T40" fmla="*/ 39 w 277"/>
                  <a:gd name="T41" fmla="*/ 214 h 219"/>
                  <a:gd name="T42" fmla="*/ 39 w 277"/>
                  <a:gd name="T43" fmla="*/ 210 h 219"/>
                  <a:gd name="T44" fmla="*/ 46 w 277"/>
                  <a:gd name="T45" fmla="*/ 206 h 219"/>
                  <a:gd name="T46" fmla="*/ 53 w 277"/>
                  <a:gd name="T47" fmla="*/ 213 h 219"/>
                  <a:gd name="T48" fmla="*/ 61 w 277"/>
                  <a:gd name="T49" fmla="*/ 216 h 219"/>
                  <a:gd name="T50" fmla="*/ 66 w 277"/>
                  <a:gd name="T51" fmla="*/ 197 h 219"/>
                  <a:gd name="T52" fmla="*/ 71 w 277"/>
                  <a:gd name="T53" fmla="*/ 186 h 219"/>
                  <a:gd name="T54" fmla="*/ 78 w 277"/>
                  <a:gd name="T55" fmla="*/ 181 h 219"/>
                  <a:gd name="T56" fmla="*/ 86 w 277"/>
                  <a:gd name="T57" fmla="*/ 181 h 219"/>
                  <a:gd name="T58" fmla="*/ 96 w 277"/>
                  <a:gd name="T59" fmla="*/ 180 h 219"/>
                  <a:gd name="T60" fmla="*/ 111 w 277"/>
                  <a:gd name="T61" fmla="*/ 186 h 219"/>
                  <a:gd name="T62" fmla="*/ 125 w 277"/>
                  <a:gd name="T63" fmla="*/ 193 h 219"/>
                  <a:gd name="T64" fmla="*/ 141 w 277"/>
                  <a:gd name="T65" fmla="*/ 191 h 219"/>
                  <a:gd name="T66" fmla="*/ 154 w 277"/>
                  <a:gd name="T67" fmla="*/ 197 h 219"/>
                  <a:gd name="T68" fmla="*/ 164 w 277"/>
                  <a:gd name="T69" fmla="*/ 198 h 219"/>
                  <a:gd name="T70" fmla="*/ 170 w 277"/>
                  <a:gd name="T71" fmla="*/ 193 h 219"/>
                  <a:gd name="T72" fmla="*/ 184 w 277"/>
                  <a:gd name="T73" fmla="*/ 188 h 219"/>
                  <a:gd name="T74" fmla="*/ 201 w 277"/>
                  <a:gd name="T75" fmla="*/ 190 h 219"/>
                  <a:gd name="T76" fmla="*/ 216 w 277"/>
                  <a:gd name="T77" fmla="*/ 193 h 219"/>
                  <a:gd name="T78" fmla="*/ 236 w 277"/>
                  <a:gd name="T79" fmla="*/ 183 h 219"/>
                  <a:gd name="T80" fmla="*/ 234 w 277"/>
                  <a:gd name="T81" fmla="*/ 170 h 219"/>
                  <a:gd name="T82" fmla="*/ 267 w 277"/>
                  <a:gd name="T83" fmla="*/ 124 h 219"/>
                  <a:gd name="T84" fmla="*/ 273 w 277"/>
                  <a:gd name="T85" fmla="*/ 69 h 219"/>
                  <a:gd name="T86" fmla="*/ 277 w 277"/>
                  <a:gd name="T87" fmla="*/ 60 h 219"/>
                  <a:gd name="T88" fmla="*/ 275 w 277"/>
                  <a:gd name="T89" fmla="*/ 58 h 219"/>
                  <a:gd name="T90" fmla="*/ 270 w 277"/>
                  <a:gd name="T91" fmla="*/ 50 h 219"/>
                  <a:gd name="T92" fmla="*/ 270 w 277"/>
                  <a:gd name="T93" fmla="*/ 49 h 219"/>
                  <a:gd name="T94" fmla="*/ 265 w 277"/>
                  <a:gd name="T95" fmla="*/ 37 h 219"/>
                  <a:gd name="T96" fmla="*/ 250 w 277"/>
                  <a:gd name="T97" fmla="*/ 16 h 219"/>
                  <a:gd name="T98" fmla="*/ 236 w 277"/>
                  <a:gd name="T99" fmla="*/ 7 h 219"/>
                  <a:gd name="T100" fmla="*/ 135 w 277"/>
                  <a:gd name="T101" fmla="*/ 4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7" h="219">
                    <a:moveTo>
                      <a:pt x="122" y="55"/>
                    </a:moveTo>
                    <a:lnTo>
                      <a:pt x="105" y="71"/>
                    </a:lnTo>
                    <a:lnTo>
                      <a:pt x="99" y="76"/>
                    </a:lnTo>
                    <a:lnTo>
                      <a:pt x="94" y="78"/>
                    </a:lnTo>
                    <a:lnTo>
                      <a:pt x="71" y="82"/>
                    </a:lnTo>
                    <a:lnTo>
                      <a:pt x="71" y="122"/>
                    </a:lnTo>
                    <a:lnTo>
                      <a:pt x="71" y="127"/>
                    </a:lnTo>
                    <a:lnTo>
                      <a:pt x="69" y="131"/>
                    </a:lnTo>
                    <a:lnTo>
                      <a:pt x="65" y="144"/>
                    </a:lnTo>
                    <a:lnTo>
                      <a:pt x="65" y="145"/>
                    </a:lnTo>
                    <a:lnTo>
                      <a:pt x="63" y="145"/>
                    </a:lnTo>
                    <a:lnTo>
                      <a:pt x="62" y="147"/>
                    </a:lnTo>
                    <a:lnTo>
                      <a:pt x="61" y="148"/>
                    </a:lnTo>
                    <a:lnTo>
                      <a:pt x="59" y="150"/>
                    </a:lnTo>
                    <a:lnTo>
                      <a:pt x="58" y="152"/>
                    </a:lnTo>
                    <a:lnTo>
                      <a:pt x="51" y="151"/>
                    </a:lnTo>
                    <a:lnTo>
                      <a:pt x="22" y="152"/>
                    </a:lnTo>
                    <a:lnTo>
                      <a:pt x="19" y="154"/>
                    </a:lnTo>
                    <a:lnTo>
                      <a:pt x="17" y="155"/>
                    </a:lnTo>
                    <a:lnTo>
                      <a:pt x="15" y="158"/>
                    </a:lnTo>
                    <a:lnTo>
                      <a:pt x="13" y="158"/>
                    </a:lnTo>
                    <a:lnTo>
                      <a:pt x="10" y="160"/>
                    </a:lnTo>
                    <a:lnTo>
                      <a:pt x="6" y="158"/>
                    </a:lnTo>
                    <a:lnTo>
                      <a:pt x="3" y="158"/>
                    </a:lnTo>
                    <a:lnTo>
                      <a:pt x="0" y="160"/>
                    </a:lnTo>
                    <a:lnTo>
                      <a:pt x="0" y="163"/>
                    </a:lnTo>
                    <a:lnTo>
                      <a:pt x="0" y="165"/>
                    </a:lnTo>
                    <a:lnTo>
                      <a:pt x="0" y="167"/>
                    </a:lnTo>
                    <a:lnTo>
                      <a:pt x="0" y="170"/>
                    </a:lnTo>
                    <a:lnTo>
                      <a:pt x="2" y="170"/>
                    </a:lnTo>
                    <a:lnTo>
                      <a:pt x="3" y="173"/>
                    </a:lnTo>
                    <a:lnTo>
                      <a:pt x="3" y="173"/>
                    </a:lnTo>
                    <a:lnTo>
                      <a:pt x="5" y="177"/>
                    </a:lnTo>
                    <a:lnTo>
                      <a:pt x="5" y="178"/>
                    </a:lnTo>
                    <a:lnTo>
                      <a:pt x="6" y="180"/>
                    </a:lnTo>
                    <a:lnTo>
                      <a:pt x="7" y="181"/>
                    </a:lnTo>
                    <a:lnTo>
                      <a:pt x="13" y="184"/>
                    </a:lnTo>
                    <a:lnTo>
                      <a:pt x="16" y="187"/>
                    </a:lnTo>
                    <a:lnTo>
                      <a:pt x="17" y="188"/>
                    </a:lnTo>
                    <a:lnTo>
                      <a:pt x="16" y="188"/>
                    </a:lnTo>
                    <a:lnTo>
                      <a:pt x="16" y="188"/>
                    </a:lnTo>
                    <a:lnTo>
                      <a:pt x="15" y="188"/>
                    </a:lnTo>
                    <a:lnTo>
                      <a:pt x="13" y="188"/>
                    </a:lnTo>
                    <a:lnTo>
                      <a:pt x="13" y="191"/>
                    </a:lnTo>
                    <a:lnTo>
                      <a:pt x="15" y="194"/>
                    </a:lnTo>
                    <a:lnTo>
                      <a:pt x="22" y="200"/>
                    </a:lnTo>
                    <a:lnTo>
                      <a:pt x="25" y="201"/>
                    </a:lnTo>
                    <a:lnTo>
                      <a:pt x="26" y="201"/>
                    </a:lnTo>
                    <a:lnTo>
                      <a:pt x="28" y="201"/>
                    </a:lnTo>
                    <a:lnTo>
                      <a:pt x="30" y="200"/>
                    </a:lnTo>
                    <a:lnTo>
                      <a:pt x="32" y="200"/>
                    </a:lnTo>
                    <a:lnTo>
                      <a:pt x="33" y="200"/>
                    </a:lnTo>
                    <a:lnTo>
                      <a:pt x="33" y="200"/>
                    </a:lnTo>
                    <a:lnTo>
                      <a:pt x="35" y="201"/>
                    </a:lnTo>
                    <a:lnTo>
                      <a:pt x="35" y="203"/>
                    </a:lnTo>
                    <a:lnTo>
                      <a:pt x="36" y="204"/>
                    </a:lnTo>
                    <a:lnTo>
                      <a:pt x="35" y="204"/>
                    </a:lnTo>
                    <a:lnTo>
                      <a:pt x="35" y="206"/>
                    </a:lnTo>
                    <a:lnTo>
                      <a:pt x="33" y="206"/>
                    </a:lnTo>
                    <a:lnTo>
                      <a:pt x="33" y="209"/>
                    </a:lnTo>
                    <a:lnTo>
                      <a:pt x="35" y="210"/>
                    </a:lnTo>
                    <a:lnTo>
                      <a:pt x="36" y="213"/>
                    </a:lnTo>
                    <a:lnTo>
                      <a:pt x="39" y="214"/>
                    </a:lnTo>
                    <a:lnTo>
                      <a:pt x="39" y="213"/>
                    </a:lnTo>
                    <a:lnTo>
                      <a:pt x="39" y="210"/>
                    </a:lnTo>
                    <a:lnTo>
                      <a:pt x="39" y="210"/>
                    </a:lnTo>
                    <a:lnTo>
                      <a:pt x="40" y="209"/>
                    </a:lnTo>
                    <a:lnTo>
                      <a:pt x="45" y="206"/>
                    </a:lnTo>
                    <a:lnTo>
                      <a:pt x="46" y="206"/>
                    </a:lnTo>
                    <a:lnTo>
                      <a:pt x="48" y="207"/>
                    </a:lnTo>
                    <a:lnTo>
                      <a:pt x="51" y="209"/>
                    </a:lnTo>
                    <a:lnTo>
                      <a:pt x="53" y="213"/>
                    </a:lnTo>
                    <a:lnTo>
                      <a:pt x="59" y="217"/>
                    </a:lnTo>
                    <a:lnTo>
                      <a:pt x="59" y="219"/>
                    </a:lnTo>
                    <a:lnTo>
                      <a:pt x="61" y="216"/>
                    </a:lnTo>
                    <a:lnTo>
                      <a:pt x="61" y="206"/>
                    </a:lnTo>
                    <a:lnTo>
                      <a:pt x="62" y="203"/>
                    </a:lnTo>
                    <a:lnTo>
                      <a:pt x="66" y="197"/>
                    </a:lnTo>
                    <a:lnTo>
                      <a:pt x="68" y="194"/>
                    </a:lnTo>
                    <a:lnTo>
                      <a:pt x="69" y="188"/>
                    </a:lnTo>
                    <a:lnTo>
                      <a:pt x="71" y="186"/>
                    </a:lnTo>
                    <a:lnTo>
                      <a:pt x="72" y="184"/>
                    </a:lnTo>
                    <a:lnTo>
                      <a:pt x="75" y="183"/>
                    </a:lnTo>
                    <a:lnTo>
                      <a:pt x="78" y="181"/>
                    </a:lnTo>
                    <a:lnTo>
                      <a:pt x="81" y="181"/>
                    </a:lnTo>
                    <a:lnTo>
                      <a:pt x="84" y="181"/>
                    </a:lnTo>
                    <a:lnTo>
                      <a:pt x="86" y="181"/>
                    </a:lnTo>
                    <a:lnTo>
                      <a:pt x="91" y="180"/>
                    </a:lnTo>
                    <a:lnTo>
                      <a:pt x="94" y="180"/>
                    </a:lnTo>
                    <a:lnTo>
                      <a:pt x="96" y="180"/>
                    </a:lnTo>
                    <a:lnTo>
                      <a:pt x="101" y="181"/>
                    </a:lnTo>
                    <a:lnTo>
                      <a:pt x="107" y="183"/>
                    </a:lnTo>
                    <a:lnTo>
                      <a:pt x="111" y="186"/>
                    </a:lnTo>
                    <a:lnTo>
                      <a:pt x="118" y="193"/>
                    </a:lnTo>
                    <a:lnTo>
                      <a:pt x="122" y="194"/>
                    </a:lnTo>
                    <a:lnTo>
                      <a:pt x="125" y="193"/>
                    </a:lnTo>
                    <a:lnTo>
                      <a:pt x="131" y="190"/>
                    </a:lnTo>
                    <a:lnTo>
                      <a:pt x="137" y="190"/>
                    </a:lnTo>
                    <a:lnTo>
                      <a:pt x="141" y="191"/>
                    </a:lnTo>
                    <a:lnTo>
                      <a:pt x="145" y="194"/>
                    </a:lnTo>
                    <a:lnTo>
                      <a:pt x="151" y="197"/>
                    </a:lnTo>
                    <a:lnTo>
                      <a:pt x="154" y="197"/>
                    </a:lnTo>
                    <a:lnTo>
                      <a:pt x="157" y="198"/>
                    </a:lnTo>
                    <a:lnTo>
                      <a:pt x="161" y="198"/>
                    </a:lnTo>
                    <a:lnTo>
                      <a:pt x="164" y="198"/>
                    </a:lnTo>
                    <a:lnTo>
                      <a:pt x="167" y="197"/>
                    </a:lnTo>
                    <a:lnTo>
                      <a:pt x="168" y="196"/>
                    </a:lnTo>
                    <a:lnTo>
                      <a:pt x="170" y="193"/>
                    </a:lnTo>
                    <a:lnTo>
                      <a:pt x="173" y="191"/>
                    </a:lnTo>
                    <a:lnTo>
                      <a:pt x="178" y="190"/>
                    </a:lnTo>
                    <a:lnTo>
                      <a:pt x="184" y="188"/>
                    </a:lnTo>
                    <a:lnTo>
                      <a:pt x="190" y="188"/>
                    </a:lnTo>
                    <a:lnTo>
                      <a:pt x="197" y="188"/>
                    </a:lnTo>
                    <a:lnTo>
                      <a:pt x="201" y="190"/>
                    </a:lnTo>
                    <a:lnTo>
                      <a:pt x="207" y="191"/>
                    </a:lnTo>
                    <a:lnTo>
                      <a:pt x="211" y="193"/>
                    </a:lnTo>
                    <a:lnTo>
                      <a:pt x="216" y="193"/>
                    </a:lnTo>
                    <a:lnTo>
                      <a:pt x="226" y="186"/>
                    </a:lnTo>
                    <a:lnTo>
                      <a:pt x="230" y="183"/>
                    </a:lnTo>
                    <a:lnTo>
                      <a:pt x="236" y="183"/>
                    </a:lnTo>
                    <a:lnTo>
                      <a:pt x="234" y="174"/>
                    </a:lnTo>
                    <a:lnTo>
                      <a:pt x="233" y="171"/>
                    </a:lnTo>
                    <a:lnTo>
                      <a:pt x="234" y="170"/>
                    </a:lnTo>
                    <a:lnTo>
                      <a:pt x="246" y="150"/>
                    </a:lnTo>
                    <a:lnTo>
                      <a:pt x="265" y="128"/>
                    </a:lnTo>
                    <a:lnTo>
                      <a:pt x="267" y="124"/>
                    </a:lnTo>
                    <a:lnTo>
                      <a:pt x="269" y="119"/>
                    </a:lnTo>
                    <a:lnTo>
                      <a:pt x="273" y="71"/>
                    </a:lnTo>
                    <a:lnTo>
                      <a:pt x="273" y="69"/>
                    </a:lnTo>
                    <a:lnTo>
                      <a:pt x="275" y="66"/>
                    </a:lnTo>
                    <a:lnTo>
                      <a:pt x="276" y="63"/>
                    </a:lnTo>
                    <a:lnTo>
                      <a:pt x="277" y="60"/>
                    </a:lnTo>
                    <a:lnTo>
                      <a:pt x="276" y="59"/>
                    </a:lnTo>
                    <a:lnTo>
                      <a:pt x="276" y="58"/>
                    </a:lnTo>
                    <a:lnTo>
                      <a:pt x="275" y="58"/>
                    </a:lnTo>
                    <a:lnTo>
                      <a:pt x="272" y="53"/>
                    </a:lnTo>
                    <a:lnTo>
                      <a:pt x="270" y="52"/>
                    </a:lnTo>
                    <a:lnTo>
                      <a:pt x="270" y="50"/>
                    </a:lnTo>
                    <a:lnTo>
                      <a:pt x="270" y="50"/>
                    </a:lnTo>
                    <a:lnTo>
                      <a:pt x="270" y="49"/>
                    </a:lnTo>
                    <a:lnTo>
                      <a:pt x="270" y="49"/>
                    </a:lnTo>
                    <a:lnTo>
                      <a:pt x="270" y="46"/>
                    </a:lnTo>
                    <a:lnTo>
                      <a:pt x="266" y="40"/>
                    </a:lnTo>
                    <a:lnTo>
                      <a:pt x="265" y="37"/>
                    </a:lnTo>
                    <a:lnTo>
                      <a:pt x="263" y="36"/>
                    </a:lnTo>
                    <a:lnTo>
                      <a:pt x="260" y="10"/>
                    </a:lnTo>
                    <a:lnTo>
                      <a:pt x="250" y="16"/>
                    </a:lnTo>
                    <a:lnTo>
                      <a:pt x="247" y="17"/>
                    </a:lnTo>
                    <a:lnTo>
                      <a:pt x="244" y="16"/>
                    </a:lnTo>
                    <a:lnTo>
                      <a:pt x="236" y="7"/>
                    </a:lnTo>
                    <a:lnTo>
                      <a:pt x="230" y="4"/>
                    </a:lnTo>
                    <a:lnTo>
                      <a:pt x="207" y="0"/>
                    </a:lnTo>
                    <a:lnTo>
                      <a:pt x="135" y="45"/>
                    </a:lnTo>
                    <a:lnTo>
                      <a:pt x="122" y="5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12" name="Freeform 199">
                <a:extLst>
                  <a:ext uri="{FF2B5EF4-FFF2-40B4-BE49-F238E27FC236}">
                    <a16:creationId xmlns:a16="http://schemas.microsoft.com/office/drawing/2014/main" id="{CEA1C5E3-5D93-3244-30E7-4F5B5116E1F1}"/>
                  </a:ext>
                </a:extLst>
              </p:cNvPr>
              <p:cNvSpPr>
                <a:spLocks/>
              </p:cNvSpPr>
              <p:nvPr/>
            </p:nvSpPr>
            <p:spPr bwMode="auto">
              <a:xfrm>
                <a:off x="3784" y="2294"/>
                <a:ext cx="185" cy="291"/>
              </a:xfrm>
              <a:custGeom>
                <a:avLst/>
                <a:gdLst>
                  <a:gd name="T0" fmla="*/ 37 w 185"/>
                  <a:gd name="T1" fmla="*/ 47 h 291"/>
                  <a:gd name="T2" fmla="*/ 37 w 185"/>
                  <a:gd name="T3" fmla="*/ 50 h 291"/>
                  <a:gd name="T4" fmla="*/ 43 w 185"/>
                  <a:gd name="T5" fmla="*/ 57 h 291"/>
                  <a:gd name="T6" fmla="*/ 40 w 185"/>
                  <a:gd name="T7" fmla="*/ 67 h 291"/>
                  <a:gd name="T8" fmla="*/ 32 w 185"/>
                  <a:gd name="T9" fmla="*/ 126 h 291"/>
                  <a:gd name="T10" fmla="*/ 1 w 185"/>
                  <a:gd name="T11" fmla="*/ 172 h 291"/>
                  <a:gd name="T12" fmla="*/ 16 w 185"/>
                  <a:gd name="T13" fmla="*/ 192 h 291"/>
                  <a:gd name="T14" fmla="*/ 20 w 185"/>
                  <a:gd name="T15" fmla="*/ 196 h 291"/>
                  <a:gd name="T16" fmla="*/ 24 w 185"/>
                  <a:gd name="T17" fmla="*/ 201 h 291"/>
                  <a:gd name="T18" fmla="*/ 29 w 185"/>
                  <a:gd name="T19" fmla="*/ 214 h 291"/>
                  <a:gd name="T20" fmla="*/ 29 w 185"/>
                  <a:gd name="T21" fmla="*/ 232 h 291"/>
                  <a:gd name="T22" fmla="*/ 39 w 185"/>
                  <a:gd name="T23" fmla="*/ 247 h 291"/>
                  <a:gd name="T24" fmla="*/ 14 w 185"/>
                  <a:gd name="T25" fmla="*/ 248 h 291"/>
                  <a:gd name="T26" fmla="*/ 10 w 185"/>
                  <a:gd name="T27" fmla="*/ 255 h 291"/>
                  <a:gd name="T28" fmla="*/ 27 w 185"/>
                  <a:gd name="T29" fmla="*/ 270 h 291"/>
                  <a:gd name="T30" fmla="*/ 36 w 185"/>
                  <a:gd name="T31" fmla="*/ 287 h 291"/>
                  <a:gd name="T32" fmla="*/ 44 w 185"/>
                  <a:gd name="T33" fmla="*/ 290 h 291"/>
                  <a:gd name="T34" fmla="*/ 53 w 185"/>
                  <a:gd name="T35" fmla="*/ 286 h 291"/>
                  <a:gd name="T36" fmla="*/ 59 w 185"/>
                  <a:gd name="T37" fmla="*/ 290 h 291"/>
                  <a:gd name="T38" fmla="*/ 73 w 185"/>
                  <a:gd name="T39" fmla="*/ 284 h 291"/>
                  <a:gd name="T40" fmla="*/ 92 w 185"/>
                  <a:gd name="T41" fmla="*/ 280 h 291"/>
                  <a:gd name="T42" fmla="*/ 96 w 185"/>
                  <a:gd name="T43" fmla="*/ 268 h 291"/>
                  <a:gd name="T44" fmla="*/ 110 w 185"/>
                  <a:gd name="T45" fmla="*/ 264 h 291"/>
                  <a:gd name="T46" fmla="*/ 129 w 185"/>
                  <a:gd name="T47" fmla="*/ 257 h 291"/>
                  <a:gd name="T48" fmla="*/ 144 w 185"/>
                  <a:gd name="T49" fmla="*/ 242 h 291"/>
                  <a:gd name="T50" fmla="*/ 146 w 185"/>
                  <a:gd name="T51" fmla="*/ 235 h 291"/>
                  <a:gd name="T52" fmla="*/ 162 w 185"/>
                  <a:gd name="T53" fmla="*/ 230 h 291"/>
                  <a:gd name="T54" fmla="*/ 166 w 185"/>
                  <a:gd name="T55" fmla="*/ 222 h 291"/>
                  <a:gd name="T56" fmla="*/ 162 w 185"/>
                  <a:gd name="T57" fmla="*/ 219 h 291"/>
                  <a:gd name="T58" fmla="*/ 161 w 185"/>
                  <a:gd name="T59" fmla="*/ 211 h 291"/>
                  <a:gd name="T60" fmla="*/ 158 w 185"/>
                  <a:gd name="T61" fmla="*/ 202 h 291"/>
                  <a:gd name="T62" fmla="*/ 155 w 185"/>
                  <a:gd name="T63" fmla="*/ 198 h 291"/>
                  <a:gd name="T64" fmla="*/ 148 w 185"/>
                  <a:gd name="T65" fmla="*/ 198 h 291"/>
                  <a:gd name="T66" fmla="*/ 154 w 185"/>
                  <a:gd name="T67" fmla="*/ 188 h 291"/>
                  <a:gd name="T68" fmla="*/ 152 w 185"/>
                  <a:gd name="T69" fmla="*/ 178 h 291"/>
                  <a:gd name="T70" fmla="*/ 159 w 185"/>
                  <a:gd name="T71" fmla="*/ 172 h 291"/>
                  <a:gd name="T72" fmla="*/ 159 w 185"/>
                  <a:gd name="T73" fmla="*/ 163 h 291"/>
                  <a:gd name="T74" fmla="*/ 162 w 185"/>
                  <a:gd name="T75" fmla="*/ 161 h 291"/>
                  <a:gd name="T76" fmla="*/ 164 w 185"/>
                  <a:gd name="T77" fmla="*/ 156 h 291"/>
                  <a:gd name="T78" fmla="*/ 166 w 185"/>
                  <a:gd name="T79" fmla="*/ 146 h 291"/>
                  <a:gd name="T80" fmla="*/ 169 w 185"/>
                  <a:gd name="T81" fmla="*/ 145 h 291"/>
                  <a:gd name="T82" fmla="*/ 175 w 185"/>
                  <a:gd name="T83" fmla="*/ 143 h 291"/>
                  <a:gd name="T84" fmla="*/ 184 w 185"/>
                  <a:gd name="T85" fmla="*/ 143 h 291"/>
                  <a:gd name="T86" fmla="*/ 185 w 185"/>
                  <a:gd name="T87" fmla="*/ 143 h 291"/>
                  <a:gd name="T88" fmla="*/ 185 w 185"/>
                  <a:gd name="T89" fmla="*/ 123 h 291"/>
                  <a:gd name="T90" fmla="*/ 185 w 185"/>
                  <a:gd name="T91" fmla="*/ 94 h 291"/>
                  <a:gd name="T92" fmla="*/ 185 w 185"/>
                  <a:gd name="T93" fmla="*/ 74 h 291"/>
                  <a:gd name="T94" fmla="*/ 32 w 185"/>
                  <a:gd name="T95" fmla="*/ 3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5" h="291">
                    <a:moveTo>
                      <a:pt x="32" y="35"/>
                    </a:moveTo>
                    <a:lnTo>
                      <a:pt x="33" y="38"/>
                    </a:lnTo>
                    <a:lnTo>
                      <a:pt x="37" y="44"/>
                    </a:lnTo>
                    <a:lnTo>
                      <a:pt x="37" y="47"/>
                    </a:lnTo>
                    <a:lnTo>
                      <a:pt x="37" y="47"/>
                    </a:lnTo>
                    <a:lnTo>
                      <a:pt x="37" y="48"/>
                    </a:lnTo>
                    <a:lnTo>
                      <a:pt x="37" y="48"/>
                    </a:lnTo>
                    <a:lnTo>
                      <a:pt x="37" y="50"/>
                    </a:lnTo>
                    <a:lnTo>
                      <a:pt x="39" y="51"/>
                    </a:lnTo>
                    <a:lnTo>
                      <a:pt x="42" y="56"/>
                    </a:lnTo>
                    <a:lnTo>
                      <a:pt x="43" y="56"/>
                    </a:lnTo>
                    <a:lnTo>
                      <a:pt x="43" y="57"/>
                    </a:lnTo>
                    <a:lnTo>
                      <a:pt x="44" y="58"/>
                    </a:lnTo>
                    <a:lnTo>
                      <a:pt x="43" y="61"/>
                    </a:lnTo>
                    <a:lnTo>
                      <a:pt x="42" y="64"/>
                    </a:lnTo>
                    <a:lnTo>
                      <a:pt x="40" y="67"/>
                    </a:lnTo>
                    <a:lnTo>
                      <a:pt x="40" y="69"/>
                    </a:lnTo>
                    <a:lnTo>
                      <a:pt x="36" y="117"/>
                    </a:lnTo>
                    <a:lnTo>
                      <a:pt x="34" y="122"/>
                    </a:lnTo>
                    <a:lnTo>
                      <a:pt x="32" y="126"/>
                    </a:lnTo>
                    <a:lnTo>
                      <a:pt x="13" y="148"/>
                    </a:lnTo>
                    <a:lnTo>
                      <a:pt x="1" y="168"/>
                    </a:lnTo>
                    <a:lnTo>
                      <a:pt x="0" y="169"/>
                    </a:lnTo>
                    <a:lnTo>
                      <a:pt x="1" y="172"/>
                    </a:lnTo>
                    <a:lnTo>
                      <a:pt x="3" y="181"/>
                    </a:lnTo>
                    <a:lnTo>
                      <a:pt x="11" y="191"/>
                    </a:lnTo>
                    <a:lnTo>
                      <a:pt x="13" y="191"/>
                    </a:lnTo>
                    <a:lnTo>
                      <a:pt x="16" y="192"/>
                    </a:lnTo>
                    <a:lnTo>
                      <a:pt x="17" y="192"/>
                    </a:lnTo>
                    <a:lnTo>
                      <a:pt x="19" y="194"/>
                    </a:lnTo>
                    <a:lnTo>
                      <a:pt x="19" y="195"/>
                    </a:lnTo>
                    <a:lnTo>
                      <a:pt x="20" y="196"/>
                    </a:lnTo>
                    <a:lnTo>
                      <a:pt x="20" y="198"/>
                    </a:lnTo>
                    <a:lnTo>
                      <a:pt x="21" y="198"/>
                    </a:lnTo>
                    <a:lnTo>
                      <a:pt x="23" y="199"/>
                    </a:lnTo>
                    <a:lnTo>
                      <a:pt x="24" y="201"/>
                    </a:lnTo>
                    <a:lnTo>
                      <a:pt x="24" y="202"/>
                    </a:lnTo>
                    <a:lnTo>
                      <a:pt x="27" y="209"/>
                    </a:lnTo>
                    <a:lnTo>
                      <a:pt x="29" y="212"/>
                    </a:lnTo>
                    <a:lnTo>
                      <a:pt x="29" y="214"/>
                    </a:lnTo>
                    <a:lnTo>
                      <a:pt x="29" y="215"/>
                    </a:lnTo>
                    <a:lnTo>
                      <a:pt x="29" y="219"/>
                    </a:lnTo>
                    <a:lnTo>
                      <a:pt x="29" y="228"/>
                    </a:lnTo>
                    <a:lnTo>
                      <a:pt x="29" y="232"/>
                    </a:lnTo>
                    <a:lnTo>
                      <a:pt x="30" y="237"/>
                    </a:lnTo>
                    <a:lnTo>
                      <a:pt x="33" y="241"/>
                    </a:lnTo>
                    <a:lnTo>
                      <a:pt x="36" y="244"/>
                    </a:lnTo>
                    <a:lnTo>
                      <a:pt x="39" y="247"/>
                    </a:lnTo>
                    <a:lnTo>
                      <a:pt x="36" y="247"/>
                    </a:lnTo>
                    <a:lnTo>
                      <a:pt x="34" y="248"/>
                    </a:lnTo>
                    <a:lnTo>
                      <a:pt x="17" y="247"/>
                    </a:lnTo>
                    <a:lnTo>
                      <a:pt x="14" y="248"/>
                    </a:lnTo>
                    <a:lnTo>
                      <a:pt x="11" y="248"/>
                    </a:lnTo>
                    <a:lnTo>
                      <a:pt x="10" y="251"/>
                    </a:lnTo>
                    <a:lnTo>
                      <a:pt x="10" y="253"/>
                    </a:lnTo>
                    <a:lnTo>
                      <a:pt x="10" y="255"/>
                    </a:lnTo>
                    <a:lnTo>
                      <a:pt x="11" y="257"/>
                    </a:lnTo>
                    <a:lnTo>
                      <a:pt x="16" y="261"/>
                    </a:lnTo>
                    <a:lnTo>
                      <a:pt x="20" y="264"/>
                    </a:lnTo>
                    <a:lnTo>
                      <a:pt x="27" y="270"/>
                    </a:lnTo>
                    <a:lnTo>
                      <a:pt x="30" y="274"/>
                    </a:lnTo>
                    <a:lnTo>
                      <a:pt x="33" y="277"/>
                    </a:lnTo>
                    <a:lnTo>
                      <a:pt x="34" y="283"/>
                    </a:lnTo>
                    <a:lnTo>
                      <a:pt x="36" y="287"/>
                    </a:lnTo>
                    <a:lnTo>
                      <a:pt x="36" y="291"/>
                    </a:lnTo>
                    <a:lnTo>
                      <a:pt x="39" y="291"/>
                    </a:lnTo>
                    <a:lnTo>
                      <a:pt x="42" y="291"/>
                    </a:lnTo>
                    <a:lnTo>
                      <a:pt x="44" y="290"/>
                    </a:lnTo>
                    <a:lnTo>
                      <a:pt x="50" y="288"/>
                    </a:lnTo>
                    <a:lnTo>
                      <a:pt x="52" y="287"/>
                    </a:lnTo>
                    <a:lnTo>
                      <a:pt x="52" y="287"/>
                    </a:lnTo>
                    <a:lnTo>
                      <a:pt x="53" y="286"/>
                    </a:lnTo>
                    <a:lnTo>
                      <a:pt x="53" y="286"/>
                    </a:lnTo>
                    <a:lnTo>
                      <a:pt x="54" y="284"/>
                    </a:lnTo>
                    <a:lnTo>
                      <a:pt x="56" y="288"/>
                    </a:lnTo>
                    <a:lnTo>
                      <a:pt x="59" y="290"/>
                    </a:lnTo>
                    <a:lnTo>
                      <a:pt x="63" y="288"/>
                    </a:lnTo>
                    <a:lnTo>
                      <a:pt x="66" y="286"/>
                    </a:lnTo>
                    <a:lnTo>
                      <a:pt x="70" y="284"/>
                    </a:lnTo>
                    <a:lnTo>
                      <a:pt x="73" y="284"/>
                    </a:lnTo>
                    <a:lnTo>
                      <a:pt x="80" y="283"/>
                    </a:lnTo>
                    <a:lnTo>
                      <a:pt x="88" y="283"/>
                    </a:lnTo>
                    <a:lnTo>
                      <a:pt x="90" y="281"/>
                    </a:lnTo>
                    <a:lnTo>
                      <a:pt x="92" y="280"/>
                    </a:lnTo>
                    <a:lnTo>
                      <a:pt x="99" y="273"/>
                    </a:lnTo>
                    <a:lnTo>
                      <a:pt x="99" y="271"/>
                    </a:lnTo>
                    <a:lnTo>
                      <a:pt x="99" y="270"/>
                    </a:lnTo>
                    <a:lnTo>
                      <a:pt x="96" y="268"/>
                    </a:lnTo>
                    <a:lnTo>
                      <a:pt x="96" y="267"/>
                    </a:lnTo>
                    <a:lnTo>
                      <a:pt x="98" y="265"/>
                    </a:lnTo>
                    <a:lnTo>
                      <a:pt x="102" y="264"/>
                    </a:lnTo>
                    <a:lnTo>
                      <a:pt x="110" y="264"/>
                    </a:lnTo>
                    <a:lnTo>
                      <a:pt x="118" y="263"/>
                    </a:lnTo>
                    <a:lnTo>
                      <a:pt x="122" y="261"/>
                    </a:lnTo>
                    <a:lnTo>
                      <a:pt x="126" y="260"/>
                    </a:lnTo>
                    <a:lnTo>
                      <a:pt x="129" y="257"/>
                    </a:lnTo>
                    <a:lnTo>
                      <a:pt x="133" y="251"/>
                    </a:lnTo>
                    <a:lnTo>
                      <a:pt x="136" y="248"/>
                    </a:lnTo>
                    <a:lnTo>
                      <a:pt x="141" y="245"/>
                    </a:lnTo>
                    <a:lnTo>
                      <a:pt x="144" y="242"/>
                    </a:lnTo>
                    <a:lnTo>
                      <a:pt x="145" y="241"/>
                    </a:lnTo>
                    <a:lnTo>
                      <a:pt x="145" y="240"/>
                    </a:lnTo>
                    <a:lnTo>
                      <a:pt x="145" y="237"/>
                    </a:lnTo>
                    <a:lnTo>
                      <a:pt x="146" y="235"/>
                    </a:lnTo>
                    <a:lnTo>
                      <a:pt x="148" y="234"/>
                    </a:lnTo>
                    <a:lnTo>
                      <a:pt x="155" y="231"/>
                    </a:lnTo>
                    <a:lnTo>
                      <a:pt x="158" y="230"/>
                    </a:lnTo>
                    <a:lnTo>
                      <a:pt x="162" y="230"/>
                    </a:lnTo>
                    <a:lnTo>
                      <a:pt x="165" y="231"/>
                    </a:lnTo>
                    <a:lnTo>
                      <a:pt x="166" y="228"/>
                    </a:lnTo>
                    <a:lnTo>
                      <a:pt x="166" y="224"/>
                    </a:lnTo>
                    <a:lnTo>
                      <a:pt x="166" y="222"/>
                    </a:lnTo>
                    <a:lnTo>
                      <a:pt x="165" y="221"/>
                    </a:lnTo>
                    <a:lnTo>
                      <a:pt x="165" y="221"/>
                    </a:lnTo>
                    <a:lnTo>
                      <a:pt x="164" y="221"/>
                    </a:lnTo>
                    <a:lnTo>
                      <a:pt x="162" y="219"/>
                    </a:lnTo>
                    <a:lnTo>
                      <a:pt x="161" y="218"/>
                    </a:lnTo>
                    <a:lnTo>
                      <a:pt x="161" y="217"/>
                    </a:lnTo>
                    <a:lnTo>
                      <a:pt x="161" y="211"/>
                    </a:lnTo>
                    <a:lnTo>
                      <a:pt x="161" y="211"/>
                    </a:lnTo>
                    <a:lnTo>
                      <a:pt x="159" y="209"/>
                    </a:lnTo>
                    <a:lnTo>
                      <a:pt x="158" y="209"/>
                    </a:lnTo>
                    <a:lnTo>
                      <a:pt x="158" y="202"/>
                    </a:lnTo>
                    <a:lnTo>
                      <a:pt x="158" y="202"/>
                    </a:lnTo>
                    <a:lnTo>
                      <a:pt x="158" y="201"/>
                    </a:lnTo>
                    <a:lnTo>
                      <a:pt x="158" y="201"/>
                    </a:lnTo>
                    <a:lnTo>
                      <a:pt x="156" y="199"/>
                    </a:lnTo>
                    <a:lnTo>
                      <a:pt x="155" y="198"/>
                    </a:lnTo>
                    <a:lnTo>
                      <a:pt x="151" y="199"/>
                    </a:lnTo>
                    <a:lnTo>
                      <a:pt x="149" y="199"/>
                    </a:lnTo>
                    <a:lnTo>
                      <a:pt x="148" y="198"/>
                    </a:lnTo>
                    <a:lnTo>
                      <a:pt x="148" y="198"/>
                    </a:lnTo>
                    <a:lnTo>
                      <a:pt x="148" y="198"/>
                    </a:lnTo>
                    <a:lnTo>
                      <a:pt x="148" y="196"/>
                    </a:lnTo>
                    <a:lnTo>
                      <a:pt x="151" y="191"/>
                    </a:lnTo>
                    <a:lnTo>
                      <a:pt x="154" y="188"/>
                    </a:lnTo>
                    <a:lnTo>
                      <a:pt x="155" y="186"/>
                    </a:lnTo>
                    <a:lnTo>
                      <a:pt x="155" y="185"/>
                    </a:lnTo>
                    <a:lnTo>
                      <a:pt x="152" y="179"/>
                    </a:lnTo>
                    <a:lnTo>
                      <a:pt x="152" y="178"/>
                    </a:lnTo>
                    <a:lnTo>
                      <a:pt x="152" y="178"/>
                    </a:lnTo>
                    <a:lnTo>
                      <a:pt x="154" y="176"/>
                    </a:lnTo>
                    <a:lnTo>
                      <a:pt x="159" y="172"/>
                    </a:lnTo>
                    <a:lnTo>
                      <a:pt x="159" y="172"/>
                    </a:lnTo>
                    <a:lnTo>
                      <a:pt x="159" y="171"/>
                    </a:lnTo>
                    <a:lnTo>
                      <a:pt x="158" y="171"/>
                    </a:lnTo>
                    <a:lnTo>
                      <a:pt x="156" y="165"/>
                    </a:lnTo>
                    <a:lnTo>
                      <a:pt x="159" y="163"/>
                    </a:lnTo>
                    <a:lnTo>
                      <a:pt x="161" y="162"/>
                    </a:lnTo>
                    <a:lnTo>
                      <a:pt x="162" y="162"/>
                    </a:lnTo>
                    <a:lnTo>
                      <a:pt x="162" y="162"/>
                    </a:lnTo>
                    <a:lnTo>
                      <a:pt x="162" y="161"/>
                    </a:lnTo>
                    <a:lnTo>
                      <a:pt x="162" y="159"/>
                    </a:lnTo>
                    <a:lnTo>
                      <a:pt x="162" y="159"/>
                    </a:lnTo>
                    <a:lnTo>
                      <a:pt x="164" y="159"/>
                    </a:lnTo>
                    <a:lnTo>
                      <a:pt x="164" y="156"/>
                    </a:lnTo>
                    <a:lnTo>
                      <a:pt x="166" y="153"/>
                    </a:lnTo>
                    <a:lnTo>
                      <a:pt x="168" y="152"/>
                    </a:lnTo>
                    <a:lnTo>
                      <a:pt x="166" y="149"/>
                    </a:lnTo>
                    <a:lnTo>
                      <a:pt x="166" y="146"/>
                    </a:lnTo>
                    <a:lnTo>
                      <a:pt x="168" y="146"/>
                    </a:lnTo>
                    <a:lnTo>
                      <a:pt x="168" y="146"/>
                    </a:lnTo>
                    <a:lnTo>
                      <a:pt x="168" y="145"/>
                    </a:lnTo>
                    <a:lnTo>
                      <a:pt x="169" y="145"/>
                    </a:lnTo>
                    <a:lnTo>
                      <a:pt x="171" y="143"/>
                    </a:lnTo>
                    <a:lnTo>
                      <a:pt x="171" y="143"/>
                    </a:lnTo>
                    <a:lnTo>
                      <a:pt x="174" y="143"/>
                    </a:lnTo>
                    <a:lnTo>
                      <a:pt x="175" y="143"/>
                    </a:lnTo>
                    <a:lnTo>
                      <a:pt x="177" y="143"/>
                    </a:lnTo>
                    <a:lnTo>
                      <a:pt x="178" y="143"/>
                    </a:lnTo>
                    <a:lnTo>
                      <a:pt x="181" y="143"/>
                    </a:lnTo>
                    <a:lnTo>
                      <a:pt x="184" y="143"/>
                    </a:lnTo>
                    <a:lnTo>
                      <a:pt x="185" y="143"/>
                    </a:lnTo>
                    <a:lnTo>
                      <a:pt x="185" y="143"/>
                    </a:lnTo>
                    <a:lnTo>
                      <a:pt x="185" y="143"/>
                    </a:lnTo>
                    <a:lnTo>
                      <a:pt x="185" y="143"/>
                    </a:lnTo>
                    <a:lnTo>
                      <a:pt x="185" y="142"/>
                    </a:lnTo>
                    <a:lnTo>
                      <a:pt x="185" y="133"/>
                    </a:lnTo>
                    <a:lnTo>
                      <a:pt x="185" y="132"/>
                    </a:lnTo>
                    <a:lnTo>
                      <a:pt x="185" y="123"/>
                    </a:lnTo>
                    <a:lnTo>
                      <a:pt x="185" y="115"/>
                    </a:lnTo>
                    <a:lnTo>
                      <a:pt x="185" y="109"/>
                    </a:lnTo>
                    <a:lnTo>
                      <a:pt x="185" y="103"/>
                    </a:lnTo>
                    <a:lnTo>
                      <a:pt x="185" y="94"/>
                    </a:lnTo>
                    <a:lnTo>
                      <a:pt x="185" y="90"/>
                    </a:lnTo>
                    <a:lnTo>
                      <a:pt x="185" y="86"/>
                    </a:lnTo>
                    <a:lnTo>
                      <a:pt x="185" y="76"/>
                    </a:lnTo>
                    <a:lnTo>
                      <a:pt x="185" y="74"/>
                    </a:lnTo>
                    <a:lnTo>
                      <a:pt x="44" y="0"/>
                    </a:lnTo>
                    <a:lnTo>
                      <a:pt x="27" y="8"/>
                    </a:lnTo>
                    <a:lnTo>
                      <a:pt x="30" y="34"/>
                    </a:lnTo>
                    <a:lnTo>
                      <a:pt x="32" y="35"/>
                    </a:lnTo>
                    <a:lnTo>
                      <a:pt x="32" y="3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13" name="Freeform 200">
                <a:extLst>
                  <a:ext uri="{FF2B5EF4-FFF2-40B4-BE49-F238E27FC236}">
                    <a16:creationId xmlns:a16="http://schemas.microsoft.com/office/drawing/2014/main" id="{6A6B38AF-BC95-3D26-8C58-6736D455F126}"/>
                  </a:ext>
                </a:extLst>
              </p:cNvPr>
              <p:cNvSpPr>
                <a:spLocks/>
              </p:cNvSpPr>
              <p:nvPr/>
            </p:nvSpPr>
            <p:spPr bwMode="auto">
              <a:xfrm>
                <a:off x="3801" y="2524"/>
                <a:ext cx="228" cy="153"/>
              </a:xfrm>
              <a:custGeom>
                <a:avLst/>
                <a:gdLst>
                  <a:gd name="T0" fmla="*/ 129 w 228"/>
                  <a:gd name="T1" fmla="*/ 5 h 153"/>
                  <a:gd name="T2" fmla="*/ 127 w 228"/>
                  <a:gd name="T3" fmla="*/ 12 h 153"/>
                  <a:gd name="T4" fmla="*/ 112 w 228"/>
                  <a:gd name="T5" fmla="*/ 27 h 153"/>
                  <a:gd name="T6" fmla="*/ 93 w 228"/>
                  <a:gd name="T7" fmla="*/ 34 h 153"/>
                  <a:gd name="T8" fmla="*/ 79 w 228"/>
                  <a:gd name="T9" fmla="*/ 38 h 153"/>
                  <a:gd name="T10" fmla="*/ 75 w 228"/>
                  <a:gd name="T11" fmla="*/ 50 h 153"/>
                  <a:gd name="T12" fmla="*/ 56 w 228"/>
                  <a:gd name="T13" fmla="*/ 54 h 153"/>
                  <a:gd name="T14" fmla="*/ 42 w 228"/>
                  <a:gd name="T15" fmla="*/ 60 h 153"/>
                  <a:gd name="T16" fmla="*/ 36 w 228"/>
                  <a:gd name="T17" fmla="*/ 56 h 153"/>
                  <a:gd name="T18" fmla="*/ 27 w 228"/>
                  <a:gd name="T19" fmla="*/ 60 h 153"/>
                  <a:gd name="T20" fmla="*/ 17 w 228"/>
                  <a:gd name="T21" fmla="*/ 63 h 153"/>
                  <a:gd name="T22" fmla="*/ 6 w 228"/>
                  <a:gd name="T23" fmla="*/ 83 h 153"/>
                  <a:gd name="T24" fmla="*/ 0 w 228"/>
                  <a:gd name="T25" fmla="*/ 87 h 153"/>
                  <a:gd name="T26" fmla="*/ 3 w 228"/>
                  <a:gd name="T27" fmla="*/ 92 h 153"/>
                  <a:gd name="T28" fmla="*/ 6 w 228"/>
                  <a:gd name="T29" fmla="*/ 110 h 153"/>
                  <a:gd name="T30" fmla="*/ 12 w 228"/>
                  <a:gd name="T31" fmla="*/ 120 h 153"/>
                  <a:gd name="T32" fmla="*/ 17 w 228"/>
                  <a:gd name="T33" fmla="*/ 132 h 153"/>
                  <a:gd name="T34" fmla="*/ 30 w 228"/>
                  <a:gd name="T35" fmla="*/ 149 h 153"/>
                  <a:gd name="T36" fmla="*/ 36 w 228"/>
                  <a:gd name="T37" fmla="*/ 143 h 153"/>
                  <a:gd name="T38" fmla="*/ 42 w 228"/>
                  <a:gd name="T39" fmla="*/ 132 h 153"/>
                  <a:gd name="T40" fmla="*/ 65 w 228"/>
                  <a:gd name="T41" fmla="*/ 132 h 153"/>
                  <a:gd name="T42" fmla="*/ 73 w 228"/>
                  <a:gd name="T43" fmla="*/ 132 h 153"/>
                  <a:gd name="T44" fmla="*/ 78 w 228"/>
                  <a:gd name="T45" fmla="*/ 115 h 153"/>
                  <a:gd name="T46" fmla="*/ 96 w 228"/>
                  <a:gd name="T47" fmla="*/ 106 h 153"/>
                  <a:gd name="T48" fmla="*/ 109 w 228"/>
                  <a:gd name="T49" fmla="*/ 115 h 153"/>
                  <a:gd name="T50" fmla="*/ 132 w 228"/>
                  <a:gd name="T51" fmla="*/ 119 h 153"/>
                  <a:gd name="T52" fmla="*/ 142 w 228"/>
                  <a:gd name="T53" fmla="*/ 119 h 153"/>
                  <a:gd name="T54" fmla="*/ 155 w 228"/>
                  <a:gd name="T55" fmla="*/ 112 h 153"/>
                  <a:gd name="T56" fmla="*/ 178 w 228"/>
                  <a:gd name="T57" fmla="*/ 106 h 153"/>
                  <a:gd name="T58" fmla="*/ 190 w 228"/>
                  <a:gd name="T59" fmla="*/ 104 h 153"/>
                  <a:gd name="T60" fmla="*/ 198 w 228"/>
                  <a:gd name="T61" fmla="*/ 100 h 153"/>
                  <a:gd name="T62" fmla="*/ 217 w 228"/>
                  <a:gd name="T63" fmla="*/ 104 h 153"/>
                  <a:gd name="T64" fmla="*/ 226 w 228"/>
                  <a:gd name="T65" fmla="*/ 103 h 153"/>
                  <a:gd name="T66" fmla="*/ 227 w 228"/>
                  <a:gd name="T67" fmla="*/ 102 h 153"/>
                  <a:gd name="T68" fmla="*/ 226 w 228"/>
                  <a:gd name="T69" fmla="*/ 97 h 153"/>
                  <a:gd name="T70" fmla="*/ 226 w 228"/>
                  <a:gd name="T71" fmla="*/ 94 h 153"/>
                  <a:gd name="T72" fmla="*/ 223 w 228"/>
                  <a:gd name="T73" fmla="*/ 92 h 153"/>
                  <a:gd name="T74" fmla="*/ 217 w 228"/>
                  <a:gd name="T75" fmla="*/ 89 h 153"/>
                  <a:gd name="T76" fmla="*/ 214 w 228"/>
                  <a:gd name="T77" fmla="*/ 87 h 153"/>
                  <a:gd name="T78" fmla="*/ 213 w 228"/>
                  <a:gd name="T79" fmla="*/ 86 h 153"/>
                  <a:gd name="T80" fmla="*/ 210 w 228"/>
                  <a:gd name="T81" fmla="*/ 83 h 153"/>
                  <a:gd name="T82" fmla="*/ 210 w 228"/>
                  <a:gd name="T83" fmla="*/ 77 h 153"/>
                  <a:gd name="T84" fmla="*/ 206 w 228"/>
                  <a:gd name="T85" fmla="*/ 71 h 153"/>
                  <a:gd name="T86" fmla="*/ 201 w 228"/>
                  <a:gd name="T87" fmla="*/ 69 h 153"/>
                  <a:gd name="T88" fmla="*/ 193 w 228"/>
                  <a:gd name="T89" fmla="*/ 63 h 153"/>
                  <a:gd name="T90" fmla="*/ 190 w 228"/>
                  <a:gd name="T91" fmla="*/ 61 h 153"/>
                  <a:gd name="T92" fmla="*/ 190 w 228"/>
                  <a:gd name="T93" fmla="*/ 56 h 153"/>
                  <a:gd name="T94" fmla="*/ 183 w 228"/>
                  <a:gd name="T95" fmla="*/ 50 h 153"/>
                  <a:gd name="T96" fmla="*/ 174 w 228"/>
                  <a:gd name="T97" fmla="*/ 47 h 153"/>
                  <a:gd name="T98" fmla="*/ 172 w 228"/>
                  <a:gd name="T99" fmla="*/ 41 h 153"/>
                  <a:gd name="T100" fmla="*/ 171 w 228"/>
                  <a:gd name="T101" fmla="*/ 41 h 153"/>
                  <a:gd name="T102" fmla="*/ 162 w 228"/>
                  <a:gd name="T103" fmla="*/ 40 h 153"/>
                  <a:gd name="T104" fmla="*/ 161 w 228"/>
                  <a:gd name="T105" fmla="*/ 37 h 153"/>
                  <a:gd name="T106" fmla="*/ 160 w 228"/>
                  <a:gd name="T107" fmla="*/ 34 h 153"/>
                  <a:gd name="T108" fmla="*/ 162 w 228"/>
                  <a:gd name="T109" fmla="*/ 28 h 153"/>
                  <a:gd name="T110" fmla="*/ 162 w 228"/>
                  <a:gd name="T111" fmla="*/ 21 h 153"/>
                  <a:gd name="T112" fmla="*/ 161 w 228"/>
                  <a:gd name="T113" fmla="*/ 18 h 153"/>
                  <a:gd name="T114" fmla="*/ 158 w 228"/>
                  <a:gd name="T115" fmla="*/ 11 h 153"/>
                  <a:gd name="T116" fmla="*/ 148 w 228"/>
                  <a:gd name="T117" fmla="*/ 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8" h="153">
                    <a:moveTo>
                      <a:pt x="141" y="0"/>
                    </a:moveTo>
                    <a:lnTo>
                      <a:pt x="138" y="1"/>
                    </a:lnTo>
                    <a:lnTo>
                      <a:pt x="131" y="4"/>
                    </a:lnTo>
                    <a:lnTo>
                      <a:pt x="129" y="5"/>
                    </a:lnTo>
                    <a:lnTo>
                      <a:pt x="128" y="7"/>
                    </a:lnTo>
                    <a:lnTo>
                      <a:pt x="128" y="10"/>
                    </a:lnTo>
                    <a:lnTo>
                      <a:pt x="128" y="11"/>
                    </a:lnTo>
                    <a:lnTo>
                      <a:pt x="127" y="12"/>
                    </a:lnTo>
                    <a:lnTo>
                      <a:pt x="124" y="15"/>
                    </a:lnTo>
                    <a:lnTo>
                      <a:pt x="119" y="18"/>
                    </a:lnTo>
                    <a:lnTo>
                      <a:pt x="116" y="21"/>
                    </a:lnTo>
                    <a:lnTo>
                      <a:pt x="112" y="27"/>
                    </a:lnTo>
                    <a:lnTo>
                      <a:pt x="109" y="30"/>
                    </a:lnTo>
                    <a:lnTo>
                      <a:pt x="105" y="31"/>
                    </a:lnTo>
                    <a:lnTo>
                      <a:pt x="101" y="33"/>
                    </a:lnTo>
                    <a:lnTo>
                      <a:pt x="93" y="34"/>
                    </a:lnTo>
                    <a:lnTo>
                      <a:pt x="85" y="34"/>
                    </a:lnTo>
                    <a:lnTo>
                      <a:pt x="81" y="35"/>
                    </a:lnTo>
                    <a:lnTo>
                      <a:pt x="79" y="37"/>
                    </a:lnTo>
                    <a:lnTo>
                      <a:pt x="79" y="38"/>
                    </a:lnTo>
                    <a:lnTo>
                      <a:pt x="82" y="40"/>
                    </a:lnTo>
                    <a:lnTo>
                      <a:pt x="82" y="41"/>
                    </a:lnTo>
                    <a:lnTo>
                      <a:pt x="82" y="43"/>
                    </a:lnTo>
                    <a:lnTo>
                      <a:pt x="75" y="50"/>
                    </a:lnTo>
                    <a:lnTo>
                      <a:pt x="73" y="51"/>
                    </a:lnTo>
                    <a:lnTo>
                      <a:pt x="71" y="53"/>
                    </a:lnTo>
                    <a:lnTo>
                      <a:pt x="63" y="53"/>
                    </a:lnTo>
                    <a:lnTo>
                      <a:pt x="56" y="54"/>
                    </a:lnTo>
                    <a:lnTo>
                      <a:pt x="53" y="54"/>
                    </a:lnTo>
                    <a:lnTo>
                      <a:pt x="49" y="56"/>
                    </a:lnTo>
                    <a:lnTo>
                      <a:pt x="46" y="58"/>
                    </a:lnTo>
                    <a:lnTo>
                      <a:pt x="42" y="60"/>
                    </a:lnTo>
                    <a:lnTo>
                      <a:pt x="39" y="58"/>
                    </a:lnTo>
                    <a:lnTo>
                      <a:pt x="37" y="54"/>
                    </a:lnTo>
                    <a:lnTo>
                      <a:pt x="36" y="56"/>
                    </a:lnTo>
                    <a:lnTo>
                      <a:pt x="36" y="56"/>
                    </a:lnTo>
                    <a:lnTo>
                      <a:pt x="35" y="57"/>
                    </a:lnTo>
                    <a:lnTo>
                      <a:pt x="35" y="57"/>
                    </a:lnTo>
                    <a:lnTo>
                      <a:pt x="33" y="58"/>
                    </a:lnTo>
                    <a:lnTo>
                      <a:pt x="27" y="60"/>
                    </a:lnTo>
                    <a:lnTo>
                      <a:pt x="25" y="61"/>
                    </a:lnTo>
                    <a:lnTo>
                      <a:pt x="22" y="61"/>
                    </a:lnTo>
                    <a:lnTo>
                      <a:pt x="19" y="61"/>
                    </a:lnTo>
                    <a:lnTo>
                      <a:pt x="17" y="63"/>
                    </a:lnTo>
                    <a:lnTo>
                      <a:pt x="15" y="67"/>
                    </a:lnTo>
                    <a:lnTo>
                      <a:pt x="7" y="80"/>
                    </a:lnTo>
                    <a:lnTo>
                      <a:pt x="6" y="83"/>
                    </a:lnTo>
                    <a:lnTo>
                      <a:pt x="6" y="83"/>
                    </a:lnTo>
                    <a:lnTo>
                      <a:pt x="4" y="83"/>
                    </a:lnTo>
                    <a:lnTo>
                      <a:pt x="3" y="84"/>
                    </a:lnTo>
                    <a:lnTo>
                      <a:pt x="2" y="84"/>
                    </a:lnTo>
                    <a:lnTo>
                      <a:pt x="0" y="87"/>
                    </a:lnTo>
                    <a:lnTo>
                      <a:pt x="2" y="87"/>
                    </a:lnTo>
                    <a:lnTo>
                      <a:pt x="2" y="89"/>
                    </a:lnTo>
                    <a:lnTo>
                      <a:pt x="3" y="89"/>
                    </a:lnTo>
                    <a:lnTo>
                      <a:pt x="3" y="92"/>
                    </a:lnTo>
                    <a:lnTo>
                      <a:pt x="3" y="94"/>
                    </a:lnTo>
                    <a:lnTo>
                      <a:pt x="3" y="96"/>
                    </a:lnTo>
                    <a:lnTo>
                      <a:pt x="3" y="99"/>
                    </a:lnTo>
                    <a:lnTo>
                      <a:pt x="6" y="110"/>
                    </a:lnTo>
                    <a:lnTo>
                      <a:pt x="6" y="112"/>
                    </a:lnTo>
                    <a:lnTo>
                      <a:pt x="10" y="116"/>
                    </a:lnTo>
                    <a:lnTo>
                      <a:pt x="12" y="117"/>
                    </a:lnTo>
                    <a:lnTo>
                      <a:pt x="12" y="120"/>
                    </a:lnTo>
                    <a:lnTo>
                      <a:pt x="13" y="122"/>
                    </a:lnTo>
                    <a:lnTo>
                      <a:pt x="10" y="123"/>
                    </a:lnTo>
                    <a:lnTo>
                      <a:pt x="13" y="127"/>
                    </a:lnTo>
                    <a:lnTo>
                      <a:pt x="17" y="132"/>
                    </a:lnTo>
                    <a:lnTo>
                      <a:pt x="26" y="139"/>
                    </a:lnTo>
                    <a:lnTo>
                      <a:pt x="29" y="142"/>
                    </a:lnTo>
                    <a:lnTo>
                      <a:pt x="29" y="146"/>
                    </a:lnTo>
                    <a:lnTo>
                      <a:pt x="30" y="149"/>
                    </a:lnTo>
                    <a:lnTo>
                      <a:pt x="32" y="153"/>
                    </a:lnTo>
                    <a:lnTo>
                      <a:pt x="35" y="146"/>
                    </a:lnTo>
                    <a:lnTo>
                      <a:pt x="36" y="145"/>
                    </a:lnTo>
                    <a:lnTo>
                      <a:pt x="36" y="143"/>
                    </a:lnTo>
                    <a:lnTo>
                      <a:pt x="36" y="139"/>
                    </a:lnTo>
                    <a:lnTo>
                      <a:pt x="36" y="138"/>
                    </a:lnTo>
                    <a:lnTo>
                      <a:pt x="39" y="133"/>
                    </a:lnTo>
                    <a:lnTo>
                      <a:pt x="42" y="132"/>
                    </a:lnTo>
                    <a:lnTo>
                      <a:pt x="53" y="129"/>
                    </a:lnTo>
                    <a:lnTo>
                      <a:pt x="56" y="130"/>
                    </a:lnTo>
                    <a:lnTo>
                      <a:pt x="65" y="132"/>
                    </a:lnTo>
                    <a:lnTo>
                      <a:pt x="65" y="132"/>
                    </a:lnTo>
                    <a:lnTo>
                      <a:pt x="66" y="132"/>
                    </a:lnTo>
                    <a:lnTo>
                      <a:pt x="71" y="130"/>
                    </a:lnTo>
                    <a:lnTo>
                      <a:pt x="72" y="130"/>
                    </a:lnTo>
                    <a:lnTo>
                      <a:pt x="73" y="132"/>
                    </a:lnTo>
                    <a:lnTo>
                      <a:pt x="73" y="129"/>
                    </a:lnTo>
                    <a:lnTo>
                      <a:pt x="73" y="119"/>
                    </a:lnTo>
                    <a:lnTo>
                      <a:pt x="75" y="117"/>
                    </a:lnTo>
                    <a:lnTo>
                      <a:pt x="78" y="115"/>
                    </a:lnTo>
                    <a:lnTo>
                      <a:pt x="82" y="109"/>
                    </a:lnTo>
                    <a:lnTo>
                      <a:pt x="85" y="106"/>
                    </a:lnTo>
                    <a:lnTo>
                      <a:pt x="91" y="103"/>
                    </a:lnTo>
                    <a:lnTo>
                      <a:pt x="96" y="106"/>
                    </a:lnTo>
                    <a:lnTo>
                      <a:pt x="101" y="109"/>
                    </a:lnTo>
                    <a:lnTo>
                      <a:pt x="104" y="110"/>
                    </a:lnTo>
                    <a:lnTo>
                      <a:pt x="108" y="113"/>
                    </a:lnTo>
                    <a:lnTo>
                      <a:pt x="109" y="115"/>
                    </a:lnTo>
                    <a:lnTo>
                      <a:pt x="111" y="115"/>
                    </a:lnTo>
                    <a:lnTo>
                      <a:pt x="125" y="117"/>
                    </a:lnTo>
                    <a:lnTo>
                      <a:pt x="129" y="119"/>
                    </a:lnTo>
                    <a:lnTo>
                      <a:pt x="132" y="119"/>
                    </a:lnTo>
                    <a:lnTo>
                      <a:pt x="138" y="120"/>
                    </a:lnTo>
                    <a:lnTo>
                      <a:pt x="141" y="120"/>
                    </a:lnTo>
                    <a:lnTo>
                      <a:pt x="142" y="120"/>
                    </a:lnTo>
                    <a:lnTo>
                      <a:pt x="142" y="119"/>
                    </a:lnTo>
                    <a:lnTo>
                      <a:pt x="144" y="116"/>
                    </a:lnTo>
                    <a:lnTo>
                      <a:pt x="148" y="112"/>
                    </a:lnTo>
                    <a:lnTo>
                      <a:pt x="151" y="110"/>
                    </a:lnTo>
                    <a:lnTo>
                      <a:pt x="155" y="112"/>
                    </a:lnTo>
                    <a:lnTo>
                      <a:pt x="160" y="112"/>
                    </a:lnTo>
                    <a:lnTo>
                      <a:pt x="164" y="110"/>
                    </a:lnTo>
                    <a:lnTo>
                      <a:pt x="172" y="106"/>
                    </a:lnTo>
                    <a:lnTo>
                      <a:pt x="178" y="106"/>
                    </a:lnTo>
                    <a:lnTo>
                      <a:pt x="183" y="106"/>
                    </a:lnTo>
                    <a:lnTo>
                      <a:pt x="185" y="106"/>
                    </a:lnTo>
                    <a:lnTo>
                      <a:pt x="188" y="106"/>
                    </a:lnTo>
                    <a:lnTo>
                      <a:pt x="190" y="104"/>
                    </a:lnTo>
                    <a:lnTo>
                      <a:pt x="191" y="103"/>
                    </a:lnTo>
                    <a:lnTo>
                      <a:pt x="193" y="102"/>
                    </a:lnTo>
                    <a:lnTo>
                      <a:pt x="194" y="100"/>
                    </a:lnTo>
                    <a:lnTo>
                      <a:pt x="198" y="100"/>
                    </a:lnTo>
                    <a:lnTo>
                      <a:pt x="204" y="102"/>
                    </a:lnTo>
                    <a:lnTo>
                      <a:pt x="214" y="104"/>
                    </a:lnTo>
                    <a:lnTo>
                      <a:pt x="216" y="104"/>
                    </a:lnTo>
                    <a:lnTo>
                      <a:pt x="217" y="104"/>
                    </a:lnTo>
                    <a:lnTo>
                      <a:pt x="221" y="103"/>
                    </a:lnTo>
                    <a:lnTo>
                      <a:pt x="223" y="103"/>
                    </a:lnTo>
                    <a:lnTo>
                      <a:pt x="224" y="103"/>
                    </a:lnTo>
                    <a:lnTo>
                      <a:pt x="226" y="103"/>
                    </a:lnTo>
                    <a:lnTo>
                      <a:pt x="228" y="103"/>
                    </a:lnTo>
                    <a:lnTo>
                      <a:pt x="227" y="103"/>
                    </a:lnTo>
                    <a:lnTo>
                      <a:pt x="227" y="102"/>
                    </a:lnTo>
                    <a:lnTo>
                      <a:pt x="227" y="102"/>
                    </a:lnTo>
                    <a:lnTo>
                      <a:pt x="226" y="100"/>
                    </a:lnTo>
                    <a:lnTo>
                      <a:pt x="226" y="100"/>
                    </a:lnTo>
                    <a:lnTo>
                      <a:pt x="226" y="99"/>
                    </a:lnTo>
                    <a:lnTo>
                      <a:pt x="226" y="97"/>
                    </a:lnTo>
                    <a:lnTo>
                      <a:pt x="226" y="97"/>
                    </a:lnTo>
                    <a:lnTo>
                      <a:pt x="226" y="96"/>
                    </a:lnTo>
                    <a:lnTo>
                      <a:pt x="226" y="96"/>
                    </a:lnTo>
                    <a:lnTo>
                      <a:pt x="226" y="94"/>
                    </a:lnTo>
                    <a:lnTo>
                      <a:pt x="224" y="93"/>
                    </a:lnTo>
                    <a:lnTo>
                      <a:pt x="224" y="93"/>
                    </a:lnTo>
                    <a:lnTo>
                      <a:pt x="224" y="93"/>
                    </a:lnTo>
                    <a:lnTo>
                      <a:pt x="223" y="92"/>
                    </a:lnTo>
                    <a:lnTo>
                      <a:pt x="223" y="92"/>
                    </a:lnTo>
                    <a:lnTo>
                      <a:pt x="220" y="90"/>
                    </a:lnTo>
                    <a:lnTo>
                      <a:pt x="217" y="89"/>
                    </a:lnTo>
                    <a:lnTo>
                      <a:pt x="217" y="89"/>
                    </a:lnTo>
                    <a:lnTo>
                      <a:pt x="217" y="87"/>
                    </a:lnTo>
                    <a:lnTo>
                      <a:pt x="216" y="87"/>
                    </a:lnTo>
                    <a:lnTo>
                      <a:pt x="216" y="87"/>
                    </a:lnTo>
                    <a:lnTo>
                      <a:pt x="214" y="87"/>
                    </a:lnTo>
                    <a:lnTo>
                      <a:pt x="214" y="87"/>
                    </a:lnTo>
                    <a:lnTo>
                      <a:pt x="213" y="87"/>
                    </a:lnTo>
                    <a:lnTo>
                      <a:pt x="213" y="87"/>
                    </a:lnTo>
                    <a:lnTo>
                      <a:pt x="213" y="86"/>
                    </a:lnTo>
                    <a:lnTo>
                      <a:pt x="211" y="84"/>
                    </a:lnTo>
                    <a:lnTo>
                      <a:pt x="211" y="84"/>
                    </a:lnTo>
                    <a:lnTo>
                      <a:pt x="211" y="83"/>
                    </a:lnTo>
                    <a:lnTo>
                      <a:pt x="210" y="83"/>
                    </a:lnTo>
                    <a:lnTo>
                      <a:pt x="210" y="81"/>
                    </a:lnTo>
                    <a:lnTo>
                      <a:pt x="210" y="80"/>
                    </a:lnTo>
                    <a:lnTo>
                      <a:pt x="210" y="80"/>
                    </a:lnTo>
                    <a:lnTo>
                      <a:pt x="210" y="77"/>
                    </a:lnTo>
                    <a:lnTo>
                      <a:pt x="207" y="74"/>
                    </a:lnTo>
                    <a:lnTo>
                      <a:pt x="206" y="73"/>
                    </a:lnTo>
                    <a:lnTo>
                      <a:pt x="206" y="73"/>
                    </a:lnTo>
                    <a:lnTo>
                      <a:pt x="206" y="71"/>
                    </a:lnTo>
                    <a:lnTo>
                      <a:pt x="204" y="71"/>
                    </a:lnTo>
                    <a:lnTo>
                      <a:pt x="204" y="71"/>
                    </a:lnTo>
                    <a:lnTo>
                      <a:pt x="203" y="70"/>
                    </a:lnTo>
                    <a:lnTo>
                      <a:pt x="201" y="69"/>
                    </a:lnTo>
                    <a:lnTo>
                      <a:pt x="198" y="67"/>
                    </a:lnTo>
                    <a:lnTo>
                      <a:pt x="195" y="66"/>
                    </a:lnTo>
                    <a:lnTo>
                      <a:pt x="194" y="64"/>
                    </a:lnTo>
                    <a:lnTo>
                      <a:pt x="193" y="63"/>
                    </a:lnTo>
                    <a:lnTo>
                      <a:pt x="191" y="63"/>
                    </a:lnTo>
                    <a:lnTo>
                      <a:pt x="190" y="61"/>
                    </a:lnTo>
                    <a:lnTo>
                      <a:pt x="190" y="61"/>
                    </a:lnTo>
                    <a:lnTo>
                      <a:pt x="190" y="61"/>
                    </a:lnTo>
                    <a:lnTo>
                      <a:pt x="190" y="60"/>
                    </a:lnTo>
                    <a:lnTo>
                      <a:pt x="190" y="58"/>
                    </a:lnTo>
                    <a:lnTo>
                      <a:pt x="191" y="57"/>
                    </a:lnTo>
                    <a:lnTo>
                      <a:pt x="190" y="56"/>
                    </a:lnTo>
                    <a:lnTo>
                      <a:pt x="187" y="54"/>
                    </a:lnTo>
                    <a:lnTo>
                      <a:pt x="185" y="51"/>
                    </a:lnTo>
                    <a:lnTo>
                      <a:pt x="184" y="50"/>
                    </a:lnTo>
                    <a:lnTo>
                      <a:pt x="183" y="50"/>
                    </a:lnTo>
                    <a:lnTo>
                      <a:pt x="181" y="48"/>
                    </a:lnTo>
                    <a:lnTo>
                      <a:pt x="175" y="48"/>
                    </a:lnTo>
                    <a:lnTo>
                      <a:pt x="174" y="47"/>
                    </a:lnTo>
                    <a:lnTo>
                      <a:pt x="174" y="47"/>
                    </a:lnTo>
                    <a:lnTo>
                      <a:pt x="172" y="47"/>
                    </a:lnTo>
                    <a:lnTo>
                      <a:pt x="172" y="46"/>
                    </a:lnTo>
                    <a:lnTo>
                      <a:pt x="171" y="44"/>
                    </a:lnTo>
                    <a:lnTo>
                      <a:pt x="172" y="41"/>
                    </a:lnTo>
                    <a:lnTo>
                      <a:pt x="172" y="41"/>
                    </a:lnTo>
                    <a:lnTo>
                      <a:pt x="172" y="41"/>
                    </a:lnTo>
                    <a:lnTo>
                      <a:pt x="171" y="41"/>
                    </a:lnTo>
                    <a:lnTo>
                      <a:pt x="171" y="41"/>
                    </a:lnTo>
                    <a:lnTo>
                      <a:pt x="171" y="40"/>
                    </a:lnTo>
                    <a:lnTo>
                      <a:pt x="170" y="40"/>
                    </a:lnTo>
                    <a:lnTo>
                      <a:pt x="168" y="40"/>
                    </a:lnTo>
                    <a:lnTo>
                      <a:pt x="162" y="40"/>
                    </a:lnTo>
                    <a:lnTo>
                      <a:pt x="161" y="38"/>
                    </a:lnTo>
                    <a:lnTo>
                      <a:pt x="161" y="38"/>
                    </a:lnTo>
                    <a:lnTo>
                      <a:pt x="161" y="38"/>
                    </a:lnTo>
                    <a:lnTo>
                      <a:pt x="161" y="37"/>
                    </a:lnTo>
                    <a:lnTo>
                      <a:pt x="161" y="37"/>
                    </a:lnTo>
                    <a:lnTo>
                      <a:pt x="161" y="35"/>
                    </a:lnTo>
                    <a:lnTo>
                      <a:pt x="160" y="35"/>
                    </a:lnTo>
                    <a:lnTo>
                      <a:pt x="160" y="34"/>
                    </a:lnTo>
                    <a:lnTo>
                      <a:pt x="160" y="34"/>
                    </a:lnTo>
                    <a:lnTo>
                      <a:pt x="160" y="33"/>
                    </a:lnTo>
                    <a:lnTo>
                      <a:pt x="161" y="30"/>
                    </a:lnTo>
                    <a:lnTo>
                      <a:pt x="162" y="28"/>
                    </a:lnTo>
                    <a:lnTo>
                      <a:pt x="162" y="24"/>
                    </a:lnTo>
                    <a:lnTo>
                      <a:pt x="162" y="23"/>
                    </a:lnTo>
                    <a:lnTo>
                      <a:pt x="162" y="23"/>
                    </a:lnTo>
                    <a:lnTo>
                      <a:pt x="162" y="21"/>
                    </a:lnTo>
                    <a:lnTo>
                      <a:pt x="162" y="20"/>
                    </a:lnTo>
                    <a:lnTo>
                      <a:pt x="162" y="20"/>
                    </a:lnTo>
                    <a:lnTo>
                      <a:pt x="162" y="18"/>
                    </a:lnTo>
                    <a:lnTo>
                      <a:pt x="161" y="18"/>
                    </a:lnTo>
                    <a:lnTo>
                      <a:pt x="161" y="17"/>
                    </a:lnTo>
                    <a:lnTo>
                      <a:pt x="160" y="15"/>
                    </a:lnTo>
                    <a:lnTo>
                      <a:pt x="160" y="14"/>
                    </a:lnTo>
                    <a:lnTo>
                      <a:pt x="158" y="11"/>
                    </a:lnTo>
                    <a:lnTo>
                      <a:pt x="155" y="10"/>
                    </a:lnTo>
                    <a:lnTo>
                      <a:pt x="152" y="5"/>
                    </a:lnTo>
                    <a:lnTo>
                      <a:pt x="149" y="2"/>
                    </a:lnTo>
                    <a:lnTo>
                      <a:pt x="148" y="1"/>
                    </a:lnTo>
                    <a:lnTo>
                      <a:pt x="145" y="0"/>
                    </a:lnTo>
                    <a:lnTo>
                      <a:pt x="141"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14" name="Freeform 201">
                <a:extLst>
                  <a:ext uri="{FF2B5EF4-FFF2-40B4-BE49-F238E27FC236}">
                    <a16:creationId xmlns:a16="http://schemas.microsoft.com/office/drawing/2014/main" id="{B7B92679-0552-9160-BDE9-DDD17D8F12AC}"/>
                  </a:ext>
                </a:extLst>
              </p:cNvPr>
              <p:cNvSpPr>
                <a:spLocks noEditPoints="1"/>
              </p:cNvSpPr>
              <p:nvPr/>
            </p:nvSpPr>
            <p:spPr bwMode="auto">
              <a:xfrm>
                <a:off x="3102" y="2411"/>
                <a:ext cx="46" cy="42"/>
              </a:xfrm>
              <a:custGeom>
                <a:avLst/>
                <a:gdLst>
                  <a:gd name="T0" fmla="*/ 18 w 46"/>
                  <a:gd name="T1" fmla="*/ 39 h 42"/>
                  <a:gd name="T2" fmla="*/ 17 w 46"/>
                  <a:gd name="T3" fmla="*/ 42 h 42"/>
                  <a:gd name="T4" fmla="*/ 16 w 46"/>
                  <a:gd name="T5" fmla="*/ 42 h 42"/>
                  <a:gd name="T6" fmla="*/ 16 w 46"/>
                  <a:gd name="T7" fmla="*/ 39 h 42"/>
                  <a:gd name="T8" fmla="*/ 18 w 46"/>
                  <a:gd name="T9" fmla="*/ 9 h 42"/>
                  <a:gd name="T10" fmla="*/ 18 w 46"/>
                  <a:gd name="T11" fmla="*/ 12 h 42"/>
                  <a:gd name="T12" fmla="*/ 20 w 46"/>
                  <a:gd name="T13" fmla="*/ 10 h 42"/>
                  <a:gd name="T14" fmla="*/ 21 w 46"/>
                  <a:gd name="T15" fmla="*/ 9 h 42"/>
                  <a:gd name="T16" fmla="*/ 31 w 46"/>
                  <a:gd name="T17" fmla="*/ 36 h 42"/>
                  <a:gd name="T18" fmla="*/ 27 w 46"/>
                  <a:gd name="T19" fmla="*/ 38 h 42"/>
                  <a:gd name="T20" fmla="*/ 30 w 46"/>
                  <a:gd name="T21" fmla="*/ 41 h 42"/>
                  <a:gd name="T22" fmla="*/ 33 w 46"/>
                  <a:gd name="T23" fmla="*/ 39 h 42"/>
                  <a:gd name="T24" fmla="*/ 31 w 46"/>
                  <a:gd name="T25" fmla="*/ 36 h 42"/>
                  <a:gd name="T26" fmla="*/ 37 w 46"/>
                  <a:gd name="T27" fmla="*/ 36 h 42"/>
                  <a:gd name="T28" fmla="*/ 39 w 46"/>
                  <a:gd name="T29" fmla="*/ 35 h 42"/>
                  <a:gd name="T30" fmla="*/ 43 w 46"/>
                  <a:gd name="T31" fmla="*/ 18 h 42"/>
                  <a:gd name="T32" fmla="*/ 43 w 46"/>
                  <a:gd name="T33" fmla="*/ 19 h 42"/>
                  <a:gd name="T34" fmla="*/ 41 w 46"/>
                  <a:gd name="T35" fmla="*/ 21 h 42"/>
                  <a:gd name="T36" fmla="*/ 46 w 46"/>
                  <a:gd name="T37" fmla="*/ 21 h 42"/>
                  <a:gd name="T38" fmla="*/ 43 w 46"/>
                  <a:gd name="T39" fmla="*/ 18 h 42"/>
                  <a:gd name="T40" fmla="*/ 43 w 46"/>
                  <a:gd name="T41" fmla="*/ 9 h 42"/>
                  <a:gd name="T42" fmla="*/ 43 w 46"/>
                  <a:gd name="T43" fmla="*/ 8 h 42"/>
                  <a:gd name="T44" fmla="*/ 43 w 46"/>
                  <a:gd name="T45" fmla="*/ 6 h 42"/>
                  <a:gd name="T46" fmla="*/ 41 w 46"/>
                  <a:gd name="T47" fmla="*/ 6 h 42"/>
                  <a:gd name="T48" fmla="*/ 41 w 46"/>
                  <a:gd name="T49" fmla="*/ 8 h 42"/>
                  <a:gd name="T50" fmla="*/ 41 w 46"/>
                  <a:gd name="T51" fmla="*/ 9 h 42"/>
                  <a:gd name="T52" fmla="*/ 5 w 46"/>
                  <a:gd name="T53" fmla="*/ 0 h 42"/>
                  <a:gd name="T54" fmla="*/ 1 w 46"/>
                  <a:gd name="T55" fmla="*/ 0 h 42"/>
                  <a:gd name="T56" fmla="*/ 1 w 46"/>
                  <a:gd name="T57" fmla="*/ 3 h 42"/>
                  <a:gd name="T58" fmla="*/ 4 w 46"/>
                  <a:gd name="T59" fmla="*/ 3 h 42"/>
                  <a:gd name="T60" fmla="*/ 5 w 46"/>
                  <a:gd name="T61" fmla="*/ 0 h 42"/>
                  <a:gd name="T62" fmla="*/ 7 w 46"/>
                  <a:gd name="T63" fmla="*/ 6 h 42"/>
                  <a:gd name="T64" fmla="*/ 7 w 46"/>
                  <a:gd name="T65" fmla="*/ 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42">
                    <a:moveTo>
                      <a:pt x="17" y="39"/>
                    </a:moveTo>
                    <a:lnTo>
                      <a:pt x="18" y="39"/>
                    </a:lnTo>
                    <a:lnTo>
                      <a:pt x="18" y="42"/>
                    </a:lnTo>
                    <a:lnTo>
                      <a:pt x="17" y="42"/>
                    </a:lnTo>
                    <a:lnTo>
                      <a:pt x="16" y="42"/>
                    </a:lnTo>
                    <a:lnTo>
                      <a:pt x="16" y="42"/>
                    </a:lnTo>
                    <a:lnTo>
                      <a:pt x="14" y="41"/>
                    </a:lnTo>
                    <a:lnTo>
                      <a:pt x="16" y="39"/>
                    </a:lnTo>
                    <a:lnTo>
                      <a:pt x="17" y="39"/>
                    </a:lnTo>
                    <a:close/>
                    <a:moveTo>
                      <a:pt x="18" y="9"/>
                    </a:moveTo>
                    <a:lnTo>
                      <a:pt x="17" y="9"/>
                    </a:lnTo>
                    <a:lnTo>
                      <a:pt x="18" y="12"/>
                    </a:lnTo>
                    <a:lnTo>
                      <a:pt x="18" y="10"/>
                    </a:lnTo>
                    <a:lnTo>
                      <a:pt x="20" y="10"/>
                    </a:lnTo>
                    <a:lnTo>
                      <a:pt x="23" y="10"/>
                    </a:lnTo>
                    <a:lnTo>
                      <a:pt x="21" y="9"/>
                    </a:lnTo>
                    <a:lnTo>
                      <a:pt x="18" y="9"/>
                    </a:lnTo>
                    <a:close/>
                    <a:moveTo>
                      <a:pt x="31" y="36"/>
                    </a:moveTo>
                    <a:lnTo>
                      <a:pt x="28" y="33"/>
                    </a:lnTo>
                    <a:lnTo>
                      <a:pt x="27" y="38"/>
                    </a:lnTo>
                    <a:lnTo>
                      <a:pt x="28" y="41"/>
                    </a:lnTo>
                    <a:lnTo>
                      <a:pt x="30" y="41"/>
                    </a:lnTo>
                    <a:lnTo>
                      <a:pt x="33" y="41"/>
                    </a:lnTo>
                    <a:lnTo>
                      <a:pt x="33" y="39"/>
                    </a:lnTo>
                    <a:lnTo>
                      <a:pt x="33" y="38"/>
                    </a:lnTo>
                    <a:lnTo>
                      <a:pt x="31" y="36"/>
                    </a:lnTo>
                    <a:close/>
                    <a:moveTo>
                      <a:pt x="37" y="33"/>
                    </a:moveTo>
                    <a:lnTo>
                      <a:pt x="37" y="36"/>
                    </a:lnTo>
                    <a:lnTo>
                      <a:pt x="39" y="36"/>
                    </a:lnTo>
                    <a:lnTo>
                      <a:pt x="39" y="35"/>
                    </a:lnTo>
                    <a:lnTo>
                      <a:pt x="37" y="33"/>
                    </a:lnTo>
                    <a:close/>
                    <a:moveTo>
                      <a:pt x="43" y="18"/>
                    </a:moveTo>
                    <a:lnTo>
                      <a:pt x="43" y="18"/>
                    </a:lnTo>
                    <a:lnTo>
                      <a:pt x="43" y="19"/>
                    </a:lnTo>
                    <a:lnTo>
                      <a:pt x="41" y="19"/>
                    </a:lnTo>
                    <a:lnTo>
                      <a:pt x="41" y="21"/>
                    </a:lnTo>
                    <a:lnTo>
                      <a:pt x="44" y="22"/>
                    </a:lnTo>
                    <a:lnTo>
                      <a:pt x="46" y="21"/>
                    </a:lnTo>
                    <a:lnTo>
                      <a:pt x="46" y="18"/>
                    </a:lnTo>
                    <a:lnTo>
                      <a:pt x="43" y="18"/>
                    </a:lnTo>
                    <a:close/>
                    <a:moveTo>
                      <a:pt x="43" y="10"/>
                    </a:moveTo>
                    <a:lnTo>
                      <a:pt x="43" y="9"/>
                    </a:lnTo>
                    <a:lnTo>
                      <a:pt x="43" y="8"/>
                    </a:lnTo>
                    <a:lnTo>
                      <a:pt x="43" y="8"/>
                    </a:lnTo>
                    <a:lnTo>
                      <a:pt x="43" y="6"/>
                    </a:lnTo>
                    <a:lnTo>
                      <a:pt x="43" y="6"/>
                    </a:lnTo>
                    <a:lnTo>
                      <a:pt x="41" y="6"/>
                    </a:lnTo>
                    <a:lnTo>
                      <a:pt x="41" y="6"/>
                    </a:lnTo>
                    <a:lnTo>
                      <a:pt x="41" y="6"/>
                    </a:lnTo>
                    <a:lnTo>
                      <a:pt x="41" y="8"/>
                    </a:lnTo>
                    <a:lnTo>
                      <a:pt x="41" y="9"/>
                    </a:lnTo>
                    <a:lnTo>
                      <a:pt x="41" y="9"/>
                    </a:lnTo>
                    <a:lnTo>
                      <a:pt x="43" y="10"/>
                    </a:lnTo>
                    <a:close/>
                    <a:moveTo>
                      <a:pt x="5" y="0"/>
                    </a:moveTo>
                    <a:lnTo>
                      <a:pt x="4" y="0"/>
                    </a:lnTo>
                    <a:lnTo>
                      <a:pt x="1" y="0"/>
                    </a:lnTo>
                    <a:lnTo>
                      <a:pt x="0" y="2"/>
                    </a:lnTo>
                    <a:lnTo>
                      <a:pt x="1" y="3"/>
                    </a:lnTo>
                    <a:lnTo>
                      <a:pt x="3" y="5"/>
                    </a:lnTo>
                    <a:lnTo>
                      <a:pt x="4" y="3"/>
                    </a:lnTo>
                    <a:lnTo>
                      <a:pt x="5" y="2"/>
                    </a:lnTo>
                    <a:lnTo>
                      <a:pt x="5" y="0"/>
                    </a:lnTo>
                    <a:close/>
                    <a:moveTo>
                      <a:pt x="4" y="6"/>
                    </a:moveTo>
                    <a:lnTo>
                      <a:pt x="7" y="6"/>
                    </a:lnTo>
                    <a:lnTo>
                      <a:pt x="7" y="6"/>
                    </a:lnTo>
                    <a:lnTo>
                      <a:pt x="7" y="5"/>
                    </a:lnTo>
                    <a:lnTo>
                      <a:pt x="4" y="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15" name="Freeform 202">
                <a:extLst>
                  <a:ext uri="{FF2B5EF4-FFF2-40B4-BE49-F238E27FC236}">
                    <a16:creationId xmlns:a16="http://schemas.microsoft.com/office/drawing/2014/main" id="{DFB87792-CDE8-1D62-E21A-0BDBA6065715}"/>
                  </a:ext>
                </a:extLst>
              </p:cNvPr>
              <p:cNvSpPr>
                <a:spLocks/>
              </p:cNvSpPr>
              <p:nvPr/>
            </p:nvSpPr>
            <p:spPr bwMode="auto">
              <a:xfrm>
                <a:off x="4024" y="3244"/>
                <a:ext cx="40" cy="38"/>
              </a:xfrm>
              <a:custGeom>
                <a:avLst/>
                <a:gdLst>
                  <a:gd name="T0" fmla="*/ 37 w 40"/>
                  <a:gd name="T1" fmla="*/ 7 h 38"/>
                  <a:gd name="T2" fmla="*/ 27 w 40"/>
                  <a:gd name="T3" fmla="*/ 0 h 38"/>
                  <a:gd name="T4" fmla="*/ 26 w 40"/>
                  <a:gd name="T5" fmla="*/ 0 h 38"/>
                  <a:gd name="T6" fmla="*/ 23 w 40"/>
                  <a:gd name="T7" fmla="*/ 0 h 38"/>
                  <a:gd name="T8" fmla="*/ 17 w 40"/>
                  <a:gd name="T9" fmla="*/ 2 h 38"/>
                  <a:gd name="T10" fmla="*/ 13 w 40"/>
                  <a:gd name="T11" fmla="*/ 5 h 38"/>
                  <a:gd name="T12" fmla="*/ 11 w 40"/>
                  <a:gd name="T13" fmla="*/ 7 h 38"/>
                  <a:gd name="T14" fmla="*/ 8 w 40"/>
                  <a:gd name="T15" fmla="*/ 11 h 38"/>
                  <a:gd name="T16" fmla="*/ 5 w 40"/>
                  <a:gd name="T17" fmla="*/ 14 h 38"/>
                  <a:gd name="T18" fmla="*/ 4 w 40"/>
                  <a:gd name="T19" fmla="*/ 15 h 38"/>
                  <a:gd name="T20" fmla="*/ 3 w 40"/>
                  <a:gd name="T21" fmla="*/ 17 h 38"/>
                  <a:gd name="T22" fmla="*/ 1 w 40"/>
                  <a:gd name="T23" fmla="*/ 17 h 38"/>
                  <a:gd name="T24" fmla="*/ 0 w 40"/>
                  <a:gd name="T25" fmla="*/ 18 h 38"/>
                  <a:gd name="T26" fmla="*/ 0 w 40"/>
                  <a:gd name="T27" fmla="*/ 20 h 38"/>
                  <a:gd name="T28" fmla="*/ 1 w 40"/>
                  <a:gd name="T29" fmla="*/ 24 h 38"/>
                  <a:gd name="T30" fmla="*/ 4 w 40"/>
                  <a:gd name="T31" fmla="*/ 30 h 38"/>
                  <a:gd name="T32" fmla="*/ 7 w 40"/>
                  <a:gd name="T33" fmla="*/ 34 h 38"/>
                  <a:gd name="T34" fmla="*/ 11 w 40"/>
                  <a:gd name="T35" fmla="*/ 37 h 38"/>
                  <a:gd name="T36" fmla="*/ 16 w 40"/>
                  <a:gd name="T37" fmla="*/ 38 h 38"/>
                  <a:gd name="T38" fmla="*/ 17 w 40"/>
                  <a:gd name="T39" fmla="*/ 37 h 38"/>
                  <a:gd name="T40" fmla="*/ 20 w 40"/>
                  <a:gd name="T41" fmla="*/ 31 h 38"/>
                  <a:gd name="T42" fmla="*/ 23 w 40"/>
                  <a:gd name="T43" fmla="*/ 30 h 38"/>
                  <a:gd name="T44" fmla="*/ 24 w 40"/>
                  <a:gd name="T45" fmla="*/ 28 h 38"/>
                  <a:gd name="T46" fmla="*/ 30 w 40"/>
                  <a:gd name="T47" fmla="*/ 27 h 38"/>
                  <a:gd name="T48" fmla="*/ 33 w 40"/>
                  <a:gd name="T49" fmla="*/ 25 h 38"/>
                  <a:gd name="T50" fmla="*/ 34 w 40"/>
                  <a:gd name="T51" fmla="*/ 24 h 38"/>
                  <a:gd name="T52" fmla="*/ 39 w 40"/>
                  <a:gd name="T53" fmla="*/ 17 h 38"/>
                  <a:gd name="T54" fmla="*/ 40 w 40"/>
                  <a:gd name="T55" fmla="*/ 14 h 38"/>
                  <a:gd name="T56" fmla="*/ 40 w 40"/>
                  <a:gd name="T57" fmla="*/ 11 h 38"/>
                  <a:gd name="T58" fmla="*/ 39 w 40"/>
                  <a:gd name="T59" fmla="*/ 8 h 38"/>
                  <a:gd name="T60" fmla="*/ 37 w 40"/>
                  <a:gd name="T61"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 h="38">
                    <a:moveTo>
                      <a:pt x="37" y="7"/>
                    </a:moveTo>
                    <a:lnTo>
                      <a:pt x="27" y="0"/>
                    </a:lnTo>
                    <a:lnTo>
                      <a:pt x="26" y="0"/>
                    </a:lnTo>
                    <a:lnTo>
                      <a:pt x="23" y="0"/>
                    </a:lnTo>
                    <a:lnTo>
                      <a:pt x="17" y="2"/>
                    </a:lnTo>
                    <a:lnTo>
                      <a:pt x="13" y="5"/>
                    </a:lnTo>
                    <a:lnTo>
                      <a:pt x="11" y="7"/>
                    </a:lnTo>
                    <a:lnTo>
                      <a:pt x="8" y="11"/>
                    </a:lnTo>
                    <a:lnTo>
                      <a:pt x="5" y="14"/>
                    </a:lnTo>
                    <a:lnTo>
                      <a:pt x="4" y="15"/>
                    </a:lnTo>
                    <a:lnTo>
                      <a:pt x="3" y="17"/>
                    </a:lnTo>
                    <a:lnTo>
                      <a:pt x="1" y="17"/>
                    </a:lnTo>
                    <a:lnTo>
                      <a:pt x="0" y="18"/>
                    </a:lnTo>
                    <a:lnTo>
                      <a:pt x="0" y="20"/>
                    </a:lnTo>
                    <a:lnTo>
                      <a:pt x="1" y="24"/>
                    </a:lnTo>
                    <a:lnTo>
                      <a:pt x="4" y="30"/>
                    </a:lnTo>
                    <a:lnTo>
                      <a:pt x="7" y="34"/>
                    </a:lnTo>
                    <a:lnTo>
                      <a:pt x="11" y="37"/>
                    </a:lnTo>
                    <a:lnTo>
                      <a:pt x="16" y="38"/>
                    </a:lnTo>
                    <a:lnTo>
                      <a:pt x="17" y="37"/>
                    </a:lnTo>
                    <a:lnTo>
                      <a:pt x="20" y="31"/>
                    </a:lnTo>
                    <a:lnTo>
                      <a:pt x="23" y="30"/>
                    </a:lnTo>
                    <a:lnTo>
                      <a:pt x="24" y="28"/>
                    </a:lnTo>
                    <a:lnTo>
                      <a:pt x="30" y="27"/>
                    </a:lnTo>
                    <a:lnTo>
                      <a:pt x="33" y="25"/>
                    </a:lnTo>
                    <a:lnTo>
                      <a:pt x="34" y="24"/>
                    </a:lnTo>
                    <a:lnTo>
                      <a:pt x="39" y="17"/>
                    </a:lnTo>
                    <a:lnTo>
                      <a:pt x="40" y="14"/>
                    </a:lnTo>
                    <a:lnTo>
                      <a:pt x="40" y="11"/>
                    </a:lnTo>
                    <a:lnTo>
                      <a:pt x="39" y="8"/>
                    </a:lnTo>
                    <a:lnTo>
                      <a:pt x="37" y="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16" name="Freeform 203">
                <a:extLst>
                  <a:ext uri="{FF2B5EF4-FFF2-40B4-BE49-F238E27FC236}">
                    <a16:creationId xmlns:a16="http://schemas.microsoft.com/office/drawing/2014/main" id="{D9D64B78-D3E3-E773-4C1D-C2550ABEE2D7}"/>
                  </a:ext>
                </a:extLst>
              </p:cNvPr>
              <p:cNvSpPr>
                <a:spLocks noEditPoints="1"/>
              </p:cNvSpPr>
              <p:nvPr/>
            </p:nvSpPr>
            <p:spPr bwMode="auto">
              <a:xfrm>
                <a:off x="4121" y="2884"/>
                <a:ext cx="56" cy="140"/>
              </a:xfrm>
              <a:custGeom>
                <a:avLst/>
                <a:gdLst>
                  <a:gd name="T0" fmla="*/ 8 w 56"/>
                  <a:gd name="T1" fmla="*/ 0 h 140"/>
                  <a:gd name="T2" fmla="*/ 21 w 56"/>
                  <a:gd name="T3" fmla="*/ 5 h 140"/>
                  <a:gd name="T4" fmla="*/ 23 w 56"/>
                  <a:gd name="T5" fmla="*/ 3 h 140"/>
                  <a:gd name="T6" fmla="*/ 28 w 56"/>
                  <a:gd name="T7" fmla="*/ 3 h 140"/>
                  <a:gd name="T8" fmla="*/ 33 w 56"/>
                  <a:gd name="T9" fmla="*/ 10 h 140"/>
                  <a:gd name="T10" fmla="*/ 36 w 56"/>
                  <a:gd name="T11" fmla="*/ 22 h 140"/>
                  <a:gd name="T12" fmla="*/ 35 w 56"/>
                  <a:gd name="T13" fmla="*/ 28 h 140"/>
                  <a:gd name="T14" fmla="*/ 41 w 56"/>
                  <a:gd name="T15" fmla="*/ 36 h 140"/>
                  <a:gd name="T16" fmla="*/ 36 w 56"/>
                  <a:gd name="T17" fmla="*/ 39 h 140"/>
                  <a:gd name="T18" fmla="*/ 31 w 56"/>
                  <a:gd name="T19" fmla="*/ 51 h 140"/>
                  <a:gd name="T20" fmla="*/ 41 w 56"/>
                  <a:gd name="T21" fmla="*/ 75 h 140"/>
                  <a:gd name="T22" fmla="*/ 54 w 56"/>
                  <a:gd name="T23" fmla="*/ 89 h 140"/>
                  <a:gd name="T24" fmla="*/ 56 w 56"/>
                  <a:gd name="T25" fmla="*/ 99 h 140"/>
                  <a:gd name="T26" fmla="*/ 56 w 56"/>
                  <a:gd name="T27" fmla="*/ 117 h 140"/>
                  <a:gd name="T28" fmla="*/ 51 w 56"/>
                  <a:gd name="T29" fmla="*/ 121 h 140"/>
                  <a:gd name="T30" fmla="*/ 46 w 56"/>
                  <a:gd name="T31" fmla="*/ 125 h 140"/>
                  <a:gd name="T32" fmla="*/ 46 w 56"/>
                  <a:gd name="T33" fmla="*/ 135 h 140"/>
                  <a:gd name="T34" fmla="*/ 43 w 56"/>
                  <a:gd name="T35" fmla="*/ 140 h 140"/>
                  <a:gd name="T36" fmla="*/ 43 w 56"/>
                  <a:gd name="T37" fmla="*/ 135 h 140"/>
                  <a:gd name="T38" fmla="*/ 33 w 56"/>
                  <a:gd name="T39" fmla="*/ 124 h 140"/>
                  <a:gd name="T40" fmla="*/ 29 w 56"/>
                  <a:gd name="T41" fmla="*/ 117 h 140"/>
                  <a:gd name="T42" fmla="*/ 33 w 56"/>
                  <a:gd name="T43" fmla="*/ 107 h 140"/>
                  <a:gd name="T44" fmla="*/ 35 w 56"/>
                  <a:gd name="T45" fmla="*/ 99 h 140"/>
                  <a:gd name="T46" fmla="*/ 32 w 56"/>
                  <a:gd name="T47" fmla="*/ 91 h 140"/>
                  <a:gd name="T48" fmla="*/ 21 w 56"/>
                  <a:gd name="T49" fmla="*/ 92 h 140"/>
                  <a:gd name="T50" fmla="*/ 15 w 56"/>
                  <a:gd name="T51" fmla="*/ 91 h 140"/>
                  <a:gd name="T52" fmla="*/ 9 w 56"/>
                  <a:gd name="T53" fmla="*/ 82 h 140"/>
                  <a:gd name="T54" fmla="*/ 6 w 56"/>
                  <a:gd name="T55" fmla="*/ 82 h 140"/>
                  <a:gd name="T56" fmla="*/ 3 w 56"/>
                  <a:gd name="T57" fmla="*/ 78 h 140"/>
                  <a:gd name="T58" fmla="*/ 2 w 56"/>
                  <a:gd name="T59" fmla="*/ 75 h 140"/>
                  <a:gd name="T60" fmla="*/ 6 w 56"/>
                  <a:gd name="T61" fmla="*/ 69 h 140"/>
                  <a:gd name="T62" fmla="*/ 6 w 56"/>
                  <a:gd name="T63" fmla="*/ 61 h 140"/>
                  <a:gd name="T64" fmla="*/ 10 w 56"/>
                  <a:gd name="T65" fmla="*/ 56 h 140"/>
                  <a:gd name="T66" fmla="*/ 16 w 56"/>
                  <a:gd name="T67" fmla="*/ 52 h 140"/>
                  <a:gd name="T68" fmla="*/ 12 w 56"/>
                  <a:gd name="T69" fmla="*/ 48 h 140"/>
                  <a:gd name="T70" fmla="*/ 10 w 56"/>
                  <a:gd name="T71" fmla="*/ 38 h 140"/>
                  <a:gd name="T72" fmla="*/ 13 w 56"/>
                  <a:gd name="T73" fmla="*/ 33 h 140"/>
                  <a:gd name="T74" fmla="*/ 12 w 56"/>
                  <a:gd name="T75" fmla="*/ 29 h 140"/>
                  <a:gd name="T76" fmla="*/ 16 w 56"/>
                  <a:gd name="T77" fmla="*/ 23 h 140"/>
                  <a:gd name="T78" fmla="*/ 18 w 56"/>
                  <a:gd name="T79" fmla="*/ 19 h 140"/>
                  <a:gd name="T80" fmla="*/ 15 w 56"/>
                  <a:gd name="T81" fmla="*/ 13 h 140"/>
                  <a:gd name="T82" fmla="*/ 12 w 56"/>
                  <a:gd name="T83" fmla="*/ 10 h 140"/>
                  <a:gd name="T84" fmla="*/ 10 w 56"/>
                  <a:gd name="T85" fmla="*/ 3 h 140"/>
                  <a:gd name="T86" fmla="*/ 8 w 56"/>
                  <a:gd name="T87" fmla="*/ 3 h 140"/>
                  <a:gd name="T88" fmla="*/ 6 w 56"/>
                  <a:gd name="T89" fmla="*/ 2 h 140"/>
                  <a:gd name="T90" fmla="*/ 38 w 56"/>
                  <a:gd name="T91" fmla="*/ 48 h 140"/>
                  <a:gd name="T92" fmla="*/ 33 w 56"/>
                  <a:gd name="T93" fmla="*/ 46 h 140"/>
                  <a:gd name="T94" fmla="*/ 35 w 56"/>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140">
                    <a:moveTo>
                      <a:pt x="6" y="2"/>
                    </a:moveTo>
                    <a:lnTo>
                      <a:pt x="5" y="0"/>
                    </a:lnTo>
                    <a:lnTo>
                      <a:pt x="8" y="0"/>
                    </a:lnTo>
                    <a:lnTo>
                      <a:pt x="12" y="3"/>
                    </a:lnTo>
                    <a:lnTo>
                      <a:pt x="15" y="3"/>
                    </a:lnTo>
                    <a:lnTo>
                      <a:pt x="21" y="5"/>
                    </a:lnTo>
                    <a:lnTo>
                      <a:pt x="22" y="5"/>
                    </a:lnTo>
                    <a:lnTo>
                      <a:pt x="23" y="5"/>
                    </a:lnTo>
                    <a:lnTo>
                      <a:pt x="23" y="3"/>
                    </a:lnTo>
                    <a:lnTo>
                      <a:pt x="23" y="2"/>
                    </a:lnTo>
                    <a:lnTo>
                      <a:pt x="25" y="2"/>
                    </a:lnTo>
                    <a:lnTo>
                      <a:pt x="28" y="3"/>
                    </a:lnTo>
                    <a:lnTo>
                      <a:pt x="31" y="6"/>
                    </a:lnTo>
                    <a:lnTo>
                      <a:pt x="32" y="9"/>
                    </a:lnTo>
                    <a:lnTo>
                      <a:pt x="33" y="10"/>
                    </a:lnTo>
                    <a:lnTo>
                      <a:pt x="33" y="13"/>
                    </a:lnTo>
                    <a:lnTo>
                      <a:pt x="35" y="19"/>
                    </a:lnTo>
                    <a:lnTo>
                      <a:pt x="36" y="22"/>
                    </a:lnTo>
                    <a:lnTo>
                      <a:pt x="36" y="23"/>
                    </a:lnTo>
                    <a:lnTo>
                      <a:pt x="36" y="25"/>
                    </a:lnTo>
                    <a:lnTo>
                      <a:pt x="35" y="28"/>
                    </a:lnTo>
                    <a:lnTo>
                      <a:pt x="35" y="28"/>
                    </a:lnTo>
                    <a:lnTo>
                      <a:pt x="36" y="32"/>
                    </a:lnTo>
                    <a:lnTo>
                      <a:pt x="41" y="36"/>
                    </a:lnTo>
                    <a:lnTo>
                      <a:pt x="41" y="39"/>
                    </a:lnTo>
                    <a:lnTo>
                      <a:pt x="38" y="39"/>
                    </a:lnTo>
                    <a:lnTo>
                      <a:pt x="36" y="39"/>
                    </a:lnTo>
                    <a:lnTo>
                      <a:pt x="35" y="42"/>
                    </a:lnTo>
                    <a:lnTo>
                      <a:pt x="32" y="49"/>
                    </a:lnTo>
                    <a:lnTo>
                      <a:pt x="31" y="51"/>
                    </a:lnTo>
                    <a:lnTo>
                      <a:pt x="35" y="71"/>
                    </a:lnTo>
                    <a:lnTo>
                      <a:pt x="36" y="72"/>
                    </a:lnTo>
                    <a:lnTo>
                      <a:pt x="41" y="75"/>
                    </a:lnTo>
                    <a:lnTo>
                      <a:pt x="45" y="78"/>
                    </a:lnTo>
                    <a:lnTo>
                      <a:pt x="49" y="84"/>
                    </a:lnTo>
                    <a:lnTo>
                      <a:pt x="54" y="89"/>
                    </a:lnTo>
                    <a:lnTo>
                      <a:pt x="56" y="94"/>
                    </a:lnTo>
                    <a:lnTo>
                      <a:pt x="56" y="97"/>
                    </a:lnTo>
                    <a:lnTo>
                      <a:pt x="56" y="99"/>
                    </a:lnTo>
                    <a:lnTo>
                      <a:pt x="56" y="104"/>
                    </a:lnTo>
                    <a:lnTo>
                      <a:pt x="56" y="114"/>
                    </a:lnTo>
                    <a:lnTo>
                      <a:pt x="56" y="117"/>
                    </a:lnTo>
                    <a:lnTo>
                      <a:pt x="55" y="120"/>
                    </a:lnTo>
                    <a:lnTo>
                      <a:pt x="54" y="121"/>
                    </a:lnTo>
                    <a:lnTo>
                      <a:pt x="51" y="121"/>
                    </a:lnTo>
                    <a:lnTo>
                      <a:pt x="48" y="122"/>
                    </a:lnTo>
                    <a:lnTo>
                      <a:pt x="46" y="124"/>
                    </a:lnTo>
                    <a:lnTo>
                      <a:pt x="46" y="125"/>
                    </a:lnTo>
                    <a:lnTo>
                      <a:pt x="45" y="128"/>
                    </a:lnTo>
                    <a:lnTo>
                      <a:pt x="45" y="130"/>
                    </a:lnTo>
                    <a:lnTo>
                      <a:pt x="46" y="135"/>
                    </a:lnTo>
                    <a:lnTo>
                      <a:pt x="48" y="138"/>
                    </a:lnTo>
                    <a:lnTo>
                      <a:pt x="45" y="140"/>
                    </a:lnTo>
                    <a:lnTo>
                      <a:pt x="43" y="140"/>
                    </a:lnTo>
                    <a:lnTo>
                      <a:pt x="43" y="138"/>
                    </a:lnTo>
                    <a:lnTo>
                      <a:pt x="43" y="137"/>
                    </a:lnTo>
                    <a:lnTo>
                      <a:pt x="43" y="135"/>
                    </a:lnTo>
                    <a:lnTo>
                      <a:pt x="42" y="134"/>
                    </a:lnTo>
                    <a:lnTo>
                      <a:pt x="36" y="128"/>
                    </a:lnTo>
                    <a:lnTo>
                      <a:pt x="33" y="124"/>
                    </a:lnTo>
                    <a:lnTo>
                      <a:pt x="32" y="122"/>
                    </a:lnTo>
                    <a:lnTo>
                      <a:pt x="29" y="118"/>
                    </a:lnTo>
                    <a:lnTo>
                      <a:pt x="29" y="117"/>
                    </a:lnTo>
                    <a:lnTo>
                      <a:pt x="29" y="115"/>
                    </a:lnTo>
                    <a:lnTo>
                      <a:pt x="31" y="112"/>
                    </a:lnTo>
                    <a:lnTo>
                      <a:pt x="33" y="107"/>
                    </a:lnTo>
                    <a:lnTo>
                      <a:pt x="33" y="105"/>
                    </a:lnTo>
                    <a:lnTo>
                      <a:pt x="35" y="102"/>
                    </a:lnTo>
                    <a:lnTo>
                      <a:pt x="35" y="99"/>
                    </a:lnTo>
                    <a:lnTo>
                      <a:pt x="33" y="97"/>
                    </a:lnTo>
                    <a:lnTo>
                      <a:pt x="33" y="94"/>
                    </a:lnTo>
                    <a:lnTo>
                      <a:pt x="32" y="91"/>
                    </a:lnTo>
                    <a:lnTo>
                      <a:pt x="31" y="91"/>
                    </a:lnTo>
                    <a:lnTo>
                      <a:pt x="28" y="91"/>
                    </a:lnTo>
                    <a:lnTo>
                      <a:pt x="21" y="92"/>
                    </a:lnTo>
                    <a:lnTo>
                      <a:pt x="19" y="92"/>
                    </a:lnTo>
                    <a:lnTo>
                      <a:pt x="18" y="92"/>
                    </a:lnTo>
                    <a:lnTo>
                      <a:pt x="15" y="91"/>
                    </a:lnTo>
                    <a:lnTo>
                      <a:pt x="12" y="85"/>
                    </a:lnTo>
                    <a:lnTo>
                      <a:pt x="10" y="82"/>
                    </a:lnTo>
                    <a:lnTo>
                      <a:pt x="9" y="82"/>
                    </a:lnTo>
                    <a:lnTo>
                      <a:pt x="9" y="82"/>
                    </a:lnTo>
                    <a:lnTo>
                      <a:pt x="8" y="82"/>
                    </a:lnTo>
                    <a:lnTo>
                      <a:pt x="6" y="82"/>
                    </a:lnTo>
                    <a:lnTo>
                      <a:pt x="6" y="82"/>
                    </a:lnTo>
                    <a:lnTo>
                      <a:pt x="3" y="79"/>
                    </a:lnTo>
                    <a:lnTo>
                      <a:pt x="3" y="78"/>
                    </a:lnTo>
                    <a:lnTo>
                      <a:pt x="3" y="76"/>
                    </a:lnTo>
                    <a:lnTo>
                      <a:pt x="3" y="76"/>
                    </a:lnTo>
                    <a:lnTo>
                      <a:pt x="2" y="75"/>
                    </a:lnTo>
                    <a:lnTo>
                      <a:pt x="0" y="75"/>
                    </a:lnTo>
                    <a:lnTo>
                      <a:pt x="3" y="74"/>
                    </a:lnTo>
                    <a:lnTo>
                      <a:pt x="6" y="69"/>
                    </a:lnTo>
                    <a:lnTo>
                      <a:pt x="6" y="66"/>
                    </a:lnTo>
                    <a:lnTo>
                      <a:pt x="6" y="62"/>
                    </a:lnTo>
                    <a:lnTo>
                      <a:pt x="6" y="61"/>
                    </a:lnTo>
                    <a:lnTo>
                      <a:pt x="6" y="59"/>
                    </a:lnTo>
                    <a:lnTo>
                      <a:pt x="8" y="58"/>
                    </a:lnTo>
                    <a:lnTo>
                      <a:pt x="10" y="56"/>
                    </a:lnTo>
                    <a:lnTo>
                      <a:pt x="13" y="55"/>
                    </a:lnTo>
                    <a:lnTo>
                      <a:pt x="15" y="55"/>
                    </a:lnTo>
                    <a:lnTo>
                      <a:pt x="16" y="52"/>
                    </a:lnTo>
                    <a:lnTo>
                      <a:pt x="13" y="52"/>
                    </a:lnTo>
                    <a:lnTo>
                      <a:pt x="12" y="51"/>
                    </a:lnTo>
                    <a:lnTo>
                      <a:pt x="12" y="48"/>
                    </a:lnTo>
                    <a:lnTo>
                      <a:pt x="12" y="45"/>
                    </a:lnTo>
                    <a:lnTo>
                      <a:pt x="12" y="42"/>
                    </a:lnTo>
                    <a:lnTo>
                      <a:pt x="10" y="38"/>
                    </a:lnTo>
                    <a:lnTo>
                      <a:pt x="10" y="36"/>
                    </a:lnTo>
                    <a:lnTo>
                      <a:pt x="12" y="35"/>
                    </a:lnTo>
                    <a:lnTo>
                      <a:pt x="13" y="33"/>
                    </a:lnTo>
                    <a:lnTo>
                      <a:pt x="13" y="32"/>
                    </a:lnTo>
                    <a:lnTo>
                      <a:pt x="13" y="30"/>
                    </a:lnTo>
                    <a:lnTo>
                      <a:pt x="12" y="29"/>
                    </a:lnTo>
                    <a:lnTo>
                      <a:pt x="12" y="28"/>
                    </a:lnTo>
                    <a:lnTo>
                      <a:pt x="12" y="26"/>
                    </a:lnTo>
                    <a:lnTo>
                      <a:pt x="16" y="23"/>
                    </a:lnTo>
                    <a:lnTo>
                      <a:pt x="18" y="22"/>
                    </a:lnTo>
                    <a:lnTo>
                      <a:pt x="18" y="20"/>
                    </a:lnTo>
                    <a:lnTo>
                      <a:pt x="18" y="19"/>
                    </a:lnTo>
                    <a:lnTo>
                      <a:pt x="18" y="16"/>
                    </a:lnTo>
                    <a:lnTo>
                      <a:pt x="16" y="15"/>
                    </a:lnTo>
                    <a:lnTo>
                      <a:pt x="15" y="13"/>
                    </a:lnTo>
                    <a:lnTo>
                      <a:pt x="13" y="12"/>
                    </a:lnTo>
                    <a:lnTo>
                      <a:pt x="13" y="12"/>
                    </a:lnTo>
                    <a:lnTo>
                      <a:pt x="12" y="10"/>
                    </a:lnTo>
                    <a:lnTo>
                      <a:pt x="12" y="9"/>
                    </a:lnTo>
                    <a:lnTo>
                      <a:pt x="12" y="7"/>
                    </a:lnTo>
                    <a:lnTo>
                      <a:pt x="10" y="3"/>
                    </a:lnTo>
                    <a:lnTo>
                      <a:pt x="9" y="3"/>
                    </a:lnTo>
                    <a:lnTo>
                      <a:pt x="9" y="3"/>
                    </a:lnTo>
                    <a:lnTo>
                      <a:pt x="8" y="3"/>
                    </a:lnTo>
                    <a:lnTo>
                      <a:pt x="8" y="5"/>
                    </a:lnTo>
                    <a:lnTo>
                      <a:pt x="8" y="3"/>
                    </a:lnTo>
                    <a:lnTo>
                      <a:pt x="6" y="2"/>
                    </a:lnTo>
                    <a:close/>
                    <a:moveTo>
                      <a:pt x="36" y="48"/>
                    </a:moveTo>
                    <a:lnTo>
                      <a:pt x="36" y="48"/>
                    </a:lnTo>
                    <a:lnTo>
                      <a:pt x="38" y="48"/>
                    </a:lnTo>
                    <a:lnTo>
                      <a:pt x="36" y="46"/>
                    </a:lnTo>
                    <a:lnTo>
                      <a:pt x="36" y="48"/>
                    </a:lnTo>
                    <a:close/>
                    <a:moveTo>
                      <a:pt x="33" y="46"/>
                    </a:moveTo>
                    <a:lnTo>
                      <a:pt x="35" y="48"/>
                    </a:lnTo>
                    <a:lnTo>
                      <a:pt x="36" y="46"/>
                    </a:lnTo>
                    <a:lnTo>
                      <a:pt x="35" y="46"/>
                    </a:lnTo>
                    <a:lnTo>
                      <a:pt x="33" y="4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17" name="Freeform 204">
                <a:extLst>
                  <a:ext uri="{FF2B5EF4-FFF2-40B4-BE49-F238E27FC236}">
                    <a16:creationId xmlns:a16="http://schemas.microsoft.com/office/drawing/2014/main" id="{1AA6B88E-50CC-0017-7D3E-AD3FA4BDC6B5}"/>
                  </a:ext>
                </a:extLst>
              </p:cNvPr>
              <p:cNvSpPr>
                <a:spLocks noEditPoints="1"/>
              </p:cNvSpPr>
              <p:nvPr/>
            </p:nvSpPr>
            <p:spPr bwMode="auto">
              <a:xfrm>
                <a:off x="3248" y="2219"/>
                <a:ext cx="214" cy="236"/>
              </a:xfrm>
              <a:custGeom>
                <a:avLst/>
                <a:gdLst>
                  <a:gd name="T0" fmla="*/ 9 w 214"/>
                  <a:gd name="T1" fmla="*/ 207 h 236"/>
                  <a:gd name="T2" fmla="*/ 16 w 214"/>
                  <a:gd name="T3" fmla="*/ 188 h 236"/>
                  <a:gd name="T4" fmla="*/ 17 w 214"/>
                  <a:gd name="T5" fmla="*/ 174 h 236"/>
                  <a:gd name="T6" fmla="*/ 15 w 214"/>
                  <a:gd name="T7" fmla="*/ 158 h 236"/>
                  <a:gd name="T8" fmla="*/ 10 w 214"/>
                  <a:gd name="T9" fmla="*/ 154 h 236"/>
                  <a:gd name="T10" fmla="*/ 10 w 214"/>
                  <a:gd name="T11" fmla="*/ 151 h 236"/>
                  <a:gd name="T12" fmla="*/ 12 w 214"/>
                  <a:gd name="T13" fmla="*/ 149 h 236"/>
                  <a:gd name="T14" fmla="*/ 13 w 214"/>
                  <a:gd name="T15" fmla="*/ 142 h 236"/>
                  <a:gd name="T16" fmla="*/ 13 w 214"/>
                  <a:gd name="T17" fmla="*/ 133 h 236"/>
                  <a:gd name="T18" fmla="*/ 9 w 214"/>
                  <a:gd name="T19" fmla="*/ 126 h 236"/>
                  <a:gd name="T20" fmla="*/ 6 w 214"/>
                  <a:gd name="T21" fmla="*/ 125 h 236"/>
                  <a:gd name="T22" fmla="*/ 0 w 214"/>
                  <a:gd name="T23" fmla="*/ 123 h 236"/>
                  <a:gd name="T24" fmla="*/ 0 w 214"/>
                  <a:gd name="T25" fmla="*/ 121 h 236"/>
                  <a:gd name="T26" fmla="*/ 0 w 214"/>
                  <a:gd name="T27" fmla="*/ 115 h 236"/>
                  <a:gd name="T28" fmla="*/ 2 w 214"/>
                  <a:gd name="T29" fmla="*/ 115 h 236"/>
                  <a:gd name="T30" fmla="*/ 29 w 214"/>
                  <a:gd name="T31" fmla="*/ 115 h 236"/>
                  <a:gd name="T32" fmla="*/ 43 w 214"/>
                  <a:gd name="T33" fmla="*/ 115 h 236"/>
                  <a:gd name="T34" fmla="*/ 53 w 214"/>
                  <a:gd name="T35" fmla="*/ 115 h 236"/>
                  <a:gd name="T36" fmla="*/ 71 w 214"/>
                  <a:gd name="T37" fmla="*/ 115 h 236"/>
                  <a:gd name="T38" fmla="*/ 71 w 214"/>
                  <a:gd name="T39" fmla="*/ 106 h 236"/>
                  <a:gd name="T40" fmla="*/ 69 w 214"/>
                  <a:gd name="T41" fmla="*/ 93 h 236"/>
                  <a:gd name="T42" fmla="*/ 69 w 214"/>
                  <a:gd name="T43" fmla="*/ 90 h 236"/>
                  <a:gd name="T44" fmla="*/ 68 w 214"/>
                  <a:gd name="T45" fmla="*/ 86 h 236"/>
                  <a:gd name="T46" fmla="*/ 69 w 214"/>
                  <a:gd name="T47" fmla="*/ 85 h 236"/>
                  <a:gd name="T48" fmla="*/ 78 w 214"/>
                  <a:gd name="T49" fmla="*/ 77 h 236"/>
                  <a:gd name="T50" fmla="*/ 79 w 214"/>
                  <a:gd name="T51" fmla="*/ 77 h 236"/>
                  <a:gd name="T52" fmla="*/ 82 w 214"/>
                  <a:gd name="T53" fmla="*/ 76 h 236"/>
                  <a:gd name="T54" fmla="*/ 88 w 214"/>
                  <a:gd name="T55" fmla="*/ 73 h 236"/>
                  <a:gd name="T56" fmla="*/ 128 w 214"/>
                  <a:gd name="T57" fmla="*/ 24 h 236"/>
                  <a:gd name="T58" fmla="*/ 214 w 214"/>
                  <a:gd name="T59" fmla="*/ 44 h 236"/>
                  <a:gd name="T60" fmla="*/ 201 w 214"/>
                  <a:gd name="T61" fmla="*/ 201 h 236"/>
                  <a:gd name="T62" fmla="*/ 203 w 214"/>
                  <a:gd name="T63" fmla="*/ 205 h 236"/>
                  <a:gd name="T64" fmla="*/ 206 w 214"/>
                  <a:gd name="T65" fmla="*/ 208 h 236"/>
                  <a:gd name="T66" fmla="*/ 203 w 214"/>
                  <a:gd name="T67" fmla="*/ 223 h 236"/>
                  <a:gd name="T68" fmla="*/ 137 w 214"/>
                  <a:gd name="T69" fmla="*/ 223 h 236"/>
                  <a:gd name="T70" fmla="*/ 134 w 214"/>
                  <a:gd name="T71" fmla="*/ 221 h 236"/>
                  <a:gd name="T72" fmla="*/ 129 w 214"/>
                  <a:gd name="T73" fmla="*/ 224 h 236"/>
                  <a:gd name="T74" fmla="*/ 121 w 214"/>
                  <a:gd name="T75" fmla="*/ 224 h 236"/>
                  <a:gd name="T76" fmla="*/ 112 w 214"/>
                  <a:gd name="T77" fmla="*/ 224 h 236"/>
                  <a:gd name="T78" fmla="*/ 104 w 214"/>
                  <a:gd name="T79" fmla="*/ 227 h 236"/>
                  <a:gd name="T80" fmla="*/ 94 w 214"/>
                  <a:gd name="T81" fmla="*/ 223 h 236"/>
                  <a:gd name="T82" fmla="*/ 88 w 214"/>
                  <a:gd name="T83" fmla="*/ 236 h 236"/>
                  <a:gd name="T84" fmla="*/ 79 w 214"/>
                  <a:gd name="T85" fmla="*/ 231 h 236"/>
                  <a:gd name="T86" fmla="*/ 72 w 214"/>
                  <a:gd name="T87" fmla="*/ 224 h 236"/>
                  <a:gd name="T88" fmla="*/ 66 w 214"/>
                  <a:gd name="T89" fmla="*/ 215 h 236"/>
                  <a:gd name="T90" fmla="*/ 59 w 214"/>
                  <a:gd name="T91" fmla="*/ 211 h 236"/>
                  <a:gd name="T92" fmla="*/ 55 w 214"/>
                  <a:gd name="T93" fmla="*/ 210 h 236"/>
                  <a:gd name="T94" fmla="*/ 48 w 214"/>
                  <a:gd name="T95" fmla="*/ 202 h 236"/>
                  <a:gd name="T96" fmla="*/ 35 w 214"/>
                  <a:gd name="T97" fmla="*/ 201 h 236"/>
                  <a:gd name="T98" fmla="*/ 17 w 214"/>
                  <a:gd name="T99" fmla="*/ 204 h 236"/>
                  <a:gd name="T100" fmla="*/ 15 w 214"/>
                  <a:gd name="T101" fmla="*/ 204 h 236"/>
                  <a:gd name="T102" fmla="*/ 10 w 214"/>
                  <a:gd name="T103" fmla="*/ 210 h 236"/>
                  <a:gd name="T104" fmla="*/ 10 w 214"/>
                  <a:gd name="T105" fmla="*/ 146 h 236"/>
                  <a:gd name="T106" fmla="*/ 12 w 214"/>
                  <a:gd name="T107" fmla="*/ 144 h 236"/>
                  <a:gd name="T108" fmla="*/ 10 w 214"/>
                  <a:gd name="T109" fmla="*/ 144 h 236"/>
                  <a:gd name="T110" fmla="*/ 10 w 214"/>
                  <a:gd name="T111" fmla="*/ 14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4" h="236">
                    <a:moveTo>
                      <a:pt x="10" y="210"/>
                    </a:moveTo>
                    <a:lnTo>
                      <a:pt x="9" y="217"/>
                    </a:lnTo>
                    <a:lnTo>
                      <a:pt x="9" y="207"/>
                    </a:lnTo>
                    <a:lnTo>
                      <a:pt x="10" y="202"/>
                    </a:lnTo>
                    <a:lnTo>
                      <a:pt x="12" y="197"/>
                    </a:lnTo>
                    <a:lnTo>
                      <a:pt x="16" y="188"/>
                    </a:lnTo>
                    <a:lnTo>
                      <a:pt x="17" y="184"/>
                    </a:lnTo>
                    <a:lnTo>
                      <a:pt x="17" y="179"/>
                    </a:lnTo>
                    <a:lnTo>
                      <a:pt x="17" y="174"/>
                    </a:lnTo>
                    <a:lnTo>
                      <a:pt x="17" y="169"/>
                    </a:lnTo>
                    <a:lnTo>
                      <a:pt x="15" y="159"/>
                    </a:lnTo>
                    <a:lnTo>
                      <a:pt x="15" y="158"/>
                    </a:lnTo>
                    <a:lnTo>
                      <a:pt x="13" y="156"/>
                    </a:lnTo>
                    <a:lnTo>
                      <a:pt x="13" y="155"/>
                    </a:lnTo>
                    <a:lnTo>
                      <a:pt x="10" y="154"/>
                    </a:lnTo>
                    <a:lnTo>
                      <a:pt x="10" y="154"/>
                    </a:lnTo>
                    <a:lnTo>
                      <a:pt x="10" y="151"/>
                    </a:lnTo>
                    <a:lnTo>
                      <a:pt x="10" y="151"/>
                    </a:lnTo>
                    <a:lnTo>
                      <a:pt x="12" y="151"/>
                    </a:lnTo>
                    <a:lnTo>
                      <a:pt x="13" y="148"/>
                    </a:lnTo>
                    <a:lnTo>
                      <a:pt x="12" y="149"/>
                    </a:lnTo>
                    <a:lnTo>
                      <a:pt x="10" y="149"/>
                    </a:lnTo>
                    <a:lnTo>
                      <a:pt x="10" y="149"/>
                    </a:lnTo>
                    <a:lnTo>
                      <a:pt x="13" y="142"/>
                    </a:lnTo>
                    <a:lnTo>
                      <a:pt x="15" y="139"/>
                    </a:lnTo>
                    <a:lnTo>
                      <a:pt x="15" y="136"/>
                    </a:lnTo>
                    <a:lnTo>
                      <a:pt x="13" y="133"/>
                    </a:lnTo>
                    <a:lnTo>
                      <a:pt x="12" y="131"/>
                    </a:lnTo>
                    <a:lnTo>
                      <a:pt x="10" y="128"/>
                    </a:lnTo>
                    <a:lnTo>
                      <a:pt x="9" y="126"/>
                    </a:lnTo>
                    <a:lnTo>
                      <a:pt x="9" y="128"/>
                    </a:lnTo>
                    <a:lnTo>
                      <a:pt x="9" y="128"/>
                    </a:lnTo>
                    <a:lnTo>
                      <a:pt x="6" y="125"/>
                    </a:lnTo>
                    <a:lnTo>
                      <a:pt x="3" y="121"/>
                    </a:lnTo>
                    <a:lnTo>
                      <a:pt x="2" y="119"/>
                    </a:lnTo>
                    <a:lnTo>
                      <a:pt x="0" y="123"/>
                    </a:lnTo>
                    <a:lnTo>
                      <a:pt x="0" y="123"/>
                    </a:lnTo>
                    <a:lnTo>
                      <a:pt x="0" y="122"/>
                    </a:lnTo>
                    <a:lnTo>
                      <a:pt x="0" y="121"/>
                    </a:lnTo>
                    <a:lnTo>
                      <a:pt x="0" y="119"/>
                    </a:lnTo>
                    <a:lnTo>
                      <a:pt x="0" y="116"/>
                    </a:lnTo>
                    <a:lnTo>
                      <a:pt x="0" y="115"/>
                    </a:lnTo>
                    <a:lnTo>
                      <a:pt x="2" y="115"/>
                    </a:lnTo>
                    <a:lnTo>
                      <a:pt x="2" y="115"/>
                    </a:lnTo>
                    <a:lnTo>
                      <a:pt x="2" y="115"/>
                    </a:lnTo>
                    <a:lnTo>
                      <a:pt x="3" y="115"/>
                    </a:lnTo>
                    <a:lnTo>
                      <a:pt x="7" y="115"/>
                    </a:lnTo>
                    <a:lnTo>
                      <a:pt x="29" y="115"/>
                    </a:lnTo>
                    <a:lnTo>
                      <a:pt x="33" y="115"/>
                    </a:lnTo>
                    <a:lnTo>
                      <a:pt x="36" y="115"/>
                    </a:lnTo>
                    <a:lnTo>
                      <a:pt x="43" y="115"/>
                    </a:lnTo>
                    <a:lnTo>
                      <a:pt x="46" y="115"/>
                    </a:lnTo>
                    <a:lnTo>
                      <a:pt x="50" y="115"/>
                    </a:lnTo>
                    <a:lnTo>
                      <a:pt x="53" y="115"/>
                    </a:lnTo>
                    <a:lnTo>
                      <a:pt x="61" y="115"/>
                    </a:lnTo>
                    <a:lnTo>
                      <a:pt x="66" y="115"/>
                    </a:lnTo>
                    <a:lnTo>
                      <a:pt x="71" y="115"/>
                    </a:lnTo>
                    <a:lnTo>
                      <a:pt x="71" y="110"/>
                    </a:lnTo>
                    <a:lnTo>
                      <a:pt x="71" y="108"/>
                    </a:lnTo>
                    <a:lnTo>
                      <a:pt x="71" y="106"/>
                    </a:lnTo>
                    <a:lnTo>
                      <a:pt x="71" y="103"/>
                    </a:lnTo>
                    <a:lnTo>
                      <a:pt x="69" y="100"/>
                    </a:lnTo>
                    <a:lnTo>
                      <a:pt x="69" y="93"/>
                    </a:lnTo>
                    <a:lnTo>
                      <a:pt x="69" y="92"/>
                    </a:lnTo>
                    <a:lnTo>
                      <a:pt x="69" y="90"/>
                    </a:lnTo>
                    <a:lnTo>
                      <a:pt x="69" y="90"/>
                    </a:lnTo>
                    <a:lnTo>
                      <a:pt x="68" y="89"/>
                    </a:lnTo>
                    <a:lnTo>
                      <a:pt x="68" y="87"/>
                    </a:lnTo>
                    <a:lnTo>
                      <a:pt x="68" y="86"/>
                    </a:lnTo>
                    <a:lnTo>
                      <a:pt x="68" y="86"/>
                    </a:lnTo>
                    <a:lnTo>
                      <a:pt x="69" y="85"/>
                    </a:lnTo>
                    <a:lnTo>
                      <a:pt x="69" y="85"/>
                    </a:lnTo>
                    <a:lnTo>
                      <a:pt x="71" y="83"/>
                    </a:lnTo>
                    <a:lnTo>
                      <a:pt x="75" y="79"/>
                    </a:lnTo>
                    <a:lnTo>
                      <a:pt x="78" y="77"/>
                    </a:lnTo>
                    <a:lnTo>
                      <a:pt x="78" y="77"/>
                    </a:lnTo>
                    <a:lnTo>
                      <a:pt x="79" y="77"/>
                    </a:lnTo>
                    <a:lnTo>
                      <a:pt x="79" y="77"/>
                    </a:lnTo>
                    <a:lnTo>
                      <a:pt x="81" y="76"/>
                    </a:lnTo>
                    <a:lnTo>
                      <a:pt x="82" y="76"/>
                    </a:lnTo>
                    <a:lnTo>
                      <a:pt x="82" y="76"/>
                    </a:lnTo>
                    <a:lnTo>
                      <a:pt x="85" y="75"/>
                    </a:lnTo>
                    <a:lnTo>
                      <a:pt x="86" y="75"/>
                    </a:lnTo>
                    <a:lnTo>
                      <a:pt x="88" y="73"/>
                    </a:lnTo>
                    <a:lnTo>
                      <a:pt x="88" y="24"/>
                    </a:lnTo>
                    <a:lnTo>
                      <a:pt x="105" y="24"/>
                    </a:lnTo>
                    <a:lnTo>
                      <a:pt x="128" y="24"/>
                    </a:lnTo>
                    <a:lnTo>
                      <a:pt x="147" y="24"/>
                    </a:lnTo>
                    <a:lnTo>
                      <a:pt x="147" y="0"/>
                    </a:lnTo>
                    <a:lnTo>
                      <a:pt x="214" y="44"/>
                    </a:lnTo>
                    <a:lnTo>
                      <a:pt x="184" y="44"/>
                    </a:lnTo>
                    <a:lnTo>
                      <a:pt x="200" y="200"/>
                    </a:lnTo>
                    <a:lnTo>
                      <a:pt x="201" y="201"/>
                    </a:lnTo>
                    <a:lnTo>
                      <a:pt x="201" y="202"/>
                    </a:lnTo>
                    <a:lnTo>
                      <a:pt x="203" y="204"/>
                    </a:lnTo>
                    <a:lnTo>
                      <a:pt x="203" y="205"/>
                    </a:lnTo>
                    <a:lnTo>
                      <a:pt x="204" y="207"/>
                    </a:lnTo>
                    <a:lnTo>
                      <a:pt x="204" y="208"/>
                    </a:lnTo>
                    <a:lnTo>
                      <a:pt x="206" y="208"/>
                    </a:lnTo>
                    <a:lnTo>
                      <a:pt x="206" y="211"/>
                    </a:lnTo>
                    <a:lnTo>
                      <a:pt x="203" y="220"/>
                    </a:lnTo>
                    <a:lnTo>
                      <a:pt x="203" y="223"/>
                    </a:lnTo>
                    <a:lnTo>
                      <a:pt x="200" y="223"/>
                    </a:lnTo>
                    <a:lnTo>
                      <a:pt x="144" y="223"/>
                    </a:lnTo>
                    <a:lnTo>
                      <a:pt x="137" y="223"/>
                    </a:lnTo>
                    <a:lnTo>
                      <a:pt x="135" y="220"/>
                    </a:lnTo>
                    <a:lnTo>
                      <a:pt x="134" y="220"/>
                    </a:lnTo>
                    <a:lnTo>
                      <a:pt x="134" y="221"/>
                    </a:lnTo>
                    <a:lnTo>
                      <a:pt x="132" y="223"/>
                    </a:lnTo>
                    <a:lnTo>
                      <a:pt x="132" y="224"/>
                    </a:lnTo>
                    <a:lnTo>
                      <a:pt x="129" y="224"/>
                    </a:lnTo>
                    <a:lnTo>
                      <a:pt x="127" y="224"/>
                    </a:lnTo>
                    <a:lnTo>
                      <a:pt x="124" y="224"/>
                    </a:lnTo>
                    <a:lnTo>
                      <a:pt x="121" y="224"/>
                    </a:lnTo>
                    <a:lnTo>
                      <a:pt x="115" y="224"/>
                    </a:lnTo>
                    <a:lnTo>
                      <a:pt x="114" y="224"/>
                    </a:lnTo>
                    <a:lnTo>
                      <a:pt x="112" y="224"/>
                    </a:lnTo>
                    <a:lnTo>
                      <a:pt x="108" y="228"/>
                    </a:lnTo>
                    <a:lnTo>
                      <a:pt x="108" y="228"/>
                    </a:lnTo>
                    <a:lnTo>
                      <a:pt x="104" y="227"/>
                    </a:lnTo>
                    <a:lnTo>
                      <a:pt x="101" y="223"/>
                    </a:lnTo>
                    <a:lnTo>
                      <a:pt x="98" y="220"/>
                    </a:lnTo>
                    <a:lnTo>
                      <a:pt x="94" y="223"/>
                    </a:lnTo>
                    <a:lnTo>
                      <a:pt x="92" y="227"/>
                    </a:lnTo>
                    <a:lnTo>
                      <a:pt x="91" y="233"/>
                    </a:lnTo>
                    <a:lnTo>
                      <a:pt x="88" y="236"/>
                    </a:lnTo>
                    <a:lnTo>
                      <a:pt x="84" y="236"/>
                    </a:lnTo>
                    <a:lnTo>
                      <a:pt x="81" y="234"/>
                    </a:lnTo>
                    <a:lnTo>
                      <a:pt x="79" y="231"/>
                    </a:lnTo>
                    <a:lnTo>
                      <a:pt x="76" y="230"/>
                    </a:lnTo>
                    <a:lnTo>
                      <a:pt x="75" y="228"/>
                    </a:lnTo>
                    <a:lnTo>
                      <a:pt x="72" y="224"/>
                    </a:lnTo>
                    <a:lnTo>
                      <a:pt x="71" y="223"/>
                    </a:lnTo>
                    <a:lnTo>
                      <a:pt x="68" y="220"/>
                    </a:lnTo>
                    <a:lnTo>
                      <a:pt x="66" y="215"/>
                    </a:lnTo>
                    <a:lnTo>
                      <a:pt x="63" y="213"/>
                    </a:lnTo>
                    <a:lnTo>
                      <a:pt x="61" y="211"/>
                    </a:lnTo>
                    <a:lnTo>
                      <a:pt x="59" y="211"/>
                    </a:lnTo>
                    <a:lnTo>
                      <a:pt x="58" y="210"/>
                    </a:lnTo>
                    <a:lnTo>
                      <a:pt x="56" y="210"/>
                    </a:lnTo>
                    <a:lnTo>
                      <a:pt x="55" y="210"/>
                    </a:lnTo>
                    <a:lnTo>
                      <a:pt x="52" y="207"/>
                    </a:lnTo>
                    <a:lnTo>
                      <a:pt x="50" y="204"/>
                    </a:lnTo>
                    <a:lnTo>
                      <a:pt x="48" y="202"/>
                    </a:lnTo>
                    <a:lnTo>
                      <a:pt x="45" y="201"/>
                    </a:lnTo>
                    <a:lnTo>
                      <a:pt x="39" y="201"/>
                    </a:lnTo>
                    <a:lnTo>
                      <a:pt x="35" y="201"/>
                    </a:lnTo>
                    <a:lnTo>
                      <a:pt x="22" y="204"/>
                    </a:lnTo>
                    <a:lnTo>
                      <a:pt x="19" y="204"/>
                    </a:lnTo>
                    <a:lnTo>
                      <a:pt x="17" y="204"/>
                    </a:lnTo>
                    <a:lnTo>
                      <a:pt x="16" y="204"/>
                    </a:lnTo>
                    <a:lnTo>
                      <a:pt x="16" y="204"/>
                    </a:lnTo>
                    <a:lnTo>
                      <a:pt x="15" y="204"/>
                    </a:lnTo>
                    <a:lnTo>
                      <a:pt x="12" y="205"/>
                    </a:lnTo>
                    <a:lnTo>
                      <a:pt x="10" y="210"/>
                    </a:lnTo>
                    <a:lnTo>
                      <a:pt x="10" y="210"/>
                    </a:lnTo>
                    <a:close/>
                    <a:moveTo>
                      <a:pt x="10" y="145"/>
                    </a:moveTo>
                    <a:lnTo>
                      <a:pt x="10" y="146"/>
                    </a:lnTo>
                    <a:lnTo>
                      <a:pt x="10" y="146"/>
                    </a:lnTo>
                    <a:lnTo>
                      <a:pt x="12" y="145"/>
                    </a:lnTo>
                    <a:lnTo>
                      <a:pt x="12" y="145"/>
                    </a:lnTo>
                    <a:lnTo>
                      <a:pt x="12" y="144"/>
                    </a:lnTo>
                    <a:lnTo>
                      <a:pt x="12" y="142"/>
                    </a:lnTo>
                    <a:lnTo>
                      <a:pt x="12" y="142"/>
                    </a:lnTo>
                    <a:lnTo>
                      <a:pt x="10" y="144"/>
                    </a:lnTo>
                    <a:lnTo>
                      <a:pt x="10" y="144"/>
                    </a:lnTo>
                    <a:lnTo>
                      <a:pt x="10" y="145"/>
                    </a:lnTo>
                    <a:lnTo>
                      <a:pt x="10" y="145"/>
                    </a:lnTo>
                    <a:lnTo>
                      <a:pt x="10" y="14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18" name="Freeform 205">
                <a:extLst>
                  <a:ext uri="{FF2B5EF4-FFF2-40B4-BE49-F238E27FC236}">
                    <a16:creationId xmlns:a16="http://schemas.microsoft.com/office/drawing/2014/main" id="{CA7AC6E9-3D01-B4BF-B91A-C21B0F530B7B}"/>
                  </a:ext>
                </a:extLst>
              </p:cNvPr>
              <p:cNvSpPr>
                <a:spLocks noEditPoints="1"/>
              </p:cNvSpPr>
              <p:nvPr/>
            </p:nvSpPr>
            <p:spPr bwMode="auto">
              <a:xfrm>
                <a:off x="4187" y="2396"/>
                <a:ext cx="118" cy="102"/>
              </a:xfrm>
              <a:custGeom>
                <a:avLst/>
                <a:gdLst>
                  <a:gd name="T0" fmla="*/ 48 w 118"/>
                  <a:gd name="T1" fmla="*/ 20 h 102"/>
                  <a:gd name="T2" fmla="*/ 58 w 118"/>
                  <a:gd name="T3" fmla="*/ 50 h 102"/>
                  <a:gd name="T4" fmla="*/ 61 w 118"/>
                  <a:gd name="T5" fmla="*/ 47 h 102"/>
                  <a:gd name="T6" fmla="*/ 67 w 118"/>
                  <a:gd name="T7" fmla="*/ 53 h 102"/>
                  <a:gd name="T8" fmla="*/ 84 w 118"/>
                  <a:gd name="T9" fmla="*/ 61 h 102"/>
                  <a:gd name="T10" fmla="*/ 92 w 118"/>
                  <a:gd name="T11" fmla="*/ 73 h 102"/>
                  <a:gd name="T12" fmla="*/ 104 w 118"/>
                  <a:gd name="T13" fmla="*/ 80 h 102"/>
                  <a:gd name="T14" fmla="*/ 105 w 118"/>
                  <a:gd name="T15" fmla="*/ 86 h 102"/>
                  <a:gd name="T16" fmla="*/ 108 w 118"/>
                  <a:gd name="T17" fmla="*/ 87 h 102"/>
                  <a:gd name="T18" fmla="*/ 117 w 118"/>
                  <a:gd name="T19" fmla="*/ 93 h 102"/>
                  <a:gd name="T20" fmla="*/ 118 w 118"/>
                  <a:gd name="T21" fmla="*/ 96 h 102"/>
                  <a:gd name="T22" fmla="*/ 112 w 118"/>
                  <a:gd name="T23" fmla="*/ 100 h 102"/>
                  <a:gd name="T24" fmla="*/ 107 w 118"/>
                  <a:gd name="T25" fmla="*/ 100 h 102"/>
                  <a:gd name="T26" fmla="*/ 65 w 118"/>
                  <a:gd name="T27" fmla="*/ 64 h 102"/>
                  <a:gd name="T28" fmla="*/ 48 w 118"/>
                  <a:gd name="T29" fmla="*/ 63 h 102"/>
                  <a:gd name="T30" fmla="*/ 45 w 118"/>
                  <a:gd name="T31" fmla="*/ 63 h 102"/>
                  <a:gd name="T32" fmla="*/ 36 w 118"/>
                  <a:gd name="T33" fmla="*/ 64 h 102"/>
                  <a:gd name="T34" fmla="*/ 26 w 118"/>
                  <a:gd name="T35" fmla="*/ 57 h 102"/>
                  <a:gd name="T36" fmla="*/ 21 w 118"/>
                  <a:gd name="T37" fmla="*/ 69 h 102"/>
                  <a:gd name="T38" fmla="*/ 13 w 118"/>
                  <a:gd name="T39" fmla="*/ 66 h 102"/>
                  <a:gd name="T40" fmla="*/ 5 w 118"/>
                  <a:gd name="T41" fmla="*/ 67 h 102"/>
                  <a:gd name="T42" fmla="*/ 2 w 118"/>
                  <a:gd name="T43" fmla="*/ 56 h 102"/>
                  <a:gd name="T44" fmla="*/ 3 w 118"/>
                  <a:gd name="T45" fmla="*/ 48 h 102"/>
                  <a:gd name="T46" fmla="*/ 5 w 118"/>
                  <a:gd name="T47" fmla="*/ 41 h 102"/>
                  <a:gd name="T48" fmla="*/ 8 w 118"/>
                  <a:gd name="T49" fmla="*/ 38 h 102"/>
                  <a:gd name="T50" fmla="*/ 9 w 118"/>
                  <a:gd name="T51" fmla="*/ 27 h 102"/>
                  <a:gd name="T52" fmla="*/ 9 w 118"/>
                  <a:gd name="T53" fmla="*/ 24 h 102"/>
                  <a:gd name="T54" fmla="*/ 11 w 118"/>
                  <a:gd name="T55" fmla="*/ 20 h 102"/>
                  <a:gd name="T56" fmla="*/ 11 w 118"/>
                  <a:gd name="T57" fmla="*/ 17 h 102"/>
                  <a:gd name="T58" fmla="*/ 13 w 118"/>
                  <a:gd name="T59" fmla="*/ 17 h 102"/>
                  <a:gd name="T60" fmla="*/ 15 w 118"/>
                  <a:gd name="T61" fmla="*/ 17 h 102"/>
                  <a:gd name="T62" fmla="*/ 19 w 118"/>
                  <a:gd name="T63" fmla="*/ 15 h 102"/>
                  <a:gd name="T64" fmla="*/ 21 w 118"/>
                  <a:gd name="T65" fmla="*/ 13 h 102"/>
                  <a:gd name="T66" fmla="*/ 22 w 118"/>
                  <a:gd name="T67" fmla="*/ 11 h 102"/>
                  <a:gd name="T68" fmla="*/ 26 w 118"/>
                  <a:gd name="T69" fmla="*/ 10 h 102"/>
                  <a:gd name="T70" fmla="*/ 32 w 118"/>
                  <a:gd name="T71" fmla="*/ 8 h 102"/>
                  <a:gd name="T72" fmla="*/ 33 w 118"/>
                  <a:gd name="T73" fmla="*/ 7 h 102"/>
                  <a:gd name="T74" fmla="*/ 35 w 118"/>
                  <a:gd name="T75" fmla="*/ 4 h 102"/>
                  <a:gd name="T76" fmla="*/ 36 w 118"/>
                  <a:gd name="T77" fmla="*/ 2 h 102"/>
                  <a:gd name="T78" fmla="*/ 39 w 118"/>
                  <a:gd name="T79" fmla="*/ 0 h 102"/>
                  <a:gd name="T80" fmla="*/ 68 w 118"/>
                  <a:gd name="T81" fmla="*/ 44 h 102"/>
                  <a:gd name="T82" fmla="*/ 68 w 118"/>
                  <a:gd name="T83" fmla="*/ 43 h 102"/>
                  <a:gd name="T84" fmla="*/ 67 w 118"/>
                  <a:gd name="T85" fmla="*/ 41 h 102"/>
                  <a:gd name="T86" fmla="*/ 65 w 118"/>
                  <a:gd name="T87" fmla="*/ 38 h 102"/>
                  <a:gd name="T88" fmla="*/ 62 w 118"/>
                  <a:gd name="T89" fmla="*/ 41 h 102"/>
                  <a:gd name="T90" fmla="*/ 64 w 118"/>
                  <a:gd name="T91" fmla="*/ 43 h 102"/>
                  <a:gd name="T92" fmla="*/ 65 w 118"/>
                  <a:gd name="T93" fmla="*/ 36 h 102"/>
                  <a:gd name="T94" fmla="*/ 64 w 118"/>
                  <a:gd name="T95" fmla="*/ 3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8" h="102">
                    <a:moveTo>
                      <a:pt x="39" y="0"/>
                    </a:moveTo>
                    <a:lnTo>
                      <a:pt x="39" y="0"/>
                    </a:lnTo>
                    <a:lnTo>
                      <a:pt x="45" y="13"/>
                    </a:lnTo>
                    <a:lnTo>
                      <a:pt x="48" y="20"/>
                    </a:lnTo>
                    <a:lnTo>
                      <a:pt x="51" y="31"/>
                    </a:lnTo>
                    <a:lnTo>
                      <a:pt x="51" y="36"/>
                    </a:lnTo>
                    <a:lnTo>
                      <a:pt x="52" y="38"/>
                    </a:lnTo>
                    <a:lnTo>
                      <a:pt x="58" y="50"/>
                    </a:lnTo>
                    <a:lnTo>
                      <a:pt x="61" y="53"/>
                    </a:lnTo>
                    <a:lnTo>
                      <a:pt x="61" y="50"/>
                    </a:lnTo>
                    <a:lnTo>
                      <a:pt x="61" y="48"/>
                    </a:lnTo>
                    <a:lnTo>
                      <a:pt x="61" y="47"/>
                    </a:lnTo>
                    <a:lnTo>
                      <a:pt x="62" y="47"/>
                    </a:lnTo>
                    <a:lnTo>
                      <a:pt x="64" y="47"/>
                    </a:lnTo>
                    <a:lnTo>
                      <a:pt x="65" y="50"/>
                    </a:lnTo>
                    <a:lnTo>
                      <a:pt x="67" y="53"/>
                    </a:lnTo>
                    <a:lnTo>
                      <a:pt x="68" y="54"/>
                    </a:lnTo>
                    <a:lnTo>
                      <a:pt x="69" y="56"/>
                    </a:lnTo>
                    <a:lnTo>
                      <a:pt x="74" y="57"/>
                    </a:lnTo>
                    <a:lnTo>
                      <a:pt x="84" y="61"/>
                    </a:lnTo>
                    <a:lnTo>
                      <a:pt x="85" y="63"/>
                    </a:lnTo>
                    <a:lnTo>
                      <a:pt x="88" y="66"/>
                    </a:lnTo>
                    <a:lnTo>
                      <a:pt x="91" y="70"/>
                    </a:lnTo>
                    <a:lnTo>
                      <a:pt x="92" y="73"/>
                    </a:lnTo>
                    <a:lnTo>
                      <a:pt x="95" y="74"/>
                    </a:lnTo>
                    <a:lnTo>
                      <a:pt x="101" y="79"/>
                    </a:lnTo>
                    <a:lnTo>
                      <a:pt x="102" y="80"/>
                    </a:lnTo>
                    <a:lnTo>
                      <a:pt x="104" y="80"/>
                    </a:lnTo>
                    <a:lnTo>
                      <a:pt x="105" y="83"/>
                    </a:lnTo>
                    <a:lnTo>
                      <a:pt x="105" y="84"/>
                    </a:lnTo>
                    <a:lnTo>
                      <a:pt x="105" y="86"/>
                    </a:lnTo>
                    <a:lnTo>
                      <a:pt x="105" y="86"/>
                    </a:lnTo>
                    <a:lnTo>
                      <a:pt x="107" y="87"/>
                    </a:lnTo>
                    <a:lnTo>
                      <a:pt x="107" y="87"/>
                    </a:lnTo>
                    <a:lnTo>
                      <a:pt x="107" y="87"/>
                    </a:lnTo>
                    <a:lnTo>
                      <a:pt x="108" y="87"/>
                    </a:lnTo>
                    <a:lnTo>
                      <a:pt x="111" y="92"/>
                    </a:lnTo>
                    <a:lnTo>
                      <a:pt x="114" y="93"/>
                    </a:lnTo>
                    <a:lnTo>
                      <a:pt x="117" y="94"/>
                    </a:lnTo>
                    <a:lnTo>
                      <a:pt x="117" y="93"/>
                    </a:lnTo>
                    <a:lnTo>
                      <a:pt x="117" y="93"/>
                    </a:lnTo>
                    <a:lnTo>
                      <a:pt x="118" y="94"/>
                    </a:lnTo>
                    <a:lnTo>
                      <a:pt x="118" y="94"/>
                    </a:lnTo>
                    <a:lnTo>
                      <a:pt x="118" y="96"/>
                    </a:lnTo>
                    <a:lnTo>
                      <a:pt x="115" y="97"/>
                    </a:lnTo>
                    <a:lnTo>
                      <a:pt x="114" y="97"/>
                    </a:lnTo>
                    <a:lnTo>
                      <a:pt x="114" y="99"/>
                    </a:lnTo>
                    <a:lnTo>
                      <a:pt x="112" y="100"/>
                    </a:lnTo>
                    <a:lnTo>
                      <a:pt x="112" y="102"/>
                    </a:lnTo>
                    <a:lnTo>
                      <a:pt x="110" y="102"/>
                    </a:lnTo>
                    <a:lnTo>
                      <a:pt x="108" y="100"/>
                    </a:lnTo>
                    <a:lnTo>
                      <a:pt x="107" y="100"/>
                    </a:lnTo>
                    <a:lnTo>
                      <a:pt x="105" y="100"/>
                    </a:lnTo>
                    <a:lnTo>
                      <a:pt x="77" y="71"/>
                    </a:lnTo>
                    <a:lnTo>
                      <a:pt x="72" y="67"/>
                    </a:lnTo>
                    <a:lnTo>
                      <a:pt x="65" y="64"/>
                    </a:lnTo>
                    <a:lnTo>
                      <a:pt x="59" y="64"/>
                    </a:lnTo>
                    <a:lnTo>
                      <a:pt x="51" y="63"/>
                    </a:lnTo>
                    <a:lnTo>
                      <a:pt x="49" y="63"/>
                    </a:lnTo>
                    <a:lnTo>
                      <a:pt x="48" y="63"/>
                    </a:lnTo>
                    <a:lnTo>
                      <a:pt x="48" y="63"/>
                    </a:lnTo>
                    <a:lnTo>
                      <a:pt x="48" y="61"/>
                    </a:lnTo>
                    <a:lnTo>
                      <a:pt x="46" y="61"/>
                    </a:lnTo>
                    <a:lnTo>
                      <a:pt x="45" y="63"/>
                    </a:lnTo>
                    <a:lnTo>
                      <a:pt x="41" y="64"/>
                    </a:lnTo>
                    <a:lnTo>
                      <a:pt x="39" y="64"/>
                    </a:lnTo>
                    <a:lnTo>
                      <a:pt x="38" y="64"/>
                    </a:lnTo>
                    <a:lnTo>
                      <a:pt x="36" y="64"/>
                    </a:lnTo>
                    <a:lnTo>
                      <a:pt x="36" y="64"/>
                    </a:lnTo>
                    <a:lnTo>
                      <a:pt x="33" y="63"/>
                    </a:lnTo>
                    <a:lnTo>
                      <a:pt x="29" y="59"/>
                    </a:lnTo>
                    <a:lnTo>
                      <a:pt x="26" y="57"/>
                    </a:lnTo>
                    <a:lnTo>
                      <a:pt x="23" y="64"/>
                    </a:lnTo>
                    <a:lnTo>
                      <a:pt x="22" y="67"/>
                    </a:lnTo>
                    <a:lnTo>
                      <a:pt x="21" y="70"/>
                    </a:lnTo>
                    <a:lnTo>
                      <a:pt x="21" y="69"/>
                    </a:lnTo>
                    <a:lnTo>
                      <a:pt x="19" y="67"/>
                    </a:lnTo>
                    <a:lnTo>
                      <a:pt x="16" y="66"/>
                    </a:lnTo>
                    <a:lnTo>
                      <a:pt x="15" y="64"/>
                    </a:lnTo>
                    <a:lnTo>
                      <a:pt x="13" y="66"/>
                    </a:lnTo>
                    <a:lnTo>
                      <a:pt x="13" y="67"/>
                    </a:lnTo>
                    <a:lnTo>
                      <a:pt x="12" y="67"/>
                    </a:lnTo>
                    <a:lnTo>
                      <a:pt x="9" y="69"/>
                    </a:lnTo>
                    <a:lnTo>
                      <a:pt x="5" y="67"/>
                    </a:lnTo>
                    <a:lnTo>
                      <a:pt x="3" y="69"/>
                    </a:lnTo>
                    <a:lnTo>
                      <a:pt x="2" y="66"/>
                    </a:lnTo>
                    <a:lnTo>
                      <a:pt x="2" y="61"/>
                    </a:lnTo>
                    <a:lnTo>
                      <a:pt x="2" y="56"/>
                    </a:lnTo>
                    <a:lnTo>
                      <a:pt x="0" y="53"/>
                    </a:lnTo>
                    <a:lnTo>
                      <a:pt x="2" y="51"/>
                    </a:lnTo>
                    <a:lnTo>
                      <a:pt x="2" y="50"/>
                    </a:lnTo>
                    <a:lnTo>
                      <a:pt x="3" y="48"/>
                    </a:lnTo>
                    <a:lnTo>
                      <a:pt x="3" y="48"/>
                    </a:lnTo>
                    <a:lnTo>
                      <a:pt x="5" y="43"/>
                    </a:lnTo>
                    <a:lnTo>
                      <a:pt x="5" y="43"/>
                    </a:lnTo>
                    <a:lnTo>
                      <a:pt x="5" y="41"/>
                    </a:lnTo>
                    <a:lnTo>
                      <a:pt x="6" y="41"/>
                    </a:lnTo>
                    <a:lnTo>
                      <a:pt x="6" y="41"/>
                    </a:lnTo>
                    <a:lnTo>
                      <a:pt x="6" y="40"/>
                    </a:lnTo>
                    <a:lnTo>
                      <a:pt x="8" y="38"/>
                    </a:lnTo>
                    <a:lnTo>
                      <a:pt x="8" y="36"/>
                    </a:lnTo>
                    <a:lnTo>
                      <a:pt x="9" y="33"/>
                    </a:lnTo>
                    <a:lnTo>
                      <a:pt x="9" y="30"/>
                    </a:lnTo>
                    <a:lnTo>
                      <a:pt x="9" y="27"/>
                    </a:lnTo>
                    <a:lnTo>
                      <a:pt x="9" y="25"/>
                    </a:lnTo>
                    <a:lnTo>
                      <a:pt x="9" y="25"/>
                    </a:lnTo>
                    <a:lnTo>
                      <a:pt x="9" y="25"/>
                    </a:lnTo>
                    <a:lnTo>
                      <a:pt x="9" y="24"/>
                    </a:lnTo>
                    <a:lnTo>
                      <a:pt x="11" y="23"/>
                    </a:lnTo>
                    <a:lnTo>
                      <a:pt x="11" y="23"/>
                    </a:lnTo>
                    <a:lnTo>
                      <a:pt x="11" y="21"/>
                    </a:lnTo>
                    <a:lnTo>
                      <a:pt x="11" y="20"/>
                    </a:lnTo>
                    <a:lnTo>
                      <a:pt x="11" y="18"/>
                    </a:lnTo>
                    <a:lnTo>
                      <a:pt x="11" y="18"/>
                    </a:lnTo>
                    <a:lnTo>
                      <a:pt x="11" y="18"/>
                    </a:lnTo>
                    <a:lnTo>
                      <a:pt x="11" y="17"/>
                    </a:lnTo>
                    <a:lnTo>
                      <a:pt x="12" y="17"/>
                    </a:lnTo>
                    <a:lnTo>
                      <a:pt x="12" y="17"/>
                    </a:lnTo>
                    <a:lnTo>
                      <a:pt x="12" y="17"/>
                    </a:lnTo>
                    <a:lnTo>
                      <a:pt x="13" y="17"/>
                    </a:lnTo>
                    <a:lnTo>
                      <a:pt x="13" y="17"/>
                    </a:lnTo>
                    <a:lnTo>
                      <a:pt x="13" y="17"/>
                    </a:lnTo>
                    <a:lnTo>
                      <a:pt x="15" y="17"/>
                    </a:lnTo>
                    <a:lnTo>
                      <a:pt x="15" y="17"/>
                    </a:lnTo>
                    <a:lnTo>
                      <a:pt x="15" y="17"/>
                    </a:lnTo>
                    <a:lnTo>
                      <a:pt x="18" y="17"/>
                    </a:lnTo>
                    <a:lnTo>
                      <a:pt x="19" y="17"/>
                    </a:lnTo>
                    <a:lnTo>
                      <a:pt x="19" y="15"/>
                    </a:lnTo>
                    <a:lnTo>
                      <a:pt x="19" y="15"/>
                    </a:lnTo>
                    <a:lnTo>
                      <a:pt x="19" y="14"/>
                    </a:lnTo>
                    <a:lnTo>
                      <a:pt x="19" y="14"/>
                    </a:lnTo>
                    <a:lnTo>
                      <a:pt x="21" y="13"/>
                    </a:lnTo>
                    <a:lnTo>
                      <a:pt x="21" y="13"/>
                    </a:lnTo>
                    <a:lnTo>
                      <a:pt x="21" y="13"/>
                    </a:lnTo>
                    <a:lnTo>
                      <a:pt x="21" y="13"/>
                    </a:lnTo>
                    <a:lnTo>
                      <a:pt x="22" y="11"/>
                    </a:lnTo>
                    <a:lnTo>
                      <a:pt x="22" y="11"/>
                    </a:lnTo>
                    <a:lnTo>
                      <a:pt x="22" y="11"/>
                    </a:lnTo>
                    <a:lnTo>
                      <a:pt x="25" y="10"/>
                    </a:lnTo>
                    <a:lnTo>
                      <a:pt x="26" y="10"/>
                    </a:lnTo>
                    <a:lnTo>
                      <a:pt x="28" y="8"/>
                    </a:lnTo>
                    <a:lnTo>
                      <a:pt x="28" y="8"/>
                    </a:lnTo>
                    <a:lnTo>
                      <a:pt x="32" y="8"/>
                    </a:lnTo>
                    <a:lnTo>
                      <a:pt x="32" y="8"/>
                    </a:lnTo>
                    <a:lnTo>
                      <a:pt x="32" y="7"/>
                    </a:lnTo>
                    <a:lnTo>
                      <a:pt x="33" y="7"/>
                    </a:lnTo>
                    <a:lnTo>
                      <a:pt x="33" y="7"/>
                    </a:lnTo>
                    <a:lnTo>
                      <a:pt x="33" y="7"/>
                    </a:lnTo>
                    <a:lnTo>
                      <a:pt x="35" y="5"/>
                    </a:lnTo>
                    <a:lnTo>
                      <a:pt x="35" y="5"/>
                    </a:lnTo>
                    <a:lnTo>
                      <a:pt x="35" y="4"/>
                    </a:lnTo>
                    <a:lnTo>
                      <a:pt x="35" y="4"/>
                    </a:lnTo>
                    <a:lnTo>
                      <a:pt x="36" y="4"/>
                    </a:lnTo>
                    <a:lnTo>
                      <a:pt x="36" y="2"/>
                    </a:lnTo>
                    <a:lnTo>
                      <a:pt x="36" y="2"/>
                    </a:lnTo>
                    <a:lnTo>
                      <a:pt x="36" y="2"/>
                    </a:lnTo>
                    <a:lnTo>
                      <a:pt x="36" y="1"/>
                    </a:lnTo>
                    <a:lnTo>
                      <a:pt x="38" y="1"/>
                    </a:lnTo>
                    <a:lnTo>
                      <a:pt x="38" y="1"/>
                    </a:lnTo>
                    <a:lnTo>
                      <a:pt x="39" y="0"/>
                    </a:lnTo>
                    <a:close/>
                    <a:moveTo>
                      <a:pt x="64" y="43"/>
                    </a:moveTo>
                    <a:lnTo>
                      <a:pt x="64" y="41"/>
                    </a:lnTo>
                    <a:lnTo>
                      <a:pt x="65" y="43"/>
                    </a:lnTo>
                    <a:lnTo>
                      <a:pt x="68" y="44"/>
                    </a:lnTo>
                    <a:lnTo>
                      <a:pt x="71" y="44"/>
                    </a:lnTo>
                    <a:lnTo>
                      <a:pt x="68" y="41"/>
                    </a:lnTo>
                    <a:lnTo>
                      <a:pt x="68" y="41"/>
                    </a:lnTo>
                    <a:lnTo>
                      <a:pt x="68" y="43"/>
                    </a:lnTo>
                    <a:lnTo>
                      <a:pt x="68" y="43"/>
                    </a:lnTo>
                    <a:lnTo>
                      <a:pt x="68" y="43"/>
                    </a:lnTo>
                    <a:lnTo>
                      <a:pt x="68" y="43"/>
                    </a:lnTo>
                    <a:lnTo>
                      <a:pt x="67" y="41"/>
                    </a:lnTo>
                    <a:lnTo>
                      <a:pt x="67" y="41"/>
                    </a:lnTo>
                    <a:lnTo>
                      <a:pt x="65" y="40"/>
                    </a:lnTo>
                    <a:lnTo>
                      <a:pt x="65" y="40"/>
                    </a:lnTo>
                    <a:lnTo>
                      <a:pt x="65" y="38"/>
                    </a:lnTo>
                    <a:lnTo>
                      <a:pt x="64" y="38"/>
                    </a:lnTo>
                    <a:lnTo>
                      <a:pt x="64" y="38"/>
                    </a:lnTo>
                    <a:lnTo>
                      <a:pt x="64" y="40"/>
                    </a:lnTo>
                    <a:lnTo>
                      <a:pt x="62" y="41"/>
                    </a:lnTo>
                    <a:lnTo>
                      <a:pt x="64" y="41"/>
                    </a:lnTo>
                    <a:lnTo>
                      <a:pt x="65" y="41"/>
                    </a:lnTo>
                    <a:lnTo>
                      <a:pt x="65" y="43"/>
                    </a:lnTo>
                    <a:lnTo>
                      <a:pt x="64" y="43"/>
                    </a:lnTo>
                    <a:lnTo>
                      <a:pt x="64" y="43"/>
                    </a:lnTo>
                    <a:close/>
                    <a:moveTo>
                      <a:pt x="65" y="37"/>
                    </a:moveTo>
                    <a:lnTo>
                      <a:pt x="65" y="37"/>
                    </a:lnTo>
                    <a:lnTo>
                      <a:pt x="65" y="36"/>
                    </a:lnTo>
                    <a:lnTo>
                      <a:pt x="65" y="36"/>
                    </a:lnTo>
                    <a:lnTo>
                      <a:pt x="65" y="34"/>
                    </a:lnTo>
                    <a:lnTo>
                      <a:pt x="64" y="36"/>
                    </a:lnTo>
                    <a:lnTo>
                      <a:pt x="64" y="36"/>
                    </a:lnTo>
                    <a:lnTo>
                      <a:pt x="65" y="36"/>
                    </a:lnTo>
                    <a:lnTo>
                      <a:pt x="65" y="3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19" name="Freeform 206">
                <a:extLst>
                  <a:ext uri="{FF2B5EF4-FFF2-40B4-BE49-F238E27FC236}">
                    <a16:creationId xmlns:a16="http://schemas.microsoft.com/office/drawing/2014/main" id="{A51763A0-C97C-EDC7-7DE4-879660620F32}"/>
                  </a:ext>
                </a:extLst>
              </p:cNvPr>
              <p:cNvSpPr>
                <a:spLocks noEditPoints="1"/>
              </p:cNvSpPr>
              <p:nvPr/>
            </p:nvSpPr>
            <p:spPr bwMode="auto">
              <a:xfrm>
                <a:off x="4064" y="2735"/>
                <a:ext cx="195" cy="191"/>
              </a:xfrm>
              <a:custGeom>
                <a:avLst/>
                <a:gdLst>
                  <a:gd name="T0" fmla="*/ 167 w 195"/>
                  <a:gd name="T1" fmla="*/ 87 h 191"/>
                  <a:gd name="T2" fmla="*/ 171 w 195"/>
                  <a:gd name="T3" fmla="*/ 98 h 191"/>
                  <a:gd name="T4" fmla="*/ 174 w 195"/>
                  <a:gd name="T5" fmla="*/ 103 h 191"/>
                  <a:gd name="T6" fmla="*/ 178 w 195"/>
                  <a:gd name="T7" fmla="*/ 106 h 191"/>
                  <a:gd name="T8" fmla="*/ 175 w 195"/>
                  <a:gd name="T9" fmla="*/ 116 h 191"/>
                  <a:gd name="T10" fmla="*/ 175 w 195"/>
                  <a:gd name="T11" fmla="*/ 128 h 191"/>
                  <a:gd name="T12" fmla="*/ 179 w 195"/>
                  <a:gd name="T13" fmla="*/ 145 h 191"/>
                  <a:gd name="T14" fmla="*/ 182 w 195"/>
                  <a:gd name="T15" fmla="*/ 159 h 191"/>
                  <a:gd name="T16" fmla="*/ 194 w 195"/>
                  <a:gd name="T17" fmla="*/ 167 h 191"/>
                  <a:gd name="T18" fmla="*/ 177 w 195"/>
                  <a:gd name="T19" fmla="*/ 178 h 191"/>
                  <a:gd name="T20" fmla="*/ 161 w 195"/>
                  <a:gd name="T21" fmla="*/ 184 h 191"/>
                  <a:gd name="T22" fmla="*/ 149 w 195"/>
                  <a:gd name="T23" fmla="*/ 184 h 191"/>
                  <a:gd name="T24" fmla="*/ 145 w 195"/>
                  <a:gd name="T25" fmla="*/ 190 h 191"/>
                  <a:gd name="T26" fmla="*/ 132 w 195"/>
                  <a:gd name="T27" fmla="*/ 188 h 191"/>
                  <a:gd name="T28" fmla="*/ 118 w 195"/>
                  <a:gd name="T29" fmla="*/ 187 h 191"/>
                  <a:gd name="T30" fmla="*/ 112 w 195"/>
                  <a:gd name="T31" fmla="*/ 187 h 191"/>
                  <a:gd name="T32" fmla="*/ 98 w 195"/>
                  <a:gd name="T33" fmla="*/ 185 h 191"/>
                  <a:gd name="T34" fmla="*/ 93 w 195"/>
                  <a:gd name="T35" fmla="*/ 174 h 191"/>
                  <a:gd name="T36" fmla="*/ 90 w 195"/>
                  <a:gd name="T37" fmla="*/ 162 h 191"/>
                  <a:gd name="T38" fmla="*/ 85 w 195"/>
                  <a:gd name="T39" fmla="*/ 152 h 191"/>
                  <a:gd name="T40" fmla="*/ 80 w 195"/>
                  <a:gd name="T41" fmla="*/ 154 h 191"/>
                  <a:gd name="T42" fmla="*/ 69 w 195"/>
                  <a:gd name="T43" fmla="*/ 152 h 191"/>
                  <a:gd name="T44" fmla="*/ 53 w 195"/>
                  <a:gd name="T45" fmla="*/ 145 h 191"/>
                  <a:gd name="T46" fmla="*/ 39 w 195"/>
                  <a:gd name="T47" fmla="*/ 139 h 191"/>
                  <a:gd name="T48" fmla="*/ 37 w 195"/>
                  <a:gd name="T49" fmla="*/ 136 h 191"/>
                  <a:gd name="T50" fmla="*/ 34 w 195"/>
                  <a:gd name="T51" fmla="*/ 135 h 191"/>
                  <a:gd name="T52" fmla="*/ 26 w 195"/>
                  <a:gd name="T53" fmla="*/ 131 h 191"/>
                  <a:gd name="T54" fmla="*/ 13 w 195"/>
                  <a:gd name="T55" fmla="*/ 105 h 191"/>
                  <a:gd name="T56" fmla="*/ 3 w 195"/>
                  <a:gd name="T57" fmla="*/ 83 h 191"/>
                  <a:gd name="T58" fmla="*/ 0 w 195"/>
                  <a:gd name="T59" fmla="*/ 67 h 191"/>
                  <a:gd name="T60" fmla="*/ 9 w 195"/>
                  <a:gd name="T61" fmla="*/ 59 h 191"/>
                  <a:gd name="T62" fmla="*/ 26 w 195"/>
                  <a:gd name="T63" fmla="*/ 37 h 191"/>
                  <a:gd name="T64" fmla="*/ 20 w 195"/>
                  <a:gd name="T65" fmla="*/ 34 h 191"/>
                  <a:gd name="T66" fmla="*/ 20 w 195"/>
                  <a:gd name="T67" fmla="*/ 24 h 191"/>
                  <a:gd name="T68" fmla="*/ 26 w 195"/>
                  <a:gd name="T69" fmla="*/ 20 h 191"/>
                  <a:gd name="T70" fmla="*/ 23 w 195"/>
                  <a:gd name="T71" fmla="*/ 7 h 191"/>
                  <a:gd name="T72" fmla="*/ 23 w 195"/>
                  <a:gd name="T73" fmla="*/ 1 h 191"/>
                  <a:gd name="T74" fmla="*/ 83 w 195"/>
                  <a:gd name="T75" fmla="*/ 1 h 191"/>
                  <a:gd name="T76" fmla="*/ 103 w 195"/>
                  <a:gd name="T77" fmla="*/ 13 h 191"/>
                  <a:gd name="T78" fmla="*/ 118 w 195"/>
                  <a:gd name="T79" fmla="*/ 20 h 191"/>
                  <a:gd name="T80" fmla="*/ 139 w 195"/>
                  <a:gd name="T81" fmla="*/ 33 h 191"/>
                  <a:gd name="T82" fmla="*/ 145 w 195"/>
                  <a:gd name="T83" fmla="*/ 43 h 191"/>
                  <a:gd name="T84" fmla="*/ 155 w 195"/>
                  <a:gd name="T85" fmla="*/ 53 h 191"/>
                  <a:gd name="T86" fmla="*/ 174 w 195"/>
                  <a:gd name="T87" fmla="*/ 87 h 191"/>
                  <a:gd name="T88" fmla="*/ 175 w 195"/>
                  <a:gd name="T89" fmla="*/ 95 h 191"/>
                  <a:gd name="T90" fmla="*/ 177 w 195"/>
                  <a:gd name="T91" fmla="*/ 86 h 191"/>
                  <a:gd name="T92" fmla="*/ 185 w 195"/>
                  <a:gd name="T93" fmla="*/ 119 h 191"/>
                  <a:gd name="T94" fmla="*/ 182 w 195"/>
                  <a:gd name="T95" fmla="*/ 123 h 191"/>
                  <a:gd name="T96" fmla="*/ 184 w 195"/>
                  <a:gd name="T97" fmla="*/ 75 h 191"/>
                  <a:gd name="T98" fmla="*/ 182 w 195"/>
                  <a:gd name="T99" fmla="*/ 69 h 191"/>
                  <a:gd name="T100" fmla="*/ 181 w 195"/>
                  <a:gd name="T101" fmla="*/ 7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5" h="191">
                    <a:moveTo>
                      <a:pt x="167" y="60"/>
                    </a:moveTo>
                    <a:lnTo>
                      <a:pt x="174" y="66"/>
                    </a:lnTo>
                    <a:lnTo>
                      <a:pt x="171" y="73"/>
                    </a:lnTo>
                    <a:lnTo>
                      <a:pt x="167" y="87"/>
                    </a:lnTo>
                    <a:lnTo>
                      <a:pt x="167" y="90"/>
                    </a:lnTo>
                    <a:lnTo>
                      <a:pt x="167" y="95"/>
                    </a:lnTo>
                    <a:lnTo>
                      <a:pt x="168" y="96"/>
                    </a:lnTo>
                    <a:lnTo>
                      <a:pt x="171" y="98"/>
                    </a:lnTo>
                    <a:lnTo>
                      <a:pt x="172" y="99"/>
                    </a:lnTo>
                    <a:lnTo>
                      <a:pt x="172" y="100"/>
                    </a:lnTo>
                    <a:lnTo>
                      <a:pt x="174" y="102"/>
                    </a:lnTo>
                    <a:lnTo>
                      <a:pt x="174" y="103"/>
                    </a:lnTo>
                    <a:lnTo>
                      <a:pt x="175" y="103"/>
                    </a:lnTo>
                    <a:lnTo>
                      <a:pt x="177" y="103"/>
                    </a:lnTo>
                    <a:lnTo>
                      <a:pt x="178" y="103"/>
                    </a:lnTo>
                    <a:lnTo>
                      <a:pt x="178" y="106"/>
                    </a:lnTo>
                    <a:lnTo>
                      <a:pt x="178" y="108"/>
                    </a:lnTo>
                    <a:lnTo>
                      <a:pt x="175" y="112"/>
                    </a:lnTo>
                    <a:lnTo>
                      <a:pt x="175" y="113"/>
                    </a:lnTo>
                    <a:lnTo>
                      <a:pt x="175" y="116"/>
                    </a:lnTo>
                    <a:lnTo>
                      <a:pt x="174" y="121"/>
                    </a:lnTo>
                    <a:lnTo>
                      <a:pt x="177" y="121"/>
                    </a:lnTo>
                    <a:lnTo>
                      <a:pt x="177" y="122"/>
                    </a:lnTo>
                    <a:lnTo>
                      <a:pt x="175" y="128"/>
                    </a:lnTo>
                    <a:lnTo>
                      <a:pt x="175" y="132"/>
                    </a:lnTo>
                    <a:lnTo>
                      <a:pt x="175" y="133"/>
                    </a:lnTo>
                    <a:lnTo>
                      <a:pt x="178" y="139"/>
                    </a:lnTo>
                    <a:lnTo>
                      <a:pt x="179" y="145"/>
                    </a:lnTo>
                    <a:lnTo>
                      <a:pt x="181" y="148"/>
                    </a:lnTo>
                    <a:lnTo>
                      <a:pt x="182" y="154"/>
                    </a:lnTo>
                    <a:lnTo>
                      <a:pt x="182" y="156"/>
                    </a:lnTo>
                    <a:lnTo>
                      <a:pt x="182" y="159"/>
                    </a:lnTo>
                    <a:lnTo>
                      <a:pt x="184" y="159"/>
                    </a:lnTo>
                    <a:lnTo>
                      <a:pt x="185" y="161"/>
                    </a:lnTo>
                    <a:lnTo>
                      <a:pt x="192" y="165"/>
                    </a:lnTo>
                    <a:lnTo>
                      <a:pt x="194" y="167"/>
                    </a:lnTo>
                    <a:lnTo>
                      <a:pt x="195" y="168"/>
                    </a:lnTo>
                    <a:lnTo>
                      <a:pt x="190" y="172"/>
                    </a:lnTo>
                    <a:lnTo>
                      <a:pt x="184" y="175"/>
                    </a:lnTo>
                    <a:lnTo>
                      <a:pt x="177" y="178"/>
                    </a:lnTo>
                    <a:lnTo>
                      <a:pt x="168" y="181"/>
                    </a:lnTo>
                    <a:lnTo>
                      <a:pt x="165" y="182"/>
                    </a:lnTo>
                    <a:lnTo>
                      <a:pt x="161" y="184"/>
                    </a:lnTo>
                    <a:lnTo>
                      <a:pt x="161" y="184"/>
                    </a:lnTo>
                    <a:lnTo>
                      <a:pt x="155" y="182"/>
                    </a:lnTo>
                    <a:lnTo>
                      <a:pt x="152" y="182"/>
                    </a:lnTo>
                    <a:lnTo>
                      <a:pt x="151" y="182"/>
                    </a:lnTo>
                    <a:lnTo>
                      <a:pt x="149" y="184"/>
                    </a:lnTo>
                    <a:lnTo>
                      <a:pt x="149" y="184"/>
                    </a:lnTo>
                    <a:lnTo>
                      <a:pt x="149" y="185"/>
                    </a:lnTo>
                    <a:lnTo>
                      <a:pt x="148" y="187"/>
                    </a:lnTo>
                    <a:lnTo>
                      <a:pt x="145" y="190"/>
                    </a:lnTo>
                    <a:lnTo>
                      <a:pt x="142" y="190"/>
                    </a:lnTo>
                    <a:lnTo>
                      <a:pt x="139" y="190"/>
                    </a:lnTo>
                    <a:lnTo>
                      <a:pt x="135" y="188"/>
                    </a:lnTo>
                    <a:lnTo>
                      <a:pt x="132" y="188"/>
                    </a:lnTo>
                    <a:lnTo>
                      <a:pt x="125" y="191"/>
                    </a:lnTo>
                    <a:lnTo>
                      <a:pt x="122" y="190"/>
                    </a:lnTo>
                    <a:lnTo>
                      <a:pt x="121" y="190"/>
                    </a:lnTo>
                    <a:lnTo>
                      <a:pt x="118" y="187"/>
                    </a:lnTo>
                    <a:lnTo>
                      <a:pt x="116" y="187"/>
                    </a:lnTo>
                    <a:lnTo>
                      <a:pt x="115" y="185"/>
                    </a:lnTo>
                    <a:lnTo>
                      <a:pt x="113" y="187"/>
                    </a:lnTo>
                    <a:lnTo>
                      <a:pt x="112" y="187"/>
                    </a:lnTo>
                    <a:lnTo>
                      <a:pt x="111" y="188"/>
                    </a:lnTo>
                    <a:lnTo>
                      <a:pt x="108" y="188"/>
                    </a:lnTo>
                    <a:lnTo>
                      <a:pt x="98" y="188"/>
                    </a:lnTo>
                    <a:lnTo>
                      <a:pt x="98" y="185"/>
                    </a:lnTo>
                    <a:lnTo>
                      <a:pt x="93" y="181"/>
                    </a:lnTo>
                    <a:lnTo>
                      <a:pt x="92" y="177"/>
                    </a:lnTo>
                    <a:lnTo>
                      <a:pt x="92" y="177"/>
                    </a:lnTo>
                    <a:lnTo>
                      <a:pt x="93" y="174"/>
                    </a:lnTo>
                    <a:lnTo>
                      <a:pt x="93" y="172"/>
                    </a:lnTo>
                    <a:lnTo>
                      <a:pt x="93" y="171"/>
                    </a:lnTo>
                    <a:lnTo>
                      <a:pt x="92" y="168"/>
                    </a:lnTo>
                    <a:lnTo>
                      <a:pt x="90" y="162"/>
                    </a:lnTo>
                    <a:lnTo>
                      <a:pt x="90" y="159"/>
                    </a:lnTo>
                    <a:lnTo>
                      <a:pt x="89" y="158"/>
                    </a:lnTo>
                    <a:lnTo>
                      <a:pt x="88" y="155"/>
                    </a:lnTo>
                    <a:lnTo>
                      <a:pt x="85" y="152"/>
                    </a:lnTo>
                    <a:lnTo>
                      <a:pt x="82" y="151"/>
                    </a:lnTo>
                    <a:lnTo>
                      <a:pt x="80" y="151"/>
                    </a:lnTo>
                    <a:lnTo>
                      <a:pt x="80" y="152"/>
                    </a:lnTo>
                    <a:lnTo>
                      <a:pt x="80" y="154"/>
                    </a:lnTo>
                    <a:lnTo>
                      <a:pt x="79" y="154"/>
                    </a:lnTo>
                    <a:lnTo>
                      <a:pt x="78" y="154"/>
                    </a:lnTo>
                    <a:lnTo>
                      <a:pt x="72" y="152"/>
                    </a:lnTo>
                    <a:lnTo>
                      <a:pt x="69" y="152"/>
                    </a:lnTo>
                    <a:lnTo>
                      <a:pt x="65" y="149"/>
                    </a:lnTo>
                    <a:lnTo>
                      <a:pt x="62" y="149"/>
                    </a:lnTo>
                    <a:lnTo>
                      <a:pt x="59" y="148"/>
                    </a:lnTo>
                    <a:lnTo>
                      <a:pt x="53" y="145"/>
                    </a:lnTo>
                    <a:lnTo>
                      <a:pt x="47" y="144"/>
                    </a:lnTo>
                    <a:lnTo>
                      <a:pt x="46" y="142"/>
                    </a:lnTo>
                    <a:lnTo>
                      <a:pt x="42" y="139"/>
                    </a:lnTo>
                    <a:lnTo>
                      <a:pt x="39" y="139"/>
                    </a:lnTo>
                    <a:lnTo>
                      <a:pt x="39" y="138"/>
                    </a:lnTo>
                    <a:lnTo>
                      <a:pt x="37" y="138"/>
                    </a:lnTo>
                    <a:lnTo>
                      <a:pt x="37" y="136"/>
                    </a:lnTo>
                    <a:lnTo>
                      <a:pt x="37" y="136"/>
                    </a:lnTo>
                    <a:lnTo>
                      <a:pt x="36" y="135"/>
                    </a:lnTo>
                    <a:lnTo>
                      <a:pt x="36" y="135"/>
                    </a:lnTo>
                    <a:lnTo>
                      <a:pt x="34" y="135"/>
                    </a:lnTo>
                    <a:lnTo>
                      <a:pt x="34" y="135"/>
                    </a:lnTo>
                    <a:lnTo>
                      <a:pt x="33" y="135"/>
                    </a:lnTo>
                    <a:lnTo>
                      <a:pt x="30" y="133"/>
                    </a:lnTo>
                    <a:lnTo>
                      <a:pt x="27" y="132"/>
                    </a:lnTo>
                    <a:lnTo>
                      <a:pt x="26" y="131"/>
                    </a:lnTo>
                    <a:lnTo>
                      <a:pt x="24" y="128"/>
                    </a:lnTo>
                    <a:lnTo>
                      <a:pt x="20" y="118"/>
                    </a:lnTo>
                    <a:lnTo>
                      <a:pt x="16" y="109"/>
                    </a:lnTo>
                    <a:lnTo>
                      <a:pt x="13" y="105"/>
                    </a:lnTo>
                    <a:lnTo>
                      <a:pt x="6" y="99"/>
                    </a:lnTo>
                    <a:lnTo>
                      <a:pt x="4" y="95"/>
                    </a:lnTo>
                    <a:lnTo>
                      <a:pt x="3" y="90"/>
                    </a:lnTo>
                    <a:lnTo>
                      <a:pt x="3" y="83"/>
                    </a:lnTo>
                    <a:lnTo>
                      <a:pt x="3" y="79"/>
                    </a:lnTo>
                    <a:lnTo>
                      <a:pt x="0" y="72"/>
                    </a:lnTo>
                    <a:lnTo>
                      <a:pt x="0" y="70"/>
                    </a:lnTo>
                    <a:lnTo>
                      <a:pt x="0" y="67"/>
                    </a:lnTo>
                    <a:lnTo>
                      <a:pt x="0" y="63"/>
                    </a:lnTo>
                    <a:lnTo>
                      <a:pt x="0" y="62"/>
                    </a:lnTo>
                    <a:lnTo>
                      <a:pt x="6" y="60"/>
                    </a:lnTo>
                    <a:lnTo>
                      <a:pt x="9" y="59"/>
                    </a:lnTo>
                    <a:lnTo>
                      <a:pt x="11" y="56"/>
                    </a:lnTo>
                    <a:lnTo>
                      <a:pt x="23" y="41"/>
                    </a:lnTo>
                    <a:lnTo>
                      <a:pt x="24" y="39"/>
                    </a:lnTo>
                    <a:lnTo>
                      <a:pt x="26" y="37"/>
                    </a:lnTo>
                    <a:lnTo>
                      <a:pt x="24" y="36"/>
                    </a:lnTo>
                    <a:lnTo>
                      <a:pt x="24" y="36"/>
                    </a:lnTo>
                    <a:lnTo>
                      <a:pt x="21" y="34"/>
                    </a:lnTo>
                    <a:lnTo>
                      <a:pt x="20" y="34"/>
                    </a:lnTo>
                    <a:lnTo>
                      <a:pt x="19" y="31"/>
                    </a:lnTo>
                    <a:lnTo>
                      <a:pt x="19" y="30"/>
                    </a:lnTo>
                    <a:lnTo>
                      <a:pt x="20" y="27"/>
                    </a:lnTo>
                    <a:lnTo>
                      <a:pt x="20" y="24"/>
                    </a:lnTo>
                    <a:lnTo>
                      <a:pt x="24" y="24"/>
                    </a:lnTo>
                    <a:lnTo>
                      <a:pt x="26" y="24"/>
                    </a:lnTo>
                    <a:lnTo>
                      <a:pt x="26" y="21"/>
                    </a:lnTo>
                    <a:lnTo>
                      <a:pt x="26" y="20"/>
                    </a:lnTo>
                    <a:lnTo>
                      <a:pt x="26" y="16"/>
                    </a:lnTo>
                    <a:lnTo>
                      <a:pt x="24" y="11"/>
                    </a:lnTo>
                    <a:lnTo>
                      <a:pt x="24" y="8"/>
                    </a:lnTo>
                    <a:lnTo>
                      <a:pt x="23" y="7"/>
                    </a:lnTo>
                    <a:lnTo>
                      <a:pt x="20" y="4"/>
                    </a:lnTo>
                    <a:lnTo>
                      <a:pt x="20" y="3"/>
                    </a:lnTo>
                    <a:lnTo>
                      <a:pt x="20" y="1"/>
                    </a:lnTo>
                    <a:lnTo>
                      <a:pt x="23" y="1"/>
                    </a:lnTo>
                    <a:lnTo>
                      <a:pt x="29" y="0"/>
                    </a:lnTo>
                    <a:lnTo>
                      <a:pt x="32" y="0"/>
                    </a:lnTo>
                    <a:lnTo>
                      <a:pt x="79" y="0"/>
                    </a:lnTo>
                    <a:lnTo>
                      <a:pt x="83" y="1"/>
                    </a:lnTo>
                    <a:lnTo>
                      <a:pt x="86" y="3"/>
                    </a:lnTo>
                    <a:lnTo>
                      <a:pt x="92" y="6"/>
                    </a:lnTo>
                    <a:lnTo>
                      <a:pt x="102" y="13"/>
                    </a:lnTo>
                    <a:lnTo>
                      <a:pt x="103" y="13"/>
                    </a:lnTo>
                    <a:lnTo>
                      <a:pt x="106" y="14"/>
                    </a:lnTo>
                    <a:lnTo>
                      <a:pt x="111" y="17"/>
                    </a:lnTo>
                    <a:lnTo>
                      <a:pt x="113" y="18"/>
                    </a:lnTo>
                    <a:lnTo>
                      <a:pt x="118" y="20"/>
                    </a:lnTo>
                    <a:lnTo>
                      <a:pt x="125" y="24"/>
                    </a:lnTo>
                    <a:lnTo>
                      <a:pt x="132" y="29"/>
                    </a:lnTo>
                    <a:lnTo>
                      <a:pt x="136" y="31"/>
                    </a:lnTo>
                    <a:lnTo>
                      <a:pt x="139" y="33"/>
                    </a:lnTo>
                    <a:lnTo>
                      <a:pt x="144" y="36"/>
                    </a:lnTo>
                    <a:lnTo>
                      <a:pt x="146" y="37"/>
                    </a:lnTo>
                    <a:lnTo>
                      <a:pt x="146" y="40"/>
                    </a:lnTo>
                    <a:lnTo>
                      <a:pt x="145" y="43"/>
                    </a:lnTo>
                    <a:lnTo>
                      <a:pt x="145" y="44"/>
                    </a:lnTo>
                    <a:lnTo>
                      <a:pt x="146" y="46"/>
                    </a:lnTo>
                    <a:lnTo>
                      <a:pt x="149" y="49"/>
                    </a:lnTo>
                    <a:lnTo>
                      <a:pt x="155" y="53"/>
                    </a:lnTo>
                    <a:lnTo>
                      <a:pt x="167" y="60"/>
                    </a:lnTo>
                    <a:close/>
                    <a:moveTo>
                      <a:pt x="175" y="83"/>
                    </a:moveTo>
                    <a:lnTo>
                      <a:pt x="174" y="85"/>
                    </a:lnTo>
                    <a:lnTo>
                      <a:pt x="174" y="87"/>
                    </a:lnTo>
                    <a:lnTo>
                      <a:pt x="172" y="89"/>
                    </a:lnTo>
                    <a:lnTo>
                      <a:pt x="172" y="90"/>
                    </a:lnTo>
                    <a:lnTo>
                      <a:pt x="174" y="92"/>
                    </a:lnTo>
                    <a:lnTo>
                      <a:pt x="175" y="95"/>
                    </a:lnTo>
                    <a:lnTo>
                      <a:pt x="177" y="96"/>
                    </a:lnTo>
                    <a:lnTo>
                      <a:pt x="178" y="96"/>
                    </a:lnTo>
                    <a:lnTo>
                      <a:pt x="179" y="95"/>
                    </a:lnTo>
                    <a:lnTo>
                      <a:pt x="177" y="86"/>
                    </a:lnTo>
                    <a:lnTo>
                      <a:pt x="175" y="83"/>
                    </a:lnTo>
                    <a:close/>
                    <a:moveTo>
                      <a:pt x="182" y="123"/>
                    </a:moveTo>
                    <a:lnTo>
                      <a:pt x="184" y="122"/>
                    </a:lnTo>
                    <a:lnTo>
                      <a:pt x="185" y="119"/>
                    </a:lnTo>
                    <a:lnTo>
                      <a:pt x="185" y="118"/>
                    </a:lnTo>
                    <a:lnTo>
                      <a:pt x="184" y="119"/>
                    </a:lnTo>
                    <a:lnTo>
                      <a:pt x="179" y="123"/>
                    </a:lnTo>
                    <a:lnTo>
                      <a:pt x="182" y="123"/>
                    </a:lnTo>
                    <a:close/>
                    <a:moveTo>
                      <a:pt x="181" y="77"/>
                    </a:moveTo>
                    <a:lnTo>
                      <a:pt x="182" y="79"/>
                    </a:lnTo>
                    <a:lnTo>
                      <a:pt x="184" y="77"/>
                    </a:lnTo>
                    <a:lnTo>
                      <a:pt x="184" y="75"/>
                    </a:lnTo>
                    <a:lnTo>
                      <a:pt x="185" y="70"/>
                    </a:lnTo>
                    <a:lnTo>
                      <a:pt x="184" y="70"/>
                    </a:lnTo>
                    <a:lnTo>
                      <a:pt x="184" y="69"/>
                    </a:lnTo>
                    <a:lnTo>
                      <a:pt x="182" y="69"/>
                    </a:lnTo>
                    <a:lnTo>
                      <a:pt x="181" y="69"/>
                    </a:lnTo>
                    <a:lnTo>
                      <a:pt x="181" y="72"/>
                    </a:lnTo>
                    <a:lnTo>
                      <a:pt x="181" y="75"/>
                    </a:lnTo>
                    <a:lnTo>
                      <a:pt x="181" y="7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20" name="Freeform 207">
                <a:extLst>
                  <a:ext uri="{FF2B5EF4-FFF2-40B4-BE49-F238E27FC236}">
                    <a16:creationId xmlns:a16="http://schemas.microsoft.com/office/drawing/2014/main" id="{44AD5CF7-6920-1803-80BD-F33029800FF3}"/>
                  </a:ext>
                </a:extLst>
              </p:cNvPr>
              <p:cNvSpPr>
                <a:spLocks noEditPoints="1"/>
              </p:cNvSpPr>
              <p:nvPr/>
            </p:nvSpPr>
            <p:spPr bwMode="auto">
              <a:xfrm>
                <a:off x="4308" y="2919"/>
                <a:ext cx="23" cy="18"/>
              </a:xfrm>
              <a:custGeom>
                <a:avLst/>
                <a:gdLst>
                  <a:gd name="T0" fmla="*/ 0 w 23"/>
                  <a:gd name="T1" fmla="*/ 8 h 18"/>
                  <a:gd name="T2" fmla="*/ 0 w 23"/>
                  <a:gd name="T3" fmla="*/ 7 h 18"/>
                  <a:gd name="T4" fmla="*/ 0 w 23"/>
                  <a:gd name="T5" fmla="*/ 4 h 18"/>
                  <a:gd name="T6" fmla="*/ 0 w 23"/>
                  <a:gd name="T7" fmla="*/ 1 h 18"/>
                  <a:gd name="T8" fmla="*/ 0 w 23"/>
                  <a:gd name="T9" fmla="*/ 0 h 18"/>
                  <a:gd name="T10" fmla="*/ 2 w 23"/>
                  <a:gd name="T11" fmla="*/ 0 h 18"/>
                  <a:gd name="T12" fmla="*/ 2 w 23"/>
                  <a:gd name="T13" fmla="*/ 1 h 18"/>
                  <a:gd name="T14" fmla="*/ 2 w 23"/>
                  <a:gd name="T15" fmla="*/ 3 h 18"/>
                  <a:gd name="T16" fmla="*/ 3 w 23"/>
                  <a:gd name="T17" fmla="*/ 3 h 18"/>
                  <a:gd name="T18" fmla="*/ 4 w 23"/>
                  <a:gd name="T19" fmla="*/ 8 h 18"/>
                  <a:gd name="T20" fmla="*/ 4 w 23"/>
                  <a:gd name="T21" fmla="*/ 10 h 18"/>
                  <a:gd name="T22" fmla="*/ 3 w 23"/>
                  <a:gd name="T23" fmla="*/ 10 h 18"/>
                  <a:gd name="T24" fmla="*/ 2 w 23"/>
                  <a:gd name="T25" fmla="*/ 8 h 18"/>
                  <a:gd name="T26" fmla="*/ 0 w 23"/>
                  <a:gd name="T27" fmla="*/ 8 h 18"/>
                  <a:gd name="T28" fmla="*/ 22 w 23"/>
                  <a:gd name="T29" fmla="*/ 18 h 18"/>
                  <a:gd name="T30" fmla="*/ 22 w 23"/>
                  <a:gd name="T31" fmla="*/ 17 h 18"/>
                  <a:gd name="T32" fmla="*/ 23 w 23"/>
                  <a:gd name="T33" fmla="*/ 17 h 18"/>
                  <a:gd name="T34" fmla="*/ 23 w 23"/>
                  <a:gd name="T35" fmla="*/ 16 h 18"/>
                  <a:gd name="T36" fmla="*/ 23 w 23"/>
                  <a:gd name="T37" fmla="*/ 16 h 18"/>
                  <a:gd name="T38" fmla="*/ 22 w 23"/>
                  <a:gd name="T39" fmla="*/ 13 h 18"/>
                  <a:gd name="T40" fmla="*/ 20 w 23"/>
                  <a:gd name="T41" fmla="*/ 13 h 18"/>
                  <a:gd name="T42" fmla="*/ 19 w 23"/>
                  <a:gd name="T43" fmla="*/ 14 h 18"/>
                  <a:gd name="T44" fmla="*/ 17 w 23"/>
                  <a:gd name="T45" fmla="*/ 14 h 18"/>
                  <a:gd name="T46" fmla="*/ 19 w 23"/>
                  <a:gd name="T47" fmla="*/ 16 h 18"/>
                  <a:gd name="T48" fmla="*/ 20 w 23"/>
                  <a:gd name="T49" fmla="*/ 16 h 18"/>
                  <a:gd name="T50" fmla="*/ 22 w 23"/>
                  <a:gd name="T51" fmla="*/ 18 h 18"/>
                  <a:gd name="T52" fmla="*/ 9 w 23"/>
                  <a:gd name="T53" fmla="*/ 18 h 18"/>
                  <a:gd name="T54" fmla="*/ 10 w 23"/>
                  <a:gd name="T55" fmla="*/ 18 h 18"/>
                  <a:gd name="T56" fmla="*/ 10 w 23"/>
                  <a:gd name="T57" fmla="*/ 17 h 18"/>
                  <a:gd name="T58" fmla="*/ 9 w 23"/>
                  <a:gd name="T59" fmla="*/ 17 h 18"/>
                  <a:gd name="T60" fmla="*/ 7 w 23"/>
                  <a:gd name="T61" fmla="*/ 16 h 18"/>
                  <a:gd name="T62" fmla="*/ 7 w 23"/>
                  <a:gd name="T63" fmla="*/ 16 h 18"/>
                  <a:gd name="T64" fmla="*/ 7 w 23"/>
                  <a:gd name="T65" fmla="*/ 17 h 18"/>
                  <a:gd name="T66" fmla="*/ 9 w 23"/>
                  <a:gd name="T67" fmla="*/ 17 h 18"/>
                  <a:gd name="T68" fmla="*/ 9 w 23"/>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 h="18">
                    <a:moveTo>
                      <a:pt x="0" y="8"/>
                    </a:moveTo>
                    <a:lnTo>
                      <a:pt x="0" y="7"/>
                    </a:lnTo>
                    <a:lnTo>
                      <a:pt x="0" y="4"/>
                    </a:lnTo>
                    <a:lnTo>
                      <a:pt x="0" y="1"/>
                    </a:lnTo>
                    <a:lnTo>
                      <a:pt x="0" y="0"/>
                    </a:lnTo>
                    <a:lnTo>
                      <a:pt x="2" y="0"/>
                    </a:lnTo>
                    <a:lnTo>
                      <a:pt x="2" y="1"/>
                    </a:lnTo>
                    <a:lnTo>
                      <a:pt x="2" y="3"/>
                    </a:lnTo>
                    <a:lnTo>
                      <a:pt x="3" y="3"/>
                    </a:lnTo>
                    <a:lnTo>
                      <a:pt x="4" y="8"/>
                    </a:lnTo>
                    <a:lnTo>
                      <a:pt x="4" y="10"/>
                    </a:lnTo>
                    <a:lnTo>
                      <a:pt x="3" y="10"/>
                    </a:lnTo>
                    <a:lnTo>
                      <a:pt x="2" y="8"/>
                    </a:lnTo>
                    <a:lnTo>
                      <a:pt x="0" y="8"/>
                    </a:lnTo>
                    <a:close/>
                    <a:moveTo>
                      <a:pt x="22" y="18"/>
                    </a:moveTo>
                    <a:lnTo>
                      <a:pt x="22" y="17"/>
                    </a:lnTo>
                    <a:lnTo>
                      <a:pt x="23" y="17"/>
                    </a:lnTo>
                    <a:lnTo>
                      <a:pt x="23" y="16"/>
                    </a:lnTo>
                    <a:lnTo>
                      <a:pt x="23" y="16"/>
                    </a:lnTo>
                    <a:lnTo>
                      <a:pt x="22" y="13"/>
                    </a:lnTo>
                    <a:lnTo>
                      <a:pt x="20" y="13"/>
                    </a:lnTo>
                    <a:lnTo>
                      <a:pt x="19" y="14"/>
                    </a:lnTo>
                    <a:lnTo>
                      <a:pt x="17" y="14"/>
                    </a:lnTo>
                    <a:lnTo>
                      <a:pt x="19" y="16"/>
                    </a:lnTo>
                    <a:lnTo>
                      <a:pt x="20" y="16"/>
                    </a:lnTo>
                    <a:lnTo>
                      <a:pt x="22" y="18"/>
                    </a:lnTo>
                    <a:close/>
                    <a:moveTo>
                      <a:pt x="9" y="18"/>
                    </a:moveTo>
                    <a:lnTo>
                      <a:pt x="10" y="18"/>
                    </a:lnTo>
                    <a:lnTo>
                      <a:pt x="10" y="17"/>
                    </a:lnTo>
                    <a:lnTo>
                      <a:pt x="9" y="17"/>
                    </a:lnTo>
                    <a:lnTo>
                      <a:pt x="7" y="16"/>
                    </a:lnTo>
                    <a:lnTo>
                      <a:pt x="7" y="16"/>
                    </a:lnTo>
                    <a:lnTo>
                      <a:pt x="7" y="17"/>
                    </a:lnTo>
                    <a:lnTo>
                      <a:pt x="9" y="17"/>
                    </a:lnTo>
                    <a:lnTo>
                      <a:pt x="9" y="1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21" name="Freeform 208">
                <a:extLst>
                  <a:ext uri="{FF2B5EF4-FFF2-40B4-BE49-F238E27FC236}">
                    <a16:creationId xmlns:a16="http://schemas.microsoft.com/office/drawing/2014/main" id="{BB7F1294-8BD2-BB9A-AB46-AE3A06E051BF}"/>
                  </a:ext>
                </a:extLst>
              </p:cNvPr>
              <p:cNvSpPr>
                <a:spLocks noEditPoints="1"/>
              </p:cNvSpPr>
              <p:nvPr/>
            </p:nvSpPr>
            <p:spPr bwMode="auto">
              <a:xfrm>
                <a:off x="4143" y="2621"/>
                <a:ext cx="141" cy="180"/>
              </a:xfrm>
              <a:custGeom>
                <a:avLst/>
                <a:gdLst>
                  <a:gd name="T0" fmla="*/ 133 w 141"/>
                  <a:gd name="T1" fmla="*/ 128 h 180"/>
                  <a:gd name="T2" fmla="*/ 128 w 141"/>
                  <a:gd name="T3" fmla="*/ 131 h 180"/>
                  <a:gd name="T4" fmla="*/ 125 w 141"/>
                  <a:gd name="T5" fmla="*/ 131 h 180"/>
                  <a:gd name="T6" fmla="*/ 123 w 141"/>
                  <a:gd name="T7" fmla="*/ 132 h 180"/>
                  <a:gd name="T8" fmla="*/ 123 w 141"/>
                  <a:gd name="T9" fmla="*/ 137 h 180"/>
                  <a:gd name="T10" fmla="*/ 119 w 141"/>
                  <a:gd name="T11" fmla="*/ 141 h 180"/>
                  <a:gd name="T12" fmla="*/ 113 w 141"/>
                  <a:gd name="T13" fmla="*/ 143 h 180"/>
                  <a:gd name="T14" fmla="*/ 111 w 141"/>
                  <a:gd name="T15" fmla="*/ 148 h 180"/>
                  <a:gd name="T16" fmla="*/ 106 w 141"/>
                  <a:gd name="T17" fmla="*/ 158 h 180"/>
                  <a:gd name="T18" fmla="*/ 98 w 141"/>
                  <a:gd name="T19" fmla="*/ 176 h 180"/>
                  <a:gd name="T20" fmla="*/ 95 w 141"/>
                  <a:gd name="T21" fmla="*/ 180 h 180"/>
                  <a:gd name="T22" fmla="*/ 70 w 141"/>
                  <a:gd name="T23" fmla="*/ 163 h 180"/>
                  <a:gd name="T24" fmla="*/ 66 w 141"/>
                  <a:gd name="T25" fmla="*/ 157 h 180"/>
                  <a:gd name="T26" fmla="*/ 65 w 141"/>
                  <a:gd name="T27" fmla="*/ 150 h 180"/>
                  <a:gd name="T28" fmla="*/ 53 w 141"/>
                  <a:gd name="T29" fmla="*/ 143 h 180"/>
                  <a:gd name="T30" fmla="*/ 34 w 141"/>
                  <a:gd name="T31" fmla="*/ 132 h 180"/>
                  <a:gd name="T32" fmla="*/ 24 w 141"/>
                  <a:gd name="T33" fmla="*/ 127 h 180"/>
                  <a:gd name="T34" fmla="*/ 7 w 141"/>
                  <a:gd name="T35" fmla="*/ 117 h 180"/>
                  <a:gd name="T36" fmla="*/ 0 w 141"/>
                  <a:gd name="T37" fmla="*/ 108 h 180"/>
                  <a:gd name="T38" fmla="*/ 4 w 141"/>
                  <a:gd name="T39" fmla="*/ 89 h 180"/>
                  <a:gd name="T40" fmla="*/ 11 w 141"/>
                  <a:gd name="T41" fmla="*/ 79 h 180"/>
                  <a:gd name="T42" fmla="*/ 13 w 141"/>
                  <a:gd name="T43" fmla="*/ 76 h 180"/>
                  <a:gd name="T44" fmla="*/ 17 w 141"/>
                  <a:gd name="T45" fmla="*/ 74 h 180"/>
                  <a:gd name="T46" fmla="*/ 17 w 141"/>
                  <a:gd name="T47" fmla="*/ 71 h 180"/>
                  <a:gd name="T48" fmla="*/ 20 w 141"/>
                  <a:gd name="T49" fmla="*/ 65 h 180"/>
                  <a:gd name="T50" fmla="*/ 17 w 141"/>
                  <a:gd name="T51" fmla="*/ 51 h 180"/>
                  <a:gd name="T52" fmla="*/ 10 w 141"/>
                  <a:gd name="T53" fmla="*/ 41 h 180"/>
                  <a:gd name="T54" fmla="*/ 9 w 141"/>
                  <a:gd name="T55" fmla="*/ 32 h 180"/>
                  <a:gd name="T56" fmla="*/ 6 w 141"/>
                  <a:gd name="T57" fmla="*/ 30 h 180"/>
                  <a:gd name="T58" fmla="*/ 6 w 141"/>
                  <a:gd name="T59" fmla="*/ 29 h 180"/>
                  <a:gd name="T60" fmla="*/ 1 w 141"/>
                  <a:gd name="T61" fmla="*/ 22 h 180"/>
                  <a:gd name="T62" fmla="*/ 21 w 141"/>
                  <a:gd name="T63" fmla="*/ 3 h 180"/>
                  <a:gd name="T64" fmla="*/ 27 w 141"/>
                  <a:gd name="T65" fmla="*/ 2 h 180"/>
                  <a:gd name="T66" fmla="*/ 33 w 141"/>
                  <a:gd name="T67" fmla="*/ 5 h 180"/>
                  <a:gd name="T68" fmla="*/ 33 w 141"/>
                  <a:gd name="T69" fmla="*/ 12 h 180"/>
                  <a:gd name="T70" fmla="*/ 40 w 141"/>
                  <a:gd name="T71" fmla="*/ 18 h 180"/>
                  <a:gd name="T72" fmla="*/ 57 w 141"/>
                  <a:gd name="T73" fmla="*/ 22 h 180"/>
                  <a:gd name="T74" fmla="*/ 79 w 141"/>
                  <a:gd name="T75" fmla="*/ 33 h 180"/>
                  <a:gd name="T76" fmla="*/ 96 w 141"/>
                  <a:gd name="T77" fmla="*/ 36 h 180"/>
                  <a:gd name="T78" fmla="*/ 103 w 141"/>
                  <a:gd name="T79" fmla="*/ 32 h 180"/>
                  <a:gd name="T80" fmla="*/ 106 w 141"/>
                  <a:gd name="T81" fmla="*/ 28 h 180"/>
                  <a:gd name="T82" fmla="*/ 122 w 141"/>
                  <a:gd name="T83" fmla="*/ 22 h 180"/>
                  <a:gd name="T84" fmla="*/ 126 w 141"/>
                  <a:gd name="T85" fmla="*/ 26 h 180"/>
                  <a:gd name="T86" fmla="*/ 141 w 141"/>
                  <a:gd name="T87" fmla="*/ 26 h 180"/>
                  <a:gd name="T88" fmla="*/ 132 w 141"/>
                  <a:gd name="T89" fmla="*/ 41 h 180"/>
                  <a:gd name="T90" fmla="*/ 125 w 141"/>
                  <a:gd name="T91" fmla="*/ 46 h 180"/>
                  <a:gd name="T92" fmla="*/ 125 w 141"/>
                  <a:gd name="T93" fmla="*/ 48 h 180"/>
                  <a:gd name="T94" fmla="*/ 125 w 141"/>
                  <a:gd name="T95" fmla="*/ 76 h 180"/>
                  <a:gd name="T96" fmla="*/ 125 w 141"/>
                  <a:gd name="T97" fmla="*/ 105 h 180"/>
                  <a:gd name="T98" fmla="*/ 125 w 141"/>
                  <a:gd name="T99" fmla="*/ 111 h 180"/>
                  <a:gd name="T100" fmla="*/ 126 w 141"/>
                  <a:gd name="T101" fmla="*/ 114 h 180"/>
                  <a:gd name="T102" fmla="*/ 133 w 141"/>
                  <a:gd name="T103" fmla="*/ 122 h 180"/>
                  <a:gd name="T104" fmla="*/ 125 w 141"/>
                  <a:gd name="T105" fmla="*/ 135 h 180"/>
                  <a:gd name="T106" fmla="*/ 126 w 141"/>
                  <a:gd name="T10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1" h="180">
                    <a:moveTo>
                      <a:pt x="135" y="125"/>
                    </a:moveTo>
                    <a:lnTo>
                      <a:pt x="135" y="127"/>
                    </a:lnTo>
                    <a:lnTo>
                      <a:pt x="133" y="128"/>
                    </a:lnTo>
                    <a:lnTo>
                      <a:pt x="132" y="130"/>
                    </a:lnTo>
                    <a:lnTo>
                      <a:pt x="131" y="131"/>
                    </a:lnTo>
                    <a:lnTo>
                      <a:pt x="128" y="131"/>
                    </a:lnTo>
                    <a:lnTo>
                      <a:pt x="126" y="131"/>
                    </a:lnTo>
                    <a:lnTo>
                      <a:pt x="126" y="131"/>
                    </a:lnTo>
                    <a:lnTo>
                      <a:pt x="125" y="131"/>
                    </a:lnTo>
                    <a:lnTo>
                      <a:pt x="125" y="132"/>
                    </a:lnTo>
                    <a:lnTo>
                      <a:pt x="123" y="132"/>
                    </a:lnTo>
                    <a:lnTo>
                      <a:pt x="123" y="132"/>
                    </a:lnTo>
                    <a:lnTo>
                      <a:pt x="123" y="134"/>
                    </a:lnTo>
                    <a:lnTo>
                      <a:pt x="123" y="135"/>
                    </a:lnTo>
                    <a:lnTo>
                      <a:pt x="123" y="137"/>
                    </a:lnTo>
                    <a:lnTo>
                      <a:pt x="122" y="138"/>
                    </a:lnTo>
                    <a:lnTo>
                      <a:pt x="121" y="140"/>
                    </a:lnTo>
                    <a:lnTo>
                      <a:pt x="119" y="141"/>
                    </a:lnTo>
                    <a:lnTo>
                      <a:pt x="116" y="141"/>
                    </a:lnTo>
                    <a:lnTo>
                      <a:pt x="115" y="141"/>
                    </a:lnTo>
                    <a:lnTo>
                      <a:pt x="113" y="143"/>
                    </a:lnTo>
                    <a:lnTo>
                      <a:pt x="112" y="144"/>
                    </a:lnTo>
                    <a:lnTo>
                      <a:pt x="112" y="145"/>
                    </a:lnTo>
                    <a:lnTo>
                      <a:pt x="111" y="148"/>
                    </a:lnTo>
                    <a:lnTo>
                      <a:pt x="111" y="150"/>
                    </a:lnTo>
                    <a:lnTo>
                      <a:pt x="111" y="153"/>
                    </a:lnTo>
                    <a:lnTo>
                      <a:pt x="106" y="158"/>
                    </a:lnTo>
                    <a:lnTo>
                      <a:pt x="102" y="170"/>
                    </a:lnTo>
                    <a:lnTo>
                      <a:pt x="99" y="174"/>
                    </a:lnTo>
                    <a:lnTo>
                      <a:pt x="98" y="176"/>
                    </a:lnTo>
                    <a:lnTo>
                      <a:pt x="96" y="177"/>
                    </a:lnTo>
                    <a:lnTo>
                      <a:pt x="96" y="178"/>
                    </a:lnTo>
                    <a:lnTo>
                      <a:pt x="95" y="180"/>
                    </a:lnTo>
                    <a:lnTo>
                      <a:pt x="88" y="174"/>
                    </a:lnTo>
                    <a:lnTo>
                      <a:pt x="76" y="167"/>
                    </a:lnTo>
                    <a:lnTo>
                      <a:pt x="70" y="163"/>
                    </a:lnTo>
                    <a:lnTo>
                      <a:pt x="67" y="160"/>
                    </a:lnTo>
                    <a:lnTo>
                      <a:pt x="66" y="158"/>
                    </a:lnTo>
                    <a:lnTo>
                      <a:pt x="66" y="157"/>
                    </a:lnTo>
                    <a:lnTo>
                      <a:pt x="67" y="154"/>
                    </a:lnTo>
                    <a:lnTo>
                      <a:pt x="67" y="151"/>
                    </a:lnTo>
                    <a:lnTo>
                      <a:pt x="65" y="150"/>
                    </a:lnTo>
                    <a:lnTo>
                      <a:pt x="60" y="147"/>
                    </a:lnTo>
                    <a:lnTo>
                      <a:pt x="57" y="145"/>
                    </a:lnTo>
                    <a:lnTo>
                      <a:pt x="53" y="143"/>
                    </a:lnTo>
                    <a:lnTo>
                      <a:pt x="46" y="138"/>
                    </a:lnTo>
                    <a:lnTo>
                      <a:pt x="39" y="134"/>
                    </a:lnTo>
                    <a:lnTo>
                      <a:pt x="34" y="132"/>
                    </a:lnTo>
                    <a:lnTo>
                      <a:pt x="32" y="131"/>
                    </a:lnTo>
                    <a:lnTo>
                      <a:pt x="27" y="128"/>
                    </a:lnTo>
                    <a:lnTo>
                      <a:pt x="24" y="127"/>
                    </a:lnTo>
                    <a:lnTo>
                      <a:pt x="23" y="127"/>
                    </a:lnTo>
                    <a:lnTo>
                      <a:pt x="13" y="120"/>
                    </a:lnTo>
                    <a:lnTo>
                      <a:pt x="7" y="117"/>
                    </a:lnTo>
                    <a:lnTo>
                      <a:pt x="4" y="115"/>
                    </a:lnTo>
                    <a:lnTo>
                      <a:pt x="0" y="114"/>
                    </a:lnTo>
                    <a:lnTo>
                      <a:pt x="0" y="108"/>
                    </a:lnTo>
                    <a:lnTo>
                      <a:pt x="1" y="102"/>
                    </a:lnTo>
                    <a:lnTo>
                      <a:pt x="1" y="95"/>
                    </a:lnTo>
                    <a:lnTo>
                      <a:pt x="4" y="89"/>
                    </a:lnTo>
                    <a:lnTo>
                      <a:pt x="6" y="88"/>
                    </a:lnTo>
                    <a:lnTo>
                      <a:pt x="10" y="81"/>
                    </a:lnTo>
                    <a:lnTo>
                      <a:pt x="11" y="79"/>
                    </a:lnTo>
                    <a:lnTo>
                      <a:pt x="11" y="78"/>
                    </a:lnTo>
                    <a:lnTo>
                      <a:pt x="13" y="76"/>
                    </a:lnTo>
                    <a:lnTo>
                      <a:pt x="13" y="76"/>
                    </a:lnTo>
                    <a:lnTo>
                      <a:pt x="16" y="75"/>
                    </a:lnTo>
                    <a:lnTo>
                      <a:pt x="16" y="75"/>
                    </a:lnTo>
                    <a:lnTo>
                      <a:pt x="17" y="74"/>
                    </a:lnTo>
                    <a:lnTo>
                      <a:pt x="17" y="72"/>
                    </a:lnTo>
                    <a:lnTo>
                      <a:pt x="17" y="71"/>
                    </a:lnTo>
                    <a:lnTo>
                      <a:pt x="17" y="71"/>
                    </a:lnTo>
                    <a:lnTo>
                      <a:pt x="19" y="69"/>
                    </a:lnTo>
                    <a:lnTo>
                      <a:pt x="19" y="68"/>
                    </a:lnTo>
                    <a:lnTo>
                      <a:pt x="20" y="65"/>
                    </a:lnTo>
                    <a:lnTo>
                      <a:pt x="20" y="63"/>
                    </a:lnTo>
                    <a:lnTo>
                      <a:pt x="17" y="53"/>
                    </a:lnTo>
                    <a:lnTo>
                      <a:pt x="17" y="51"/>
                    </a:lnTo>
                    <a:lnTo>
                      <a:pt x="16" y="49"/>
                    </a:lnTo>
                    <a:lnTo>
                      <a:pt x="11" y="43"/>
                    </a:lnTo>
                    <a:lnTo>
                      <a:pt x="10" y="41"/>
                    </a:lnTo>
                    <a:lnTo>
                      <a:pt x="10" y="38"/>
                    </a:lnTo>
                    <a:lnTo>
                      <a:pt x="10" y="33"/>
                    </a:lnTo>
                    <a:lnTo>
                      <a:pt x="9" y="32"/>
                    </a:lnTo>
                    <a:lnTo>
                      <a:pt x="9" y="30"/>
                    </a:lnTo>
                    <a:lnTo>
                      <a:pt x="7" y="30"/>
                    </a:lnTo>
                    <a:lnTo>
                      <a:pt x="6" y="30"/>
                    </a:lnTo>
                    <a:lnTo>
                      <a:pt x="6" y="29"/>
                    </a:lnTo>
                    <a:lnTo>
                      <a:pt x="6" y="29"/>
                    </a:lnTo>
                    <a:lnTo>
                      <a:pt x="6" y="29"/>
                    </a:lnTo>
                    <a:lnTo>
                      <a:pt x="6" y="29"/>
                    </a:lnTo>
                    <a:lnTo>
                      <a:pt x="4" y="26"/>
                    </a:lnTo>
                    <a:lnTo>
                      <a:pt x="1" y="22"/>
                    </a:lnTo>
                    <a:lnTo>
                      <a:pt x="7" y="18"/>
                    </a:lnTo>
                    <a:lnTo>
                      <a:pt x="16" y="9"/>
                    </a:lnTo>
                    <a:lnTo>
                      <a:pt x="21" y="3"/>
                    </a:lnTo>
                    <a:lnTo>
                      <a:pt x="24" y="0"/>
                    </a:lnTo>
                    <a:lnTo>
                      <a:pt x="26" y="2"/>
                    </a:lnTo>
                    <a:lnTo>
                      <a:pt x="27" y="2"/>
                    </a:lnTo>
                    <a:lnTo>
                      <a:pt x="29" y="2"/>
                    </a:lnTo>
                    <a:lnTo>
                      <a:pt x="32" y="2"/>
                    </a:lnTo>
                    <a:lnTo>
                      <a:pt x="33" y="5"/>
                    </a:lnTo>
                    <a:lnTo>
                      <a:pt x="33" y="6"/>
                    </a:lnTo>
                    <a:lnTo>
                      <a:pt x="33" y="9"/>
                    </a:lnTo>
                    <a:lnTo>
                      <a:pt x="33" y="12"/>
                    </a:lnTo>
                    <a:lnTo>
                      <a:pt x="36" y="15"/>
                    </a:lnTo>
                    <a:lnTo>
                      <a:pt x="37" y="18"/>
                    </a:lnTo>
                    <a:lnTo>
                      <a:pt x="40" y="18"/>
                    </a:lnTo>
                    <a:lnTo>
                      <a:pt x="50" y="19"/>
                    </a:lnTo>
                    <a:lnTo>
                      <a:pt x="55" y="20"/>
                    </a:lnTo>
                    <a:lnTo>
                      <a:pt x="57" y="22"/>
                    </a:lnTo>
                    <a:lnTo>
                      <a:pt x="72" y="30"/>
                    </a:lnTo>
                    <a:lnTo>
                      <a:pt x="75" y="32"/>
                    </a:lnTo>
                    <a:lnTo>
                      <a:pt x="79" y="33"/>
                    </a:lnTo>
                    <a:lnTo>
                      <a:pt x="86" y="33"/>
                    </a:lnTo>
                    <a:lnTo>
                      <a:pt x="93" y="35"/>
                    </a:lnTo>
                    <a:lnTo>
                      <a:pt x="96" y="36"/>
                    </a:lnTo>
                    <a:lnTo>
                      <a:pt x="100" y="35"/>
                    </a:lnTo>
                    <a:lnTo>
                      <a:pt x="102" y="35"/>
                    </a:lnTo>
                    <a:lnTo>
                      <a:pt x="103" y="32"/>
                    </a:lnTo>
                    <a:lnTo>
                      <a:pt x="103" y="30"/>
                    </a:lnTo>
                    <a:lnTo>
                      <a:pt x="105" y="29"/>
                    </a:lnTo>
                    <a:lnTo>
                      <a:pt x="106" y="28"/>
                    </a:lnTo>
                    <a:lnTo>
                      <a:pt x="118" y="22"/>
                    </a:lnTo>
                    <a:lnTo>
                      <a:pt x="121" y="22"/>
                    </a:lnTo>
                    <a:lnTo>
                      <a:pt x="122" y="22"/>
                    </a:lnTo>
                    <a:lnTo>
                      <a:pt x="123" y="23"/>
                    </a:lnTo>
                    <a:lnTo>
                      <a:pt x="125" y="25"/>
                    </a:lnTo>
                    <a:lnTo>
                      <a:pt x="126" y="26"/>
                    </a:lnTo>
                    <a:lnTo>
                      <a:pt x="129" y="28"/>
                    </a:lnTo>
                    <a:lnTo>
                      <a:pt x="133" y="28"/>
                    </a:lnTo>
                    <a:lnTo>
                      <a:pt x="141" y="26"/>
                    </a:lnTo>
                    <a:lnTo>
                      <a:pt x="139" y="28"/>
                    </a:lnTo>
                    <a:lnTo>
                      <a:pt x="138" y="32"/>
                    </a:lnTo>
                    <a:lnTo>
                      <a:pt x="132" y="41"/>
                    </a:lnTo>
                    <a:lnTo>
                      <a:pt x="129" y="42"/>
                    </a:lnTo>
                    <a:lnTo>
                      <a:pt x="126" y="46"/>
                    </a:lnTo>
                    <a:lnTo>
                      <a:pt x="125" y="46"/>
                    </a:lnTo>
                    <a:lnTo>
                      <a:pt x="125" y="46"/>
                    </a:lnTo>
                    <a:lnTo>
                      <a:pt x="125" y="46"/>
                    </a:lnTo>
                    <a:lnTo>
                      <a:pt x="125" y="48"/>
                    </a:lnTo>
                    <a:lnTo>
                      <a:pt x="125" y="52"/>
                    </a:lnTo>
                    <a:lnTo>
                      <a:pt x="125" y="58"/>
                    </a:lnTo>
                    <a:lnTo>
                      <a:pt x="125" y="76"/>
                    </a:lnTo>
                    <a:lnTo>
                      <a:pt x="125" y="84"/>
                    </a:lnTo>
                    <a:lnTo>
                      <a:pt x="125" y="102"/>
                    </a:lnTo>
                    <a:lnTo>
                      <a:pt x="125" y="105"/>
                    </a:lnTo>
                    <a:lnTo>
                      <a:pt x="125" y="108"/>
                    </a:lnTo>
                    <a:lnTo>
                      <a:pt x="125" y="111"/>
                    </a:lnTo>
                    <a:lnTo>
                      <a:pt x="125" y="111"/>
                    </a:lnTo>
                    <a:lnTo>
                      <a:pt x="125" y="112"/>
                    </a:lnTo>
                    <a:lnTo>
                      <a:pt x="126" y="112"/>
                    </a:lnTo>
                    <a:lnTo>
                      <a:pt x="126" y="114"/>
                    </a:lnTo>
                    <a:lnTo>
                      <a:pt x="129" y="117"/>
                    </a:lnTo>
                    <a:lnTo>
                      <a:pt x="133" y="122"/>
                    </a:lnTo>
                    <a:lnTo>
                      <a:pt x="133" y="122"/>
                    </a:lnTo>
                    <a:lnTo>
                      <a:pt x="135" y="124"/>
                    </a:lnTo>
                    <a:lnTo>
                      <a:pt x="135" y="125"/>
                    </a:lnTo>
                    <a:close/>
                    <a:moveTo>
                      <a:pt x="125" y="135"/>
                    </a:moveTo>
                    <a:lnTo>
                      <a:pt x="128" y="134"/>
                    </a:lnTo>
                    <a:lnTo>
                      <a:pt x="128" y="132"/>
                    </a:lnTo>
                    <a:lnTo>
                      <a:pt x="126" y="132"/>
                    </a:lnTo>
                    <a:lnTo>
                      <a:pt x="125" y="13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22" name="Freeform 209">
                <a:extLst>
                  <a:ext uri="{FF2B5EF4-FFF2-40B4-BE49-F238E27FC236}">
                    <a16:creationId xmlns:a16="http://schemas.microsoft.com/office/drawing/2014/main" id="{C979D2B1-CBB1-F57F-81D2-49236482DE10}"/>
                  </a:ext>
                </a:extLst>
              </p:cNvPr>
              <p:cNvSpPr>
                <a:spLocks/>
              </p:cNvSpPr>
              <p:nvPr/>
            </p:nvSpPr>
            <p:spPr bwMode="auto">
              <a:xfrm>
                <a:off x="4555" y="3077"/>
                <a:ext cx="9" cy="10"/>
              </a:xfrm>
              <a:custGeom>
                <a:avLst/>
                <a:gdLst>
                  <a:gd name="T0" fmla="*/ 6 w 9"/>
                  <a:gd name="T1" fmla="*/ 0 h 10"/>
                  <a:gd name="T2" fmla="*/ 3 w 9"/>
                  <a:gd name="T3" fmla="*/ 1 h 10"/>
                  <a:gd name="T4" fmla="*/ 0 w 9"/>
                  <a:gd name="T5" fmla="*/ 8 h 10"/>
                  <a:gd name="T6" fmla="*/ 3 w 9"/>
                  <a:gd name="T7" fmla="*/ 10 h 10"/>
                  <a:gd name="T8" fmla="*/ 6 w 9"/>
                  <a:gd name="T9" fmla="*/ 8 h 10"/>
                  <a:gd name="T10" fmla="*/ 9 w 9"/>
                  <a:gd name="T11" fmla="*/ 6 h 10"/>
                  <a:gd name="T12" fmla="*/ 7 w 9"/>
                  <a:gd name="T13" fmla="*/ 3 h 10"/>
                  <a:gd name="T14" fmla="*/ 6 w 9"/>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6" y="0"/>
                    </a:moveTo>
                    <a:lnTo>
                      <a:pt x="3" y="1"/>
                    </a:lnTo>
                    <a:lnTo>
                      <a:pt x="0" y="8"/>
                    </a:lnTo>
                    <a:lnTo>
                      <a:pt x="3" y="10"/>
                    </a:lnTo>
                    <a:lnTo>
                      <a:pt x="6" y="8"/>
                    </a:lnTo>
                    <a:lnTo>
                      <a:pt x="9" y="6"/>
                    </a:lnTo>
                    <a:lnTo>
                      <a:pt x="7" y="3"/>
                    </a:lnTo>
                    <a:lnTo>
                      <a:pt x="6"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23" name="Freeform 210">
                <a:extLst>
                  <a:ext uri="{FF2B5EF4-FFF2-40B4-BE49-F238E27FC236}">
                    <a16:creationId xmlns:a16="http://schemas.microsoft.com/office/drawing/2014/main" id="{866C14DC-4FD7-AFD0-7642-AC1DDD0E0A56}"/>
                  </a:ext>
                </a:extLst>
              </p:cNvPr>
              <p:cNvSpPr>
                <a:spLocks noEditPoints="1"/>
              </p:cNvSpPr>
              <p:nvPr/>
            </p:nvSpPr>
            <p:spPr bwMode="auto">
              <a:xfrm>
                <a:off x="4308" y="2933"/>
                <a:ext cx="126" cy="250"/>
              </a:xfrm>
              <a:custGeom>
                <a:avLst/>
                <a:gdLst>
                  <a:gd name="T0" fmla="*/ 124 w 126"/>
                  <a:gd name="T1" fmla="*/ 68 h 250"/>
                  <a:gd name="T2" fmla="*/ 118 w 126"/>
                  <a:gd name="T3" fmla="*/ 62 h 250"/>
                  <a:gd name="T4" fmla="*/ 114 w 126"/>
                  <a:gd name="T5" fmla="*/ 61 h 250"/>
                  <a:gd name="T6" fmla="*/ 114 w 126"/>
                  <a:gd name="T7" fmla="*/ 68 h 250"/>
                  <a:gd name="T8" fmla="*/ 115 w 126"/>
                  <a:gd name="T9" fmla="*/ 78 h 250"/>
                  <a:gd name="T10" fmla="*/ 114 w 126"/>
                  <a:gd name="T11" fmla="*/ 85 h 250"/>
                  <a:gd name="T12" fmla="*/ 111 w 126"/>
                  <a:gd name="T13" fmla="*/ 88 h 250"/>
                  <a:gd name="T14" fmla="*/ 109 w 126"/>
                  <a:gd name="T15" fmla="*/ 95 h 250"/>
                  <a:gd name="T16" fmla="*/ 70 w 126"/>
                  <a:gd name="T17" fmla="*/ 232 h 250"/>
                  <a:gd name="T18" fmla="*/ 62 w 126"/>
                  <a:gd name="T19" fmla="*/ 242 h 250"/>
                  <a:gd name="T20" fmla="*/ 52 w 126"/>
                  <a:gd name="T21" fmla="*/ 243 h 250"/>
                  <a:gd name="T22" fmla="*/ 39 w 126"/>
                  <a:gd name="T23" fmla="*/ 250 h 250"/>
                  <a:gd name="T24" fmla="*/ 29 w 126"/>
                  <a:gd name="T25" fmla="*/ 247 h 250"/>
                  <a:gd name="T26" fmla="*/ 17 w 126"/>
                  <a:gd name="T27" fmla="*/ 242 h 250"/>
                  <a:gd name="T28" fmla="*/ 13 w 126"/>
                  <a:gd name="T29" fmla="*/ 236 h 250"/>
                  <a:gd name="T30" fmla="*/ 9 w 126"/>
                  <a:gd name="T31" fmla="*/ 227 h 250"/>
                  <a:gd name="T32" fmla="*/ 7 w 126"/>
                  <a:gd name="T33" fmla="*/ 220 h 250"/>
                  <a:gd name="T34" fmla="*/ 7 w 126"/>
                  <a:gd name="T35" fmla="*/ 209 h 250"/>
                  <a:gd name="T36" fmla="*/ 3 w 126"/>
                  <a:gd name="T37" fmla="*/ 198 h 250"/>
                  <a:gd name="T38" fmla="*/ 0 w 126"/>
                  <a:gd name="T39" fmla="*/ 190 h 250"/>
                  <a:gd name="T40" fmla="*/ 2 w 126"/>
                  <a:gd name="T41" fmla="*/ 180 h 250"/>
                  <a:gd name="T42" fmla="*/ 6 w 126"/>
                  <a:gd name="T43" fmla="*/ 168 h 250"/>
                  <a:gd name="T44" fmla="*/ 14 w 126"/>
                  <a:gd name="T45" fmla="*/ 157 h 250"/>
                  <a:gd name="T46" fmla="*/ 20 w 126"/>
                  <a:gd name="T47" fmla="*/ 142 h 250"/>
                  <a:gd name="T48" fmla="*/ 20 w 126"/>
                  <a:gd name="T49" fmla="*/ 134 h 250"/>
                  <a:gd name="T50" fmla="*/ 16 w 126"/>
                  <a:gd name="T51" fmla="*/ 118 h 250"/>
                  <a:gd name="T52" fmla="*/ 13 w 126"/>
                  <a:gd name="T53" fmla="*/ 96 h 250"/>
                  <a:gd name="T54" fmla="*/ 20 w 126"/>
                  <a:gd name="T55" fmla="*/ 84 h 250"/>
                  <a:gd name="T56" fmla="*/ 22 w 126"/>
                  <a:gd name="T57" fmla="*/ 75 h 250"/>
                  <a:gd name="T58" fmla="*/ 29 w 126"/>
                  <a:gd name="T59" fmla="*/ 73 h 250"/>
                  <a:gd name="T60" fmla="*/ 36 w 126"/>
                  <a:gd name="T61" fmla="*/ 69 h 250"/>
                  <a:gd name="T62" fmla="*/ 42 w 126"/>
                  <a:gd name="T63" fmla="*/ 69 h 250"/>
                  <a:gd name="T64" fmla="*/ 45 w 126"/>
                  <a:gd name="T65" fmla="*/ 66 h 250"/>
                  <a:gd name="T66" fmla="*/ 50 w 126"/>
                  <a:gd name="T67" fmla="*/ 65 h 250"/>
                  <a:gd name="T68" fmla="*/ 53 w 126"/>
                  <a:gd name="T69" fmla="*/ 68 h 250"/>
                  <a:gd name="T70" fmla="*/ 55 w 126"/>
                  <a:gd name="T71" fmla="*/ 63 h 250"/>
                  <a:gd name="T72" fmla="*/ 66 w 126"/>
                  <a:gd name="T73" fmla="*/ 61 h 250"/>
                  <a:gd name="T74" fmla="*/ 68 w 126"/>
                  <a:gd name="T75" fmla="*/ 56 h 250"/>
                  <a:gd name="T76" fmla="*/ 70 w 126"/>
                  <a:gd name="T77" fmla="*/ 50 h 250"/>
                  <a:gd name="T78" fmla="*/ 75 w 126"/>
                  <a:gd name="T79" fmla="*/ 48 h 250"/>
                  <a:gd name="T80" fmla="*/ 75 w 126"/>
                  <a:gd name="T81" fmla="*/ 52 h 250"/>
                  <a:gd name="T82" fmla="*/ 79 w 126"/>
                  <a:gd name="T83" fmla="*/ 45 h 250"/>
                  <a:gd name="T84" fmla="*/ 81 w 126"/>
                  <a:gd name="T85" fmla="*/ 40 h 250"/>
                  <a:gd name="T86" fmla="*/ 82 w 126"/>
                  <a:gd name="T87" fmla="*/ 33 h 250"/>
                  <a:gd name="T88" fmla="*/ 83 w 126"/>
                  <a:gd name="T89" fmla="*/ 27 h 250"/>
                  <a:gd name="T90" fmla="*/ 85 w 126"/>
                  <a:gd name="T91" fmla="*/ 27 h 250"/>
                  <a:gd name="T92" fmla="*/ 89 w 126"/>
                  <a:gd name="T93" fmla="*/ 27 h 250"/>
                  <a:gd name="T94" fmla="*/ 98 w 126"/>
                  <a:gd name="T95" fmla="*/ 19 h 250"/>
                  <a:gd name="T96" fmla="*/ 99 w 126"/>
                  <a:gd name="T97" fmla="*/ 12 h 250"/>
                  <a:gd name="T98" fmla="*/ 98 w 126"/>
                  <a:gd name="T99" fmla="*/ 6 h 250"/>
                  <a:gd name="T100" fmla="*/ 105 w 126"/>
                  <a:gd name="T101" fmla="*/ 0 h 250"/>
                  <a:gd name="T102" fmla="*/ 109 w 126"/>
                  <a:gd name="T103" fmla="*/ 4 h 250"/>
                  <a:gd name="T104" fmla="*/ 118 w 126"/>
                  <a:gd name="T105" fmla="*/ 17 h 250"/>
                  <a:gd name="T106" fmla="*/ 122 w 126"/>
                  <a:gd name="T107" fmla="*/ 43 h 250"/>
                  <a:gd name="T108" fmla="*/ 116 w 126"/>
                  <a:gd name="T109" fmla="*/ 86 h 250"/>
                  <a:gd name="T110" fmla="*/ 118 w 126"/>
                  <a:gd name="T111" fmla="*/ 86 h 250"/>
                  <a:gd name="T112" fmla="*/ 116 w 126"/>
                  <a:gd name="T113" fmla="*/ 86 h 250"/>
                  <a:gd name="T114" fmla="*/ 88 w 126"/>
                  <a:gd name="T115" fmla="*/ 19 h 250"/>
                  <a:gd name="T116" fmla="*/ 88 w 126"/>
                  <a:gd name="T117" fmla="*/ 22 h 250"/>
                  <a:gd name="T118" fmla="*/ 89 w 126"/>
                  <a:gd name="T119" fmla="*/ 22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250">
                    <a:moveTo>
                      <a:pt x="126" y="58"/>
                    </a:moveTo>
                    <a:lnTo>
                      <a:pt x="126" y="63"/>
                    </a:lnTo>
                    <a:lnTo>
                      <a:pt x="124" y="68"/>
                    </a:lnTo>
                    <a:lnTo>
                      <a:pt x="121" y="69"/>
                    </a:lnTo>
                    <a:lnTo>
                      <a:pt x="119" y="68"/>
                    </a:lnTo>
                    <a:lnTo>
                      <a:pt x="118" y="62"/>
                    </a:lnTo>
                    <a:lnTo>
                      <a:pt x="116" y="61"/>
                    </a:lnTo>
                    <a:lnTo>
                      <a:pt x="115" y="61"/>
                    </a:lnTo>
                    <a:lnTo>
                      <a:pt x="114" y="61"/>
                    </a:lnTo>
                    <a:lnTo>
                      <a:pt x="112" y="62"/>
                    </a:lnTo>
                    <a:lnTo>
                      <a:pt x="112" y="65"/>
                    </a:lnTo>
                    <a:lnTo>
                      <a:pt x="114" y="68"/>
                    </a:lnTo>
                    <a:lnTo>
                      <a:pt x="115" y="73"/>
                    </a:lnTo>
                    <a:lnTo>
                      <a:pt x="115" y="76"/>
                    </a:lnTo>
                    <a:lnTo>
                      <a:pt x="115" y="78"/>
                    </a:lnTo>
                    <a:lnTo>
                      <a:pt x="115" y="81"/>
                    </a:lnTo>
                    <a:lnTo>
                      <a:pt x="114" y="84"/>
                    </a:lnTo>
                    <a:lnTo>
                      <a:pt x="114" y="85"/>
                    </a:lnTo>
                    <a:lnTo>
                      <a:pt x="114" y="86"/>
                    </a:lnTo>
                    <a:lnTo>
                      <a:pt x="112" y="86"/>
                    </a:lnTo>
                    <a:lnTo>
                      <a:pt x="111" y="88"/>
                    </a:lnTo>
                    <a:lnTo>
                      <a:pt x="111" y="89"/>
                    </a:lnTo>
                    <a:lnTo>
                      <a:pt x="109" y="92"/>
                    </a:lnTo>
                    <a:lnTo>
                      <a:pt x="109" y="95"/>
                    </a:lnTo>
                    <a:lnTo>
                      <a:pt x="109" y="101"/>
                    </a:lnTo>
                    <a:lnTo>
                      <a:pt x="109" y="108"/>
                    </a:lnTo>
                    <a:lnTo>
                      <a:pt x="70" y="232"/>
                    </a:lnTo>
                    <a:lnTo>
                      <a:pt x="69" y="236"/>
                    </a:lnTo>
                    <a:lnTo>
                      <a:pt x="65" y="240"/>
                    </a:lnTo>
                    <a:lnTo>
                      <a:pt x="62" y="242"/>
                    </a:lnTo>
                    <a:lnTo>
                      <a:pt x="59" y="243"/>
                    </a:lnTo>
                    <a:lnTo>
                      <a:pt x="55" y="243"/>
                    </a:lnTo>
                    <a:lnTo>
                      <a:pt x="52" y="243"/>
                    </a:lnTo>
                    <a:lnTo>
                      <a:pt x="49" y="244"/>
                    </a:lnTo>
                    <a:lnTo>
                      <a:pt x="42" y="249"/>
                    </a:lnTo>
                    <a:lnTo>
                      <a:pt x="39" y="250"/>
                    </a:lnTo>
                    <a:lnTo>
                      <a:pt x="36" y="250"/>
                    </a:lnTo>
                    <a:lnTo>
                      <a:pt x="33" y="250"/>
                    </a:lnTo>
                    <a:lnTo>
                      <a:pt x="29" y="247"/>
                    </a:lnTo>
                    <a:lnTo>
                      <a:pt x="22" y="244"/>
                    </a:lnTo>
                    <a:lnTo>
                      <a:pt x="19" y="243"/>
                    </a:lnTo>
                    <a:lnTo>
                      <a:pt x="17" y="242"/>
                    </a:lnTo>
                    <a:lnTo>
                      <a:pt x="14" y="240"/>
                    </a:lnTo>
                    <a:lnTo>
                      <a:pt x="13" y="239"/>
                    </a:lnTo>
                    <a:lnTo>
                      <a:pt x="13" y="236"/>
                    </a:lnTo>
                    <a:lnTo>
                      <a:pt x="12" y="232"/>
                    </a:lnTo>
                    <a:lnTo>
                      <a:pt x="10" y="230"/>
                    </a:lnTo>
                    <a:lnTo>
                      <a:pt x="9" y="227"/>
                    </a:lnTo>
                    <a:lnTo>
                      <a:pt x="7" y="226"/>
                    </a:lnTo>
                    <a:lnTo>
                      <a:pt x="7" y="223"/>
                    </a:lnTo>
                    <a:lnTo>
                      <a:pt x="7" y="220"/>
                    </a:lnTo>
                    <a:lnTo>
                      <a:pt x="7" y="217"/>
                    </a:lnTo>
                    <a:lnTo>
                      <a:pt x="7" y="211"/>
                    </a:lnTo>
                    <a:lnTo>
                      <a:pt x="7" y="209"/>
                    </a:lnTo>
                    <a:lnTo>
                      <a:pt x="7" y="206"/>
                    </a:lnTo>
                    <a:lnTo>
                      <a:pt x="6" y="203"/>
                    </a:lnTo>
                    <a:lnTo>
                      <a:pt x="3" y="198"/>
                    </a:lnTo>
                    <a:lnTo>
                      <a:pt x="2" y="196"/>
                    </a:lnTo>
                    <a:lnTo>
                      <a:pt x="0" y="193"/>
                    </a:lnTo>
                    <a:lnTo>
                      <a:pt x="0" y="190"/>
                    </a:lnTo>
                    <a:lnTo>
                      <a:pt x="0" y="187"/>
                    </a:lnTo>
                    <a:lnTo>
                      <a:pt x="0" y="183"/>
                    </a:lnTo>
                    <a:lnTo>
                      <a:pt x="2" y="180"/>
                    </a:lnTo>
                    <a:lnTo>
                      <a:pt x="3" y="171"/>
                    </a:lnTo>
                    <a:lnTo>
                      <a:pt x="4" y="170"/>
                    </a:lnTo>
                    <a:lnTo>
                      <a:pt x="6" y="168"/>
                    </a:lnTo>
                    <a:lnTo>
                      <a:pt x="9" y="165"/>
                    </a:lnTo>
                    <a:lnTo>
                      <a:pt x="10" y="164"/>
                    </a:lnTo>
                    <a:lnTo>
                      <a:pt x="14" y="157"/>
                    </a:lnTo>
                    <a:lnTo>
                      <a:pt x="17" y="151"/>
                    </a:lnTo>
                    <a:lnTo>
                      <a:pt x="19" y="147"/>
                    </a:lnTo>
                    <a:lnTo>
                      <a:pt x="20" y="142"/>
                    </a:lnTo>
                    <a:lnTo>
                      <a:pt x="20" y="138"/>
                    </a:lnTo>
                    <a:lnTo>
                      <a:pt x="22" y="135"/>
                    </a:lnTo>
                    <a:lnTo>
                      <a:pt x="20" y="134"/>
                    </a:lnTo>
                    <a:lnTo>
                      <a:pt x="20" y="132"/>
                    </a:lnTo>
                    <a:lnTo>
                      <a:pt x="19" y="127"/>
                    </a:lnTo>
                    <a:lnTo>
                      <a:pt x="16" y="118"/>
                    </a:lnTo>
                    <a:lnTo>
                      <a:pt x="14" y="109"/>
                    </a:lnTo>
                    <a:lnTo>
                      <a:pt x="13" y="98"/>
                    </a:lnTo>
                    <a:lnTo>
                      <a:pt x="13" y="96"/>
                    </a:lnTo>
                    <a:lnTo>
                      <a:pt x="13" y="94"/>
                    </a:lnTo>
                    <a:lnTo>
                      <a:pt x="19" y="85"/>
                    </a:lnTo>
                    <a:lnTo>
                      <a:pt x="20" y="84"/>
                    </a:lnTo>
                    <a:lnTo>
                      <a:pt x="20" y="81"/>
                    </a:lnTo>
                    <a:lnTo>
                      <a:pt x="20" y="76"/>
                    </a:lnTo>
                    <a:lnTo>
                      <a:pt x="22" y="75"/>
                    </a:lnTo>
                    <a:lnTo>
                      <a:pt x="22" y="73"/>
                    </a:lnTo>
                    <a:lnTo>
                      <a:pt x="23" y="73"/>
                    </a:lnTo>
                    <a:lnTo>
                      <a:pt x="29" y="73"/>
                    </a:lnTo>
                    <a:lnTo>
                      <a:pt x="30" y="72"/>
                    </a:lnTo>
                    <a:lnTo>
                      <a:pt x="35" y="71"/>
                    </a:lnTo>
                    <a:lnTo>
                      <a:pt x="36" y="69"/>
                    </a:lnTo>
                    <a:lnTo>
                      <a:pt x="37" y="71"/>
                    </a:lnTo>
                    <a:lnTo>
                      <a:pt x="40" y="71"/>
                    </a:lnTo>
                    <a:lnTo>
                      <a:pt x="42" y="69"/>
                    </a:lnTo>
                    <a:lnTo>
                      <a:pt x="42" y="69"/>
                    </a:lnTo>
                    <a:lnTo>
                      <a:pt x="43" y="68"/>
                    </a:lnTo>
                    <a:lnTo>
                      <a:pt x="45" y="66"/>
                    </a:lnTo>
                    <a:lnTo>
                      <a:pt x="46" y="66"/>
                    </a:lnTo>
                    <a:lnTo>
                      <a:pt x="47" y="66"/>
                    </a:lnTo>
                    <a:lnTo>
                      <a:pt x="50" y="65"/>
                    </a:lnTo>
                    <a:lnTo>
                      <a:pt x="52" y="65"/>
                    </a:lnTo>
                    <a:lnTo>
                      <a:pt x="53" y="66"/>
                    </a:lnTo>
                    <a:lnTo>
                      <a:pt x="53" y="68"/>
                    </a:lnTo>
                    <a:lnTo>
                      <a:pt x="55" y="68"/>
                    </a:lnTo>
                    <a:lnTo>
                      <a:pt x="56" y="68"/>
                    </a:lnTo>
                    <a:lnTo>
                      <a:pt x="55" y="63"/>
                    </a:lnTo>
                    <a:lnTo>
                      <a:pt x="59" y="59"/>
                    </a:lnTo>
                    <a:lnTo>
                      <a:pt x="65" y="56"/>
                    </a:lnTo>
                    <a:lnTo>
                      <a:pt x="66" y="61"/>
                    </a:lnTo>
                    <a:lnTo>
                      <a:pt x="68" y="59"/>
                    </a:lnTo>
                    <a:lnTo>
                      <a:pt x="68" y="58"/>
                    </a:lnTo>
                    <a:lnTo>
                      <a:pt x="68" y="56"/>
                    </a:lnTo>
                    <a:lnTo>
                      <a:pt x="68" y="55"/>
                    </a:lnTo>
                    <a:lnTo>
                      <a:pt x="69" y="53"/>
                    </a:lnTo>
                    <a:lnTo>
                      <a:pt x="70" y="50"/>
                    </a:lnTo>
                    <a:lnTo>
                      <a:pt x="73" y="48"/>
                    </a:lnTo>
                    <a:lnTo>
                      <a:pt x="75" y="46"/>
                    </a:lnTo>
                    <a:lnTo>
                      <a:pt x="75" y="48"/>
                    </a:lnTo>
                    <a:lnTo>
                      <a:pt x="73" y="50"/>
                    </a:lnTo>
                    <a:lnTo>
                      <a:pt x="73" y="52"/>
                    </a:lnTo>
                    <a:lnTo>
                      <a:pt x="75" y="52"/>
                    </a:lnTo>
                    <a:lnTo>
                      <a:pt x="78" y="49"/>
                    </a:lnTo>
                    <a:lnTo>
                      <a:pt x="78" y="48"/>
                    </a:lnTo>
                    <a:lnTo>
                      <a:pt x="79" y="45"/>
                    </a:lnTo>
                    <a:lnTo>
                      <a:pt x="83" y="46"/>
                    </a:lnTo>
                    <a:lnTo>
                      <a:pt x="81" y="43"/>
                    </a:lnTo>
                    <a:lnTo>
                      <a:pt x="81" y="40"/>
                    </a:lnTo>
                    <a:lnTo>
                      <a:pt x="82" y="38"/>
                    </a:lnTo>
                    <a:lnTo>
                      <a:pt x="83" y="35"/>
                    </a:lnTo>
                    <a:lnTo>
                      <a:pt x="82" y="33"/>
                    </a:lnTo>
                    <a:lnTo>
                      <a:pt x="82" y="30"/>
                    </a:lnTo>
                    <a:lnTo>
                      <a:pt x="82" y="29"/>
                    </a:lnTo>
                    <a:lnTo>
                      <a:pt x="83" y="27"/>
                    </a:lnTo>
                    <a:lnTo>
                      <a:pt x="85" y="26"/>
                    </a:lnTo>
                    <a:lnTo>
                      <a:pt x="85" y="27"/>
                    </a:lnTo>
                    <a:lnTo>
                      <a:pt x="85" y="27"/>
                    </a:lnTo>
                    <a:lnTo>
                      <a:pt x="86" y="27"/>
                    </a:lnTo>
                    <a:lnTo>
                      <a:pt x="88" y="27"/>
                    </a:lnTo>
                    <a:lnTo>
                      <a:pt x="89" y="27"/>
                    </a:lnTo>
                    <a:lnTo>
                      <a:pt x="91" y="25"/>
                    </a:lnTo>
                    <a:lnTo>
                      <a:pt x="96" y="20"/>
                    </a:lnTo>
                    <a:lnTo>
                      <a:pt x="98" y="19"/>
                    </a:lnTo>
                    <a:lnTo>
                      <a:pt x="99" y="15"/>
                    </a:lnTo>
                    <a:lnTo>
                      <a:pt x="99" y="13"/>
                    </a:lnTo>
                    <a:lnTo>
                      <a:pt x="99" y="12"/>
                    </a:lnTo>
                    <a:lnTo>
                      <a:pt x="98" y="6"/>
                    </a:lnTo>
                    <a:lnTo>
                      <a:pt x="98" y="6"/>
                    </a:lnTo>
                    <a:lnTo>
                      <a:pt x="98" y="6"/>
                    </a:lnTo>
                    <a:lnTo>
                      <a:pt x="99" y="6"/>
                    </a:lnTo>
                    <a:lnTo>
                      <a:pt x="102" y="2"/>
                    </a:lnTo>
                    <a:lnTo>
                      <a:pt x="105" y="0"/>
                    </a:lnTo>
                    <a:lnTo>
                      <a:pt x="106" y="0"/>
                    </a:lnTo>
                    <a:lnTo>
                      <a:pt x="108" y="2"/>
                    </a:lnTo>
                    <a:lnTo>
                      <a:pt x="109" y="4"/>
                    </a:lnTo>
                    <a:lnTo>
                      <a:pt x="112" y="9"/>
                    </a:lnTo>
                    <a:lnTo>
                      <a:pt x="116" y="15"/>
                    </a:lnTo>
                    <a:lnTo>
                      <a:pt x="118" y="17"/>
                    </a:lnTo>
                    <a:lnTo>
                      <a:pt x="121" y="30"/>
                    </a:lnTo>
                    <a:lnTo>
                      <a:pt x="122" y="35"/>
                    </a:lnTo>
                    <a:lnTo>
                      <a:pt x="122" y="43"/>
                    </a:lnTo>
                    <a:lnTo>
                      <a:pt x="122" y="46"/>
                    </a:lnTo>
                    <a:lnTo>
                      <a:pt x="126" y="58"/>
                    </a:lnTo>
                    <a:close/>
                    <a:moveTo>
                      <a:pt x="116" y="86"/>
                    </a:moveTo>
                    <a:lnTo>
                      <a:pt x="116" y="88"/>
                    </a:lnTo>
                    <a:lnTo>
                      <a:pt x="115" y="89"/>
                    </a:lnTo>
                    <a:lnTo>
                      <a:pt x="118" y="86"/>
                    </a:lnTo>
                    <a:lnTo>
                      <a:pt x="119" y="82"/>
                    </a:lnTo>
                    <a:lnTo>
                      <a:pt x="118" y="84"/>
                    </a:lnTo>
                    <a:lnTo>
                      <a:pt x="116" y="86"/>
                    </a:lnTo>
                    <a:close/>
                    <a:moveTo>
                      <a:pt x="89" y="20"/>
                    </a:moveTo>
                    <a:lnTo>
                      <a:pt x="89" y="19"/>
                    </a:lnTo>
                    <a:lnTo>
                      <a:pt x="88" y="19"/>
                    </a:lnTo>
                    <a:lnTo>
                      <a:pt x="86" y="20"/>
                    </a:lnTo>
                    <a:lnTo>
                      <a:pt x="86" y="22"/>
                    </a:lnTo>
                    <a:lnTo>
                      <a:pt x="88" y="22"/>
                    </a:lnTo>
                    <a:lnTo>
                      <a:pt x="88" y="23"/>
                    </a:lnTo>
                    <a:lnTo>
                      <a:pt x="89" y="23"/>
                    </a:lnTo>
                    <a:lnTo>
                      <a:pt x="89" y="22"/>
                    </a:lnTo>
                    <a:lnTo>
                      <a:pt x="89" y="20"/>
                    </a:lnTo>
                    <a:lnTo>
                      <a:pt x="89" y="2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24" name="Freeform 211">
                <a:extLst>
                  <a:ext uri="{FF2B5EF4-FFF2-40B4-BE49-F238E27FC236}">
                    <a16:creationId xmlns:a16="http://schemas.microsoft.com/office/drawing/2014/main" id="{D0FF0ACE-467D-3ACE-5AA6-FE9AE9AF633F}"/>
                  </a:ext>
                </a:extLst>
              </p:cNvPr>
              <p:cNvSpPr>
                <a:spLocks/>
              </p:cNvSpPr>
              <p:nvPr/>
            </p:nvSpPr>
            <p:spPr bwMode="auto">
              <a:xfrm>
                <a:off x="4519" y="3094"/>
                <a:ext cx="10" cy="9"/>
              </a:xfrm>
              <a:custGeom>
                <a:avLst/>
                <a:gdLst>
                  <a:gd name="T0" fmla="*/ 5 w 10"/>
                  <a:gd name="T1" fmla="*/ 0 h 9"/>
                  <a:gd name="T2" fmla="*/ 2 w 10"/>
                  <a:gd name="T3" fmla="*/ 0 h 9"/>
                  <a:gd name="T4" fmla="*/ 0 w 10"/>
                  <a:gd name="T5" fmla="*/ 3 h 9"/>
                  <a:gd name="T6" fmla="*/ 2 w 10"/>
                  <a:gd name="T7" fmla="*/ 6 h 9"/>
                  <a:gd name="T8" fmla="*/ 6 w 10"/>
                  <a:gd name="T9" fmla="*/ 9 h 9"/>
                  <a:gd name="T10" fmla="*/ 9 w 10"/>
                  <a:gd name="T11" fmla="*/ 9 h 9"/>
                  <a:gd name="T12" fmla="*/ 10 w 10"/>
                  <a:gd name="T13" fmla="*/ 4 h 9"/>
                  <a:gd name="T14" fmla="*/ 9 w 10"/>
                  <a:gd name="T15" fmla="*/ 2 h 9"/>
                  <a:gd name="T16" fmla="*/ 5 w 10"/>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9">
                    <a:moveTo>
                      <a:pt x="5" y="0"/>
                    </a:moveTo>
                    <a:lnTo>
                      <a:pt x="2" y="0"/>
                    </a:lnTo>
                    <a:lnTo>
                      <a:pt x="0" y="3"/>
                    </a:lnTo>
                    <a:lnTo>
                      <a:pt x="2" y="6"/>
                    </a:lnTo>
                    <a:lnTo>
                      <a:pt x="6" y="9"/>
                    </a:lnTo>
                    <a:lnTo>
                      <a:pt x="9" y="9"/>
                    </a:lnTo>
                    <a:lnTo>
                      <a:pt x="10" y="4"/>
                    </a:lnTo>
                    <a:lnTo>
                      <a:pt x="9" y="2"/>
                    </a:lnTo>
                    <a:lnTo>
                      <a:pt x="5"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25" name="Freeform 212">
                <a:extLst>
                  <a:ext uri="{FF2B5EF4-FFF2-40B4-BE49-F238E27FC236}">
                    <a16:creationId xmlns:a16="http://schemas.microsoft.com/office/drawing/2014/main" id="{5131BDE6-8AF5-F998-C643-E32FD090F963}"/>
                  </a:ext>
                </a:extLst>
              </p:cNvPr>
              <p:cNvSpPr>
                <a:spLocks noEditPoints="1"/>
              </p:cNvSpPr>
              <p:nvPr/>
            </p:nvSpPr>
            <p:spPr bwMode="auto">
              <a:xfrm>
                <a:off x="3314" y="2541"/>
                <a:ext cx="52" cy="54"/>
              </a:xfrm>
              <a:custGeom>
                <a:avLst/>
                <a:gdLst>
                  <a:gd name="T0" fmla="*/ 30 w 52"/>
                  <a:gd name="T1" fmla="*/ 54 h 54"/>
                  <a:gd name="T2" fmla="*/ 25 w 52"/>
                  <a:gd name="T3" fmla="*/ 50 h 54"/>
                  <a:gd name="T4" fmla="*/ 15 w 52"/>
                  <a:gd name="T5" fmla="*/ 46 h 54"/>
                  <a:gd name="T6" fmla="*/ 15 w 52"/>
                  <a:gd name="T7" fmla="*/ 40 h 54"/>
                  <a:gd name="T8" fmla="*/ 10 w 52"/>
                  <a:gd name="T9" fmla="*/ 40 h 54"/>
                  <a:gd name="T10" fmla="*/ 7 w 52"/>
                  <a:gd name="T11" fmla="*/ 39 h 54"/>
                  <a:gd name="T12" fmla="*/ 6 w 52"/>
                  <a:gd name="T13" fmla="*/ 34 h 54"/>
                  <a:gd name="T14" fmla="*/ 5 w 52"/>
                  <a:gd name="T15" fmla="*/ 33 h 54"/>
                  <a:gd name="T16" fmla="*/ 3 w 52"/>
                  <a:gd name="T17" fmla="*/ 31 h 54"/>
                  <a:gd name="T18" fmla="*/ 2 w 52"/>
                  <a:gd name="T19" fmla="*/ 30 h 54"/>
                  <a:gd name="T20" fmla="*/ 0 w 52"/>
                  <a:gd name="T21" fmla="*/ 29 h 54"/>
                  <a:gd name="T22" fmla="*/ 0 w 52"/>
                  <a:gd name="T23" fmla="*/ 27 h 54"/>
                  <a:gd name="T24" fmla="*/ 2 w 52"/>
                  <a:gd name="T25" fmla="*/ 27 h 54"/>
                  <a:gd name="T26" fmla="*/ 3 w 52"/>
                  <a:gd name="T27" fmla="*/ 27 h 54"/>
                  <a:gd name="T28" fmla="*/ 3 w 52"/>
                  <a:gd name="T29" fmla="*/ 29 h 54"/>
                  <a:gd name="T30" fmla="*/ 5 w 52"/>
                  <a:gd name="T31" fmla="*/ 27 h 54"/>
                  <a:gd name="T32" fmla="*/ 6 w 52"/>
                  <a:gd name="T33" fmla="*/ 26 h 54"/>
                  <a:gd name="T34" fmla="*/ 6 w 52"/>
                  <a:gd name="T35" fmla="*/ 24 h 54"/>
                  <a:gd name="T36" fmla="*/ 6 w 52"/>
                  <a:gd name="T37" fmla="*/ 24 h 54"/>
                  <a:gd name="T38" fmla="*/ 2 w 52"/>
                  <a:gd name="T39" fmla="*/ 24 h 54"/>
                  <a:gd name="T40" fmla="*/ 0 w 52"/>
                  <a:gd name="T41" fmla="*/ 23 h 54"/>
                  <a:gd name="T42" fmla="*/ 2 w 52"/>
                  <a:gd name="T43" fmla="*/ 20 h 54"/>
                  <a:gd name="T44" fmla="*/ 3 w 52"/>
                  <a:gd name="T45" fmla="*/ 20 h 54"/>
                  <a:gd name="T46" fmla="*/ 0 w 52"/>
                  <a:gd name="T47" fmla="*/ 18 h 54"/>
                  <a:gd name="T48" fmla="*/ 2 w 52"/>
                  <a:gd name="T49" fmla="*/ 17 h 54"/>
                  <a:gd name="T50" fmla="*/ 5 w 52"/>
                  <a:gd name="T51" fmla="*/ 14 h 54"/>
                  <a:gd name="T52" fmla="*/ 6 w 52"/>
                  <a:gd name="T53" fmla="*/ 13 h 54"/>
                  <a:gd name="T54" fmla="*/ 9 w 52"/>
                  <a:gd name="T55" fmla="*/ 11 h 54"/>
                  <a:gd name="T56" fmla="*/ 10 w 52"/>
                  <a:gd name="T57" fmla="*/ 8 h 54"/>
                  <a:gd name="T58" fmla="*/ 13 w 52"/>
                  <a:gd name="T59" fmla="*/ 3 h 54"/>
                  <a:gd name="T60" fmla="*/ 18 w 52"/>
                  <a:gd name="T61" fmla="*/ 1 h 54"/>
                  <a:gd name="T62" fmla="*/ 20 w 52"/>
                  <a:gd name="T63" fmla="*/ 1 h 54"/>
                  <a:gd name="T64" fmla="*/ 23 w 52"/>
                  <a:gd name="T65" fmla="*/ 1 h 54"/>
                  <a:gd name="T66" fmla="*/ 25 w 52"/>
                  <a:gd name="T67" fmla="*/ 1 h 54"/>
                  <a:gd name="T68" fmla="*/ 25 w 52"/>
                  <a:gd name="T69" fmla="*/ 0 h 54"/>
                  <a:gd name="T70" fmla="*/ 28 w 52"/>
                  <a:gd name="T71" fmla="*/ 0 h 54"/>
                  <a:gd name="T72" fmla="*/ 33 w 52"/>
                  <a:gd name="T73" fmla="*/ 0 h 54"/>
                  <a:gd name="T74" fmla="*/ 38 w 52"/>
                  <a:gd name="T75" fmla="*/ 3 h 54"/>
                  <a:gd name="T76" fmla="*/ 45 w 52"/>
                  <a:gd name="T77" fmla="*/ 10 h 54"/>
                  <a:gd name="T78" fmla="*/ 46 w 52"/>
                  <a:gd name="T79" fmla="*/ 13 h 54"/>
                  <a:gd name="T80" fmla="*/ 45 w 52"/>
                  <a:gd name="T81" fmla="*/ 16 h 54"/>
                  <a:gd name="T82" fmla="*/ 46 w 52"/>
                  <a:gd name="T83" fmla="*/ 17 h 54"/>
                  <a:gd name="T84" fmla="*/ 48 w 52"/>
                  <a:gd name="T85" fmla="*/ 18 h 54"/>
                  <a:gd name="T86" fmla="*/ 48 w 52"/>
                  <a:gd name="T87" fmla="*/ 20 h 54"/>
                  <a:gd name="T88" fmla="*/ 48 w 52"/>
                  <a:gd name="T89" fmla="*/ 24 h 54"/>
                  <a:gd name="T90" fmla="*/ 48 w 52"/>
                  <a:gd name="T91" fmla="*/ 30 h 54"/>
                  <a:gd name="T92" fmla="*/ 52 w 52"/>
                  <a:gd name="T93" fmla="*/ 27 h 54"/>
                  <a:gd name="T94" fmla="*/ 52 w 52"/>
                  <a:gd name="T95" fmla="*/ 30 h 54"/>
                  <a:gd name="T96" fmla="*/ 51 w 52"/>
                  <a:gd name="T97" fmla="*/ 31 h 54"/>
                  <a:gd name="T98" fmla="*/ 49 w 52"/>
                  <a:gd name="T99" fmla="*/ 33 h 54"/>
                  <a:gd name="T100" fmla="*/ 46 w 52"/>
                  <a:gd name="T101" fmla="*/ 39 h 54"/>
                  <a:gd name="T102" fmla="*/ 43 w 52"/>
                  <a:gd name="T103" fmla="*/ 43 h 54"/>
                  <a:gd name="T104" fmla="*/ 36 w 52"/>
                  <a:gd name="T105" fmla="*/ 49 h 54"/>
                  <a:gd name="T106" fmla="*/ 10 w 52"/>
                  <a:gd name="T107" fmla="*/ 41 h 54"/>
                  <a:gd name="T108" fmla="*/ 6 w 52"/>
                  <a:gd name="T109" fmla="*/ 43 h 54"/>
                  <a:gd name="T110" fmla="*/ 12 w 52"/>
                  <a:gd name="T111" fmla="*/ 44 h 54"/>
                  <a:gd name="T112" fmla="*/ 13 w 52"/>
                  <a:gd name="T113" fmla="*/ 44 h 54"/>
                  <a:gd name="T114" fmla="*/ 13 w 52"/>
                  <a:gd name="T115" fmla="*/ 44 h 54"/>
                  <a:gd name="T116" fmla="*/ 10 w 52"/>
                  <a:gd name="T11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 h="54">
                    <a:moveTo>
                      <a:pt x="33" y="53"/>
                    </a:moveTo>
                    <a:lnTo>
                      <a:pt x="30" y="54"/>
                    </a:lnTo>
                    <a:lnTo>
                      <a:pt x="29" y="53"/>
                    </a:lnTo>
                    <a:lnTo>
                      <a:pt x="25" y="50"/>
                    </a:lnTo>
                    <a:lnTo>
                      <a:pt x="15" y="46"/>
                    </a:lnTo>
                    <a:lnTo>
                      <a:pt x="15" y="46"/>
                    </a:lnTo>
                    <a:lnTo>
                      <a:pt x="15" y="41"/>
                    </a:lnTo>
                    <a:lnTo>
                      <a:pt x="15" y="40"/>
                    </a:lnTo>
                    <a:lnTo>
                      <a:pt x="12" y="40"/>
                    </a:lnTo>
                    <a:lnTo>
                      <a:pt x="10" y="40"/>
                    </a:lnTo>
                    <a:lnTo>
                      <a:pt x="9" y="40"/>
                    </a:lnTo>
                    <a:lnTo>
                      <a:pt x="7" y="39"/>
                    </a:lnTo>
                    <a:lnTo>
                      <a:pt x="7" y="37"/>
                    </a:lnTo>
                    <a:lnTo>
                      <a:pt x="6" y="34"/>
                    </a:lnTo>
                    <a:lnTo>
                      <a:pt x="6" y="34"/>
                    </a:lnTo>
                    <a:lnTo>
                      <a:pt x="5" y="33"/>
                    </a:lnTo>
                    <a:lnTo>
                      <a:pt x="5" y="33"/>
                    </a:lnTo>
                    <a:lnTo>
                      <a:pt x="3" y="31"/>
                    </a:lnTo>
                    <a:lnTo>
                      <a:pt x="3" y="31"/>
                    </a:lnTo>
                    <a:lnTo>
                      <a:pt x="2" y="30"/>
                    </a:lnTo>
                    <a:lnTo>
                      <a:pt x="0" y="29"/>
                    </a:lnTo>
                    <a:lnTo>
                      <a:pt x="0" y="29"/>
                    </a:lnTo>
                    <a:lnTo>
                      <a:pt x="0" y="27"/>
                    </a:lnTo>
                    <a:lnTo>
                      <a:pt x="0" y="27"/>
                    </a:lnTo>
                    <a:lnTo>
                      <a:pt x="2" y="27"/>
                    </a:lnTo>
                    <a:lnTo>
                      <a:pt x="2" y="27"/>
                    </a:lnTo>
                    <a:lnTo>
                      <a:pt x="2" y="27"/>
                    </a:lnTo>
                    <a:lnTo>
                      <a:pt x="3" y="27"/>
                    </a:lnTo>
                    <a:lnTo>
                      <a:pt x="3" y="27"/>
                    </a:lnTo>
                    <a:lnTo>
                      <a:pt x="3" y="29"/>
                    </a:lnTo>
                    <a:lnTo>
                      <a:pt x="3" y="27"/>
                    </a:lnTo>
                    <a:lnTo>
                      <a:pt x="5" y="27"/>
                    </a:lnTo>
                    <a:lnTo>
                      <a:pt x="5" y="26"/>
                    </a:lnTo>
                    <a:lnTo>
                      <a:pt x="6" y="26"/>
                    </a:lnTo>
                    <a:lnTo>
                      <a:pt x="6" y="26"/>
                    </a:lnTo>
                    <a:lnTo>
                      <a:pt x="6" y="24"/>
                    </a:lnTo>
                    <a:lnTo>
                      <a:pt x="6" y="24"/>
                    </a:lnTo>
                    <a:lnTo>
                      <a:pt x="6" y="24"/>
                    </a:lnTo>
                    <a:lnTo>
                      <a:pt x="3" y="24"/>
                    </a:lnTo>
                    <a:lnTo>
                      <a:pt x="2" y="24"/>
                    </a:lnTo>
                    <a:lnTo>
                      <a:pt x="2" y="24"/>
                    </a:lnTo>
                    <a:lnTo>
                      <a:pt x="0" y="23"/>
                    </a:lnTo>
                    <a:lnTo>
                      <a:pt x="2" y="21"/>
                    </a:lnTo>
                    <a:lnTo>
                      <a:pt x="2" y="20"/>
                    </a:lnTo>
                    <a:lnTo>
                      <a:pt x="3" y="20"/>
                    </a:lnTo>
                    <a:lnTo>
                      <a:pt x="3" y="20"/>
                    </a:lnTo>
                    <a:lnTo>
                      <a:pt x="2" y="18"/>
                    </a:lnTo>
                    <a:lnTo>
                      <a:pt x="0" y="18"/>
                    </a:lnTo>
                    <a:lnTo>
                      <a:pt x="0" y="17"/>
                    </a:lnTo>
                    <a:lnTo>
                      <a:pt x="2" y="17"/>
                    </a:lnTo>
                    <a:lnTo>
                      <a:pt x="3" y="16"/>
                    </a:lnTo>
                    <a:lnTo>
                      <a:pt x="5" y="14"/>
                    </a:lnTo>
                    <a:lnTo>
                      <a:pt x="6" y="13"/>
                    </a:lnTo>
                    <a:lnTo>
                      <a:pt x="6" y="13"/>
                    </a:lnTo>
                    <a:lnTo>
                      <a:pt x="7" y="11"/>
                    </a:lnTo>
                    <a:lnTo>
                      <a:pt x="9" y="11"/>
                    </a:lnTo>
                    <a:lnTo>
                      <a:pt x="10" y="10"/>
                    </a:lnTo>
                    <a:lnTo>
                      <a:pt x="10" y="8"/>
                    </a:lnTo>
                    <a:lnTo>
                      <a:pt x="13" y="4"/>
                    </a:lnTo>
                    <a:lnTo>
                      <a:pt x="13" y="3"/>
                    </a:lnTo>
                    <a:lnTo>
                      <a:pt x="15" y="1"/>
                    </a:lnTo>
                    <a:lnTo>
                      <a:pt x="18" y="1"/>
                    </a:lnTo>
                    <a:lnTo>
                      <a:pt x="19" y="1"/>
                    </a:lnTo>
                    <a:lnTo>
                      <a:pt x="20" y="1"/>
                    </a:lnTo>
                    <a:lnTo>
                      <a:pt x="22" y="1"/>
                    </a:lnTo>
                    <a:lnTo>
                      <a:pt x="23" y="1"/>
                    </a:lnTo>
                    <a:lnTo>
                      <a:pt x="25" y="1"/>
                    </a:lnTo>
                    <a:lnTo>
                      <a:pt x="25" y="1"/>
                    </a:lnTo>
                    <a:lnTo>
                      <a:pt x="25" y="0"/>
                    </a:lnTo>
                    <a:lnTo>
                      <a:pt x="25" y="0"/>
                    </a:lnTo>
                    <a:lnTo>
                      <a:pt x="25" y="0"/>
                    </a:lnTo>
                    <a:lnTo>
                      <a:pt x="28" y="0"/>
                    </a:lnTo>
                    <a:lnTo>
                      <a:pt x="30" y="0"/>
                    </a:lnTo>
                    <a:lnTo>
                      <a:pt x="33" y="0"/>
                    </a:lnTo>
                    <a:lnTo>
                      <a:pt x="36" y="1"/>
                    </a:lnTo>
                    <a:lnTo>
                      <a:pt x="38" y="3"/>
                    </a:lnTo>
                    <a:lnTo>
                      <a:pt x="42" y="7"/>
                    </a:lnTo>
                    <a:lnTo>
                      <a:pt x="45" y="10"/>
                    </a:lnTo>
                    <a:lnTo>
                      <a:pt x="46" y="13"/>
                    </a:lnTo>
                    <a:lnTo>
                      <a:pt x="46" y="13"/>
                    </a:lnTo>
                    <a:lnTo>
                      <a:pt x="45" y="16"/>
                    </a:lnTo>
                    <a:lnTo>
                      <a:pt x="45" y="16"/>
                    </a:lnTo>
                    <a:lnTo>
                      <a:pt x="45" y="16"/>
                    </a:lnTo>
                    <a:lnTo>
                      <a:pt x="46" y="17"/>
                    </a:lnTo>
                    <a:lnTo>
                      <a:pt x="46" y="17"/>
                    </a:lnTo>
                    <a:lnTo>
                      <a:pt x="48" y="18"/>
                    </a:lnTo>
                    <a:lnTo>
                      <a:pt x="46" y="20"/>
                    </a:lnTo>
                    <a:lnTo>
                      <a:pt x="48" y="20"/>
                    </a:lnTo>
                    <a:lnTo>
                      <a:pt x="48" y="23"/>
                    </a:lnTo>
                    <a:lnTo>
                      <a:pt x="48" y="24"/>
                    </a:lnTo>
                    <a:lnTo>
                      <a:pt x="45" y="30"/>
                    </a:lnTo>
                    <a:lnTo>
                      <a:pt x="48" y="30"/>
                    </a:lnTo>
                    <a:lnTo>
                      <a:pt x="51" y="27"/>
                    </a:lnTo>
                    <a:lnTo>
                      <a:pt x="52" y="27"/>
                    </a:lnTo>
                    <a:lnTo>
                      <a:pt x="52" y="29"/>
                    </a:lnTo>
                    <a:lnTo>
                      <a:pt x="52" y="30"/>
                    </a:lnTo>
                    <a:lnTo>
                      <a:pt x="52" y="31"/>
                    </a:lnTo>
                    <a:lnTo>
                      <a:pt x="51" y="31"/>
                    </a:lnTo>
                    <a:lnTo>
                      <a:pt x="49" y="33"/>
                    </a:lnTo>
                    <a:lnTo>
                      <a:pt x="49" y="33"/>
                    </a:lnTo>
                    <a:lnTo>
                      <a:pt x="48" y="34"/>
                    </a:lnTo>
                    <a:lnTo>
                      <a:pt x="46" y="39"/>
                    </a:lnTo>
                    <a:lnTo>
                      <a:pt x="45" y="40"/>
                    </a:lnTo>
                    <a:lnTo>
                      <a:pt x="43" y="43"/>
                    </a:lnTo>
                    <a:lnTo>
                      <a:pt x="38" y="47"/>
                    </a:lnTo>
                    <a:lnTo>
                      <a:pt x="36" y="49"/>
                    </a:lnTo>
                    <a:lnTo>
                      <a:pt x="33" y="53"/>
                    </a:lnTo>
                    <a:close/>
                    <a:moveTo>
                      <a:pt x="10" y="41"/>
                    </a:moveTo>
                    <a:lnTo>
                      <a:pt x="7" y="41"/>
                    </a:lnTo>
                    <a:lnTo>
                      <a:pt x="6" y="43"/>
                    </a:lnTo>
                    <a:lnTo>
                      <a:pt x="9" y="44"/>
                    </a:lnTo>
                    <a:lnTo>
                      <a:pt x="12" y="44"/>
                    </a:lnTo>
                    <a:lnTo>
                      <a:pt x="13" y="46"/>
                    </a:lnTo>
                    <a:lnTo>
                      <a:pt x="13" y="44"/>
                    </a:lnTo>
                    <a:lnTo>
                      <a:pt x="13" y="44"/>
                    </a:lnTo>
                    <a:lnTo>
                      <a:pt x="13" y="44"/>
                    </a:lnTo>
                    <a:lnTo>
                      <a:pt x="12" y="41"/>
                    </a:lnTo>
                    <a:lnTo>
                      <a:pt x="10" y="4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26" name="Freeform 213">
                <a:extLst>
                  <a:ext uri="{FF2B5EF4-FFF2-40B4-BE49-F238E27FC236}">
                    <a16:creationId xmlns:a16="http://schemas.microsoft.com/office/drawing/2014/main" id="{19CAB922-DDBF-2502-4B0A-13AAA64E43E1}"/>
                  </a:ext>
                </a:extLst>
              </p:cNvPr>
              <p:cNvSpPr>
                <a:spLocks noEditPoints="1"/>
              </p:cNvSpPr>
              <p:nvPr/>
            </p:nvSpPr>
            <p:spPr bwMode="auto">
              <a:xfrm>
                <a:off x="3228" y="2180"/>
                <a:ext cx="83" cy="32"/>
              </a:xfrm>
              <a:custGeom>
                <a:avLst/>
                <a:gdLst>
                  <a:gd name="T0" fmla="*/ 76 w 83"/>
                  <a:gd name="T1" fmla="*/ 13 h 32"/>
                  <a:gd name="T2" fmla="*/ 69 w 83"/>
                  <a:gd name="T3" fmla="*/ 22 h 32"/>
                  <a:gd name="T4" fmla="*/ 69 w 83"/>
                  <a:gd name="T5" fmla="*/ 20 h 32"/>
                  <a:gd name="T6" fmla="*/ 75 w 83"/>
                  <a:gd name="T7" fmla="*/ 9 h 32"/>
                  <a:gd name="T8" fmla="*/ 81 w 83"/>
                  <a:gd name="T9" fmla="*/ 6 h 32"/>
                  <a:gd name="T10" fmla="*/ 82 w 83"/>
                  <a:gd name="T11" fmla="*/ 3 h 32"/>
                  <a:gd name="T12" fmla="*/ 83 w 83"/>
                  <a:gd name="T13" fmla="*/ 0 h 32"/>
                  <a:gd name="T14" fmla="*/ 79 w 83"/>
                  <a:gd name="T15" fmla="*/ 1 h 32"/>
                  <a:gd name="T16" fmla="*/ 76 w 83"/>
                  <a:gd name="T17" fmla="*/ 6 h 32"/>
                  <a:gd name="T18" fmla="*/ 78 w 83"/>
                  <a:gd name="T19" fmla="*/ 7 h 32"/>
                  <a:gd name="T20" fmla="*/ 7 w 83"/>
                  <a:gd name="T21" fmla="*/ 7 h 32"/>
                  <a:gd name="T22" fmla="*/ 6 w 83"/>
                  <a:gd name="T23" fmla="*/ 7 h 32"/>
                  <a:gd name="T24" fmla="*/ 3 w 83"/>
                  <a:gd name="T25" fmla="*/ 9 h 32"/>
                  <a:gd name="T26" fmla="*/ 4 w 83"/>
                  <a:gd name="T27" fmla="*/ 13 h 32"/>
                  <a:gd name="T28" fmla="*/ 7 w 83"/>
                  <a:gd name="T29" fmla="*/ 13 h 32"/>
                  <a:gd name="T30" fmla="*/ 7 w 83"/>
                  <a:gd name="T31" fmla="*/ 10 h 32"/>
                  <a:gd name="T32" fmla="*/ 7 w 83"/>
                  <a:gd name="T33" fmla="*/ 7 h 32"/>
                  <a:gd name="T34" fmla="*/ 0 w 83"/>
                  <a:gd name="T35" fmla="*/ 29 h 32"/>
                  <a:gd name="T36" fmla="*/ 2 w 83"/>
                  <a:gd name="T37" fmla="*/ 30 h 32"/>
                  <a:gd name="T38" fmla="*/ 3 w 83"/>
                  <a:gd name="T39" fmla="*/ 32 h 32"/>
                  <a:gd name="T40" fmla="*/ 4 w 83"/>
                  <a:gd name="T41" fmla="*/ 27 h 32"/>
                  <a:gd name="T42" fmla="*/ 43 w 83"/>
                  <a:gd name="T43" fmla="*/ 23 h 32"/>
                  <a:gd name="T44" fmla="*/ 43 w 83"/>
                  <a:gd name="T45" fmla="*/ 27 h 32"/>
                  <a:gd name="T46" fmla="*/ 49 w 83"/>
                  <a:gd name="T47" fmla="*/ 27 h 32"/>
                  <a:gd name="T48" fmla="*/ 48 w 83"/>
                  <a:gd name="T49" fmla="*/ 22 h 32"/>
                  <a:gd name="T50" fmla="*/ 43 w 83"/>
                  <a:gd name="T51" fmla="*/ 23 h 32"/>
                  <a:gd name="T52" fmla="*/ 16 w 83"/>
                  <a:gd name="T53" fmla="*/ 22 h 32"/>
                  <a:gd name="T54" fmla="*/ 16 w 83"/>
                  <a:gd name="T55" fmla="*/ 23 h 32"/>
                  <a:gd name="T56" fmla="*/ 19 w 83"/>
                  <a:gd name="T57" fmla="*/ 23 h 32"/>
                  <a:gd name="T58" fmla="*/ 17 w 83"/>
                  <a:gd name="T59" fmla="*/ 20 h 32"/>
                  <a:gd name="T60" fmla="*/ 27 w 83"/>
                  <a:gd name="T61" fmla="*/ 23 h 32"/>
                  <a:gd name="T62" fmla="*/ 30 w 83"/>
                  <a:gd name="T63" fmla="*/ 22 h 32"/>
                  <a:gd name="T64" fmla="*/ 32 w 83"/>
                  <a:gd name="T65" fmla="*/ 19 h 32"/>
                  <a:gd name="T66" fmla="*/ 33 w 83"/>
                  <a:gd name="T67" fmla="*/ 17 h 32"/>
                  <a:gd name="T68" fmla="*/ 36 w 83"/>
                  <a:gd name="T69" fmla="*/ 13 h 32"/>
                  <a:gd name="T70" fmla="*/ 33 w 83"/>
                  <a:gd name="T71" fmla="*/ 13 h 32"/>
                  <a:gd name="T72" fmla="*/ 27 w 83"/>
                  <a:gd name="T73" fmla="*/ 16 h 32"/>
                  <a:gd name="T74" fmla="*/ 22 w 83"/>
                  <a:gd name="T75" fmla="*/ 17 h 32"/>
                  <a:gd name="T76" fmla="*/ 27 w 83"/>
                  <a:gd name="T77"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32">
                    <a:moveTo>
                      <a:pt x="75" y="9"/>
                    </a:moveTo>
                    <a:lnTo>
                      <a:pt x="76" y="13"/>
                    </a:lnTo>
                    <a:lnTo>
                      <a:pt x="73" y="19"/>
                    </a:lnTo>
                    <a:lnTo>
                      <a:pt x="69" y="22"/>
                    </a:lnTo>
                    <a:lnTo>
                      <a:pt x="65" y="22"/>
                    </a:lnTo>
                    <a:lnTo>
                      <a:pt x="69" y="20"/>
                    </a:lnTo>
                    <a:lnTo>
                      <a:pt x="72" y="12"/>
                    </a:lnTo>
                    <a:lnTo>
                      <a:pt x="75" y="9"/>
                    </a:lnTo>
                    <a:close/>
                    <a:moveTo>
                      <a:pt x="79" y="6"/>
                    </a:moveTo>
                    <a:lnTo>
                      <a:pt x="81" y="6"/>
                    </a:lnTo>
                    <a:lnTo>
                      <a:pt x="82" y="4"/>
                    </a:lnTo>
                    <a:lnTo>
                      <a:pt x="82" y="3"/>
                    </a:lnTo>
                    <a:lnTo>
                      <a:pt x="83" y="3"/>
                    </a:lnTo>
                    <a:lnTo>
                      <a:pt x="83" y="0"/>
                    </a:lnTo>
                    <a:lnTo>
                      <a:pt x="82" y="1"/>
                    </a:lnTo>
                    <a:lnTo>
                      <a:pt x="79" y="1"/>
                    </a:lnTo>
                    <a:lnTo>
                      <a:pt x="76" y="4"/>
                    </a:lnTo>
                    <a:lnTo>
                      <a:pt x="76" y="6"/>
                    </a:lnTo>
                    <a:lnTo>
                      <a:pt x="76" y="7"/>
                    </a:lnTo>
                    <a:lnTo>
                      <a:pt x="78" y="7"/>
                    </a:lnTo>
                    <a:lnTo>
                      <a:pt x="79" y="6"/>
                    </a:lnTo>
                    <a:close/>
                    <a:moveTo>
                      <a:pt x="7" y="7"/>
                    </a:moveTo>
                    <a:lnTo>
                      <a:pt x="6" y="7"/>
                    </a:lnTo>
                    <a:lnTo>
                      <a:pt x="6" y="7"/>
                    </a:lnTo>
                    <a:lnTo>
                      <a:pt x="4" y="7"/>
                    </a:lnTo>
                    <a:lnTo>
                      <a:pt x="3" y="9"/>
                    </a:lnTo>
                    <a:lnTo>
                      <a:pt x="3" y="10"/>
                    </a:lnTo>
                    <a:lnTo>
                      <a:pt x="4" y="13"/>
                    </a:lnTo>
                    <a:lnTo>
                      <a:pt x="6" y="14"/>
                    </a:lnTo>
                    <a:lnTo>
                      <a:pt x="7" y="13"/>
                    </a:lnTo>
                    <a:lnTo>
                      <a:pt x="7" y="12"/>
                    </a:lnTo>
                    <a:lnTo>
                      <a:pt x="7" y="10"/>
                    </a:lnTo>
                    <a:lnTo>
                      <a:pt x="7" y="9"/>
                    </a:lnTo>
                    <a:lnTo>
                      <a:pt x="7" y="7"/>
                    </a:lnTo>
                    <a:close/>
                    <a:moveTo>
                      <a:pt x="2" y="29"/>
                    </a:moveTo>
                    <a:lnTo>
                      <a:pt x="0" y="29"/>
                    </a:lnTo>
                    <a:lnTo>
                      <a:pt x="0" y="29"/>
                    </a:lnTo>
                    <a:lnTo>
                      <a:pt x="2" y="30"/>
                    </a:lnTo>
                    <a:lnTo>
                      <a:pt x="3" y="30"/>
                    </a:lnTo>
                    <a:lnTo>
                      <a:pt x="3" y="32"/>
                    </a:lnTo>
                    <a:lnTo>
                      <a:pt x="4" y="29"/>
                    </a:lnTo>
                    <a:lnTo>
                      <a:pt x="4" y="27"/>
                    </a:lnTo>
                    <a:lnTo>
                      <a:pt x="2" y="29"/>
                    </a:lnTo>
                    <a:close/>
                    <a:moveTo>
                      <a:pt x="43" y="23"/>
                    </a:moveTo>
                    <a:lnTo>
                      <a:pt x="42" y="24"/>
                    </a:lnTo>
                    <a:lnTo>
                      <a:pt x="43" y="27"/>
                    </a:lnTo>
                    <a:lnTo>
                      <a:pt x="46" y="29"/>
                    </a:lnTo>
                    <a:lnTo>
                      <a:pt x="49" y="27"/>
                    </a:lnTo>
                    <a:lnTo>
                      <a:pt x="49" y="24"/>
                    </a:lnTo>
                    <a:lnTo>
                      <a:pt x="48" y="22"/>
                    </a:lnTo>
                    <a:lnTo>
                      <a:pt x="45" y="20"/>
                    </a:lnTo>
                    <a:lnTo>
                      <a:pt x="43" y="23"/>
                    </a:lnTo>
                    <a:close/>
                    <a:moveTo>
                      <a:pt x="16" y="20"/>
                    </a:moveTo>
                    <a:lnTo>
                      <a:pt x="16" y="22"/>
                    </a:lnTo>
                    <a:lnTo>
                      <a:pt x="14" y="23"/>
                    </a:lnTo>
                    <a:lnTo>
                      <a:pt x="16" y="23"/>
                    </a:lnTo>
                    <a:lnTo>
                      <a:pt x="17" y="23"/>
                    </a:lnTo>
                    <a:lnTo>
                      <a:pt x="19" y="23"/>
                    </a:lnTo>
                    <a:lnTo>
                      <a:pt x="19" y="22"/>
                    </a:lnTo>
                    <a:lnTo>
                      <a:pt x="17" y="20"/>
                    </a:lnTo>
                    <a:lnTo>
                      <a:pt x="16" y="20"/>
                    </a:lnTo>
                    <a:close/>
                    <a:moveTo>
                      <a:pt x="27" y="23"/>
                    </a:moveTo>
                    <a:lnTo>
                      <a:pt x="29" y="23"/>
                    </a:lnTo>
                    <a:lnTo>
                      <a:pt x="30" y="22"/>
                    </a:lnTo>
                    <a:lnTo>
                      <a:pt x="30" y="20"/>
                    </a:lnTo>
                    <a:lnTo>
                      <a:pt x="32" y="19"/>
                    </a:lnTo>
                    <a:lnTo>
                      <a:pt x="32" y="19"/>
                    </a:lnTo>
                    <a:lnTo>
                      <a:pt x="33" y="17"/>
                    </a:lnTo>
                    <a:lnTo>
                      <a:pt x="33" y="16"/>
                    </a:lnTo>
                    <a:lnTo>
                      <a:pt x="36" y="13"/>
                    </a:lnTo>
                    <a:lnTo>
                      <a:pt x="35" y="13"/>
                    </a:lnTo>
                    <a:lnTo>
                      <a:pt x="33" y="13"/>
                    </a:lnTo>
                    <a:lnTo>
                      <a:pt x="29" y="16"/>
                    </a:lnTo>
                    <a:lnTo>
                      <a:pt x="27" y="16"/>
                    </a:lnTo>
                    <a:lnTo>
                      <a:pt x="25" y="17"/>
                    </a:lnTo>
                    <a:lnTo>
                      <a:pt x="22" y="17"/>
                    </a:lnTo>
                    <a:lnTo>
                      <a:pt x="25" y="22"/>
                    </a:lnTo>
                    <a:lnTo>
                      <a:pt x="27" y="2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27" name="Freeform 214">
                <a:extLst>
                  <a:ext uri="{FF2B5EF4-FFF2-40B4-BE49-F238E27FC236}">
                    <a16:creationId xmlns:a16="http://schemas.microsoft.com/office/drawing/2014/main" id="{4C7DBECB-E59A-589E-AD4C-7D4076BA9A0D}"/>
                  </a:ext>
                </a:extLst>
              </p:cNvPr>
              <p:cNvSpPr>
                <a:spLocks noEditPoints="1"/>
              </p:cNvSpPr>
              <p:nvPr/>
            </p:nvSpPr>
            <p:spPr bwMode="auto">
              <a:xfrm>
                <a:off x="3254" y="2492"/>
                <a:ext cx="53" cy="32"/>
              </a:xfrm>
              <a:custGeom>
                <a:avLst/>
                <a:gdLst>
                  <a:gd name="T0" fmla="*/ 29 w 53"/>
                  <a:gd name="T1" fmla="*/ 32 h 32"/>
                  <a:gd name="T2" fmla="*/ 29 w 53"/>
                  <a:gd name="T3" fmla="*/ 30 h 32"/>
                  <a:gd name="T4" fmla="*/ 29 w 53"/>
                  <a:gd name="T5" fmla="*/ 29 h 32"/>
                  <a:gd name="T6" fmla="*/ 26 w 53"/>
                  <a:gd name="T7" fmla="*/ 30 h 32"/>
                  <a:gd name="T8" fmla="*/ 26 w 53"/>
                  <a:gd name="T9" fmla="*/ 29 h 32"/>
                  <a:gd name="T10" fmla="*/ 23 w 53"/>
                  <a:gd name="T11" fmla="*/ 26 h 32"/>
                  <a:gd name="T12" fmla="*/ 23 w 53"/>
                  <a:gd name="T13" fmla="*/ 24 h 32"/>
                  <a:gd name="T14" fmla="*/ 22 w 53"/>
                  <a:gd name="T15" fmla="*/ 23 h 32"/>
                  <a:gd name="T16" fmla="*/ 24 w 53"/>
                  <a:gd name="T17" fmla="*/ 21 h 32"/>
                  <a:gd name="T18" fmla="*/ 29 w 53"/>
                  <a:gd name="T19" fmla="*/ 20 h 32"/>
                  <a:gd name="T20" fmla="*/ 24 w 53"/>
                  <a:gd name="T21" fmla="*/ 19 h 32"/>
                  <a:gd name="T22" fmla="*/ 22 w 53"/>
                  <a:gd name="T23" fmla="*/ 17 h 32"/>
                  <a:gd name="T24" fmla="*/ 27 w 53"/>
                  <a:gd name="T25" fmla="*/ 14 h 32"/>
                  <a:gd name="T26" fmla="*/ 27 w 53"/>
                  <a:gd name="T27" fmla="*/ 14 h 32"/>
                  <a:gd name="T28" fmla="*/ 22 w 53"/>
                  <a:gd name="T29" fmla="*/ 14 h 32"/>
                  <a:gd name="T30" fmla="*/ 17 w 53"/>
                  <a:gd name="T31" fmla="*/ 16 h 32"/>
                  <a:gd name="T32" fmla="*/ 13 w 53"/>
                  <a:gd name="T33" fmla="*/ 17 h 32"/>
                  <a:gd name="T34" fmla="*/ 13 w 53"/>
                  <a:gd name="T35" fmla="*/ 14 h 32"/>
                  <a:gd name="T36" fmla="*/ 9 w 53"/>
                  <a:gd name="T37" fmla="*/ 14 h 32"/>
                  <a:gd name="T38" fmla="*/ 7 w 53"/>
                  <a:gd name="T39" fmla="*/ 11 h 32"/>
                  <a:gd name="T40" fmla="*/ 7 w 53"/>
                  <a:gd name="T41" fmla="*/ 9 h 32"/>
                  <a:gd name="T42" fmla="*/ 4 w 53"/>
                  <a:gd name="T43" fmla="*/ 9 h 32"/>
                  <a:gd name="T44" fmla="*/ 0 w 53"/>
                  <a:gd name="T45" fmla="*/ 7 h 32"/>
                  <a:gd name="T46" fmla="*/ 7 w 53"/>
                  <a:gd name="T47" fmla="*/ 6 h 32"/>
                  <a:gd name="T48" fmla="*/ 20 w 53"/>
                  <a:gd name="T49" fmla="*/ 3 h 32"/>
                  <a:gd name="T50" fmla="*/ 30 w 53"/>
                  <a:gd name="T51" fmla="*/ 0 h 32"/>
                  <a:gd name="T52" fmla="*/ 52 w 53"/>
                  <a:gd name="T53" fmla="*/ 1 h 32"/>
                  <a:gd name="T54" fmla="*/ 53 w 53"/>
                  <a:gd name="T55" fmla="*/ 4 h 32"/>
                  <a:gd name="T56" fmla="*/ 53 w 53"/>
                  <a:gd name="T57" fmla="*/ 7 h 32"/>
                  <a:gd name="T58" fmla="*/ 49 w 53"/>
                  <a:gd name="T59" fmla="*/ 9 h 32"/>
                  <a:gd name="T60" fmla="*/ 49 w 53"/>
                  <a:gd name="T61" fmla="*/ 10 h 32"/>
                  <a:gd name="T62" fmla="*/ 52 w 53"/>
                  <a:gd name="T63" fmla="*/ 14 h 32"/>
                  <a:gd name="T64" fmla="*/ 50 w 53"/>
                  <a:gd name="T65" fmla="*/ 19 h 32"/>
                  <a:gd name="T66" fmla="*/ 44 w 53"/>
                  <a:gd name="T67" fmla="*/ 19 h 32"/>
                  <a:gd name="T68" fmla="*/ 42 w 53"/>
                  <a:gd name="T69" fmla="*/ 20 h 32"/>
                  <a:gd name="T70" fmla="*/ 34 w 53"/>
                  <a:gd name="T71" fmla="*/ 23 h 32"/>
                  <a:gd name="T72" fmla="*/ 32 w 53"/>
                  <a:gd name="T73" fmla="*/ 26 h 32"/>
                  <a:gd name="T74" fmla="*/ 13 w 53"/>
                  <a:gd name="T75" fmla="*/ 27 h 32"/>
                  <a:gd name="T76" fmla="*/ 13 w 53"/>
                  <a:gd name="T77" fmla="*/ 29 h 32"/>
                  <a:gd name="T78" fmla="*/ 13 w 53"/>
                  <a:gd name="T79" fmla="*/ 30 h 32"/>
                  <a:gd name="T80" fmla="*/ 14 w 53"/>
                  <a:gd name="T81" fmla="*/ 29 h 32"/>
                  <a:gd name="T82" fmla="*/ 17 w 53"/>
                  <a:gd name="T83" fmla="*/ 26 h 32"/>
                  <a:gd name="T84" fmla="*/ 16 w 53"/>
                  <a:gd name="T85" fmla="*/ 27 h 32"/>
                  <a:gd name="T86" fmla="*/ 17 w 53"/>
                  <a:gd name="T87" fmla="*/ 27 h 32"/>
                  <a:gd name="T88" fmla="*/ 17 w 53"/>
                  <a:gd name="T89" fmla="*/ 26 h 32"/>
                  <a:gd name="T90" fmla="*/ 20 w 53"/>
                  <a:gd name="T91" fmla="*/ 20 h 32"/>
                  <a:gd name="T92" fmla="*/ 19 w 53"/>
                  <a:gd name="T93" fmla="*/ 21 h 32"/>
                  <a:gd name="T94" fmla="*/ 20 w 53"/>
                  <a:gd name="T95" fmla="*/ 21 h 32"/>
                  <a:gd name="T96" fmla="*/ 22 w 53"/>
                  <a:gd name="T97" fmla="*/ 20 h 32"/>
                  <a:gd name="T98" fmla="*/ 20 w 53"/>
                  <a:gd name="T99" fmla="*/ 20 h 32"/>
                  <a:gd name="T100" fmla="*/ 13 w 53"/>
                  <a:gd name="T101" fmla="*/ 20 h 32"/>
                  <a:gd name="T102" fmla="*/ 13 w 53"/>
                  <a:gd name="T103" fmla="*/ 23 h 32"/>
                  <a:gd name="T104" fmla="*/ 13 w 53"/>
                  <a:gd name="T105" fmla="*/ 14 h 32"/>
                  <a:gd name="T106" fmla="*/ 11 w 53"/>
                  <a:gd name="T107" fmla="*/ 14 h 32"/>
                  <a:gd name="T108" fmla="*/ 10 w 53"/>
                  <a:gd name="T109" fmla="*/ 16 h 32"/>
                  <a:gd name="T110" fmla="*/ 10 w 53"/>
                  <a:gd name="T111" fmla="*/ 17 h 32"/>
                  <a:gd name="T112" fmla="*/ 11 w 53"/>
                  <a:gd name="T113" fmla="*/ 17 h 32"/>
                  <a:gd name="T114" fmla="*/ 13 w 53"/>
                  <a:gd name="T115" fmla="*/ 14 h 32"/>
                  <a:gd name="T116" fmla="*/ 9 w 53"/>
                  <a:gd name="T117" fmla="*/ 29 h 32"/>
                  <a:gd name="T118" fmla="*/ 9 w 53"/>
                  <a:gd name="T119" fmla="*/ 30 h 32"/>
                  <a:gd name="T120" fmla="*/ 11 w 53"/>
                  <a:gd name="T121" fmla="*/ 29 h 32"/>
                  <a:gd name="T122" fmla="*/ 10 w 53"/>
                  <a:gd name="T123" fmla="*/ 2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 h="32">
                    <a:moveTo>
                      <a:pt x="30" y="30"/>
                    </a:moveTo>
                    <a:lnTo>
                      <a:pt x="29" y="32"/>
                    </a:lnTo>
                    <a:lnTo>
                      <a:pt x="29" y="32"/>
                    </a:lnTo>
                    <a:lnTo>
                      <a:pt x="29" y="30"/>
                    </a:lnTo>
                    <a:lnTo>
                      <a:pt x="29" y="29"/>
                    </a:lnTo>
                    <a:lnTo>
                      <a:pt x="29" y="29"/>
                    </a:lnTo>
                    <a:lnTo>
                      <a:pt x="29" y="29"/>
                    </a:lnTo>
                    <a:lnTo>
                      <a:pt x="26" y="30"/>
                    </a:lnTo>
                    <a:lnTo>
                      <a:pt x="26" y="30"/>
                    </a:lnTo>
                    <a:lnTo>
                      <a:pt x="26" y="29"/>
                    </a:lnTo>
                    <a:lnTo>
                      <a:pt x="24" y="27"/>
                    </a:lnTo>
                    <a:lnTo>
                      <a:pt x="23" y="26"/>
                    </a:lnTo>
                    <a:lnTo>
                      <a:pt x="23" y="24"/>
                    </a:lnTo>
                    <a:lnTo>
                      <a:pt x="23" y="24"/>
                    </a:lnTo>
                    <a:lnTo>
                      <a:pt x="22" y="23"/>
                    </a:lnTo>
                    <a:lnTo>
                      <a:pt x="22" y="23"/>
                    </a:lnTo>
                    <a:lnTo>
                      <a:pt x="23" y="21"/>
                    </a:lnTo>
                    <a:lnTo>
                      <a:pt x="24" y="21"/>
                    </a:lnTo>
                    <a:lnTo>
                      <a:pt x="26" y="20"/>
                    </a:lnTo>
                    <a:lnTo>
                      <a:pt x="29" y="20"/>
                    </a:lnTo>
                    <a:lnTo>
                      <a:pt x="26" y="19"/>
                    </a:lnTo>
                    <a:lnTo>
                      <a:pt x="24" y="19"/>
                    </a:lnTo>
                    <a:lnTo>
                      <a:pt x="22" y="19"/>
                    </a:lnTo>
                    <a:lnTo>
                      <a:pt x="22" y="17"/>
                    </a:lnTo>
                    <a:lnTo>
                      <a:pt x="23" y="16"/>
                    </a:lnTo>
                    <a:lnTo>
                      <a:pt x="27" y="14"/>
                    </a:lnTo>
                    <a:lnTo>
                      <a:pt x="29" y="13"/>
                    </a:lnTo>
                    <a:lnTo>
                      <a:pt x="27" y="14"/>
                    </a:lnTo>
                    <a:lnTo>
                      <a:pt x="23" y="14"/>
                    </a:lnTo>
                    <a:lnTo>
                      <a:pt x="22" y="14"/>
                    </a:lnTo>
                    <a:lnTo>
                      <a:pt x="19" y="16"/>
                    </a:lnTo>
                    <a:lnTo>
                      <a:pt x="17" y="16"/>
                    </a:lnTo>
                    <a:lnTo>
                      <a:pt x="16" y="17"/>
                    </a:lnTo>
                    <a:lnTo>
                      <a:pt x="13" y="17"/>
                    </a:lnTo>
                    <a:lnTo>
                      <a:pt x="14" y="14"/>
                    </a:lnTo>
                    <a:lnTo>
                      <a:pt x="13" y="14"/>
                    </a:lnTo>
                    <a:lnTo>
                      <a:pt x="11" y="14"/>
                    </a:lnTo>
                    <a:lnTo>
                      <a:pt x="9" y="14"/>
                    </a:lnTo>
                    <a:lnTo>
                      <a:pt x="7" y="13"/>
                    </a:lnTo>
                    <a:lnTo>
                      <a:pt x="7" y="11"/>
                    </a:lnTo>
                    <a:lnTo>
                      <a:pt x="7" y="10"/>
                    </a:lnTo>
                    <a:lnTo>
                      <a:pt x="7" y="9"/>
                    </a:lnTo>
                    <a:lnTo>
                      <a:pt x="6" y="9"/>
                    </a:lnTo>
                    <a:lnTo>
                      <a:pt x="4" y="9"/>
                    </a:lnTo>
                    <a:lnTo>
                      <a:pt x="1" y="7"/>
                    </a:lnTo>
                    <a:lnTo>
                      <a:pt x="0" y="7"/>
                    </a:lnTo>
                    <a:lnTo>
                      <a:pt x="3" y="6"/>
                    </a:lnTo>
                    <a:lnTo>
                      <a:pt x="7" y="6"/>
                    </a:lnTo>
                    <a:lnTo>
                      <a:pt x="17" y="4"/>
                    </a:lnTo>
                    <a:lnTo>
                      <a:pt x="20" y="3"/>
                    </a:lnTo>
                    <a:lnTo>
                      <a:pt x="23" y="1"/>
                    </a:lnTo>
                    <a:lnTo>
                      <a:pt x="30" y="0"/>
                    </a:lnTo>
                    <a:lnTo>
                      <a:pt x="37" y="0"/>
                    </a:lnTo>
                    <a:lnTo>
                      <a:pt x="52" y="1"/>
                    </a:lnTo>
                    <a:lnTo>
                      <a:pt x="52" y="3"/>
                    </a:lnTo>
                    <a:lnTo>
                      <a:pt x="53" y="4"/>
                    </a:lnTo>
                    <a:lnTo>
                      <a:pt x="53" y="6"/>
                    </a:lnTo>
                    <a:lnTo>
                      <a:pt x="53" y="7"/>
                    </a:lnTo>
                    <a:lnTo>
                      <a:pt x="52" y="9"/>
                    </a:lnTo>
                    <a:lnTo>
                      <a:pt x="49" y="9"/>
                    </a:lnTo>
                    <a:lnTo>
                      <a:pt x="49" y="9"/>
                    </a:lnTo>
                    <a:lnTo>
                      <a:pt x="49" y="10"/>
                    </a:lnTo>
                    <a:lnTo>
                      <a:pt x="50" y="11"/>
                    </a:lnTo>
                    <a:lnTo>
                      <a:pt x="52" y="14"/>
                    </a:lnTo>
                    <a:lnTo>
                      <a:pt x="52" y="17"/>
                    </a:lnTo>
                    <a:lnTo>
                      <a:pt x="50" y="19"/>
                    </a:lnTo>
                    <a:lnTo>
                      <a:pt x="49" y="19"/>
                    </a:lnTo>
                    <a:lnTo>
                      <a:pt x="44" y="19"/>
                    </a:lnTo>
                    <a:lnTo>
                      <a:pt x="43" y="20"/>
                    </a:lnTo>
                    <a:lnTo>
                      <a:pt x="42" y="20"/>
                    </a:lnTo>
                    <a:lnTo>
                      <a:pt x="36" y="23"/>
                    </a:lnTo>
                    <a:lnTo>
                      <a:pt x="34" y="23"/>
                    </a:lnTo>
                    <a:lnTo>
                      <a:pt x="33" y="24"/>
                    </a:lnTo>
                    <a:lnTo>
                      <a:pt x="32" y="26"/>
                    </a:lnTo>
                    <a:lnTo>
                      <a:pt x="30" y="30"/>
                    </a:lnTo>
                    <a:close/>
                    <a:moveTo>
                      <a:pt x="13" y="27"/>
                    </a:moveTo>
                    <a:lnTo>
                      <a:pt x="13" y="29"/>
                    </a:lnTo>
                    <a:lnTo>
                      <a:pt x="13" y="29"/>
                    </a:lnTo>
                    <a:lnTo>
                      <a:pt x="13" y="30"/>
                    </a:lnTo>
                    <a:lnTo>
                      <a:pt x="13" y="30"/>
                    </a:lnTo>
                    <a:lnTo>
                      <a:pt x="14" y="29"/>
                    </a:lnTo>
                    <a:lnTo>
                      <a:pt x="14" y="29"/>
                    </a:lnTo>
                    <a:lnTo>
                      <a:pt x="13" y="27"/>
                    </a:lnTo>
                    <a:close/>
                    <a:moveTo>
                      <a:pt x="17" y="26"/>
                    </a:moveTo>
                    <a:lnTo>
                      <a:pt x="16" y="27"/>
                    </a:lnTo>
                    <a:lnTo>
                      <a:pt x="16" y="27"/>
                    </a:lnTo>
                    <a:lnTo>
                      <a:pt x="17" y="27"/>
                    </a:lnTo>
                    <a:lnTo>
                      <a:pt x="17" y="27"/>
                    </a:lnTo>
                    <a:lnTo>
                      <a:pt x="17" y="26"/>
                    </a:lnTo>
                    <a:lnTo>
                      <a:pt x="17" y="26"/>
                    </a:lnTo>
                    <a:lnTo>
                      <a:pt x="17" y="26"/>
                    </a:lnTo>
                    <a:close/>
                    <a:moveTo>
                      <a:pt x="20" y="20"/>
                    </a:moveTo>
                    <a:lnTo>
                      <a:pt x="19" y="20"/>
                    </a:lnTo>
                    <a:lnTo>
                      <a:pt x="19" y="21"/>
                    </a:lnTo>
                    <a:lnTo>
                      <a:pt x="20" y="21"/>
                    </a:lnTo>
                    <a:lnTo>
                      <a:pt x="20" y="21"/>
                    </a:lnTo>
                    <a:lnTo>
                      <a:pt x="22" y="20"/>
                    </a:lnTo>
                    <a:lnTo>
                      <a:pt x="22" y="20"/>
                    </a:lnTo>
                    <a:lnTo>
                      <a:pt x="20" y="20"/>
                    </a:lnTo>
                    <a:lnTo>
                      <a:pt x="20" y="20"/>
                    </a:lnTo>
                    <a:close/>
                    <a:moveTo>
                      <a:pt x="14" y="21"/>
                    </a:moveTo>
                    <a:lnTo>
                      <a:pt x="13" y="20"/>
                    </a:lnTo>
                    <a:lnTo>
                      <a:pt x="11" y="23"/>
                    </a:lnTo>
                    <a:lnTo>
                      <a:pt x="13" y="23"/>
                    </a:lnTo>
                    <a:lnTo>
                      <a:pt x="14" y="21"/>
                    </a:lnTo>
                    <a:close/>
                    <a:moveTo>
                      <a:pt x="13" y="14"/>
                    </a:moveTo>
                    <a:lnTo>
                      <a:pt x="11" y="14"/>
                    </a:lnTo>
                    <a:lnTo>
                      <a:pt x="11" y="14"/>
                    </a:lnTo>
                    <a:lnTo>
                      <a:pt x="10" y="14"/>
                    </a:lnTo>
                    <a:lnTo>
                      <a:pt x="10" y="16"/>
                    </a:lnTo>
                    <a:lnTo>
                      <a:pt x="10" y="16"/>
                    </a:lnTo>
                    <a:lnTo>
                      <a:pt x="10" y="17"/>
                    </a:lnTo>
                    <a:lnTo>
                      <a:pt x="10" y="17"/>
                    </a:lnTo>
                    <a:lnTo>
                      <a:pt x="11" y="17"/>
                    </a:lnTo>
                    <a:lnTo>
                      <a:pt x="11" y="17"/>
                    </a:lnTo>
                    <a:lnTo>
                      <a:pt x="13" y="14"/>
                    </a:lnTo>
                    <a:close/>
                    <a:moveTo>
                      <a:pt x="9" y="29"/>
                    </a:moveTo>
                    <a:lnTo>
                      <a:pt x="9" y="29"/>
                    </a:lnTo>
                    <a:lnTo>
                      <a:pt x="9" y="30"/>
                    </a:lnTo>
                    <a:lnTo>
                      <a:pt x="9" y="30"/>
                    </a:lnTo>
                    <a:lnTo>
                      <a:pt x="10" y="30"/>
                    </a:lnTo>
                    <a:lnTo>
                      <a:pt x="11" y="29"/>
                    </a:lnTo>
                    <a:lnTo>
                      <a:pt x="11" y="27"/>
                    </a:lnTo>
                    <a:lnTo>
                      <a:pt x="10" y="27"/>
                    </a:lnTo>
                    <a:lnTo>
                      <a:pt x="9" y="2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28" name="Freeform 215">
                <a:extLst>
                  <a:ext uri="{FF2B5EF4-FFF2-40B4-BE49-F238E27FC236}">
                    <a16:creationId xmlns:a16="http://schemas.microsoft.com/office/drawing/2014/main" id="{32D1BD6A-2BF2-AA1B-AE74-3ACF57627AE1}"/>
                  </a:ext>
                </a:extLst>
              </p:cNvPr>
              <p:cNvSpPr>
                <a:spLocks noEditPoints="1"/>
              </p:cNvSpPr>
              <p:nvPr/>
            </p:nvSpPr>
            <p:spPr bwMode="auto">
              <a:xfrm>
                <a:off x="3594" y="2472"/>
                <a:ext cx="210" cy="169"/>
              </a:xfrm>
              <a:custGeom>
                <a:avLst/>
                <a:gdLst>
                  <a:gd name="T0" fmla="*/ 101 w 210"/>
                  <a:gd name="T1" fmla="*/ 161 h 169"/>
                  <a:gd name="T2" fmla="*/ 98 w 210"/>
                  <a:gd name="T3" fmla="*/ 165 h 169"/>
                  <a:gd name="T4" fmla="*/ 85 w 210"/>
                  <a:gd name="T5" fmla="*/ 165 h 169"/>
                  <a:gd name="T6" fmla="*/ 79 w 210"/>
                  <a:gd name="T7" fmla="*/ 164 h 169"/>
                  <a:gd name="T8" fmla="*/ 75 w 210"/>
                  <a:gd name="T9" fmla="*/ 168 h 169"/>
                  <a:gd name="T10" fmla="*/ 72 w 210"/>
                  <a:gd name="T11" fmla="*/ 164 h 169"/>
                  <a:gd name="T12" fmla="*/ 72 w 210"/>
                  <a:gd name="T13" fmla="*/ 169 h 169"/>
                  <a:gd name="T14" fmla="*/ 68 w 210"/>
                  <a:gd name="T15" fmla="*/ 169 h 169"/>
                  <a:gd name="T16" fmla="*/ 62 w 210"/>
                  <a:gd name="T17" fmla="*/ 169 h 169"/>
                  <a:gd name="T18" fmla="*/ 53 w 210"/>
                  <a:gd name="T19" fmla="*/ 165 h 169"/>
                  <a:gd name="T20" fmla="*/ 49 w 210"/>
                  <a:gd name="T21" fmla="*/ 155 h 169"/>
                  <a:gd name="T22" fmla="*/ 48 w 210"/>
                  <a:gd name="T23" fmla="*/ 152 h 169"/>
                  <a:gd name="T24" fmla="*/ 48 w 210"/>
                  <a:gd name="T25" fmla="*/ 151 h 169"/>
                  <a:gd name="T26" fmla="*/ 46 w 210"/>
                  <a:gd name="T27" fmla="*/ 148 h 169"/>
                  <a:gd name="T28" fmla="*/ 48 w 210"/>
                  <a:gd name="T29" fmla="*/ 146 h 169"/>
                  <a:gd name="T30" fmla="*/ 45 w 210"/>
                  <a:gd name="T31" fmla="*/ 146 h 169"/>
                  <a:gd name="T32" fmla="*/ 35 w 210"/>
                  <a:gd name="T33" fmla="*/ 136 h 169"/>
                  <a:gd name="T34" fmla="*/ 15 w 210"/>
                  <a:gd name="T35" fmla="*/ 132 h 169"/>
                  <a:gd name="T36" fmla="*/ 16 w 210"/>
                  <a:gd name="T37" fmla="*/ 131 h 169"/>
                  <a:gd name="T38" fmla="*/ 12 w 210"/>
                  <a:gd name="T39" fmla="*/ 133 h 169"/>
                  <a:gd name="T40" fmla="*/ 2 w 210"/>
                  <a:gd name="T41" fmla="*/ 113 h 169"/>
                  <a:gd name="T42" fmla="*/ 2 w 210"/>
                  <a:gd name="T43" fmla="*/ 87 h 169"/>
                  <a:gd name="T44" fmla="*/ 8 w 210"/>
                  <a:gd name="T45" fmla="*/ 83 h 169"/>
                  <a:gd name="T46" fmla="*/ 12 w 210"/>
                  <a:gd name="T47" fmla="*/ 73 h 169"/>
                  <a:gd name="T48" fmla="*/ 16 w 210"/>
                  <a:gd name="T49" fmla="*/ 70 h 169"/>
                  <a:gd name="T50" fmla="*/ 16 w 210"/>
                  <a:gd name="T51" fmla="*/ 64 h 169"/>
                  <a:gd name="T52" fmla="*/ 20 w 210"/>
                  <a:gd name="T53" fmla="*/ 57 h 169"/>
                  <a:gd name="T54" fmla="*/ 16 w 210"/>
                  <a:gd name="T55" fmla="*/ 39 h 169"/>
                  <a:gd name="T56" fmla="*/ 23 w 210"/>
                  <a:gd name="T57" fmla="*/ 17 h 169"/>
                  <a:gd name="T58" fmla="*/ 29 w 210"/>
                  <a:gd name="T59" fmla="*/ 4 h 169"/>
                  <a:gd name="T60" fmla="*/ 41 w 210"/>
                  <a:gd name="T61" fmla="*/ 1 h 169"/>
                  <a:gd name="T62" fmla="*/ 53 w 210"/>
                  <a:gd name="T63" fmla="*/ 0 h 169"/>
                  <a:gd name="T64" fmla="*/ 75 w 210"/>
                  <a:gd name="T65" fmla="*/ 13 h 169"/>
                  <a:gd name="T66" fmla="*/ 94 w 210"/>
                  <a:gd name="T67" fmla="*/ 10 h 169"/>
                  <a:gd name="T68" fmla="*/ 111 w 210"/>
                  <a:gd name="T69" fmla="*/ 17 h 169"/>
                  <a:gd name="T70" fmla="*/ 124 w 210"/>
                  <a:gd name="T71" fmla="*/ 17 h 169"/>
                  <a:gd name="T72" fmla="*/ 135 w 210"/>
                  <a:gd name="T73" fmla="*/ 10 h 169"/>
                  <a:gd name="T74" fmla="*/ 158 w 210"/>
                  <a:gd name="T75" fmla="*/ 10 h 169"/>
                  <a:gd name="T76" fmla="*/ 183 w 210"/>
                  <a:gd name="T77" fmla="*/ 6 h 169"/>
                  <a:gd name="T78" fmla="*/ 201 w 210"/>
                  <a:gd name="T79" fmla="*/ 21 h 169"/>
                  <a:gd name="T80" fmla="*/ 210 w 210"/>
                  <a:gd name="T81" fmla="*/ 29 h 169"/>
                  <a:gd name="T82" fmla="*/ 210 w 210"/>
                  <a:gd name="T83" fmla="*/ 40 h 169"/>
                  <a:gd name="T84" fmla="*/ 204 w 210"/>
                  <a:gd name="T85" fmla="*/ 46 h 169"/>
                  <a:gd name="T86" fmla="*/ 194 w 210"/>
                  <a:gd name="T87" fmla="*/ 53 h 169"/>
                  <a:gd name="T88" fmla="*/ 187 w 210"/>
                  <a:gd name="T89" fmla="*/ 73 h 169"/>
                  <a:gd name="T90" fmla="*/ 180 w 210"/>
                  <a:gd name="T91" fmla="*/ 80 h 169"/>
                  <a:gd name="T92" fmla="*/ 177 w 210"/>
                  <a:gd name="T93" fmla="*/ 90 h 169"/>
                  <a:gd name="T94" fmla="*/ 170 w 210"/>
                  <a:gd name="T95" fmla="*/ 96 h 169"/>
                  <a:gd name="T96" fmla="*/ 161 w 210"/>
                  <a:gd name="T97" fmla="*/ 116 h 169"/>
                  <a:gd name="T98" fmla="*/ 163 w 210"/>
                  <a:gd name="T99" fmla="*/ 121 h 169"/>
                  <a:gd name="T100" fmla="*/ 158 w 210"/>
                  <a:gd name="T101" fmla="*/ 123 h 169"/>
                  <a:gd name="T102" fmla="*/ 155 w 210"/>
                  <a:gd name="T103" fmla="*/ 129 h 169"/>
                  <a:gd name="T104" fmla="*/ 147 w 210"/>
                  <a:gd name="T105" fmla="*/ 126 h 169"/>
                  <a:gd name="T106" fmla="*/ 140 w 210"/>
                  <a:gd name="T107" fmla="*/ 121 h 169"/>
                  <a:gd name="T108" fmla="*/ 135 w 210"/>
                  <a:gd name="T109" fmla="*/ 125 h 169"/>
                  <a:gd name="T110" fmla="*/ 124 w 210"/>
                  <a:gd name="T111" fmla="*/ 129 h 169"/>
                  <a:gd name="T112" fmla="*/ 111 w 210"/>
                  <a:gd name="T113" fmla="*/ 146 h 169"/>
                  <a:gd name="T114" fmla="*/ 79 w 210"/>
                  <a:gd name="T115" fmla="*/ 168 h 169"/>
                  <a:gd name="T116" fmla="*/ 82 w 210"/>
                  <a:gd name="T117" fmla="*/ 16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169">
                    <a:moveTo>
                      <a:pt x="108" y="152"/>
                    </a:moveTo>
                    <a:lnTo>
                      <a:pt x="104" y="162"/>
                    </a:lnTo>
                    <a:lnTo>
                      <a:pt x="102" y="162"/>
                    </a:lnTo>
                    <a:lnTo>
                      <a:pt x="101" y="161"/>
                    </a:lnTo>
                    <a:lnTo>
                      <a:pt x="98" y="159"/>
                    </a:lnTo>
                    <a:lnTo>
                      <a:pt x="99" y="162"/>
                    </a:lnTo>
                    <a:lnTo>
                      <a:pt x="99" y="164"/>
                    </a:lnTo>
                    <a:lnTo>
                      <a:pt x="98" y="165"/>
                    </a:lnTo>
                    <a:lnTo>
                      <a:pt x="89" y="167"/>
                    </a:lnTo>
                    <a:lnTo>
                      <a:pt x="88" y="165"/>
                    </a:lnTo>
                    <a:lnTo>
                      <a:pt x="87" y="164"/>
                    </a:lnTo>
                    <a:lnTo>
                      <a:pt x="85" y="165"/>
                    </a:lnTo>
                    <a:lnTo>
                      <a:pt x="82" y="165"/>
                    </a:lnTo>
                    <a:lnTo>
                      <a:pt x="79" y="164"/>
                    </a:lnTo>
                    <a:lnTo>
                      <a:pt x="78" y="162"/>
                    </a:lnTo>
                    <a:lnTo>
                      <a:pt x="79" y="164"/>
                    </a:lnTo>
                    <a:lnTo>
                      <a:pt x="79" y="167"/>
                    </a:lnTo>
                    <a:lnTo>
                      <a:pt x="78" y="168"/>
                    </a:lnTo>
                    <a:lnTo>
                      <a:pt x="76" y="168"/>
                    </a:lnTo>
                    <a:lnTo>
                      <a:pt x="75" y="168"/>
                    </a:lnTo>
                    <a:lnTo>
                      <a:pt x="74" y="165"/>
                    </a:lnTo>
                    <a:lnTo>
                      <a:pt x="74" y="164"/>
                    </a:lnTo>
                    <a:lnTo>
                      <a:pt x="72" y="162"/>
                    </a:lnTo>
                    <a:lnTo>
                      <a:pt x="72" y="164"/>
                    </a:lnTo>
                    <a:lnTo>
                      <a:pt x="74" y="165"/>
                    </a:lnTo>
                    <a:lnTo>
                      <a:pt x="74" y="167"/>
                    </a:lnTo>
                    <a:lnTo>
                      <a:pt x="74" y="168"/>
                    </a:lnTo>
                    <a:lnTo>
                      <a:pt x="72" y="169"/>
                    </a:lnTo>
                    <a:lnTo>
                      <a:pt x="71" y="169"/>
                    </a:lnTo>
                    <a:lnTo>
                      <a:pt x="69" y="168"/>
                    </a:lnTo>
                    <a:lnTo>
                      <a:pt x="69" y="167"/>
                    </a:lnTo>
                    <a:lnTo>
                      <a:pt x="68" y="169"/>
                    </a:lnTo>
                    <a:lnTo>
                      <a:pt x="66" y="169"/>
                    </a:lnTo>
                    <a:lnTo>
                      <a:pt x="64" y="169"/>
                    </a:lnTo>
                    <a:lnTo>
                      <a:pt x="64" y="168"/>
                    </a:lnTo>
                    <a:lnTo>
                      <a:pt x="62" y="169"/>
                    </a:lnTo>
                    <a:lnTo>
                      <a:pt x="61" y="169"/>
                    </a:lnTo>
                    <a:lnTo>
                      <a:pt x="58" y="169"/>
                    </a:lnTo>
                    <a:lnTo>
                      <a:pt x="55" y="167"/>
                    </a:lnTo>
                    <a:lnTo>
                      <a:pt x="53" y="165"/>
                    </a:lnTo>
                    <a:lnTo>
                      <a:pt x="51" y="162"/>
                    </a:lnTo>
                    <a:lnTo>
                      <a:pt x="49" y="159"/>
                    </a:lnTo>
                    <a:lnTo>
                      <a:pt x="48" y="155"/>
                    </a:lnTo>
                    <a:lnTo>
                      <a:pt x="49" y="155"/>
                    </a:lnTo>
                    <a:lnTo>
                      <a:pt x="49" y="155"/>
                    </a:lnTo>
                    <a:lnTo>
                      <a:pt x="49" y="155"/>
                    </a:lnTo>
                    <a:lnTo>
                      <a:pt x="48" y="154"/>
                    </a:lnTo>
                    <a:lnTo>
                      <a:pt x="48" y="152"/>
                    </a:lnTo>
                    <a:lnTo>
                      <a:pt x="51" y="151"/>
                    </a:lnTo>
                    <a:lnTo>
                      <a:pt x="51" y="149"/>
                    </a:lnTo>
                    <a:lnTo>
                      <a:pt x="49" y="149"/>
                    </a:lnTo>
                    <a:lnTo>
                      <a:pt x="48" y="151"/>
                    </a:lnTo>
                    <a:lnTo>
                      <a:pt x="46" y="149"/>
                    </a:lnTo>
                    <a:lnTo>
                      <a:pt x="45" y="148"/>
                    </a:lnTo>
                    <a:lnTo>
                      <a:pt x="45" y="148"/>
                    </a:lnTo>
                    <a:lnTo>
                      <a:pt x="46" y="148"/>
                    </a:lnTo>
                    <a:lnTo>
                      <a:pt x="48" y="146"/>
                    </a:lnTo>
                    <a:lnTo>
                      <a:pt x="49" y="146"/>
                    </a:lnTo>
                    <a:lnTo>
                      <a:pt x="48" y="146"/>
                    </a:lnTo>
                    <a:lnTo>
                      <a:pt x="48" y="146"/>
                    </a:lnTo>
                    <a:lnTo>
                      <a:pt x="48" y="146"/>
                    </a:lnTo>
                    <a:lnTo>
                      <a:pt x="48" y="145"/>
                    </a:lnTo>
                    <a:lnTo>
                      <a:pt x="46" y="146"/>
                    </a:lnTo>
                    <a:lnTo>
                      <a:pt x="45" y="146"/>
                    </a:lnTo>
                    <a:lnTo>
                      <a:pt x="43" y="144"/>
                    </a:lnTo>
                    <a:lnTo>
                      <a:pt x="41" y="142"/>
                    </a:lnTo>
                    <a:lnTo>
                      <a:pt x="38" y="138"/>
                    </a:lnTo>
                    <a:lnTo>
                      <a:pt x="35" y="136"/>
                    </a:lnTo>
                    <a:lnTo>
                      <a:pt x="30" y="133"/>
                    </a:lnTo>
                    <a:lnTo>
                      <a:pt x="25" y="133"/>
                    </a:lnTo>
                    <a:lnTo>
                      <a:pt x="19" y="133"/>
                    </a:lnTo>
                    <a:lnTo>
                      <a:pt x="15" y="132"/>
                    </a:lnTo>
                    <a:lnTo>
                      <a:pt x="19" y="129"/>
                    </a:lnTo>
                    <a:lnTo>
                      <a:pt x="19" y="129"/>
                    </a:lnTo>
                    <a:lnTo>
                      <a:pt x="18" y="129"/>
                    </a:lnTo>
                    <a:lnTo>
                      <a:pt x="16" y="131"/>
                    </a:lnTo>
                    <a:lnTo>
                      <a:pt x="15" y="131"/>
                    </a:lnTo>
                    <a:lnTo>
                      <a:pt x="15" y="131"/>
                    </a:lnTo>
                    <a:lnTo>
                      <a:pt x="13" y="132"/>
                    </a:lnTo>
                    <a:lnTo>
                      <a:pt x="12" y="133"/>
                    </a:lnTo>
                    <a:lnTo>
                      <a:pt x="9" y="133"/>
                    </a:lnTo>
                    <a:lnTo>
                      <a:pt x="2" y="133"/>
                    </a:lnTo>
                    <a:lnTo>
                      <a:pt x="3" y="119"/>
                    </a:lnTo>
                    <a:lnTo>
                      <a:pt x="2" y="113"/>
                    </a:lnTo>
                    <a:lnTo>
                      <a:pt x="2" y="106"/>
                    </a:lnTo>
                    <a:lnTo>
                      <a:pt x="0" y="103"/>
                    </a:lnTo>
                    <a:lnTo>
                      <a:pt x="2" y="90"/>
                    </a:lnTo>
                    <a:lnTo>
                      <a:pt x="2" y="87"/>
                    </a:lnTo>
                    <a:lnTo>
                      <a:pt x="3" y="86"/>
                    </a:lnTo>
                    <a:lnTo>
                      <a:pt x="5" y="86"/>
                    </a:lnTo>
                    <a:lnTo>
                      <a:pt x="6" y="85"/>
                    </a:lnTo>
                    <a:lnTo>
                      <a:pt x="8" y="83"/>
                    </a:lnTo>
                    <a:lnTo>
                      <a:pt x="8" y="83"/>
                    </a:lnTo>
                    <a:lnTo>
                      <a:pt x="9" y="80"/>
                    </a:lnTo>
                    <a:lnTo>
                      <a:pt x="10" y="77"/>
                    </a:lnTo>
                    <a:lnTo>
                      <a:pt x="12" y="73"/>
                    </a:lnTo>
                    <a:lnTo>
                      <a:pt x="12" y="72"/>
                    </a:lnTo>
                    <a:lnTo>
                      <a:pt x="13" y="72"/>
                    </a:lnTo>
                    <a:lnTo>
                      <a:pt x="16" y="70"/>
                    </a:lnTo>
                    <a:lnTo>
                      <a:pt x="16" y="70"/>
                    </a:lnTo>
                    <a:lnTo>
                      <a:pt x="18" y="67"/>
                    </a:lnTo>
                    <a:lnTo>
                      <a:pt x="18" y="66"/>
                    </a:lnTo>
                    <a:lnTo>
                      <a:pt x="16" y="64"/>
                    </a:lnTo>
                    <a:lnTo>
                      <a:pt x="16" y="64"/>
                    </a:lnTo>
                    <a:lnTo>
                      <a:pt x="18" y="62"/>
                    </a:lnTo>
                    <a:lnTo>
                      <a:pt x="19" y="62"/>
                    </a:lnTo>
                    <a:lnTo>
                      <a:pt x="20" y="60"/>
                    </a:lnTo>
                    <a:lnTo>
                      <a:pt x="20" y="57"/>
                    </a:lnTo>
                    <a:lnTo>
                      <a:pt x="20" y="53"/>
                    </a:lnTo>
                    <a:lnTo>
                      <a:pt x="18" y="47"/>
                    </a:lnTo>
                    <a:lnTo>
                      <a:pt x="16" y="43"/>
                    </a:lnTo>
                    <a:lnTo>
                      <a:pt x="16" y="39"/>
                    </a:lnTo>
                    <a:lnTo>
                      <a:pt x="18" y="36"/>
                    </a:lnTo>
                    <a:lnTo>
                      <a:pt x="18" y="26"/>
                    </a:lnTo>
                    <a:lnTo>
                      <a:pt x="19" y="23"/>
                    </a:lnTo>
                    <a:lnTo>
                      <a:pt x="23" y="17"/>
                    </a:lnTo>
                    <a:lnTo>
                      <a:pt x="25" y="14"/>
                    </a:lnTo>
                    <a:lnTo>
                      <a:pt x="26" y="8"/>
                    </a:lnTo>
                    <a:lnTo>
                      <a:pt x="28" y="6"/>
                    </a:lnTo>
                    <a:lnTo>
                      <a:pt x="29" y="4"/>
                    </a:lnTo>
                    <a:lnTo>
                      <a:pt x="32" y="3"/>
                    </a:lnTo>
                    <a:lnTo>
                      <a:pt x="35" y="1"/>
                    </a:lnTo>
                    <a:lnTo>
                      <a:pt x="38" y="1"/>
                    </a:lnTo>
                    <a:lnTo>
                      <a:pt x="41" y="1"/>
                    </a:lnTo>
                    <a:lnTo>
                      <a:pt x="43" y="1"/>
                    </a:lnTo>
                    <a:lnTo>
                      <a:pt x="48" y="0"/>
                    </a:lnTo>
                    <a:lnTo>
                      <a:pt x="51" y="0"/>
                    </a:lnTo>
                    <a:lnTo>
                      <a:pt x="53" y="0"/>
                    </a:lnTo>
                    <a:lnTo>
                      <a:pt x="58" y="1"/>
                    </a:lnTo>
                    <a:lnTo>
                      <a:pt x="64" y="3"/>
                    </a:lnTo>
                    <a:lnTo>
                      <a:pt x="68" y="6"/>
                    </a:lnTo>
                    <a:lnTo>
                      <a:pt x="75" y="13"/>
                    </a:lnTo>
                    <a:lnTo>
                      <a:pt x="79" y="14"/>
                    </a:lnTo>
                    <a:lnTo>
                      <a:pt x="82" y="13"/>
                    </a:lnTo>
                    <a:lnTo>
                      <a:pt x="88" y="10"/>
                    </a:lnTo>
                    <a:lnTo>
                      <a:pt x="94" y="10"/>
                    </a:lnTo>
                    <a:lnTo>
                      <a:pt x="98" y="11"/>
                    </a:lnTo>
                    <a:lnTo>
                      <a:pt x="102" y="14"/>
                    </a:lnTo>
                    <a:lnTo>
                      <a:pt x="108" y="17"/>
                    </a:lnTo>
                    <a:lnTo>
                      <a:pt x="111" y="17"/>
                    </a:lnTo>
                    <a:lnTo>
                      <a:pt x="114" y="18"/>
                    </a:lnTo>
                    <a:lnTo>
                      <a:pt x="118" y="18"/>
                    </a:lnTo>
                    <a:lnTo>
                      <a:pt x="121" y="18"/>
                    </a:lnTo>
                    <a:lnTo>
                      <a:pt x="124" y="17"/>
                    </a:lnTo>
                    <a:lnTo>
                      <a:pt x="125" y="16"/>
                    </a:lnTo>
                    <a:lnTo>
                      <a:pt x="127" y="13"/>
                    </a:lnTo>
                    <a:lnTo>
                      <a:pt x="130" y="11"/>
                    </a:lnTo>
                    <a:lnTo>
                      <a:pt x="135" y="10"/>
                    </a:lnTo>
                    <a:lnTo>
                      <a:pt x="141" y="8"/>
                    </a:lnTo>
                    <a:lnTo>
                      <a:pt x="147" y="8"/>
                    </a:lnTo>
                    <a:lnTo>
                      <a:pt x="154" y="8"/>
                    </a:lnTo>
                    <a:lnTo>
                      <a:pt x="158" y="10"/>
                    </a:lnTo>
                    <a:lnTo>
                      <a:pt x="164" y="11"/>
                    </a:lnTo>
                    <a:lnTo>
                      <a:pt x="168" y="13"/>
                    </a:lnTo>
                    <a:lnTo>
                      <a:pt x="173" y="13"/>
                    </a:lnTo>
                    <a:lnTo>
                      <a:pt x="183" y="6"/>
                    </a:lnTo>
                    <a:lnTo>
                      <a:pt x="187" y="3"/>
                    </a:lnTo>
                    <a:lnTo>
                      <a:pt x="193" y="3"/>
                    </a:lnTo>
                    <a:lnTo>
                      <a:pt x="201" y="13"/>
                    </a:lnTo>
                    <a:lnTo>
                      <a:pt x="201" y="21"/>
                    </a:lnTo>
                    <a:lnTo>
                      <a:pt x="203" y="24"/>
                    </a:lnTo>
                    <a:lnTo>
                      <a:pt x="204" y="26"/>
                    </a:lnTo>
                    <a:lnTo>
                      <a:pt x="209" y="27"/>
                    </a:lnTo>
                    <a:lnTo>
                      <a:pt x="210" y="29"/>
                    </a:lnTo>
                    <a:lnTo>
                      <a:pt x="210" y="31"/>
                    </a:lnTo>
                    <a:lnTo>
                      <a:pt x="210" y="33"/>
                    </a:lnTo>
                    <a:lnTo>
                      <a:pt x="210" y="37"/>
                    </a:lnTo>
                    <a:lnTo>
                      <a:pt x="210" y="40"/>
                    </a:lnTo>
                    <a:lnTo>
                      <a:pt x="209" y="41"/>
                    </a:lnTo>
                    <a:lnTo>
                      <a:pt x="209" y="43"/>
                    </a:lnTo>
                    <a:lnTo>
                      <a:pt x="206" y="44"/>
                    </a:lnTo>
                    <a:lnTo>
                      <a:pt x="204" y="46"/>
                    </a:lnTo>
                    <a:lnTo>
                      <a:pt x="200" y="47"/>
                    </a:lnTo>
                    <a:lnTo>
                      <a:pt x="197" y="49"/>
                    </a:lnTo>
                    <a:lnTo>
                      <a:pt x="196" y="50"/>
                    </a:lnTo>
                    <a:lnTo>
                      <a:pt x="194" y="53"/>
                    </a:lnTo>
                    <a:lnTo>
                      <a:pt x="193" y="56"/>
                    </a:lnTo>
                    <a:lnTo>
                      <a:pt x="191" y="57"/>
                    </a:lnTo>
                    <a:lnTo>
                      <a:pt x="187" y="69"/>
                    </a:lnTo>
                    <a:lnTo>
                      <a:pt x="187" y="73"/>
                    </a:lnTo>
                    <a:lnTo>
                      <a:pt x="186" y="75"/>
                    </a:lnTo>
                    <a:lnTo>
                      <a:pt x="184" y="76"/>
                    </a:lnTo>
                    <a:lnTo>
                      <a:pt x="181" y="79"/>
                    </a:lnTo>
                    <a:lnTo>
                      <a:pt x="180" y="80"/>
                    </a:lnTo>
                    <a:lnTo>
                      <a:pt x="180" y="83"/>
                    </a:lnTo>
                    <a:lnTo>
                      <a:pt x="180" y="86"/>
                    </a:lnTo>
                    <a:lnTo>
                      <a:pt x="178" y="89"/>
                    </a:lnTo>
                    <a:lnTo>
                      <a:pt x="177" y="90"/>
                    </a:lnTo>
                    <a:lnTo>
                      <a:pt x="176" y="92"/>
                    </a:lnTo>
                    <a:lnTo>
                      <a:pt x="174" y="93"/>
                    </a:lnTo>
                    <a:lnTo>
                      <a:pt x="171" y="95"/>
                    </a:lnTo>
                    <a:lnTo>
                      <a:pt x="170" y="96"/>
                    </a:lnTo>
                    <a:lnTo>
                      <a:pt x="170" y="98"/>
                    </a:lnTo>
                    <a:lnTo>
                      <a:pt x="165" y="109"/>
                    </a:lnTo>
                    <a:lnTo>
                      <a:pt x="165" y="110"/>
                    </a:lnTo>
                    <a:lnTo>
                      <a:pt x="161" y="116"/>
                    </a:lnTo>
                    <a:lnTo>
                      <a:pt x="161" y="118"/>
                    </a:lnTo>
                    <a:lnTo>
                      <a:pt x="161" y="119"/>
                    </a:lnTo>
                    <a:lnTo>
                      <a:pt x="163" y="119"/>
                    </a:lnTo>
                    <a:lnTo>
                      <a:pt x="163" y="121"/>
                    </a:lnTo>
                    <a:lnTo>
                      <a:pt x="161" y="121"/>
                    </a:lnTo>
                    <a:lnTo>
                      <a:pt x="161" y="121"/>
                    </a:lnTo>
                    <a:lnTo>
                      <a:pt x="160" y="122"/>
                    </a:lnTo>
                    <a:lnTo>
                      <a:pt x="158" y="123"/>
                    </a:lnTo>
                    <a:lnTo>
                      <a:pt x="157" y="125"/>
                    </a:lnTo>
                    <a:lnTo>
                      <a:pt x="157" y="126"/>
                    </a:lnTo>
                    <a:lnTo>
                      <a:pt x="155" y="128"/>
                    </a:lnTo>
                    <a:lnTo>
                      <a:pt x="155" y="129"/>
                    </a:lnTo>
                    <a:lnTo>
                      <a:pt x="154" y="131"/>
                    </a:lnTo>
                    <a:lnTo>
                      <a:pt x="150" y="132"/>
                    </a:lnTo>
                    <a:lnTo>
                      <a:pt x="148" y="131"/>
                    </a:lnTo>
                    <a:lnTo>
                      <a:pt x="147" y="126"/>
                    </a:lnTo>
                    <a:lnTo>
                      <a:pt x="144" y="123"/>
                    </a:lnTo>
                    <a:lnTo>
                      <a:pt x="143" y="122"/>
                    </a:lnTo>
                    <a:lnTo>
                      <a:pt x="141" y="121"/>
                    </a:lnTo>
                    <a:lnTo>
                      <a:pt x="140" y="121"/>
                    </a:lnTo>
                    <a:lnTo>
                      <a:pt x="140" y="122"/>
                    </a:lnTo>
                    <a:lnTo>
                      <a:pt x="138" y="123"/>
                    </a:lnTo>
                    <a:lnTo>
                      <a:pt x="138" y="123"/>
                    </a:lnTo>
                    <a:lnTo>
                      <a:pt x="135" y="125"/>
                    </a:lnTo>
                    <a:lnTo>
                      <a:pt x="134" y="125"/>
                    </a:lnTo>
                    <a:lnTo>
                      <a:pt x="132" y="123"/>
                    </a:lnTo>
                    <a:lnTo>
                      <a:pt x="132" y="122"/>
                    </a:lnTo>
                    <a:lnTo>
                      <a:pt x="124" y="129"/>
                    </a:lnTo>
                    <a:lnTo>
                      <a:pt x="115" y="136"/>
                    </a:lnTo>
                    <a:lnTo>
                      <a:pt x="114" y="139"/>
                    </a:lnTo>
                    <a:lnTo>
                      <a:pt x="111" y="142"/>
                    </a:lnTo>
                    <a:lnTo>
                      <a:pt x="111" y="146"/>
                    </a:lnTo>
                    <a:lnTo>
                      <a:pt x="108" y="152"/>
                    </a:lnTo>
                    <a:close/>
                    <a:moveTo>
                      <a:pt x="81" y="167"/>
                    </a:moveTo>
                    <a:lnTo>
                      <a:pt x="79" y="167"/>
                    </a:lnTo>
                    <a:lnTo>
                      <a:pt x="79" y="168"/>
                    </a:lnTo>
                    <a:lnTo>
                      <a:pt x="81" y="168"/>
                    </a:lnTo>
                    <a:lnTo>
                      <a:pt x="81" y="168"/>
                    </a:lnTo>
                    <a:lnTo>
                      <a:pt x="82" y="168"/>
                    </a:lnTo>
                    <a:lnTo>
                      <a:pt x="82" y="167"/>
                    </a:lnTo>
                    <a:lnTo>
                      <a:pt x="81" y="167"/>
                    </a:lnTo>
                    <a:lnTo>
                      <a:pt x="81" y="16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29" name="Freeform 216">
                <a:extLst>
                  <a:ext uri="{FF2B5EF4-FFF2-40B4-BE49-F238E27FC236}">
                    <a16:creationId xmlns:a16="http://schemas.microsoft.com/office/drawing/2014/main" id="{A65DB557-E7C1-8E72-A187-062D63799E62}"/>
                  </a:ext>
                </a:extLst>
              </p:cNvPr>
              <p:cNvSpPr>
                <a:spLocks/>
              </p:cNvSpPr>
              <p:nvPr/>
            </p:nvSpPr>
            <p:spPr bwMode="auto">
              <a:xfrm>
                <a:off x="3316" y="2051"/>
                <a:ext cx="212" cy="159"/>
              </a:xfrm>
              <a:custGeom>
                <a:avLst/>
                <a:gdLst>
                  <a:gd name="T0" fmla="*/ 212 w 212"/>
                  <a:gd name="T1" fmla="*/ 66 h 159"/>
                  <a:gd name="T2" fmla="*/ 205 w 212"/>
                  <a:gd name="T3" fmla="*/ 59 h 159"/>
                  <a:gd name="T4" fmla="*/ 205 w 212"/>
                  <a:gd name="T5" fmla="*/ 57 h 159"/>
                  <a:gd name="T6" fmla="*/ 202 w 212"/>
                  <a:gd name="T7" fmla="*/ 54 h 159"/>
                  <a:gd name="T8" fmla="*/ 202 w 212"/>
                  <a:gd name="T9" fmla="*/ 47 h 159"/>
                  <a:gd name="T10" fmla="*/ 202 w 212"/>
                  <a:gd name="T11" fmla="*/ 40 h 159"/>
                  <a:gd name="T12" fmla="*/ 201 w 212"/>
                  <a:gd name="T13" fmla="*/ 31 h 159"/>
                  <a:gd name="T14" fmla="*/ 201 w 212"/>
                  <a:gd name="T15" fmla="*/ 27 h 159"/>
                  <a:gd name="T16" fmla="*/ 199 w 212"/>
                  <a:gd name="T17" fmla="*/ 26 h 159"/>
                  <a:gd name="T18" fmla="*/ 199 w 212"/>
                  <a:gd name="T19" fmla="*/ 21 h 159"/>
                  <a:gd name="T20" fmla="*/ 194 w 212"/>
                  <a:gd name="T21" fmla="*/ 17 h 159"/>
                  <a:gd name="T22" fmla="*/ 181 w 212"/>
                  <a:gd name="T23" fmla="*/ 13 h 159"/>
                  <a:gd name="T24" fmla="*/ 175 w 212"/>
                  <a:gd name="T25" fmla="*/ 13 h 159"/>
                  <a:gd name="T26" fmla="*/ 163 w 212"/>
                  <a:gd name="T27" fmla="*/ 13 h 159"/>
                  <a:gd name="T28" fmla="*/ 156 w 212"/>
                  <a:gd name="T29" fmla="*/ 14 h 159"/>
                  <a:gd name="T30" fmla="*/ 138 w 212"/>
                  <a:gd name="T31" fmla="*/ 4 h 159"/>
                  <a:gd name="T32" fmla="*/ 133 w 212"/>
                  <a:gd name="T33" fmla="*/ 0 h 159"/>
                  <a:gd name="T34" fmla="*/ 126 w 212"/>
                  <a:gd name="T35" fmla="*/ 4 h 159"/>
                  <a:gd name="T36" fmla="*/ 119 w 212"/>
                  <a:gd name="T37" fmla="*/ 24 h 159"/>
                  <a:gd name="T38" fmla="*/ 109 w 212"/>
                  <a:gd name="T39" fmla="*/ 38 h 159"/>
                  <a:gd name="T40" fmla="*/ 84 w 212"/>
                  <a:gd name="T41" fmla="*/ 51 h 159"/>
                  <a:gd name="T42" fmla="*/ 70 w 212"/>
                  <a:gd name="T43" fmla="*/ 64 h 159"/>
                  <a:gd name="T44" fmla="*/ 66 w 212"/>
                  <a:gd name="T45" fmla="*/ 76 h 159"/>
                  <a:gd name="T46" fmla="*/ 59 w 212"/>
                  <a:gd name="T47" fmla="*/ 93 h 159"/>
                  <a:gd name="T48" fmla="*/ 60 w 212"/>
                  <a:gd name="T49" fmla="*/ 103 h 159"/>
                  <a:gd name="T50" fmla="*/ 61 w 212"/>
                  <a:gd name="T51" fmla="*/ 109 h 159"/>
                  <a:gd name="T52" fmla="*/ 51 w 212"/>
                  <a:gd name="T53" fmla="*/ 126 h 159"/>
                  <a:gd name="T54" fmla="*/ 23 w 212"/>
                  <a:gd name="T55" fmla="*/ 149 h 159"/>
                  <a:gd name="T56" fmla="*/ 7 w 212"/>
                  <a:gd name="T57" fmla="*/ 153 h 159"/>
                  <a:gd name="T58" fmla="*/ 3 w 212"/>
                  <a:gd name="T59" fmla="*/ 155 h 159"/>
                  <a:gd name="T60" fmla="*/ 79 w 212"/>
                  <a:gd name="T61" fmla="*/ 159 h 159"/>
                  <a:gd name="T62" fmla="*/ 79 w 212"/>
                  <a:gd name="T63" fmla="*/ 139 h 159"/>
                  <a:gd name="T64" fmla="*/ 106 w 212"/>
                  <a:gd name="T65" fmla="*/ 122 h 159"/>
                  <a:gd name="T66" fmla="*/ 115 w 212"/>
                  <a:gd name="T67" fmla="*/ 122 h 159"/>
                  <a:gd name="T68" fmla="*/ 117 w 212"/>
                  <a:gd name="T69" fmla="*/ 118 h 159"/>
                  <a:gd name="T70" fmla="*/ 145 w 212"/>
                  <a:gd name="T71" fmla="*/ 106 h 159"/>
                  <a:gd name="T72" fmla="*/ 166 w 212"/>
                  <a:gd name="T73" fmla="*/ 96 h 159"/>
                  <a:gd name="T74" fmla="*/ 168 w 212"/>
                  <a:gd name="T75" fmla="*/ 95 h 159"/>
                  <a:gd name="T76" fmla="*/ 165 w 212"/>
                  <a:gd name="T77" fmla="*/ 92 h 159"/>
                  <a:gd name="T78" fmla="*/ 163 w 212"/>
                  <a:gd name="T79" fmla="*/ 92 h 159"/>
                  <a:gd name="T80" fmla="*/ 165 w 212"/>
                  <a:gd name="T81" fmla="*/ 83 h 159"/>
                  <a:gd name="T82" fmla="*/ 169 w 212"/>
                  <a:gd name="T83" fmla="*/ 82 h 159"/>
                  <a:gd name="T84" fmla="*/ 179 w 212"/>
                  <a:gd name="T85" fmla="*/ 76 h 159"/>
                  <a:gd name="T86" fmla="*/ 182 w 212"/>
                  <a:gd name="T87" fmla="*/ 74 h 159"/>
                  <a:gd name="T88" fmla="*/ 189 w 212"/>
                  <a:gd name="T89" fmla="*/ 74 h 159"/>
                  <a:gd name="T90" fmla="*/ 198 w 212"/>
                  <a:gd name="T91" fmla="*/ 74 h 159"/>
                  <a:gd name="T92" fmla="*/ 207 w 212"/>
                  <a:gd name="T93" fmla="*/ 74 h 159"/>
                  <a:gd name="T94" fmla="*/ 209 w 212"/>
                  <a:gd name="T95" fmla="*/ 74 h 159"/>
                  <a:gd name="T96" fmla="*/ 209 w 212"/>
                  <a:gd name="T97" fmla="*/ 73 h 159"/>
                  <a:gd name="T98" fmla="*/ 209 w 212"/>
                  <a:gd name="T99" fmla="*/ 72 h 159"/>
                  <a:gd name="T100" fmla="*/ 212 w 212"/>
                  <a:gd name="T101" fmla="*/ 69 h 159"/>
                  <a:gd name="T102" fmla="*/ 212 w 212"/>
                  <a:gd name="T103" fmla="*/ 6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 h="159">
                    <a:moveTo>
                      <a:pt x="212" y="67"/>
                    </a:moveTo>
                    <a:lnTo>
                      <a:pt x="212" y="66"/>
                    </a:lnTo>
                    <a:lnTo>
                      <a:pt x="212" y="66"/>
                    </a:lnTo>
                    <a:lnTo>
                      <a:pt x="208" y="63"/>
                    </a:lnTo>
                    <a:lnTo>
                      <a:pt x="207" y="61"/>
                    </a:lnTo>
                    <a:lnTo>
                      <a:pt x="205" y="59"/>
                    </a:lnTo>
                    <a:lnTo>
                      <a:pt x="205" y="59"/>
                    </a:lnTo>
                    <a:lnTo>
                      <a:pt x="205" y="57"/>
                    </a:lnTo>
                    <a:lnTo>
                      <a:pt x="205" y="57"/>
                    </a:lnTo>
                    <a:lnTo>
                      <a:pt x="204" y="56"/>
                    </a:lnTo>
                    <a:lnTo>
                      <a:pt x="204" y="54"/>
                    </a:lnTo>
                    <a:lnTo>
                      <a:pt x="202" y="54"/>
                    </a:lnTo>
                    <a:lnTo>
                      <a:pt x="202" y="51"/>
                    </a:lnTo>
                    <a:lnTo>
                      <a:pt x="202" y="50"/>
                    </a:lnTo>
                    <a:lnTo>
                      <a:pt x="202" y="47"/>
                    </a:lnTo>
                    <a:lnTo>
                      <a:pt x="202" y="46"/>
                    </a:lnTo>
                    <a:lnTo>
                      <a:pt x="202" y="41"/>
                    </a:lnTo>
                    <a:lnTo>
                      <a:pt x="202" y="40"/>
                    </a:lnTo>
                    <a:lnTo>
                      <a:pt x="202" y="37"/>
                    </a:lnTo>
                    <a:lnTo>
                      <a:pt x="201" y="34"/>
                    </a:lnTo>
                    <a:lnTo>
                      <a:pt x="201" y="31"/>
                    </a:lnTo>
                    <a:lnTo>
                      <a:pt x="199" y="30"/>
                    </a:lnTo>
                    <a:lnTo>
                      <a:pt x="201" y="28"/>
                    </a:lnTo>
                    <a:lnTo>
                      <a:pt x="201" y="27"/>
                    </a:lnTo>
                    <a:lnTo>
                      <a:pt x="201" y="27"/>
                    </a:lnTo>
                    <a:lnTo>
                      <a:pt x="199" y="27"/>
                    </a:lnTo>
                    <a:lnTo>
                      <a:pt x="199" y="26"/>
                    </a:lnTo>
                    <a:lnTo>
                      <a:pt x="199" y="26"/>
                    </a:lnTo>
                    <a:lnTo>
                      <a:pt x="199" y="23"/>
                    </a:lnTo>
                    <a:lnTo>
                      <a:pt x="199" y="21"/>
                    </a:lnTo>
                    <a:lnTo>
                      <a:pt x="198" y="20"/>
                    </a:lnTo>
                    <a:lnTo>
                      <a:pt x="195" y="18"/>
                    </a:lnTo>
                    <a:lnTo>
                      <a:pt x="194" y="17"/>
                    </a:lnTo>
                    <a:lnTo>
                      <a:pt x="192" y="15"/>
                    </a:lnTo>
                    <a:lnTo>
                      <a:pt x="184" y="14"/>
                    </a:lnTo>
                    <a:lnTo>
                      <a:pt x="181" y="13"/>
                    </a:lnTo>
                    <a:lnTo>
                      <a:pt x="179" y="10"/>
                    </a:lnTo>
                    <a:lnTo>
                      <a:pt x="176" y="11"/>
                    </a:lnTo>
                    <a:lnTo>
                      <a:pt x="175" y="13"/>
                    </a:lnTo>
                    <a:lnTo>
                      <a:pt x="172" y="13"/>
                    </a:lnTo>
                    <a:lnTo>
                      <a:pt x="168" y="13"/>
                    </a:lnTo>
                    <a:lnTo>
                      <a:pt x="163" y="13"/>
                    </a:lnTo>
                    <a:lnTo>
                      <a:pt x="162" y="13"/>
                    </a:lnTo>
                    <a:lnTo>
                      <a:pt x="158" y="14"/>
                    </a:lnTo>
                    <a:lnTo>
                      <a:pt x="156" y="14"/>
                    </a:lnTo>
                    <a:lnTo>
                      <a:pt x="151" y="13"/>
                    </a:lnTo>
                    <a:lnTo>
                      <a:pt x="143" y="8"/>
                    </a:lnTo>
                    <a:lnTo>
                      <a:pt x="138" y="4"/>
                    </a:lnTo>
                    <a:lnTo>
                      <a:pt x="139" y="0"/>
                    </a:lnTo>
                    <a:lnTo>
                      <a:pt x="136" y="0"/>
                    </a:lnTo>
                    <a:lnTo>
                      <a:pt x="133" y="0"/>
                    </a:lnTo>
                    <a:lnTo>
                      <a:pt x="130" y="0"/>
                    </a:lnTo>
                    <a:lnTo>
                      <a:pt x="128" y="1"/>
                    </a:lnTo>
                    <a:lnTo>
                      <a:pt x="126" y="4"/>
                    </a:lnTo>
                    <a:lnTo>
                      <a:pt x="125" y="7"/>
                    </a:lnTo>
                    <a:lnTo>
                      <a:pt x="123" y="13"/>
                    </a:lnTo>
                    <a:lnTo>
                      <a:pt x="119" y="24"/>
                    </a:lnTo>
                    <a:lnTo>
                      <a:pt x="116" y="30"/>
                    </a:lnTo>
                    <a:lnTo>
                      <a:pt x="113" y="34"/>
                    </a:lnTo>
                    <a:lnTo>
                      <a:pt x="109" y="38"/>
                    </a:lnTo>
                    <a:lnTo>
                      <a:pt x="105" y="41"/>
                    </a:lnTo>
                    <a:lnTo>
                      <a:pt x="89" y="49"/>
                    </a:lnTo>
                    <a:lnTo>
                      <a:pt x="84" y="51"/>
                    </a:lnTo>
                    <a:lnTo>
                      <a:pt x="80" y="54"/>
                    </a:lnTo>
                    <a:lnTo>
                      <a:pt x="72" y="63"/>
                    </a:lnTo>
                    <a:lnTo>
                      <a:pt x="70" y="64"/>
                    </a:lnTo>
                    <a:lnTo>
                      <a:pt x="69" y="67"/>
                    </a:lnTo>
                    <a:lnTo>
                      <a:pt x="67" y="73"/>
                    </a:lnTo>
                    <a:lnTo>
                      <a:pt x="66" y="76"/>
                    </a:lnTo>
                    <a:lnTo>
                      <a:pt x="61" y="83"/>
                    </a:lnTo>
                    <a:lnTo>
                      <a:pt x="59" y="89"/>
                    </a:lnTo>
                    <a:lnTo>
                      <a:pt x="59" y="93"/>
                    </a:lnTo>
                    <a:lnTo>
                      <a:pt x="59" y="100"/>
                    </a:lnTo>
                    <a:lnTo>
                      <a:pt x="59" y="102"/>
                    </a:lnTo>
                    <a:lnTo>
                      <a:pt x="60" y="103"/>
                    </a:lnTo>
                    <a:lnTo>
                      <a:pt x="61" y="106"/>
                    </a:lnTo>
                    <a:lnTo>
                      <a:pt x="61" y="106"/>
                    </a:lnTo>
                    <a:lnTo>
                      <a:pt x="61" y="109"/>
                    </a:lnTo>
                    <a:lnTo>
                      <a:pt x="61" y="112"/>
                    </a:lnTo>
                    <a:lnTo>
                      <a:pt x="60" y="115"/>
                    </a:lnTo>
                    <a:lnTo>
                      <a:pt x="51" y="126"/>
                    </a:lnTo>
                    <a:lnTo>
                      <a:pt x="49" y="130"/>
                    </a:lnTo>
                    <a:lnTo>
                      <a:pt x="28" y="146"/>
                    </a:lnTo>
                    <a:lnTo>
                      <a:pt x="23" y="149"/>
                    </a:lnTo>
                    <a:lnTo>
                      <a:pt x="17" y="152"/>
                    </a:lnTo>
                    <a:lnTo>
                      <a:pt x="11" y="153"/>
                    </a:lnTo>
                    <a:lnTo>
                      <a:pt x="7" y="153"/>
                    </a:lnTo>
                    <a:lnTo>
                      <a:pt x="5" y="153"/>
                    </a:lnTo>
                    <a:lnTo>
                      <a:pt x="4" y="155"/>
                    </a:lnTo>
                    <a:lnTo>
                      <a:pt x="3" y="155"/>
                    </a:lnTo>
                    <a:lnTo>
                      <a:pt x="1" y="159"/>
                    </a:lnTo>
                    <a:lnTo>
                      <a:pt x="0" y="159"/>
                    </a:lnTo>
                    <a:lnTo>
                      <a:pt x="79" y="159"/>
                    </a:lnTo>
                    <a:lnTo>
                      <a:pt x="79" y="159"/>
                    </a:lnTo>
                    <a:lnTo>
                      <a:pt x="79" y="139"/>
                    </a:lnTo>
                    <a:lnTo>
                      <a:pt x="79" y="139"/>
                    </a:lnTo>
                    <a:lnTo>
                      <a:pt x="97" y="126"/>
                    </a:lnTo>
                    <a:lnTo>
                      <a:pt x="100" y="126"/>
                    </a:lnTo>
                    <a:lnTo>
                      <a:pt x="106" y="122"/>
                    </a:lnTo>
                    <a:lnTo>
                      <a:pt x="106" y="122"/>
                    </a:lnTo>
                    <a:lnTo>
                      <a:pt x="115" y="122"/>
                    </a:lnTo>
                    <a:lnTo>
                      <a:pt x="115" y="122"/>
                    </a:lnTo>
                    <a:lnTo>
                      <a:pt x="116" y="122"/>
                    </a:lnTo>
                    <a:lnTo>
                      <a:pt x="117" y="119"/>
                    </a:lnTo>
                    <a:lnTo>
                      <a:pt x="117" y="118"/>
                    </a:lnTo>
                    <a:lnTo>
                      <a:pt x="136" y="115"/>
                    </a:lnTo>
                    <a:lnTo>
                      <a:pt x="139" y="113"/>
                    </a:lnTo>
                    <a:lnTo>
                      <a:pt x="145" y="106"/>
                    </a:lnTo>
                    <a:lnTo>
                      <a:pt x="162" y="97"/>
                    </a:lnTo>
                    <a:lnTo>
                      <a:pt x="165" y="96"/>
                    </a:lnTo>
                    <a:lnTo>
                      <a:pt x="166" y="96"/>
                    </a:lnTo>
                    <a:lnTo>
                      <a:pt x="168" y="96"/>
                    </a:lnTo>
                    <a:lnTo>
                      <a:pt x="168" y="95"/>
                    </a:lnTo>
                    <a:lnTo>
                      <a:pt x="168" y="95"/>
                    </a:lnTo>
                    <a:lnTo>
                      <a:pt x="168" y="95"/>
                    </a:lnTo>
                    <a:lnTo>
                      <a:pt x="166" y="93"/>
                    </a:lnTo>
                    <a:lnTo>
                      <a:pt x="165" y="92"/>
                    </a:lnTo>
                    <a:lnTo>
                      <a:pt x="165" y="92"/>
                    </a:lnTo>
                    <a:lnTo>
                      <a:pt x="163" y="92"/>
                    </a:lnTo>
                    <a:lnTo>
                      <a:pt x="163" y="92"/>
                    </a:lnTo>
                    <a:lnTo>
                      <a:pt x="165" y="87"/>
                    </a:lnTo>
                    <a:lnTo>
                      <a:pt x="163" y="83"/>
                    </a:lnTo>
                    <a:lnTo>
                      <a:pt x="165" y="83"/>
                    </a:lnTo>
                    <a:lnTo>
                      <a:pt x="165" y="82"/>
                    </a:lnTo>
                    <a:lnTo>
                      <a:pt x="166" y="82"/>
                    </a:lnTo>
                    <a:lnTo>
                      <a:pt x="169" y="82"/>
                    </a:lnTo>
                    <a:lnTo>
                      <a:pt x="178" y="79"/>
                    </a:lnTo>
                    <a:lnTo>
                      <a:pt x="179" y="79"/>
                    </a:lnTo>
                    <a:lnTo>
                      <a:pt x="179" y="76"/>
                    </a:lnTo>
                    <a:lnTo>
                      <a:pt x="181" y="74"/>
                    </a:lnTo>
                    <a:lnTo>
                      <a:pt x="181" y="74"/>
                    </a:lnTo>
                    <a:lnTo>
                      <a:pt x="182" y="74"/>
                    </a:lnTo>
                    <a:lnTo>
                      <a:pt x="182" y="74"/>
                    </a:lnTo>
                    <a:lnTo>
                      <a:pt x="186" y="74"/>
                    </a:lnTo>
                    <a:lnTo>
                      <a:pt x="189" y="74"/>
                    </a:lnTo>
                    <a:lnTo>
                      <a:pt x="191" y="74"/>
                    </a:lnTo>
                    <a:lnTo>
                      <a:pt x="194" y="74"/>
                    </a:lnTo>
                    <a:lnTo>
                      <a:pt x="198" y="74"/>
                    </a:lnTo>
                    <a:lnTo>
                      <a:pt x="199" y="74"/>
                    </a:lnTo>
                    <a:lnTo>
                      <a:pt x="205" y="74"/>
                    </a:lnTo>
                    <a:lnTo>
                      <a:pt x="207" y="74"/>
                    </a:lnTo>
                    <a:lnTo>
                      <a:pt x="208" y="74"/>
                    </a:lnTo>
                    <a:lnTo>
                      <a:pt x="208" y="74"/>
                    </a:lnTo>
                    <a:lnTo>
                      <a:pt x="209" y="74"/>
                    </a:lnTo>
                    <a:lnTo>
                      <a:pt x="209" y="74"/>
                    </a:lnTo>
                    <a:lnTo>
                      <a:pt x="209" y="73"/>
                    </a:lnTo>
                    <a:lnTo>
                      <a:pt x="209" y="73"/>
                    </a:lnTo>
                    <a:lnTo>
                      <a:pt x="209" y="72"/>
                    </a:lnTo>
                    <a:lnTo>
                      <a:pt x="209" y="72"/>
                    </a:lnTo>
                    <a:lnTo>
                      <a:pt x="209" y="72"/>
                    </a:lnTo>
                    <a:lnTo>
                      <a:pt x="209" y="70"/>
                    </a:lnTo>
                    <a:lnTo>
                      <a:pt x="209" y="70"/>
                    </a:lnTo>
                    <a:lnTo>
                      <a:pt x="212" y="69"/>
                    </a:lnTo>
                    <a:lnTo>
                      <a:pt x="212" y="67"/>
                    </a:lnTo>
                    <a:lnTo>
                      <a:pt x="212" y="67"/>
                    </a:lnTo>
                    <a:lnTo>
                      <a:pt x="212" y="67"/>
                    </a:lnTo>
                    <a:lnTo>
                      <a:pt x="212" y="67"/>
                    </a:lnTo>
                    <a:lnTo>
                      <a:pt x="212" y="6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30" name="Freeform 217">
                <a:extLst>
                  <a:ext uri="{FF2B5EF4-FFF2-40B4-BE49-F238E27FC236}">
                    <a16:creationId xmlns:a16="http://schemas.microsoft.com/office/drawing/2014/main" id="{6C9362CF-AA46-36F7-FD09-7D147BA0F6AD}"/>
                  </a:ext>
                </a:extLst>
              </p:cNvPr>
              <p:cNvSpPr>
                <a:spLocks/>
              </p:cNvSpPr>
              <p:nvPr/>
            </p:nvSpPr>
            <p:spPr bwMode="auto">
              <a:xfrm>
                <a:off x="3247" y="2210"/>
                <a:ext cx="148" cy="132"/>
              </a:xfrm>
              <a:custGeom>
                <a:avLst/>
                <a:gdLst>
                  <a:gd name="T0" fmla="*/ 148 w 148"/>
                  <a:gd name="T1" fmla="*/ 9 h 132"/>
                  <a:gd name="T2" fmla="*/ 148 w 148"/>
                  <a:gd name="T3" fmla="*/ 0 h 132"/>
                  <a:gd name="T4" fmla="*/ 66 w 148"/>
                  <a:gd name="T5" fmla="*/ 12 h 132"/>
                  <a:gd name="T6" fmla="*/ 59 w 148"/>
                  <a:gd name="T7" fmla="*/ 22 h 132"/>
                  <a:gd name="T8" fmla="*/ 51 w 148"/>
                  <a:gd name="T9" fmla="*/ 26 h 132"/>
                  <a:gd name="T10" fmla="*/ 47 w 148"/>
                  <a:gd name="T11" fmla="*/ 30 h 132"/>
                  <a:gd name="T12" fmla="*/ 40 w 148"/>
                  <a:gd name="T13" fmla="*/ 46 h 132"/>
                  <a:gd name="T14" fmla="*/ 39 w 148"/>
                  <a:gd name="T15" fmla="*/ 55 h 132"/>
                  <a:gd name="T16" fmla="*/ 37 w 148"/>
                  <a:gd name="T17" fmla="*/ 61 h 132"/>
                  <a:gd name="T18" fmla="*/ 23 w 148"/>
                  <a:gd name="T19" fmla="*/ 73 h 132"/>
                  <a:gd name="T20" fmla="*/ 20 w 148"/>
                  <a:gd name="T21" fmla="*/ 79 h 132"/>
                  <a:gd name="T22" fmla="*/ 23 w 148"/>
                  <a:gd name="T23" fmla="*/ 78 h 132"/>
                  <a:gd name="T24" fmla="*/ 18 w 148"/>
                  <a:gd name="T25" fmla="*/ 85 h 132"/>
                  <a:gd name="T26" fmla="*/ 14 w 148"/>
                  <a:gd name="T27" fmla="*/ 95 h 132"/>
                  <a:gd name="T28" fmla="*/ 11 w 148"/>
                  <a:gd name="T29" fmla="*/ 102 h 132"/>
                  <a:gd name="T30" fmla="*/ 7 w 148"/>
                  <a:gd name="T31" fmla="*/ 107 h 132"/>
                  <a:gd name="T32" fmla="*/ 4 w 148"/>
                  <a:gd name="T33" fmla="*/ 109 h 132"/>
                  <a:gd name="T34" fmla="*/ 0 w 148"/>
                  <a:gd name="T35" fmla="*/ 125 h 132"/>
                  <a:gd name="T36" fmla="*/ 1 w 148"/>
                  <a:gd name="T37" fmla="*/ 132 h 132"/>
                  <a:gd name="T38" fmla="*/ 1 w 148"/>
                  <a:gd name="T39" fmla="*/ 131 h 132"/>
                  <a:gd name="T40" fmla="*/ 1 w 148"/>
                  <a:gd name="T41" fmla="*/ 128 h 132"/>
                  <a:gd name="T42" fmla="*/ 1 w 148"/>
                  <a:gd name="T43" fmla="*/ 124 h 132"/>
                  <a:gd name="T44" fmla="*/ 3 w 148"/>
                  <a:gd name="T45" fmla="*/ 124 h 132"/>
                  <a:gd name="T46" fmla="*/ 4 w 148"/>
                  <a:gd name="T47" fmla="*/ 124 h 132"/>
                  <a:gd name="T48" fmla="*/ 30 w 148"/>
                  <a:gd name="T49" fmla="*/ 124 h 132"/>
                  <a:gd name="T50" fmla="*/ 37 w 148"/>
                  <a:gd name="T51" fmla="*/ 124 h 132"/>
                  <a:gd name="T52" fmla="*/ 47 w 148"/>
                  <a:gd name="T53" fmla="*/ 124 h 132"/>
                  <a:gd name="T54" fmla="*/ 54 w 148"/>
                  <a:gd name="T55" fmla="*/ 124 h 132"/>
                  <a:gd name="T56" fmla="*/ 67 w 148"/>
                  <a:gd name="T57" fmla="*/ 124 h 132"/>
                  <a:gd name="T58" fmla="*/ 72 w 148"/>
                  <a:gd name="T59" fmla="*/ 119 h 132"/>
                  <a:gd name="T60" fmla="*/ 72 w 148"/>
                  <a:gd name="T61" fmla="*/ 115 h 132"/>
                  <a:gd name="T62" fmla="*/ 70 w 148"/>
                  <a:gd name="T63" fmla="*/ 109 h 132"/>
                  <a:gd name="T64" fmla="*/ 70 w 148"/>
                  <a:gd name="T65" fmla="*/ 101 h 132"/>
                  <a:gd name="T66" fmla="*/ 70 w 148"/>
                  <a:gd name="T67" fmla="*/ 99 h 132"/>
                  <a:gd name="T68" fmla="*/ 69 w 148"/>
                  <a:gd name="T69" fmla="*/ 96 h 132"/>
                  <a:gd name="T70" fmla="*/ 69 w 148"/>
                  <a:gd name="T71" fmla="*/ 95 h 132"/>
                  <a:gd name="T72" fmla="*/ 70 w 148"/>
                  <a:gd name="T73" fmla="*/ 94 h 132"/>
                  <a:gd name="T74" fmla="*/ 76 w 148"/>
                  <a:gd name="T75" fmla="*/ 88 h 132"/>
                  <a:gd name="T76" fmla="*/ 79 w 148"/>
                  <a:gd name="T77" fmla="*/ 86 h 132"/>
                  <a:gd name="T78" fmla="*/ 80 w 148"/>
                  <a:gd name="T79" fmla="*/ 86 h 132"/>
                  <a:gd name="T80" fmla="*/ 83 w 148"/>
                  <a:gd name="T81" fmla="*/ 85 h 132"/>
                  <a:gd name="T82" fmla="*/ 86 w 148"/>
                  <a:gd name="T83" fmla="*/ 84 h 132"/>
                  <a:gd name="T84" fmla="*/ 89 w 148"/>
                  <a:gd name="T85" fmla="*/ 82 h 132"/>
                  <a:gd name="T86" fmla="*/ 106 w 148"/>
                  <a:gd name="T87" fmla="*/ 33 h 132"/>
                  <a:gd name="T88" fmla="*/ 148 w 148"/>
                  <a:gd name="T89" fmla="*/ 33 h 132"/>
                  <a:gd name="T90" fmla="*/ 148 w 148"/>
                  <a:gd name="T91" fmla="*/ 2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8" h="132">
                    <a:moveTo>
                      <a:pt x="148" y="26"/>
                    </a:moveTo>
                    <a:lnTo>
                      <a:pt x="148" y="9"/>
                    </a:lnTo>
                    <a:lnTo>
                      <a:pt x="148" y="9"/>
                    </a:lnTo>
                    <a:lnTo>
                      <a:pt x="148" y="0"/>
                    </a:lnTo>
                    <a:lnTo>
                      <a:pt x="69" y="0"/>
                    </a:lnTo>
                    <a:lnTo>
                      <a:pt x="66" y="12"/>
                    </a:lnTo>
                    <a:lnTo>
                      <a:pt x="63" y="17"/>
                    </a:lnTo>
                    <a:lnTo>
                      <a:pt x="59" y="22"/>
                    </a:lnTo>
                    <a:lnTo>
                      <a:pt x="57" y="23"/>
                    </a:lnTo>
                    <a:lnTo>
                      <a:pt x="51" y="26"/>
                    </a:lnTo>
                    <a:lnTo>
                      <a:pt x="49" y="28"/>
                    </a:lnTo>
                    <a:lnTo>
                      <a:pt x="47" y="30"/>
                    </a:lnTo>
                    <a:lnTo>
                      <a:pt x="46" y="32"/>
                    </a:lnTo>
                    <a:lnTo>
                      <a:pt x="40" y="46"/>
                    </a:lnTo>
                    <a:lnTo>
                      <a:pt x="40" y="49"/>
                    </a:lnTo>
                    <a:lnTo>
                      <a:pt x="39" y="55"/>
                    </a:lnTo>
                    <a:lnTo>
                      <a:pt x="39" y="58"/>
                    </a:lnTo>
                    <a:lnTo>
                      <a:pt x="37" y="61"/>
                    </a:lnTo>
                    <a:lnTo>
                      <a:pt x="27" y="71"/>
                    </a:lnTo>
                    <a:lnTo>
                      <a:pt x="23" y="73"/>
                    </a:lnTo>
                    <a:lnTo>
                      <a:pt x="21" y="76"/>
                    </a:lnTo>
                    <a:lnTo>
                      <a:pt x="20" y="79"/>
                    </a:lnTo>
                    <a:lnTo>
                      <a:pt x="23" y="75"/>
                    </a:lnTo>
                    <a:lnTo>
                      <a:pt x="23" y="78"/>
                    </a:lnTo>
                    <a:lnTo>
                      <a:pt x="20" y="82"/>
                    </a:lnTo>
                    <a:lnTo>
                      <a:pt x="18" y="85"/>
                    </a:lnTo>
                    <a:lnTo>
                      <a:pt x="16" y="88"/>
                    </a:lnTo>
                    <a:lnTo>
                      <a:pt x="14" y="95"/>
                    </a:lnTo>
                    <a:lnTo>
                      <a:pt x="13" y="99"/>
                    </a:lnTo>
                    <a:lnTo>
                      <a:pt x="11" y="102"/>
                    </a:lnTo>
                    <a:lnTo>
                      <a:pt x="10" y="104"/>
                    </a:lnTo>
                    <a:lnTo>
                      <a:pt x="7" y="107"/>
                    </a:lnTo>
                    <a:lnTo>
                      <a:pt x="6" y="108"/>
                    </a:lnTo>
                    <a:lnTo>
                      <a:pt x="4" y="109"/>
                    </a:lnTo>
                    <a:lnTo>
                      <a:pt x="3" y="112"/>
                    </a:lnTo>
                    <a:lnTo>
                      <a:pt x="0" y="125"/>
                    </a:lnTo>
                    <a:lnTo>
                      <a:pt x="0" y="130"/>
                    </a:lnTo>
                    <a:lnTo>
                      <a:pt x="1" y="132"/>
                    </a:lnTo>
                    <a:lnTo>
                      <a:pt x="1" y="132"/>
                    </a:lnTo>
                    <a:lnTo>
                      <a:pt x="1" y="131"/>
                    </a:lnTo>
                    <a:lnTo>
                      <a:pt x="1" y="130"/>
                    </a:lnTo>
                    <a:lnTo>
                      <a:pt x="1" y="128"/>
                    </a:lnTo>
                    <a:lnTo>
                      <a:pt x="1" y="125"/>
                    </a:lnTo>
                    <a:lnTo>
                      <a:pt x="1" y="124"/>
                    </a:lnTo>
                    <a:lnTo>
                      <a:pt x="3" y="124"/>
                    </a:lnTo>
                    <a:lnTo>
                      <a:pt x="3" y="124"/>
                    </a:lnTo>
                    <a:lnTo>
                      <a:pt x="3" y="124"/>
                    </a:lnTo>
                    <a:lnTo>
                      <a:pt x="4" y="124"/>
                    </a:lnTo>
                    <a:lnTo>
                      <a:pt x="8" y="124"/>
                    </a:lnTo>
                    <a:lnTo>
                      <a:pt x="30" y="124"/>
                    </a:lnTo>
                    <a:lnTo>
                      <a:pt x="34" y="124"/>
                    </a:lnTo>
                    <a:lnTo>
                      <a:pt x="37" y="124"/>
                    </a:lnTo>
                    <a:lnTo>
                      <a:pt x="44" y="124"/>
                    </a:lnTo>
                    <a:lnTo>
                      <a:pt x="47" y="124"/>
                    </a:lnTo>
                    <a:lnTo>
                      <a:pt x="51" y="124"/>
                    </a:lnTo>
                    <a:lnTo>
                      <a:pt x="54" y="124"/>
                    </a:lnTo>
                    <a:lnTo>
                      <a:pt x="62" y="124"/>
                    </a:lnTo>
                    <a:lnTo>
                      <a:pt x="67" y="124"/>
                    </a:lnTo>
                    <a:lnTo>
                      <a:pt x="72" y="124"/>
                    </a:lnTo>
                    <a:lnTo>
                      <a:pt x="72" y="119"/>
                    </a:lnTo>
                    <a:lnTo>
                      <a:pt x="72" y="117"/>
                    </a:lnTo>
                    <a:lnTo>
                      <a:pt x="72" y="115"/>
                    </a:lnTo>
                    <a:lnTo>
                      <a:pt x="72" y="112"/>
                    </a:lnTo>
                    <a:lnTo>
                      <a:pt x="70" y="109"/>
                    </a:lnTo>
                    <a:lnTo>
                      <a:pt x="70" y="102"/>
                    </a:lnTo>
                    <a:lnTo>
                      <a:pt x="70" y="101"/>
                    </a:lnTo>
                    <a:lnTo>
                      <a:pt x="70" y="99"/>
                    </a:lnTo>
                    <a:lnTo>
                      <a:pt x="70" y="99"/>
                    </a:lnTo>
                    <a:lnTo>
                      <a:pt x="69" y="98"/>
                    </a:lnTo>
                    <a:lnTo>
                      <a:pt x="69" y="96"/>
                    </a:lnTo>
                    <a:lnTo>
                      <a:pt x="69" y="95"/>
                    </a:lnTo>
                    <a:lnTo>
                      <a:pt x="69" y="95"/>
                    </a:lnTo>
                    <a:lnTo>
                      <a:pt x="70" y="94"/>
                    </a:lnTo>
                    <a:lnTo>
                      <a:pt x="70" y="94"/>
                    </a:lnTo>
                    <a:lnTo>
                      <a:pt x="72" y="92"/>
                    </a:lnTo>
                    <a:lnTo>
                      <a:pt x="76" y="88"/>
                    </a:lnTo>
                    <a:lnTo>
                      <a:pt x="79" y="86"/>
                    </a:lnTo>
                    <a:lnTo>
                      <a:pt x="79" y="86"/>
                    </a:lnTo>
                    <a:lnTo>
                      <a:pt x="80" y="86"/>
                    </a:lnTo>
                    <a:lnTo>
                      <a:pt x="80" y="86"/>
                    </a:lnTo>
                    <a:lnTo>
                      <a:pt x="82" y="85"/>
                    </a:lnTo>
                    <a:lnTo>
                      <a:pt x="83" y="85"/>
                    </a:lnTo>
                    <a:lnTo>
                      <a:pt x="83" y="85"/>
                    </a:lnTo>
                    <a:lnTo>
                      <a:pt x="86" y="84"/>
                    </a:lnTo>
                    <a:lnTo>
                      <a:pt x="87" y="84"/>
                    </a:lnTo>
                    <a:lnTo>
                      <a:pt x="89" y="82"/>
                    </a:lnTo>
                    <a:lnTo>
                      <a:pt x="89" y="33"/>
                    </a:lnTo>
                    <a:lnTo>
                      <a:pt x="106" y="33"/>
                    </a:lnTo>
                    <a:lnTo>
                      <a:pt x="129" y="33"/>
                    </a:lnTo>
                    <a:lnTo>
                      <a:pt x="148" y="33"/>
                    </a:lnTo>
                    <a:lnTo>
                      <a:pt x="148" y="26"/>
                    </a:lnTo>
                    <a:lnTo>
                      <a:pt x="148" y="2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31" name="Freeform 218">
                <a:extLst>
                  <a:ext uri="{FF2B5EF4-FFF2-40B4-BE49-F238E27FC236}">
                    <a16:creationId xmlns:a16="http://schemas.microsoft.com/office/drawing/2014/main" id="{6E0E60CC-6F71-BA49-99F8-78893E754CE7}"/>
                  </a:ext>
                </a:extLst>
              </p:cNvPr>
              <p:cNvSpPr>
                <a:spLocks/>
              </p:cNvSpPr>
              <p:nvPr/>
            </p:nvSpPr>
            <p:spPr bwMode="auto">
              <a:xfrm>
                <a:off x="4127" y="2453"/>
                <a:ext cx="264" cy="204"/>
              </a:xfrm>
              <a:custGeom>
                <a:avLst/>
                <a:gdLst>
                  <a:gd name="T0" fmla="*/ 218 w 264"/>
                  <a:gd name="T1" fmla="*/ 114 h 204"/>
                  <a:gd name="T2" fmla="*/ 191 w 264"/>
                  <a:gd name="T3" fmla="*/ 104 h 204"/>
                  <a:gd name="T4" fmla="*/ 185 w 264"/>
                  <a:gd name="T5" fmla="*/ 99 h 204"/>
                  <a:gd name="T6" fmla="*/ 181 w 264"/>
                  <a:gd name="T7" fmla="*/ 94 h 204"/>
                  <a:gd name="T8" fmla="*/ 178 w 264"/>
                  <a:gd name="T9" fmla="*/ 89 h 204"/>
                  <a:gd name="T10" fmla="*/ 174 w 264"/>
                  <a:gd name="T11" fmla="*/ 83 h 204"/>
                  <a:gd name="T12" fmla="*/ 171 w 264"/>
                  <a:gd name="T13" fmla="*/ 78 h 204"/>
                  <a:gd name="T14" fmla="*/ 174 w 264"/>
                  <a:gd name="T15" fmla="*/ 72 h 204"/>
                  <a:gd name="T16" fmla="*/ 175 w 264"/>
                  <a:gd name="T17" fmla="*/ 71 h 204"/>
                  <a:gd name="T18" fmla="*/ 160 w 264"/>
                  <a:gd name="T19" fmla="*/ 71 h 204"/>
                  <a:gd name="T20" fmla="*/ 155 w 264"/>
                  <a:gd name="T21" fmla="*/ 60 h 204"/>
                  <a:gd name="T22" fmla="*/ 119 w 264"/>
                  <a:gd name="T23" fmla="*/ 7 h 204"/>
                  <a:gd name="T24" fmla="*/ 106 w 264"/>
                  <a:gd name="T25" fmla="*/ 4 h 204"/>
                  <a:gd name="T26" fmla="*/ 96 w 264"/>
                  <a:gd name="T27" fmla="*/ 7 h 204"/>
                  <a:gd name="T28" fmla="*/ 81 w 264"/>
                  <a:gd name="T29" fmla="*/ 13 h 204"/>
                  <a:gd name="T30" fmla="*/ 73 w 264"/>
                  <a:gd name="T31" fmla="*/ 10 h 204"/>
                  <a:gd name="T32" fmla="*/ 62 w 264"/>
                  <a:gd name="T33" fmla="*/ 16 h 204"/>
                  <a:gd name="T34" fmla="*/ 59 w 264"/>
                  <a:gd name="T35" fmla="*/ 25 h 204"/>
                  <a:gd name="T36" fmla="*/ 56 w 264"/>
                  <a:gd name="T37" fmla="*/ 35 h 204"/>
                  <a:gd name="T38" fmla="*/ 56 w 264"/>
                  <a:gd name="T39" fmla="*/ 39 h 204"/>
                  <a:gd name="T40" fmla="*/ 49 w 264"/>
                  <a:gd name="T41" fmla="*/ 40 h 204"/>
                  <a:gd name="T42" fmla="*/ 40 w 264"/>
                  <a:gd name="T43" fmla="*/ 52 h 204"/>
                  <a:gd name="T44" fmla="*/ 35 w 264"/>
                  <a:gd name="T45" fmla="*/ 66 h 204"/>
                  <a:gd name="T46" fmla="*/ 33 w 264"/>
                  <a:gd name="T47" fmla="*/ 73 h 204"/>
                  <a:gd name="T48" fmla="*/ 26 w 264"/>
                  <a:gd name="T49" fmla="*/ 73 h 204"/>
                  <a:gd name="T50" fmla="*/ 23 w 264"/>
                  <a:gd name="T51" fmla="*/ 85 h 204"/>
                  <a:gd name="T52" fmla="*/ 20 w 264"/>
                  <a:gd name="T53" fmla="*/ 94 h 204"/>
                  <a:gd name="T54" fmla="*/ 20 w 264"/>
                  <a:gd name="T55" fmla="*/ 108 h 204"/>
                  <a:gd name="T56" fmla="*/ 19 w 264"/>
                  <a:gd name="T57" fmla="*/ 115 h 204"/>
                  <a:gd name="T58" fmla="*/ 16 w 264"/>
                  <a:gd name="T59" fmla="*/ 115 h 204"/>
                  <a:gd name="T60" fmla="*/ 6 w 264"/>
                  <a:gd name="T61" fmla="*/ 117 h 204"/>
                  <a:gd name="T62" fmla="*/ 0 w 264"/>
                  <a:gd name="T63" fmla="*/ 125 h 204"/>
                  <a:gd name="T64" fmla="*/ 3 w 264"/>
                  <a:gd name="T65" fmla="*/ 127 h 204"/>
                  <a:gd name="T66" fmla="*/ 12 w 264"/>
                  <a:gd name="T67" fmla="*/ 129 h 204"/>
                  <a:gd name="T68" fmla="*/ 17 w 264"/>
                  <a:gd name="T69" fmla="*/ 134 h 204"/>
                  <a:gd name="T70" fmla="*/ 19 w 264"/>
                  <a:gd name="T71" fmla="*/ 137 h 204"/>
                  <a:gd name="T72" fmla="*/ 26 w 264"/>
                  <a:gd name="T73" fmla="*/ 142 h 204"/>
                  <a:gd name="T74" fmla="*/ 29 w 264"/>
                  <a:gd name="T75" fmla="*/ 145 h 204"/>
                  <a:gd name="T76" fmla="*/ 35 w 264"/>
                  <a:gd name="T77" fmla="*/ 157 h 204"/>
                  <a:gd name="T78" fmla="*/ 36 w 264"/>
                  <a:gd name="T79" fmla="*/ 163 h 204"/>
                  <a:gd name="T80" fmla="*/ 42 w 264"/>
                  <a:gd name="T81" fmla="*/ 170 h 204"/>
                  <a:gd name="T82" fmla="*/ 49 w 264"/>
                  <a:gd name="T83" fmla="*/ 177 h 204"/>
                  <a:gd name="T84" fmla="*/ 71 w 264"/>
                  <a:gd name="T85" fmla="*/ 188 h 204"/>
                  <a:gd name="T86" fmla="*/ 109 w 264"/>
                  <a:gd name="T87" fmla="*/ 203 h 204"/>
                  <a:gd name="T88" fmla="*/ 121 w 264"/>
                  <a:gd name="T89" fmla="*/ 197 h 204"/>
                  <a:gd name="T90" fmla="*/ 141 w 264"/>
                  <a:gd name="T91" fmla="*/ 193 h 204"/>
                  <a:gd name="T92" fmla="*/ 158 w 264"/>
                  <a:gd name="T93" fmla="*/ 194 h 204"/>
                  <a:gd name="T94" fmla="*/ 161 w 264"/>
                  <a:gd name="T95" fmla="*/ 191 h 204"/>
                  <a:gd name="T96" fmla="*/ 170 w 264"/>
                  <a:gd name="T97" fmla="*/ 190 h 204"/>
                  <a:gd name="T98" fmla="*/ 175 w 264"/>
                  <a:gd name="T99" fmla="*/ 187 h 204"/>
                  <a:gd name="T100" fmla="*/ 177 w 264"/>
                  <a:gd name="T101" fmla="*/ 184 h 204"/>
                  <a:gd name="T102" fmla="*/ 191 w 264"/>
                  <a:gd name="T103" fmla="*/ 178 h 204"/>
                  <a:gd name="T104" fmla="*/ 208 w 264"/>
                  <a:gd name="T105" fmla="*/ 178 h 204"/>
                  <a:gd name="T106" fmla="*/ 230 w 264"/>
                  <a:gd name="T107" fmla="*/ 158 h 204"/>
                  <a:gd name="T108" fmla="*/ 257 w 264"/>
                  <a:gd name="T109" fmla="*/ 12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4" h="204">
                    <a:moveTo>
                      <a:pt x="247" y="124"/>
                    </a:moveTo>
                    <a:lnTo>
                      <a:pt x="246" y="122"/>
                    </a:lnTo>
                    <a:lnTo>
                      <a:pt x="234" y="119"/>
                    </a:lnTo>
                    <a:lnTo>
                      <a:pt x="231" y="118"/>
                    </a:lnTo>
                    <a:lnTo>
                      <a:pt x="224" y="115"/>
                    </a:lnTo>
                    <a:lnTo>
                      <a:pt x="218" y="114"/>
                    </a:lnTo>
                    <a:lnTo>
                      <a:pt x="216" y="112"/>
                    </a:lnTo>
                    <a:lnTo>
                      <a:pt x="210" y="111"/>
                    </a:lnTo>
                    <a:lnTo>
                      <a:pt x="197" y="106"/>
                    </a:lnTo>
                    <a:lnTo>
                      <a:pt x="195" y="106"/>
                    </a:lnTo>
                    <a:lnTo>
                      <a:pt x="194" y="105"/>
                    </a:lnTo>
                    <a:lnTo>
                      <a:pt x="191" y="104"/>
                    </a:lnTo>
                    <a:lnTo>
                      <a:pt x="187" y="99"/>
                    </a:lnTo>
                    <a:lnTo>
                      <a:pt x="187" y="99"/>
                    </a:lnTo>
                    <a:lnTo>
                      <a:pt x="187" y="99"/>
                    </a:lnTo>
                    <a:lnTo>
                      <a:pt x="187" y="99"/>
                    </a:lnTo>
                    <a:lnTo>
                      <a:pt x="187" y="99"/>
                    </a:lnTo>
                    <a:lnTo>
                      <a:pt x="185" y="99"/>
                    </a:lnTo>
                    <a:lnTo>
                      <a:pt x="185" y="99"/>
                    </a:lnTo>
                    <a:lnTo>
                      <a:pt x="185" y="98"/>
                    </a:lnTo>
                    <a:lnTo>
                      <a:pt x="184" y="98"/>
                    </a:lnTo>
                    <a:lnTo>
                      <a:pt x="184" y="96"/>
                    </a:lnTo>
                    <a:lnTo>
                      <a:pt x="183" y="96"/>
                    </a:lnTo>
                    <a:lnTo>
                      <a:pt x="181" y="94"/>
                    </a:lnTo>
                    <a:lnTo>
                      <a:pt x="180" y="91"/>
                    </a:lnTo>
                    <a:lnTo>
                      <a:pt x="180" y="91"/>
                    </a:lnTo>
                    <a:lnTo>
                      <a:pt x="180" y="89"/>
                    </a:lnTo>
                    <a:lnTo>
                      <a:pt x="180" y="89"/>
                    </a:lnTo>
                    <a:lnTo>
                      <a:pt x="178" y="89"/>
                    </a:lnTo>
                    <a:lnTo>
                      <a:pt x="178" y="89"/>
                    </a:lnTo>
                    <a:lnTo>
                      <a:pt x="177" y="88"/>
                    </a:lnTo>
                    <a:lnTo>
                      <a:pt x="177" y="88"/>
                    </a:lnTo>
                    <a:lnTo>
                      <a:pt x="175" y="86"/>
                    </a:lnTo>
                    <a:lnTo>
                      <a:pt x="175" y="85"/>
                    </a:lnTo>
                    <a:lnTo>
                      <a:pt x="174" y="85"/>
                    </a:lnTo>
                    <a:lnTo>
                      <a:pt x="174" y="83"/>
                    </a:lnTo>
                    <a:lnTo>
                      <a:pt x="174" y="83"/>
                    </a:lnTo>
                    <a:lnTo>
                      <a:pt x="174" y="83"/>
                    </a:lnTo>
                    <a:lnTo>
                      <a:pt x="172" y="82"/>
                    </a:lnTo>
                    <a:lnTo>
                      <a:pt x="172" y="81"/>
                    </a:lnTo>
                    <a:lnTo>
                      <a:pt x="172" y="79"/>
                    </a:lnTo>
                    <a:lnTo>
                      <a:pt x="171" y="78"/>
                    </a:lnTo>
                    <a:lnTo>
                      <a:pt x="171" y="78"/>
                    </a:lnTo>
                    <a:lnTo>
                      <a:pt x="171" y="78"/>
                    </a:lnTo>
                    <a:lnTo>
                      <a:pt x="171" y="78"/>
                    </a:lnTo>
                    <a:lnTo>
                      <a:pt x="171" y="76"/>
                    </a:lnTo>
                    <a:lnTo>
                      <a:pt x="172" y="75"/>
                    </a:lnTo>
                    <a:lnTo>
                      <a:pt x="174" y="72"/>
                    </a:lnTo>
                    <a:lnTo>
                      <a:pt x="174" y="71"/>
                    </a:lnTo>
                    <a:lnTo>
                      <a:pt x="175" y="71"/>
                    </a:lnTo>
                    <a:lnTo>
                      <a:pt x="175" y="71"/>
                    </a:lnTo>
                    <a:lnTo>
                      <a:pt x="175" y="71"/>
                    </a:lnTo>
                    <a:lnTo>
                      <a:pt x="175" y="71"/>
                    </a:lnTo>
                    <a:lnTo>
                      <a:pt x="175" y="71"/>
                    </a:lnTo>
                    <a:lnTo>
                      <a:pt x="174" y="69"/>
                    </a:lnTo>
                    <a:lnTo>
                      <a:pt x="172" y="69"/>
                    </a:lnTo>
                    <a:lnTo>
                      <a:pt x="172" y="69"/>
                    </a:lnTo>
                    <a:lnTo>
                      <a:pt x="171" y="69"/>
                    </a:lnTo>
                    <a:lnTo>
                      <a:pt x="170" y="69"/>
                    </a:lnTo>
                    <a:lnTo>
                      <a:pt x="160" y="71"/>
                    </a:lnTo>
                    <a:lnTo>
                      <a:pt x="158" y="71"/>
                    </a:lnTo>
                    <a:lnTo>
                      <a:pt x="157" y="71"/>
                    </a:lnTo>
                    <a:lnTo>
                      <a:pt x="155" y="69"/>
                    </a:lnTo>
                    <a:lnTo>
                      <a:pt x="155" y="69"/>
                    </a:lnTo>
                    <a:lnTo>
                      <a:pt x="155" y="66"/>
                    </a:lnTo>
                    <a:lnTo>
                      <a:pt x="155" y="60"/>
                    </a:lnTo>
                    <a:lnTo>
                      <a:pt x="158" y="55"/>
                    </a:lnTo>
                    <a:lnTo>
                      <a:pt x="165" y="43"/>
                    </a:lnTo>
                    <a:lnTo>
                      <a:pt x="137" y="14"/>
                    </a:lnTo>
                    <a:lnTo>
                      <a:pt x="132" y="10"/>
                    </a:lnTo>
                    <a:lnTo>
                      <a:pt x="125" y="7"/>
                    </a:lnTo>
                    <a:lnTo>
                      <a:pt x="119" y="7"/>
                    </a:lnTo>
                    <a:lnTo>
                      <a:pt x="111" y="6"/>
                    </a:lnTo>
                    <a:lnTo>
                      <a:pt x="109" y="6"/>
                    </a:lnTo>
                    <a:lnTo>
                      <a:pt x="108" y="6"/>
                    </a:lnTo>
                    <a:lnTo>
                      <a:pt x="108" y="6"/>
                    </a:lnTo>
                    <a:lnTo>
                      <a:pt x="108" y="4"/>
                    </a:lnTo>
                    <a:lnTo>
                      <a:pt x="106" y="4"/>
                    </a:lnTo>
                    <a:lnTo>
                      <a:pt x="105" y="6"/>
                    </a:lnTo>
                    <a:lnTo>
                      <a:pt x="101" y="7"/>
                    </a:lnTo>
                    <a:lnTo>
                      <a:pt x="99" y="7"/>
                    </a:lnTo>
                    <a:lnTo>
                      <a:pt x="98" y="7"/>
                    </a:lnTo>
                    <a:lnTo>
                      <a:pt x="96" y="7"/>
                    </a:lnTo>
                    <a:lnTo>
                      <a:pt x="96" y="7"/>
                    </a:lnTo>
                    <a:lnTo>
                      <a:pt x="93" y="6"/>
                    </a:lnTo>
                    <a:lnTo>
                      <a:pt x="89" y="2"/>
                    </a:lnTo>
                    <a:lnTo>
                      <a:pt x="86" y="0"/>
                    </a:lnTo>
                    <a:lnTo>
                      <a:pt x="83" y="7"/>
                    </a:lnTo>
                    <a:lnTo>
                      <a:pt x="82" y="10"/>
                    </a:lnTo>
                    <a:lnTo>
                      <a:pt x="81" y="13"/>
                    </a:lnTo>
                    <a:lnTo>
                      <a:pt x="81" y="12"/>
                    </a:lnTo>
                    <a:lnTo>
                      <a:pt x="79" y="10"/>
                    </a:lnTo>
                    <a:lnTo>
                      <a:pt x="76" y="9"/>
                    </a:lnTo>
                    <a:lnTo>
                      <a:pt x="75" y="7"/>
                    </a:lnTo>
                    <a:lnTo>
                      <a:pt x="73" y="9"/>
                    </a:lnTo>
                    <a:lnTo>
                      <a:pt x="73" y="10"/>
                    </a:lnTo>
                    <a:lnTo>
                      <a:pt x="72" y="10"/>
                    </a:lnTo>
                    <a:lnTo>
                      <a:pt x="69" y="12"/>
                    </a:lnTo>
                    <a:lnTo>
                      <a:pt x="65" y="10"/>
                    </a:lnTo>
                    <a:lnTo>
                      <a:pt x="63" y="12"/>
                    </a:lnTo>
                    <a:lnTo>
                      <a:pt x="62" y="14"/>
                    </a:lnTo>
                    <a:lnTo>
                      <a:pt x="62" y="16"/>
                    </a:lnTo>
                    <a:lnTo>
                      <a:pt x="62" y="17"/>
                    </a:lnTo>
                    <a:lnTo>
                      <a:pt x="62" y="19"/>
                    </a:lnTo>
                    <a:lnTo>
                      <a:pt x="60" y="20"/>
                    </a:lnTo>
                    <a:lnTo>
                      <a:pt x="60" y="22"/>
                    </a:lnTo>
                    <a:lnTo>
                      <a:pt x="60" y="23"/>
                    </a:lnTo>
                    <a:lnTo>
                      <a:pt x="59" y="25"/>
                    </a:lnTo>
                    <a:lnTo>
                      <a:pt x="59" y="26"/>
                    </a:lnTo>
                    <a:lnTo>
                      <a:pt x="58" y="27"/>
                    </a:lnTo>
                    <a:lnTo>
                      <a:pt x="58" y="29"/>
                    </a:lnTo>
                    <a:lnTo>
                      <a:pt x="56" y="32"/>
                    </a:lnTo>
                    <a:lnTo>
                      <a:pt x="56" y="33"/>
                    </a:lnTo>
                    <a:lnTo>
                      <a:pt x="56" y="35"/>
                    </a:lnTo>
                    <a:lnTo>
                      <a:pt x="56" y="36"/>
                    </a:lnTo>
                    <a:lnTo>
                      <a:pt x="56" y="37"/>
                    </a:lnTo>
                    <a:lnTo>
                      <a:pt x="56" y="37"/>
                    </a:lnTo>
                    <a:lnTo>
                      <a:pt x="56" y="37"/>
                    </a:lnTo>
                    <a:lnTo>
                      <a:pt x="56" y="37"/>
                    </a:lnTo>
                    <a:lnTo>
                      <a:pt x="56" y="39"/>
                    </a:lnTo>
                    <a:lnTo>
                      <a:pt x="56" y="39"/>
                    </a:lnTo>
                    <a:lnTo>
                      <a:pt x="56" y="39"/>
                    </a:lnTo>
                    <a:lnTo>
                      <a:pt x="55" y="39"/>
                    </a:lnTo>
                    <a:lnTo>
                      <a:pt x="53" y="39"/>
                    </a:lnTo>
                    <a:lnTo>
                      <a:pt x="50" y="39"/>
                    </a:lnTo>
                    <a:lnTo>
                      <a:pt x="49" y="40"/>
                    </a:lnTo>
                    <a:lnTo>
                      <a:pt x="48" y="42"/>
                    </a:lnTo>
                    <a:lnTo>
                      <a:pt x="46" y="43"/>
                    </a:lnTo>
                    <a:lnTo>
                      <a:pt x="45" y="45"/>
                    </a:lnTo>
                    <a:lnTo>
                      <a:pt x="42" y="49"/>
                    </a:lnTo>
                    <a:lnTo>
                      <a:pt x="42" y="50"/>
                    </a:lnTo>
                    <a:lnTo>
                      <a:pt x="40" y="52"/>
                    </a:lnTo>
                    <a:lnTo>
                      <a:pt x="39" y="55"/>
                    </a:lnTo>
                    <a:lnTo>
                      <a:pt x="37" y="56"/>
                    </a:lnTo>
                    <a:lnTo>
                      <a:pt x="37" y="58"/>
                    </a:lnTo>
                    <a:lnTo>
                      <a:pt x="36" y="60"/>
                    </a:lnTo>
                    <a:lnTo>
                      <a:pt x="36" y="65"/>
                    </a:lnTo>
                    <a:lnTo>
                      <a:pt x="35" y="66"/>
                    </a:lnTo>
                    <a:lnTo>
                      <a:pt x="36" y="66"/>
                    </a:lnTo>
                    <a:lnTo>
                      <a:pt x="35" y="69"/>
                    </a:lnTo>
                    <a:lnTo>
                      <a:pt x="35" y="71"/>
                    </a:lnTo>
                    <a:lnTo>
                      <a:pt x="35" y="72"/>
                    </a:lnTo>
                    <a:lnTo>
                      <a:pt x="35" y="73"/>
                    </a:lnTo>
                    <a:lnTo>
                      <a:pt x="33" y="73"/>
                    </a:lnTo>
                    <a:lnTo>
                      <a:pt x="33" y="73"/>
                    </a:lnTo>
                    <a:lnTo>
                      <a:pt x="33" y="75"/>
                    </a:lnTo>
                    <a:lnTo>
                      <a:pt x="30" y="73"/>
                    </a:lnTo>
                    <a:lnTo>
                      <a:pt x="29" y="73"/>
                    </a:lnTo>
                    <a:lnTo>
                      <a:pt x="29" y="72"/>
                    </a:lnTo>
                    <a:lnTo>
                      <a:pt x="26" y="73"/>
                    </a:lnTo>
                    <a:lnTo>
                      <a:pt x="25" y="75"/>
                    </a:lnTo>
                    <a:lnTo>
                      <a:pt x="23" y="78"/>
                    </a:lnTo>
                    <a:lnTo>
                      <a:pt x="23" y="81"/>
                    </a:lnTo>
                    <a:lnTo>
                      <a:pt x="25" y="83"/>
                    </a:lnTo>
                    <a:lnTo>
                      <a:pt x="23" y="85"/>
                    </a:lnTo>
                    <a:lnTo>
                      <a:pt x="23" y="85"/>
                    </a:lnTo>
                    <a:lnTo>
                      <a:pt x="23" y="86"/>
                    </a:lnTo>
                    <a:lnTo>
                      <a:pt x="23" y="88"/>
                    </a:lnTo>
                    <a:lnTo>
                      <a:pt x="22" y="89"/>
                    </a:lnTo>
                    <a:lnTo>
                      <a:pt x="20" y="92"/>
                    </a:lnTo>
                    <a:lnTo>
                      <a:pt x="20" y="92"/>
                    </a:lnTo>
                    <a:lnTo>
                      <a:pt x="20" y="94"/>
                    </a:lnTo>
                    <a:lnTo>
                      <a:pt x="20" y="96"/>
                    </a:lnTo>
                    <a:lnTo>
                      <a:pt x="20" y="96"/>
                    </a:lnTo>
                    <a:lnTo>
                      <a:pt x="20" y="98"/>
                    </a:lnTo>
                    <a:lnTo>
                      <a:pt x="20" y="99"/>
                    </a:lnTo>
                    <a:lnTo>
                      <a:pt x="20" y="104"/>
                    </a:lnTo>
                    <a:lnTo>
                      <a:pt x="20" y="108"/>
                    </a:lnTo>
                    <a:lnTo>
                      <a:pt x="20" y="109"/>
                    </a:lnTo>
                    <a:lnTo>
                      <a:pt x="20" y="111"/>
                    </a:lnTo>
                    <a:lnTo>
                      <a:pt x="20" y="112"/>
                    </a:lnTo>
                    <a:lnTo>
                      <a:pt x="20" y="112"/>
                    </a:lnTo>
                    <a:lnTo>
                      <a:pt x="20" y="114"/>
                    </a:lnTo>
                    <a:lnTo>
                      <a:pt x="19" y="115"/>
                    </a:lnTo>
                    <a:lnTo>
                      <a:pt x="19" y="115"/>
                    </a:lnTo>
                    <a:lnTo>
                      <a:pt x="17" y="115"/>
                    </a:lnTo>
                    <a:lnTo>
                      <a:pt x="17" y="115"/>
                    </a:lnTo>
                    <a:lnTo>
                      <a:pt x="16" y="115"/>
                    </a:lnTo>
                    <a:lnTo>
                      <a:pt x="16" y="115"/>
                    </a:lnTo>
                    <a:lnTo>
                      <a:pt x="16" y="115"/>
                    </a:lnTo>
                    <a:lnTo>
                      <a:pt x="15" y="115"/>
                    </a:lnTo>
                    <a:lnTo>
                      <a:pt x="9" y="115"/>
                    </a:lnTo>
                    <a:lnTo>
                      <a:pt x="7" y="115"/>
                    </a:lnTo>
                    <a:lnTo>
                      <a:pt x="7" y="115"/>
                    </a:lnTo>
                    <a:lnTo>
                      <a:pt x="6" y="115"/>
                    </a:lnTo>
                    <a:lnTo>
                      <a:pt x="6" y="117"/>
                    </a:lnTo>
                    <a:lnTo>
                      <a:pt x="4" y="117"/>
                    </a:lnTo>
                    <a:lnTo>
                      <a:pt x="4" y="118"/>
                    </a:lnTo>
                    <a:lnTo>
                      <a:pt x="3" y="122"/>
                    </a:lnTo>
                    <a:lnTo>
                      <a:pt x="2" y="124"/>
                    </a:lnTo>
                    <a:lnTo>
                      <a:pt x="0" y="125"/>
                    </a:lnTo>
                    <a:lnTo>
                      <a:pt x="0" y="125"/>
                    </a:lnTo>
                    <a:lnTo>
                      <a:pt x="0" y="125"/>
                    </a:lnTo>
                    <a:lnTo>
                      <a:pt x="2" y="125"/>
                    </a:lnTo>
                    <a:lnTo>
                      <a:pt x="2" y="127"/>
                    </a:lnTo>
                    <a:lnTo>
                      <a:pt x="2" y="127"/>
                    </a:lnTo>
                    <a:lnTo>
                      <a:pt x="3" y="127"/>
                    </a:lnTo>
                    <a:lnTo>
                      <a:pt x="3" y="127"/>
                    </a:lnTo>
                    <a:lnTo>
                      <a:pt x="4" y="128"/>
                    </a:lnTo>
                    <a:lnTo>
                      <a:pt x="4" y="128"/>
                    </a:lnTo>
                    <a:lnTo>
                      <a:pt x="6" y="128"/>
                    </a:lnTo>
                    <a:lnTo>
                      <a:pt x="6" y="128"/>
                    </a:lnTo>
                    <a:lnTo>
                      <a:pt x="12" y="129"/>
                    </a:lnTo>
                    <a:lnTo>
                      <a:pt x="12" y="129"/>
                    </a:lnTo>
                    <a:lnTo>
                      <a:pt x="13" y="129"/>
                    </a:lnTo>
                    <a:lnTo>
                      <a:pt x="15" y="129"/>
                    </a:lnTo>
                    <a:lnTo>
                      <a:pt x="15" y="131"/>
                    </a:lnTo>
                    <a:lnTo>
                      <a:pt x="16" y="132"/>
                    </a:lnTo>
                    <a:lnTo>
                      <a:pt x="17" y="132"/>
                    </a:lnTo>
                    <a:lnTo>
                      <a:pt x="17" y="134"/>
                    </a:lnTo>
                    <a:lnTo>
                      <a:pt x="19" y="134"/>
                    </a:lnTo>
                    <a:lnTo>
                      <a:pt x="19" y="135"/>
                    </a:lnTo>
                    <a:lnTo>
                      <a:pt x="19" y="135"/>
                    </a:lnTo>
                    <a:lnTo>
                      <a:pt x="19" y="135"/>
                    </a:lnTo>
                    <a:lnTo>
                      <a:pt x="19" y="137"/>
                    </a:lnTo>
                    <a:lnTo>
                      <a:pt x="19" y="137"/>
                    </a:lnTo>
                    <a:lnTo>
                      <a:pt x="22" y="140"/>
                    </a:lnTo>
                    <a:lnTo>
                      <a:pt x="23" y="141"/>
                    </a:lnTo>
                    <a:lnTo>
                      <a:pt x="23" y="141"/>
                    </a:lnTo>
                    <a:lnTo>
                      <a:pt x="25" y="141"/>
                    </a:lnTo>
                    <a:lnTo>
                      <a:pt x="25" y="142"/>
                    </a:lnTo>
                    <a:lnTo>
                      <a:pt x="26" y="142"/>
                    </a:lnTo>
                    <a:lnTo>
                      <a:pt x="27" y="142"/>
                    </a:lnTo>
                    <a:lnTo>
                      <a:pt x="27" y="144"/>
                    </a:lnTo>
                    <a:lnTo>
                      <a:pt x="27" y="144"/>
                    </a:lnTo>
                    <a:lnTo>
                      <a:pt x="29" y="145"/>
                    </a:lnTo>
                    <a:lnTo>
                      <a:pt x="29" y="145"/>
                    </a:lnTo>
                    <a:lnTo>
                      <a:pt x="29" y="145"/>
                    </a:lnTo>
                    <a:lnTo>
                      <a:pt x="30" y="147"/>
                    </a:lnTo>
                    <a:lnTo>
                      <a:pt x="30" y="147"/>
                    </a:lnTo>
                    <a:lnTo>
                      <a:pt x="32" y="148"/>
                    </a:lnTo>
                    <a:lnTo>
                      <a:pt x="33" y="155"/>
                    </a:lnTo>
                    <a:lnTo>
                      <a:pt x="35" y="155"/>
                    </a:lnTo>
                    <a:lnTo>
                      <a:pt x="35" y="157"/>
                    </a:lnTo>
                    <a:lnTo>
                      <a:pt x="35" y="158"/>
                    </a:lnTo>
                    <a:lnTo>
                      <a:pt x="35" y="158"/>
                    </a:lnTo>
                    <a:lnTo>
                      <a:pt x="36" y="160"/>
                    </a:lnTo>
                    <a:lnTo>
                      <a:pt x="36" y="160"/>
                    </a:lnTo>
                    <a:lnTo>
                      <a:pt x="36" y="161"/>
                    </a:lnTo>
                    <a:lnTo>
                      <a:pt x="36" y="163"/>
                    </a:lnTo>
                    <a:lnTo>
                      <a:pt x="37" y="164"/>
                    </a:lnTo>
                    <a:lnTo>
                      <a:pt x="37" y="165"/>
                    </a:lnTo>
                    <a:lnTo>
                      <a:pt x="39" y="167"/>
                    </a:lnTo>
                    <a:lnTo>
                      <a:pt x="40" y="167"/>
                    </a:lnTo>
                    <a:lnTo>
                      <a:pt x="40" y="168"/>
                    </a:lnTo>
                    <a:lnTo>
                      <a:pt x="42" y="170"/>
                    </a:lnTo>
                    <a:lnTo>
                      <a:pt x="43" y="170"/>
                    </a:lnTo>
                    <a:lnTo>
                      <a:pt x="45" y="170"/>
                    </a:lnTo>
                    <a:lnTo>
                      <a:pt x="48" y="170"/>
                    </a:lnTo>
                    <a:lnTo>
                      <a:pt x="49" y="173"/>
                    </a:lnTo>
                    <a:lnTo>
                      <a:pt x="49" y="174"/>
                    </a:lnTo>
                    <a:lnTo>
                      <a:pt x="49" y="177"/>
                    </a:lnTo>
                    <a:lnTo>
                      <a:pt x="49" y="180"/>
                    </a:lnTo>
                    <a:lnTo>
                      <a:pt x="52" y="183"/>
                    </a:lnTo>
                    <a:lnTo>
                      <a:pt x="53" y="186"/>
                    </a:lnTo>
                    <a:lnTo>
                      <a:pt x="56" y="186"/>
                    </a:lnTo>
                    <a:lnTo>
                      <a:pt x="66" y="187"/>
                    </a:lnTo>
                    <a:lnTo>
                      <a:pt x="71" y="188"/>
                    </a:lnTo>
                    <a:lnTo>
                      <a:pt x="73" y="190"/>
                    </a:lnTo>
                    <a:lnTo>
                      <a:pt x="88" y="198"/>
                    </a:lnTo>
                    <a:lnTo>
                      <a:pt x="91" y="200"/>
                    </a:lnTo>
                    <a:lnTo>
                      <a:pt x="95" y="201"/>
                    </a:lnTo>
                    <a:lnTo>
                      <a:pt x="102" y="201"/>
                    </a:lnTo>
                    <a:lnTo>
                      <a:pt x="109" y="203"/>
                    </a:lnTo>
                    <a:lnTo>
                      <a:pt x="112" y="204"/>
                    </a:lnTo>
                    <a:lnTo>
                      <a:pt x="116" y="203"/>
                    </a:lnTo>
                    <a:lnTo>
                      <a:pt x="118" y="203"/>
                    </a:lnTo>
                    <a:lnTo>
                      <a:pt x="119" y="200"/>
                    </a:lnTo>
                    <a:lnTo>
                      <a:pt x="119" y="198"/>
                    </a:lnTo>
                    <a:lnTo>
                      <a:pt x="121" y="197"/>
                    </a:lnTo>
                    <a:lnTo>
                      <a:pt x="122" y="196"/>
                    </a:lnTo>
                    <a:lnTo>
                      <a:pt x="134" y="190"/>
                    </a:lnTo>
                    <a:lnTo>
                      <a:pt x="137" y="190"/>
                    </a:lnTo>
                    <a:lnTo>
                      <a:pt x="138" y="190"/>
                    </a:lnTo>
                    <a:lnTo>
                      <a:pt x="139" y="191"/>
                    </a:lnTo>
                    <a:lnTo>
                      <a:pt x="141" y="193"/>
                    </a:lnTo>
                    <a:lnTo>
                      <a:pt x="142" y="194"/>
                    </a:lnTo>
                    <a:lnTo>
                      <a:pt x="145" y="196"/>
                    </a:lnTo>
                    <a:lnTo>
                      <a:pt x="149" y="196"/>
                    </a:lnTo>
                    <a:lnTo>
                      <a:pt x="157" y="194"/>
                    </a:lnTo>
                    <a:lnTo>
                      <a:pt x="157" y="194"/>
                    </a:lnTo>
                    <a:lnTo>
                      <a:pt x="158" y="194"/>
                    </a:lnTo>
                    <a:lnTo>
                      <a:pt x="158" y="193"/>
                    </a:lnTo>
                    <a:lnTo>
                      <a:pt x="158" y="193"/>
                    </a:lnTo>
                    <a:lnTo>
                      <a:pt x="158" y="193"/>
                    </a:lnTo>
                    <a:lnTo>
                      <a:pt x="160" y="193"/>
                    </a:lnTo>
                    <a:lnTo>
                      <a:pt x="160" y="191"/>
                    </a:lnTo>
                    <a:lnTo>
                      <a:pt x="161" y="191"/>
                    </a:lnTo>
                    <a:lnTo>
                      <a:pt x="161" y="191"/>
                    </a:lnTo>
                    <a:lnTo>
                      <a:pt x="162" y="191"/>
                    </a:lnTo>
                    <a:lnTo>
                      <a:pt x="162" y="191"/>
                    </a:lnTo>
                    <a:lnTo>
                      <a:pt x="164" y="191"/>
                    </a:lnTo>
                    <a:lnTo>
                      <a:pt x="164" y="190"/>
                    </a:lnTo>
                    <a:lnTo>
                      <a:pt x="170" y="190"/>
                    </a:lnTo>
                    <a:lnTo>
                      <a:pt x="172" y="190"/>
                    </a:lnTo>
                    <a:lnTo>
                      <a:pt x="174" y="188"/>
                    </a:lnTo>
                    <a:lnTo>
                      <a:pt x="174" y="188"/>
                    </a:lnTo>
                    <a:lnTo>
                      <a:pt x="175" y="188"/>
                    </a:lnTo>
                    <a:lnTo>
                      <a:pt x="175" y="187"/>
                    </a:lnTo>
                    <a:lnTo>
                      <a:pt x="175" y="187"/>
                    </a:lnTo>
                    <a:lnTo>
                      <a:pt x="175" y="187"/>
                    </a:lnTo>
                    <a:lnTo>
                      <a:pt x="175" y="186"/>
                    </a:lnTo>
                    <a:lnTo>
                      <a:pt x="177" y="186"/>
                    </a:lnTo>
                    <a:lnTo>
                      <a:pt x="177" y="184"/>
                    </a:lnTo>
                    <a:lnTo>
                      <a:pt x="177" y="184"/>
                    </a:lnTo>
                    <a:lnTo>
                      <a:pt x="177" y="184"/>
                    </a:lnTo>
                    <a:lnTo>
                      <a:pt x="177" y="184"/>
                    </a:lnTo>
                    <a:lnTo>
                      <a:pt x="178" y="184"/>
                    </a:lnTo>
                    <a:lnTo>
                      <a:pt x="180" y="183"/>
                    </a:lnTo>
                    <a:lnTo>
                      <a:pt x="183" y="181"/>
                    </a:lnTo>
                    <a:lnTo>
                      <a:pt x="187" y="180"/>
                    </a:lnTo>
                    <a:lnTo>
                      <a:pt x="191" y="178"/>
                    </a:lnTo>
                    <a:lnTo>
                      <a:pt x="193" y="178"/>
                    </a:lnTo>
                    <a:lnTo>
                      <a:pt x="193" y="178"/>
                    </a:lnTo>
                    <a:lnTo>
                      <a:pt x="194" y="177"/>
                    </a:lnTo>
                    <a:lnTo>
                      <a:pt x="198" y="177"/>
                    </a:lnTo>
                    <a:lnTo>
                      <a:pt x="203" y="178"/>
                    </a:lnTo>
                    <a:lnTo>
                      <a:pt x="208" y="178"/>
                    </a:lnTo>
                    <a:lnTo>
                      <a:pt x="210" y="178"/>
                    </a:lnTo>
                    <a:lnTo>
                      <a:pt x="210" y="178"/>
                    </a:lnTo>
                    <a:lnTo>
                      <a:pt x="211" y="177"/>
                    </a:lnTo>
                    <a:lnTo>
                      <a:pt x="213" y="177"/>
                    </a:lnTo>
                    <a:lnTo>
                      <a:pt x="217" y="171"/>
                    </a:lnTo>
                    <a:lnTo>
                      <a:pt x="230" y="158"/>
                    </a:lnTo>
                    <a:lnTo>
                      <a:pt x="237" y="150"/>
                    </a:lnTo>
                    <a:lnTo>
                      <a:pt x="239" y="148"/>
                    </a:lnTo>
                    <a:lnTo>
                      <a:pt x="244" y="144"/>
                    </a:lnTo>
                    <a:lnTo>
                      <a:pt x="247" y="141"/>
                    </a:lnTo>
                    <a:lnTo>
                      <a:pt x="253" y="135"/>
                    </a:lnTo>
                    <a:lnTo>
                      <a:pt x="257" y="129"/>
                    </a:lnTo>
                    <a:lnTo>
                      <a:pt x="264" y="124"/>
                    </a:lnTo>
                    <a:lnTo>
                      <a:pt x="247" y="12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32" name="Freeform 219">
                <a:extLst>
                  <a:ext uri="{FF2B5EF4-FFF2-40B4-BE49-F238E27FC236}">
                    <a16:creationId xmlns:a16="http://schemas.microsoft.com/office/drawing/2014/main" id="{D1FFCCAD-E234-C5B6-BCF6-49365934BA0C}"/>
                  </a:ext>
                </a:extLst>
              </p:cNvPr>
              <p:cNvSpPr>
                <a:spLocks/>
              </p:cNvSpPr>
              <p:nvPr/>
            </p:nvSpPr>
            <p:spPr bwMode="auto">
              <a:xfrm>
                <a:off x="3932" y="2317"/>
                <a:ext cx="294" cy="235"/>
              </a:xfrm>
              <a:custGeom>
                <a:avLst/>
                <a:gdLst>
                  <a:gd name="T0" fmla="*/ 286 w 294"/>
                  <a:gd name="T1" fmla="*/ 73 h 235"/>
                  <a:gd name="T2" fmla="*/ 271 w 294"/>
                  <a:gd name="T3" fmla="*/ 53 h 235"/>
                  <a:gd name="T4" fmla="*/ 270 w 294"/>
                  <a:gd name="T5" fmla="*/ 20 h 235"/>
                  <a:gd name="T6" fmla="*/ 258 w 294"/>
                  <a:gd name="T7" fmla="*/ 4 h 235"/>
                  <a:gd name="T8" fmla="*/ 212 w 294"/>
                  <a:gd name="T9" fmla="*/ 4 h 235"/>
                  <a:gd name="T10" fmla="*/ 168 w 294"/>
                  <a:gd name="T11" fmla="*/ 0 h 235"/>
                  <a:gd name="T12" fmla="*/ 166 w 294"/>
                  <a:gd name="T13" fmla="*/ 1 h 235"/>
                  <a:gd name="T14" fmla="*/ 153 w 294"/>
                  <a:gd name="T15" fmla="*/ 4 h 235"/>
                  <a:gd name="T16" fmla="*/ 126 w 294"/>
                  <a:gd name="T17" fmla="*/ 4 h 235"/>
                  <a:gd name="T18" fmla="*/ 106 w 294"/>
                  <a:gd name="T19" fmla="*/ 4 h 235"/>
                  <a:gd name="T20" fmla="*/ 80 w 294"/>
                  <a:gd name="T21" fmla="*/ 4 h 235"/>
                  <a:gd name="T22" fmla="*/ 54 w 294"/>
                  <a:gd name="T23" fmla="*/ 11 h 235"/>
                  <a:gd name="T24" fmla="*/ 37 w 294"/>
                  <a:gd name="T25" fmla="*/ 63 h 235"/>
                  <a:gd name="T26" fmla="*/ 37 w 294"/>
                  <a:gd name="T27" fmla="*/ 109 h 235"/>
                  <a:gd name="T28" fmla="*/ 36 w 294"/>
                  <a:gd name="T29" fmla="*/ 120 h 235"/>
                  <a:gd name="T30" fmla="*/ 23 w 294"/>
                  <a:gd name="T31" fmla="*/ 120 h 235"/>
                  <a:gd name="T32" fmla="*/ 20 w 294"/>
                  <a:gd name="T33" fmla="*/ 129 h 235"/>
                  <a:gd name="T34" fmla="*/ 14 w 294"/>
                  <a:gd name="T35" fmla="*/ 139 h 235"/>
                  <a:gd name="T36" fmla="*/ 11 w 294"/>
                  <a:gd name="T37" fmla="*/ 149 h 235"/>
                  <a:gd name="T38" fmla="*/ 7 w 294"/>
                  <a:gd name="T39" fmla="*/ 163 h 235"/>
                  <a:gd name="T40" fmla="*/ 1 w 294"/>
                  <a:gd name="T41" fmla="*/ 176 h 235"/>
                  <a:gd name="T42" fmla="*/ 10 w 294"/>
                  <a:gd name="T43" fmla="*/ 179 h 235"/>
                  <a:gd name="T44" fmla="*/ 14 w 294"/>
                  <a:gd name="T45" fmla="*/ 196 h 235"/>
                  <a:gd name="T46" fmla="*/ 17 w 294"/>
                  <a:gd name="T47" fmla="*/ 208 h 235"/>
                  <a:gd name="T48" fmla="*/ 30 w 294"/>
                  <a:gd name="T49" fmla="*/ 224 h 235"/>
                  <a:gd name="T50" fmla="*/ 31 w 294"/>
                  <a:gd name="T51" fmla="*/ 230 h 235"/>
                  <a:gd name="T52" fmla="*/ 54 w 294"/>
                  <a:gd name="T53" fmla="*/ 224 h 235"/>
                  <a:gd name="T54" fmla="*/ 66 w 294"/>
                  <a:gd name="T55" fmla="*/ 215 h 235"/>
                  <a:gd name="T56" fmla="*/ 77 w 294"/>
                  <a:gd name="T57" fmla="*/ 225 h 235"/>
                  <a:gd name="T58" fmla="*/ 106 w 294"/>
                  <a:gd name="T59" fmla="*/ 231 h 235"/>
                  <a:gd name="T60" fmla="*/ 125 w 294"/>
                  <a:gd name="T61" fmla="*/ 231 h 235"/>
                  <a:gd name="T62" fmla="*/ 136 w 294"/>
                  <a:gd name="T63" fmla="*/ 225 h 235"/>
                  <a:gd name="T64" fmla="*/ 158 w 294"/>
                  <a:gd name="T65" fmla="*/ 227 h 235"/>
                  <a:gd name="T66" fmla="*/ 185 w 294"/>
                  <a:gd name="T67" fmla="*/ 204 h 235"/>
                  <a:gd name="T68" fmla="*/ 191 w 294"/>
                  <a:gd name="T69" fmla="*/ 182 h 235"/>
                  <a:gd name="T70" fmla="*/ 198 w 294"/>
                  <a:gd name="T71" fmla="*/ 209 h 235"/>
                  <a:gd name="T72" fmla="*/ 212 w 294"/>
                  <a:gd name="T73" fmla="*/ 221 h 235"/>
                  <a:gd name="T74" fmla="*/ 215 w 294"/>
                  <a:gd name="T75" fmla="*/ 228 h 235"/>
                  <a:gd name="T76" fmla="*/ 218 w 294"/>
                  <a:gd name="T77" fmla="*/ 217 h 235"/>
                  <a:gd name="T78" fmla="*/ 228 w 294"/>
                  <a:gd name="T79" fmla="*/ 211 h 235"/>
                  <a:gd name="T80" fmla="*/ 231 w 294"/>
                  <a:gd name="T81" fmla="*/ 202 h 235"/>
                  <a:gd name="T82" fmla="*/ 235 w 294"/>
                  <a:gd name="T83" fmla="*/ 188 h 235"/>
                  <a:gd name="T84" fmla="*/ 245 w 294"/>
                  <a:gd name="T85" fmla="*/ 175 h 235"/>
                  <a:gd name="T86" fmla="*/ 251 w 294"/>
                  <a:gd name="T87" fmla="*/ 173 h 235"/>
                  <a:gd name="T88" fmla="*/ 253 w 294"/>
                  <a:gd name="T89" fmla="*/ 165 h 235"/>
                  <a:gd name="T90" fmla="*/ 257 w 294"/>
                  <a:gd name="T91" fmla="*/ 155 h 235"/>
                  <a:gd name="T92" fmla="*/ 257 w 294"/>
                  <a:gd name="T93" fmla="*/ 135 h 235"/>
                  <a:gd name="T94" fmla="*/ 260 w 294"/>
                  <a:gd name="T95" fmla="*/ 122 h 235"/>
                  <a:gd name="T96" fmla="*/ 264 w 294"/>
                  <a:gd name="T97" fmla="*/ 112 h 235"/>
                  <a:gd name="T98" fmla="*/ 266 w 294"/>
                  <a:gd name="T99" fmla="*/ 102 h 235"/>
                  <a:gd name="T100" fmla="*/ 266 w 294"/>
                  <a:gd name="T101" fmla="*/ 96 h 235"/>
                  <a:gd name="T102" fmla="*/ 270 w 294"/>
                  <a:gd name="T103" fmla="*/ 96 h 235"/>
                  <a:gd name="T104" fmla="*/ 274 w 294"/>
                  <a:gd name="T105" fmla="*/ 93 h 235"/>
                  <a:gd name="T106" fmla="*/ 277 w 294"/>
                  <a:gd name="T107" fmla="*/ 90 h 235"/>
                  <a:gd name="T108" fmla="*/ 287 w 294"/>
                  <a:gd name="T109" fmla="*/ 87 h 235"/>
                  <a:gd name="T110" fmla="*/ 290 w 294"/>
                  <a:gd name="T111" fmla="*/ 83 h 235"/>
                  <a:gd name="T112" fmla="*/ 293 w 294"/>
                  <a:gd name="T113" fmla="*/ 8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4" h="235">
                    <a:moveTo>
                      <a:pt x="293" y="77"/>
                    </a:moveTo>
                    <a:lnTo>
                      <a:pt x="291" y="76"/>
                    </a:lnTo>
                    <a:lnTo>
                      <a:pt x="288" y="73"/>
                    </a:lnTo>
                    <a:lnTo>
                      <a:pt x="288" y="73"/>
                    </a:lnTo>
                    <a:lnTo>
                      <a:pt x="287" y="73"/>
                    </a:lnTo>
                    <a:lnTo>
                      <a:pt x="287" y="73"/>
                    </a:lnTo>
                    <a:lnTo>
                      <a:pt x="286" y="73"/>
                    </a:lnTo>
                    <a:lnTo>
                      <a:pt x="286" y="71"/>
                    </a:lnTo>
                    <a:lnTo>
                      <a:pt x="283" y="69"/>
                    </a:lnTo>
                    <a:lnTo>
                      <a:pt x="280" y="66"/>
                    </a:lnTo>
                    <a:lnTo>
                      <a:pt x="277" y="64"/>
                    </a:lnTo>
                    <a:lnTo>
                      <a:pt x="274" y="61"/>
                    </a:lnTo>
                    <a:lnTo>
                      <a:pt x="273" y="58"/>
                    </a:lnTo>
                    <a:lnTo>
                      <a:pt x="271" y="53"/>
                    </a:lnTo>
                    <a:lnTo>
                      <a:pt x="270" y="38"/>
                    </a:lnTo>
                    <a:lnTo>
                      <a:pt x="270" y="28"/>
                    </a:lnTo>
                    <a:lnTo>
                      <a:pt x="268" y="23"/>
                    </a:lnTo>
                    <a:lnTo>
                      <a:pt x="268" y="21"/>
                    </a:lnTo>
                    <a:lnTo>
                      <a:pt x="270" y="21"/>
                    </a:lnTo>
                    <a:lnTo>
                      <a:pt x="271" y="21"/>
                    </a:lnTo>
                    <a:lnTo>
                      <a:pt x="270" y="20"/>
                    </a:lnTo>
                    <a:lnTo>
                      <a:pt x="270" y="18"/>
                    </a:lnTo>
                    <a:lnTo>
                      <a:pt x="267" y="15"/>
                    </a:lnTo>
                    <a:lnTo>
                      <a:pt x="266" y="12"/>
                    </a:lnTo>
                    <a:lnTo>
                      <a:pt x="264" y="10"/>
                    </a:lnTo>
                    <a:lnTo>
                      <a:pt x="264" y="7"/>
                    </a:lnTo>
                    <a:lnTo>
                      <a:pt x="264" y="4"/>
                    </a:lnTo>
                    <a:lnTo>
                      <a:pt x="258" y="4"/>
                    </a:lnTo>
                    <a:lnTo>
                      <a:pt x="253" y="4"/>
                    </a:lnTo>
                    <a:lnTo>
                      <a:pt x="250" y="4"/>
                    </a:lnTo>
                    <a:lnTo>
                      <a:pt x="241" y="4"/>
                    </a:lnTo>
                    <a:lnTo>
                      <a:pt x="235" y="4"/>
                    </a:lnTo>
                    <a:lnTo>
                      <a:pt x="232" y="4"/>
                    </a:lnTo>
                    <a:lnTo>
                      <a:pt x="221" y="4"/>
                    </a:lnTo>
                    <a:lnTo>
                      <a:pt x="212" y="4"/>
                    </a:lnTo>
                    <a:lnTo>
                      <a:pt x="192" y="4"/>
                    </a:lnTo>
                    <a:lnTo>
                      <a:pt x="184" y="4"/>
                    </a:lnTo>
                    <a:lnTo>
                      <a:pt x="178" y="4"/>
                    </a:lnTo>
                    <a:lnTo>
                      <a:pt x="168" y="4"/>
                    </a:lnTo>
                    <a:lnTo>
                      <a:pt x="169" y="1"/>
                    </a:lnTo>
                    <a:lnTo>
                      <a:pt x="169" y="0"/>
                    </a:lnTo>
                    <a:lnTo>
                      <a:pt x="168" y="0"/>
                    </a:lnTo>
                    <a:lnTo>
                      <a:pt x="168" y="0"/>
                    </a:lnTo>
                    <a:lnTo>
                      <a:pt x="168" y="0"/>
                    </a:lnTo>
                    <a:lnTo>
                      <a:pt x="168" y="0"/>
                    </a:lnTo>
                    <a:lnTo>
                      <a:pt x="168" y="0"/>
                    </a:lnTo>
                    <a:lnTo>
                      <a:pt x="166" y="0"/>
                    </a:lnTo>
                    <a:lnTo>
                      <a:pt x="166" y="1"/>
                    </a:lnTo>
                    <a:lnTo>
                      <a:pt x="166" y="1"/>
                    </a:lnTo>
                    <a:lnTo>
                      <a:pt x="166" y="2"/>
                    </a:lnTo>
                    <a:lnTo>
                      <a:pt x="165" y="4"/>
                    </a:lnTo>
                    <a:lnTo>
                      <a:pt x="165" y="4"/>
                    </a:lnTo>
                    <a:lnTo>
                      <a:pt x="162" y="4"/>
                    </a:lnTo>
                    <a:lnTo>
                      <a:pt x="159" y="4"/>
                    </a:lnTo>
                    <a:lnTo>
                      <a:pt x="158" y="4"/>
                    </a:lnTo>
                    <a:lnTo>
                      <a:pt x="153" y="4"/>
                    </a:lnTo>
                    <a:lnTo>
                      <a:pt x="152" y="4"/>
                    </a:lnTo>
                    <a:lnTo>
                      <a:pt x="149" y="4"/>
                    </a:lnTo>
                    <a:lnTo>
                      <a:pt x="142" y="4"/>
                    </a:lnTo>
                    <a:lnTo>
                      <a:pt x="135" y="4"/>
                    </a:lnTo>
                    <a:lnTo>
                      <a:pt x="133" y="4"/>
                    </a:lnTo>
                    <a:lnTo>
                      <a:pt x="131" y="4"/>
                    </a:lnTo>
                    <a:lnTo>
                      <a:pt x="126" y="4"/>
                    </a:lnTo>
                    <a:lnTo>
                      <a:pt x="126" y="4"/>
                    </a:lnTo>
                    <a:lnTo>
                      <a:pt x="123" y="4"/>
                    </a:lnTo>
                    <a:lnTo>
                      <a:pt x="120" y="4"/>
                    </a:lnTo>
                    <a:lnTo>
                      <a:pt x="118" y="4"/>
                    </a:lnTo>
                    <a:lnTo>
                      <a:pt x="115" y="4"/>
                    </a:lnTo>
                    <a:lnTo>
                      <a:pt x="109" y="4"/>
                    </a:lnTo>
                    <a:lnTo>
                      <a:pt x="106" y="4"/>
                    </a:lnTo>
                    <a:lnTo>
                      <a:pt x="103" y="4"/>
                    </a:lnTo>
                    <a:lnTo>
                      <a:pt x="102" y="4"/>
                    </a:lnTo>
                    <a:lnTo>
                      <a:pt x="99" y="4"/>
                    </a:lnTo>
                    <a:lnTo>
                      <a:pt x="89" y="4"/>
                    </a:lnTo>
                    <a:lnTo>
                      <a:pt x="85" y="4"/>
                    </a:lnTo>
                    <a:lnTo>
                      <a:pt x="82" y="4"/>
                    </a:lnTo>
                    <a:lnTo>
                      <a:pt x="80" y="4"/>
                    </a:lnTo>
                    <a:lnTo>
                      <a:pt x="72" y="4"/>
                    </a:lnTo>
                    <a:lnTo>
                      <a:pt x="66" y="4"/>
                    </a:lnTo>
                    <a:lnTo>
                      <a:pt x="63" y="4"/>
                    </a:lnTo>
                    <a:lnTo>
                      <a:pt x="60" y="4"/>
                    </a:lnTo>
                    <a:lnTo>
                      <a:pt x="57" y="4"/>
                    </a:lnTo>
                    <a:lnTo>
                      <a:pt x="54" y="4"/>
                    </a:lnTo>
                    <a:lnTo>
                      <a:pt x="54" y="11"/>
                    </a:lnTo>
                    <a:lnTo>
                      <a:pt x="54" y="18"/>
                    </a:lnTo>
                    <a:lnTo>
                      <a:pt x="54" y="41"/>
                    </a:lnTo>
                    <a:lnTo>
                      <a:pt x="54" y="41"/>
                    </a:lnTo>
                    <a:lnTo>
                      <a:pt x="37" y="41"/>
                    </a:lnTo>
                    <a:lnTo>
                      <a:pt x="37" y="51"/>
                    </a:lnTo>
                    <a:lnTo>
                      <a:pt x="37" y="53"/>
                    </a:lnTo>
                    <a:lnTo>
                      <a:pt x="37" y="63"/>
                    </a:lnTo>
                    <a:lnTo>
                      <a:pt x="37" y="67"/>
                    </a:lnTo>
                    <a:lnTo>
                      <a:pt x="37" y="71"/>
                    </a:lnTo>
                    <a:lnTo>
                      <a:pt x="37" y="80"/>
                    </a:lnTo>
                    <a:lnTo>
                      <a:pt x="37" y="86"/>
                    </a:lnTo>
                    <a:lnTo>
                      <a:pt x="37" y="92"/>
                    </a:lnTo>
                    <a:lnTo>
                      <a:pt x="37" y="100"/>
                    </a:lnTo>
                    <a:lnTo>
                      <a:pt x="37" y="109"/>
                    </a:lnTo>
                    <a:lnTo>
                      <a:pt x="37" y="110"/>
                    </a:lnTo>
                    <a:lnTo>
                      <a:pt x="37" y="119"/>
                    </a:lnTo>
                    <a:lnTo>
                      <a:pt x="37" y="120"/>
                    </a:lnTo>
                    <a:lnTo>
                      <a:pt x="37" y="120"/>
                    </a:lnTo>
                    <a:lnTo>
                      <a:pt x="37" y="120"/>
                    </a:lnTo>
                    <a:lnTo>
                      <a:pt x="37" y="120"/>
                    </a:lnTo>
                    <a:lnTo>
                      <a:pt x="36" y="120"/>
                    </a:lnTo>
                    <a:lnTo>
                      <a:pt x="33" y="120"/>
                    </a:lnTo>
                    <a:lnTo>
                      <a:pt x="30" y="120"/>
                    </a:lnTo>
                    <a:lnTo>
                      <a:pt x="29" y="120"/>
                    </a:lnTo>
                    <a:lnTo>
                      <a:pt x="27" y="120"/>
                    </a:lnTo>
                    <a:lnTo>
                      <a:pt x="26" y="120"/>
                    </a:lnTo>
                    <a:lnTo>
                      <a:pt x="23" y="120"/>
                    </a:lnTo>
                    <a:lnTo>
                      <a:pt x="23" y="120"/>
                    </a:lnTo>
                    <a:lnTo>
                      <a:pt x="21" y="122"/>
                    </a:lnTo>
                    <a:lnTo>
                      <a:pt x="20" y="122"/>
                    </a:lnTo>
                    <a:lnTo>
                      <a:pt x="20" y="123"/>
                    </a:lnTo>
                    <a:lnTo>
                      <a:pt x="20" y="123"/>
                    </a:lnTo>
                    <a:lnTo>
                      <a:pt x="18" y="123"/>
                    </a:lnTo>
                    <a:lnTo>
                      <a:pt x="18" y="126"/>
                    </a:lnTo>
                    <a:lnTo>
                      <a:pt x="20" y="129"/>
                    </a:lnTo>
                    <a:lnTo>
                      <a:pt x="18" y="130"/>
                    </a:lnTo>
                    <a:lnTo>
                      <a:pt x="16" y="133"/>
                    </a:lnTo>
                    <a:lnTo>
                      <a:pt x="16" y="136"/>
                    </a:lnTo>
                    <a:lnTo>
                      <a:pt x="14" y="136"/>
                    </a:lnTo>
                    <a:lnTo>
                      <a:pt x="14" y="136"/>
                    </a:lnTo>
                    <a:lnTo>
                      <a:pt x="14" y="138"/>
                    </a:lnTo>
                    <a:lnTo>
                      <a:pt x="14" y="139"/>
                    </a:lnTo>
                    <a:lnTo>
                      <a:pt x="14" y="139"/>
                    </a:lnTo>
                    <a:lnTo>
                      <a:pt x="13" y="139"/>
                    </a:lnTo>
                    <a:lnTo>
                      <a:pt x="11" y="140"/>
                    </a:lnTo>
                    <a:lnTo>
                      <a:pt x="8" y="142"/>
                    </a:lnTo>
                    <a:lnTo>
                      <a:pt x="10" y="148"/>
                    </a:lnTo>
                    <a:lnTo>
                      <a:pt x="11" y="148"/>
                    </a:lnTo>
                    <a:lnTo>
                      <a:pt x="11" y="149"/>
                    </a:lnTo>
                    <a:lnTo>
                      <a:pt x="11" y="149"/>
                    </a:lnTo>
                    <a:lnTo>
                      <a:pt x="6" y="153"/>
                    </a:lnTo>
                    <a:lnTo>
                      <a:pt x="4" y="155"/>
                    </a:lnTo>
                    <a:lnTo>
                      <a:pt x="4" y="155"/>
                    </a:lnTo>
                    <a:lnTo>
                      <a:pt x="4" y="156"/>
                    </a:lnTo>
                    <a:lnTo>
                      <a:pt x="7" y="162"/>
                    </a:lnTo>
                    <a:lnTo>
                      <a:pt x="7" y="163"/>
                    </a:lnTo>
                    <a:lnTo>
                      <a:pt x="6" y="165"/>
                    </a:lnTo>
                    <a:lnTo>
                      <a:pt x="3" y="168"/>
                    </a:lnTo>
                    <a:lnTo>
                      <a:pt x="0" y="173"/>
                    </a:lnTo>
                    <a:lnTo>
                      <a:pt x="0" y="175"/>
                    </a:lnTo>
                    <a:lnTo>
                      <a:pt x="0" y="175"/>
                    </a:lnTo>
                    <a:lnTo>
                      <a:pt x="0" y="175"/>
                    </a:lnTo>
                    <a:lnTo>
                      <a:pt x="1" y="176"/>
                    </a:lnTo>
                    <a:lnTo>
                      <a:pt x="3" y="176"/>
                    </a:lnTo>
                    <a:lnTo>
                      <a:pt x="7" y="175"/>
                    </a:lnTo>
                    <a:lnTo>
                      <a:pt x="8" y="176"/>
                    </a:lnTo>
                    <a:lnTo>
                      <a:pt x="10" y="178"/>
                    </a:lnTo>
                    <a:lnTo>
                      <a:pt x="10" y="178"/>
                    </a:lnTo>
                    <a:lnTo>
                      <a:pt x="10" y="179"/>
                    </a:lnTo>
                    <a:lnTo>
                      <a:pt x="10" y="179"/>
                    </a:lnTo>
                    <a:lnTo>
                      <a:pt x="10" y="186"/>
                    </a:lnTo>
                    <a:lnTo>
                      <a:pt x="11" y="186"/>
                    </a:lnTo>
                    <a:lnTo>
                      <a:pt x="13" y="188"/>
                    </a:lnTo>
                    <a:lnTo>
                      <a:pt x="13" y="188"/>
                    </a:lnTo>
                    <a:lnTo>
                      <a:pt x="13" y="194"/>
                    </a:lnTo>
                    <a:lnTo>
                      <a:pt x="13" y="195"/>
                    </a:lnTo>
                    <a:lnTo>
                      <a:pt x="14" y="196"/>
                    </a:lnTo>
                    <a:lnTo>
                      <a:pt x="16" y="198"/>
                    </a:lnTo>
                    <a:lnTo>
                      <a:pt x="17" y="198"/>
                    </a:lnTo>
                    <a:lnTo>
                      <a:pt x="17" y="198"/>
                    </a:lnTo>
                    <a:lnTo>
                      <a:pt x="18" y="199"/>
                    </a:lnTo>
                    <a:lnTo>
                      <a:pt x="18" y="201"/>
                    </a:lnTo>
                    <a:lnTo>
                      <a:pt x="18" y="205"/>
                    </a:lnTo>
                    <a:lnTo>
                      <a:pt x="17" y="208"/>
                    </a:lnTo>
                    <a:lnTo>
                      <a:pt x="18" y="209"/>
                    </a:lnTo>
                    <a:lnTo>
                      <a:pt x="21" y="212"/>
                    </a:lnTo>
                    <a:lnTo>
                      <a:pt x="24" y="217"/>
                    </a:lnTo>
                    <a:lnTo>
                      <a:pt x="27" y="218"/>
                    </a:lnTo>
                    <a:lnTo>
                      <a:pt x="29" y="221"/>
                    </a:lnTo>
                    <a:lnTo>
                      <a:pt x="29" y="222"/>
                    </a:lnTo>
                    <a:lnTo>
                      <a:pt x="30" y="224"/>
                    </a:lnTo>
                    <a:lnTo>
                      <a:pt x="30" y="225"/>
                    </a:lnTo>
                    <a:lnTo>
                      <a:pt x="31" y="225"/>
                    </a:lnTo>
                    <a:lnTo>
                      <a:pt x="31" y="227"/>
                    </a:lnTo>
                    <a:lnTo>
                      <a:pt x="31" y="227"/>
                    </a:lnTo>
                    <a:lnTo>
                      <a:pt x="31" y="228"/>
                    </a:lnTo>
                    <a:lnTo>
                      <a:pt x="31" y="230"/>
                    </a:lnTo>
                    <a:lnTo>
                      <a:pt x="31" y="230"/>
                    </a:lnTo>
                    <a:lnTo>
                      <a:pt x="36" y="230"/>
                    </a:lnTo>
                    <a:lnTo>
                      <a:pt x="41" y="228"/>
                    </a:lnTo>
                    <a:lnTo>
                      <a:pt x="46" y="227"/>
                    </a:lnTo>
                    <a:lnTo>
                      <a:pt x="49" y="227"/>
                    </a:lnTo>
                    <a:lnTo>
                      <a:pt x="52" y="227"/>
                    </a:lnTo>
                    <a:lnTo>
                      <a:pt x="53" y="225"/>
                    </a:lnTo>
                    <a:lnTo>
                      <a:pt x="54" y="224"/>
                    </a:lnTo>
                    <a:lnTo>
                      <a:pt x="54" y="221"/>
                    </a:lnTo>
                    <a:lnTo>
                      <a:pt x="56" y="219"/>
                    </a:lnTo>
                    <a:lnTo>
                      <a:pt x="56" y="218"/>
                    </a:lnTo>
                    <a:lnTo>
                      <a:pt x="57" y="218"/>
                    </a:lnTo>
                    <a:lnTo>
                      <a:pt x="59" y="217"/>
                    </a:lnTo>
                    <a:lnTo>
                      <a:pt x="60" y="217"/>
                    </a:lnTo>
                    <a:lnTo>
                      <a:pt x="66" y="215"/>
                    </a:lnTo>
                    <a:lnTo>
                      <a:pt x="67" y="215"/>
                    </a:lnTo>
                    <a:lnTo>
                      <a:pt x="69" y="215"/>
                    </a:lnTo>
                    <a:lnTo>
                      <a:pt x="70" y="217"/>
                    </a:lnTo>
                    <a:lnTo>
                      <a:pt x="70" y="217"/>
                    </a:lnTo>
                    <a:lnTo>
                      <a:pt x="72" y="219"/>
                    </a:lnTo>
                    <a:lnTo>
                      <a:pt x="73" y="221"/>
                    </a:lnTo>
                    <a:lnTo>
                      <a:pt x="77" y="225"/>
                    </a:lnTo>
                    <a:lnTo>
                      <a:pt x="82" y="231"/>
                    </a:lnTo>
                    <a:lnTo>
                      <a:pt x="85" y="231"/>
                    </a:lnTo>
                    <a:lnTo>
                      <a:pt x="92" y="230"/>
                    </a:lnTo>
                    <a:lnTo>
                      <a:pt x="95" y="230"/>
                    </a:lnTo>
                    <a:lnTo>
                      <a:pt x="99" y="230"/>
                    </a:lnTo>
                    <a:lnTo>
                      <a:pt x="103" y="230"/>
                    </a:lnTo>
                    <a:lnTo>
                      <a:pt x="106" y="231"/>
                    </a:lnTo>
                    <a:lnTo>
                      <a:pt x="108" y="232"/>
                    </a:lnTo>
                    <a:lnTo>
                      <a:pt x="109" y="234"/>
                    </a:lnTo>
                    <a:lnTo>
                      <a:pt x="109" y="234"/>
                    </a:lnTo>
                    <a:lnTo>
                      <a:pt x="112" y="234"/>
                    </a:lnTo>
                    <a:lnTo>
                      <a:pt x="123" y="235"/>
                    </a:lnTo>
                    <a:lnTo>
                      <a:pt x="123" y="232"/>
                    </a:lnTo>
                    <a:lnTo>
                      <a:pt x="125" y="231"/>
                    </a:lnTo>
                    <a:lnTo>
                      <a:pt x="126" y="230"/>
                    </a:lnTo>
                    <a:lnTo>
                      <a:pt x="129" y="228"/>
                    </a:lnTo>
                    <a:lnTo>
                      <a:pt x="131" y="228"/>
                    </a:lnTo>
                    <a:lnTo>
                      <a:pt x="132" y="228"/>
                    </a:lnTo>
                    <a:lnTo>
                      <a:pt x="133" y="227"/>
                    </a:lnTo>
                    <a:lnTo>
                      <a:pt x="135" y="227"/>
                    </a:lnTo>
                    <a:lnTo>
                      <a:pt x="136" y="225"/>
                    </a:lnTo>
                    <a:lnTo>
                      <a:pt x="136" y="222"/>
                    </a:lnTo>
                    <a:lnTo>
                      <a:pt x="138" y="221"/>
                    </a:lnTo>
                    <a:lnTo>
                      <a:pt x="141" y="218"/>
                    </a:lnTo>
                    <a:lnTo>
                      <a:pt x="145" y="218"/>
                    </a:lnTo>
                    <a:lnTo>
                      <a:pt x="148" y="221"/>
                    </a:lnTo>
                    <a:lnTo>
                      <a:pt x="156" y="227"/>
                    </a:lnTo>
                    <a:lnTo>
                      <a:pt x="158" y="227"/>
                    </a:lnTo>
                    <a:lnTo>
                      <a:pt x="161" y="227"/>
                    </a:lnTo>
                    <a:lnTo>
                      <a:pt x="166" y="224"/>
                    </a:lnTo>
                    <a:lnTo>
                      <a:pt x="172" y="219"/>
                    </a:lnTo>
                    <a:lnTo>
                      <a:pt x="176" y="214"/>
                    </a:lnTo>
                    <a:lnTo>
                      <a:pt x="181" y="208"/>
                    </a:lnTo>
                    <a:lnTo>
                      <a:pt x="184" y="205"/>
                    </a:lnTo>
                    <a:lnTo>
                      <a:pt x="185" y="204"/>
                    </a:lnTo>
                    <a:lnTo>
                      <a:pt x="185" y="202"/>
                    </a:lnTo>
                    <a:lnTo>
                      <a:pt x="184" y="192"/>
                    </a:lnTo>
                    <a:lnTo>
                      <a:pt x="182" y="191"/>
                    </a:lnTo>
                    <a:lnTo>
                      <a:pt x="179" y="186"/>
                    </a:lnTo>
                    <a:lnTo>
                      <a:pt x="192" y="186"/>
                    </a:lnTo>
                    <a:lnTo>
                      <a:pt x="191" y="185"/>
                    </a:lnTo>
                    <a:lnTo>
                      <a:pt x="191" y="182"/>
                    </a:lnTo>
                    <a:lnTo>
                      <a:pt x="199" y="184"/>
                    </a:lnTo>
                    <a:lnTo>
                      <a:pt x="198" y="194"/>
                    </a:lnTo>
                    <a:lnTo>
                      <a:pt x="198" y="196"/>
                    </a:lnTo>
                    <a:lnTo>
                      <a:pt x="198" y="205"/>
                    </a:lnTo>
                    <a:lnTo>
                      <a:pt x="199" y="208"/>
                    </a:lnTo>
                    <a:lnTo>
                      <a:pt x="199" y="208"/>
                    </a:lnTo>
                    <a:lnTo>
                      <a:pt x="198" y="209"/>
                    </a:lnTo>
                    <a:lnTo>
                      <a:pt x="198" y="209"/>
                    </a:lnTo>
                    <a:lnTo>
                      <a:pt x="199" y="209"/>
                    </a:lnTo>
                    <a:lnTo>
                      <a:pt x="202" y="211"/>
                    </a:lnTo>
                    <a:lnTo>
                      <a:pt x="202" y="211"/>
                    </a:lnTo>
                    <a:lnTo>
                      <a:pt x="207" y="214"/>
                    </a:lnTo>
                    <a:lnTo>
                      <a:pt x="210" y="217"/>
                    </a:lnTo>
                    <a:lnTo>
                      <a:pt x="212" y="221"/>
                    </a:lnTo>
                    <a:lnTo>
                      <a:pt x="212" y="224"/>
                    </a:lnTo>
                    <a:lnTo>
                      <a:pt x="211" y="230"/>
                    </a:lnTo>
                    <a:lnTo>
                      <a:pt x="212" y="232"/>
                    </a:lnTo>
                    <a:lnTo>
                      <a:pt x="215" y="232"/>
                    </a:lnTo>
                    <a:lnTo>
                      <a:pt x="215" y="230"/>
                    </a:lnTo>
                    <a:lnTo>
                      <a:pt x="215" y="228"/>
                    </a:lnTo>
                    <a:lnTo>
                      <a:pt x="215" y="228"/>
                    </a:lnTo>
                    <a:lnTo>
                      <a:pt x="217" y="225"/>
                    </a:lnTo>
                    <a:lnTo>
                      <a:pt x="218" y="224"/>
                    </a:lnTo>
                    <a:lnTo>
                      <a:pt x="218" y="222"/>
                    </a:lnTo>
                    <a:lnTo>
                      <a:pt x="218" y="221"/>
                    </a:lnTo>
                    <a:lnTo>
                      <a:pt x="218" y="221"/>
                    </a:lnTo>
                    <a:lnTo>
                      <a:pt x="220" y="219"/>
                    </a:lnTo>
                    <a:lnTo>
                      <a:pt x="218" y="217"/>
                    </a:lnTo>
                    <a:lnTo>
                      <a:pt x="218" y="214"/>
                    </a:lnTo>
                    <a:lnTo>
                      <a:pt x="220" y="211"/>
                    </a:lnTo>
                    <a:lnTo>
                      <a:pt x="221" y="209"/>
                    </a:lnTo>
                    <a:lnTo>
                      <a:pt x="224" y="208"/>
                    </a:lnTo>
                    <a:lnTo>
                      <a:pt x="224" y="209"/>
                    </a:lnTo>
                    <a:lnTo>
                      <a:pt x="225" y="209"/>
                    </a:lnTo>
                    <a:lnTo>
                      <a:pt x="228" y="211"/>
                    </a:lnTo>
                    <a:lnTo>
                      <a:pt x="228" y="209"/>
                    </a:lnTo>
                    <a:lnTo>
                      <a:pt x="228" y="209"/>
                    </a:lnTo>
                    <a:lnTo>
                      <a:pt x="230" y="209"/>
                    </a:lnTo>
                    <a:lnTo>
                      <a:pt x="230" y="208"/>
                    </a:lnTo>
                    <a:lnTo>
                      <a:pt x="230" y="207"/>
                    </a:lnTo>
                    <a:lnTo>
                      <a:pt x="230" y="205"/>
                    </a:lnTo>
                    <a:lnTo>
                      <a:pt x="231" y="202"/>
                    </a:lnTo>
                    <a:lnTo>
                      <a:pt x="230" y="202"/>
                    </a:lnTo>
                    <a:lnTo>
                      <a:pt x="231" y="201"/>
                    </a:lnTo>
                    <a:lnTo>
                      <a:pt x="231" y="196"/>
                    </a:lnTo>
                    <a:lnTo>
                      <a:pt x="232" y="194"/>
                    </a:lnTo>
                    <a:lnTo>
                      <a:pt x="232" y="192"/>
                    </a:lnTo>
                    <a:lnTo>
                      <a:pt x="234" y="191"/>
                    </a:lnTo>
                    <a:lnTo>
                      <a:pt x="235" y="188"/>
                    </a:lnTo>
                    <a:lnTo>
                      <a:pt x="237" y="186"/>
                    </a:lnTo>
                    <a:lnTo>
                      <a:pt x="237" y="185"/>
                    </a:lnTo>
                    <a:lnTo>
                      <a:pt x="240" y="181"/>
                    </a:lnTo>
                    <a:lnTo>
                      <a:pt x="241" y="179"/>
                    </a:lnTo>
                    <a:lnTo>
                      <a:pt x="243" y="178"/>
                    </a:lnTo>
                    <a:lnTo>
                      <a:pt x="244" y="176"/>
                    </a:lnTo>
                    <a:lnTo>
                      <a:pt x="245" y="175"/>
                    </a:lnTo>
                    <a:lnTo>
                      <a:pt x="248" y="175"/>
                    </a:lnTo>
                    <a:lnTo>
                      <a:pt x="250" y="175"/>
                    </a:lnTo>
                    <a:lnTo>
                      <a:pt x="251" y="175"/>
                    </a:lnTo>
                    <a:lnTo>
                      <a:pt x="251" y="175"/>
                    </a:lnTo>
                    <a:lnTo>
                      <a:pt x="251" y="175"/>
                    </a:lnTo>
                    <a:lnTo>
                      <a:pt x="251" y="173"/>
                    </a:lnTo>
                    <a:lnTo>
                      <a:pt x="251" y="173"/>
                    </a:lnTo>
                    <a:lnTo>
                      <a:pt x="251" y="173"/>
                    </a:lnTo>
                    <a:lnTo>
                      <a:pt x="251" y="173"/>
                    </a:lnTo>
                    <a:lnTo>
                      <a:pt x="251" y="172"/>
                    </a:lnTo>
                    <a:lnTo>
                      <a:pt x="251" y="171"/>
                    </a:lnTo>
                    <a:lnTo>
                      <a:pt x="251" y="169"/>
                    </a:lnTo>
                    <a:lnTo>
                      <a:pt x="251" y="168"/>
                    </a:lnTo>
                    <a:lnTo>
                      <a:pt x="253" y="165"/>
                    </a:lnTo>
                    <a:lnTo>
                      <a:pt x="253" y="163"/>
                    </a:lnTo>
                    <a:lnTo>
                      <a:pt x="254" y="162"/>
                    </a:lnTo>
                    <a:lnTo>
                      <a:pt x="254" y="161"/>
                    </a:lnTo>
                    <a:lnTo>
                      <a:pt x="255" y="159"/>
                    </a:lnTo>
                    <a:lnTo>
                      <a:pt x="255" y="158"/>
                    </a:lnTo>
                    <a:lnTo>
                      <a:pt x="255" y="156"/>
                    </a:lnTo>
                    <a:lnTo>
                      <a:pt x="257" y="155"/>
                    </a:lnTo>
                    <a:lnTo>
                      <a:pt x="257" y="153"/>
                    </a:lnTo>
                    <a:lnTo>
                      <a:pt x="257" y="152"/>
                    </a:lnTo>
                    <a:lnTo>
                      <a:pt x="257" y="150"/>
                    </a:lnTo>
                    <a:lnTo>
                      <a:pt x="258" y="148"/>
                    </a:lnTo>
                    <a:lnTo>
                      <a:pt x="257" y="145"/>
                    </a:lnTo>
                    <a:lnTo>
                      <a:pt x="257" y="140"/>
                    </a:lnTo>
                    <a:lnTo>
                      <a:pt x="257" y="135"/>
                    </a:lnTo>
                    <a:lnTo>
                      <a:pt x="255" y="132"/>
                    </a:lnTo>
                    <a:lnTo>
                      <a:pt x="257" y="130"/>
                    </a:lnTo>
                    <a:lnTo>
                      <a:pt x="257" y="129"/>
                    </a:lnTo>
                    <a:lnTo>
                      <a:pt x="258" y="127"/>
                    </a:lnTo>
                    <a:lnTo>
                      <a:pt x="258" y="127"/>
                    </a:lnTo>
                    <a:lnTo>
                      <a:pt x="260" y="122"/>
                    </a:lnTo>
                    <a:lnTo>
                      <a:pt x="260" y="122"/>
                    </a:lnTo>
                    <a:lnTo>
                      <a:pt x="260" y="120"/>
                    </a:lnTo>
                    <a:lnTo>
                      <a:pt x="261" y="120"/>
                    </a:lnTo>
                    <a:lnTo>
                      <a:pt x="261" y="120"/>
                    </a:lnTo>
                    <a:lnTo>
                      <a:pt x="261" y="119"/>
                    </a:lnTo>
                    <a:lnTo>
                      <a:pt x="263" y="117"/>
                    </a:lnTo>
                    <a:lnTo>
                      <a:pt x="263" y="115"/>
                    </a:lnTo>
                    <a:lnTo>
                      <a:pt x="264" y="112"/>
                    </a:lnTo>
                    <a:lnTo>
                      <a:pt x="264" y="109"/>
                    </a:lnTo>
                    <a:lnTo>
                      <a:pt x="264" y="106"/>
                    </a:lnTo>
                    <a:lnTo>
                      <a:pt x="264" y="104"/>
                    </a:lnTo>
                    <a:lnTo>
                      <a:pt x="264" y="104"/>
                    </a:lnTo>
                    <a:lnTo>
                      <a:pt x="264" y="104"/>
                    </a:lnTo>
                    <a:lnTo>
                      <a:pt x="264" y="103"/>
                    </a:lnTo>
                    <a:lnTo>
                      <a:pt x="266" y="102"/>
                    </a:lnTo>
                    <a:lnTo>
                      <a:pt x="266" y="102"/>
                    </a:lnTo>
                    <a:lnTo>
                      <a:pt x="266" y="100"/>
                    </a:lnTo>
                    <a:lnTo>
                      <a:pt x="266" y="99"/>
                    </a:lnTo>
                    <a:lnTo>
                      <a:pt x="266" y="97"/>
                    </a:lnTo>
                    <a:lnTo>
                      <a:pt x="266" y="97"/>
                    </a:lnTo>
                    <a:lnTo>
                      <a:pt x="266" y="97"/>
                    </a:lnTo>
                    <a:lnTo>
                      <a:pt x="266" y="96"/>
                    </a:lnTo>
                    <a:lnTo>
                      <a:pt x="267" y="96"/>
                    </a:lnTo>
                    <a:lnTo>
                      <a:pt x="267" y="96"/>
                    </a:lnTo>
                    <a:lnTo>
                      <a:pt x="267" y="96"/>
                    </a:lnTo>
                    <a:lnTo>
                      <a:pt x="268" y="96"/>
                    </a:lnTo>
                    <a:lnTo>
                      <a:pt x="268" y="96"/>
                    </a:lnTo>
                    <a:lnTo>
                      <a:pt x="268" y="96"/>
                    </a:lnTo>
                    <a:lnTo>
                      <a:pt x="270" y="96"/>
                    </a:lnTo>
                    <a:lnTo>
                      <a:pt x="270" y="96"/>
                    </a:lnTo>
                    <a:lnTo>
                      <a:pt x="270" y="96"/>
                    </a:lnTo>
                    <a:lnTo>
                      <a:pt x="273" y="96"/>
                    </a:lnTo>
                    <a:lnTo>
                      <a:pt x="274" y="96"/>
                    </a:lnTo>
                    <a:lnTo>
                      <a:pt x="274" y="94"/>
                    </a:lnTo>
                    <a:lnTo>
                      <a:pt x="274" y="94"/>
                    </a:lnTo>
                    <a:lnTo>
                      <a:pt x="274" y="93"/>
                    </a:lnTo>
                    <a:lnTo>
                      <a:pt x="274" y="93"/>
                    </a:lnTo>
                    <a:lnTo>
                      <a:pt x="276" y="92"/>
                    </a:lnTo>
                    <a:lnTo>
                      <a:pt x="276" y="92"/>
                    </a:lnTo>
                    <a:lnTo>
                      <a:pt x="276" y="92"/>
                    </a:lnTo>
                    <a:lnTo>
                      <a:pt x="276" y="92"/>
                    </a:lnTo>
                    <a:lnTo>
                      <a:pt x="277" y="90"/>
                    </a:lnTo>
                    <a:lnTo>
                      <a:pt x="277" y="90"/>
                    </a:lnTo>
                    <a:lnTo>
                      <a:pt x="277" y="90"/>
                    </a:lnTo>
                    <a:lnTo>
                      <a:pt x="280" y="89"/>
                    </a:lnTo>
                    <a:lnTo>
                      <a:pt x="281" y="89"/>
                    </a:lnTo>
                    <a:lnTo>
                      <a:pt x="283" y="87"/>
                    </a:lnTo>
                    <a:lnTo>
                      <a:pt x="283" y="87"/>
                    </a:lnTo>
                    <a:lnTo>
                      <a:pt x="287" y="87"/>
                    </a:lnTo>
                    <a:lnTo>
                      <a:pt x="287" y="87"/>
                    </a:lnTo>
                    <a:lnTo>
                      <a:pt x="287" y="86"/>
                    </a:lnTo>
                    <a:lnTo>
                      <a:pt x="288" y="86"/>
                    </a:lnTo>
                    <a:lnTo>
                      <a:pt x="288" y="86"/>
                    </a:lnTo>
                    <a:lnTo>
                      <a:pt x="288" y="86"/>
                    </a:lnTo>
                    <a:lnTo>
                      <a:pt x="290" y="84"/>
                    </a:lnTo>
                    <a:lnTo>
                      <a:pt x="290" y="84"/>
                    </a:lnTo>
                    <a:lnTo>
                      <a:pt x="290" y="83"/>
                    </a:lnTo>
                    <a:lnTo>
                      <a:pt x="290" y="83"/>
                    </a:lnTo>
                    <a:lnTo>
                      <a:pt x="291" y="83"/>
                    </a:lnTo>
                    <a:lnTo>
                      <a:pt x="291" y="81"/>
                    </a:lnTo>
                    <a:lnTo>
                      <a:pt x="291" y="81"/>
                    </a:lnTo>
                    <a:lnTo>
                      <a:pt x="291" y="81"/>
                    </a:lnTo>
                    <a:lnTo>
                      <a:pt x="291" y="80"/>
                    </a:lnTo>
                    <a:lnTo>
                      <a:pt x="293" y="80"/>
                    </a:lnTo>
                    <a:lnTo>
                      <a:pt x="293" y="80"/>
                    </a:lnTo>
                    <a:lnTo>
                      <a:pt x="294" y="79"/>
                    </a:lnTo>
                    <a:lnTo>
                      <a:pt x="294" y="79"/>
                    </a:lnTo>
                    <a:lnTo>
                      <a:pt x="293" y="7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33" name="Freeform 220">
                <a:extLst>
                  <a:ext uri="{FF2B5EF4-FFF2-40B4-BE49-F238E27FC236}">
                    <a16:creationId xmlns:a16="http://schemas.microsoft.com/office/drawing/2014/main" id="{04293065-E47D-6C68-A291-C98348503BED}"/>
                  </a:ext>
                </a:extLst>
              </p:cNvPr>
              <p:cNvSpPr>
                <a:spLocks/>
              </p:cNvSpPr>
              <p:nvPr/>
            </p:nvSpPr>
            <p:spPr bwMode="auto">
              <a:xfrm>
                <a:off x="3961" y="2499"/>
                <a:ext cx="206" cy="157"/>
              </a:xfrm>
              <a:custGeom>
                <a:avLst/>
                <a:gdLst>
                  <a:gd name="T0" fmla="*/ 202 w 206"/>
                  <a:gd name="T1" fmla="*/ 115 h 157"/>
                  <a:gd name="T2" fmla="*/ 201 w 206"/>
                  <a:gd name="T3" fmla="*/ 109 h 157"/>
                  <a:gd name="T4" fmla="*/ 195 w 206"/>
                  <a:gd name="T5" fmla="*/ 99 h 157"/>
                  <a:gd name="T6" fmla="*/ 191 w 206"/>
                  <a:gd name="T7" fmla="*/ 96 h 157"/>
                  <a:gd name="T8" fmla="*/ 185 w 206"/>
                  <a:gd name="T9" fmla="*/ 91 h 157"/>
                  <a:gd name="T10" fmla="*/ 183 w 206"/>
                  <a:gd name="T11" fmla="*/ 86 h 157"/>
                  <a:gd name="T12" fmla="*/ 178 w 206"/>
                  <a:gd name="T13" fmla="*/ 83 h 157"/>
                  <a:gd name="T14" fmla="*/ 169 w 206"/>
                  <a:gd name="T15" fmla="*/ 81 h 157"/>
                  <a:gd name="T16" fmla="*/ 166 w 206"/>
                  <a:gd name="T17" fmla="*/ 79 h 157"/>
                  <a:gd name="T18" fmla="*/ 172 w 206"/>
                  <a:gd name="T19" fmla="*/ 69 h 157"/>
                  <a:gd name="T20" fmla="*/ 182 w 206"/>
                  <a:gd name="T21" fmla="*/ 69 h 157"/>
                  <a:gd name="T22" fmla="*/ 186 w 206"/>
                  <a:gd name="T23" fmla="*/ 66 h 157"/>
                  <a:gd name="T24" fmla="*/ 186 w 206"/>
                  <a:gd name="T25" fmla="*/ 53 h 157"/>
                  <a:gd name="T26" fmla="*/ 183 w 206"/>
                  <a:gd name="T27" fmla="*/ 42 h 157"/>
                  <a:gd name="T28" fmla="*/ 170 w 206"/>
                  <a:gd name="T29" fmla="*/ 27 h 157"/>
                  <a:gd name="T30" fmla="*/ 169 w 206"/>
                  <a:gd name="T31" fmla="*/ 14 h 157"/>
                  <a:gd name="T32" fmla="*/ 150 w 206"/>
                  <a:gd name="T33" fmla="*/ 4 h 157"/>
                  <a:gd name="T34" fmla="*/ 152 w 206"/>
                  <a:gd name="T35" fmla="*/ 26 h 157"/>
                  <a:gd name="T36" fmla="*/ 127 w 206"/>
                  <a:gd name="T37" fmla="*/ 45 h 157"/>
                  <a:gd name="T38" fmla="*/ 107 w 206"/>
                  <a:gd name="T39" fmla="*/ 43 h 157"/>
                  <a:gd name="T40" fmla="*/ 97 w 206"/>
                  <a:gd name="T41" fmla="*/ 48 h 157"/>
                  <a:gd name="T42" fmla="*/ 80 w 206"/>
                  <a:gd name="T43" fmla="*/ 52 h 157"/>
                  <a:gd name="T44" fmla="*/ 63 w 206"/>
                  <a:gd name="T45" fmla="*/ 48 h 157"/>
                  <a:gd name="T46" fmla="*/ 41 w 206"/>
                  <a:gd name="T47" fmla="*/ 35 h 157"/>
                  <a:gd name="T48" fmla="*/ 30 w 206"/>
                  <a:gd name="T49" fmla="*/ 35 h 157"/>
                  <a:gd name="T50" fmla="*/ 24 w 206"/>
                  <a:gd name="T51" fmla="*/ 43 h 157"/>
                  <a:gd name="T52" fmla="*/ 2 w 206"/>
                  <a:gd name="T53" fmla="*/ 48 h 157"/>
                  <a:gd name="T54" fmla="*/ 0 w 206"/>
                  <a:gd name="T55" fmla="*/ 59 h 157"/>
                  <a:gd name="T56" fmla="*/ 1 w 206"/>
                  <a:gd name="T57" fmla="*/ 63 h 157"/>
                  <a:gd name="T58" fmla="*/ 11 w 206"/>
                  <a:gd name="T59" fmla="*/ 66 h 157"/>
                  <a:gd name="T60" fmla="*/ 12 w 206"/>
                  <a:gd name="T61" fmla="*/ 71 h 157"/>
                  <a:gd name="T62" fmla="*/ 23 w 206"/>
                  <a:gd name="T63" fmla="*/ 75 h 157"/>
                  <a:gd name="T64" fmla="*/ 30 w 206"/>
                  <a:gd name="T65" fmla="*/ 83 h 157"/>
                  <a:gd name="T66" fmla="*/ 33 w 206"/>
                  <a:gd name="T67" fmla="*/ 88 h 157"/>
                  <a:gd name="T68" fmla="*/ 44 w 206"/>
                  <a:gd name="T69" fmla="*/ 96 h 157"/>
                  <a:gd name="T70" fmla="*/ 50 w 206"/>
                  <a:gd name="T71" fmla="*/ 102 h 157"/>
                  <a:gd name="T72" fmla="*/ 51 w 206"/>
                  <a:gd name="T73" fmla="*/ 109 h 157"/>
                  <a:gd name="T74" fmla="*/ 54 w 206"/>
                  <a:gd name="T75" fmla="*/ 112 h 157"/>
                  <a:gd name="T76" fmla="*/ 60 w 206"/>
                  <a:gd name="T77" fmla="*/ 115 h 157"/>
                  <a:gd name="T78" fmla="*/ 66 w 206"/>
                  <a:gd name="T79" fmla="*/ 119 h 157"/>
                  <a:gd name="T80" fmla="*/ 66 w 206"/>
                  <a:gd name="T81" fmla="*/ 125 h 157"/>
                  <a:gd name="T82" fmla="*/ 68 w 206"/>
                  <a:gd name="T83" fmla="*/ 129 h 157"/>
                  <a:gd name="T84" fmla="*/ 76 w 206"/>
                  <a:gd name="T85" fmla="*/ 137 h 157"/>
                  <a:gd name="T86" fmla="*/ 81 w 206"/>
                  <a:gd name="T87" fmla="*/ 141 h 157"/>
                  <a:gd name="T88" fmla="*/ 91 w 206"/>
                  <a:gd name="T89" fmla="*/ 140 h 157"/>
                  <a:gd name="T90" fmla="*/ 102 w 206"/>
                  <a:gd name="T91" fmla="*/ 141 h 157"/>
                  <a:gd name="T92" fmla="*/ 106 w 206"/>
                  <a:gd name="T93" fmla="*/ 137 h 157"/>
                  <a:gd name="T94" fmla="*/ 117 w 206"/>
                  <a:gd name="T95" fmla="*/ 148 h 157"/>
                  <a:gd name="T96" fmla="*/ 123 w 206"/>
                  <a:gd name="T97" fmla="*/ 152 h 157"/>
                  <a:gd name="T98" fmla="*/ 124 w 206"/>
                  <a:gd name="T99" fmla="*/ 155 h 157"/>
                  <a:gd name="T100" fmla="*/ 129 w 206"/>
                  <a:gd name="T101" fmla="*/ 157 h 157"/>
                  <a:gd name="T102" fmla="*/ 136 w 206"/>
                  <a:gd name="T103" fmla="*/ 152 h 157"/>
                  <a:gd name="T104" fmla="*/ 140 w 206"/>
                  <a:gd name="T105" fmla="*/ 154 h 157"/>
                  <a:gd name="T106" fmla="*/ 146 w 206"/>
                  <a:gd name="T107" fmla="*/ 152 h 157"/>
                  <a:gd name="T108" fmla="*/ 149 w 206"/>
                  <a:gd name="T109" fmla="*/ 155 h 157"/>
                  <a:gd name="T110" fmla="*/ 152 w 206"/>
                  <a:gd name="T111" fmla="*/ 157 h 157"/>
                  <a:gd name="T112" fmla="*/ 163 w 206"/>
                  <a:gd name="T113" fmla="*/ 152 h 157"/>
                  <a:gd name="T114" fmla="*/ 170 w 206"/>
                  <a:gd name="T115" fmla="*/ 152 h 157"/>
                  <a:gd name="T116" fmla="*/ 176 w 206"/>
                  <a:gd name="T117" fmla="*/ 152 h 157"/>
                  <a:gd name="T118" fmla="*/ 206 w 206"/>
                  <a:gd name="T119" fmla="*/ 122 h 157"/>
                  <a:gd name="T120" fmla="*/ 206 w 206"/>
                  <a:gd name="T121" fmla="*/ 121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6" h="157">
                    <a:moveTo>
                      <a:pt x="206" y="121"/>
                    </a:moveTo>
                    <a:lnTo>
                      <a:pt x="205" y="121"/>
                    </a:lnTo>
                    <a:lnTo>
                      <a:pt x="203" y="119"/>
                    </a:lnTo>
                    <a:lnTo>
                      <a:pt x="203" y="118"/>
                    </a:lnTo>
                    <a:lnTo>
                      <a:pt x="202" y="117"/>
                    </a:lnTo>
                    <a:lnTo>
                      <a:pt x="202" y="115"/>
                    </a:lnTo>
                    <a:lnTo>
                      <a:pt x="202" y="114"/>
                    </a:lnTo>
                    <a:lnTo>
                      <a:pt x="202" y="114"/>
                    </a:lnTo>
                    <a:lnTo>
                      <a:pt x="201" y="112"/>
                    </a:lnTo>
                    <a:lnTo>
                      <a:pt x="201" y="112"/>
                    </a:lnTo>
                    <a:lnTo>
                      <a:pt x="201" y="111"/>
                    </a:lnTo>
                    <a:lnTo>
                      <a:pt x="201" y="109"/>
                    </a:lnTo>
                    <a:lnTo>
                      <a:pt x="199" y="109"/>
                    </a:lnTo>
                    <a:lnTo>
                      <a:pt x="198" y="102"/>
                    </a:lnTo>
                    <a:lnTo>
                      <a:pt x="196" y="101"/>
                    </a:lnTo>
                    <a:lnTo>
                      <a:pt x="196" y="101"/>
                    </a:lnTo>
                    <a:lnTo>
                      <a:pt x="195" y="99"/>
                    </a:lnTo>
                    <a:lnTo>
                      <a:pt x="195" y="99"/>
                    </a:lnTo>
                    <a:lnTo>
                      <a:pt x="195" y="99"/>
                    </a:lnTo>
                    <a:lnTo>
                      <a:pt x="193" y="98"/>
                    </a:lnTo>
                    <a:lnTo>
                      <a:pt x="193" y="98"/>
                    </a:lnTo>
                    <a:lnTo>
                      <a:pt x="193" y="96"/>
                    </a:lnTo>
                    <a:lnTo>
                      <a:pt x="192" y="96"/>
                    </a:lnTo>
                    <a:lnTo>
                      <a:pt x="191" y="96"/>
                    </a:lnTo>
                    <a:lnTo>
                      <a:pt x="191" y="95"/>
                    </a:lnTo>
                    <a:lnTo>
                      <a:pt x="189" y="95"/>
                    </a:lnTo>
                    <a:lnTo>
                      <a:pt x="189" y="95"/>
                    </a:lnTo>
                    <a:lnTo>
                      <a:pt x="188" y="94"/>
                    </a:lnTo>
                    <a:lnTo>
                      <a:pt x="185" y="91"/>
                    </a:lnTo>
                    <a:lnTo>
                      <a:pt x="185" y="91"/>
                    </a:lnTo>
                    <a:lnTo>
                      <a:pt x="185" y="89"/>
                    </a:lnTo>
                    <a:lnTo>
                      <a:pt x="185" y="89"/>
                    </a:lnTo>
                    <a:lnTo>
                      <a:pt x="185" y="89"/>
                    </a:lnTo>
                    <a:lnTo>
                      <a:pt x="185" y="88"/>
                    </a:lnTo>
                    <a:lnTo>
                      <a:pt x="183" y="88"/>
                    </a:lnTo>
                    <a:lnTo>
                      <a:pt x="183" y="86"/>
                    </a:lnTo>
                    <a:lnTo>
                      <a:pt x="182" y="86"/>
                    </a:lnTo>
                    <a:lnTo>
                      <a:pt x="181" y="85"/>
                    </a:lnTo>
                    <a:lnTo>
                      <a:pt x="181" y="83"/>
                    </a:lnTo>
                    <a:lnTo>
                      <a:pt x="179" y="83"/>
                    </a:lnTo>
                    <a:lnTo>
                      <a:pt x="178" y="83"/>
                    </a:lnTo>
                    <a:lnTo>
                      <a:pt x="178" y="83"/>
                    </a:lnTo>
                    <a:lnTo>
                      <a:pt x="172" y="82"/>
                    </a:lnTo>
                    <a:lnTo>
                      <a:pt x="172" y="82"/>
                    </a:lnTo>
                    <a:lnTo>
                      <a:pt x="170" y="82"/>
                    </a:lnTo>
                    <a:lnTo>
                      <a:pt x="170" y="82"/>
                    </a:lnTo>
                    <a:lnTo>
                      <a:pt x="169" y="81"/>
                    </a:lnTo>
                    <a:lnTo>
                      <a:pt x="169" y="81"/>
                    </a:lnTo>
                    <a:lnTo>
                      <a:pt x="168" y="81"/>
                    </a:lnTo>
                    <a:lnTo>
                      <a:pt x="168" y="81"/>
                    </a:lnTo>
                    <a:lnTo>
                      <a:pt x="168" y="79"/>
                    </a:lnTo>
                    <a:lnTo>
                      <a:pt x="166" y="79"/>
                    </a:lnTo>
                    <a:lnTo>
                      <a:pt x="166" y="79"/>
                    </a:lnTo>
                    <a:lnTo>
                      <a:pt x="166" y="79"/>
                    </a:lnTo>
                    <a:lnTo>
                      <a:pt x="168" y="78"/>
                    </a:lnTo>
                    <a:lnTo>
                      <a:pt x="169" y="76"/>
                    </a:lnTo>
                    <a:lnTo>
                      <a:pt x="170" y="72"/>
                    </a:lnTo>
                    <a:lnTo>
                      <a:pt x="170" y="71"/>
                    </a:lnTo>
                    <a:lnTo>
                      <a:pt x="172" y="71"/>
                    </a:lnTo>
                    <a:lnTo>
                      <a:pt x="172" y="69"/>
                    </a:lnTo>
                    <a:lnTo>
                      <a:pt x="173" y="69"/>
                    </a:lnTo>
                    <a:lnTo>
                      <a:pt x="173" y="69"/>
                    </a:lnTo>
                    <a:lnTo>
                      <a:pt x="175" y="69"/>
                    </a:lnTo>
                    <a:lnTo>
                      <a:pt x="181" y="69"/>
                    </a:lnTo>
                    <a:lnTo>
                      <a:pt x="182" y="69"/>
                    </a:lnTo>
                    <a:lnTo>
                      <a:pt x="182" y="69"/>
                    </a:lnTo>
                    <a:lnTo>
                      <a:pt x="183" y="69"/>
                    </a:lnTo>
                    <a:lnTo>
                      <a:pt x="183" y="69"/>
                    </a:lnTo>
                    <a:lnTo>
                      <a:pt x="185" y="69"/>
                    </a:lnTo>
                    <a:lnTo>
                      <a:pt x="185" y="69"/>
                    </a:lnTo>
                    <a:lnTo>
                      <a:pt x="186" y="68"/>
                    </a:lnTo>
                    <a:lnTo>
                      <a:pt x="186" y="66"/>
                    </a:lnTo>
                    <a:lnTo>
                      <a:pt x="186" y="66"/>
                    </a:lnTo>
                    <a:lnTo>
                      <a:pt x="186" y="65"/>
                    </a:lnTo>
                    <a:lnTo>
                      <a:pt x="186" y="63"/>
                    </a:lnTo>
                    <a:lnTo>
                      <a:pt x="186" y="62"/>
                    </a:lnTo>
                    <a:lnTo>
                      <a:pt x="186" y="58"/>
                    </a:lnTo>
                    <a:lnTo>
                      <a:pt x="186" y="53"/>
                    </a:lnTo>
                    <a:lnTo>
                      <a:pt x="186" y="52"/>
                    </a:lnTo>
                    <a:lnTo>
                      <a:pt x="186" y="50"/>
                    </a:lnTo>
                    <a:lnTo>
                      <a:pt x="186" y="50"/>
                    </a:lnTo>
                    <a:lnTo>
                      <a:pt x="183" y="50"/>
                    </a:lnTo>
                    <a:lnTo>
                      <a:pt x="182" y="48"/>
                    </a:lnTo>
                    <a:lnTo>
                      <a:pt x="183" y="42"/>
                    </a:lnTo>
                    <a:lnTo>
                      <a:pt x="183" y="39"/>
                    </a:lnTo>
                    <a:lnTo>
                      <a:pt x="181" y="35"/>
                    </a:lnTo>
                    <a:lnTo>
                      <a:pt x="178" y="32"/>
                    </a:lnTo>
                    <a:lnTo>
                      <a:pt x="173" y="29"/>
                    </a:lnTo>
                    <a:lnTo>
                      <a:pt x="173" y="29"/>
                    </a:lnTo>
                    <a:lnTo>
                      <a:pt x="170" y="27"/>
                    </a:lnTo>
                    <a:lnTo>
                      <a:pt x="169" y="27"/>
                    </a:lnTo>
                    <a:lnTo>
                      <a:pt x="169" y="27"/>
                    </a:lnTo>
                    <a:lnTo>
                      <a:pt x="170" y="26"/>
                    </a:lnTo>
                    <a:lnTo>
                      <a:pt x="170" y="26"/>
                    </a:lnTo>
                    <a:lnTo>
                      <a:pt x="169" y="23"/>
                    </a:lnTo>
                    <a:lnTo>
                      <a:pt x="169" y="14"/>
                    </a:lnTo>
                    <a:lnTo>
                      <a:pt x="169" y="12"/>
                    </a:lnTo>
                    <a:lnTo>
                      <a:pt x="170" y="2"/>
                    </a:lnTo>
                    <a:lnTo>
                      <a:pt x="162" y="0"/>
                    </a:lnTo>
                    <a:lnTo>
                      <a:pt x="162" y="3"/>
                    </a:lnTo>
                    <a:lnTo>
                      <a:pt x="163" y="4"/>
                    </a:lnTo>
                    <a:lnTo>
                      <a:pt x="150" y="4"/>
                    </a:lnTo>
                    <a:lnTo>
                      <a:pt x="153" y="9"/>
                    </a:lnTo>
                    <a:lnTo>
                      <a:pt x="155" y="10"/>
                    </a:lnTo>
                    <a:lnTo>
                      <a:pt x="156" y="20"/>
                    </a:lnTo>
                    <a:lnTo>
                      <a:pt x="156" y="22"/>
                    </a:lnTo>
                    <a:lnTo>
                      <a:pt x="155" y="23"/>
                    </a:lnTo>
                    <a:lnTo>
                      <a:pt x="152" y="26"/>
                    </a:lnTo>
                    <a:lnTo>
                      <a:pt x="147" y="32"/>
                    </a:lnTo>
                    <a:lnTo>
                      <a:pt x="143" y="37"/>
                    </a:lnTo>
                    <a:lnTo>
                      <a:pt x="137" y="42"/>
                    </a:lnTo>
                    <a:lnTo>
                      <a:pt x="132" y="45"/>
                    </a:lnTo>
                    <a:lnTo>
                      <a:pt x="129" y="45"/>
                    </a:lnTo>
                    <a:lnTo>
                      <a:pt x="127" y="45"/>
                    </a:lnTo>
                    <a:lnTo>
                      <a:pt x="119" y="39"/>
                    </a:lnTo>
                    <a:lnTo>
                      <a:pt x="116" y="36"/>
                    </a:lnTo>
                    <a:lnTo>
                      <a:pt x="112" y="36"/>
                    </a:lnTo>
                    <a:lnTo>
                      <a:pt x="109" y="39"/>
                    </a:lnTo>
                    <a:lnTo>
                      <a:pt x="107" y="40"/>
                    </a:lnTo>
                    <a:lnTo>
                      <a:pt x="107" y="43"/>
                    </a:lnTo>
                    <a:lnTo>
                      <a:pt x="106" y="45"/>
                    </a:lnTo>
                    <a:lnTo>
                      <a:pt x="104" y="45"/>
                    </a:lnTo>
                    <a:lnTo>
                      <a:pt x="103" y="46"/>
                    </a:lnTo>
                    <a:lnTo>
                      <a:pt x="102" y="46"/>
                    </a:lnTo>
                    <a:lnTo>
                      <a:pt x="100" y="46"/>
                    </a:lnTo>
                    <a:lnTo>
                      <a:pt x="97" y="48"/>
                    </a:lnTo>
                    <a:lnTo>
                      <a:pt x="96" y="49"/>
                    </a:lnTo>
                    <a:lnTo>
                      <a:pt x="94" y="50"/>
                    </a:lnTo>
                    <a:lnTo>
                      <a:pt x="94" y="53"/>
                    </a:lnTo>
                    <a:lnTo>
                      <a:pt x="83" y="52"/>
                    </a:lnTo>
                    <a:lnTo>
                      <a:pt x="80" y="52"/>
                    </a:lnTo>
                    <a:lnTo>
                      <a:pt x="80" y="52"/>
                    </a:lnTo>
                    <a:lnTo>
                      <a:pt x="79" y="50"/>
                    </a:lnTo>
                    <a:lnTo>
                      <a:pt x="77" y="49"/>
                    </a:lnTo>
                    <a:lnTo>
                      <a:pt x="74" y="48"/>
                    </a:lnTo>
                    <a:lnTo>
                      <a:pt x="70" y="48"/>
                    </a:lnTo>
                    <a:lnTo>
                      <a:pt x="66" y="48"/>
                    </a:lnTo>
                    <a:lnTo>
                      <a:pt x="63" y="48"/>
                    </a:lnTo>
                    <a:lnTo>
                      <a:pt x="56" y="49"/>
                    </a:lnTo>
                    <a:lnTo>
                      <a:pt x="53" y="49"/>
                    </a:lnTo>
                    <a:lnTo>
                      <a:pt x="48" y="43"/>
                    </a:lnTo>
                    <a:lnTo>
                      <a:pt x="44" y="39"/>
                    </a:lnTo>
                    <a:lnTo>
                      <a:pt x="43" y="37"/>
                    </a:lnTo>
                    <a:lnTo>
                      <a:pt x="41" y="35"/>
                    </a:lnTo>
                    <a:lnTo>
                      <a:pt x="41" y="35"/>
                    </a:lnTo>
                    <a:lnTo>
                      <a:pt x="40" y="33"/>
                    </a:lnTo>
                    <a:lnTo>
                      <a:pt x="38" y="33"/>
                    </a:lnTo>
                    <a:lnTo>
                      <a:pt x="37" y="33"/>
                    </a:lnTo>
                    <a:lnTo>
                      <a:pt x="31" y="35"/>
                    </a:lnTo>
                    <a:lnTo>
                      <a:pt x="30" y="35"/>
                    </a:lnTo>
                    <a:lnTo>
                      <a:pt x="28" y="36"/>
                    </a:lnTo>
                    <a:lnTo>
                      <a:pt x="27" y="36"/>
                    </a:lnTo>
                    <a:lnTo>
                      <a:pt x="27" y="37"/>
                    </a:lnTo>
                    <a:lnTo>
                      <a:pt x="25" y="39"/>
                    </a:lnTo>
                    <a:lnTo>
                      <a:pt x="25" y="42"/>
                    </a:lnTo>
                    <a:lnTo>
                      <a:pt x="24" y="43"/>
                    </a:lnTo>
                    <a:lnTo>
                      <a:pt x="23" y="45"/>
                    </a:lnTo>
                    <a:lnTo>
                      <a:pt x="20" y="45"/>
                    </a:lnTo>
                    <a:lnTo>
                      <a:pt x="17" y="45"/>
                    </a:lnTo>
                    <a:lnTo>
                      <a:pt x="12" y="46"/>
                    </a:lnTo>
                    <a:lnTo>
                      <a:pt x="7" y="48"/>
                    </a:lnTo>
                    <a:lnTo>
                      <a:pt x="2" y="48"/>
                    </a:lnTo>
                    <a:lnTo>
                      <a:pt x="2" y="49"/>
                    </a:lnTo>
                    <a:lnTo>
                      <a:pt x="2" y="53"/>
                    </a:lnTo>
                    <a:lnTo>
                      <a:pt x="1" y="55"/>
                    </a:lnTo>
                    <a:lnTo>
                      <a:pt x="0" y="58"/>
                    </a:lnTo>
                    <a:lnTo>
                      <a:pt x="0" y="59"/>
                    </a:lnTo>
                    <a:lnTo>
                      <a:pt x="0" y="59"/>
                    </a:lnTo>
                    <a:lnTo>
                      <a:pt x="0" y="60"/>
                    </a:lnTo>
                    <a:lnTo>
                      <a:pt x="1" y="60"/>
                    </a:lnTo>
                    <a:lnTo>
                      <a:pt x="1" y="62"/>
                    </a:lnTo>
                    <a:lnTo>
                      <a:pt x="1" y="62"/>
                    </a:lnTo>
                    <a:lnTo>
                      <a:pt x="1" y="63"/>
                    </a:lnTo>
                    <a:lnTo>
                      <a:pt x="1" y="63"/>
                    </a:lnTo>
                    <a:lnTo>
                      <a:pt x="1" y="63"/>
                    </a:lnTo>
                    <a:lnTo>
                      <a:pt x="2" y="65"/>
                    </a:lnTo>
                    <a:lnTo>
                      <a:pt x="8" y="65"/>
                    </a:lnTo>
                    <a:lnTo>
                      <a:pt x="10" y="65"/>
                    </a:lnTo>
                    <a:lnTo>
                      <a:pt x="11" y="65"/>
                    </a:lnTo>
                    <a:lnTo>
                      <a:pt x="11" y="66"/>
                    </a:lnTo>
                    <a:lnTo>
                      <a:pt x="11" y="66"/>
                    </a:lnTo>
                    <a:lnTo>
                      <a:pt x="12" y="66"/>
                    </a:lnTo>
                    <a:lnTo>
                      <a:pt x="12" y="66"/>
                    </a:lnTo>
                    <a:lnTo>
                      <a:pt x="12" y="66"/>
                    </a:lnTo>
                    <a:lnTo>
                      <a:pt x="11" y="69"/>
                    </a:lnTo>
                    <a:lnTo>
                      <a:pt x="12" y="71"/>
                    </a:lnTo>
                    <a:lnTo>
                      <a:pt x="12" y="72"/>
                    </a:lnTo>
                    <a:lnTo>
                      <a:pt x="14" y="72"/>
                    </a:lnTo>
                    <a:lnTo>
                      <a:pt x="14" y="72"/>
                    </a:lnTo>
                    <a:lnTo>
                      <a:pt x="15" y="73"/>
                    </a:lnTo>
                    <a:lnTo>
                      <a:pt x="21" y="73"/>
                    </a:lnTo>
                    <a:lnTo>
                      <a:pt x="23" y="75"/>
                    </a:lnTo>
                    <a:lnTo>
                      <a:pt x="24" y="75"/>
                    </a:lnTo>
                    <a:lnTo>
                      <a:pt x="25" y="76"/>
                    </a:lnTo>
                    <a:lnTo>
                      <a:pt x="27" y="79"/>
                    </a:lnTo>
                    <a:lnTo>
                      <a:pt x="30" y="81"/>
                    </a:lnTo>
                    <a:lnTo>
                      <a:pt x="31" y="82"/>
                    </a:lnTo>
                    <a:lnTo>
                      <a:pt x="30" y="83"/>
                    </a:lnTo>
                    <a:lnTo>
                      <a:pt x="30" y="85"/>
                    </a:lnTo>
                    <a:lnTo>
                      <a:pt x="30" y="86"/>
                    </a:lnTo>
                    <a:lnTo>
                      <a:pt x="30" y="86"/>
                    </a:lnTo>
                    <a:lnTo>
                      <a:pt x="30" y="86"/>
                    </a:lnTo>
                    <a:lnTo>
                      <a:pt x="31" y="88"/>
                    </a:lnTo>
                    <a:lnTo>
                      <a:pt x="33" y="88"/>
                    </a:lnTo>
                    <a:lnTo>
                      <a:pt x="34" y="89"/>
                    </a:lnTo>
                    <a:lnTo>
                      <a:pt x="35" y="91"/>
                    </a:lnTo>
                    <a:lnTo>
                      <a:pt x="38" y="92"/>
                    </a:lnTo>
                    <a:lnTo>
                      <a:pt x="41" y="94"/>
                    </a:lnTo>
                    <a:lnTo>
                      <a:pt x="43" y="95"/>
                    </a:lnTo>
                    <a:lnTo>
                      <a:pt x="44" y="96"/>
                    </a:lnTo>
                    <a:lnTo>
                      <a:pt x="44" y="96"/>
                    </a:lnTo>
                    <a:lnTo>
                      <a:pt x="46" y="96"/>
                    </a:lnTo>
                    <a:lnTo>
                      <a:pt x="46" y="98"/>
                    </a:lnTo>
                    <a:lnTo>
                      <a:pt x="46" y="98"/>
                    </a:lnTo>
                    <a:lnTo>
                      <a:pt x="47" y="99"/>
                    </a:lnTo>
                    <a:lnTo>
                      <a:pt x="50" y="102"/>
                    </a:lnTo>
                    <a:lnTo>
                      <a:pt x="50" y="105"/>
                    </a:lnTo>
                    <a:lnTo>
                      <a:pt x="50" y="105"/>
                    </a:lnTo>
                    <a:lnTo>
                      <a:pt x="50" y="106"/>
                    </a:lnTo>
                    <a:lnTo>
                      <a:pt x="50" y="108"/>
                    </a:lnTo>
                    <a:lnTo>
                      <a:pt x="51" y="108"/>
                    </a:lnTo>
                    <a:lnTo>
                      <a:pt x="51" y="109"/>
                    </a:lnTo>
                    <a:lnTo>
                      <a:pt x="51" y="109"/>
                    </a:lnTo>
                    <a:lnTo>
                      <a:pt x="53" y="111"/>
                    </a:lnTo>
                    <a:lnTo>
                      <a:pt x="53" y="112"/>
                    </a:lnTo>
                    <a:lnTo>
                      <a:pt x="53" y="112"/>
                    </a:lnTo>
                    <a:lnTo>
                      <a:pt x="54" y="112"/>
                    </a:lnTo>
                    <a:lnTo>
                      <a:pt x="54" y="112"/>
                    </a:lnTo>
                    <a:lnTo>
                      <a:pt x="56" y="112"/>
                    </a:lnTo>
                    <a:lnTo>
                      <a:pt x="56" y="112"/>
                    </a:lnTo>
                    <a:lnTo>
                      <a:pt x="57" y="112"/>
                    </a:lnTo>
                    <a:lnTo>
                      <a:pt x="57" y="114"/>
                    </a:lnTo>
                    <a:lnTo>
                      <a:pt x="57" y="114"/>
                    </a:lnTo>
                    <a:lnTo>
                      <a:pt x="60" y="115"/>
                    </a:lnTo>
                    <a:lnTo>
                      <a:pt x="63" y="117"/>
                    </a:lnTo>
                    <a:lnTo>
                      <a:pt x="63" y="117"/>
                    </a:lnTo>
                    <a:lnTo>
                      <a:pt x="64" y="118"/>
                    </a:lnTo>
                    <a:lnTo>
                      <a:pt x="64" y="118"/>
                    </a:lnTo>
                    <a:lnTo>
                      <a:pt x="64" y="118"/>
                    </a:lnTo>
                    <a:lnTo>
                      <a:pt x="66" y="119"/>
                    </a:lnTo>
                    <a:lnTo>
                      <a:pt x="66" y="121"/>
                    </a:lnTo>
                    <a:lnTo>
                      <a:pt x="66" y="121"/>
                    </a:lnTo>
                    <a:lnTo>
                      <a:pt x="66" y="122"/>
                    </a:lnTo>
                    <a:lnTo>
                      <a:pt x="66" y="122"/>
                    </a:lnTo>
                    <a:lnTo>
                      <a:pt x="66" y="124"/>
                    </a:lnTo>
                    <a:lnTo>
                      <a:pt x="66" y="125"/>
                    </a:lnTo>
                    <a:lnTo>
                      <a:pt x="66" y="125"/>
                    </a:lnTo>
                    <a:lnTo>
                      <a:pt x="67" y="127"/>
                    </a:lnTo>
                    <a:lnTo>
                      <a:pt x="67" y="127"/>
                    </a:lnTo>
                    <a:lnTo>
                      <a:pt x="67" y="128"/>
                    </a:lnTo>
                    <a:lnTo>
                      <a:pt x="68" y="128"/>
                    </a:lnTo>
                    <a:lnTo>
                      <a:pt x="68" y="129"/>
                    </a:lnTo>
                    <a:lnTo>
                      <a:pt x="70" y="131"/>
                    </a:lnTo>
                    <a:lnTo>
                      <a:pt x="71" y="132"/>
                    </a:lnTo>
                    <a:lnTo>
                      <a:pt x="73" y="134"/>
                    </a:lnTo>
                    <a:lnTo>
                      <a:pt x="74" y="134"/>
                    </a:lnTo>
                    <a:lnTo>
                      <a:pt x="74" y="135"/>
                    </a:lnTo>
                    <a:lnTo>
                      <a:pt x="76" y="137"/>
                    </a:lnTo>
                    <a:lnTo>
                      <a:pt x="76" y="137"/>
                    </a:lnTo>
                    <a:lnTo>
                      <a:pt x="76" y="138"/>
                    </a:lnTo>
                    <a:lnTo>
                      <a:pt x="79" y="138"/>
                    </a:lnTo>
                    <a:lnTo>
                      <a:pt x="79" y="140"/>
                    </a:lnTo>
                    <a:lnTo>
                      <a:pt x="80" y="141"/>
                    </a:lnTo>
                    <a:lnTo>
                      <a:pt x="81" y="141"/>
                    </a:lnTo>
                    <a:lnTo>
                      <a:pt x="81" y="141"/>
                    </a:lnTo>
                    <a:lnTo>
                      <a:pt x="83" y="142"/>
                    </a:lnTo>
                    <a:lnTo>
                      <a:pt x="83" y="142"/>
                    </a:lnTo>
                    <a:lnTo>
                      <a:pt x="83" y="142"/>
                    </a:lnTo>
                    <a:lnTo>
                      <a:pt x="86" y="142"/>
                    </a:lnTo>
                    <a:lnTo>
                      <a:pt x="91" y="140"/>
                    </a:lnTo>
                    <a:lnTo>
                      <a:pt x="94" y="140"/>
                    </a:lnTo>
                    <a:lnTo>
                      <a:pt x="96" y="140"/>
                    </a:lnTo>
                    <a:lnTo>
                      <a:pt x="97" y="141"/>
                    </a:lnTo>
                    <a:lnTo>
                      <a:pt x="99" y="141"/>
                    </a:lnTo>
                    <a:lnTo>
                      <a:pt x="100" y="141"/>
                    </a:lnTo>
                    <a:lnTo>
                      <a:pt x="102" y="141"/>
                    </a:lnTo>
                    <a:lnTo>
                      <a:pt x="103" y="140"/>
                    </a:lnTo>
                    <a:lnTo>
                      <a:pt x="103" y="140"/>
                    </a:lnTo>
                    <a:lnTo>
                      <a:pt x="104" y="138"/>
                    </a:lnTo>
                    <a:lnTo>
                      <a:pt x="104" y="138"/>
                    </a:lnTo>
                    <a:lnTo>
                      <a:pt x="106" y="137"/>
                    </a:lnTo>
                    <a:lnTo>
                      <a:pt x="106" y="137"/>
                    </a:lnTo>
                    <a:lnTo>
                      <a:pt x="107" y="138"/>
                    </a:lnTo>
                    <a:lnTo>
                      <a:pt x="107" y="138"/>
                    </a:lnTo>
                    <a:lnTo>
                      <a:pt x="112" y="141"/>
                    </a:lnTo>
                    <a:lnTo>
                      <a:pt x="112" y="142"/>
                    </a:lnTo>
                    <a:lnTo>
                      <a:pt x="114" y="145"/>
                    </a:lnTo>
                    <a:lnTo>
                      <a:pt x="117" y="148"/>
                    </a:lnTo>
                    <a:lnTo>
                      <a:pt x="122" y="150"/>
                    </a:lnTo>
                    <a:lnTo>
                      <a:pt x="122" y="151"/>
                    </a:lnTo>
                    <a:lnTo>
                      <a:pt x="123" y="151"/>
                    </a:lnTo>
                    <a:lnTo>
                      <a:pt x="123" y="151"/>
                    </a:lnTo>
                    <a:lnTo>
                      <a:pt x="123" y="152"/>
                    </a:lnTo>
                    <a:lnTo>
                      <a:pt x="123" y="152"/>
                    </a:lnTo>
                    <a:lnTo>
                      <a:pt x="123" y="154"/>
                    </a:lnTo>
                    <a:lnTo>
                      <a:pt x="124" y="154"/>
                    </a:lnTo>
                    <a:lnTo>
                      <a:pt x="124" y="154"/>
                    </a:lnTo>
                    <a:lnTo>
                      <a:pt x="124" y="154"/>
                    </a:lnTo>
                    <a:lnTo>
                      <a:pt x="124" y="155"/>
                    </a:lnTo>
                    <a:lnTo>
                      <a:pt x="124" y="155"/>
                    </a:lnTo>
                    <a:lnTo>
                      <a:pt x="126" y="154"/>
                    </a:lnTo>
                    <a:lnTo>
                      <a:pt x="126" y="154"/>
                    </a:lnTo>
                    <a:lnTo>
                      <a:pt x="127" y="155"/>
                    </a:lnTo>
                    <a:lnTo>
                      <a:pt x="127" y="155"/>
                    </a:lnTo>
                    <a:lnTo>
                      <a:pt x="127" y="155"/>
                    </a:lnTo>
                    <a:lnTo>
                      <a:pt x="129" y="157"/>
                    </a:lnTo>
                    <a:lnTo>
                      <a:pt x="129" y="157"/>
                    </a:lnTo>
                    <a:lnTo>
                      <a:pt x="129" y="157"/>
                    </a:lnTo>
                    <a:lnTo>
                      <a:pt x="130" y="155"/>
                    </a:lnTo>
                    <a:lnTo>
                      <a:pt x="130" y="154"/>
                    </a:lnTo>
                    <a:lnTo>
                      <a:pt x="135" y="152"/>
                    </a:lnTo>
                    <a:lnTo>
                      <a:pt x="136" y="152"/>
                    </a:lnTo>
                    <a:lnTo>
                      <a:pt x="136" y="152"/>
                    </a:lnTo>
                    <a:lnTo>
                      <a:pt x="137" y="152"/>
                    </a:lnTo>
                    <a:lnTo>
                      <a:pt x="139" y="154"/>
                    </a:lnTo>
                    <a:lnTo>
                      <a:pt x="139" y="154"/>
                    </a:lnTo>
                    <a:lnTo>
                      <a:pt x="140" y="154"/>
                    </a:lnTo>
                    <a:lnTo>
                      <a:pt x="140" y="154"/>
                    </a:lnTo>
                    <a:lnTo>
                      <a:pt x="142" y="154"/>
                    </a:lnTo>
                    <a:lnTo>
                      <a:pt x="143" y="154"/>
                    </a:lnTo>
                    <a:lnTo>
                      <a:pt x="145" y="152"/>
                    </a:lnTo>
                    <a:lnTo>
                      <a:pt x="145" y="152"/>
                    </a:lnTo>
                    <a:lnTo>
                      <a:pt x="146" y="152"/>
                    </a:lnTo>
                    <a:lnTo>
                      <a:pt x="146" y="152"/>
                    </a:lnTo>
                    <a:lnTo>
                      <a:pt x="147" y="152"/>
                    </a:lnTo>
                    <a:lnTo>
                      <a:pt x="147" y="154"/>
                    </a:lnTo>
                    <a:lnTo>
                      <a:pt x="147" y="154"/>
                    </a:lnTo>
                    <a:lnTo>
                      <a:pt x="147" y="155"/>
                    </a:lnTo>
                    <a:lnTo>
                      <a:pt x="149" y="155"/>
                    </a:lnTo>
                    <a:lnTo>
                      <a:pt x="149" y="155"/>
                    </a:lnTo>
                    <a:lnTo>
                      <a:pt x="150" y="155"/>
                    </a:lnTo>
                    <a:lnTo>
                      <a:pt x="150" y="157"/>
                    </a:lnTo>
                    <a:lnTo>
                      <a:pt x="150" y="157"/>
                    </a:lnTo>
                    <a:lnTo>
                      <a:pt x="152" y="157"/>
                    </a:lnTo>
                    <a:lnTo>
                      <a:pt x="152" y="157"/>
                    </a:lnTo>
                    <a:lnTo>
                      <a:pt x="152" y="157"/>
                    </a:lnTo>
                    <a:lnTo>
                      <a:pt x="152" y="155"/>
                    </a:lnTo>
                    <a:lnTo>
                      <a:pt x="152" y="155"/>
                    </a:lnTo>
                    <a:lnTo>
                      <a:pt x="153" y="155"/>
                    </a:lnTo>
                    <a:lnTo>
                      <a:pt x="156" y="154"/>
                    </a:lnTo>
                    <a:lnTo>
                      <a:pt x="158" y="152"/>
                    </a:lnTo>
                    <a:lnTo>
                      <a:pt x="163" y="152"/>
                    </a:lnTo>
                    <a:lnTo>
                      <a:pt x="165" y="151"/>
                    </a:lnTo>
                    <a:lnTo>
                      <a:pt x="166" y="150"/>
                    </a:lnTo>
                    <a:lnTo>
                      <a:pt x="168" y="151"/>
                    </a:lnTo>
                    <a:lnTo>
                      <a:pt x="169" y="151"/>
                    </a:lnTo>
                    <a:lnTo>
                      <a:pt x="170" y="152"/>
                    </a:lnTo>
                    <a:lnTo>
                      <a:pt x="170" y="152"/>
                    </a:lnTo>
                    <a:lnTo>
                      <a:pt x="172" y="152"/>
                    </a:lnTo>
                    <a:lnTo>
                      <a:pt x="173" y="152"/>
                    </a:lnTo>
                    <a:lnTo>
                      <a:pt x="175" y="152"/>
                    </a:lnTo>
                    <a:lnTo>
                      <a:pt x="175" y="152"/>
                    </a:lnTo>
                    <a:lnTo>
                      <a:pt x="176" y="152"/>
                    </a:lnTo>
                    <a:lnTo>
                      <a:pt x="176" y="152"/>
                    </a:lnTo>
                    <a:lnTo>
                      <a:pt x="181" y="148"/>
                    </a:lnTo>
                    <a:lnTo>
                      <a:pt x="183" y="144"/>
                    </a:lnTo>
                    <a:lnTo>
                      <a:pt x="189" y="140"/>
                    </a:lnTo>
                    <a:lnTo>
                      <a:pt x="198" y="131"/>
                    </a:lnTo>
                    <a:lnTo>
                      <a:pt x="203" y="125"/>
                    </a:lnTo>
                    <a:lnTo>
                      <a:pt x="206" y="122"/>
                    </a:lnTo>
                    <a:lnTo>
                      <a:pt x="206" y="121"/>
                    </a:lnTo>
                    <a:lnTo>
                      <a:pt x="206" y="121"/>
                    </a:lnTo>
                    <a:lnTo>
                      <a:pt x="206" y="121"/>
                    </a:lnTo>
                    <a:lnTo>
                      <a:pt x="206" y="121"/>
                    </a:lnTo>
                    <a:lnTo>
                      <a:pt x="206" y="121"/>
                    </a:lnTo>
                    <a:lnTo>
                      <a:pt x="206" y="12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34" name="Freeform 221">
                <a:extLst>
                  <a:ext uri="{FF2B5EF4-FFF2-40B4-BE49-F238E27FC236}">
                    <a16:creationId xmlns:a16="http://schemas.microsoft.com/office/drawing/2014/main" id="{FB7BE17E-3AD6-B4C5-84BF-DB28D02F3E37}"/>
                  </a:ext>
                </a:extLst>
              </p:cNvPr>
              <p:cNvSpPr>
                <a:spLocks/>
              </p:cNvSpPr>
              <p:nvPr/>
            </p:nvSpPr>
            <p:spPr bwMode="auto">
              <a:xfrm>
                <a:off x="4268" y="2506"/>
                <a:ext cx="184" cy="242"/>
              </a:xfrm>
              <a:custGeom>
                <a:avLst/>
                <a:gdLst>
                  <a:gd name="T0" fmla="*/ 179 w 184"/>
                  <a:gd name="T1" fmla="*/ 25 h 242"/>
                  <a:gd name="T2" fmla="*/ 177 w 184"/>
                  <a:gd name="T3" fmla="*/ 26 h 242"/>
                  <a:gd name="T4" fmla="*/ 178 w 184"/>
                  <a:gd name="T5" fmla="*/ 12 h 242"/>
                  <a:gd name="T6" fmla="*/ 164 w 184"/>
                  <a:gd name="T7" fmla="*/ 5 h 242"/>
                  <a:gd name="T8" fmla="*/ 143 w 184"/>
                  <a:gd name="T9" fmla="*/ 12 h 242"/>
                  <a:gd name="T10" fmla="*/ 131 w 184"/>
                  <a:gd name="T11" fmla="*/ 12 h 242"/>
                  <a:gd name="T12" fmla="*/ 110 w 184"/>
                  <a:gd name="T13" fmla="*/ 15 h 242"/>
                  <a:gd name="T14" fmla="*/ 86 w 184"/>
                  <a:gd name="T15" fmla="*/ 20 h 242"/>
                  <a:gd name="T16" fmla="*/ 69 w 184"/>
                  <a:gd name="T17" fmla="*/ 28 h 242"/>
                  <a:gd name="T18" fmla="*/ 39 w 184"/>
                  <a:gd name="T19" fmla="*/ 9 h 242"/>
                  <a:gd name="T20" fmla="*/ 34 w 184"/>
                  <a:gd name="T21" fmla="*/ 18 h 242"/>
                  <a:gd name="T22" fmla="*/ 33 w 184"/>
                  <a:gd name="T23" fmla="*/ 19 h 242"/>
                  <a:gd name="T24" fmla="*/ 30 w 184"/>
                  <a:gd name="T25" fmla="*/ 25 h 242"/>
                  <a:gd name="T26" fmla="*/ 31 w 184"/>
                  <a:gd name="T27" fmla="*/ 28 h 242"/>
                  <a:gd name="T28" fmla="*/ 33 w 184"/>
                  <a:gd name="T29" fmla="*/ 30 h 242"/>
                  <a:gd name="T30" fmla="*/ 36 w 184"/>
                  <a:gd name="T31" fmla="*/ 35 h 242"/>
                  <a:gd name="T32" fmla="*/ 39 w 184"/>
                  <a:gd name="T33" fmla="*/ 36 h 242"/>
                  <a:gd name="T34" fmla="*/ 40 w 184"/>
                  <a:gd name="T35" fmla="*/ 41 h 242"/>
                  <a:gd name="T36" fmla="*/ 44 w 184"/>
                  <a:gd name="T37" fmla="*/ 45 h 242"/>
                  <a:gd name="T38" fmla="*/ 46 w 184"/>
                  <a:gd name="T39" fmla="*/ 46 h 242"/>
                  <a:gd name="T40" fmla="*/ 50 w 184"/>
                  <a:gd name="T41" fmla="*/ 51 h 242"/>
                  <a:gd name="T42" fmla="*/ 69 w 184"/>
                  <a:gd name="T43" fmla="*/ 58 h 242"/>
                  <a:gd name="T44" fmla="*/ 90 w 184"/>
                  <a:gd name="T45" fmla="*/ 65 h 242"/>
                  <a:gd name="T46" fmla="*/ 123 w 184"/>
                  <a:gd name="T47" fmla="*/ 71 h 242"/>
                  <a:gd name="T48" fmla="*/ 103 w 184"/>
                  <a:gd name="T49" fmla="*/ 91 h 242"/>
                  <a:gd name="T50" fmla="*/ 76 w 184"/>
                  <a:gd name="T51" fmla="*/ 118 h 242"/>
                  <a:gd name="T52" fmla="*/ 69 w 184"/>
                  <a:gd name="T53" fmla="*/ 125 h 242"/>
                  <a:gd name="T54" fmla="*/ 53 w 184"/>
                  <a:gd name="T55" fmla="*/ 124 h 242"/>
                  <a:gd name="T56" fmla="*/ 46 w 184"/>
                  <a:gd name="T57" fmla="*/ 127 h 242"/>
                  <a:gd name="T58" fmla="*/ 36 w 184"/>
                  <a:gd name="T59" fmla="*/ 131 h 242"/>
                  <a:gd name="T60" fmla="*/ 36 w 184"/>
                  <a:gd name="T61" fmla="*/ 133 h 242"/>
                  <a:gd name="T62" fmla="*/ 34 w 184"/>
                  <a:gd name="T63" fmla="*/ 134 h 242"/>
                  <a:gd name="T64" fmla="*/ 31 w 184"/>
                  <a:gd name="T65" fmla="*/ 137 h 242"/>
                  <a:gd name="T66" fmla="*/ 21 w 184"/>
                  <a:gd name="T67" fmla="*/ 138 h 242"/>
                  <a:gd name="T68" fmla="*/ 19 w 184"/>
                  <a:gd name="T69" fmla="*/ 138 h 242"/>
                  <a:gd name="T70" fmla="*/ 17 w 184"/>
                  <a:gd name="T71" fmla="*/ 140 h 242"/>
                  <a:gd name="T72" fmla="*/ 14 w 184"/>
                  <a:gd name="T73" fmla="*/ 143 h 242"/>
                  <a:gd name="T74" fmla="*/ 1 w 184"/>
                  <a:gd name="T75" fmla="*/ 161 h 242"/>
                  <a:gd name="T76" fmla="*/ 0 w 184"/>
                  <a:gd name="T77" fmla="*/ 163 h 242"/>
                  <a:gd name="T78" fmla="*/ 0 w 184"/>
                  <a:gd name="T79" fmla="*/ 199 h 242"/>
                  <a:gd name="T80" fmla="*/ 0 w 184"/>
                  <a:gd name="T81" fmla="*/ 226 h 242"/>
                  <a:gd name="T82" fmla="*/ 1 w 184"/>
                  <a:gd name="T83" fmla="*/ 229 h 242"/>
                  <a:gd name="T84" fmla="*/ 10 w 184"/>
                  <a:gd name="T85" fmla="*/ 239 h 242"/>
                  <a:gd name="T86" fmla="*/ 17 w 184"/>
                  <a:gd name="T87" fmla="*/ 232 h 242"/>
                  <a:gd name="T88" fmla="*/ 83 w 184"/>
                  <a:gd name="T89" fmla="*/ 171 h 242"/>
                  <a:gd name="T90" fmla="*/ 136 w 184"/>
                  <a:gd name="T91" fmla="*/ 112 h 242"/>
                  <a:gd name="T92" fmla="*/ 156 w 184"/>
                  <a:gd name="T93" fmla="*/ 71 h 242"/>
                  <a:gd name="T94" fmla="*/ 175 w 184"/>
                  <a:gd name="T95" fmla="*/ 32 h 242"/>
                  <a:gd name="T96" fmla="*/ 182 w 184"/>
                  <a:gd name="T97" fmla="*/ 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4" h="242">
                    <a:moveTo>
                      <a:pt x="182" y="26"/>
                    </a:moveTo>
                    <a:lnTo>
                      <a:pt x="182" y="26"/>
                    </a:lnTo>
                    <a:lnTo>
                      <a:pt x="181" y="25"/>
                    </a:lnTo>
                    <a:lnTo>
                      <a:pt x="179" y="25"/>
                    </a:lnTo>
                    <a:lnTo>
                      <a:pt x="179" y="26"/>
                    </a:lnTo>
                    <a:lnTo>
                      <a:pt x="179" y="26"/>
                    </a:lnTo>
                    <a:lnTo>
                      <a:pt x="178" y="26"/>
                    </a:lnTo>
                    <a:lnTo>
                      <a:pt x="177" y="26"/>
                    </a:lnTo>
                    <a:lnTo>
                      <a:pt x="178" y="25"/>
                    </a:lnTo>
                    <a:lnTo>
                      <a:pt x="179" y="22"/>
                    </a:lnTo>
                    <a:lnTo>
                      <a:pt x="178" y="16"/>
                    </a:lnTo>
                    <a:lnTo>
                      <a:pt x="178" y="12"/>
                    </a:lnTo>
                    <a:lnTo>
                      <a:pt x="181" y="2"/>
                    </a:lnTo>
                    <a:lnTo>
                      <a:pt x="174" y="0"/>
                    </a:lnTo>
                    <a:lnTo>
                      <a:pt x="171" y="0"/>
                    </a:lnTo>
                    <a:lnTo>
                      <a:pt x="164" y="5"/>
                    </a:lnTo>
                    <a:lnTo>
                      <a:pt x="161" y="6"/>
                    </a:lnTo>
                    <a:lnTo>
                      <a:pt x="152" y="9"/>
                    </a:lnTo>
                    <a:lnTo>
                      <a:pt x="146" y="12"/>
                    </a:lnTo>
                    <a:lnTo>
                      <a:pt x="143" y="12"/>
                    </a:lnTo>
                    <a:lnTo>
                      <a:pt x="139" y="12"/>
                    </a:lnTo>
                    <a:lnTo>
                      <a:pt x="135" y="12"/>
                    </a:lnTo>
                    <a:lnTo>
                      <a:pt x="133" y="12"/>
                    </a:lnTo>
                    <a:lnTo>
                      <a:pt x="131" y="12"/>
                    </a:lnTo>
                    <a:lnTo>
                      <a:pt x="125" y="15"/>
                    </a:lnTo>
                    <a:lnTo>
                      <a:pt x="121" y="15"/>
                    </a:lnTo>
                    <a:lnTo>
                      <a:pt x="113" y="15"/>
                    </a:lnTo>
                    <a:lnTo>
                      <a:pt x="110" y="15"/>
                    </a:lnTo>
                    <a:lnTo>
                      <a:pt x="100" y="20"/>
                    </a:lnTo>
                    <a:lnTo>
                      <a:pt x="98" y="22"/>
                    </a:lnTo>
                    <a:lnTo>
                      <a:pt x="93" y="22"/>
                    </a:lnTo>
                    <a:lnTo>
                      <a:pt x="86" y="20"/>
                    </a:lnTo>
                    <a:lnTo>
                      <a:pt x="83" y="20"/>
                    </a:lnTo>
                    <a:lnTo>
                      <a:pt x="79" y="22"/>
                    </a:lnTo>
                    <a:lnTo>
                      <a:pt x="73" y="26"/>
                    </a:lnTo>
                    <a:lnTo>
                      <a:pt x="69" y="28"/>
                    </a:lnTo>
                    <a:lnTo>
                      <a:pt x="59" y="26"/>
                    </a:lnTo>
                    <a:lnTo>
                      <a:pt x="52" y="22"/>
                    </a:lnTo>
                    <a:lnTo>
                      <a:pt x="40" y="7"/>
                    </a:lnTo>
                    <a:lnTo>
                      <a:pt x="39" y="9"/>
                    </a:lnTo>
                    <a:lnTo>
                      <a:pt x="36" y="13"/>
                    </a:lnTo>
                    <a:lnTo>
                      <a:pt x="34" y="18"/>
                    </a:lnTo>
                    <a:lnTo>
                      <a:pt x="34" y="18"/>
                    </a:lnTo>
                    <a:lnTo>
                      <a:pt x="34" y="18"/>
                    </a:lnTo>
                    <a:lnTo>
                      <a:pt x="34" y="18"/>
                    </a:lnTo>
                    <a:lnTo>
                      <a:pt x="34" y="18"/>
                    </a:lnTo>
                    <a:lnTo>
                      <a:pt x="33" y="18"/>
                    </a:lnTo>
                    <a:lnTo>
                      <a:pt x="33" y="19"/>
                    </a:lnTo>
                    <a:lnTo>
                      <a:pt x="31" y="22"/>
                    </a:lnTo>
                    <a:lnTo>
                      <a:pt x="30" y="23"/>
                    </a:lnTo>
                    <a:lnTo>
                      <a:pt x="30" y="25"/>
                    </a:lnTo>
                    <a:lnTo>
                      <a:pt x="30" y="25"/>
                    </a:lnTo>
                    <a:lnTo>
                      <a:pt x="30" y="25"/>
                    </a:lnTo>
                    <a:lnTo>
                      <a:pt x="30" y="25"/>
                    </a:lnTo>
                    <a:lnTo>
                      <a:pt x="31" y="26"/>
                    </a:lnTo>
                    <a:lnTo>
                      <a:pt x="31" y="28"/>
                    </a:lnTo>
                    <a:lnTo>
                      <a:pt x="31" y="29"/>
                    </a:lnTo>
                    <a:lnTo>
                      <a:pt x="33" y="30"/>
                    </a:lnTo>
                    <a:lnTo>
                      <a:pt x="33" y="30"/>
                    </a:lnTo>
                    <a:lnTo>
                      <a:pt x="33" y="30"/>
                    </a:lnTo>
                    <a:lnTo>
                      <a:pt x="33" y="32"/>
                    </a:lnTo>
                    <a:lnTo>
                      <a:pt x="34" y="32"/>
                    </a:lnTo>
                    <a:lnTo>
                      <a:pt x="34" y="33"/>
                    </a:lnTo>
                    <a:lnTo>
                      <a:pt x="36" y="35"/>
                    </a:lnTo>
                    <a:lnTo>
                      <a:pt x="36" y="35"/>
                    </a:lnTo>
                    <a:lnTo>
                      <a:pt x="37" y="36"/>
                    </a:lnTo>
                    <a:lnTo>
                      <a:pt x="37" y="36"/>
                    </a:lnTo>
                    <a:lnTo>
                      <a:pt x="39" y="36"/>
                    </a:lnTo>
                    <a:lnTo>
                      <a:pt x="39" y="36"/>
                    </a:lnTo>
                    <a:lnTo>
                      <a:pt x="39" y="38"/>
                    </a:lnTo>
                    <a:lnTo>
                      <a:pt x="39" y="38"/>
                    </a:lnTo>
                    <a:lnTo>
                      <a:pt x="40" y="41"/>
                    </a:lnTo>
                    <a:lnTo>
                      <a:pt x="42" y="43"/>
                    </a:lnTo>
                    <a:lnTo>
                      <a:pt x="43" y="43"/>
                    </a:lnTo>
                    <a:lnTo>
                      <a:pt x="43" y="45"/>
                    </a:lnTo>
                    <a:lnTo>
                      <a:pt x="44" y="45"/>
                    </a:lnTo>
                    <a:lnTo>
                      <a:pt x="44" y="46"/>
                    </a:lnTo>
                    <a:lnTo>
                      <a:pt x="44" y="46"/>
                    </a:lnTo>
                    <a:lnTo>
                      <a:pt x="46" y="46"/>
                    </a:lnTo>
                    <a:lnTo>
                      <a:pt x="46" y="46"/>
                    </a:lnTo>
                    <a:lnTo>
                      <a:pt x="46" y="46"/>
                    </a:lnTo>
                    <a:lnTo>
                      <a:pt x="46" y="46"/>
                    </a:lnTo>
                    <a:lnTo>
                      <a:pt x="46" y="46"/>
                    </a:lnTo>
                    <a:lnTo>
                      <a:pt x="50" y="51"/>
                    </a:lnTo>
                    <a:lnTo>
                      <a:pt x="53" y="52"/>
                    </a:lnTo>
                    <a:lnTo>
                      <a:pt x="54" y="53"/>
                    </a:lnTo>
                    <a:lnTo>
                      <a:pt x="56" y="53"/>
                    </a:lnTo>
                    <a:lnTo>
                      <a:pt x="69" y="58"/>
                    </a:lnTo>
                    <a:lnTo>
                      <a:pt x="75" y="59"/>
                    </a:lnTo>
                    <a:lnTo>
                      <a:pt x="77" y="61"/>
                    </a:lnTo>
                    <a:lnTo>
                      <a:pt x="83" y="62"/>
                    </a:lnTo>
                    <a:lnTo>
                      <a:pt x="90" y="65"/>
                    </a:lnTo>
                    <a:lnTo>
                      <a:pt x="93" y="66"/>
                    </a:lnTo>
                    <a:lnTo>
                      <a:pt x="105" y="69"/>
                    </a:lnTo>
                    <a:lnTo>
                      <a:pt x="106" y="71"/>
                    </a:lnTo>
                    <a:lnTo>
                      <a:pt x="123" y="71"/>
                    </a:lnTo>
                    <a:lnTo>
                      <a:pt x="116" y="76"/>
                    </a:lnTo>
                    <a:lnTo>
                      <a:pt x="112" y="82"/>
                    </a:lnTo>
                    <a:lnTo>
                      <a:pt x="106" y="88"/>
                    </a:lnTo>
                    <a:lnTo>
                      <a:pt x="103" y="91"/>
                    </a:lnTo>
                    <a:lnTo>
                      <a:pt x="98" y="95"/>
                    </a:lnTo>
                    <a:lnTo>
                      <a:pt x="96" y="97"/>
                    </a:lnTo>
                    <a:lnTo>
                      <a:pt x="89" y="105"/>
                    </a:lnTo>
                    <a:lnTo>
                      <a:pt x="76" y="118"/>
                    </a:lnTo>
                    <a:lnTo>
                      <a:pt x="72" y="124"/>
                    </a:lnTo>
                    <a:lnTo>
                      <a:pt x="70" y="124"/>
                    </a:lnTo>
                    <a:lnTo>
                      <a:pt x="69" y="125"/>
                    </a:lnTo>
                    <a:lnTo>
                      <a:pt x="69" y="125"/>
                    </a:lnTo>
                    <a:lnTo>
                      <a:pt x="67" y="125"/>
                    </a:lnTo>
                    <a:lnTo>
                      <a:pt x="62" y="125"/>
                    </a:lnTo>
                    <a:lnTo>
                      <a:pt x="57" y="124"/>
                    </a:lnTo>
                    <a:lnTo>
                      <a:pt x="53" y="124"/>
                    </a:lnTo>
                    <a:lnTo>
                      <a:pt x="52" y="125"/>
                    </a:lnTo>
                    <a:lnTo>
                      <a:pt x="52" y="125"/>
                    </a:lnTo>
                    <a:lnTo>
                      <a:pt x="50" y="125"/>
                    </a:lnTo>
                    <a:lnTo>
                      <a:pt x="46" y="127"/>
                    </a:lnTo>
                    <a:lnTo>
                      <a:pt x="42" y="128"/>
                    </a:lnTo>
                    <a:lnTo>
                      <a:pt x="39" y="130"/>
                    </a:lnTo>
                    <a:lnTo>
                      <a:pt x="37" y="131"/>
                    </a:lnTo>
                    <a:lnTo>
                      <a:pt x="36" y="131"/>
                    </a:lnTo>
                    <a:lnTo>
                      <a:pt x="36" y="131"/>
                    </a:lnTo>
                    <a:lnTo>
                      <a:pt x="36" y="131"/>
                    </a:lnTo>
                    <a:lnTo>
                      <a:pt x="36" y="131"/>
                    </a:lnTo>
                    <a:lnTo>
                      <a:pt x="36" y="133"/>
                    </a:lnTo>
                    <a:lnTo>
                      <a:pt x="34" y="133"/>
                    </a:lnTo>
                    <a:lnTo>
                      <a:pt x="34" y="134"/>
                    </a:lnTo>
                    <a:lnTo>
                      <a:pt x="34" y="134"/>
                    </a:lnTo>
                    <a:lnTo>
                      <a:pt x="34" y="134"/>
                    </a:lnTo>
                    <a:lnTo>
                      <a:pt x="34" y="135"/>
                    </a:lnTo>
                    <a:lnTo>
                      <a:pt x="33" y="135"/>
                    </a:lnTo>
                    <a:lnTo>
                      <a:pt x="33" y="135"/>
                    </a:lnTo>
                    <a:lnTo>
                      <a:pt x="31" y="137"/>
                    </a:lnTo>
                    <a:lnTo>
                      <a:pt x="29" y="137"/>
                    </a:lnTo>
                    <a:lnTo>
                      <a:pt x="23" y="137"/>
                    </a:lnTo>
                    <a:lnTo>
                      <a:pt x="23" y="138"/>
                    </a:lnTo>
                    <a:lnTo>
                      <a:pt x="21" y="138"/>
                    </a:lnTo>
                    <a:lnTo>
                      <a:pt x="21" y="138"/>
                    </a:lnTo>
                    <a:lnTo>
                      <a:pt x="20" y="138"/>
                    </a:lnTo>
                    <a:lnTo>
                      <a:pt x="20" y="138"/>
                    </a:lnTo>
                    <a:lnTo>
                      <a:pt x="19" y="138"/>
                    </a:lnTo>
                    <a:lnTo>
                      <a:pt x="19" y="140"/>
                    </a:lnTo>
                    <a:lnTo>
                      <a:pt x="17" y="140"/>
                    </a:lnTo>
                    <a:lnTo>
                      <a:pt x="17" y="140"/>
                    </a:lnTo>
                    <a:lnTo>
                      <a:pt x="17" y="140"/>
                    </a:lnTo>
                    <a:lnTo>
                      <a:pt x="17" y="141"/>
                    </a:lnTo>
                    <a:lnTo>
                      <a:pt x="16" y="141"/>
                    </a:lnTo>
                    <a:lnTo>
                      <a:pt x="16" y="141"/>
                    </a:lnTo>
                    <a:lnTo>
                      <a:pt x="14" y="143"/>
                    </a:lnTo>
                    <a:lnTo>
                      <a:pt x="13" y="147"/>
                    </a:lnTo>
                    <a:lnTo>
                      <a:pt x="7" y="156"/>
                    </a:lnTo>
                    <a:lnTo>
                      <a:pt x="4" y="157"/>
                    </a:lnTo>
                    <a:lnTo>
                      <a:pt x="1" y="161"/>
                    </a:lnTo>
                    <a:lnTo>
                      <a:pt x="0" y="161"/>
                    </a:lnTo>
                    <a:lnTo>
                      <a:pt x="0" y="161"/>
                    </a:lnTo>
                    <a:lnTo>
                      <a:pt x="0" y="161"/>
                    </a:lnTo>
                    <a:lnTo>
                      <a:pt x="0" y="163"/>
                    </a:lnTo>
                    <a:lnTo>
                      <a:pt x="0" y="167"/>
                    </a:lnTo>
                    <a:lnTo>
                      <a:pt x="0" y="173"/>
                    </a:lnTo>
                    <a:lnTo>
                      <a:pt x="0" y="191"/>
                    </a:lnTo>
                    <a:lnTo>
                      <a:pt x="0" y="199"/>
                    </a:lnTo>
                    <a:lnTo>
                      <a:pt x="0" y="217"/>
                    </a:lnTo>
                    <a:lnTo>
                      <a:pt x="0" y="220"/>
                    </a:lnTo>
                    <a:lnTo>
                      <a:pt x="0" y="223"/>
                    </a:lnTo>
                    <a:lnTo>
                      <a:pt x="0" y="226"/>
                    </a:lnTo>
                    <a:lnTo>
                      <a:pt x="0" y="226"/>
                    </a:lnTo>
                    <a:lnTo>
                      <a:pt x="0" y="227"/>
                    </a:lnTo>
                    <a:lnTo>
                      <a:pt x="1" y="227"/>
                    </a:lnTo>
                    <a:lnTo>
                      <a:pt x="1" y="229"/>
                    </a:lnTo>
                    <a:lnTo>
                      <a:pt x="4" y="232"/>
                    </a:lnTo>
                    <a:lnTo>
                      <a:pt x="8" y="237"/>
                    </a:lnTo>
                    <a:lnTo>
                      <a:pt x="8" y="237"/>
                    </a:lnTo>
                    <a:lnTo>
                      <a:pt x="10" y="239"/>
                    </a:lnTo>
                    <a:lnTo>
                      <a:pt x="10" y="240"/>
                    </a:lnTo>
                    <a:lnTo>
                      <a:pt x="10" y="242"/>
                    </a:lnTo>
                    <a:lnTo>
                      <a:pt x="11" y="239"/>
                    </a:lnTo>
                    <a:lnTo>
                      <a:pt x="17" y="232"/>
                    </a:lnTo>
                    <a:lnTo>
                      <a:pt x="19" y="229"/>
                    </a:lnTo>
                    <a:lnTo>
                      <a:pt x="49" y="196"/>
                    </a:lnTo>
                    <a:lnTo>
                      <a:pt x="66" y="181"/>
                    </a:lnTo>
                    <a:lnTo>
                      <a:pt x="83" y="171"/>
                    </a:lnTo>
                    <a:lnTo>
                      <a:pt x="89" y="168"/>
                    </a:lnTo>
                    <a:lnTo>
                      <a:pt x="100" y="158"/>
                    </a:lnTo>
                    <a:lnTo>
                      <a:pt x="119" y="135"/>
                    </a:lnTo>
                    <a:lnTo>
                      <a:pt x="136" y="112"/>
                    </a:lnTo>
                    <a:lnTo>
                      <a:pt x="141" y="105"/>
                    </a:lnTo>
                    <a:lnTo>
                      <a:pt x="145" y="92"/>
                    </a:lnTo>
                    <a:lnTo>
                      <a:pt x="152" y="81"/>
                    </a:lnTo>
                    <a:lnTo>
                      <a:pt x="156" y="71"/>
                    </a:lnTo>
                    <a:lnTo>
                      <a:pt x="161" y="65"/>
                    </a:lnTo>
                    <a:lnTo>
                      <a:pt x="172" y="46"/>
                    </a:lnTo>
                    <a:lnTo>
                      <a:pt x="174" y="43"/>
                    </a:lnTo>
                    <a:lnTo>
                      <a:pt x="175" y="32"/>
                    </a:lnTo>
                    <a:lnTo>
                      <a:pt x="177" y="29"/>
                    </a:lnTo>
                    <a:lnTo>
                      <a:pt x="179" y="28"/>
                    </a:lnTo>
                    <a:lnTo>
                      <a:pt x="184" y="28"/>
                    </a:lnTo>
                    <a:lnTo>
                      <a:pt x="182" y="2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35" name="Freeform 222">
                <a:extLst>
                  <a:ext uri="{FF2B5EF4-FFF2-40B4-BE49-F238E27FC236}">
                    <a16:creationId xmlns:a16="http://schemas.microsoft.com/office/drawing/2014/main" id="{A22904F6-A9A3-2A74-90FA-A11F0788A65D}"/>
                  </a:ext>
                </a:extLst>
              </p:cNvPr>
              <p:cNvSpPr>
                <a:spLocks noEditPoints="1"/>
              </p:cNvSpPr>
              <p:nvPr/>
            </p:nvSpPr>
            <p:spPr bwMode="auto">
              <a:xfrm>
                <a:off x="3662" y="2687"/>
                <a:ext cx="16" cy="29"/>
              </a:xfrm>
              <a:custGeom>
                <a:avLst/>
                <a:gdLst>
                  <a:gd name="T0" fmla="*/ 4 w 16"/>
                  <a:gd name="T1" fmla="*/ 25 h 29"/>
                  <a:gd name="T2" fmla="*/ 4 w 16"/>
                  <a:gd name="T3" fmla="*/ 26 h 29"/>
                  <a:gd name="T4" fmla="*/ 3 w 16"/>
                  <a:gd name="T5" fmla="*/ 28 h 29"/>
                  <a:gd name="T6" fmla="*/ 1 w 16"/>
                  <a:gd name="T7" fmla="*/ 29 h 29"/>
                  <a:gd name="T8" fmla="*/ 0 w 16"/>
                  <a:gd name="T9" fmla="*/ 29 h 29"/>
                  <a:gd name="T10" fmla="*/ 0 w 16"/>
                  <a:gd name="T11" fmla="*/ 26 h 29"/>
                  <a:gd name="T12" fmla="*/ 0 w 16"/>
                  <a:gd name="T13" fmla="*/ 25 h 29"/>
                  <a:gd name="T14" fmla="*/ 3 w 16"/>
                  <a:gd name="T15" fmla="*/ 23 h 29"/>
                  <a:gd name="T16" fmla="*/ 4 w 16"/>
                  <a:gd name="T17" fmla="*/ 25 h 29"/>
                  <a:gd name="T18" fmla="*/ 14 w 16"/>
                  <a:gd name="T19" fmla="*/ 2 h 29"/>
                  <a:gd name="T20" fmla="*/ 16 w 16"/>
                  <a:gd name="T21" fmla="*/ 3 h 29"/>
                  <a:gd name="T22" fmla="*/ 16 w 16"/>
                  <a:gd name="T23" fmla="*/ 2 h 29"/>
                  <a:gd name="T24" fmla="*/ 16 w 16"/>
                  <a:gd name="T25" fmla="*/ 0 h 29"/>
                  <a:gd name="T26" fmla="*/ 14 w 16"/>
                  <a:gd name="T27"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9">
                    <a:moveTo>
                      <a:pt x="4" y="25"/>
                    </a:moveTo>
                    <a:lnTo>
                      <a:pt x="4" y="26"/>
                    </a:lnTo>
                    <a:lnTo>
                      <a:pt x="3" y="28"/>
                    </a:lnTo>
                    <a:lnTo>
                      <a:pt x="1" y="29"/>
                    </a:lnTo>
                    <a:lnTo>
                      <a:pt x="0" y="29"/>
                    </a:lnTo>
                    <a:lnTo>
                      <a:pt x="0" y="26"/>
                    </a:lnTo>
                    <a:lnTo>
                      <a:pt x="0" y="25"/>
                    </a:lnTo>
                    <a:lnTo>
                      <a:pt x="3" y="23"/>
                    </a:lnTo>
                    <a:lnTo>
                      <a:pt x="4" y="25"/>
                    </a:lnTo>
                    <a:close/>
                    <a:moveTo>
                      <a:pt x="14" y="2"/>
                    </a:moveTo>
                    <a:lnTo>
                      <a:pt x="16" y="3"/>
                    </a:lnTo>
                    <a:lnTo>
                      <a:pt x="16" y="2"/>
                    </a:lnTo>
                    <a:lnTo>
                      <a:pt x="16" y="0"/>
                    </a:lnTo>
                    <a:lnTo>
                      <a:pt x="14"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36" name="Freeform 223">
                <a:extLst>
                  <a:ext uri="{FF2B5EF4-FFF2-40B4-BE49-F238E27FC236}">
                    <a16:creationId xmlns:a16="http://schemas.microsoft.com/office/drawing/2014/main" id="{DECDEC31-BB23-C9BB-8DD7-1193B5F33653}"/>
                  </a:ext>
                </a:extLst>
              </p:cNvPr>
              <p:cNvSpPr>
                <a:spLocks/>
              </p:cNvSpPr>
              <p:nvPr/>
            </p:nvSpPr>
            <p:spPr bwMode="auto">
              <a:xfrm>
                <a:off x="3446" y="3002"/>
                <a:ext cx="2" cy="2"/>
              </a:xfrm>
              <a:custGeom>
                <a:avLst/>
                <a:gdLst>
                  <a:gd name="T0" fmla="*/ 0 w 2"/>
                  <a:gd name="T1" fmla="*/ 2 h 2"/>
                  <a:gd name="T2" fmla="*/ 2 w 2"/>
                  <a:gd name="T3" fmla="*/ 0 h 2"/>
                  <a:gd name="T4" fmla="*/ 2 w 2"/>
                  <a:gd name="T5" fmla="*/ 0 h 2"/>
                  <a:gd name="T6" fmla="*/ 0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2" y="0"/>
                    </a:lnTo>
                    <a:lnTo>
                      <a:pt x="2" y="0"/>
                    </a:lnTo>
                    <a:lnTo>
                      <a:pt x="0" y="0"/>
                    </a:lnTo>
                    <a:lnTo>
                      <a:pt x="0"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37" name="Freeform 224">
                <a:extLst>
                  <a:ext uri="{FF2B5EF4-FFF2-40B4-BE49-F238E27FC236}">
                    <a16:creationId xmlns:a16="http://schemas.microsoft.com/office/drawing/2014/main" id="{47E08E4F-3F81-F553-2B73-7D056B7407EE}"/>
                  </a:ext>
                </a:extLst>
              </p:cNvPr>
              <p:cNvSpPr>
                <a:spLocks/>
              </p:cNvSpPr>
              <p:nvPr/>
            </p:nvSpPr>
            <p:spPr bwMode="auto">
              <a:xfrm>
                <a:off x="3294" y="2857"/>
                <a:ext cx="2" cy="1"/>
              </a:xfrm>
              <a:custGeom>
                <a:avLst/>
                <a:gdLst>
                  <a:gd name="T0" fmla="*/ 0 w 2"/>
                  <a:gd name="T1" fmla="*/ 0 h 1"/>
                  <a:gd name="T2" fmla="*/ 0 w 2"/>
                  <a:gd name="T3" fmla="*/ 1 h 1"/>
                  <a:gd name="T4" fmla="*/ 0 w 2"/>
                  <a:gd name="T5" fmla="*/ 1 h 1"/>
                  <a:gd name="T6" fmla="*/ 2 w 2"/>
                  <a:gd name="T7" fmla="*/ 1 h 1"/>
                  <a:gd name="T8" fmla="*/ 2 w 2"/>
                  <a:gd name="T9" fmla="*/ 1 h 1"/>
                  <a:gd name="T10" fmla="*/ 2 w 2"/>
                  <a:gd name="T11" fmla="*/ 0 h 1"/>
                  <a:gd name="T12" fmla="*/ 0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0"/>
                    </a:moveTo>
                    <a:lnTo>
                      <a:pt x="0" y="1"/>
                    </a:lnTo>
                    <a:lnTo>
                      <a:pt x="0" y="1"/>
                    </a:lnTo>
                    <a:lnTo>
                      <a:pt x="2" y="1"/>
                    </a:lnTo>
                    <a:lnTo>
                      <a:pt x="2" y="1"/>
                    </a:lnTo>
                    <a:lnTo>
                      <a:pt x="2" y="0"/>
                    </a:lnTo>
                    <a:lnTo>
                      <a:pt x="0"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38" name="Freeform 225">
                <a:extLst>
                  <a:ext uri="{FF2B5EF4-FFF2-40B4-BE49-F238E27FC236}">
                    <a16:creationId xmlns:a16="http://schemas.microsoft.com/office/drawing/2014/main" id="{ABF31DCE-6C65-7731-17CD-771349CBCCD7}"/>
                  </a:ext>
                </a:extLst>
              </p:cNvPr>
              <p:cNvSpPr>
                <a:spLocks/>
              </p:cNvSpPr>
              <p:nvPr/>
            </p:nvSpPr>
            <p:spPr bwMode="auto">
              <a:xfrm>
                <a:off x="4456" y="3612"/>
                <a:ext cx="3" cy="2"/>
              </a:xfrm>
              <a:custGeom>
                <a:avLst/>
                <a:gdLst>
                  <a:gd name="T0" fmla="*/ 1 w 3"/>
                  <a:gd name="T1" fmla="*/ 0 h 2"/>
                  <a:gd name="T2" fmla="*/ 1 w 3"/>
                  <a:gd name="T3" fmla="*/ 0 h 2"/>
                  <a:gd name="T4" fmla="*/ 0 w 3"/>
                  <a:gd name="T5" fmla="*/ 1 h 2"/>
                  <a:gd name="T6" fmla="*/ 0 w 3"/>
                  <a:gd name="T7" fmla="*/ 1 h 2"/>
                  <a:gd name="T8" fmla="*/ 1 w 3"/>
                  <a:gd name="T9" fmla="*/ 2 h 2"/>
                  <a:gd name="T10" fmla="*/ 1 w 3"/>
                  <a:gd name="T11" fmla="*/ 2 h 2"/>
                  <a:gd name="T12" fmla="*/ 3 w 3"/>
                  <a:gd name="T13" fmla="*/ 2 h 2"/>
                  <a:gd name="T14" fmla="*/ 3 w 3"/>
                  <a:gd name="T15" fmla="*/ 1 h 2"/>
                  <a:gd name="T16" fmla="*/ 1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1" y="0"/>
                    </a:moveTo>
                    <a:lnTo>
                      <a:pt x="1" y="0"/>
                    </a:lnTo>
                    <a:lnTo>
                      <a:pt x="0" y="1"/>
                    </a:lnTo>
                    <a:lnTo>
                      <a:pt x="0" y="1"/>
                    </a:lnTo>
                    <a:lnTo>
                      <a:pt x="1" y="2"/>
                    </a:lnTo>
                    <a:lnTo>
                      <a:pt x="1" y="2"/>
                    </a:lnTo>
                    <a:lnTo>
                      <a:pt x="3" y="2"/>
                    </a:lnTo>
                    <a:lnTo>
                      <a:pt x="3" y="1"/>
                    </a:lnTo>
                    <a:lnTo>
                      <a:pt x="1"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39" name="Freeform 226">
                <a:extLst>
                  <a:ext uri="{FF2B5EF4-FFF2-40B4-BE49-F238E27FC236}">
                    <a16:creationId xmlns:a16="http://schemas.microsoft.com/office/drawing/2014/main" id="{AC7492DC-5284-F91F-6779-1ADD22318E34}"/>
                  </a:ext>
                </a:extLst>
              </p:cNvPr>
              <p:cNvSpPr>
                <a:spLocks noEditPoints="1"/>
              </p:cNvSpPr>
              <p:nvPr/>
            </p:nvSpPr>
            <p:spPr bwMode="auto">
              <a:xfrm>
                <a:off x="3696" y="2651"/>
                <a:ext cx="51" cy="49"/>
              </a:xfrm>
              <a:custGeom>
                <a:avLst/>
                <a:gdLst>
                  <a:gd name="T0" fmla="*/ 22 w 51"/>
                  <a:gd name="T1" fmla="*/ 48 h 49"/>
                  <a:gd name="T2" fmla="*/ 20 w 51"/>
                  <a:gd name="T3" fmla="*/ 48 h 49"/>
                  <a:gd name="T4" fmla="*/ 19 w 51"/>
                  <a:gd name="T5" fmla="*/ 48 h 49"/>
                  <a:gd name="T6" fmla="*/ 18 w 51"/>
                  <a:gd name="T7" fmla="*/ 46 h 49"/>
                  <a:gd name="T8" fmla="*/ 18 w 51"/>
                  <a:gd name="T9" fmla="*/ 46 h 49"/>
                  <a:gd name="T10" fmla="*/ 18 w 51"/>
                  <a:gd name="T11" fmla="*/ 45 h 49"/>
                  <a:gd name="T12" fmla="*/ 18 w 51"/>
                  <a:gd name="T13" fmla="*/ 44 h 49"/>
                  <a:gd name="T14" fmla="*/ 18 w 51"/>
                  <a:gd name="T15" fmla="*/ 42 h 49"/>
                  <a:gd name="T16" fmla="*/ 20 w 51"/>
                  <a:gd name="T17" fmla="*/ 39 h 49"/>
                  <a:gd name="T18" fmla="*/ 22 w 51"/>
                  <a:gd name="T19" fmla="*/ 36 h 49"/>
                  <a:gd name="T20" fmla="*/ 23 w 51"/>
                  <a:gd name="T21" fmla="*/ 33 h 49"/>
                  <a:gd name="T22" fmla="*/ 23 w 51"/>
                  <a:gd name="T23" fmla="*/ 26 h 49"/>
                  <a:gd name="T24" fmla="*/ 25 w 51"/>
                  <a:gd name="T25" fmla="*/ 28 h 49"/>
                  <a:gd name="T26" fmla="*/ 28 w 51"/>
                  <a:gd name="T27" fmla="*/ 28 h 49"/>
                  <a:gd name="T28" fmla="*/ 51 w 51"/>
                  <a:gd name="T29" fmla="*/ 28 h 49"/>
                  <a:gd name="T30" fmla="*/ 51 w 51"/>
                  <a:gd name="T31" fmla="*/ 49 h 49"/>
                  <a:gd name="T32" fmla="*/ 28 w 51"/>
                  <a:gd name="T33" fmla="*/ 49 h 49"/>
                  <a:gd name="T34" fmla="*/ 26 w 51"/>
                  <a:gd name="T35" fmla="*/ 49 h 49"/>
                  <a:gd name="T36" fmla="*/ 25 w 51"/>
                  <a:gd name="T37" fmla="*/ 49 h 49"/>
                  <a:gd name="T38" fmla="*/ 23 w 51"/>
                  <a:gd name="T39" fmla="*/ 49 h 49"/>
                  <a:gd name="T40" fmla="*/ 22 w 51"/>
                  <a:gd name="T41" fmla="*/ 48 h 49"/>
                  <a:gd name="T42" fmla="*/ 22 w 51"/>
                  <a:gd name="T43" fmla="*/ 48 h 49"/>
                  <a:gd name="T44" fmla="*/ 9 w 51"/>
                  <a:gd name="T45" fmla="*/ 5 h 49"/>
                  <a:gd name="T46" fmla="*/ 9 w 51"/>
                  <a:gd name="T47" fmla="*/ 2 h 49"/>
                  <a:gd name="T48" fmla="*/ 7 w 51"/>
                  <a:gd name="T49" fmla="*/ 0 h 49"/>
                  <a:gd name="T50" fmla="*/ 6 w 51"/>
                  <a:gd name="T51" fmla="*/ 0 h 49"/>
                  <a:gd name="T52" fmla="*/ 5 w 51"/>
                  <a:gd name="T53" fmla="*/ 0 h 49"/>
                  <a:gd name="T54" fmla="*/ 3 w 51"/>
                  <a:gd name="T55" fmla="*/ 2 h 49"/>
                  <a:gd name="T56" fmla="*/ 3 w 51"/>
                  <a:gd name="T57" fmla="*/ 2 h 49"/>
                  <a:gd name="T58" fmla="*/ 2 w 51"/>
                  <a:gd name="T59" fmla="*/ 5 h 49"/>
                  <a:gd name="T60" fmla="*/ 2 w 51"/>
                  <a:gd name="T61" fmla="*/ 5 h 49"/>
                  <a:gd name="T62" fmla="*/ 2 w 51"/>
                  <a:gd name="T63" fmla="*/ 6 h 49"/>
                  <a:gd name="T64" fmla="*/ 0 w 51"/>
                  <a:gd name="T65" fmla="*/ 6 h 49"/>
                  <a:gd name="T66" fmla="*/ 0 w 51"/>
                  <a:gd name="T67" fmla="*/ 6 h 49"/>
                  <a:gd name="T68" fmla="*/ 0 w 51"/>
                  <a:gd name="T69" fmla="*/ 8 h 49"/>
                  <a:gd name="T70" fmla="*/ 3 w 51"/>
                  <a:gd name="T71" fmla="*/ 11 h 49"/>
                  <a:gd name="T72" fmla="*/ 6 w 51"/>
                  <a:gd name="T73" fmla="*/ 8 h 49"/>
                  <a:gd name="T74" fmla="*/ 9 w 51"/>
                  <a:gd name="T75" fmla="*/ 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49">
                    <a:moveTo>
                      <a:pt x="22" y="48"/>
                    </a:moveTo>
                    <a:lnTo>
                      <a:pt x="20" y="48"/>
                    </a:lnTo>
                    <a:lnTo>
                      <a:pt x="19" y="48"/>
                    </a:lnTo>
                    <a:lnTo>
                      <a:pt x="18" y="46"/>
                    </a:lnTo>
                    <a:lnTo>
                      <a:pt x="18" y="46"/>
                    </a:lnTo>
                    <a:lnTo>
                      <a:pt x="18" y="45"/>
                    </a:lnTo>
                    <a:lnTo>
                      <a:pt x="18" y="44"/>
                    </a:lnTo>
                    <a:lnTo>
                      <a:pt x="18" y="42"/>
                    </a:lnTo>
                    <a:lnTo>
                      <a:pt x="20" y="39"/>
                    </a:lnTo>
                    <a:lnTo>
                      <a:pt x="22" y="36"/>
                    </a:lnTo>
                    <a:lnTo>
                      <a:pt x="23" y="33"/>
                    </a:lnTo>
                    <a:lnTo>
                      <a:pt x="23" y="26"/>
                    </a:lnTo>
                    <a:lnTo>
                      <a:pt x="25" y="28"/>
                    </a:lnTo>
                    <a:lnTo>
                      <a:pt x="28" y="28"/>
                    </a:lnTo>
                    <a:lnTo>
                      <a:pt x="51" y="28"/>
                    </a:lnTo>
                    <a:lnTo>
                      <a:pt x="51" y="49"/>
                    </a:lnTo>
                    <a:lnTo>
                      <a:pt x="28" y="49"/>
                    </a:lnTo>
                    <a:lnTo>
                      <a:pt x="26" y="49"/>
                    </a:lnTo>
                    <a:lnTo>
                      <a:pt x="25" y="49"/>
                    </a:lnTo>
                    <a:lnTo>
                      <a:pt x="23" y="49"/>
                    </a:lnTo>
                    <a:lnTo>
                      <a:pt x="22" y="48"/>
                    </a:lnTo>
                    <a:lnTo>
                      <a:pt x="22" y="48"/>
                    </a:lnTo>
                    <a:close/>
                    <a:moveTo>
                      <a:pt x="9" y="5"/>
                    </a:moveTo>
                    <a:lnTo>
                      <a:pt x="9" y="2"/>
                    </a:lnTo>
                    <a:lnTo>
                      <a:pt x="7" y="0"/>
                    </a:lnTo>
                    <a:lnTo>
                      <a:pt x="6" y="0"/>
                    </a:lnTo>
                    <a:lnTo>
                      <a:pt x="5" y="0"/>
                    </a:lnTo>
                    <a:lnTo>
                      <a:pt x="3" y="2"/>
                    </a:lnTo>
                    <a:lnTo>
                      <a:pt x="3" y="2"/>
                    </a:lnTo>
                    <a:lnTo>
                      <a:pt x="2" y="5"/>
                    </a:lnTo>
                    <a:lnTo>
                      <a:pt x="2" y="5"/>
                    </a:lnTo>
                    <a:lnTo>
                      <a:pt x="2" y="6"/>
                    </a:lnTo>
                    <a:lnTo>
                      <a:pt x="0" y="6"/>
                    </a:lnTo>
                    <a:lnTo>
                      <a:pt x="0" y="6"/>
                    </a:lnTo>
                    <a:lnTo>
                      <a:pt x="0" y="8"/>
                    </a:lnTo>
                    <a:lnTo>
                      <a:pt x="3" y="11"/>
                    </a:lnTo>
                    <a:lnTo>
                      <a:pt x="6" y="8"/>
                    </a:lnTo>
                    <a:lnTo>
                      <a:pt x="9" y="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40" name="Freeform 227">
                <a:extLst>
                  <a:ext uri="{FF2B5EF4-FFF2-40B4-BE49-F238E27FC236}">
                    <a16:creationId xmlns:a16="http://schemas.microsoft.com/office/drawing/2014/main" id="{6F446093-D280-ACC1-74A3-9DE3C571FF3A}"/>
                  </a:ext>
                </a:extLst>
              </p:cNvPr>
              <p:cNvSpPr>
                <a:spLocks/>
              </p:cNvSpPr>
              <p:nvPr/>
            </p:nvSpPr>
            <p:spPr bwMode="auto">
              <a:xfrm>
                <a:off x="4209" y="3623"/>
                <a:ext cx="4" cy="3"/>
              </a:xfrm>
              <a:custGeom>
                <a:avLst/>
                <a:gdLst>
                  <a:gd name="T0" fmla="*/ 3 w 4"/>
                  <a:gd name="T1" fmla="*/ 0 h 3"/>
                  <a:gd name="T2" fmla="*/ 1 w 4"/>
                  <a:gd name="T3" fmla="*/ 0 h 3"/>
                  <a:gd name="T4" fmla="*/ 0 w 4"/>
                  <a:gd name="T5" fmla="*/ 1 h 3"/>
                  <a:gd name="T6" fmla="*/ 0 w 4"/>
                  <a:gd name="T7" fmla="*/ 3 h 3"/>
                  <a:gd name="T8" fmla="*/ 1 w 4"/>
                  <a:gd name="T9" fmla="*/ 3 h 3"/>
                  <a:gd name="T10" fmla="*/ 4 w 4"/>
                  <a:gd name="T11" fmla="*/ 3 h 3"/>
                  <a:gd name="T12" fmla="*/ 4 w 4"/>
                  <a:gd name="T13" fmla="*/ 1 h 3"/>
                  <a:gd name="T14" fmla="*/ 4 w 4"/>
                  <a:gd name="T15" fmla="*/ 0 h 3"/>
                  <a:gd name="T16" fmla="*/ 3 w 4"/>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3" y="0"/>
                    </a:moveTo>
                    <a:lnTo>
                      <a:pt x="1" y="0"/>
                    </a:lnTo>
                    <a:lnTo>
                      <a:pt x="0" y="1"/>
                    </a:lnTo>
                    <a:lnTo>
                      <a:pt x="0" y="3"/>
                    </a:lnTo>
                    <a:lnTo>
                      <a:pt x="1" y="3"/>
                    </a:lnTo>
                    <a:lnTo>
                      <a:pt x="4" y="3"/>
                    </a:lnTo>
                    <a:lnTo>
                      <a:pt x="4" y="1"/>
                    </a:lnTo>
                    <a:lnTo>
                      <a:pt x="4" y="0"/>
                    </a:lnTo>
                    <a:lnTo>
                      <a:pt x="3"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41" name="Freeform 228">
                <a:extLst>
                  <a:ext uri="{FF2B5EF4-FFF2-40B4-BE49-F238E27FC236}">
                    <a16:creationId xmlns:a16="http://schemas.microsoft.com/office/drawing/2014/main" id="{BA1F53E2-E126-931C-9B87-EEA8246181EE}"/>
                  </a:ext>
                </a:extLst>
              </p:cNvPr>
              <p:cNvSpPr>
                <a:spLocks/>
              </p:cNvSpPr>
              <p:nvPr/>
            </p:nvSpPr>
            <p:spPr bwMode="auto">
              <a:xfrm>
                <a:off x="4522" y="2798"/>
                <a:ext cx="2" cy="4"/>
              </a:xfrm>
              <a:custGeom>
                <a:avLst/>
                <a:gdLst>
                  <a:gd name="T0" fmla="*/ 2 w 2"/>
                  <a:gd name="T1" fmla="*/ 3 h 4"/>
                  <a:gd name="T2" fmla="*/ 2 w 2"/>
                  <a:gd name="T3" fmla="*/ 1 h 4"/>
                  <a:gd name="T4" fmla="*/ 2 w 2"/>
                  <a:gd name="T5" fmla="*/ 1 h 4"/>
                  <a:gd name="T6" fmla="*/ 0 w 2"/>
                  <a:gd name="T7" fmla="*/ 0 h 4"/>
                  <a:gd name="T8" fmla="*/ 0 w 2"/>
                  <a:gd name="T9" fmla="*/ 1 h 4"/>
                  <a:gd name="T10" fmla="*/ 2 w 2"/>
                  <a:gd name="T11" fmla="*/ 4 h 4"/>
                  <a:gd name="T12" fmla="*/ 2 w 2"/>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3"/>
                    </a:moveTo>
                    <a:lnTo>
                      <a:pt x="2" y="1"/>
                    </a:lnTo>
                    <a:lnTo>
                      <a:pt x="2" y="1"/>
                    </a:lnTo>
                    <a:lnTo>
                      <a:pt x="0" y="0"/>
                    </a:lnTo>
                    <a:lnTo>
                      <a:pt x="0" y="1"/>
                    </a:lnTo>
                    <a:lnTo>
                      <a:pt x="2" y="4"/>
                    </a:lnTo>
                    <a:lnTo>
                      <a:pt x="2" y="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42" name="Freeform 229">
                <a:extLst>
                  <a:ext uri="{FF2B5EF4-FFF2-40B4-BE49-F238E27FC236}">
                    <a16:creationId xmlns:a16="http://schemas.microsoft.com/office/drawing/2014/main" id="{8D2A1508-3596-897B-400E-3A813A6E4FDE}"/>
                  </a:ext>
                </a:extLst>
              </p:cNvPr>
              <p:cNvSpPr>
                <a:spLocks noEditPoints="1"/>
              </p:cNvSpPr>
              <p:nvPr/>
            </p:nvSpPr>
            <p:spPr bwMode="auto">
              <a:xfrm>
                <a:off x="3679" y="2020"/>
                <a:ext cx="70" cy="141"/>
              </a:xfrm>
              <a:custGeom>
                <a:avLst/>
                <a:gdLst>
                  <a:gd name="T0" fmla="*/ 24 w 70"/>
                  <a:gd name="T1" fmla="*/ 6 h 141"/>
                  <a:gd name="T2" fmla="*/ 42 w 70"/>
                  <a:gd name="T3" fmla="*/ 2 h 141"/>
                  <a:gd name="T4" fmla="*/ 42 w 70"/>
                  <a:gd name="T5" fmla="*/ 5 h 141"/>
                  <a:gd name="T6" fmla="*/ 42 w 70"/>
                  <a:gd name="T7" fmla="*/ 3 h 141"/>
                  <a:gd name="T8" fmla="*/ 47 w 70"/>
                  <a:gd name="T9" fmla="*/ 5 h 141"/>
                  <a:gd name="T10" fmla="*/ 50 w 70"/>
                  <a:gd name="T11" fmla="*/ 12 h 141"/>
                  <a:gd name="T12" fmla="*/ 55 w 70"/>
                  <a:gd name="T13" fmla="*/ 11 h 141"/>
                  <a:gd name="T14" fmla="*/ 62 w 70"/>
                  <a:gd name="T15" fmla="*/ 8 h 141"/>
                  <a:gd name="T16" fmla="*/ 63 w 70"/>
                  <a:gd name="T17" fmla="*/ 11 h 141"/>
                  <a:gd name="T18" fmla="*/ 58 w 70"/>
                  <a:gd name="T19" fmla="*/ 18 h 141"/>
                  <a:gd name="T20" fmla="*/ 53 w 70"/>
                  <a:gd name="T21" fmla="*/ 22 h 141"/>
                  <a:gd name="T22" fmla="*/ 53 w 70"/>
                  <a:gd name="T23" fmla="*/ 29 h 141"/>
                  <a:gd name="T24" fmla="*/ 62 w 70"/>
                  <a:gd name="T25" fmla="*/ 36 h 141"/>
                  <a:gd name="T26" fmla="*/ 63 w 70"/>
                  <a:gd name="T27" fmla="*/ 44 h 141"/>
                  <a:gd name="T28" fmla="*/ 59 w 70"/>
                  <a:gd name="T29" fmla="*/ 52 h 141"/>
                  <a:gd name="T30" fmla="*/ 46 w 70"/>
                  <a:gd name="T31" fmla="*/ 67 h 141"/>
                  <a:gd name="T32" fmla="*/ 58 w 70"/>
                  <a:gd name="T33" fmla="*/ 74 h 141"/>
                  <a:gd name="T34" fmla="*/ 60 w 70"/>
                  <a:gd name="T35" fmla="*/ 78 h 141"/>
                  <a:gd name="T36" fmla="*/ 65 w 70"/>
                  <a:gd name="T37" fmla="*/ 81 h 141"/>
                  <a:gd name="T38" fmla="*/ 68 w 70"/>
                  <a:gd name="T39" fmla="*/ 84 h 141"/>
                  <a:gd name="T40" fmla="*/ 70 w 70"/>
                  <a:gd name="T41" fmla="*/ 92 h 141"/>
                  <a:gd name="T42" fmla="*/ 70 w 70"/>
                  <a:gd name="T43" fmla="*/ 100 h 141"/>
                  <a:gd name="T44" fmla="*/ 55 w 70"/>
                  <a:gd name="T45" fmla="*/ 111 h 141"/>
                  <a:gd name="T46" fmla="*/ 49 w 70"/>
                  <a:gd name="T47" fmla="*/ 114 h 141"/>
                  <a:gd name="T48" fmla="*/ 46 w 70"/>
                  <a:gd name="T49" fmla="*/ 120 h 141"/>
                  <a:gd name="T50" fmla="*/ 47 w 70"/>
                  <a:gd name="T51" fmla="*/ 133 h 141"/>
                  <a:gd name="T52" fmla="*/ 36 w 70"/>
                  <a:gd name="T53" fmla="*/ 141 h 141"/>
                  <a:gd name="T54" fmla="*/ 24 w 70"/>
                  <a:gd name="T55" fmla="*/ 103 h 141"/>
                  <a:gd name="T56" fmla="*/ 14 w 70"/>
                  <a:gd name="T57" fmla="*/ 94 h 141"/>
                  <a:gd name="T58" fmla="*/ 12 w 70"/>
                  <a:gd name="T59" fmla="*/ 88 h 141"/>
                  <a:gd name="T60" fmla="*/ 6 w 70"/>
                  <a:gd name="T61" fmla="*/ 84 h 141"/>
                  <a:gd name="T62" fmla="*/ 2 w 70"/>
                  <a:gd name="T63" fmla="*/ 74 h 141"/>
                  <a:gd name="T64" fmla="*/ 3 w 70"/>
                  <a:gd name="T65" fmla="*/ 64 h 141"/>
                  <a:gd name="T66" fmla="*/ 12 w 70"/>
                  <a:gd name="T67" fmla="*/ 57 h 141"/>
                  <a:gd name="T68" fmla="*/ 16 w 70"/>
                  <a:gd name="T69" fmla="*/ 45 h 141"/>
                  <a:gd name="T70" fmla="*/ 13 w 70"/>
                  <a:gd name="T71" fmla="*/ 31 h 141"/>
                  <a:gd name="T72" fmla="*/ 14 w 70"/>
                  <a:gd name="T73" fmla="*/ 21 h 141"/>
                  <a:gd name="T74" fmla="*/ 14 w 70"/>
                  <a:gd name="T75" fmla="*/ 19 h 141"/>
                  <a:gd name="T76" fmla="*/ 14 w 70"/>
                  <a:gd name="T77" fmla="*/ 16 h 141"/>
                  <a:gd name="T78" fmla="*/ 59 w 70"/>
                  <a:gd name="T79" fmla="*/ 71 h 141"/>
                  <a:gd name="T80" fmla="*/ 59 w 70"/>
                  <a:gd name="T81" fmla="*/ 74 h 141"/>
                  <a:gd name="T82" fmla="*/ 63 w 70"/>
                  <a:gd name="T83" fmla="*/ 72 h 141"/>
                  <a:gd name="T84" fmla="*/ 66 w 70"/>
                  <a:gd name="T85" fmla="*/ 54 h 141"/>
                  <a:gd name="T86" fmla="*/ 66 w 70"/>
                  <a:gd name="T87" fmla="*/ 52 h 141"/>
                  <a:gd name="T88" fmla="*/ 65 w 70"/>
                  <a:gd name="T89" fmla="*/ 55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0" h="141">
                    <a:moveTo>
                      <a:pt x="19" y="12"/>
                    </a:moveTo>
                    <a:lnTo>
                      <a:pt x="19" y="9"/>
                    </a:lnTo>
                    <a:lnTo>
                      <a:pt x="24" y="6"/>
                    </a:lnTo>
                    <a:lnTo>
                      <a:pt x="30" y="3"/>
                    </a:lnTo>
                    <a:lnTo>
                      <a:pt x="36" y="0"/>
                    </a:lnTo>
                    <a:lnTo>
                      <a:pt x="42" y="2"/>
                    </a:lnTo>
                    <a:lnTo>
                      <a:pt x="40" y="3"/>
                    </a:lnTo>
                    <a:lnTo>
                      <a:pt x="40" y="3"/>
                    </a:lnTo>
                    <a:lnTo>
                      <a:pt x="42" y="5"/>
                    </a:lnTo>
                    <a:lnTo>
                      <a:pt x="42" y="5"/>
                    </a:lnTo>
                    <a:lnTo>
                      <a:pt x="42" y="3"/>
                    </a:lnTo>
                    <a:lnTo>
                      <a:pt x="42" y="3"/>
                    </a:lnTo>
                    <a:lnTo>
                      <a:pt x="42" y="3"/>
                    </a:lnTo>
                    <a:lnTo>
                      <a:pt x="46" y="3"/>
                    </a:lnTo>
                    <a:lnTo>
                      <a:pt x="47" y="5"/>
                    </a:lnTo>
                    <a:lnTo>
                      <a:pt x="49" y="9"/>
                    </a:lnTo>
                    <a:lnTo>
                      <a:pt x="50" y="12"/>
                    </a:lnTo>
                    <a:lnTo>
                      <a:pt x="50" y="12"/>
                    </a:lnTo>
                    <a:lnTo>
                      <a:pt x="52" y="12"/>
                    </a:lnTo>
                    <a:lnTo>
                      <a:pt x="53" y="12"/>
                    </a:lnTo>
                    <a:lnTo>
                      <a:pt x="55" y="11"/>
                    </a:lnTo>
                    <a:lnTo>
                      <a:pt x="59" y="8"/>
                    </a:lnTo>
                    <a:lnTo>
                      <a:pt x="60" y="8"/>
                    </a:lnTo>
                    <a:lnTo>
                      <a:pt x="62" y="8"/>
                    </a:lnTo>
                    <a:lnTo>
                      <a:pt x="63" y="8"/>
                    </a:lnTo>
                    <a:lnTo>
                      <a:pt x="63" y="8"/>
                    </a:lnTo>
                    <a:lnTo>
                      <a:pt x="63" y="11"/>
                    </a:lnTo>
                    <a:lnTo>
                      <a:pt x="63" y="11"/>
                    </a:lnTo>
                    <a:lnTo>
                      <a:pt x="62" y="13"/>
                    </a:lnTo>
                    <a:lnTo>
                      <a:pt x="58" y="18"/>
                    </a:lnTo>
                    <a:lnTo>
                      <a:pt x="58" y="19"/>
                    </a:lnTo>
                    <a:lnTo>
                      <a:pt x="55" y="21"/>
                    </a:lnTo>
                    <a:lnTo>
                      <a:pt x="53" y="22"/>
                    </a:lnTo>
                    <a:lnTo>
                      <a:pt x="53" y="23"/>
                    </a:lnTo>
                    <a:lnTo>
                      <a:pt x="53" y="26"/>
                    </a:lnTo>
                    <a:lnTo>
                      <a:pt x="53" y="29"/>
                    </a:lnTo>
                    <a:lnTo>
                      <a:pt x="56" y="31"/>
                    </a:lnTo>
                    <a:lnTo>
                      <a:pt x="60" y="35"/>
                    </a:lnTo>
                    <a:lnTo>
                      <a:pt x="62" y="36"/>
                    </a:lnTo>
                    <a:lnTo>
                      <a:pt x="63" y="39"/>
                    </a:lnTo>
                    <a:lnTo>
                      <a:pt x="63" y="42"/>
                    </a:lnTo>
                    <a:lnTo>
                      <a:pt x="63" y="44"/>
                    </a:lnTo>
                    <a:lnTo>
                      <a:pt x="63" y="45"/>
                    </a:lnTo>
                    <a:lnTo>
                      <a:pt x="62" y="45"/>
                    </a:lnTo>
                    <a:lnTo>
                      <a:pt x="59" y="52"/>
                    </a:lnTo>
                    <a:lnTo>
                      <a:pt x="56" y="55"/>
                    </a:lnTo>
                    <a:lnTo>
                      <a:pt x="49" y="61"/>
                    </a:lnTo>
                    <a:lnTo>
                      <a:pt x="46" y="67"/>
                    </a:lnTo>
                    <a:lnTo>
                      <a:pt x="47" y="71"/>
                    </a:lnTo>
                    <a:lnTo>
                      <a:pt x="52" y="74"/>
                    </a:lnTo>
                    <a:lnTo>
                      <a:pt x="58" y="74"/>
                    </a:lnTo>
                    <a:lnTo>
                      <a:pt x="58" y="77"/>
                    </a:lnTo>
                    <a:lnTo>
                      <a:pt x="58" y="78"/>
                    </a:lnTo>
                    <a:lnTo>
                      <a:pt x="60" y="78"/>
                    </a:lnTo>
                    <a:lnTo>
                      <a:pt x="62" y="75"/>
                    </a:lnTo>
                    <a:lnTo>
                      <a:pt x="63" y="77"/>
                    </a:lnTo>
                    <a:lnTo>
                      <a:pt x="65" y="81"/>
                    </a:lnTo>
                    <a:lnTo>
                      <a:pt x="66" y="82"/>
                    </a:lnTo>
                    <a:lnTo>
                      <a:pt x="66" y="84"/>
                    </a:lnTo>
                    <a:lnTo>
                      <a:pt x="68" y="84"/>
                    </a:lnTo>
                    <a:lnTo>
                      <a:pt x="69" y="84"/>
                    </a:lnTo>
                    <a:lnTo>
                      <a:pt x="70" y="85"/>
                    </a:lnTo>
                    <a:lnTo>
                      <a:pt x="70" y="92"/>
                    </a:lnTo>
                    <a:lnTo>
                      <a:pt x="70" y="95"/>
                    </a:lnTo>
                    <a:lnTo>
                      <a:pt x="70" y="98"/>
                    </a:lnTo>
                    <a:lnTo>
                      <a:pt x="70" y="100"/>
                    </a:lnTo>
                    <a:lnTo>
                      <a:pt x="59" y="107"/>
                    </a:lnTo>
                    <a:lnTo>
                      <a:pt x="56" y="108"/>
                    </a:lnTo>
                    <a:lnTo>
                      <a:pt x="55" y="111"/>
                    </a:lnTo>
                    <a:lnTo>
                      <a:pt x="53" y="113"/>
                    </a:lnTo>
                    <a:lnTo>
                      <a:pt x="50" y="113"/>
                    </a:lnTo>
                    <a:lnTo>
                      <a:pt x="49" y="114"/>
                    </a:lnTo>
                    <a:lnTo>
                      <a:pt x="47" y="114"/>
                    </a:lnTo>
                    <a:lnTo>
                      <a:pt x="47" y="117"/>
                    </a:lnTo>
                    <a:lnTo>
                      <a:pt x="46" y="120"/>
                    </a:lnTo>
                    <a:lnTo>
                      <a:pt x="49" y="126"/>
                    </a:lnTo>
                    <a:lnTo>
                      <a:pt x="49" y="128"/>
                    </a:lnTo>
                    <a:lnTo>
                      <a:pt x="47" y="133"/>
                    </a:lnTo>
                    <a:lnTo>
                      <a:pt x="45" y="136"/>
                    </a:lnTo>
                    <a:lnTo>
                      <a:pt x="40" y="138"/>
                    </a:lnTo>
                    <a:lnTo>
                      <a:pt x="36" y="141"/>
                    </a:lnTo>
                    <a:lnTo>
                      <a:pt x="29" y="108"/>
                    </a:lnTo>
                    <a:lnTo>
                      <a:pt x="27" y="105"/>
                    </a:lnTo>
                    <a:lnTo>
                      <a:pt x="24" y="103"/>
                    </a:lnTo>
                    <a:lnTo>
                      <a:pt x="17" y="98"/>
                    </a:lnTo>
                    <a:lnTo>
                      <a:pt x="14" y="95"/>
                    </a:lnTo>
                    <a:lnTo>
                      <a:pt x="14" y="94"/>
                    </a:lnTo>
                    <a:lnTo>
                      <a:pt x="13" y="91"/>
                    </a:lnTo>
                    <a:lnTo>
                      <a:pt x="13" y="90"/>
                    </a:lnTo>
                    <a:lnTo>
                      <a:pt x="12" y="88"/>
                    </a:lnTo>
                    <a:lnTo>
                      <a:pt x="10" y="87"/>
                    </a:lnTo>
                    <a:lnTo>
                      <a:pt x="7" y="85"/>
                    </a:lnTo>
                    <a:lnTo>
                      <a:pt x="6" y="84"/>
                    </a:lnTo>
                    <a:lnTo>
                      <a:pt x="4" y="81"/>
                    </a:lnTo>
                    <a:lnTo>
                      <a:pt x="2" y="78"/>
                    </a:lnTo>
                    <a:lnTo>
                      <a:pt x="2" y="74"/>
                    </a:lnTo>
                    <a:lnTo>
                      <a:pt x="0" y="71"/>
                    </a:lnTo>
                    <a:lnTo>
                      <a:pt x="2" y="67"/>
                    </a:lnTo>
                    <a:lnTo>
                      <a:pt x="3" y="64"/>
                    </a:lnTo>
                    <a:lnTo>
                      <a:pt x="6" y="61"/>
                    </a:lnTo>
                    <a:lnTo>
                      <a:pt x="9" y="59"/>
                    </a:lnTo>
                    <a:lnTo>
                      <a:pt x="12" y="57"/>
                    </a:lnTo>
                    <a:lnTo>
                      <a:pt x="13" y="52"/>
                    </a:lnTo>
                    <a:lnTo>
                      <a:pt x="14" y="49"/>
                    </a:lnTo>
                    <a:lnTo>
                      <a:pt x="16" y="45"/>
                    </a:lnTo>
                    <a:lnTo>
                      <a:pt x="16" y="41"/>
                    </a:lnTo>
                    <a:lnTo>
                      <a:pt x="14" y="34"/>
                    </a:lnTo>
                    <a:lnTo>
                      <a:pt x="13" y="31"/>
                    </a:lnTo>
                    <a:lnTo>
                      <a:pt x="13" y="29"/>
                    </a:lnTo>
                    <a:lnTo>
                      <a:pt x="14" y="25"/>
                    </a:lnTo>
                    <a:lnTo>
                      <a:pt x="14" y="21"/>
                    </a:lnTo>
                    <a:lnTo>
                      <a:pt x="14" y="19"/>
                    </a:lnTo>
                    <a:lnTo>
                      <a:pt x="14" y="19"/>
                    </a:lnTo>
                    <a:lnTo>
                      <a:pt x="14" y="19"/>
                    </a:lnTo>
                    <a:lnTo>
                      <a:pt x="13" y="18"/>
                    </a:lnTo>
                    <a:lnTo>
                      <a:pt x="13" y="18"/>
                    </a:lnTo>
                    <a:lnTo>
                      <a:pt x="14" y="16"/>
                    </a:lnTo>
                    <a:lnTo>
                      <a:pt x="17" y="13"/>
                    </a:lnTo>
                    <a:lnTo>
                      <a:pt x="19" y="12"/>
                    </a:lnTo>
                    <a:close/>
                    <a:moveTo>
                      <a:pt x="59" y="71"/>
                    </a:moveTo>
                    <a:lnTo>
                      <a:pt x="58" y="71"/>
                    </a:lnTo>
                    <a:lnTo>
                      <a:pt x="58" y="74"/>
                    </a:lnTo>
                    <a:lnTo>
                      <a:pt x="59" y="74"/>
                    </a:lnTo>
                    <a:lnTo>
                      <a:pt x="60" y="74"/>
                    </a:lnTo>
                    <a:lnTo>
                      <a:pt x="62" y="74"/>
                    </a:lnTo>
                    <a:lnTo>
                      <a:pt x="63" y="72"/>
                    </a:lnTo>
                    <a:lnTo>
                      <a:pt x="60" y="71"/>
                    </a:lnTo>
                    <a:lnTo>
                      <a:pt x="59" y="71"/>
                    </a:lnTo>
                    <a:close/>
                    <a:moveTo>
                      <a:pt x="66" y="54"/>
                    </a:moveTo>
                    <a:lnTo>
                      <a:pt x="66" y="54"/>
                    </a:lnTo>
                    <a:lnTo>
                      <a:pt x="68" y="52"/>
                    </a:lnTo>
                    <a:lnTo>
                      <a:pt x="66" y="52"/>
                    </a:lnTo>
                    <a:lnTo>
                      <a:pt x="65" y="52"/>
                    </a:lnTo>
                    <a:lnTo>
                      <a:pt x="65" y="54"/>
                    </a:lnTo>
                    <a:lnTo>
                      <a:pt x="65" y="55"/>
                    </a:lnTo>
                    <a:lnTo>
                      <a:pt x="65" y="54"/>
                    </a:lnTo>
                    <a:lnTo>
                      <a:pt x="66" y="5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43" name="Freeform 230">
                <a:extLst>
                  <a:ext uri="{FF2B5EF4-FFF2-40B4-BE49-F238E27FC236}">
                    <a16:creationId xmlns:a16="http://schemas.microsoft.com/office/drawing/2014/main" id="{2BD472B6-13A0-695E-1967-8DE4F07E9956}"/>
                  </a:ext>
                </a:extLst>
              </p:cNvPr>
              <p:cNvSpPr>
                <a:spLocks/>
              </p:cNvSpPr>
              <p:nvPr/>
            </p:nvSpPr>
            <p:spPr bwMode="auto">
              <a:xfrm>
                <a:off x="4340" y="2942"/>
                <a:ext cx="3" cy="6"/>
              </a:xfrm>
              <a:custGeom>
                <a:avLst/>
                <a:gdLst>
                  <a:gd name="T0" fmla="*/ 1 w 3"/>
                  <a:gd name="T1" fmla="*/ 6 h 6"/>
                  <a:gd name="T2" fmla="*/ 3 w 3"/>
                  <a:gd name="T3" fmla="*/ 6 h 6"/>
                  <a:gd name="T4" fmla="*/ 3 w 3"/>
                  <a:gd name="T5" fmla="*/ 1 h 6"/>
                  <a:gd name="T6" fmla="*/ 3 w 3"/>
                  <a:gd name="T7" fmla="*/ 1 h 6"/>
                  <a:gd name="T8" fmla="*/ 1 w 3"/>
                  <a:gd name="T9" fmla="*/ 1 h 6"/>
                  <a:gd name="T10" fmla="*/ 1 w 3"/>
                  <a:gd name="T11" fmla="*/ 1 h 6"/>
                  <a:gd name="T12" fmla="*/ 0 w 3"/>
                  <a:gd name="T13" fmla="*/ 0 h 6"/>
                  <a:gd name="T14" fmla="*/ 0 w 3"/>
                  <a:gd name="T15" fmla="*/ 1 h 6"/>
                  <a:gd name="T16" fmla="*/ 0 w 3"/>
                  <a:gd name="T17" fmla="*/ 3 h 6"/>
                  <a:gd name="T18" fmla="*/ 0 w 3"/>
                  <a:gd name="T19" fmla="*/ 4 h 6"/>
                  <a:gd name="T20" fmla="*/ 1 w 3"/>
                  <a:gd name="T21" fmla="*/ 6 h 6"/>
                  <a:gd name="T22" fmla="*/ 1 w 3"/>
                  <a:gd name="T2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1" y="6"/>
                    </a:moveTo>
                    <a:lnTo>
                      <a:pt x="3" y="6"/>
                    </a:lnTo>
                    <a:lnTo>
                      <a:pt x="3" y="1"/>
                    </a:lnTo>
                    <a:lnTo>
                      <a:pt x="3" y="1"/>
                    </a:lnTo>
                    <a:lnTo>
                      <a:pt x="1" y="1"/>
                    </a:lnTo>
                    <a:lnTo>
                      <a:pt x="1" y="1"/>
                    </a:lnTo>
                    <a:lnTo>
                      <a:pt x="0" y="0"/>
                    </a:lnTo>
                    <a:lnTo>
                      <a:pt x="0" y="1"/>
                    </a:lnTo>
                    <a:lnTo>
                      <a:pt x="0" y="3"/>
                    </a:lnTo>
                    <a:lnTo>
                      <a:pt x="0" y="4"/>
                    </a:lnTo>
                    <a:lnTo>
                      <a:pt x="1" y="6"/>
                    </a:lnTo>
                    <a:lnTo>
                      <a:pt x="1" y="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44" name="Freeform 231">
                <a:extLst>
                  <a:ext uri="{FF2B5EF4-FFF2-40B4-BE49-F238E27FC236}">
                    <a16:creationId xmlns:a16="http://schemas.microsoft.com/office/drawing/2014/main" id="{0FAF5048-29C1-F924-DADB-5BCEB0CA090A}"/>
                  </a:ext>
                </a:extLst>
              </p:cNvPr>
              <p:cNvSpPr>
                <a:spLocks/>
              </p:cNvSpPr>
              <p:nvPr/>
            </p:nvSpPr>
            <p:spPr bwMode="auto">
              <a:xfrm>
                <a:off x="4068" y="2643"/>
                <a:ext cx="95" cy="100"/>
              </a:xfrm>
              <a:custGeom>
                <a:avLst/>
                <a:gdLst>
                  <a:gd name="T0" fmla="*/ 68 w 95"/>
                  <a:gd name="T1" fmla="*/ 8 h 100"/>
                  <a:gd name="T2" fmla="*/ 65 w 95"/>
                  <a:gd name="T3" fmla="*/ 8 h 100"/>
                  <a:gd name="T4" fmla="*/ 62 w 95"/>
                  <a:gd name="T5" fmla="*/ 7 h 100"/>
                  <a:gd name="T6" fmla="*/ 58 w 95"/>
                  <a:gd name="T7" fmla="*/ 7 h 100"/>
                  <a:gd name="T8" fmla="*/ 49 w 95"/>
                  <a:gd name="T9" fmla="*/ 10 h 100"/>
                  <a:gd name="T10" fmla="*/ 45 w 95"/>
                  <a:gd name="T11" fmla="*/ 11 h 100"/>
                  <a:gd name="T12" fmla="*/ 45 w 95"/>
                  <a:gd name="T13" fmla="*/ 13 h 100"/>
                  <a:gd name="T14" fmla="*/ 43 w 95"/>
                  <a:gd name="T15" fmla="*/ 11 h 100"/>
                  <a:gd name="T16" fmla="*/ 40 w 95"/>
                  <a:gd name="T17" fmla="*/ 11 h 100"/>
                  <a:gd name="T18" fmla="*/ 40 w 95"/>
                  <a:gd name="T19" fmla="*/ 8 h 100"/>
                  <a:gd name="T20" fmla="*/ 38 w 95"/>
                  <a:gd name="T21" fmla="*/ 8 h 100"/>
                  <a:gd name="T22" fmla="*/ 35 w 95"/>
                  <a:gd name="T23" fmla="*/ 10 h 100"/>
                  <a:gd name="T24" fmla="*/ 32 w 95"/>
                  <a:gd name="T25" fmla="*/ 10 h 100"/>
                  <a:gd name="T26" fmla="*/ 29 w 95"/>
                  <a:gd name="T27" fmla="*/ 8 h 100"/>
                  <a:gd name="T28" fmla="*/ 23 w 95"/>
                  <a:gd name="T29" fmla="*/ 10 h 100"/>
                  <a:gd name="T30" fmla="*/ 22 w 95"/>
                  <a:gd name="T31" fmla="*/ 13 h 100"/>
                  <a:gd name="T32" fmla="*/ 22 w 95"/>
                  <a:gd name="T33" fmla="*/ 23 h 100"/>
                  <a:gd name="T34" fmla="*/ 22 w 95"/>
                  <a:gd name="T35" fmla="*/ 26 h 100"/>
                  <a:gd name="T36" fmla="*/ 20 w 95"/>
                  <a:gd name="T37" fmla="*/ 31 h 100"/>
                  <a:gd name="T38" fmla="*/ 26 w 95"/>
                  <a:gd name="T39" fmla="*/ 34 h 100"/>
                  <a:gd name="T40" fmla="*/ 29 w 95"/>
                  <a:gd name="T41" fmla="*/ 37 h 100"/>
                  <a:gd name="T42" fmla="*/ 7 w 95"/>
                  <a:gd name="T43" fmla="*/ 60 h 100"/>
                  <a:gd name="T44" fmla="*/ 6 w 95"/>
                  <a:gd name="T45" fmla="*/ 64 h 100"/>
                  <a:gd name="T46" fmla="*/ 3 w 95"/>
                  <a:gd name="T47" fmla="*/ 73 h 100"/>
                  <a:gd name="T48" fmla="*/ 0 w 95"/>
                  <a:gd name="T49" fmla="*/ 99 h 100"/>
                  <a:gd name="T50" fmla="*/ 3 w 95"/>
                  <a:gd name="T51" fmla="*/ 99 h 100"/>
                  <a:gd name="T52" fmla="*/ 5 w 95"/>
                  <a:gd name="T53" fmla="*/ 99 h 100"/>
                  <a:gd name="T54" fmla="*/ 7 w 95"/>
                  <a:gd name="T55" fmla="*/ 99 h 100"/>
                  <a:gd name="T56" fmla="*/ 12 w 95"/>
                  <a:gd name="T57" fmla="*/ 95 h 100"/>
                  <a:gd name="T58" fmla="*/ 19 w 95"/>
                  <a:gd name="T59" fmla="*/ 93 h 100"/>
                  <a:gd name="T60" fmla="*/ 75 w 95"/>
                  <a:gd name="T61" fmla="*/ 92 h 100"/>
                  <a:gd name="T62" fmla="*/ 76 w 95"/>
                  <a:gd name="T63" fmla="*/ 73 h 100"/>
                  <a:gd name="T64" fmla="*/ 85 w 95"/>
                  <a:gd name="T65" fmla="*/ 59 h 100"/>
                  <a:gd name="T66" fmla="*/ 88 w 95"/>
                  <a:gd name="T67" fmla="*/ 54 h 100"/>
                  <a:gd name="T68" fmla="*/ 91 w 95"/>
                  <a:gd name="T69" fmla="*/ 53 h 100"/>
                  <a:gd name="T70" fmla="*/ 92 w 95"/>
                  <a:gd name="T71" fmla="*/ 49 h 100"/>
                  <a:gd name="T72" fmla="*/ 94 w 95"/>
                  <a:gd name="T73" fmla="*/ 46 h 100"/>
                  <a:gd name="T74" fmla="*/ 92 w 95"/>
                  <a:gd name="T75" fmla="*/ 31 h 100"/>
                  <a:gd name="T76" fmla="*/ 86 w 95"/>
                  <a:gd name="T77" fmla="*/ 21 h 100"/>
                  <a:gd name="T78" fmla="*/ 85 w 95"/>
                  <a:gd name="T79" fmla="*/ 11 h 100"/>
                  <a:gd name="T80" fmla="*/ 82 w 95"/>
                  <a:gd name="T81" fmla="*/ 8 h 100"/>
                  <a:gd name="T82" fmla="*/ 81 w 95"/>
                  <a:gd name="T83" fmla="*/ 7 h 100"/>
                  <a:gd name="T84" fmla="*/ 79 w 95"/>
                  <a:gd name="T85" fmla="*/ 4 h 100"/>
                  <a:gd name="T86" fmla="*/ 69 w 95"/>
                  <a:gd name="T87" fmla="*/ 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100">
                    <a:moveTo>
                      <a:pt x="69" y="8"/>
                    </a:moveTo>
                    <a:lnTo>
                      <a:pt x="69" y="8"/>
                    </a:lnTo>
                    <a:lnTo>
                      <a:pt x="68" y="8"/>
                    </a:lnTo>
                    <a:lnTo>
                      <a:pt x="68" y="8"/>
                    </a:lnTo>
                    <a:lnTo>
                      <a:pt x="66" y="8"/>
                    </a:lnTo>
                    <a:lnTo>
                      <a:pt x="65" y="8"/>
                    </a:lnTo>
                    <a:lnTo>
                      <a:pt x="63" y="8"/>
                    </a:lnTo>
                    <a:lnTo>
                      <a:pt x="63" y="8"/>
                    </a:lnTo>
                    <a:lnTo>
                      <a:pt x="62" y="7"/>
                    </a:lnTo>
                    <a:lnTo>
                      <a:pt x="61" y="7"/>
                    </a:lnTo>
                    <a:lnTo>
                      <a:pt x="59" y="6"/>
                    </a:lnTo>
                    <a:lnTo>
                      <a:pt x="58" y="7"/>
                    </a:lnTo>
                    <a:lnTo>
                      <a:pt x="56" y="8"/>
                    </a:lnTo>
                    <a:lnTo>
                      <a:pt x="51" y="8"/>
                    </a:lnTo>
                    <a:lnTo>
                      <a:pt x="49" y="10"/>
                    </a:lnTo>
                    <a:lnTo>
                      <a:pt x="46" y="11"/>
                    </a:lnTo>
                    <a:lnTo>
                      <a:pt x="45" y="11"/>
                    </a:lnTo>
                    <a:lnTo>
                      <a:pt x="45" y="11"/>
                    </a:lnTo>
                    <a:lnTo>
                      <a:pt x="45" y="13"/>
                    </a:lnTo>
                    <a:lnTo>
                      <a:pt x="45" y="13"/>
                    </a:lnTo>
                    <a:lnTo>
                      <a:pt x="45" y="13"/>
                    </a:lnTo>
                    <a:lnTo>
                      <a:pt x="43" y="13"/>
                    </a:lnTo>
                    <a:lnTo>
                      <a:pt x="43" y="13"/>
                    </a:lnTo>
                    <a:lnTo>
                      <a:pt x="43" y="11"/>
                    </a:lnTo>
                    <a:lnTo>
                      <a:pt x="42" y="11"/>
                    </a:lnTo>
                    <a:lnTo>
                      <a:pt x="42" y="11"/>
                    </a:lnTo>
                    <a:lnTo>
                      <a:pt x="40" y="11"/>
                    </a:lnTo>
                    <a:lnTo>
                      <a:pt x="40" y="10"/>
                    </a:lnTo>
                    <a:lnTo>
                      <a:pt x="40" y="10"/>
                    </a:lnTo>
                    <a:lnTo>
                      <a:pt x="40" y="8"/>
                    </a:lnTo>
                    <a:lnTo>
                      <a:pt x="39" y="8"/>
                    </a:lnTo>
                    <a:lnTo>
                      <a:pt x="39" y="8"/>
                    </a:lnTo>
                    <a:lnTo>
                      <a:pt x="38" y="8"/>
                    </a:lnTo>
                    <a:lnTo>
                      <a:pt x="38" y="8"/>
                    </a:lnTo>
                    <a:lnTo>
                      <a:pt x="36" y="10"/>
                    </a:lnTo>
                    <a:lnTo>
                      <a:pt x="35" y="10"/>
                    </a:lnTo>
                    <a:lnTo>
                      <a:pt x="33" y="10"/>
                    </a:lnTo>
                    <a:lnTo>
                      <a:pt x="33" y="10"/>
                    </a:lnTo>
                    <a:lnTo>
                      <a:pt x="32" y="10"/>
                    </a:lnTo>
                    <a:lnTo>
                      <a:pt x="32" y="10"/>
                    </a:lnTo>
                    <a:lnTo>
                      <a:pt x="30" y="8"/>
                    </a:lnTo>
                    <a:lnTo>
                      <a:pt x="29" y="8"/>
                    </a:lnTo>
                    <a:lnTo>
                      <a:pt x="29" y="8"/>
                    </a:lnTo>
                    <a:lnTo>
                      <a:pt x="28" y="8"/>
                    </a:lnTo>
                    <a:lnTo>
                      <a:pt x="23" y="10"/>
                    </a:lnTo>
                    <a:lnTo>
                      <a:pt x="23" y="11"/>
                    </a:lnTo>
                    <a:lnTo>
                      <a:pt x="22" y="13"/>
                    </a:lnTo>
                    <a:lnTo>
                      <a:pt x="22" y="13"/>
                    </a:lnTo>
                    <a:lnTo>
                      <a:pt x="22" y="14"/>
                    </a:lnTo>
                    <a:lnTo>
                      <a:pt x="20" y="21"/>
                    </a:lnTo>
                    <a:lnTo>
                      <a:pt x="22" y="23"/>
                    </a:lnTo>
                    <a:lnTo>
                      <a:pt x="22" y="24"/>
                    </a:lnTo>
                    <a:lnTo>
                      <a:pt x="22" y="24"/>
                    </a:lnTo>
                    <a:lnTo>
                      <a:pt x="22" y="26"/>
                    </a:lnTo>
                    <a:lnTo>
                      <a:pt x="20" y="27"/>
                    </a:lnTo>
                    <a:lnTo>
                      <a:pt x="20" y="30"/>
                    </a:lnTo>
                    <a:lnTo>
                      <a:pt x="20" y="31"/>
                    </a:lnTo>
                    <a:lnTo>
                      <a:pt x="20" y="31"/>
                    </a:lnTo>
                    <a:lnTo>
                      <a:pt x="25" y="33"/>
                    </a:lnTo>
                    <a:lnTo>
                      <a:pt x="26" y="34"/>
                    </a:lnTo>
                    <a:lnTo>
                      <a:pt x="28" y="36"/>
                    </a:lnTo>
                    <a:lnTo>
                      <a:pt x="29" y="36"/>
                    </a:lnTo>
                    <a:lnTo>
                      <a:pt x="29" y="37"/>
                    </a:lnTo>
                    <a:lnTo>
                      <a:pt x="29" y="39"/>
                    </a:lnTo>
                    <a:lnTo>
                      <a:pt x="26" y="44"/>
                    </a:lnTo>
                    <a:lnTo>
                      <a:pt x="7" y="60"/>
                    </a:lnTo>
                    <a:lnTo>
                      <a:pt x="6" y="60"/>
                    </a:lnTo>
                    <a:lnTo>
                      <a:pt x="6" y="62"/>
                    </a:lnTo>
                    <a:lnTo>
                      <a:pt x="6" y="64"/>
                    </a:lnTo>
                    <a:lnTo>
                      <a:pt x="6" y="66"/>
                    </a:lnTo>
                    <a:lnTo>
                      <a:pt x="5" y="69"/>
                    </a:lnTo>
                    <a:lnTo>
                      <a:pt x="3" y="73"/>
                    </a:lnTo>
                    <a:lnTo>
                      <a:pt x="2" y="76"/>
                    </a:lnTo>
                    <a:lnTo>
                      <a:pt x="0" y="87"/>
                    </a:lnTo>
                    <a:lnTo>
                      <a:pt x="0" y="99"/>
                    </a:lnTo>
                    <a:lnTo>
                      <a:pt x="2" y="99"/>
                    </a:lnTo>
                    <a:lnTo>
                      <a:pt x="2" y="99"/>
                    </a:lnTo>
                    <a:lnTo>
                      <a:pt x="3" y="99"/>
                    </a:lnTo>
                    <a:lnTo>
                      <a:pt x="3" y="99"/>
                    </a:lnTo>
                    <a:lnTo>
                      <a:pt x="5" y="99"/>
                    </a:lnTo>
                    <a:lnTo>
                      <a:pt x="5" y="99"/>
                    </a:lnTo>
                    <a:lnTo>
                      <a:pt x="6" y="99"/>
                    </a:lnTo>
                    <a:lnTo>
                      <a:pt x="6" y="100"/>
                    </a:lnTo>
                    <a:lnTo>
                      <a:pt x="7" y="99"/>
                    </a:lnTo>
                    <a:lnTo>
                      <a:pt x="9" y="99"/>
                    </a:lnTo>
                    <a:lnTo>
                      <a:pt x="10" y="98"/>
                    </a:lnTo>
                    <a:lnTo>
                      <a:pt x="12" y="95"/>
                    </a:lnTo>
                    <a:lnTo>
                      <a:pt x="13" y="93"/>
                    </a:lnTo>
                    <a:lnTo>
                      <a:pt x="16" y="93"/>
                    </a:lnTo>
                    <a:lnTo>
                      <a:pt x="19" y="93"/>
                    </a:lnTo>
                    <a:lnTo>
                      <a:pt x="25" y="92"/>
                    </a:lnTo>
                    <a:lnTo>
                      <a:pt x="28" y="92"/>
                    </a:lnTo>
                    <a:lnTo>
                      <a:pt x="75" y="92"/>
                    </a:lnTo>
                    <a:lnTo>
                      <a:pt x="75" y="86"/>
                    </a:lnTo>
                    <a:lnTo>
                      <a:pt x="76" y="80"/>
                    </a:lnTo>
                    <a:lnTo>
                      <a:pt x="76" y="73"/>
                    </a:lnTo>
                    <a:lnTo>
                      <a:pt x="79" y="67"/>
                    </a:lnTo>
                    <a:lnTo>
                      <a:pt x="81" y="66"/>
                    </a:lnTo>
                    <a:lnTo>
                      <a:pt x="85" y="59"/>
                    </a:lnTo>
                    <a:lnTo>
                      <a:pt x="86" y="57"/>
                    </a:lnTo>
                    <a:lnTo>
                      <a:pt x="86" y="56"/>
                    </a:lnTo>
                    <a:lnTo>
                      <a:pt x="88" y="54"/>
                    </a:lnTo>
                    <a:lnTo>
                      <a:pt x="88" y="54"/>
                    </a:lnTo>
                    <a:lnTo>
                      <a:pt x="91" y="53"/>
                    </a:lnTo>
                    <a:lnTo>
                      <a:pt x="91" y="53"/>
                    </a:lnTo>
                    <a:lnTo>
                      <a:pt x="92" y="52"/>
                    </a:lnTo>
                    <a:lnTo>
                      <a:pt x="92" y="50"/>
                    </a:lnTo>
                    <a:lnTo>
                      <a:pt x="92" y="49"/>
                    </a:lnTo>
                    <a:lnTo>
                      <a:pt x="92" y="49"/>
                    </a:lnTo>
                    <a:lnTo>
                      <a:pt x="94" y="47"/>
                    </a:lnTo>
                    <a:lnTo>
                      <a:pt x="94" y="46"/>
                    </a:lnTo>
                    <a:lnTo>
                      <a:pt x="95" y="43"/>
                    </a:lnTo>
                    <a:lnTo>
                      <a:pt x="95" y="41"/>
                    </a:lnTo>
                    <a:lnTo>
                      <a:pt x="92" y="31"/>
                    </a:lnTo>
                    <a:lnTo>
                      <a:pt x="92" y="29"/>
                    </a:lnTo>
                    <a:lnTo>
                      <a:pt x="91" y="27"/>
                    </a:lnTo>
                    <a:lnTo>
                      <a:pt x="86" y="21"/>
                    </a:lnTo>
                    <a:lnTo>
                      <a:pt x="85" y="19"/>
                    </a:lnTo>
                    <a:lnTo>
                      <a:pt x="85" y="16"/>
                    </a:lnTo>
                    <a:lnTo>
                      <a:pt x="85" y="11"/>
                    </a:lnTo>
                    <a:lnTo>
                      <a:pt x="84" y="10"/>
                    </a:lnTo>
                    <a:lnTo>
                      <a:pt x="84" y="8"/>
                    </a:lnTo>
                    <a:lnTo>
                      <a:pt x="82" y="8"/>
                    </a:lnTo>
                    <a:lnTo>
                      <a:pt x="81" y="8"/>
                    </a:lnTo>
                    <a:lnTo>
                      <a:pt x="81" y="7"/>
                    </a:lnTo>
                    <a:lnTo>
                      <a:pt x="81" y="7"/>
                    </a:lnTo>
                    <a:lnTo>
                      <a:pt x="81" y="7"/>
                    </a:lnTo>
                    <a:lnTo>
                      <a:pt x="81" y="7"/>
                    </a:lnTo>
                    <a:lnTo>
                      <a:pt x="79" y="4"/>
                    </a:lnTo>
                    <a:lnTo>
                      <a:pt x="76" y="0"/>
                    </a:lnTo>
                    <a:lnTo>
                      <a:pt x="74" y="4"/>
                    </a:lnTo>
                    <a:lnTo>
                      <a:pt x="69" y="8"/>
                    </a:lnTo>
                    <a:lnTo>
                      <a:pt x="69" y="8"/>
                    </a:lnTo>
                    <a:lnTo>
                      <a:pt x="69" y="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45" name="Freeform 232">
                <a:extLst>
                  <a:ext uri="{FF2B5EF4-FFF2-40B4-BE49-F238E27FC236}">
                    <a16:creationId xmlns:a16="http://schemas.microsoft.com/office/drawing/2014/main" id="{1178A2C1-D853-BF9F-1369-AA600AB1C9ED}"/>
                  </a:ext>
                </a:extLst>
              </p:cNvPr>
              <p:cNvSpPr>
                <a:spLocks/>
              </p:cNvSpPr>
              <p:nvPr/>
            </p:nvSpPr>
            <p:spPr bwMode="auto">
              <a:xfrm>
                <a:off x="4055" y="2736"/>
                <a:ext cx="35" cy="32"/>
              </a:xfrm>
              <a:custGeom>
                <a:avLst/>
                <a:gdLst>
                  <a:gd name="T0" fmla="*/ 25 w 35"/>
                  <a:gd name="T1" fmla="*/ 2 h 32"/>
                  <a:gd name="T2" fmla="*/ 23 w 35"/>
                  <a:gd name="T3" fmla="*/ 5 h 32"/>
                  <a:gd name="T4" fmla="*/ 22 w 35"/>
                  <a:gd name="T5" fmla="*/ 6 h 32"/>
                  <a:gd name="T6" fmla="*/ 20 w 35"/>
                  <a:gd name="T7" fmla="*/ 6 h 32"/>
                  <a:gd name="T8" fmla="*/ 19 w 35"/>
                  <a:gd name="T9" fmla="*/ 7 h 32"/>
                  <a:gd name="T10" fmla="*/ 19 w 35"/>
                  <a:gd name="T11" fmla="*/ 6 h 32"/>
                  <a:gd name="T12" fmla="*/ 18 w 35"/>
                  <a:gd name="T13" fmla="*/ 6 h 32"/>
                  <a:gd name="T14" fmla="*/ 18 w 35"/>
                  <a:gd name="T15" fmla="*/ 6 h 32"/>
                  <a:gd name="T16" fmla="*/ 16 w 35"/>
                  <a:gd name="T17" fmla="*/ 6 h 32"/>
                  <a:gd name="T18" fmla="*/ 16 w 35"/>
                  <a:gd name="T19" fmla="*/ 6 h 32"/>
                  <a:gd name="T20" fmla="*/ 15 w 35"/>
                  <a:gd name="T21" fmla="*/ 6 h 32"/>
                  <a:gd name="T22" fmla="*/ 15 w 35"/>
                  <a:gd name="T23" fmla="*/ 6 h 32"/>
                  <a:gd name="T24" fmla="*/ 13 w 35"/>
                  <a:gd name="T25" fmla="*/ 6 h 32"/>
                  <a:gd name="T26" fmla="*/ 9 w 35"/>
                  <a:gd name="T27" fmla="*/ 9 h 32"/>
                  <a:gd name="T28" fmla="*/ 8 w 35"/>
                  <a:gd name="T29" fmla="*/ 10 h 32"/>
                  <a:gd name="T30" fmla="*/ 6 w 35"/>
                  <a:gd name="T31" fmla="*/ 12 h 32"/>
                  <a:gd name="T32" fmla="*/ 5 w 35"/>
                  <a:gd name="T33" fmla="*/ 15 h 32"/>
                  <a:gd name="T34" fmla="*/ 6 w 35"/>
                  <a:gd name="T35" fmla="*/ 16 h 32"/>
                  <a:gd name="T36" fmla="*/ 5 w 35"/>
                  <a:gd name="T37" fmla="*/ 19 h 32"/>
                  <a:gd name="T38" fmla="*/ 0 w 35"/>
                  <a:gd name="T39" fmla="*/ 25 h 32"/>
                  <a:gd name="T40" fmla="*/ 0 w 35"/>
                  <a:gd name="T41" fmla="*/ 28 h 32"/>
                  <a:gd name="T42" fmla="*/ 3 w 35"/>
                  <a:gd name="T43" fmla="*/ 29 h 32"/>
                  <a:gd name="T44" fmla="*/ 3 w 35"/>
                  <a:gd name="T45" fmla="*/ 28 h 32"/>
                  <a:gd name="T46" fmla="*/ 6 w 35"/>
                  <a:gd name="T47" fmla="*/ 28 h 32"/>
                  <a:gd name="T48" fmla="*/ 9 w 35"/>
                  <a:gd name="T49" fmla="*/ 30 h 32"/>
                  <a:gd name="T50" fmla="*/ 12 w 35"/>
                  <a:gd name="T51" fmla="*/ 32 h 32"/>
                  <a:gd name="T52" fmla="*/ 13 w 35"/>
                  <a:gd name="T53" fmla="*/ 30 h 32"/>
                  <a:gd name="T54" fmla="*/ 16 w 35"/>
                  <a:gd name="T55" fmla="*/ 30 h 32"/>
                  <a:gd name="T56" fmla="*/ 18 w 35"/>
                  <a:gd name="T57" fmla="*/ 29 h 32"/>
                  <a:gd name="T58" fmla="*/ 19 w 35"/>
                  <a:gd name="T59" fmla="*/ 28 h 32"/>
                  <a:gd name="T60" fmla="*/ 19 w 35"/>
                  <a:gd name="T61" fmla="*/ 23 h 32"/>
                  <a:gd name="T62" fmla="*/ 19 w 35"/>
                  <a:gd name="T63" fmla="*/ 23 h 32"/>
                  <a:gd name="T64" fmla="*/ 19 w 35"/>
                  <a:gd name="T65" fmla="*/ 23 h 32"/>
                  <a:gd name="T66" fmla="*/ 22 w 35"/>
                  <a:gd name="T67" fmla="*/ 23 h 32"/>
                  <a:gd name="T68" fmla="*/ 22 w 35"/>
                  <a:gd name="T69" fmla="*/ 25 h 32"/>
                  <a:gd name="T70" fmla="*/ 25 w 35"/>
                  <a:gd name="T71" fmla="*/ 23 h 32"/>
                  <a:gd name="T72" fmla="*/ 26 w 35"/>
                  <a:gd name="T73" fmla="*/ 23 h 32"/>
                  <a:gd name="T74" fmla="*/ 28 w 35"/>
                  <a:gd name="T75" fmla="*/ 23 h 32"/>
                  <a:gd name="T76" fmla="*/ 29 w 35"/>
                  <a:gd name="T77" fmla="*/ 23 h 32"/>
                  <a:gd name="T78" fmla="*/ 33 w 35"/>
                  <a:gd name="T79" fmla="*/ 23 h 32"/>
                  <a:gd name="T80" fmla="*/ 35 w 35"/>
                  <a:gd name="T81" fmla="*/ 23 h 32"/>
                  <a:gd name="T82" fmla="*/ 35 w 35"/>
                  <a:gd name="T83" fmla="*/ 20 h 32"/>
                  <a:gd name="T84" fmla="*/ 35 w 35"/>
                  <a:gd name="T85" fmla="*/ 19 h 32"/>
                  <a:gd name="T86" fmla="*/ 35 w 35"/>
                  <a:gd name="T87" fmla="*/ 15 h 32"/>
                  <a:gd name="T88" fmla="*/ 33 w 35"/>
                  <a:gd name="T89" fmla="*/ 10 h 32"/>
                  <a:gd name="T90" fmla="*/ 33 w 35"/>
                  <a:gd name="T91" fmla="*/ 7 h 32"/>
                  <a:gd name="T92" fmla="*/ 32 w 35"/>
                  <a:gd name="T93" fmla="*/ 6 h 32"/>
                  <a:gd name="T94" fmla="*/ 29 w 35"/>
                  <a:gd name="T95" fmla="*/ 3 h 32"/>
                  <a:gd name="T96" fmla="*/ 29 w 35"/>
                  <a:gd name="T97" fmla="*/ 2 h 32"/>
                  <a:gd name="T98" fmla="*/ 29 w 35"/>
                  <a:gd name="T99" fmla="*/ 0 h 32"/>
                  <a:gd name="T100" fmla="*/ 26 w 35"/>
                  <a:gd name="T101" fmla="*/ 0 h 32"/>
                  <a:gd name="T102" fmla="*/ 25 w 35"/>
                  <a:gd name="T103"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 h="32">
                    <a:moveTo>
                      <a:pt x="25" y="2"/>
                    </a:moveTo>
                    <a:lnTo>
                      <a:pt x="23" y="5"/>
                    </a:lnTo>
                    <a:lnTo>
                      <a:pt x="22" y="6"/>
                    </a:lnTo>
                    <a:lnTo>
                      <a:pt x="20" y="6"/>
                    </a:lnTo>
                    <a:lnTo>
                      <a:pt x="19" y="7"/>
                    </a:lnTo>
                    <a:lnTo>
                      <a:pt x="19" y="6"/>
                    </a:lnTo>
                    <a:lnTo>
                      <a:pt x="18" y="6"/>
                    </a:lnTo>
                    <a:lnTo>
                      <a:pt x="18" y="6"/>
                    </a:lnTo>
                    <a:lnTo>
                      <a:pt x="16" y="6"/>
                    </a:lnTo>
                    <a:lnTo>
                      <a:pt x="16" y="6"/>
                    </a:lnTo>
                    <a:lnTo>
                      <a:pt x="15" y="6"/>
                    </a:lnTo>
                    <a:lnTo>
                      <a:pt x="15" y="6"/>
                    </a:lnTo>
                    <a:lnTo>
                      <a:pt x="13" y="6"/>
                    </a:lnTo>
                    <a:lnTo>
                      <a:pt x="9" y="9"/>
                    </a:lnTo>
                    <a:lnTo>
                      <a:pt x="8" y="10"/>
                    </a:lnTo>
                    <a:lnTo>
                      <a:pt x="6" y="12"/>
                    </a:lnTo>
                    <a:lnTo>
                      <a:pt x="5" y="15"/>
                    </a:lnTo>
                    <a:lnTo>
                      <a:pt x="6" y="16"/>
                    </a:lnTo>
                    <a:lnTo>
                      <a:pt x="5" y="19"/>
                    </a:lnTo>
                    <a:lnTo>
                      <a:pt x="0" y="25"/>
                    </a:lnTo>
                    <a:lnTo>
                      <a:pt x="0" y="28"/>
                    </a:lnTo>
                    <a:lnTo>
                      <a:pt x="3" y="29"/>
                    </a:lnTo>
                    <a:lnTo>
                      <a:pt x="3" y="28"/>
                    </a:lnTo>
                    <a:lnTo>
                      <a:pt x="6" y="28"/>
                    </a:lnTo>
                    <a:lnTo>
                      <a:pt x="9" y="30"/>
                    </a:lnTo>
                    <a:lnTo>
                      <a:pt x="12" y="32"/>
                    </a:lnTo>
                    <a:lnTo>
                      <a:pt x="13" y="30"/>
                    </a:lnTo>
                    <a:lnTo>
                      <a:pt x="16" y="30"/>
                    </a:lnTo>
                    <a:lnTo>
                      <a:pt x="18" y="29"/>
                    </a:lnTo>
                    <a:lnTo>
                      <a:pt x="19" y="28"/>
                    </a:lnTo>
                    <a:lnTo>
                      <a:pt x="19" y="23"/>
                    </a:lnTo>
                    <a:lnTo>
                      <a:pt x="19" y="23"/>
                    </a:lnTo>
                    <a:lnTo>
                      <a:pt x="19" y="23"/>
                    </a:lnTo>
                    <a:lnTo>
                      <a:pt x="22" y="23"/>
                    </a:lnTo>
                    <a:lnTo>
                      <a:pt x="22" y="25"/>
                    </a:lnTo>
                    <a:lnTo>
                      <a:pt x="25" y="23"/>
                    </a:lnTo>
                    <a:lnTo>
                      <a:pt x="26" y="23"/>
                    </a:lnTo>
                    <a:lnTo>
                      <a:pt x="28" y="23"/>
                    </a:lnTo>
                    <a:lnTo>
                      <a:pt x="29" y="23"/>
                    </a:lnTo>
                    <a:lnTo>
                      <a:pt x="33" y="23"/>
                    </a:lnTo>
                    <a:lnTo>
                      <a:pt x="35" y="23"/>
                    </a:lnTo>
                    <a:lnTo>
                      <a:pt x="35" y="20"/>
                    </a:lnTo>
                    <a:lnTo>
                      <a:pt x="35" y="19"/>
                    </a:lnTo>
                    <a:lnTo>
                      <a:pt x="35" y="15"/>
                    </a:lnTo>
                    <a:lnTo>
                      <a:pt x="33" y="10"/>
                    </a:lnTo>
                    <a:lnTo>
                      <a:pt x="33" y="7"/>
                    </a:lnTo>
                    <a:lnTo>
                      <a:pt x="32" y="6"/>
                    </a:lnTo>
                    <a:lnTo>
                      <a:pt x="29" y="3"/>
                    </a:lnTo>
                    <a:lnTo>
                      <a:pt x="29" y="2"/>
                    </a:lnTo>
                    <a:lnTo>
                      <a:pt x="29" y="0"/>
                    </a:lnTo>
                    <a:lnTo>
                      <a:pt x="26" y="0"/>
                    </a:lnTo>
                    <a:lnTo>
                      <a:pt x="25"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46" name="Freeform 233">
                <a:extLst>
                  <a:ext uri="{FF2B5EF4-FFF2-40B4-BE49-F238E27FC236}">
                    <a16:creationId xmlns:a16="http://schemas.microsoft.com/office/drawing/2014/main" id="{D2A7C4B2-BEDC-1C21-60B5-8585307CDAE6}"/>
                  </a:ext>
                </a:extLst>
              </p:cNvPr>
              <p:cNvSpPr>
                <a:spLocks/>
              </p:cNvSpPr>
              <p:nvPr/>
            </p:nvSpPr>
            <p:spPr bwMode="auto">
              <a:xfrm>
                <a:off x="3244" y="2111"/>
                <a:ext cx="10" cy="4"/>
              </a:xfrm>
              <a:custGeom>
                <a:avLst/>
                <a:gdLst>
                  <a:gd name="T0" fmla="*/ 4 w 10"/>
                  <a:gd name="T1" fmla="*/ 4 h 4"/>
                  <a:gd name="T2" fmla="*/ 1 w 10"/>
                  <a:gd name="T3" fmla="*/ 3 h 4"/>
                  <a:gd name="T4" fmla="*/ 0 w 10"/>
                  <a:gd name="T5" fmla="*/ 1 h 4"/>
                  <a:gd name="T6" fmla="*/ 1 w 10"/>
                  <a:gd name="T7" fmla="*/ 0 h 4"/>
                  <a:gd name="T8" fmla="*/ 4 w 10"/>
                  <a:gd name="T9" fmla="*/ 0 h 4"/>
                  <a:gd name="T10" fmla="*/ 10 w 10"/>
                  <a:gd name="T11" fmla="*/ 1 h 4"/>
                  <a:gd name="T12" fmla="*/ 7 w 10"/>
                  <a:gd name="T13" fmla="*/ 3 h 4"/>
                  <a:gd name="T14" fmla="*/ 4 w 10"/>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
                    <a:moveTo>
                      <a:pt x="4" y="4"/>
                    </a:moveTo>
                    <a:lnTo>
                      <a:pt x="1" y="3"/>
                    </a:lnTo>
                    <a:lnTo>
                      <a:pt x="0" y="1"/>
                    </a:lnTo>
                    <a:lnTo>
                      <a:pt x="1" y="0"/>
                    </a:lnTo>
                    <a:lnTo>
                      <a:pt x="4" y="0"/>
                    </a:lnTo>
                    <a:lnTo>
                      <a:pt x="10" y="1"/>
                    </a:lnTo>
                    <a:lnTo>
                      <a:pt x="7" y="3"/>
                    </a:lnTo>
                    <a:lnTo>
                      <a:pt x="4" y="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grpSp>
        <p:grpSp>
          <p:nvGrpSpPr>
            <p:cNvPr id="13" name="Grupo 3">
              <a:extLst>
                <a:ext uri="{FF2B5EF4-FFF2-40B4-BE49-F238E27FC236}">
                  <a16:creationId xmlns:a16="http://schemas.microsoft.com/office/drawing/2014/main" id="{5A0FC4D7-0A70-B04E-207A-9507CF37B499}"/>
                </a:ext>
              </a:extLst>
            </p:cNvPr>
            <p:cNvGrpSpPr/>
            <p:nvPr/>
          </p:nvGrpSpPr>
          <p:grpSpPr>
            <a:xfrm>
              <a:off x="9798370" y="3913852"/>
              <a:ext cx="1728052" cy="1499170"/>
              <a:chOff x="8498789" y="3923007"/>
              <a:chExt cx="1965061" cy="1704787"/>
            </a:xfrm>
            <a:grpFill/>
          </p:grpSpPr>
          <p:sp>
            <p:nvSpPr>
              <p:cNvPr id="265" name="Freeform 260">
                <a:extLst>
                  <a:ext uri="{FF2B5EF4-FFF2-40B4-BE49-F238E27FC236}">
                    <a16:creationId xmlns:a16="http://schemas.microsoft.com/office/drawing/2014/main" id="{A67008D8-F388-324E-F5E8-5E035D4C731B}"/>
                  </a:ext>
                </a:extLst>
              </p:cNvPr>
              <p:cNvSpPr>
                <a:spLocks noEditPoints="1"/>
              </p:cNvSpPr>
              <p:nvPr/>
            </p:nvSpPr>
            <p:spPr bwMode="auto">
              <a:xfrm>
                <a:off x="9798707" y="4634419"/>
                <a:ext cx="104109" cy="67961"/>
              </a:xfrm>
              <a:custGeom>
                <a:avLst/>
                <a:gdLst>
                  <a:gd name="T0" fmla="*/ 46 w 72"/>
                  <a:gd name="T1" fmla="*/ 5 h 47"/>
                  <a:gd name="T2" fmla="*/ 45 w 72"/>
                  <a:gd name="T3" fmla="*/ 8 h 47"/>
                  <a:gd name="T4" fmla="*/ 43 w 72"/>
                  <a:gd name="T5" fmla="*/ 10 h 47"/>
                  <a:gd name="T6" fmla="*/ 45 w 72"/>
                  <a:gd name="T7" fmla="*/ 7 h 47"/>
                  <a:gd name="T8" fmla="*/ 45 w 72"/>
                  <a:gd name="T9" fmla="*/ 4 h 47"/>
                  <a:gd name="T10" fmla="*/ 46 w 72"/>
                  <a:gd name="T11" fmla="*/ 5 h 47"/>
                  <a:gd name="T12" fmla="*/ 59 w 72"/>
                  <a:gd name="T13" fmla="*/ 46 h 47"/>
                  <a:gd name="T14" fmla="*/ 62 w 72"/>
                  <a:gd name="T15" fmla="*/ 47 h 47"/>
                  <a:gd name="T16" fmla="*/ 60 w 72"/>
                  <a:gd name="T17" fmla="*/ 44 h 47"/>
                  <a:gd name="T18" fmla="*/ 53 w 72"/>
                  <a:gd name="T19" fmla="*/ 14 h 47"/>
                  <a:gd name="T20" fmla="*/ 56 w 72"/>
                  <a:gd name="T21" fmla="*/ 18 h 47"/>
                  <a:gd name="T22" fmla="*/ 59 w 72"/>
                  <a:gd name="T23" fmla="*/ 16 h 47"/>
                  <a:gd name="T24" fmla="*/ 58 w 72"/>
                  <a:gd name="T25" fmla="*/ 10 h 47"/>
                  <a:gd name="T26" fmla="*/ 55 w 72"/>
                  <a:gd name="T27" fmla="*/ 10 h 47"/>
                  <a:gd name="T28" fmla="*/ 53 w 72"/>
                  <a:gd name="T29" fmla="*/ 11 h 47"/>
                  <a:gd name="T30" fmla="*/ 55 w 72"/>
                  <a:gd name="T31" fmla="*/ 13 h 47"/>
                  <a:gd name="T32" fmla="*/ 53 w 72"/>
                  <a:gd name="T33" fmla="*/ 14 h 47"/>
                  <a:gd name="T34" fmla="*/ 48 w 72"/>
                  <a:gd name="T35" fmla="*/ 41 h 47"/>
                  <a:gd name="T36" fmla="*/ 52 w 72"/>
                  <a:gd name="T37" fmla="*/ 40 h 47"/>
                  <a:gd name="T38" fmla="*/ 49 w 72"/>
                  <a:gd name="T39" fmla="*/ 34 h 47"/>
                  <a:gd name="T40" fmla="*/ 30 w 72"/>
                  <a:gd name="T41" fmla="*/ 21 h 47"/>
                  <a:gd name="T42" fmla="*/ 25 w 72"/>
                  <a:gd name="T43" fmla="*/ 17 h 47"/>
                  <a:gd name="T44" fmla="*/ 22 w 72"/>
                  <a:gd name="T45" fmla="*/ 13 h 47"/>
                  <a:gd name="T46" fmla="*/ 10 w 72"/>
                  <a:gd name="T47" fmla="*/ 4 h 47"/>
                  <a:gd name="T48" fmla="*/ 4 w 72"/>
                  <a:gd name="T49" fmla="*/ 1 h 47"/>
                  <a:gd name="T50" fmla="*/ 0 w 72"/>
                  <a:gd name="T51" fmla="*/ 0 h 47"/>
                  <a:gd name="T52" fmla="*/ 0 w 72"/>
                  <a:gd name="T53" fmla="*/ 0 h 47"/>
                  <a:gd name="T54" fmla="*/ 0 w 72"/>
                  <a:gd name="T55" fmla="*/ 1 h 47"/>
                  <a:gd name="T56" fmla="*/ 4 w 72"/>
                  <a:gd name="T57" fmla="*/ 8 h 47"/>
                  <a:gd name="T58" fmla="*/ 16 w 72"/>
                  <a:gd name="T59" fmla="*/ 21 h 47"/>
                  <a:gd name="T60" fmla="*/ 36 w 72"/>
                  <a:gd name="T61" fmla="*/ 36 h 47"/>
                  <a:gd name="T62" fmla="*/ 40 w 72"/>
                  <a:gd name="T63" fmla="*/ 39 h 47"/>
                  <a:gd name="T64" fmla="*/ 46 w 72"/>
                  <a:gd name="T65" fmla="*/ 41 h 47"/>
                  <a:gd name="T66" fmla="*/ 72 w 72"/>
                  <a:gd name="T67" fmla="*/ 26 h 47"/>
                  <a:gd name="T68" fmla="*/ 71 w 72"/>
                  <a:gd name="T69" fmla="*/ 24 h 47"/>
                  <a:gd name="T70" fmla="*/ 69 w 72"/>
                  <a:gd name="T71" fmla="*/ 23 h 47"/>
                  <a:gd name="T72" fmla="*/ 69 w 72"/>
                  <a:gd name="T73" fmla="*/ 23 h 47"/>
                  <a:gd name="T74" fmla="*/ 66 w 72"/>
                  <a:gd name="T75" fmla="*/ 23 h 47"/>
                  <a:gd name="T76" fmla="*/ 68 w 72"/>
                  <a:gd name="T77" fmla="*/ 27 h 47"/>
                  <a:gd name="T78" fmla="*/ 71 w 72"/>
                  <a:gd name="T79" fmla="*/ 2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47">
                    <a:moveTo>
                      <a:pt x="46" y="5"/>
                    </a:moveTo>
                    <a:lnTo>
                      <a:pt x="46" y="5"/>
                    </a:lnTo>
                    <a:lnTo>
                      <a:pt x="45" y="7"/>
                    </a:lnTo>
                    <a:lnTo>
                      <a:pt x="45" y="8"/>
                    </a:lnTo>
                    <a:lnTo>
                      <a:pt x="45" y="10"/>
                    </a:lnTo>
                    <a:lnTo>
                      <a:pt x="43" y="10"/>
                    </a:lnTo>
                    <a:lnTo>
                      <a:pt x="43" y="8"/>
                    </a:lnTo>
                    <a:lnTo>
                      <a:pt x="45" y="7"/>
                    </a:lnTo>
                    <a:lnTo>
                      <a:pt x="45" y="5"/>
                    </a:lnTo>
                    <a:lnTo>
                      <a:pt x="45" y="4"/>
                    </a:lnTo>
                    <a:lnTo>
                      <a:pt x="45" y="5"/>
                    </a:lnTo>
                    <a:lnTo>
                      <a:pt x="46" y="5"/>
                    </a:lnTo>
                    <a:lnTo>
                      <a:pt x="46" y="5"/>
                    </a:lnTo>
                    <a:close/>
                    <a:moveTo>
                      <a:pt x="59" y="46"/>
                    </a:moveTo>
                    <a:lnTo>
                      <a:pt x="60" y="47"/>
                    </a:lnTo>
                    <a:lnTo>
                      <a:pt x="62" y="47"/>
                    </a:lnTo>
                    <a:lnTo>
                      <a:pt x="60" y="46"/>
                    </a:lnTo>
                    <a:lnTo>
                      <a:pt x="60" y="44"/>
                    </a:lnTo>
                    <a:lnTo>
                      <a:pt x="59" y="46"/>
                    </a:lnTo>
                    <a:close/>
                    <a:moveTo>
                      <a:pt x="53" y="14"/>
                    </a:moveTo>
                    <a:lnTo>
                      <a:pt x="55" y="17"/>
                    </a:lnTo>
                    <a:lnTo>
                      <a:pt x="56" y="18"/>
                    </a:lnTo>
                    <a:lnTo>
                      <a:pt x="59" y="18"/>
                    </a:lnTo>
                    <a:lnTo>
                      <a:pt x="59" y="16"/>
                    </a:lnTo>
                    <a:lnTo>
                      <a:pt x="58" y="11"/>
                    </a:lnTo>
                    <a:lnTo>
                      <a:pt x="58" y="10"/>
                    </a:lnTo>
                    <a:lnTo>
                      <a:pt x="56" y="10"/>
                    </a:lnTo>
                    <a:lnTo>
                      <a:pt x="55" y="10"/>
                    </a:lnTo>
                    <a:lnTo>
                      <a:pt x="53" y="10"/>
                    </a:lnTo>
                    <a:lnTo>
                      <a:pt x="53" y="11"/>
                    </a:lnTo>
                    <a:lnTo>
                      <a:pt x="55" y="11"/>
                    </a:lnTo>
                    <a:lnTo>
                      <a:pt x="55" y="13"/>
                    </a:lnTo>
                    <a:lnTo>
                      <a:pt x="55" y="14"/>
                    </a:lnTo>
                    <a:lnTo>
                      <a:pt x="53" y="14"/>
                    </a:lnTo>
                    <a:close/>
                    <a:moveTo>
                      <a:pt x="46" y="41"/>
                    </a:moveTo>
                    <a:lnTo>
                      <a:pt x="48" y="41"/>
                    </a:lnTo>
                    <a:lnTo>
                      <a:pt x="50" y="41"/>
                    </a:lnTo>
                    <a:lnTo>
                      <a:pt x="52" y="40"/>
                    </a:lnTo>
                    <a:lnTo>
                      <a:pt x="50" y="37"/>
                    </a:lnTo>
                    <a:lnTo>
                      <a:pt x="49" y="34"/>
                    </a:lnTo>
                    <a:lnTo>
                      <a:pt x="36" y="26"/>
                    </a:lnTo>
                    <a:lnTo>
                      <a:pt x="30" y="21"/>
                    </a:lnTo>
                    <a:lnTo>
                      <a:pt x="27" y="20"/>
                    </a:lnTo>
                    <a:lnTo>
                      <a:pt x="25" y="17"/>
                    </a:lnTo>
                    <a:lnTo>
                      <a:pt x="23" y="16"/>
                    </a:lnTo>
                    <a:lnTo>
                      <a:pt x="22" y="13"/>
                    </a:lnTo>
                    <a:lnTo>
                      <a:pt x="14" y="8"/>
                    </a:lnTo>
                    <a:lnTo>
                      <a:pt x="10" y="4"/>
                    </a:lnTo>
                    <a:lnTo>
                      <a:pt x="9" y="3"/>
                    </a:lnTo>
                    <a:lnTo>
                      <a:pt x="4" y="1"/>
                    </a:lnTo>
                    <a:lnTo>
                      <a:pt x="3" y="1"/>
                    </a:lnTo>
                    <a:lnTo>
                      <a:pt x="0" y="0"/>
                    </a:lnTo>
                    <a:lnTo>
                      <a:pt x="0" y="0"/>
                    </a:lnTo>
                    <a:lnTo>
                      <a:pt x="0" y="0"/>
                    </a:lnTo>
                    <a:lnTo>
                      <a:pt x="0" y="1"/>
                    </a:lnTo>
                    <a:lnTo>
                      <a:pt x="0" y="1"/>
                    </a:lnTo>
                    <a:lnTo>
                      <a:pt x="2" y="3"/>
                    </a:lnTo>
                    <a:lnTo>
                      <a:pt x="4" y="8"/>
                    </a:lnTo>
                    <a:lnTo>
                      <a:pt x="6" y="10"/>
                    </a:lnTo>
                    <a:lnTo>
                      <a:pt x="16" y="21"/>
                    </a:lnTo>
                    <a:lnTo>
                      <a:pt x="19" y="24"/>
                    </a:lnTo>
                    <a:lnTo>
                      <a:pt x="36" y="36"/>
                    </a:lnTo>
                    <a:lnTo>
                      <a:pt x="39" y="37"/>
                    </a:lnTo>
                    <a:lnTo>
                      <a:pt x="40" y="39"/>
                    </a:lnTo>
                    <a:lnTo>
                      <a:pt x="43" y="40"/>
                    </a:lnTo>
                    <a:lnTo>
                      <a:pt x="46" y="41"/>
                    </a:lnTo>
                    <a:close/>
                    <a:moveTo>
                      <a:pt x="72" y="27"/>
                    </a:moveTo>
                    <a:lnTo>
                      <a:pt x="72" y="26"/>
                    </a:lnTo>
                    <a:lnTo>
                      <a:pt x="72" y="24"/>
                    </a:lnTo>
                    <a:lnTo>
                      <a:pt x="71" y="24"/>
                    </a:lnTo>
                    <a:lnTo>
                      <a:pt x="71" y="24"/>
                    </a:lnTo>
                    <a:lnTo>
                      <a:pt x="69" y="23"/>
                    </a:lnTo>
                    <a:lnTo>
                      <a:pt x="69" y="23"/>
                    </a:lnTo>
                    <a:lnTo>
                      <a:pt x="69" y="23"/>
                    </a:lnTo>
                    <a:lnTo>
                      <a:pt x="68" y="23"/>
                    </a:lnTo>
                    <a:lnTo>
                      <a:pt x="66" y="23"/>
                    </a:lnTo>
                    <a:lnTo>
                      <a:pt x="68" y="26"/>
                    </a:lnTo>
                    <a:lnTo>
                      <a:pt x="68" y="27"/>
                    </a:lnTo>
                    <a:lnTo>
                      <a:pt x="69" y="27"/>
                    </a:lnTo>
                    <a:lnTo>
                      <a:pt x="71" y="27"/>
                    </a:lnTo>
                    <a:lnTo>
                      <a:pt x="72" y="2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66" name="Freeform 261">
                <a:extLst>
                  <a:ext uri="{FF2B5EF4-FFF2-40B4-BE49-F238E27FC236}">
                    <a16:creationId xmlns:a16="http://schemas.microsoft.com/office/drawing/2014/main" id="{45F1D982-C1B8-2422-AE6B-0C7239F0665F}"/>
                  </a:ext>
                </a:extLst>
              </p:cNvPr>
              <p:cNvSpPr>
                <a:spLocks noEditPoints="1"/>
              </p:cNvSpPr>
              <p:nvPr/>
            </p:nvSpPr>
            <p:spPr bwMode="auto">
              <a:xfrm>
                <a:off x="9860884" y="4463796"/>
                <a:ext cx="88204" cy="172070"/>
              </a:xfrm>
              <a:custGeom>
                <a:avLst/>
                <a:gdLst>
                  <a:gd name="T0" fmla="*/ 17 w 61"/>
                  <a:gd name="T1" fmla="*/ 1 h 119"/>
                  <a:gd name="T2" fmla="*/ 15 w 61"/>
                  <a:gd name="T3" fmla="*/ 39 h 119"/>
                  <a:gd name="T4" fmla="*/ 13 w 61"/>
                  <a:gd name="T5" fmla="*/ 39 h 119"/>
                  <a:gd name="T6" fmla="*/ 13 w 61"/>
                  <a:gd name="T7" fmla="*/ 43 h 119"/>
                  <a:gd name="T8" fmla="*/ 16 w 61"/>
                  <a:gd name="T9" fmla="*/ 46 h 119"/>
                  <a:gd name="T10" fmla="*/ 19 w 61"/>
                  <a:gd name="T11" fmla="*/ 52 h 119"/>
                  <a:gd name="T12" fmla="*/ 23 w 61"/>
                  <a:gd name="T13" fmla="*/ 50 h 119"/>
                  <a:gd name="T14" fmla="*/ 23 w 61"/>
                  <a:gd name="T15" fmla="*/ 47 h 119"/>
                  <a:gd name="T16" fmla="*/ 16 w 61"/>
                  <a:gd name="T17" fmla="*/ 42 h 119"/>
                  <a:gd name="T18" fmla="*/ 17 w 61"/>
                  <a:gd name="T19" fmla="*/ 10 h 119"/>
                  <a:gd name="T20" fmla="*/ 19 w 61"/>
                  <a:gd name="T21" fmla="*/ 7 h 119"/>
                  <a:gd name="T22" fmla="*/ 16 w 61"/>
                  <a:gd name="T23" fmla="*/ 9 h 119"/>
                  <a:gd name="T24" fmla="*/ 58 w 61"/>
                  <a:gd name="T25" fmla="*/ 119 h 119"/>
                  <a:gd name="T26" fmla="*/ 58 w 61"/>
                  <a:gd name="T27" fmla="*/ 118 h 119"/>
                  <a:gd name="T28" fmla="*/ 45 w 61"/>
                  <a:gd name="T29" fmla="*/ 90 h 119"/>
                  <a:gd name="T30" fmla="*/ 46 w 61"/>
                  <a:gd name="T31" fmla="*/ 95 h 119"/>
                  <a:gd name="T32" fmla="*/ 49 w 61"/>
                  <a:gd name="T33" fmla="*/ 93 h 119"/>
                  <a:gd name="T34" fmla="*/ 49 w 61"/>
                  <a:gd name="T35" fmla="*/ 92 h 119"/>
                  <a:gd name="T36" fmla="*/ 50 w 61"/>
                  <a:gd name="T37" fmla="*/ 108 h 119"/>
                  <a:gd name="T38" fmla="*/ 52 w 61"/>
                  <a:gd name="T39" fmla="*/ 105 h 119"/>
                  <a:gd name="T40" fmla="*/ 49 w 61"/>
                  <a:gd name="T41" fmla="*/ 103 h 119"/>
                  <a:gd name="T42" fmla="*/ 12 w 61"/>
                  <a:gd name="T43" fmla="*/ 36 h 119"/>
                  <a:gd name="T44" fmla="*/ 13 w 61"/>
                  <a:gd name="T45" fmla="*/ 36 h 119"/>
                  <a:gd name="T46" fmla="*/ 12 w 61"/>
                  <a:gd name="T47" fmla="*/ 34 h 119"/>
                  <a:gd name="T48" fmla="*/ 26 w 61"/>
                  <a:gd name="T49" fmla="*/ 44 h 119"/>
                  <a:gd name="T50" fmla="*/ 30 w 61"/>
                  <a:gd name="T51" fmla="*/ 47 h 119"/>
                  <a:gd name="T52" fmla="*/ 29 w 61"/>
                  <a:gd name="T53" fmla="*/ 43 h 119"/>
                  <a:gd name="T54" fmla="*/ 26 w 61"/>
                  <a:gd name="T55" fmla="*/ 44 h 119"/>
                  <a:gd name="T56" fmla="*/ 36 w 61"/>
                  <a:gd name="T57" fmla="*/ 73 h 119"/>
                  <a:gd name="T58" fmla="*/ 33 w 61"/>
                  <a:gd name="T59" fmla="*/ 69 h 119"/>
                  <a:gd name="T60" fmla="*/ 30 w 61"/>
                  <a:gd name="T61" fmla="*/ 72 h 119"/>
                  <a:gd name="T62" fmla="*/ 32 w 61"/>
                  <a:gd name="T63" fmla="*/ 73 h 119"/>
                  <a:gd name="T64" fmla="*/ 32 w 61"/>
                  <a:gd name="T65" fmla="*/ 53 h 119"/>
                  <a:gd name="T66" fmla="*/ 29 w 61"/>
                  <a:gd name="T67" fmla="*/ 55 h 119"/>
                  <a:gd name="T68" fmla="*/ 35 w 61"/>
                  <a:gd name="T69" fmla="*/ 56 h 119"/>
                  <a:gd name="T70" fmla="*/ 26 w 61"/>
                  <a:gd name="T71" fmla="*/ 27 h 119"/>
                  <a:gd name="T72" fmla="*/ 22 w 61"/>
                  <a:gd name="T73" fmla="*/ 30 h 119"/>
                  <a:gd name="T74" fmla="*/ 25 w 61"/>
                  <a:gd name="T75" fmla="*/ 32 h 119"/>
                  <a:gd name="T76" fmla="*/ 3 w 61"/>
                  <a:gd name="T77" fmla="*/ 17 h 119"/>
                  <a:gd name="T78" fmla="*/ 0 w 61"/>
                  <a:gd name="T79" fmla="*/ 17 h 119"/>
                  <a:gd name="T80" fmla="*/ 2 w 61"/>
                  <a:gd name="T81" fmla="*/ 23 h 119"/>
                  <a:gd name="T82" fmla="*/ 5 w 61"/>
                  <a:gd name="T83" fmla="*/ 33 h 119"/>
                  <a:gd name="T84" fmla="*/ 6 w 61"/>
                  <a:gd name="T85" fmla="*/ 33 h 119"/>
                  <a:gd name="T86" fmla="*/ 12 w 61"/>
                  <a:gd name="T87" fmla="*/ 33 h 119"/>
                  <a:gd name="T88" fmla="*/ 10 w 61"/>
                  <a:gd name="T89" fmla="*/ 23 h 119"/>
                  <a:gd name="T90" fmla="*/ 7 w 61"/>
                  <a:gd name="T91" fmla="*/ 24 h 119"/>
                  <a:gd name="T92" fmla="*/ 5 w 61"/>
                  <a:gd name="T93" fmla="*/ 23 h 119"/>
                  <a:gd name="T94" fmla="*/ 30 w 61"/>
                  <a:gd name="T95" fmla="*/ 26 h 119"/>
                  <a:gd name="T96" fmla="*/ 29 w 61"/>
                  <a:gd name="T97" fmla="*/ 26 h 119"/>
                  <a:gd name="T98" fmla="*/ 30 w 61"/>
                  <a:gd name="T99" fmla="*/ 29 h 119"/>
                  <a:gd name="T100" fmla="*/ 29 w 61"/>
                  <a:gd name="T101" fmla="*/ 33 h 119"/>
                  <a:gd name="T102" fmla="*/ 32 w 61"/>
                  <a:gd name="T103" fmla="*/ 39 h 119"/>
                  <a:gd name="T104" fmla="*/ 29 w 61"/>
                  <a:gd name="T105" fmla="*/ 3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1" h="119">
                    <a:moveTo>
                      <a:pt x="16" y="0"/>
                    </a:moveTo>
                    <a:lnTo>
                      <a:pt x="19" y="0"/>
                    </a:lnTo>
                    <a:lnTo>
                      <a:pt x="17" y="1"/>
                    </a:lnTo>
                    <a:lnTo>
                      <a:pt x="16" y="3"/>
                    </a:lnTo>
                    <a:lnTo>
                      <a:pt x="16" y="0"/>
                    </a:lnTo>
                    <a:close/>
                    <a:moveTo>
                      <a:pt x="15" y="39"/>
                    </a:moveTo>
                    <a:lnTo>
                      <a:pt x="13" y="39"/>
                    </a:lnTo>
                    <a:lnTo>
                      <a:pt x="13" y="39"/>
                    </a:lnTo>
                    <a:lnTo>
                      <a:pt x="13" y="39"/>
                    </a:lnTo>
                    <a:lnTo>
                      <a:pt x="12" y="40"/>
                    </a:lnTo>
                    <a:lnTo>
                      <a:pt x="12" y="43"/>
                    </a:lnTo>
                    <a:lnTo>
                      <a:pt x="13" y="43"/>
                    </a:lnTo>
                    <a:lnTo>
                      <a:pt x="13" y="43"/>
                    </a:lnTo>
                    <a:lnTo>
                      <a:pt x="15" y="43"/>
                    </a:lnTo>
                    <a:lnTo>
                      <a:pt x="16" y="46"/>
                    </a:lnTo>
                    <a:lnTo>
                      <a:pt x="16" y="47"/>
                    </a:lnTo>
                    <a:lnTo>
                      <a:pt x="17" y="50"/>
                    </a:lnTo>
                    <a:lnTo>
                      <a:pt x="19" y="52"/>
                    </a:lnTo>
                    <a:lnTo>
                      <a:pt x="20" y="52"/>
                    </a:lnTo>
                    <a:lnTo>
                      <a:pt x="22" y="50"/>
                    </a:lnTo>
                    <a:lnTo>
                      <a:pt x="23" y="50"/>
                    </a:lnTo>
                    <a:lnTo>
                      <a:pt x="23" y="49"/>
                    </a:lnTo>
                    <a:lnTo>
                      <a:pt x="23" y="49"/>
                    </a:lnTo>
                    <a:lnTo>
                      <a:pt x="23" y="47"/>
                    </a:lnTo>
                    <a:lnTo>
                      <a:pt x="22" y="46"/>
                    </a:lnTo>
                    <a:lnTo>
                      <a:pt x="17" y="43"/>
                    </a:lnTo>
                    <a:lnTo>
                      <a:pt x="16" y="42"/>
                    </a:lnTo>
                    <a:lnTo>
                      <a:pt x="15" y="39"/>
                    </a:lnTo>
                    <a:close/>
                    <a:moveTo>
                      <a:pt x="17" y="10"/>
                    </a:moveTo>
                    <a:lnTo>
                      <a:pt x="17" y="10"/>
                    </a:lnTo>
                    <a:lnTo>
                      <a:pt x="19" y="9"/>
                    </a:lnTo>
                    <a:lnTo>
                      <a:pt x="19" y="9"/>
                    </a:lnTo>
                    <a:lnTo>
                      <a:pt x="19" y="7"/>
                    </a:lnTo>
                    <a:lnTo>
                      <a:pt x="17" y="7"/>
                    </a:lnTo>
                    <a:lnTo>
                      <a:pt x="16" y="9"/>
                    </a:lnTo>
                    <a:lnTo>
                      <a:pt x="16" y="9"/>
                    </a:lnTo>
                    <a:lnTo>
                      <a:pt x="17" y="10"/>
                    </a:lnTo>
                    <a:close/>
                    <a:moveTo>
                      <a:pt x="58" y="118"/>
                    </a:moveTo>
                    <a:lnTo>
                      <a:pt x="58" y="119"/>
                    </a:lnTo>
                    <a:lnTo>
                      <a:pt x="59" y="119"/>
                    </a:lnTo>
                    <a:lnTo>
                      <a:pt x="61" y="118"/>
                    </a:lnTo>
                    <a:lnTo>
                      <a:pt x="58" y="118"/>
                    </a:lnTo>
                    <a:close/>
                    <a:moveTo>
                      <a:pt x="48" y="90"/>
                    </a:moveTo>
                    <a:lnTo>
                      <a:pt x="46" y="89"/>
                    </a:lnTo>
                    <a:lnTo>
                      <a:pt x="45" y="90"/>
                    </a:lnTo>
                    <a:lnTo>
                      <a:pt x="45" y="92"/>
                    </a:lnTo>
                    <a:lnTo>
                      <a:pt x="45" y="95"/>
                    </a:lnTo>
                    <a:lnTo>
                      <a:pt x="46" y="95"/>
                    </a:lnTo>
                    <a:lnTo>
                      <a:pt x="49" y="96"/>
                    </a:lnTo>
                    <a:lnTo>
                      <a:pt x="50" y="95"/>
                    </a:lnTo>
                    <a:lnTo>
                      <a:pt x="49" y="93"/>
                    </a:lnTo>
                    <a:lnTo>
                      <a:pt x="49" y="93"/>
                    </a:lnTo>
                    <a:lnTo>
                      <a:pt x="48" y="92"/>
                    </a:lnTo>
                    <a:lnTo>
                      <a:pt x="49" y="92"/>
                    </a:lnTo>
                    <a:lnTo>
                      <a:pt x="48" y="90"/>
                    </a:lnTo>
                    <a:close/>
                    <a:moveTo>
                      <a:pt x="49" y="106"/>
                    </a:moveTo>
                    <a:lnTo>
                      <a:pt x="50" y="108"/>
                    </a:lnTo>
                    <a:lnTo>
                      <a:pt x="52" y="108"/>
                    </a:lnTo>
                    <a:lnTo>
                      <a:pt x="53" y="106"/>
                    </a:lnTo>
                    <a:lnTo>
                      <a:pt x="52" y="105"/>
                    </a:lnTo>
                    <a:lnTo>
                      <a:pt x="50" y="103"/>
                    </a:lnTo>
                    <a:lnTo>
                      <a:pt x="49" y="102"/>
                    </a:lnTo>
                    <a:lnTo>
                      <a:pt x="49" y="103"/>
                    </a:lnTo>
                    <a:lnTo>
                      <a:pt x="49" y="106"/>
                    </a:lnTo>
                    <a:close/>
                    <a:moveTo>
                      <a:pt x="10" y="34"/>
                    </a:moveTo>
                    <a:lnTo>
                      <a:pt x="12" y="36"/>
                    </a:lnTo>
                    <a:lnTo>
                      <a:pt x="13" y="36"/>
                    </a:lnTo>
                    <a:lnTo>
                      <a:pt x="13" y="36"/>
                    </a:lnTo>
                    <a:lnTo>
                      <a:pt x="13" y="36"/>
                    </a:lnTo>
                    <a:lnTo>
                      <a:pt x="13" y="34"/>
                    </a:lnTo>
                    <a:lnTo>
                      <a:pt x="13" y="34"/>
                    </a:lnTo>
                    <a:lnTo>
                      <a:pt x="12" y="34"/>
                    </a:lnTo>
                    <a:lnTo>
                      <a:pt x="10" y="34"/>
                    </a:lnTo>
                    <a:close/>
                    <a:moveTo>
                      <a:pt x="26" y="44"/>
                    </a:moveTo>
                    <a:lnTo>
                      <a:pt x="26" y="44"/>
                    </a:lnTo>
                    <a:lnTo>
                      <a:pt x="26" y="46"/>
                    </a:lnTo>
                    <a:lnTo>
                      <a:pt x="29" y="47"/>
                    </a:lnTo>
                    <a:lnTo>
                      <a:pt x="30" y="47"/>
                    </a:lnTo>
                    <a:lnTo>
                      <a:pt x="32" y="46"/>
                    </a:lnTo>
                    <a:lnTo>
                      <a:pt x="32" y="46"/>
                    </a:lnTo>
                    <a:lnTo>
                      <a:pt x="29" y="43"/>
                    </a:lnTo>
                    <a:lnTo>
                      <a:pt x="29" y="43"/>
                    </a:lnTo>
                    <a:lnTo>
                      <a:pt x="28" y="44"/>
                    </a:lnTo>
                    <a:lnTo>
                      <a:pt x="26" y="44"/>
                    </a:lnTo>
                    <a:close/>
                    <a:moveTo>
                      <a:pt x="33" y="75"/>
                    </a:moveTo>
                    <a:lnTo>
                      <a:pt x="35" y="75"/>
                    </a:lnTo>
                    <a:lnTo>
                      <a:pt x="36" y="73"/>
                    </a:lnTo>
                    <a:lnTo>
                      <a:pt x="38" y="72"/>
                    </a:lnTo>
                    <a:lnTo>
                      <a:pt x="35" y="70"/>
                    </a:lnTo>
                    <a:lnTo>
                      <a:pt x="33" y="69"/>
                    </a:lnTo>
                    <a:lnTo>
                      <a:pt x="30" y="70"/>
                    </a:lnTo>
                    <a:lnTo>
                      <a:pt x="29" y="72"/>
                    </a:lnTo>
                    <a:lnTo>
                      <a:pt x="30" y="72"/>
                    </a:lnTo>
                    <a:lnTo>
                      <a:pt x="30" y="72"/>
                    </a:lnTo>
                    <a:lnTo>
                      <a:pt x="32" y="73"/>
                    </a:lnTo>
                    <a:lnTo>
                      <a:pt x="32" y="73"/>
                    </a:lnTo>
                    <a:lnTo>
                      <a:pt x="30" y="73"/>
                    </a:lnTo>
                    <a:lnTo>
                      <a:pt x="33" y="75"/>
                    </a:lnTo>
                    <a:close/>
                    <a:moveTo>
                      <a:pt x="32" y="53"/>
                    </a:moveTo>
                    <a:lnTo>
                      <a:pt x="30" y="53"/>
                    </a:lnTo>
                    <a:lnTo>
                      <a:pt x="29" y="53"/>
                    </a:lnTo>
                    <a:lnTo>
                      <a:pt x="29" y="55"/>
                    </a:lnTo>
                    <a:lnTo>
                      <a:pt x="30" y="56"/>
                    </a:lnTo>
                    <a:lnTo>
                      <a:pt x="33" y="56"/>
                    </a:lnTo>
                    <a:lnTo>
                      <a:pt x="35" y="56"/>
                    </a:lnTo>
                    <a:lnTo>
                      <a:pt x="33" y="55"/>
                    </a:lnTo>
                    <a:lnTo>
                      <a:pt x="32" y="53"/>
                    </a:lnTo>
                    <a:close/>
                    <a:moveTo>
                      <a:pt x="26" y="27"/>
                    </a:moveTo>
                    <a:lnTo>
                      <a:pt x="25" y="29"/>
                    </a:lnTo>
                    <a:lnTo>
                      <a:pt x="23" y="29"/>
                    </a:lnTo>
                    <a:lnTo>
                      <a:pt x="22" y="30"/>
                    </a:lnTo>
                    <a:lnTo>
                      <a:pt x="20" y="32"/>
                    </a:lnTo>
                    <a:lnTo>
                      <a:pt x="23" y="32"/>
                    </a:lnTo>
                    <a:lnTo>
                      <a:pt x="25" y="32"/>
                    </a:lnTo>
                    <a:lnTo>
                      <a:pt x="26" y="30"/>
                    </a:lnTo>
                    <a:lnTo>
                      <a:pt x="26" y="27"/>
                    </a:lnTo>
                    <a:close/>
                    <a:moveTo>
                      <a:pt x="3" y="17"/>
                    </a:moveTo>
                    <a:lnTo>
                      <a:pt x="2" y="16"/>
                    </a:lnTo>
                    <a:lnTo>
                      <a:pt x="2" y="17"/>
                    </a:lnTo>
                    <a:lnTo>
                      <a:pt x="0" y="17"/>
                    </a:lnTo>
                    <a:lnTo>
                      <a:pt x="0" y="19"/>
                    </a:lnTo>
                    <a:lnTo>
                      <a:pt x="0" y="20"/>
                    </a:lnTo>
                    <a:lnTo>
                      <a:pt x="2" y="23"/>
                    </a:lnTo>
                    <a:lnTo>
                      <a:pt x="2" y="27"/>
                    </a:lnTo>
                    <a:lnTo>
                      <a:pt x="3" y="30"/>
                    </a:lnTo>
                    <a:lnTo>
                      <a:pt x="5" y="33"/>
                    </a:lnTo>
                    <a:lnTo>
                      <a:pt x="5" y="33"/>
                    </a:lnTo>
                    <a:lnTo>
                      <a:pt x="6" y="34"/>
                    </a:lnTo>
                    <a:lnTo>
                      <a:pt x="6" y="33"/>
                    </a:lnTo>
                    <a:lnTo>
                      <a:pt x="7" y="33"/>
                    </a:lnTo>
                    <a:lnTo>
                      <a:pt x="10" y="33"/>
                    </a:lnTo>
                    <a:lnTo>
                      <a:pt x="12" y="33"/>
                    </a:lnTo>
                    <a:lnTo>
                      <a:pt x="13" y="30"/>
                    </a:lnTo>
                    <a:lnTo>
                      <a:pt x="10" y="26"/>
                    </a:lnTo>
                    <a:lnTo>
                      <a:pt x="10" y="23"/>
                    </a:lnTo>
                    <a:lnTo>
                      <a:pt x="10" y="21"/>
                    </a:lnTo>
                    <a:lnTo>
                      <a:pt x="9" y="23"/>
                    </a:lnTo>
                    <a:lnTo>
                      <a:pt x="7" y="24"/>
                    </a:lnTo>
                    <a:lnTo>
                      <a:pt x="7" y="26"/>
                    </a:lnTo>
                    <a:lnTo>
                      <a:pt x="6" y="24"/>
                    </a:lnTo>
                    <a:lnTo>
                      <a:pt x="5" y="23"/>
                    </a:lnTo>
                    <a:lnTo>
                      <a:pt x="5" y="20"/>
                    </a:lnTo>
                    <a:lnTo>
                      <a:pt x="3" y="17"/>
                    </a:lnTo>
                    <a:close/>
                    <a:moveTo>
                      <a:pt x="30" y="26"/>
                    </a:moveTo>
                    <a:lnTo>
                      <a:pt x="29" y="23"/>
                    </a:lnTo>
                    <a:lnTo>
                      <a:pt x="29" y="24"/>
                    </a:lnTo>
                    <a:lnTo>
                      <a:pt x="29" y="26"/>
                    </a:lnTo>
                    <a:lnTo>
                      <a:pt x="29" y="29"/>
                    </a:lnTo>
                    <a:lnTo>
                      <a:pt x="29" y="30"/>
                    </a:lnTo>
                    <a:lnTo>
                      <a:pt x="30" y="29"/>
                    </a:lnTo>
                    <a:lnTo>
                      <a:pt x="30" y="27"/>
                    </a:lnTo>
                    <a:lnTo>
                      <a:pt x="30" y="26"/>
                    </a:lnTo>
                    <a:close/>
                    <a:moveTo>
                      <a:pt x="29" y="33"/>
                    </a:moveTo>
                    <a:lnTo>
                      <a:pt x="29" y="37"/>
                    </a:lnTo>
                    <a:lnTo>
                      <a:pt x="30" y="40"/>
                    </a:lnTo>
                    <a:lnTo>
                      <a:pt x="32" y="39"/>
                    </a:lnTo>
                    <a:lnTo>
                      <a:pt x="30" y="33"/>
                    </a:lnTo>
                    <a:lnTo>
                      <a:pt x="29" y="32"/>
                    </a:lnTo>
                    <a:lnTo>
                      <a:pt x="29" y="3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67" name="Freeform 262">
                <a:extLst>
                  <a:ext uri="{FF2B5EF4-FFF2-40B4-BE49-F238E27FC236}">
                    <a16:creationId xmlns:a16="http://schemas.microsoft.com/office/drawing/2014/main" id="{B0086AE9-F9D3-DCB1-567F-BD0A462F085D}"/>
                  </a:ext>
                </a:extLst>
              </p:cNvPr>
              <p:cNvSpPr>
                <a:spLocks noEditPoints="1"/>
              </p:cNvSpPr>
              <p:nvPr/>
            </p:nvSpPr>
            <p:spPr bwMode="auto">
              <a:xfrm>
                <a:off x="10249847" y="4449336"/>
                <a:ext cx="53501" cy="28919"/>
              </a:xfrm>
              <a:custGeom>
                <a:avLst/>
                <a:gdLst>
                  <a:gd name="T0" fmla="*/ 3 w 37"/>
                  <a:gd name="T1" fmla="*/ 20 h 20"/>
                  <a:gd name="T2" fmla="*/ 3 w 37"/>
                  <a:gd name="T3" fmla="*/ 20 h 20"/>
                  <a:gd name="T4" fmla="*/ 3 w 37"/>
                  <a:gd name="T5" fmla="*/ 20 h 20"/>
                  <a:gd name="T6" fmla="*/ 1 w 37"/>
                  <a:gd name="T7" fmla="*/ 20 h 20"/>
                  <a:gd name="T8" fmla="*/ 1 w 37"/>
                  <a:gd name="T9" fmla="*/ 20 h 20"/>
                  <a:gd name="T10" fmla="*/ 0 w 37"/>
                  <a:gd name="T11" fmla="*/ 19 h 20"/>
                  <a:gd name="T12" fmla="*/ 1 w 37"/>
                  <a:gd name="T13" fmla="*/ 19 h 20"/>
                  <a:gd name="T14" fmla="*/ 1 w 37"/>
                  <a:gd name="T15" fmla="*/ 19 h 20"/>
                  <a:gd name="T16" fmla="*/ 3 w 37"/>
                  <a:gd name="T17" fmla="*/ 20 h 20"/>
                  <a:gd name="T18" fmla="*/ 37 w 37"/>
                  <a:gd name="T19" fmla="*/ 1 h 20"/>
                  <a:gd name="T20" fmla="*/ 36 w 37"/>
                  <a:gd name="T21" fmla="*/ 0 h 20"/>
                  <a:gd name="T22" fmla="*/ 36 w 37"/>
                  <a:gd name="T23" fmla="*/ 1 h 20"/>
                  <a:gd name="T24" fmla="*/ 36 w 37"/>
                  <a:gd name="T25" fmla="*/ 1 h 20"/>
                  <a:gd name="T26" fmla="*/ 36 w 37"/>
                  <a:gd name="T27" fmla="*/ 1 h 20"/>
                  <a:gd name="T28" fmla="*/ 36 w 37"/>
                  <a:gd name="T29" fmla="*/ 1 h 20"/>
                  <a:gd name="T30" fmla="*/ 36 w 37"/>
                  <a:gd name="T31" fmla="*/ 1 h 20"/>
                  <a:gd name="T32" fmla="*/ 37 w 37"/>
                  <a:gd name="T33"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20">
                    <a:moveTo>
                      <a:pt x="3" y="20"/>
                    </a:moveTo>
                    <a:lnTo>
                      <a:pt x="3" y="20"/>
                    </a:lnTo>
                    <a:lnTo>
                      <a:pt x="3" y="20"/>
                    </a:lnTo>
                    <a:lnTo>
                      <a:pt x="1" y="20"/>
                    </a:lnTo>
                    <a:lnTo>
                      <a:pt x="1" y="20"/>
                    </a:lnTo>
                    <a:lnTo>
                      <a:pt x="0" y="19"/>
                    </a:lnTo>
                    <a:lnTo>
                      <a:pt x="1" y="19"/>
                    </a:lnTo>
                    <a:lnTo>
                      <a:pt x="1" y="19"/>
                    </a:lnTo>
                    <a:lnTo>
                      <a:pt x="3" y="20"/>
                    </a:lnTo>
                    <a:close/>
                    <a:moveTo>
                      <a:pt x="37" y="1"/>
                    </a:moveTo>
                    <a:lnTo>
                      <a:pt x="36" y="0"/>
                    </a:lnTo>
                    <a:lnTo>
                      <a:pt x="36" y="1"/>
                    </a:lnTo>
                    <a:lnTo>
                      <a:pt x="36" y="1"/>
                    </a:lnTo>
                    <a:lnTo>
                      <a:pt x="36" y="1"/>
                    </a:lnTo>
                    <a:lnTo>
                      <a:pt x="36" y="1"/>
                    </a:lnTo>
                    <a:lnTo>
                      <a:pt x="36" y="1"/>
                    </a:lnTo>
                    <a:lnTo>
                      <a:pt x="37" y="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68" name="Freeform 263">
                <a:extLst>
                  <a:ext uri="{FF2B5EF4-FFF2-40B4-BE49-F238E27FC236}">
                    <a16:creationId xmlns:a16="http://schemas.microsoft.com/office/drawing/2014/main" id="{57BC7447-E4D4-8ACC-6D46-0556B7D16170}"/>
                  </a:ext>
                </a:extLst>
              </p:cNvPr>
              <p:cNvSpPr>
                <a:spLocks noEditPoints="1"/>
              </p:cNvSpPr>
              <p:nvPr/>
            </p:nvSpPr>
            <p:spPr bwMode="auto">
              <a:xfrm>
                <a:off x="10128386" y="4430539"/>
                <a:ext cx="121461" cy="176407"/>
              </a:xfrm>
              <a:custGeom>
                <a:avLst/>
                <a:gdLst>
                  <a:gd name="T0" fmla="*/ 0 w 84"/>
                  <a:gd name="T1" fmla="*/ 0 h 122"/>
                  <a:gd name="T2" fmla="*/ 54 w 84"/>
                  <a:gd name="T3" fmla="*/ 66 h 122"/>
                  <a:gd name="T4" fmla="*/ 52 w 84"/>
                  <a:gd name="T5" fmla="*/ 66 h 122"/>
                  <a:gd name="T6" fmla="*/ 54 w 84"/>
                  <a:gd name="T7" fmla="*/ 66 h 122"/>
                  <a:gd name="T8" fmla="*/ 55 w 84"/>
                  <a:gd name="T9" fmla="*/ 72 h 122"/>
                  <a:gd name="T10" fmla="*/ 52 w 84"/>
                  <a:gd name="T11" fmla="*/ 73 h 122"/>
                  <a:gd name="T12" fmla="*/ 52 w 84"/>
                  <a:gd name="T13" fmla="*/ 73 h 122"/>
                  <a:gd name="T14" fmla="*/ 71 w 84"/>
                  <a:gd name="T15" fmla="*/ 86 h 122"/>
                  <a:gd name="T16" fmla="*/ 71 w 84"/>
                  <a:gd name="T17" fmla="*/ 88 h 122"/>
                  <a:gd name="T18" fmla="*/ 69 w 84"/>
                  <a:gd name="T19" fmla="*/ 99 h 122"/>
                  <a:gd name="T20" fmla="*/ 69 w 84"/>
                  <a:gd name="T21" fmla="*/ 101 h 122"/>
                  <a:gd name="T22" fmla="*/ 69 w 84"/>
                  <a:gd name="T23" fmla="*/ 99 h 122"/>
                  <a:gd name="T24" fmla="*/ 82 w 84"/>
                  <a:gd name="T25" fmla="*/ 99 h 122"/>
                  <a:gd name="T26" fmla="*/ 82 w 84"/>
                  <a:gd name="T27" fmla="*/ 99 h 122"/>
                  <a:gd name="T28" fmla="*/ 78 w 84"/>
                  <a:gd name="T29" fmla="*/ 122 h 122"/>
                  <a:gd name="T30" fmla="*/ 78 w 84"/>
                  <a:gd name="T31" fmla="*/ 122 h 122"/>
                  <a:gd name="T32" fmla="*/ 78 w 84"/>
                  <a:gd name="T33" fmla="*/ 122 h 122"/>
                  <a:gd name="T34" fmla="*/ 74 w 84"/>
                  <a:gd name="T35" fmla="*/ 105 h 122"/>
                  <a:gd name="T36" fmla="*/ 74 w 84"/>
                  <a:gd name="T37" fmla="*/ 105 h 122"/>
                  <a:gd name="T38" fmla="*/ 52 w 84"/>
                  <a:gd name="T39" fmla="*/ 80 h 122"/>
                  <a:gd name="T40" fmla="*/ 52 w 84"/>
                  <a:gd name="T41" fmla="*/ 80 h 122"/>
                  <a:gd name="T42" fmla="*/ 55 w 84"/>
                  <a:gd name="T43" fmla="*/ 118 h 122"/>
                  <a:gd name="T44" fmla="*/ 56 w 84"/>
                  <a:gd name="T45" fmla="*/ 118 h 122"/>
                  <a:gd name="T46" fmla="*/ 52 w 84"/>
                  <a:gd name="T47" fmla="*/ 80 h 122"/>
                  <a:gd name="T48" fmla="*/ 55 w 84"/>
                  <a:gd name="T49" fmla="*/ 79 h 122"/>
                  <a:gd name="T50" fmla="*/ 52 w 84"/>
                  <a:gd name="T51" fmla="*/ 80 h 122"/>
                  <a:gd name="T52" fmla="*/ 32 w 84"/>
                  <a:gd name="T53" fmla="*/ 95 h 122"/>
                  <a:gd name="T54" fmla="*/ 42 w 84"/>
                  <a:gd name="T55" fmla="*/ 88 h 122"/>
                  <a:gd name="T56" fmla="*/ 42 w 84"/>
                  <a:gd name="T57" fmla="*/ 88 h 122"/>
                  <a:gd name="T58" fmla="*/ 51 w 84"/>
                  <a:gd name="T59" fmla="*/ 75 h 122"/>
                  <a:gd name="T60" fmla="*/ 46 w 84"/>
                  <a:gd name="T61" fmla="*/ 76 h 122"/>
                  <a:gd name="T62" fmla="*/ 52 w 84"/>
                  <a:gd name="T63" fmla="*/ 66 h 122"/>
                  <a:gd name="T64" fmla="*/ 46 w 84"/>
                  <a:gd name="T65" fmla="*/ 67 h 122"/>
                  <a:gd name="T66" fmla="*/ 35 w 84"/>
                  <a:gd name="T67" fmla="*/ 73 h 122"/>
                  <a:gd name="T68" fmla="*/ 28 w 84"/>
                  <a:gd name="T69" fmla="*/ 75 h 122"/>
                  <a:gd name="T70" fmla="*/ 26 w 84"/>
                  <a:gd name="T71" fmla="*/ 79 h 122"/>
                  <a:gd name="T72" fmla="*/ 29 w 84"/>
                  <a:gd name="T73" fmla="*/ 82 h 122"/>
                  <a:gd name="T74" fmla="*/ 36 w 84"/>
                  <a:gd name="T75" fmla="*/ 79 h 122"/>
                  <a:gd name="T76" fmla="*/ 41 w 84"/>
                  <a:gd name="T77" fmla="*/ 78 h 122"/>
                  <a:gd name="T78" fmla="*/ 49 w 84"/>
                  <a:gd name="T79" fmla="*/ 78 h 122"/>
                  <a:gd name="T80" fmla="*/ 41 w 84"/>
                  <a:gd name="T81" fmla="*/ 99 h 122"/>
                  <a:gd name="T82" fmla="*/ 39 w 84"/>
                  <a:gd name="T83" fmla="*/ 102 h 122"/>
                  <a:gd name="T84" fmla="*/ 41 w 84"/>
                  <a:gd name="T85" fmla="*/ 101 h 122"/>
                  <a:gd name="T86" fmla="*/ 23 w 84"/>
                  <a:gd name="T87" fmla="*/ 90 h 122"/>
                  <a:gd name="T88" fmla="*/ 11 w 84"/>
                  <a:gd name="T89" fmla="*/ 92 h 122"/>
                  <a:gd name="T90" fmla="*/ 5 w 84"/>
                  <a:gd name="T91" fmla="*/ 98 h 122"/>
                  <a:gd name="T92" fmla="*/ 8 w 84"/>
                  <a:gd name="T93" fmla="*/ 103 h 122"/>
                  <a:gd name="T94" fmla="*/ 28 w 84"/>
                  <a:gd name="T95" fmla="*/ 103 h 122"/>
                  <a:gd name="T96" fmla="*/ 28 w 84"/>
                  <a:gd name="T97" fmla="*/ 95 h 122"/>
                  <a:gd name="T98" fmla="*/ 5 w 84"/>
                  <a:gd name="T99" fmla="*/ 85 h 122"/>
                  <a:gd name="T100" fmla="*/ 3 w 84"/>
                  <a:gd name="T101" fmla="*/ 85 h 122"/>
                  <a:gd name="T102" fmla="*/ 25 w 84"/>
                  <a:gd name="T103" fmla="*/ 119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 h="122">
                    <a:moveTo>
                      <a:pt x="0" y="0"/>
                    </a:moveTo>
                    <a:lnTo>
                      <a:pt x="0" y="0"/>
                    </a:lnTo>
                    <a:lnTo>
                      <a:pt x="0" y="0"/>
                    </a:lnTo>
                    <a:lnTo>
                      <a:pt x="0" y="0"/>
                    </a:lnTo>
                    <a:lnTo>
                      <a:pt x="0" y="0"/>
                    </a:lnTo>
                    <a:lnTo>
                      <a:pt x="2" y="0"/>
                    </a:lnTo>
                    <a:lnTo>
                      <a:pt x="0" y="0"/>
                    </a:lnTo>
                    <a:close/>
                    <a:moveTo>
                      <a:pt x="54" y="66"/>
                    </a:moveTo>
                    <a:lnTo>
                      <a:pt x="54" y="66"/>
                    </a:lnTo>
                    <a:lnTo>
                      <a:pt x="54" y="66"/>
                    </a:lnTo>
                    <a:lnTo>
                      <a:pt x="54" y="66"/>
                    </a:lnTo>
                    <a:lnTo>
                      <a:pt x="52" y="66"/>
                    </a:lnTo>
                    <a:lnTo>
                      <a:pt x="52" y="67"/>
                    </a:lnTo>
                    <a:lnTo>
                      <a:pt x="54" y="67"/>
                    </a:lnTo>
                    <a:lnTo>
                      <a:pt x="54" y="66"/>
                    </a:lnTo>
                    <a:lnTo>
                      <a:pt x="54" y="66"/>
                    </a:lnTo>
                    <a:close/>
                    <a:moveTo>
                      <a:pt x="52" y="73"/>
                    </a:moveTo>
                    <a:lnTo>
                      <a:pt x="54" y="72"/>
                    </a:lnTo>
                    <a:lnTo>
                      <a:pt x="54" y="72"/>
                    </a:lnTo>
                    <a:lnTo>
                      <a:pt x="55" y="72"/>
                    </a:lnTo>
                    <a:lnTo>
                      <a:pt x="54" y="73"/>
                    </a:lnTo>
                    <a:lnTo>
                      <a:pt x="54" y="73"/>
                    </a:lnTo>
                    <a:lnTo>
                      <a:pt x="52" y="73"/>
                    </a:lnTo>
                    <a:lnTo>
                      <a:pt x="52" y="73"/>
                    </a:lnTo>
                    <a:close/>
                    <a:moveTo>
                      <a:pt x="52" y="73"/>
                    </a:moveTo>
                    <a:lnTo>
                      <a:pt x="52" y="73"/>
                    </a:lnTo>
                    <a:lnTo>
                      <a:pt x="52" y="73"/>
                    </a:lnTo>
                    <a:lnTo>
                      <a:pt x="52" y="73"/>
                    </a:lnTo>
                    <a:lnTo>
                      <a:pt x="52" y="73"/>
                    </a:lnTo>
                    <a:lnTo>
                      <a:pt x="52" y="73"/>
                    </a:lnTo>
                    <a:close/>
                    <a:moveTo>
                      <a:pt x="69" y="85"/>
                    </a:moveTo>
                    <a:lnTo>
                      <a:pt x="71" y="86"/>
                    </a:lnTo>
                    <a:lnTo>
                      <a:pt x="71" y="86"/>
                    </a:lnTo>
                    <a:lnTo>
                      <a:pt x="71" y="88"/>
                    </a:lnTo>
                    <a:lnTo>
                      <a:pt x="71" y="88"/>
                    </a:lnTo>
                    <a:lnTo>
                      <a:pt x="71" y="88"/>
                    </a:lnTo>
                    <a:lnTo>
                      <a:pt x="71" y="86"/>
                    </a:lnTo>
                    <a:lnTo>
                      <a:pt x="71" y="86"/>
                    </a:lnTo>
                    <a:lnTo>
                      <a:pt x="69" y="85"/>
                    </a:lnTo>
                    <a:close/>
                    <a:moveTo>
                      <a:pt x="69" y="99"/>
                    </a:moveTo>
                    <a:lnTo>
                      <a:pt x="69" y="99"/>
                    </a:lnTo>
                    <a:lnTo>
                      <a:pt x="69" y="99"/>
                    </a:lnTo>
                    <a:lnTo>
                      <a:pt x="69" y="101"/>
                    </a:lnTo>
                    <a:lnTo>
                      <a:pt x="69" y="101"/>
                    </a:lnTo>
                    <a:lnTo>
                      <a:pt x="69" y="101"/>
                    </a:lnTo>
                    <a:lnTo>
                      <a:pt x="71" y="101"/>
                    </a:lnTo>
                    <a:lnTo>
                      <a:pt x="69" y="99"/>
                    </a:lnTo>
                    <a:lnTo>
                      <a:pt x="69" y="99"/>
                    </a:lnTo>
                    <a:close/>
                    <a:moveTo>
                      <a:pt x="82" y="99"/>
                    </a:moveTo>
                    <a:lnTo>
                      <a:pt x="82" y="99"/>
                    </a:lnTo>
                    <a:lnTo>
                      <a:pt x="81" y="99"/>
                    </a:lnTo>
                    <a:lnTo>
                      <a:pt x="82" y="99"/>
                    </a:lnTo>
                    <a:lnTo>
                      <a:pt x="82" y="101"/>
                    </a:lnTo>
                    <a:lnTo>
                      <a:pt x="82" y="101"/>
                    </a:lnTo>
                    <a:lnTo>
                      <a:pt x="84" y="101"/>
                    </a:lnTo>
                    <a:lnTo>
                      <a:pt x="82" y="99"/>
                    </a:lnTo>
                    <a:lnTo>
                      <a:pt x="82" y="99"/>
                    </a:lnTo>
                    <a:close/>
                    <a:moveTo>
                      <a:pt x="78" y="122"/>
                    </a:moveTo>
                    <a:lnTo>
                      <a:pt x="78" y="122"/>
                    </a:lnTo>
                    <a:lnTo>
                      <a:pt x="78" y="122"/>
                    </a:lnTo>
                    <a:lnTo>
                      <a:pt x="78" y="122"/>
                    </a:lnTo>
                    <a:lnTo>
                      <a:pt x="78" y="122"/>
                    </a:lnTo>
                    <a:lnTo>
                      <a:pt x="77" y="122"/>
                    </a:lnTo>
                    <a:lnTo>
                      <a:pt x="78" y="122"/>
                    </a:lnTo>
                    <a:lnTo>
                      <a:pt x="78" y="122"/>
                    </a:lnTo>
                    <a:lnTo>
                      <a:pt x="78" y="122"/>
                    </a:lnTo>
                    <a:lnTo>
                      <a:pt x="78" y="122"/>
                    </a:lnTo>
                    <a:lnTo>
                      <a:pt x="78" y="122"/>
                    </a:lnTo>
                    <a:lnTo>
                      <a:pt x="78" y="122"/>
                    </a:lnTo>
                    <a:close/>
                    <a:moveTo>
                      <a:pt x="74" y="105"/>
                    </a:moveTo>
                    <a:lnTo>
                      <a:pt x="72" y="105"/>
                    </a:lnTo>
                    <a:lnTo>
                      <a:pt x="74" y="105"/>
                    </a:lnTo>
                    <a:lnTo>
                      <a:pt x="74" y="105"/>
                    </a:lnTo>
                    <a:lnTo>
                      <a:pt x="74" y="105"/>
                    </a:lnTo>
                    <a:lnTo>
                      <a:pt x="74" y="105"/>
                    </a:lnTo>
                    <a:lnTo>
                      <a:pt x="74" y="105"/>
                    </a:lnTo>
                    <a:lnTo>
                      <a:pt x="74" y="105"/>
                    </a:lnTo>
                    <a:close/>
                    <a:moveTo>
                      <a:pt x="52" y="79"/>
                    </a:moveTo>
                    <a:lnTo>
                      <a:pt x="52" y="79"/>
                    </a:lnTo>
                    <a:lnTo>
                      <a:pt x="52" y="80"/>
                    </a:lnTo>
                    <a:lnTo>
                      <a:pt x="51" y="80"/>
                    </a:lnTo>
                    <a:lnTo>
                      <a:pt x="51" y="82"/>
                    </a:lnTo>
                    <a:lnTo>
                      <a:pt x="52" y="82"/>
                    </a:lnTo>
                    <a:lnTo>
                      <a:pt x="52" y="80"/>
                    </a:lnTo>
                    <a:lnTo>
                      <a:pt x="52" y="80"/>
                    </a:lnTo>
                    <a:lnTo>
                      <a:pt x="52" y="80"/>
                    </a:lnTo>
                    <a:lnTo>
                      <a:pt x="52" y="79"/>
                    </a:lnTo>
                    <a:close/>
                    <a:moveTo>
                      <a:pt x="55" y="118"/>
                    </a:moveTo>
                    <a:lnTo>
                      <a:pt x="55" y="119"/>
                    </a:lnTo>
                    <a:lnTo>
                      <a:pt x="55" y="119"/>
                    </a:lnTo>
                    <a:lnTo>
                      <a:pt x="56" y="119"/>
                    </a:lnTo>
                    <a:lnTo>
                      <a:pt x="56" y="118"/>
                    </a:lnTo>
                    <a:lnTo>
                      <a:pt x="55" y="118"/>
                    </a:lnTo>
                    <a:close/>
                    <a:moveTo>
                      <a:pt x="55" y="78"/>
                    </a:moveTo>
                    <a:lnTo>
                      <a:pt x="54" y="79"/>
                    </a:lnTo>
                    <a:lnTo>
                      <a:pt x="52" y="80"/>
                    </a:lnTo>
                    <a:lnTo>
                      <a:pt x="52" y="80"/>
                    </a:lnTo>
                    <a:lnTo>
                      <a:pt x="52" y="80"/>
                    </a:lnTo>
                    <a:lnTo>
                      <a:pt x="52" y="82"/>
                    </a:lnTo>
                    <a:lnTo>
                      <a:pt x="55" y="79"/>
                    </a:lnTo>
                    <a:lnTo>
                      <a:pt x="55" y="78"/>
                    </a:lnTo>
                    <a:close/>
                    <a:moveTo>
                      <a:pt x="52" y="80"/>
                    </a:moveTo>
                    <a:lnTo>
                      <a:pt x="52" y="80"/>
                    </a:lnTo>
                    <a:lnTo>
                      <a:pt x="52" y="80"/>
                    </a:lnTo>
                    <a:lnTo>
                      <a:pt x="52" y="80"/>
                    </a:lnTo>
                    <a:close/>
                    <a:moveTo>
                      <a:pt x="31" y="95"/>
                    </a:moveTo>
                    <a:lnTo>
                      <a:pt x="31" y="96"/>
                    </a:lnTo>
                    <a:lnTo>
                      <a:pt x="32" y="95"/>
                    </a:lnTo>
                    <a:lnTo>
                      <a:pt x="32" y="95"/>
                    </a:lnTo>
                    <a:lnTo>
                      <a:pt x="32" y="93"/>
                    </a:lnTo>
                    <a:lnTo>
                      <a:pt x="31" y="95"/>
                    </a:lnTo>
                    <a:close/>
                    <a:moveTo>
                      <a:pt x="42" y="88"/>
                    </a:moveTo>
                    <a:lnTo>
                      <a:pt x="42" y="89"/>
                    </a:lnTo>
                    <a:lnTo>
                      <a:pt x="42" y="89"/>
                    </a:lnTo>
                    <a:lnTo>
                      <a:pt x="42" y="88"/>
                    </a:lnTo>
                    <a:lnTo>
                      <a:pt x="42" y="88"/>
                    </a:lnTo>
                    <a:lnTo>
                      <a:pt x="42" y="88"/>
                    </a:lnTo>
                    <a:close/>
                    <a:moveTo>
                      <a:pt x="51" y="76"/>
                    </a:moveTo>
                    <a:lnTo>
                      <a:pt x="51" y="76"/>
                    </a:lnTo>
                    <a:lnTo>
                      <a:pt x="51" y="75"/>
                    </a:lnTo>
                    <a:lnTo>
                      <a:pt x="51" y="73"/>
                    </a:lnTo>
                    <a:lnTo>
                      <a:pt x="49" y="75"/>
                    </a:lnTo>
                    <a:lnTo>
                      <a:pt x="48" y="75"/>
                    </a:lnTo>
                    <a:lnTo>
                      <a:pt x="46" y="76"/>
                    </a:lnTo>
                    <a:lnTo>
                      <a:pt x="45" y="78"/>
                    </a:lnTo>
                    <a:lnTo>
                      <a:pt x="45" y="75"/>
                    </a:lnTo>
                    <a:lnTo>
                      <a:pt x="48" y="72"/>
                    </a:lnTo>
                    <a:lnTo>
                      <a:pt x="52" y="66"/>
                    </a:lnTo>
                    <a:lnTo>
                      <a:pt x="51" y="67"/>
                    </a:lnTo>
                    <a:lnTo>
                      <a:pt x="49" y="67"/>
                    </a:lnTo>
                    <a:lnTo>
                      <a:pt x="48" y="67"/>
                    </a:lnTo>
                    <a:lnTo>
                      <a:pt x="46" y="67"/>
                    </a:lnTo>
                    <a:lnTo>
                      <a:pt x="44" y="69"/>
                    </a:lnTo>
                    <a:lnTo>
                      <a:pt x="41" y="70"/>
                    </a:lnTo>
                    <a:lnTo>
                      <a:pt x="39" y="72"/>
                    </a:lnTo>
                    <a:lnTo>
                      <a:pt x="35" y="73"/>
                    </a:lnTo>
                    <a:lnTo>
                      <a:pt x="32" y="73"/>
                    </a:lnTo>
                    <a:lnTo>
                      <a:pt x="31" y="76"/>
                    </a:lnTo>
                    <a:lnTo>
                      <a:pt x="29" y="76"/>
                    </a:lnTo>
                    <a:lnTo>
                      <a:pt x="28" y="75"/>
                    </a:lnTo>
                    <a:lnTo>
                      <a:pt x="28" y="76"/>
                    </a:lnTo>
                    <a:lnTo>
                      <a:pt x="26" y="76"/>
                    </a:lnTo>
                    <a:lnTo>
                      <a:pt x="26" y="78"/>
                    </a:lnTo>
                    <a:lnTo>
                      <a:pt x="26" y="79"/>
                    </a:lnTo>
                    <a:lnTo>
                      <a:pt x="28" y="79"/>
                    </a:lnTo>
                    <a:lnTo>
                      <a:pt x="29" y="79"/>
                    </a:lnTo>
                    <a:lnTo>
                      <a:pt x="29" y="80"/>
                    </a:lnTo>
                    <a:lnTo>
                      <a:pt x="29" y="82"/>
                    </a:lnTo>
                    <a:lnTo>
                      <a:pt x="31" y="82"/>
                    </a:lnTo>
                    <a:lnTo>
                      <a:pt x="34" y="80"/>
                    </a:lnTo>
                    <a:lnTo>
                      <a:pt x="35" y="80"/>
                    </a:lnTo>
                    <a:lnTo>
                      <a:pt x="36" y="79"/>
                    </a:lnTo>
                    <a:lnTo>
                      <a:pt x="38" y="78"/>
                    </a:lnTo>
                    <a:lnTo>
                      <a:pt x="39" y="78"/>
                    </a:lnTo>
                    <a:lnTo>
                      <a:pt x="41" y="78"/>
                    </a:lnTo>
                    <a:lnTo>
                      <a:pt x="41" y="78"/>
                    </a:lnTo>
                    <a:lnTo>
                      <a:pt x="44" y="79"/>
                    </a:lnTo>
                    <a:lnTo>
                      <a:pt x="44" y="79"/>
                    </a:lnTo>
                    <a:lnTo>
                      <a:pt x="45" y="79"/>
                    </a:lnTo>
                    <a:lnTo>
                      <a:pt x="49" y="78"/>
                    </a:lnTo>
                    <a:lnTo>
                      <a:pt x="51" y="78"/>
                    </a:lnTo>
                    <a:lnTo>
                      <a:pt x="51" y="76"/>
                    </a:lnTo>
                    <a:close/>
                    <a:moveTo>
                      <a:pt x="41" y="101"/>
                    </a:moveTo>
                    <a:lnTo>
                      <a:pt x="41" y="99"/>
                    </a:lnTo>
                    <a:lnTo>
                      <a:pt x="41" y="101"/>
                    </a:lnTo>
                    <a:lnTo>
                      <a:pt x="39" y="101"/>
                    </a:lnTo>
                    <a:lnTo>
                      <a:pt x="39" y="101"/>
                    </a:lnTo>
                    <a:lnTo>
                      <a:pt x="39" y="102"/>
                    </a:lnTo>
                    <a:lnTo>
                      <a:pt x="41" y="103"/>
                    </a:lnTo>
                    <a:lnTo>
                      <a:pt x="41" y="102"/>
                    </a:lnTo>
                    <a:lnTo>
                      <a:pt x="41" y="101"/>
                    </a:lnTo>
                    <a:lnTo>
                      <a:pt x="41" y="101"/>
                    </a:lnTo>
                    <a:close/>
                    <a:moveTo>
                      <a:pt x="28" y="95"/>
                    </a:moveTo>
                    <a:lnTo>
                      <a:pt x="26" y="93"/>
                    </a:lnTo>
                    <a:lnTo>
                      <a:pt x="25" y="92"/>
                    </a:lnTo>
                    <a:lnTo>
                      <a:pt x="23" y="90"/>
                    </a:lnTo>
                    <a:lnTo>
                      <a:pt x="22" y="89"/>
                    </a:lnTo>
                    <a:lnTo>
                      <a:pt x="19" y="89"/>
                    </a:lnTo>
                    <a:lnTo>
                      <a:pt x="15" y="89"/>
                    </a:lnTo>
                    <a:lnTo>
                      <a:pt x="11" y="92"/>
                    </a:lnTo>
                    <a:lnTo>
                      <a:pt x="8" y="95"/>
                    </a:lnTo>
                    <a:lnTo>
                      <a:pt x="6" y="98"/>
                    </a:lnTo>
                    <a:lnTo>
                      <a:pt x="6" y="98"/>
                    </a:lnTo>
                    <a:lnTo>
                      <a:pt x="5" y="98"/>
                    </a:lnTo>
                    <a:lnTo>
                      <a:pt x="5" y="99"/>
                    </a:lnTo>
                    <a:lnTo>
                      <a:pt x="5" y="101"/>
                    </a:lnTo>
                    <a:lnTo>
                      <a:pt x="6" y="102"/>
                    </a:lnTo>
                    <a:lnTo>
                      <a:pt x="8" y="103"/>
                    </a:lnTo>
                    <a:lnTo>
                      <a:pt x="9" y="103"/>
                    </a:lnTo>
                    <a:lnTo>
                      <a:pt x="15" y="105"/>
                    </a:lnTo>
                    <a:lnTo>
                      <a:pt x="19" y="105"/>
                    </a:lnTo>
                    <a:lnTo>
                      <a:pt x="28" y="103"/>
                    </a:lnTo>
                    <a:lnTo>
                      <a:pt x="29" y="102"/>
                    </a:lnTo>
                    <a:lnTo>
                      <a:pt x="29" y="99"/>
                    </a:lnTo>
                    <a:lnTo>
                      <a:pt x="28" y="96"/>
                    </a:lnTo>
                    <a:lnTo>
                      <a:pt x="28" y="95"/>
                    </a:lnTo>
                    <a:close/>
                    <a:moveTo>
                      <a:pt x="3" y="85"/>
                    </a:moveTo>
                    <a:lnTo>
                      <a:pt x="3" y="85"/>
                    </a:lnTo>
                    <a:lnTo>
                      <a:pt x="3" y="85"/>
                    </a:lnTo>
                    <a:lnTo>
                      <a:pt x="5" y="85"/>
                    </a:lnTo>
                    <a:lnTo>
                      <a:pt x="5" y="85"/>
                    </a:lnTo>
                    <a:lnTo>
                      <a:pt x="5" y="83"/>
                    </a:lnTo>
                    <a:lnTo>
                      <a:pt x="5" y="83"/>
                    </a:lnTo>
                    <a:lnTo>
                      <a:pt x="3" y="85"/>
                    </a:lnTo>
                    <a:close/>
                    <a:moveTo>
                      <a:pt x="22" y="119"/>
                    </a:moveTo>
                    <a:lnTo>
                      <a:pt x="16" y="122"/>
                    </a:lnTo>
                    <a:lnTo>
                      <a:pt x="19" y="122"/>
                    </a:lnTo>
                    <a:lnTo>
                      <a:pt x="25" y="119"/>
                    </a:lnTo>
                    <a:lnTo>
                      <a:pt x="26" y="119"/>
                    </a:lnTo>
                    <a:lnTo>
                      <a:pt x="23" y="118"/>
                    </a:lnTo>
                    <a:lnTo>
                      <a:pt x="22" y="11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69" name="Freeform 264">
                <a:extLst>
                  <a:ext uri="{FF2B5EF4-FFF2-40B4-BE49-F238E27FC236}">
                    <a16:creationId xmlns:a16="http://schemas.microsoft.com/office/drawing/2014/main" id="{983D80C9-6DDB-FB43-5E4B-3D45EDF34984}"/>
                  </a:ext>
                </a:extLst>
              </p:cNvPr>
              <p:cNvSpPr>
                <a:spLocks noEditPoints="1"/>
              </p:cNvSpPr>
              <p:nvPr/>
            </p:nvSpPr>
            <p:spPr bwMode="auto">
              <a:xfrm>
                <a:off x="9587597" y="4278713"/>
                <a:ext cx="283408" cy="134475"/>
              </a:xfrm>
              <a:custGeom>
                <a:avLst/>
                <a:gdLst>
                  <a:gd name="T0" fmla="*/ 181 w 196"/>
                  <a:gd name="T1" fmla="*/ 75 h 93"/>
                  <a:gd name="T2" fmla="*/ 195 w 196"/>
                  <a:gd name="T3" fmla="*/ 89 h 93"/>
                  <a:gd name="T4" fmla="*/ 196 w 196"/>
                  <a:gd name="T5" fmla="*/ 91 h 93"/>
                  <a:gd name="T6" fmla="*/ 116 w 196"/>
                  <a:gd name="T7" fmla="*/ 73 h 93"/>
                  <a:gd name="T8" fmla="*/ 109 w 196"/>
                  <a:gd name="T9" fmla="*/ 69 h 93"/>
                  <a:gd name="T10" fmla="*/ 99 w 196"/>
                  <a:gd name="T11" fmla="*/ 66 h 93"/>
                  <a:gd name="T12" fmla="*/ 100 w 196"/>
                  <a:gd name="T13" fmla="*/ 68 h 93"/>
                  <a:gd name="T14" fmla="*/ 109 w 196"/>
                  <a:gd name="T15" fmla="*/ 73 h 93"/>
                  <a:gd name="T16" fmla="*/ 99 w 196"/>
                  <a:gd name="T17" fmla="*/ 49 h 93"/>
                  <a:gd name="T18" fmla="*/ 100 w 196"/>
                  <a:gd name="T19" fmla="*/ 56 h 93"/>
                  <a:gd name="T20" fmla="*/ 33 w 196"/>
                  <a:gd name="T21" fmla="*/ 39 h 93"/>
                  <a:gd name="T22" fmla="*/ 33 w 196"/>
                  <a:gd name="T23" fmla="*/ 37 h 93"/>
                  <a:gd name="T24" fmla="*/ 24 w 196"/>
                  <a:gd name="T25" fmla="*/ 27 h 93"/>
                  <a:gd name="T26" fmla="*/ 24 w 196"/>
                  <a:gd name="T27" fmla="*/ 23 h 93"/>
                  <a:gd name="T28" fmla="*/ 27 w 196"/>
                  <a:gd name="T29" fmla="*/ 36 h 93"/>
                  <a:gd name="T30" fmla="*/ 38 w 196"/>
                  <a:gd name="T31" fmla="*/ 33 h 93"/>
                  <a:gd name="T32" fmla="*/ 33 w 196"/>
                  <a:gd name="T33" fmla="*/ 33 h 93"/>
                  <a:gd name="T34" fmla="*/ 30 w 196"/>
                  <a:gd name="T35" fmla="*/ 30 h 93"/>
                  <a:gd name="T36" fmla="*/ 28 w 196"/>
                  <a:gd name="T37" fmla="*/ 26 h 93"/>
                  <a:gd name="T38" fmla="*/ 33 w 196"/>
                  <a:gd name="T39" fmla="*/ 27 h 93"/>
                  <a:gd name="T40" fmla="*/ 37 w 196"/>
                  <a:gd name="T41" fmla="*/ 32 h 93"/>
                  <a:gd name="T42" fmla="*/ 40 w 196"/>
                  <a:gd name="T43" fmla="*/ 37 h 93"/>
                  <a:gd name="T44" fmla="*/ 41 w 196"/>
                  <a:gd name="T45" fmla="*/ 34 h 93"/>
                  <a:gd name="T46" fmla="*/ 14 w 196"/>
                  <a:gd name="T47" fmla="*/ 3 h 93"/>
                  <a:gd name="T48" fmla="*/ 24 w 196"/>
                  <a:gd name="T49" fmla="*/ 6 h 93"/>
                  <a:gd name="T50" fmla="*/ 31 w 196"/>
                  <a:gd name="T51" fmla="*/ 13 h 93"/>
                  <a:gd name="T52" fmla="*/ 44 w 196"/>
                  <a:gd name="T53" fmla="*/ 37 h 93"/>
                  <a:gd name="T54" fmla="*/ 44 w 196"/>
                  <a:gd name="T55" fmla="*/ 37 h 93"/>
                  <a:gd name="T56" fmla="*/ 17 w 196"/>
                  <a:gd name="T57" fmla="*/ 24 h 93"/>
                  <a:gd name="T58" fmla="*/ 17 w 196"/>
                  <a:gd name="T59" fmla="*/ 19 h 93"/>
                  <a:gd name="T60" fmla="*/ 14 w 196"/>
                  <a:gd name="T61" fmla="*/ 26 h 93"/>
                  <a:gd name="T62" fmla="*/ 89 w 196"/>
                  <a:gd name="T63" fmla="*/ 56 h 93"/>
                  <a:gd name="T64" fmla="*/ 70 w 196"/>
                  <a:gd name="T65" fmla="*/ 55 h 93"/>
                  <a:gd name="T66" fmla="*/ 73 w 196"/>
                  <a:gd name="T67" fmla="*/ 49 h 93"/>
                  <a:gd name="T68" fmla="*/ 80 w 196"/>
                  <a:gd name="T69" fmla="*/ 50 h 93"/>
                  <a:gd name="T70" fmla="*/ 69 w 196"/>
                  <a:gd name="T71" fmla="*/ 34 h 93"/>
                  <a:gd name="T72" fmla="*/ 69 w 196"/>
                  <a:gd name="T73" fmla="*/ 32 h 93"/>
                  <a:gd name="T74" fmla="*/ 84 w 196"/>
                  <a:gd name="T75" fmla="*/ 93 h 93"/>
                  <a:gd name="T76" fmla="*/ 76 w 196"/>
                  <a:gd name="T77" fmla="*/ 88 h 93"/>
                  <a:gd name="T78" fmla="*/ 77 w 196"/>
                  <a:gd name="T79" fmla="*/ 45 h 93"/>
                  <a:gd name="T80" fmla="*/ 82 w 196"/>
                  <a:gd name="T81" fmla="*/ 46 h 93"/>
                  <a:gd name="T82" fmla="*/ 59 w 196"/>
                  <a:gd name="T83" fmla="*/ 45 h 93"/>
                  <a:gd name="T84" fmla="*/ 69 w 196"/>
                  <a:gd name="T85" fmla="*/ 32 h 93"/>
                  <a:gd name="T86" fmla="*/ 51 w 196"/>
                  <a:gd name="T87" fmla="*/ 22 h 93"/>
                  <a:gd name="T88" fmla="*/ 70 w 196"/>
                  <a:gd name="T89" fmla="*/ 29 h 93"/>
                  <a:gd name="T90" fmla="*/ 69 w 196"/>
                  <a:gd name="T91" fmla="*/ 32 h 93"/>
                  <a:gd name="T92" fmla="*/ 90 w 196"/>
                  <a:gd name="T93" fmla="*/ 46 h 93"/>
                  <a:gd name="T94" fmla="*/ 87 w 196"/>
                  <a:gd name="T95" fmla="*/ 34 h 93"/>
                  <a:gd name="T96" fmla="*/ 87 w 196"/>
                  <a:gd name="T97" fmla="*/ 30 h 93"/>
                  <a:gd name="T98" fmla="*/ 92 w 196"/>
                  <a:gd name="T99" fmla="*/ 39 h 93"/>
                  <a:gd name="T100" fmla="*/ 99 w 196"/>
                  <a:gd name="T101" fmla="*/ 50 h 93"/>
                  <a:gd name="T102" fmla="*/ 0 w 196"/>
                  <a:gd name="T103" fmla="*/ 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6" h="93">
                    <a:moveTo>
                      <a:pt x="179" y="73"/>
                    </a:moveTo>
                    <a:lnTo>
                      <a:pt x="182" y="72"/>
                    </a:lnTo>
                    <a:lnTo>
                      <a:pt x="183" y="73"/>
                    </a:lnTo>
                    <a:lnTo>
                      <a:pt x="182" y="75"/>
                    </a:lnTo>
                    <a:lnTo>
                      <a:pt x="181" y="75"/>
                    </a:lnTo>
                    <a:lnTo>
                      <a:pt x="178" y="75"/>
                    </a:lnTo>
                    <a:lnTo>
                      <a:pt x="176" y="75"/>
                    </a:lnTo>
                    <a:lnTo>
                      <a:pt x="178" y="73"/>
                    </a:lnTo>
                    <a:lnTo>
                      <a:pt x="179" y="73"/>
                    </a:lnTo>
                    <a:close/>
                    <a:moveTo>
                      <a:pt x="195" y="89"/>
                    </a:moveTo>
                    <a:lnTo>
                      <a:pt x="194" y="89"/>
                    </a:lnTo>
                    <a:lnTo>
                      <a:pt x="194" y="91"/>
                    </a:lnTo>
                    <a:lnTo>
                      <a:pt x="195" y="91"/>
                    </a:lnTo>
                    <a:lnTo>
                      <a:pt x="196" y="91"/>
                    </a:lnTo>
                    <a:lnTo>
                      <a:pt x="196" y="91"/>
                    </a:lnTo>
                    <a:lnTo>
                      <a:pt x="196" y="89"/>
                    </a:lnTo>
                    <a:lnTo>
                      <a:pt x="195" y="89"/>
                    </a:lnTo>
                    <a:lnTo>
                      <a:pt x="195" y="89"/>
                    </a:lnTo>
                    <a:lnTo>
                      <a:pt x="195" y="89"/>
                    </a:lnTo>
                    <a:close/>
                    <a:moveTo>
                      <a:pt x="116" y="73"/>
                    </a:moveTo>
                    <a:lnTo>
                      <a:pt x="115" y="70"/>
                    </a:lnTo>
                    <a:lnTo>
                      <a:pt x="113" y="69"/>
                    </a:lnTo>
                    <a:lnTo>
                      <a:pt x="112" y="69"/>
                    </a:lnTo>
                    <a:lnTo>
                      <a:pt x="110" y="69"/>
                    </a:lnTo>
                    <a:lnTo>
                      <a:pt x="109" y="69"/>
                    </a:lnTo>
                    <a:lnTo>
                      <a:pt x="107" y="69"/>
                    </a:lnTo>
                    <a:lnTo>
                      <a:pt x="102" y="65"/>
                    </a:lnTo>
                    <a:lnTo>
                      <a:pt x="99" y="65"/>
                    </a:lnTo>
                    <a:lnTo>
                      <a:pt x="97" y="66"/>
                    </a:lnTo>
                    <a:lnTo>
                      <a:pt x="99" y="66"/>
                    </a:lnTo>
                    <a:lnTo>
                      <a:pt x="99" y="66"/>
                    </a:lnTo>
                    <a:lnTo>
                      <a:pt x="99" y="66"/>
                    </a:lnTo>
                    <a:lnTo>
                      <a:pt x="100" y="66"/>
                    </a:lnTo>
                    <a:lnTo>
                      <a:pt x="100" y="68"/>
                    </a:lnTo>
                    <a:lnTo>
                      <a:pt x="100" y="68"/>
                    </a:lnTo>
                    <a:lnTo>
                      <a:pt x="100" y="68"/>
                    </a:lnTo>
                    <a:lnTo>
                      <a:pt x="103" y="70"/>
                    </a:lnTo>
                    <a:lnTo>
                      <a:pt x="104" y="72"/>
                    </a:lnTo>
                    <a:lnTo>
                      <a:pt x="106" y="73"/>
                    </a:lnTo>
                    <a:lnTo>
                      <a:pt x="109" y="73"/>
                    </a:lnTo>
                    <a:lnTo>
                      <a:pt x="110" y="75"/>
                    </a:lnTo>
                    <a:lnTo>
                      <a:pt x="116" y="75"/>
                    </a:lnTo>
                    <a:lnTo>
                      <a:pt x="116" y="73"/>
                    </a:lnTo>
                    <a:close/>
                    <a:moveTo>
                      <a:pt x="100" y="52"/>
                    </a:moveTo>
                    <a:lnTo>
                      <a:pt x="99" y="49"/>
                    </a:lnTo>
                    <a:lnTo>
                      <a:pt x="100" y="50"/>
                    </a:lnTo>
                    <a:lnTo>
                      <a:pt x="102" y="52"/>
                    </a:lnTo>
                    <a:lnTo>
                      <a:pt x="102" y="53"/>
                    </a:lnTo>
                    <a:lnTo>
                      <a:pt x="103" y="56"/>
                    </a:lnTo>
                    <a:lnTo>
                      <a:pt x="100" y="56"/>
                    </a:lnTo>
                    <a:lnTo>
                      <a:pt x="100" y="53"/>
                    </a:lnTo>
                    <a:lnTo>
                      <a:pt x="100" y="52"/>
                    </a:lnTo>
                    <a:close/>
                    <a:moveTo>
                      <a:pt x="33" y="37"/>
                    </a:moveTo>
                    <a:lnTo>
                      <a:pt x="34" y="39"/>
                    </a:lnTo>
                    <a:lnTo>
                      <a:pt x="33" y="39"/>
                    </a:lnTo>
                    <a:lnTo>
                      <a:pt x="31" y="39"/>
                    </a:lnTo>
                    <a:lnTo>
                      <a:pt x="31" y="37"/>
                    </a:lnTo>
                    <a:lnTo>
                      <a:pt x="30" y="37"/>
                    </a:lnTo>
                    <a:lnTo>
                      <a:pt x="31" y="37"/>
                    </a:lnTo>
                    <a:lnTo>
                      <a:pt x="33" y="37"/>
                    </a:lnTo>
                    <a:lnTo>
                      <a:pt x="33" y="37"/>
                    </a:lnTo>
                    <a:close/>
                    <a:moveTo>
                      <a:pt x="24" y="23"/>
                    </a:moveTo>
                    <a:lnTo>
                      <a:pt x="25" y="24"/>
                    </a:lnTo>
                    <a:lnTo>
                      <a:pt x="25" y="26"/>
                    </a:lnTo>
                    <a:lnTo>
                      <a:pt x="24" y="27"/>
                    </a:lnTo>
                    <a:lnTo>
                      <a:pt x="23" y="26"/>
                    </a:lnTo>
                    <a:lnTo>
                      <a:pt x="21" y="24"/>
                    </a:lnTo>
                    <a:lnTo>
                      <a:pt x="23" y="23"/>
                    </a:lnTo>
                    <a:lnTo>
                      <a:pt x="23" y="23"/>
                    </a:lnTo>
                    <a:lnTo>
                      <a:pt x="24" y="23"/>
                    </a:lnTo>
                    <a:close/>
                    <a:moveTo>
                      <a:pt x="28" y="36"/>
                    </a:moveTo>
                    <a:lnTo>
                      <a:pt x="28" y="37"/>
                    </a:lnTo>
                    <a:lnTo>
                      <a:pt x="28" y="37"/>
                    </a:lnTo>
                    <a:lnTo>
                      <a:pt x="27" y="36"/>
                    </a:lnTo>
                    <a:lnTo>
                      <a:pt x="27" y="36"/>
                    </a:lnTo>
                    <a:lnTo>
                      <a:pt x="25" y="34"/>
                    </a:lnTo>
                    <a:lnTo>
                      <a:pt x="28" y="32"/>
                    </a:lnTo>
                    <a:lnTo>
                      <a:pt x="28" y="33"/>
                    </a:lnTo>
                    <a:lnTo>
                      <a:pt x="28" y="36"/>
                    </a:lnTo>
                    <a:close/>
                    <a:moveTo>
                      <a:pt x="38" y="33"/>
                    </a:moveTo>
                    <a:lnTo>
                      <a:pt x="37" y="34"/>
                    </a:lnTo>
                    <a:lnTo>
                      <a:pt x="37" y="36"/>
                    </a:lnTo>
                    <a:lnTo>
                      <a:pt x="36" y="34"/>
                    </a:lnTo>
                    <a:lnTo>
                      <a:pt x="34" y="33"/>
                    </a:lnTo>
                    <a:lnTo>
                      <a:pt x="33" y="33"/>
                    </a:lnTo>
                    <a:lnTo>
                      <a:pt x="33" y="32"/>
                    </a:lnTo>
                    <a:lnTo>
                      <a:pt x="33" y="32"/>
                    </a:lnTo>
                    <a:lnTo>
                      <a:pt x="31" y="30"/>
                    </a:lnTo>
                    <a:lnTo>
                      <a:pt x="31" y="30"/>
                    </a:lnTo>
                    <a:lnTo>
                      <a:pt x="30" y="30"/>
                    </a:lnTo>
                    <a:lnTo>
                      <a:pt x="28" y="30"/>
                    </a:lnTo>
                    <a:lnTo>
                      <a:pt x="27" y="30"/>
                    </a:lnTo>
                    <a:lnTo>
                      <a:pt x="25" y="29"/>
                    </a:lnTo>
                    <a:lnTo>
                      <a:pt x="27" y="27"/>
                    </a:lnTo>
                    <a:lnTo>
                      <a:pt x="28" y="26"/>
                    </a:lnTo>
                    <a:lnTo>
                      <a:pt x="30" y="24"/>
                    </a:lnTo>
                    <a:lnTo>
                      <a:pt x="31" y="24"/>
                    </a:lnTo>
                    <a:lnTo>
                      <a:pt x="33" y="24"/>
                    </a:lnTo>
                    <a:lnTo>
                      <a:pt x="33" y="26"/>
                    </a:lnTo>
                    <a:lnTo>
                      <a:pt x="33" y="27"/>
                    </a:lnTo>
                    <a:lnTo>
                      <a:pt x="33" y="29"/>
                    </a:lnTo>
                    <a:lnTo>
                      <a:pt x="34" y="29"/>
                    </a:lnTo>
                    <a:lnTo>
                      <a:pt x="36" y="30"/>
                    </a:lnTo>
                    <a:lnTo>
                      <a:pt x="37" y="30"/>
                    </a:lnTo>
                    <a:lnTo>
                      <a:pt x="37" y="32"/>
                    </a:lnTo>
                    <a:lnTo>
                      <a:pt x="38" y="33"/>
                    </a:lnTo>
                    <a:close/>
                    <a:moveTo>
                      <a:pt x="43" y="34"/>
                    </a:moveTo>
                    <a:lnTo>
                      <a:pt x="41" y="36"/>
                    </a:lnTo>
                    <a:lnTo>
                      <a:pt x="41" y="37"/>
                    </a:lnTo>
                    <a:lnTo>
                      <a:pt x="40" y="37"/>
                    </a:lnTo>
                    <a:lnTo>
                      <a:pt x="38" y="37"/>
                    </a:lnTo>
                    <a:lnTo>
                      <a:pt x="37" y="37"/>
                    </a:lnTo>
                    <a:lnTo>
                      <a:pt x="38" y="36"/>
                    </a:lnTo>
                    <a:lnTo>
                      <a:pt x="40" y="34"/>
                    </a:lnTo>
                    <a:lnTo>
                      <a:pt x="41" y="34"/>
                    </a:lnTo>
                    <a:lnTo>
                      <a:pt x="43" y="34"/>
                    </a:lnTo>
                    <a:close/>
                    <a:moveTo>
                      <a:pt x="23" y="11"/>
                    </a:moveTo>
                    <a:lnTo>
                      <a:pt x="21" y="10"/>
                    </a:lnTo>
                    <a:lnTo>
                      <a:pt x="15" y="6"/>
                    </a:lnTo>
                    <a:lnTo>
                      <a:pt x="14" y="3"/>
                    </a:lnTo>
                    <a:lnTo>
                      <a:pt x="13" y="0"/>
                    </a:lnTo>
                    <a:lnTo>
                      <a:pt x="15" y="1"/>
                    </a:lnTo>
                    <a:lnTo>
                      <a:pt x="18" y="3"/>
                    </a:lnTo>
                    <a:lnTo>
                      <a:pt x="21" y="4"/>
                    </a:lnTo>
                    <a:lnTo>
                      <a:pt x="24" y="6"/>
                    </a:lnTo>
                    <a:lnTo>
                      <a:pt x="25" y="7"/>
                    </a:lnTo>
                    <a:lnTo>
                      <a:pt x="27" y="10"/>
                    </a:lnTo>
                    <a:lnTo>
                      <a:pt x="28" y="11"/>
                    </a:lnTo>
                    <a:lnTo>
                      <a:pt x="28" y="13"/>
                    </a:lnTo>
                    <a:lnTo>
                      <a:pt x="31" y="13"/>
                    </a:lnTo>
                    <a:lnTo>
                      <a:pt x="31" y="13"/>
                    </a:lnTo>
                    <a:lnTo>
                      <a:pt x="30" y="14"/>
                    </a:lnTo>
                    <a:lnTo>
                      <a:pt x="27" y="13"/>
                    </a:lnTo>
                    <a:lnTo>
                      <a:pt x="23" y="11"/>
                    </a:lnTo>
                    <a:close/>
                    <a:moveTo>
                      <a:pt x="44" y="37"/>
                    </a:moveTo>
                    <a:lnTo>
                      <a:pt x="44" y="39"/>
                    </a:lnTo>
                    <a:lnTo>
                      <a:pt x="44" y="39"/>
                    </a:lnTo>
                    <a:lnTo>
                      <a:pt x="43" y="39"/>
                    </a:lnTo>
                    <a:lnTo>
                      <a:pt x="43" y="39"/>
                    </a:lnTo>
                    <a:lnTo>
                      <a:pt x="44" y="37"/>
                    </a:lnTo>
                    <a:lnTo>
                      <a:pt x="44" y="37"/>
                    </a:lnTo>
                    <a:close/>
                    <a:moveTo>
                      <a:pt x="17" y="19"/>
                    </a:moveTo>
                    <a:lnTo>
                      <a:pt x="18" y="20"/>
                    </a:lnTo>
                    <a:lnTo>
                      <a:pt x="18" y="22"/>
                    </a:lnTo>
                    <a:lnTo>
                      <a:pt x="17" y="24"/>
                    </a:lnTo>
                    <a:lnTo>
                      <a:pt x="14" y="20"/>
                    </a:lnTo>
                    <a:lnTo>
                      <a:pt x="14" y="19"/>
                    </a:lnTo>
                    <a:lnTo>
                      <a:pt x="14" y="17"/>
                    </a:lnTo>
                    <a:lnTo>
                      <a:pt x="15" y="19"/>
                    </a:lnTo>
                    <a:lnTo>
                      <a:pt x="17" y="19"/>
                    </a:lnTo>
                    <a:close/>
                    <a:moveTo>
                      <a:pt x="15" y="26"/>
                    </a:moveTo>
                    <a:lnTo>
                      <a:pt x="15" y="26"/>
                    </a:lnTo>
                    <a:lnTo>
                      <a:pt x="15" y="27"/>
                    </a:lnTo>
                    <a:lnTo>
                      <a:pt x="15" y="29"/>
                    </a:lnTo>
                    <a:lnTo>
                      <a:pt x="14" y="26"/>
                    </a:lnTo>
                    <a:lnTo>
                      <a:pt x="14" y="24"/>
                    </a:lnTo>
                    <a:lnTo>
                      <a:pt x="14" y="24"/>
                    </a:lnTo>
                    <a:lnTo>
                      <a:pt x="14" y="24"/>
                    </a:lnTo>
                    <a:lnTo>
                      <a:pt x="15" y="26"/>
                    </a:lnTo>
                    <a:close/>
                    <a:moveTo>
                      <a:pt x="89" y="56"/>
                    </a:moveTo>
                    <a:lnTo>
                      <a:pt x="89" y="57"/>
                    </a:lnTo>
                    <a:lnTo>
                      <a:pt x="87" y="59"/>
                    </a:lnTo>
                    <a:lnTo>
                      <a:pt x="83" y="59"/>
                    </a:lnTo>
                    <a:lnTo>
                      <a:pt x="73" y="56"/>
                    </a:lnTo>
                    <a:lnTo>
                      <a:pt x="70" y="55"/>
                    </a:lnTo>
                    <a:lnTo>
                      <a:pt x="69" y="52"/>
                    </a:lnTo>
                    <a:lnTo>
                      <a:pt x="69" y="49"/>
                    </a:lnTo>
                    <a:lnTo>
                      <a:pt x="69" y="47"/>
                    </a:lnTo>
                    <a:lnTo>
                      <a:pt x="70" y="47"/>
                    </a:lnTo>
                    <a:lnTo>
                      <a:pt x="73" y="49"/>
                    </a:lnTo>
                    <a:lnTo>
                      <a:pt x="74" y="50"/>
                    </a:lnTo>
                    <a:lnTo>
                      <a:pt x="76" y="50"/>
                    </a:lnTo>
                    <a:lnTo>
                      <a:pt x="76" y="50"/>
                    </a:lnTo>
                    <a:lnTo>
                      <a:pt x="79" y="50"/>
                    </a:lnTo>
                    <a:lnTo>
                      <a:pt x="80" y="50"/>
                    </a:lnTo>
                    <a:lnTo>
                      <a:pt x="82" y="52"/>
                    </a:lnTo>
                    <a:lnTo>
                      <a:pt x="86" y="53"/>
                    </a:lnTo>
                    <a:lnTo>
                      <a:pt x="89" y="56"/>
                    </a:lnTo>
                    <a:close/>
                    <a:moveTo>
                      <a:pt x="69" y="34"/>
                    </a:moveTo>
                    <a:lnTo>
                      <a:pt x="69" y="34"/>
                    </a:lnTo>
                    <a:lnTo>
                      <a:pt x="67" y="33"/>
                    </a:lnTo>
                    <a:lnTo>
                      <a:pt x="67" y="33"/>
                    </a:lnTo>
                    <a:lnTo>
                      <a:pt x="67" y="32"/>
                    </a:lnTo>
                    <a:lnTo>
                      <a:pt x="69" y="32"/>
                    </a:lnTo>
                    <a:lnTo>
                      <a:pt x="69" y="32"/>
                    </a:lnTo>
                    <a:lnTo>
                      <a:pt x="69" y="33"/>
                    </a:lnTo>
                    <a:lnTo>
                      <a:pt x="70" y="34"/>
                    </a:lnTo>
                    <a:lnTo>
                      <a:pt x="69" y="34"/>
                    </a:lnTo>
                    <a:close/>
                    <a:moveTo>
                      <a:pt x="83" y="91"/>
                    </a:moveTo>
                    <a:lnTo>
                      <a:pt x="84" y="93"/>
                    </a:lnTo>
                    <a:lnTo>
                      <a:pt x="83" y="93"/>
                    </a:lnTo>
                    <a:lnTo>
                      <a:pt x="80" y="92"/>
                    </a:lnTo>
                    <a:lnTo>
                      <a:pt x="77" y="89"/>
                    </a:lnTo>
                    <a:lnTo>
                      <a:pt x="74" y="88"/>
                    </a:lnTo>
                    <a:lnTo>
                      <a:pt x="76" y="88"/>
                    </a:lnTo>
                    <a:lnTo>
                      <a:pt x="80" y="89"/>
                    </a:lnTo>
                    <a:lnTo>
                      <a:pt x="83" y="91"/>
                    </a:lnTo>
                    <a:close/>
                    <a:moveTo>
                      <a:pt x="80" y="46"/>
                    </a:moveTo>
                    <a:lnTo>
                      <a:pt x="79" y="45"/>
                    </a:lnTo>
                    <a:lnTo>
                      <a:pt x="77" y="45"/>
                    </a:lnTo>
                    <a:lnTo>
                      <a:pt x="77" y="43"/>
                    </a:lnTo>
                    <a:lnTo>
                      <a:pt x="79" y="43"/>
                    </a:lnTo>
                    <a:lnTo>
                      <a:pt x="80" y="45"/>
                    </a:lnTo>
                    <a:lnTo>
                      <a:pt x="82" y="45"/>
                    </a:lnTo>
                    <a:lnTo>
                      <a:pt x="82" y="46"/>
                    </a:lnTo>
                    <a:lnTo>
                      <a:pt x="80" y="46"/>
                    </a:lnTo>
                    <a:close/>
                    <a:moveTo>
                      <a:pt x="60" y="43"/>
                    </a:moveTo>
                    <a:lnTo>
                      <a:pt x="61" y="43"/>
                    </a:lnTo>
                    <a:lnTo>
                      <a:pt x="60" y="45"/>
                    </a:lnTo>
                    <a:lnTo>
                      <a:pt x="59" y="45"/>
                    </a:lnTo>
                    <a:lnTo>
                      <a:pt x="60" y="43"/>
                    </a:lnTo>
                    <a:close/>
                    <a:moveTo>
                      <a:pt x="69" y="32"/>
                    </a:moveTo>
                    <a:lnTo>
                      <a:pt x="69" y="32"/>
                    </a:lnTo>
                    <a:lnTo>
                      <a:pt x="69" y="32"/>
                    </a:lnTo>
                    <a:lnTo>
                      <a:pt x="69" y="32"/>
                    </a:lnTo>
                    <a:close/>
                    <a:moveTo>
                      <a:pt x="69" y="32"/>
                    </a:moveTo>
                    <a:lnTo>
                      <a:pt x="69" y="32"/>
                    </a:lnTo>
                    <a:lnTo>
                      <a:pt x="54" y="23"/>
                    </a:lnTo>
                    <a:lnTo>
                      <a:pt x="53" y="23"/>
                    </a:lnTo>
                    <a:lnTo>
                      <a:pt x="51" y="22"/>
                    </a:lnTo>
                    <a:lnTo>
                      <a:pt x="48" y="19"/>
                    </a:lnTo>
                    <a:lnTo>
                      <a:pt x="48" y="17"/>
                    </a:lnTo>
                    <a:lnTo>
                      <a:pt x="51" y="19"/>
                    </a:lnTo>
                    <a:lnTo>
                      <a:pt x="69" y="27"/>
                    </a:lnTo>
                    <a:lnTo>
                      <a:pt x="70" y="29"/>
                    </a:lnTo>
                    <a:lnTo>
                      <a:pt x="71" y="30"/>
                    </a:lnTo>
                    <a:lnTo>
                      <a:pt x="71" y="32"/>
                    </a:lnTo>
                    <a:lnTo>
                      <a:pt x="71" y="33"/>
                    </a:lnTo>
                    <a:lnTo>
                      <a:pt x="73" y="34"/>
                    </a:lnTo>
                    <a:lnTo>
                      <a:pt x="69" y="32"/>
                    </a:lnTo>
                    <a:lnTo>
                      <a:pt x="69" y="32"/>
                    </a:lnTo>
                    <a:close/>
                    <a:moveTo>
                      <a:pt x="99" y="53"/>
                    </a:moveTo>
                    <a:lnTo>
                      <a:pt x="97" y="52"/>
                    </a:lnTo>
                    <a:lnTo>
                      <a:pt x="93" y="47"/>
                    </a:lnTo>
                    <a:lnTo>
                      <a:pt x="90" y="46"/>
                    </a:lnTo>
                    <a:lnTo>
                      <a:pt x="89" y="42"/>
                    </a:lnTo>
                    <a:lnTo>
                      <a:pt x="87" y="39"/>
                    </a:lnTo>
                    <a:lnTo>
                      <a:pt x="87" y="36"/>
                    </a:lnTo>
                    <a:lnTo>
                      <a:pt x="87" y="36"/>
                    </a:lnTo>
                    <a:lnTo>
                      <a:pt x="87" y="34"/>
                    </a:lnTo>
                    <a:lnTo>
                      <a:pt x="87" y="33"/>
                    </a:lnTo>
                    <a:lnTo>
                      <a:pt x="87" y="33"/>
                    </a:lnTo>
                    <a:lnTo>
                      <a:pt x="86" y="32"/>
                    </a:lnTo>
                    <a:lnTo>
                      <a:pt x="86" y="30"/>
                    </a:lnTo>
                    <a:lnTo>
                      <a:pt x="87" y="30"/>
                    </a:lnTo>
                    <a:lnTo>
                      <a:pt x="89" y="32"/>
                    </a:lnTo>
                    <a:lnTo>
                      <a:pt x="90" y="33"/>
                    </a:lnTo>
                    <a:lnTo>
                      <a:pt x="92" y="34"/>
                    </a:lnTo>
                    <a:lnTo>
                      <a:pt x="92" y="36"/>
                    </a:lnTo>
                    <a:lnTo>
                      <a:pt x="92" y="39"/>
                    </a:lnTo>
                    <a:lnTo>
                      <a:pt x="93" y="40"/>
                    </a:lnTo>
                    <a:lnTo>
                      <a:pt x="93" y="42"/>
                    </a:lnTo>
                    <a:lnTo>
                      <a:pt x="96" y="45"/>
                    </a:lnTo>
                    <a:lnTo>
                      <a:pt x="97" y="46"/>
                    </a:lnTo>
                    <a:lnTo>
                      <a:pt x="99" y="50"/>
                    </a:lnTo>
                    <a:lnTo>
                      <a:pt x="99" y="52"/>
                    </a:lnTo>
                    <a:lnTo>
                      <a:pt x="99" y="53"/>
                    </a:lnTo>
                    <a:close/>
                    <a:moveTo>
                      <a:pt x="1" y="7"/>
                    </a:moveTo>
                    <a:lnTo>
                      <a:pt x="1" y="9"/>
                    </a:lnTo>
                    <a:lnTo>
                      <a:pt x="0" y="9"/>
                    </a:lnTo>
                    <a:lnTo>
                      <a:pt x="0" y="7"/>
                    </a:lnTo>
                    <a:lnTo>
                      <a:pt x="1" y="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70" name="Freeform 265">
                <a:extLst>
                  <a:ext uri="{FF2B5EF4-FFF2-40B4-BE49-F238E27FC236}">
                    <a16:creationId xmlns:a16="http://schemas.microsoft.com/office/drawing/2014/main" id="{072E187E-EAA4-9E78-60C5-F9C79CD27D0E}"/>
                  </a:ext>
                </a:extLst>
              </p:cNvPr>
              <p:cNvSpPr>
                <a:spLocks noEditPoints="1"/>
              </p:cNvSpPr>
              <p:nvPr/>
            </p:nvSpPr>
            <p:spPr bwMode="auto">
              <a:xfrm>
                <a:off x="10394443" y="4327876"/>
                <a:ext cx="33258" cy="21690"/>
              </a:xfrm>
              <a:custGeom>
                <a:avLst/>
                <a:gdLst>
                  <a:gd name="T0" fmla="*/ 0 w 23"/>
                  <a:gd name="T1" fmla="*/ 0 h 15"/>
                  <a:gd name="T2" fmla="*/ 0 w 23"/>
                  <a:gd name="T3" fmla="*/ 0 h 15"/>
                  <a:gd name="T4" fmla="*/ 0 w 23"/>
                  <a:gd name="T5" fmla="*/ 0 h 15"/>
                  <a:gd name="T6" fmla="*/ 0 w 23"/>
                  <a:gd name="T7" fmla="*/ 0 h 15"/>
                  <a:gd name="T8" fmla="*/ 23 w 23"/>
                  <a:gd name="T9" fmla="*/ 15 h 15"/>
                  <a:gd name="T10" fmla="*/ 23 w 23"/>
                  <a:gd name="T11" fmla="*/ 15 h 15"/>
                  <a:gd name="T12" fmla="*/ 23 w 23"/>
                  <a:gd name="T13" fmla="*/ 15 h 15"/>
                  <a:gd name="T14" fmla="*/ 23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0" y="0"/>
                    </a:moveTo>
                    <a:lnTo>
                      <a:pt x="0" y="0"/>
                    </a:lnTo>
                    <a:lnTo>
                      <a:pt x="0" y="0"/>
                    </a:lnTo>
                    <a:lnTo>
                      <a:pt x="0" y="0"/>
                    </a:lnTo>
                    <a:close/>
                    <a:moveTo>
                      <a:pt x="23" y="15"/>
                    </a:moveTo>
                    <a:lnTo>
                      <a:pt x="23" y="15"/>
                    </a:lnTo>
                    <a:lnTo>
                      <a:pt x="23" y="15"/>
                    </a:lnTo>
                    <a:lnTo>
                      <a:pt x="23" y="1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71" name="Freeform 266">
                <a:extLst>
                  <a:ext uri="{FF2B5EF4-FFF2-40B4-BE49-F238E27FC236}">
                    <a16:creationId xmlns:a16="http://schemas.microsoft.com/office/drawing/2014/main" id="{E6B383E4-2A01-9EB7-E8C8-1E3F87F2A280}"/>
                  </a:ext>
                </a:extLst>
              </p:cNvPr>
              <p:cNvSpPr>
                <a:spLocks/>
              </p:cNvSpPr>
              <p:nvPr/>
            </p:nvSpPr>
            <p:spPr bwMode="auto">
              <a:xfrm>
                <a:off x="10437822" y="4476810"/>
                <a:ext cx="7230" cy="2892"/>
              </a:xfrm>
              <a:custGeom>
                <a:avLst/>
                <a:gdLst>
                  <a:gd name="T0" fmla="*/ 3 w 5"/>
                  <a:gd name="T1" fmla="*/ 0 h 2"/>
                  <a:gd name="T2" fmla="*/ 5 w 5"/>
                  <a:gd name="T3" fmla="*/ 1 h 2"/>
                  <a:gd name="T4" fmla="*/ 2 w 5"/>
                  <a:gd name="T5" fmla="*/ 1 h 2"/>
                  <a:gd name="T6" fmla="*/ 0 w 5"/>
                  <a:gd name="T7" fmla="*/ 2 h 2"/>
                  <a:gd name="T8" fmla="*/ 0 w 5"/>
                  <a:gd name="T9" fmla="*/ 1 h 2"/>
                  <a:gd name="T10" fmla="*/ 0 w 5"/>
                  <a:gd name="T11" fmla="*/ 1 h 2"/>
                  <a:gd name="T12" fmla="*/ 2 w 5"/>
                  <a:gd name="T13" fmla="*/ 1 h 2"/>
                  <a:gd name="T14" fmla="*/ 3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3" y="0"/>
                    </a:moveTo>
                    <a:lnTo>
                      <a:pt x="5" y="1"/>
                    </a:lnTo>
                    <a:lnTo>
                      <a:pt x="2" y="1"/>
                    </a:lnTo>
                    <a:lnTo>
                      <a:pt x="0" y="2"/>
                    </a:lnTo>
                    <a:lnTo>
                      <a:pt x="0" y="1"/>
                    </a:lnTo>
                    <a:lnTo>
                      <a:pt x="0" y="1"/>
                    </a:lnTo>
                    <a:lnTo>
                      <a:pt x="2" y="1"/>
                    </a:lnTo>
                    <a:lnTo>
                      <a:pt x="3"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72" name="Freeform 267">
                <a:extLst>
                  <a:ext uri="{FF2B5EF4-FFF2-40B4-BE49-F238E27FC236}">
                    <a16:creationId xmlns:a16="http://schemas.microsoft.com/office/drawing/2014/main" id="{52B3AEBD-5C70-4966-07C3-7C6B3B809E29}"/>
                  </a:ext>
                </a:extLst>
              </p:cNvPr>
              <p:cNvSpPr>
                <a:spLocks noEditPoints="1"/>
              </p:cNvSpPr>
              <p:nvPr/>
            </p:nvSpPr>
            <p:spPr bwMode="auto">
              <a:xfrm>
                <a:off x="10388659" y="4458012"/>
                <a:ext cx="33258" cy="14460"/>
              </a:xfrm>
              <a:custGeom>
                <a:avLst/>
                <a:gdLst>
                  <a:gd name="T0" fmla="*/ 19 w 23"/>
                  <a:gd name="T1" fmla="*/ 5 h 10"/>
                  <a:gd name="T2" fmla="*/ 14 w 23"/>
                  <a:gd name="T3" fmla="*/ 5 h 10"/>
                  <a:gd name="T4" fmla="*/ 13 w 23"/>
                  <a:gd name="T5" fmla="*/ 5 h 10"/>
                  <a:gd name="T6" fmla="*/ 14 w 23"/>
                  <a:gd name="T7" fmla="*/ 8 h 10"/>
                  <a:gd name="T8" fmla="*/ 19 w 23"/>
                  <a:gd name="T9" fmla="*/ 10 h 10"/>
                  <a:gd name="T10" fmla="*/ 22 w 23"/>
                  <a:gd name="T11" fmla="*/ 10 h 10"/>
                  <a:gd name="T12" fmla="*/ 23 w 23"/>
                  <a:gd name="T13" fmla="*/ 8 h 10"/>
                  <a:gd name="T14" fmla="*/ 22 w 23"/>
                  <a:gd name="T15" fmla="*/ 7 h 10"/>
                  <a:gd name="T16" fmla="*/ 19 w 23"/>
                  <a:gd name="T17" fmla="*/ 5 h 10"/>
                  <a:gd name="T18" fmla="*/ 0 w 23"/>
                  <a:gd name="T19" fmla="*/ 0 h 10"/>
                  <a:gd name="T20" fmla="*/ 1 w 23"/>
                  <a:gd name="T21" fmla="*/ 2 h 10"/>
                  <a:gd name="T22" fmla="*/ 3 w 23"/>
                  <a:gd name="T23" fmla="*/ 4 h 10"/>
                  <a:gd name="T24" fmla="*/ 4 w 23"/>
                  <a:gd name="T25" fmla="*/ 5 h 10"/>
                  <a:gd name="T26" fmla="*/ 6 w 23"/>
                  <a:gd name="T27" fmla="*/ 5 h 10"/>
                  <a:gd name="T28" fmla="*/ 7 w 23"/>
                  <a:gd name="T29" fmla="*/ 5 h 10"/>
                  <a:gd name="T30" fmla="*/ 9 w 23"/>
                  <a:gd name="T31" fmla="*/ 4 h 10"/>
                  <a:gd name="T32" fmla="*/ 10 w 23"/>
                  <a:gd name="T33" fmla="*/ 4 h 10"/>
                  <a:gd name="T34" fmla="*/ 10 w 23"/>
                  <a:gd name="T35" fmla="*/ 1 h 10"/>
                  <a:gd name="T36" fmla="*/ 7 w 23"/>
                  <a:gd name="T37" fmla="*/ 0 h 10"/>
                  <a:gd name="T38" fmla="*/ 0 w 23"/>
                  <a:gd name="T3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10">
                    <a:moveTo>
                      <a:pt x="19" y="5"/>
                    </a:moveTo>
                    <a:lnTo>
                      <a:pt x="14" y="5"/>
                    </a:lnTo>
                    <a:lnTo>
                      <a:pt x="13" y="5"/>
                    </a:lnTo>
                    <a:lnTo>
                      <a:pt x="14" y="8"/>
                    </a:lnTo>
                    <a:lnTo>
                      <a:pt x="19" y="10"/>
                    </a:lnTo>
                    <a:lnTo>
                      <a:pt x="22" y="10"/>
                    </a:lnTo>
                    <a:lnTo>
                      <a:pt x="23" y="8"/>
                    </a:lnTo>
                    <a:lnTo>
                      <a:pt x="22" y="7"/>
                    </a:lnTo>
                    <a:lnTo>
                      <a:pt x="19" y="5"/>
                    </a:lnTo>
                    <a:close/>
                    <a:moveTo>
                      <a:pt x="0" y="0"/>
                    </a:moveTo>
                    <a:lnTo>
                      <a:pt x="1" y="2"/>
                    </a:lnTo>
                    <a:lnTo>
                      <a:pt x="3" y="4"/>
                    </a:lnTo>
                    <a:lnTo>
                      <a:pt x="4" y="5"/>
                    </a:lnTo>
                    <a:lnTo>
                      <a:pt x="6" y="5"/>
                    </a:lnTo>
                    <a:lnTo>
                      <a:pt x="7" y="5"/>
                    </a:lnTo>
                    <a:lnTo>
                      <a:pt x="9" y="4"/>
                    </a:lnTo>
                    <a:lnTo>
                      <a:pt x="10" y="4"/>
                    </a:lnTo>
                    <a:lnTo>
                      <a:pt x="10" y="1"/>
                    </a:lnTo>
                    <a:lnTo>
                      <a:pt x="7" y="0"/>
                    </a:lnTo>
                    <a:lnTo>
                      <a:pt x="0"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74" name="Freeform 268">
                <a:extLst>
                  <a:ext uri="{FF2B5EF4-FFF2-40B4-BE49-F238E27FC236}">
                    <a16:creationId xmlns:a16="http://schemas.microsoft.com/office/drawing/2014/main" id="{EAC5B305-2B85-24BD-E516-058BB113A557}"/>
                  </a:ext>
                </a:extLst>
              </p:cNvPr>
              <p:cNvSpPr>
                <a:spLocks noEditPoints="1"/>
              </p:cNvSpPr>
              <p:nvPr/>
            </p:nvSpPr>
            <p:spPr bwMode="auto">
              <a:xfrm>
                <a:off x="10322145" y="4592487"/>
                <a:ext cx="34703" cy="76636"/>
              </a:xfrm>
              <a:custGeom>
                <a:avLst/>
                <a:gdLst>
                  <a:gd name="T0" fmla="*/ 4 w 24"/>
                  <a:gd name="T1" fmla="*/ 47 h 53"/>
                  <a:gd name="T2" fmla="*/ 6 w 24"/>
                  <a:gd name="T3" fmla="*/ 47 h 53"/>
                  <a:gd name="T4" fmla="*/ 4 w 24"/>
                  <a:gd name="T5" fmla="*/ 47 h 53"/>
                  <a:gd name="T6" fmla="*/ 4 w 24"/>
                  <a:gd name="T7" fmla="*/ 49 h 53"/>
                  <a:gd name="T8" fmla="*/ 4 w 24"/>
                  <a:gd name="T9" fmla="*/ 49 h 53"/>
                  <a:gd name="T10" fmla="*/ 4 w 24"/>
                  <a:gd name="T11" fmla="*/ 50 h 53"/>
                  <a:gd name="T12" fmla="*/ 1 w 24"/>
                  <a:gd name="T13" fmla="*/ 49 h 53"/>
                  <a:gd name="T14" fmla="*/ 1 w 24"/>
                  <a:gd name="T15" fmla="*/ 47 h 53"/>
                  <a:gd name="T16" fmla="*/ 0 w 24"/>
                  <a:gd name="T17" fmla="*/ 47 h 53"/>
                  <a:gd name="T18" fmla="*/ 1 w 24"/>
                  <a:gd name="T19" fmla="*/ 46 h 53"/>
                  <a:gd name="T20" fmla="*/ 1 w 24"/>
                  <a:gd name="T21" fmla="*/ 46 h 53"/>
                  <a:gd name="T22" fmla="*/ 1 w 24"/>
                  <a:gd name="T23" fmla="*/ 47 h 53"/>
                  <a:gd name="T24" fmla="*/ 4 w 24"/>
                  <a:gd name="T25" fmla="*/ 47 h 53"/>
                  <a:gd name="T26" fmla="*/ 3 w 24"/>
                  <a:gd name="T27" fmla="*/ 47 h 53"/>
                  <a:gd name="T28" fmla="*/ 4 w 24"/>
                  <a:gd name="T29" fmla="*/ 47 h 53"/>
                  <a:gd name="T30" fmla="*/ 4 w 24"/>
                  <a:gd name="T31" fmla="*/ 47 h 53"/>
                  <a:gd name="T32" fmla="*/ 4 w 24"/>
                  <a:gd name="T33" fmla="*/ 47 h 53"/>
                  <a:gd name="T34" fmla="*/ 7 w 24"/>
                  <a:gd name="T35" fmla="*/ 50 h 53"/>
                  <a:gd name="T36" fmla="*/ 7 w 24"/>
                  <a:gd name="T37" fmla="*/ 52 h 53"/>
                  <a:gd name="T38" fmla="*/ 7 w 24"/>
                  <a:gd name="T39" fmla="*/ 52 h 53"/>
                  <a:gd name="T40" fmla="*/ 7 w 24"/>
                  <a:gd name="T41" fmla="*/ 53 h 53"/>
                  <a:gd name="T42" fmla="*/ 9 w 24"/>
                  <a:gd name="T43" fmla="*/ 53 h 53"/>
                  <a:gd name="T44" fmla="*/ 9 w 24"/>
                  <a:gd name="T45" fmla="*/ 53 h 53"/>
                  <a:gd name="T46" fmla="*/ 9 w 24"/>
                  <a:gd name="T47" fmla="*/ 52 h 53"/>
                  <a:gd name="T48" fmla="*/ 9 w 24"/>
                  <a:gd name="T49" fmla="*/ 50 h 53"/>
                  <a:gd name="T50" fmla="*/ 7 w 24"/>
                  <a:gd name="T51" fmla="*/ 50 h 53"/>
                  <a:gd name="T52" fmla="*/ 23 w 24"/>
                  <a:gd name="T53" fmla="*/ 0 h 53"/>
                  <a:gd name="T54" fmla="*/ 24 w 24"/>
                  <a:gd name="T55" fmla="*/ 1 h 53"/>
                  <a:gd name="T56" fmla="*/ 24 w 24"/>
                  <a:gd name="T57" fmla="*/ 0 h 53"/>
                  <a:gd name="T58" fmla="*/ 24 w 24"/>
                  <a:gd name="T59" fmla="*/ 0 h 53"/>
                  <a:gd name="T60" fmla="*/ 23 w 24"/>
                  <a:gd name="T61"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 h="53">
                    <a:moveTo>
                      <a:pt x="4" y="47"/>
                    </a:moveTo>
                    <a:lnTo>
                      <a:pt x="6" y="47"/>
                    </a:lnTo>
                    <a:lnTo>
                      <a:pt x="4" y="47"/>
                    </a:lnTo>
                    <a:lnTo>
                      <a:pt x="4" y="49"/>
                    </a:lnTo>
                    <a:lnTo>
                      <a:pt x="4" y="49"/>
                    </a:lnTo>
                    <a:lnTo>
                      <a:pt x="4" y="50"/>
                    </a:lnTo>
                    <a:lnTo>
                      <a:pt x="1" y="49"/>
                    </a:lnTo>
                    <a:lnTo>
                      <a:pt x="1" y="47"/>
                    </a:lnTo>
                    <a:lnTo>
                      <a:pt x="0" y="47"/>
                    </a:lnTo>
                    <a:lnTo>
                      <a:pt x="1" y="46"/>
                    </a:lnTo>
                    <a:lnTo>
                      <a:pt x="1" y="46"/>
                    </a:lnTo>
                    <a:lnTo>
                      <a:pt x="1" y="47"/>
                    </a:lnTo>
                    <a:lnTo>
                      <a:pt x="4" y="47"/>
                    </a:lnTo>
                    <a:lnTo>
                      <a:pt x="3" y="47"/>
                    </a:lnTo>
                    <a:lnTo>
                      <a:pt x="4" y="47"/>
                    </a:lnTo>
                    <a:lnTo>
                      <a:pt x="4" y="47"/>
                    </a:lnTo>
                    <a:lnTo>
                      <a:pt x="4" y="47"/>
                    </a:lnTo>
                    <a:close/>
                    <a:moveTo>
                      <a:pt x="7" y="50"/>
                    </a:moveTo>
                    <a:lnTo>
                      <a:pt x="7" y="52"/>
                    </a:lnTo>
                    <a:lnTo>
                      <a:pt x="7" y="52"/>
                    </a:lnTo>
                    <a:lnTo>
                      <a:pt x="7" y="53"/>
                    </a:lnTo>
                    <a:lnTo>
                      <a:pt x="9" y="53"/>
                    </a:lnTo>
                    <a:lnTo>
                      <a:pt x="9" y="53"/>
                    </a:lnTo>
                    <a:lnTo>
                      <a:pt x="9" y="52"/>
                    </a:lnTo>
                    <a:lnTo>
                      <a:pt x="9" y="50"/>
                    </a:lnTo>
                    <a:lnTo>
                      <a:pt x="7" y="50"/>
                    </a:lnTo>
                    <a:close/>
                    <a:moveTo>
                      <a:pt x="23" y="0"/>
                    </a:moveTo>
                    <a:lnTo>
                      <a:pt x="24" y="1"/>
                    </a:lnTo>
                    <a:lnTo>
                      <a:pt x="24" y="0"/>
                    </a:lnTo>
                    <a:lnTo>
                      <a:pt x="24" y="0"/>
                    </a:lnTo>
                    <a:lnTo>
                      <a:pt x="23"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75" name="Freeform 269">
                <a:extLst>
                  <a:ext uri="{FF2B5EF4-FFF2-40B4-BE49-F238E27FC236}">
                    <a16:creationId xmlns:a16="http://schemas.microsoft.com/office/drawing/2014/main" id="{9D43AF65-CA63-20C3-E263-6B8BFFBF86E9}"/>
                  </a:ext>
                </a:extLst>
              </p:cNvPr>
              <p:cNvSpPr>
                <a:spLocks noEditPoints="1"/>
              </p:cNvSpPr>
              <p:nvPr/>
            </p:nvSpPr>
            <p:spPr bwMode="auto">
              <a:xfrm>
                <a:off x="9208755" y="4145685"/>
                <a:ext cx="384626" cy="261719"/>
              </a:xfrm>
              <a:custGeom>
                <a:avLst/>
                <a:gdLst>
                  <a:gd name="T0" fmla="*/ 89 w 266"/>
                  <a:gd name="T1" fmla="*/ 59 h 181"/>
                  <a:gd name="T2" fmla="*/ 48 w 266"/>
                  <a:gd name="T3" fmla="*/ 128 h 181"/>
                  <a:gd name="T4" fmla="*/ 49 w 266"/>
                  <a:gd name="T5" fmla="*/ 125 h 181"/>
                  <a:gd name="T6" fmla="*/ 173 w 266"/>
                  <a:gd name="T7" fmla="*/ 157 h 181"/>
                  <a:gd name="T8" fmla="*/ 160 w 266"/>
                  <a:gd name="T9" fmla="*/ 148 h 181"/>
                  <a:gd name="T10" fmla="*/ 144 w 266"/>
                  <a:gd name="T11" fmla="*/ 135 h 181"/>
                  <a:gd name="T12" fmla="*/ 131 w 266"/>
                  <a:gd name="T13" fmla="*/ 126 h 181"/>
                  <a:gd name="T14" fmla="*/ 109 w 266"/>
                  <a:gd name="T15" fmla="*/ 103 h 181"/>
                  <a:gd name="T16" fmla="*/ 122 w 266"/>
                  <a:gd name="T17" fmla="*/ 86 h 181"/>
                  <a:gd name="T18" fmla="*/ 86 w 266"/>
                  <a:gd name="T19" fmla="*/ 70 h 181"/>
                  <a:gd name="T20" fmla="*/ 65 w 266"/>
                  <a:gd name="T21" fmla="*/ 43 h 181"/>
                  <a:gd name="T22" fmla="*/ 19 w 266"/>
                  <a:gd name="T23" fmla="*/ 27 h 181"/>
                  <a:gd name="T24" fmla="*/ 3 w 266"/>
                  <a:gd name="T25" fmla="*/ 137 h 181"/>
                  <a:gd name="T26" fmla="*/ 43 w 266"/>
                  <a:gd name="T27" fmla="*/ 135 h 181"/>
                  <a:gd name="T28" fmla="*/ 28 w 266"/>
                  <a:gd name="T29" fmla="*/ 122 h 181"/>
                  <a:gd name="T30" fmla="*/ 28 w 266"/>
                  <a:gd name="T31" fmla="*/ 122 h 181"/>
                  <a:gd name="T32" fmla="*/ 52 w 266"/>
                  <a:gd name="T33" fmla="*/ 118 h 181"/>
                  <a:gd name="T34" fmla="*/ 53 w 266"/>
                  <a:gd name="T35" fmla="*/ 111 h 181"/>
                  <a:gd name="T36" fmla="*/ 68 w 266"/>
                  <a:gd name="T37" fmla="*/ 111 h 181"/>
                  <a:gd name="T38" fmla="*/ 94 w 266"/>
                  <a:gd name="T39" fmla="*/ 121 h 181"/>
                  <a:gd name="T40" fmla="*/ 118 w 266"/>
                  <a:gd name="T41" fmla="*/ 151 h 181"/>
                  <a:gd name="T42" fmla="*/ 168 w 266"/>
                  <a:gd name="T43" fmla="*/ 164 h 181"/>
                  <a:gd name="T44" fmla="*/ 124 w 266"/>
                  <a:gd name="T45" fmla="*/ 16 h 181"/>
                  <a:gd name="T46" fmla="*/ 109 w 266"/>
                  <a:gd name="T47" fmla="*/ 68 h 181"/>
                  <a:gd name="T48" fmla="*/ 127 w 266"/>
                  <a:gd name="T49" fmla="*/ 75 h 181"/>
                  <a:gd name="T50" fmla="*/ 164 w 266"/>
                  <a:gd name="T51" fmla="*/ 139 h 181"/>
                  <a:gd name="T52" fmla="*/ 170 w 266"/>
                  <a:gd name="T53" fmla="*/ 142 h 181"/>
                  <a:gd name="T54" fmla="*/ 175 w 266"/>
                  <a:gd name="T55" fmla="*/ 147 h 181"/>
                  <a:gd name="T56" fmla="*/ 181 w 266"/>
                  <a:gd name="T57" fmla="*/ 129 h 181"/>
                  <a:gd name="T58" fmla="*/ 175 w 266"/>
                  <a:gd name="T59" fmla="*/ 162 h 181"/>
                  <a:gd name="T60" fmla="*/ 260 w 266"/>
                  <a:gd name="T61" fmla="*/ 96 h 181"/>
                  <a:gd name="T62" fmla="*/ 246 w 266"/>
                  <a:gd name="T63" fmla="*/ 80 h 181"/>
                  <a:gd name="T64" fmla="*/ 252 w 266"/>
                  <a:gd name="T65" fmla="*/ 75 h 181"/>
                  <a:gd name="T66" fmla="*/ 242 w 266"/>
                  <a:gd name="T67" fmla="*/ 70 h 181"/>
                  <a:gd name="T68" fmla="*/ 233 w 266"/>
                  <a:gd name="T69" fmla="*/ 178 h 181"/>
                  <a:gd name="T70" fmla="*/ 224 w 266"/>
                  <a:gd name="T71" fmla="*/ 47 h 181"/>
                  <a:gd name="T72" fmla="*/ 224 w 266"/>
                  <a:gd name="T73" fmla="*/ 181 h 181"/>
                  <a:gd name="T74" fmla="*/ 223 w 266"/>
                  <a:gd name="T75" fmla="*/ 178 h 181"/>
                  <a:gd name="T76" fmla="*/ 102 w 266"/>
                  <a:gd name="T77" fmla="*/ 14 h 181"/>
                  <a:gd name="T78" fmla="*/ 200 w 266"/>
                  <a:gd name="T79" fmla="*/ 34 h 181"/>
                  <a:gd name="T80" fmla="*/ 207 w 266"/>
                  <a:gd name="T81" fmla="*/ 49 h 181"/>
                  <a:gd name="T82" fmla="*/ 180 w 266"/>
                  <a:gd name="T83" fmla="*/ 26 h 181"/>
                  <a:gd name="T84" fmla="*/ 160 w 266"/>
                  <a:gd name="T85" fmla="*/ 70 h 181"/>
                  <a:gd name="T86" fmla="*/ 163 w 266"/>
                  <a:gd name="T87" fmla="*/ 69 h 181"/>
                  <a:gd name="T88" fmla="*/ 171 w 266"/>
                  <a:gd name="T89" fmla="*/ 72 h 181"/>
                  <a:gd name="T90" fmla="*/ 183 w 266"/>
                  <a:gd name="T91" fmla="*/ 65 h 181"/>
                  <a:gd name="T92" fmla="*/ 196 w 266"/>
                  <a:gd name="T93" fmla="*/ 50 h 181"/>
                  <a:gd name="T94" fmla="*/ 201 w 266"/>
                  <a:gd name="T95" fmla="*/ 62 h 181"/>
                  <a:gd name="T96" fmla="*/ 191 w 266"/>
                  <a:gd name="T97" fmla="*/ 73 h 181"/>
                  <a:gd name="T98" fmla="*/ 155 w 266"/>
                  <a:gd name="T99" fmla="*/ 86 h 181"/>
                  <a:gd name="T100" fmla="*/ 135 w 266"/>
                  <a:gd name="T101" fmla="*/ 79 h 181"/>
                  <a:gd name="T102" fmla="*/ 135 w 266"/>
                  <a:gd name="T103" fmla="*/ 73 h 181"/>
                  <a:gd name="T104" fmla="*/ 165 w 266"/>
                  <a:gd name="T105" fmla="*/ 19 h 181"/>
                  <a:gd name="T106" fmla="*/ 157 w 266"/>
                  <a:gd name="T107" fmla="*/ 1 h 181"/>
                  <a:gd name="T108" fmla="*/ 175 w 266"/>
                  <a:gd name="T109" fmla="*/ 149 h 181"/>
                  <a:gd name="T110" fmla="*/ 206 w 266"/>
                  <a:gd name="T111" fmla="*/ 30 h 181"/>
                  <a:gd name="T112" fmla="*/ 207 w 266"/>
                  <a:gd name="T113" fmla="*/ 137 h 181"/>
                  <a:gd name="T114" fmla="*/ 198 w 266"/>
                  <a:gd name="T115" fmla="*/ 2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6" h="181">
                    <a:moveTo>
                      <a:pt x="197" y="24"/>
                    </a:moveTo>
                    <a:lnTo>
                      <a:pt x="196" y="24"/>
                    </a:lnTo>
                    <a:lnTo>
                      <a:pt x="196" y="26"/>
                    </a:lnTo>
                    <a:lnTo>
                      <a:pt x="196" y="24"/>
                    </a:lnTo>
                    <a:lnTo>
                      <a:pt x="196" y="24"/>
                    </a:lnTo>
                    <a:lnTo>
                      <a:pt x="197" y="24"/>
                    </a:lnTo>
                    <a:close/>
                    <a:moveTo>
                      <a:pt x="89" y="56"/>
                    </a:moveTo>
                    <a:lnTo>
                      <a:pt x="89" y="57"/>
                    </a:lnTo>
                    <a:lnTo>
                      <a:pt x="89" y="59"/>
                    </a:lnTo>
                    <a:lnTo>
                      <a:pt x="89" y="59"/>
                    </a:lnTo>
                    <a:lnTo>
                      <a:pt x="91" y="59"/>
                    </a:lnTo>
                    <a:lnTo>
                      <a:pt x="91" y="57"/>
                    </a:lnTo>
                    <a:lnTo>
                      <a:pt x="91" y="56"/>
                    </a:lnTo>
                    <a:lnTo>
                      <a:pt x="91" y="56"/>
                    </a:lnTo>
                    <a:lnTo>
                      <a:pt x="89" y="56"/>
                    </a:lnTo>
                    <a:close/>
                    <a:moveTo>
                      <a:pt x="43" y="125"/>
                    </a:moveTo>
                    <a:lnTo>
                      <a:pt x="46" y="126"/>
                    </a:lnTo>
                    <a:lnTo>
                      <a:pt x="48" y="128"/>
                    </a:lnTo>
                    <a:lnTo>
                      <a:pt x="49" y="129"/>
                    </a:lnTo>
                    <a:lnTo>
                      <a:pt x="46" y="128"/>
                    </a:lnTo>
                    <a:lnTo>
                      <a:pt x="46" y="128"/>
                    </a:lnTo>
                    <a:lnTo>
                      <a:pt x="45" y="126"/>
                    </a:lnTo>
                    <a:lnTo>
                      <a:pt x="43" y="125"/>
                    </a:lnTo>
                    <a:lnTo>
                      <a:pt x="42" y="125"/>
                    </a:lnTo>
                    <a:lnTo>
                      <a:pt x="43" y="125"/>
                    </a:lnTo>
                    <a:close/>
                    <a:moveTo>
                      <a:pt x="48" y="125"/>
                    </a:moveTo>
                    <a:lnTo>
                      <a:pt x="49" y="125"/>
                    </a:lnTo>
                    <a:lnTo>
                      <a:pt x="48" y="124"/>
                    </a:lnTo>
                    <a:lnTo>
                      <a:pt x="46" y="124"/>
                    </a:lnTo>
                    <a:lnTo>
                      <a:pt x="43" y="124"/>
                    </a:lnTo>
                    <a:lnTo>
                      <a:pt x="45" y="124"/>
                    </a:lnTo>
                    <a:lnTo>
                      <a:pt x="46" y="125"/>
                    </a:lnTo>
                    <a:lnTo>
                      <a:pt x="48" y="125"/>
                    </a:lnTo>
                    <a:close/>
                    <a:moveTo>
                      <a:pt x="174" y="158"/>
                    </a:moveTo>
                    <a:lnTo>
                      <a:pt x="175" y="157"/>
                    </a:lnTo>
                    <a:lnTo>
                      <a:pt x="173" y="157"/>
                    </a:lnTo>
                    <a:lnTo>
                      <a:pt x="168" y="157"/>
                    </a:lnTo>
                    <a:lnTo>
                      <a:pt x="165" y="155"/>
                    </a:lnTo>
                    <a:lnTo>
                      <a:pt x="160" y="152"/>
                    </a:lnTo>
                    <a:lnTo>
                      <a:pt x="158" y="152"/>
                    </a:lnTo>
                    <a:lnTo>
                      <a:pt x="157" y="151"/>
                    </a:lnTo>
                    <a:lnTo>
                      <a:pt x="157" y="149"/>
                    </a:lnTo>
                    <a:lnTo>
                      <a:pt x="158" y="149"/>
                    </a:lnTo>
                    <a:lnTo>
                      <a:pt x="160" y="149"/>
                    </a:lnTo>
                    <a:lnTo>
                      <a:pt x="160" y="148"/>
                    </a:lnTo>
                    <a:lnTo>
                      <a:pt x="160" y="147"/>
                    </a:lnTo>
                    <a:lnTo>
                      <a:pt x="157" y="145"/>
                    </a:lnTo>
                    <a:lnTo>
                      <a:pt x="154" y="145"/>
                    </a:lnTo>
                    <a:lnTo>
                      <a:pt x="151" y="145"/>
                    </a:lnTo>
                    <a:lnTo>
                      <a:pt x="148" y="142"/>
                    </a:lnTo>
                    <a:lnTo>
                      <a:pt x="148" y="139"/>
                    </a:lnTo>
                    <a:lnTo>
                      <a:pt x="148" y="137"/>
                    </a:lnTo>
                    <a:lnTo>
                      <a:pt x="145" y="135"/>
                    </a:lnTo>
                    <a:lnTo>
                      <a:pt x="144" y="135"/>
                    </a:lnTo>
                    <a:lnTo>
                      <a:pt x="140" y="137"/>
                    </a:lnTo>
                    <a:lnTo>
                      <a:pt x="138" y="137"/>
                    </a:lnTo>
                    <a:lnTo>
                      <a:pt x="137" y="135"/>
                    </a:lnTo>
                    <a:lnTo>
                      <a:pt x="135" y="134"/>
                    </a:lnTo>
                    <a:lnTo>
                      <a:pt x="135" y="132"/>
                    </a:lnTo>
                    <a:lnTo>
                      <a:pt x="134" y="131"/>
                    </a:lnTo>
                    <a:lnTo>
                      <a:pt x="134" y="129"/>
                    </a:lnTo>
                    <a:lnTo>
                      <a:pt x="131" y="128"/>
                    </a:lnTo>
                    <a:lnTo>
                      <a:pt x="131" y="126"/>
                    </a:lnTo>
                    <a:lnTo>
                      <a:pt x="130" y="125"/>
                    </a:lnTo>
                    <a:lnTo>
                      <a:pt x="130" y="122"/>
                    </a:lnTo>
                    <a:lnTo>
                      <a:pt x="130" y="121"/>
                    </a:lnTo>
                    <a:lnTo>
                      <a:pt x="127" y="118"/>
                    </a:lnTo>
                    <a:lnTo>
                      <a:pt x="124" y="115"/>
                    </a:lnTo>
                    <a:lnTo>
                      <a:pt x="121" y="114"/>
                    </a:lnTo>
                    <a:lnTo>
                      <a:pt x="118" y="111"/>
                    </a:lnTo>
                    <a:lnTo>
                      <a:pt x="112" y="106"/>
                    </a:lnTo>
                    <a:lnTo>
                      <a:pt x="109" y="103"/>
                    </a:lnTo>
                    <a:lnTo>
                      <a:pt x="108" y="99"/>
                    </a:lnTo>
                    <a:lnTo>
                      <a:pt x="108" y="96"/>
                    </a:lnTo>
                    <a:lnTo>
                      <a:pt x="109" y="95"/>
                    </a:lnTo>
                    <a:lnTo>
                      <a:pt x="112" y="95"/>
                    </a:lnTo>
                    <a:lnTo>
                      <a:pt x="117" y="95"/>
                    </a:lnTo>
                    <a:lnTo>
                      <a:pt x="119" y="93"/>
                    </a:lnTo>
                    <a:lnTo>
                      <a:pt x="122" y="93"/>
                    </a:lnTo>
                    <a:lnTo>
                      <a:pt x="124" y="91"/>
                    </a:lnTo>
                    <a:lnTo>
                      <a:pt x="122" y="86"/>
                    </a:lnTo>
                    <a:lnTo>
                      <a:pt x="121" y="85"/>
                    </a:lnTo>
                    <a:lnTo>
                      <a:pt x="119" y="83"/>
                    </a:lnTo>
                    <a:lnTo>
                      <a:pt x="117" y="82"/>
                    </a:lnTo>
                    <a:lnTo>
                      <a:pt x="114" y="80"/>
                    </a:lnTo>
                    <a:lnTo>
                      <a:pt x="107" y="79"/>
                    </a:lnTo>
                    <a:lnTo>
                      <a:pt x="99" y="75"/>
                    </a:lnTo>
                    <a:lnTo>
                      <a:pt x="89" y="73"/>
                    </a:lnTo>
                    <a:lnTo>
                      <a:pt x="86" y="70"/>
                    </a:lnTo>
                    <a:lnTo>
                      <a:pt x="86" y="70"/>
                    </a:lnTo>
                    <a:lnTo>
                      <a:pt x="86" y="65"/>
                    </a:lnTo>
                    <a:lnTo>
                      <a:pt x="86" y="62"/>
                    </a:lnTo>
                    <a:lnTo>
                      <a:pt x="86" y="60"/>
                    </a:lnTo>
                    <a:lnTo>
                      <a:pt x="85" y="59"/>
                    </a:lnTo>
                    <a:lnTo>
                      <a:pt x="84" y="57"/>
                    </a:lnTo>
                    <a:lnTo>
                      <a:pt x="81" y="55"/>
                    </a:lnTo>
                    <a:lnTo>
                      <a:pt x="75" y="52"/>
                    </a:lnTo>
                    <a:lnTo>
                      <a:pt x="68" y="46"/>
                    </a:lnTo>
                    <a:lnTo>
                      <a:pt x="65" y="43"/>
                    </a:lnTo>
                    <a:lnTo>
                      <a:pt x="62" y="43"/>
                    </a:lnTo>
                    <a:lnTo>
                      <a:pt x="61" y="43"/>
                    </a:lnTo>
                    <a:lnTo>
                      <a:pt x="58" y="43"/>
                    </a:lnTo>
                    <a:lnTo>
                      <a:pt x="56" y="43"/>
                    </a:lnTo>
                    <a:lnTo>
                      <a:pt x="55" y="42"/>
                    </a:lnTo>
                    <a:lnTo>
                      <a:pt x="49" y="39"/>
                    </a:lnTo>
                    <a:lnTo>
                      <a:pt x="46" y="36"/>
                    </a:lnTo>
                    <a:lnTo>
                      <a:pt x="32" y="33"/>
                    </a:lnTo>
                    <a:lnTo>
                      <a:pt x="19" y="27"/>
                    </a:lnTo>
                    <a:lnTo>
                      <a:pt x="10" y="23"/>
                    </a:lnTo>
                    <a:lnTo>
                      <a:pt x="6" y="22"/>
                    </a:lnTo>
                    <a:lnTo>
                      <a:pt x="2" y="22"/>
                    </a:lnTo>
                    <a:lnTo>
                      <a:pt x="2" y="24"/>
                    </a:lnTo>
                    <a:lnTo>
                      <a:pt x="2" y="88"/>
                    </a:lnTo>
                    <a:lnTo>
                      <a:pt x="0" y="92"/>
                    </a:lnTo>
                    <a:lnTo>
                      <a:pt x="0" y="95"/>
                    </a:lnTo>
                    <a:lnTo>
                      <a:pt x="2" y="98"/>
                    </a:lnTo>
                    <a:lnTo>
                      <a:pt x="3" y="137"/>
                    </a:lnTo>
                    <a:lnTo>
                      <a:pt x="5" y="138"/>
                    </a:lnTo>
                    <a:lnTo>
                      <a:pt x="6" y="138"/>
                    </a:lnTo>
                    <a:lnTo>
                      <a:pt x="10" y="138"/>
                    </a:lnTo>
                    <a:lnTo>
                      <a:pt x="23" y="138"/>
                    </a:lnTo>
                    <a:lnTo>
                      <a:pt x="29" y="139"/>
                    </a:lnTo>
                    <a:lnTo>
                      <a:pt x="32" y="139"/>
                    </a:lnTo>
                    <a:lnTo>
                      <a:pt x="35" y="139"/>
                    </a:lnTo>
                    <a:lnTo>
                      <a:pt x="39" y="137"/>
                    </a:lnTo>
                    <a:lnTo>
                      <a:pt x="43" y="135"/>
                    </a:lnTo>
                    <a:lnTo>
                      <a:pt x="45" y="134"/>
                    </a:lnTo>
                    <a:lnTo>
                      <a:pt x="45" y="131"/>
                    </a:lnTo>
                    <a:lnTo>
                      <a:pt x="45" y="129"/>
                    </a:lnTo>
                    <a:lnTo>
                      <a:pt x="43" y="128"/>
                    </a:lnTo>
                    <a:lnTo>
                      <a:pt x="40" y="126"/>
                    </a:lnTo>
                    <a:lnTo>
                      <a:pt x="39" y="125"/>
                    </a:lnTo>
                    <a:lnTo>
                      <a:pt x="38" y="124"/>
                    </a:lnTo>
                    <a:lnTo>
                      <a:pt x="35" y="124"/>
                    </a:lnTo>
                    <a:lnTo>
                      <a:pt x="28" y="122"/>
                    </a:lnTo>
                    <a:lnTo>
                      <a:pt x="28" y="122"/>
                    </a:lnTo>
                    <a:lnTo>
                      <a:pt x="26" y="122"/>
                    </a:lnTo>
                    <a:lnTo>
                      <a:pt x="26" y="121"/>
                    </a:lnTo>
                    <a:lnTo>
                      <a:pt x="26" y="121"/>
                    </a:lnTo>
                    <a:lnTo>
                      <a:pt x="25" y="121"/>
                    </a:lnTo>
                    <a:lnTo>
                      <a:pt x="26" y="119"/>
                    </a:lnTo>
                    <a:lnTo>
                      <a:pt x="26" y="121"/>
                    </a:lnTo>
                    <a:lnTo>
                      <a:pt x="26" y="121"/>
                    </a:lnTo>
                    <a:lnTo>
                      <a:pt x="28" y="122"/>
                    </a:lnTo>
                    <a:lnTo>
                      <a:pt x="29" y="122"/>
                    </a:lnTo>
                    <a:lnTo>
                      <a:pt x="42" y="122"/>
                    </a:lnTo>
                    <a:lnTo>
                      <a:pt x="45" y="121"/>
                    </a:lnTo>
                    <a:lnTo>
                      <a:pt x="49" y="121"/>
                    </a:lnTo>
                    <a:lnTo>
                      <a:pt x="48" y="118"/>
                    </a:lnTo>
                    <a:lnTo>
                      <a:pt x="48" y="118"/>
                    </a:lnTo>
                    <a:lnTo>
                      <a:pt x="48" y="116"/>
                    </a:lnTo>
                    <a:lnTo>
                      <a:pt x="49" y="116"/>
                    </a:lnTo>
                    <a:lnTo>
                      <a:pt x="52" y="118"/>
                    </a:lnTo>
                    <a:lnTo>
                      <a:pt x="53" y="118"/>
                    </a:lnTo>
                    <a:lnTo>
                      <a:pt x="53" y="116"/>
                    </a:lnTo>
                    <a:lnTo>
                      <a:pt x="53" y="116"/>
                    </a:lnTo>
                    <a:lnTo>
                      <a:pt x="55" y="116"/>
                    </a:lnTo>
                    <a:lnTo>
                      <a:pt x="52" y="111"/>
                    </a:lnTo>
                    <a:lnTo>
                      <a:pt x="51" y="109"/>
                    </a:lnTo>
                    <a:lnTo>
                      <a:pt x="49" y="108"/>
                    </a:lnTo>
                    <a:lnTo>
                      <a:pt x="52" y="109"/>
                    </a:lnTo>
                    <a:lnTo>
                      <a:pt x="53" y="111"/>
                    </a:lnTo>
                    <a:lnTo>
                      <a:pt x="55" y="112"/>
                    </a:lnTo>
                    <a:lnTo>
                      <a:pt x="58" y="112"/>
                    </a:lnTo>
                    <a:lnTo>
                      <a:pt x="59" y="112"/>
                    </a:lnTo>
                    <a:lnTo>
                      <a:pt x="61" y="112"/>
                    </a:lnTo>
                    <a:lnTo>
                      <a:pt x="63" y="111"/>
                    </a:lnTo>
                    <a:lnTo>
                      <a:pt x="65" y="111"/>
                    </a:lnTo>
                    <a:lnTo>
                      <a:pt x="66" y="109"/>
                    </a:lnTo>
                    <a:lnTo>
                      <a:pt x="66" y="109"/>
                    </a:lnTo>
                    <a:lnTo>
                      <a:pt x="68" y="111"/>
                    </a:lnTo>
                    <a:lnTo>
                      <a:pt x="69" y="111"/>
                    </a:lnTo>
                    <a:lnTo>
                      <a:pt x="71" y="111"/>
                    </a:lnTo>
                    <a:lnTo>
                      <a:pt x="72" y="112"/>
                    </a:lnTo>
                    <a:lnTo>
                      <a:pt x="74" y="114"/>
                    </a:lnTo>
                    <a:lnTo>
                      <a:pt x="74" y="114"/>
                    </a:lnTo>
                    <a:lnTo>
                      <a:pt x="75" y="114"/>
                    </a:lnTo>
                    <a:lnTo>
                      <a:pt x="86" y="116"/>
                    </a:lnTo>
                    <a:lnTo>
                      <a:pt x="91" y="118"/>
                    </a:lnTo>
                    <a:lnTo>
                      <a:pt x="94" y="121"/>
                    </a:lnTo>
                    <a:lnTo>
                      <a:pt x="99" y="131"/>
                    </a:lnTo>
                    <a:lnTo>
                      <a:pt x="104" y="135"/>
                    </a:lnTo>
                    <a:lnTo>
                      <a:pt x="108" y="135"/>
                    </a:lnTo>
                    <a:lnTo>
                      <a:pt x="107" y="138"/>
                    </a:lnTo>
                    <a:lnTo>
                      <a:pt x="108" y="141"/>
                    </a:lnTo>
                    <a:lnTo>
                      <a:pt x="109" y="142"/>
                    </a:lnTo>
                    <a:lnTo>
                      <a:pt x="112" y="144"/>
                    </a:lnTo>
                    <a:lnTo>
                      <a:pt x="114" y="145"/>
                    </a:lnTo>
                    <a:lnTo>
                      <a:pt x="118" y="151"/>
                    </a:lnTo>
                    <a:lnTo>
                      <a:pt x="122" y="154"/>
                    </a:lnTo>
                    <a:lnTo>
                      <a:pt x="127" y="155"/>
                    </a:lnTo>
                    <a:lnTo>
                      <a:pt x="153" y="158"/>
                    </a:lnTo>
                    <a:lnTo>
                      <a:pt x="157" y="158"/>
                    </a:lnTo>
                    <a:lnTo>
                      <a:pt x="158" y="160"/>
                    </a:lnTo>
                    <a:lnTo>
                      <a:pt x="161" y="162"/>
                    </a:lnTo>
                    <a:lnTo>
                      <a:pt x="164" y="164"/>
                    </a:lnTo>
                    <a:lnTo>
                      <a:pt x="165" y="164"/>
                    </a:lnTo>
                    <a:lnTo>
                      <a:pt x="168" y="164"/>
                    </a:lnTo>
                    <a:lnTo>
                      <a:pt x="171" y="164"/>
                    </a:lnTo>
                    <a:lnTo>
                      <a:pt x="173" y="162"/>
                    </a:lnTo>
                    <a:lnTo>
                      <a:pt x="170" y="161"/>
                    </a:lnTo>
                    <a:lnTo>
                      <a:pt x="170" y="160"/>
                    </a:lnTo>
                    <a:lnTo>
                      <a:pt x="168" y="158"/>
                    </a:lnTo>
                    <a:lnTo>
                      <a:pt x="170" y="158"/>
                    </a:lnTo>
                    <a:lnTo>
                      <a:pt x="174" y="158"/>
                    </a:lnTo>
                    <a:close/>
                    <a:moveTo>
                      <a:pt x="122" y="16"/>
                    </a:moveTo>
                    <a:lnTo>
                      <a:pt x="124" y="16"/>
                    </a:lnTo>
                    <a:lnTo>
                      <a:pt x="122" y="17"/>
                    </a:lnTo>
                    <a:lnTo>
                      <a:pt x="122" y="17"/>
                    </a:lnTo>
                    <a:lnTo>
                      <a:pt x="121" y="16"/>
                    </a:lnTo>
                    <a:lnTo>
                      <a:pt x="122" y="16"/>
                    </a:lnTo>
                    <a:lnTo>
                      <a:pt x="122" y="16"/>
                    </a:lnTo>
                    <a:close/>
                    <a:moveTo>
                      <a:pt x="109" y="70"/>
                    </a:moveTo>
                    <a:lnTo>
                      <a:pt x="109" y="70"/>
                    </a:lnTo>
                    <a:lnTo>
                      <a:pt x="108" y="69"/>
                    </a:lnTo>
                    <a:lnTo>
                      <a:pt x="109" y="68"/>
                    </a:lnTo>
                    <a:lnTo>
                      <a:pt x="111" y="68"/>
                    </a:lnTo>
                    <a:lnTo>
                      <a:pt x="112" y="69"/>
                    </a:lnTo>
                    <a:lnTo>
                      <a:pt x="112" y="70"/>
                    </a:lnTo>
                    <a:lnTo>
                      <a:pt x="111" y="70"/>
                    </a:lnTo>
                    <a:lnTo>
                      <a:pt x="109" y="70"/>
                    </a:lnTo>
                    <a:close/>
                    <a:moveTo>
                      <a:pt x="122" y="73"/>
                    </a:moveTo>
                    <a:lnTo>
                      <a:pt x="124" y="73"/>
                    </a:lnTo>
                    <a:lnTo>
                      <a:pt x="125" y="73"/>
                    </a:lnTo>
                    <a:lnTo>
                      <a:pt x="127" y="75"/>
                    </a:lnTo>
                    <a:lnTo>
                      <a:pt x="127" y="78"/>
                    </a:lnTo>
                    <a:lnTo>
                      <a:pt x="125" y="78"/>
                    </a:lnTo>
                    <a:lnTo>
                      <a:pt x="124" y="78"/>
                    </a:lnTo>
                    <a:lnTo>
                      <a:pt x="122" y="75"/>
                    </a:lnTo>
                    <a:lnTo>
                      <a:pt x="122" y="73"/>
                    </a:lnTo>
                    <a:close/>
                    <a:moveTo>
                      <a:pt x="165" y="144"/>
                    </a:moveTo>
                    <a:lnTo>
                      <a:pt x="164" y="142"/>
                    </a:lnTo>
                    <a:lnTo>
                      <a:pt x="163" y="141"/>
                    </a:lnTo>
                    <a:lnTo>
                      <a:pt x="164" y="139"/>
                    </a:lnTo>
                    <a:lnTo>
                      <a:pt x="165" y="139"/>
                    </a:lnTo>
                    <a:lnTo>
                      <a:pt x="167" y="139"/>
                    </a:lnTo>
                    <a:lnTo>
                      <a:pt x="168" y="142"/>
                    </a:lnTo>
                    <a:lnTo>
                      <a:pt x="167" y="144"/>
                    </a:lnTo>
                    <a:lnTo>
                      <a:pt x="165" y="144"/>
                    </a:lnTo>
                    <a:close/>
                    <a:moveTo>
                      <a:pt x="168" y="145"/>
                    </a:moveTo>
                    <a:lnTo>
                      <a:pt x="170" y="144"/>
                    </a:lnTo>
                    <a:lnTo>
                      <a:pt x="170" y="142"/>
                    </a:lnTo>
                    <a:lnTo>
                      <a:pt x="170" y="142"/>
                    </a:lnTo>
                    <a:lnTo>
                      <a:pt x="171" y="141"/>
                    </a:lnTo>
                    <a:lnTo>
                      <a:pt x="173" y="141"/>
                    </a:lnTo>
                    <a:lnTo>
                      <a:pt x="175" y="142"/>
                    </a:lnTo>
                    <a:lnTo>
                      <a:pt x="177" y="144"/>
                    </a:lnTo>
                    <a:lnTo>
                      <a:pt x="177" y="147"/>
                    </a:lnTo>
                    <a:lnTo>
                      <a:pt x="177" y="147"/>
                    </a:lnTo>
                    <a:lnTo>
                      <a:pt x="177" y="147"/>
                    </a:lnTo>
                    <a:lnTo>
                      <a:pt x="177" y="147"/>
                    </a:lnTo>
                    <a:lnTo>
                      <a:pt x="175" y="147"/>
                    </a:lnTo>
                    <a:lnTo>
                      <a:pt x="175" y="147"/>
                    </a:lnTo>
                    <a:lnTo>
                      <a:pt x="173" y="147"/>
                    </a:lnTo>
                    <a:lnTo>
                      <a:pt x="168" y="145"/>
                    </a:lnTo>
                    <a:close/>
                    <a:moveTo>
                      <a:pt x="181" y="124"/>
                    </a:moveTo>
                    <a:lnTo>
                      <a:pt x="181" y="125"/>
                    </a:lnTo>
                    <a:lnTo>
                      <a:pt x="181" y="126"/>
                    </a:lnTo>
                    <a:lnTo>
                      <a:pt x="181" y="126"/>
                    </a:lnTo>
                    <a:lnTo>
                      <a:pt x="181" y="128"/>
                    </a:lnTo>
                    <a:lnTo>
                      <a:pt x="181" y="129"/>
                    </a:lnTo>
                    <a:lnTo>
                      <a:pt x="181" y="131"/>
                    </a:lnTo>
                    <a:lnTo>
                      <a:pt x="181" y="131"/>
                    </a:lnTo>
                    <a:lnTo>
                      <a:pt x="180" y="129"/>
                    </a:lnTo>
                    <a:lnTo>
                      <a:pt x="180" y="128"/>
                    </a:lnTo>
                    <a:lnTo>
                      <a:pt x="180" y="125"/>
                    </a:lnTo>
                    <a:lnTo>
                      <a:pt x="181" y="124"/>
                    </a:lnTo>
                    <a:close/>
                    <a:moveTo>
                      <a:pt x="175" y="164"/>
                    </a:moveTo>
                    <a:lnTo>
                      <a:pt x="175" y="164"/>
                    </a:lnTo>
                    <a:lnTo>
                      <a:pt x="175" y="162"/>
                    </a:lnTo>
                    <a:lnTo>
                      <a:pt x="177" y="162"/>
                    </a:lnTo>
                    <a:lnTo>
                      <a:pt x="177" y="162"/>
                    </a:lnTo>
                    <a:lnTo>
                      <a:pt x="177" y="164"/>
                    </a:lnTo>
                    <a:lnTo>
                      <a:pt x="175" y="164"/>
                    </a:lnTo>
                    <a:close/>
                    <a:moveTo>
                      <a:pt x="265" y="91"/>
                    </a:moveTo>
                    <a:lnTo>
                      <a:pt x="266" y="93"/>
                    </a:lnTo>
                    <a:lnTo>
                      <a:pt x="265" y="95"/>
                    </a:lnTo>
                    <a:lnTo>
                      <a:pt x="265" y="95"/>
                    </a:lnTo>
                    <a:lnTo>
                      <a:pt x="260" y="96"/>
                    </a:lnTo>
                    <a:lnTo>
                      <a:pt x="259" y="96"/>
                    </a:lnTo>
                    <a:lnTo>
                      <a:pt x="257" y="95"/>
                    </a:lnTo>
                    <a:lnTo>
                      <a:pt x="254" y="93"/>
                    </a:lnTo>
                    <a:lnTo>
                      <a:pt x="254" y="92"/>
                    </a:lnTo>
                    <a:lnTo>
                      <a:pt x="253" y="91"/>
                    </a:lnTo>
                    <a:lnTo>
                      <a:pt x="253" y="89"/>
                    </a:lnTo>
                    <a:lnTo>
                      <a:pt x="252" y="88"/>
                    </a:lnTo>
                    <a:lnTo>
                      <a:pt x="252" y="88"/>
                    </a:lnTo>
                    <a:lnTo>
                      <a:pt x="246" y="80"/>
                    </a:lnTo>
                    <a:lnTo>
                      <a:pt x="244" y="79"/>
                    </a:lnTo>
                    <a:lnTo>
                      <a:pt x="244" y="78"/>
                    </a:lnTo>
                    <a:lnTo>
                      <a:pt x="244" y="75"/>
                    </a:lnTo>
                    <a:lnTo>
                      <a:pt x="244" y="73"/>
                    </a:lnTo>
                    <a:lnTo>
                      <a:pt x="244" y="72"/>
                    </a:lnTo>
                    <a:lnTo>
                      <a:pt x="246" y="72"/>
                    </a:lnTo>
                    <a:lnTo>
                      <a:pt x="247" y="73"/>
                    </a:lnTo>
                    <a:lnTo>
                      <a:pt x="249" y="73"/>
                    </a:lnTo>
                    <a:lnTo>
                      <a:pt x="252" y="75"/>
                    </a:lnTo>
                    <a:lnTo>
                      <a:pt x="256" y="80"/>
                    </a:lnTo>
                    <a:lnTo>
                      <a:pt x="257" y="83"/>
                    </a:lnTo>
                    <a:lnTo>
                      <a:pt x="262" y="86"/>
                    </a:lnTo>
                    <a:lnTo>
                      <a:pt x="263" y="89"/>
                    </a:lnTo>
                    <a:lnTo>
                      <a:pt x="265" y="91"/>
                    </a:lnTo>
                    <a:close/>
                    <a:moveTo>
                      <a:pt x="244" y="66"/>
                    </a:moveTo>
                    <a:lnTo>
                      <a:pt x="244" y="69"/>
                    </a:lnTo>
                    <a:lnTo>
                      <a:pt x="243" y="72"/>
                    </a:lnTo>
                    <a:lnTo>
                      <a:pt x="242" y="70"/>
                    </a:lnTo>
                    <a:lnTo>
                      <a:pt x="242" y="68"/>
                    </a:lnTo>
                    <a:lnTo>
                      <a:pt x="242" y="66"/>
                    </a:lnTo>
                    <a:lnTo>
                      <a:pt x="243" y="65"/>
                    </a:lnTo>
                    <a:lnTo>
                      <a:pt x="244" y="66"/>
                    </a:lnTo>
                    <a:close/>
                    <a:moveTo>
                      <a:pt x="236" y="177"/>
                    </a:moveTo>
                    <a:lnTo>
                      <a:pt x="236" y="178"/>
                    </a:lnTo>
                    <a:lnTo>
                      <a:pt x="234" y="178"/>
                    </a:lnTo>
                    <a:lnTo>
                      <a:pt x="234" y="178"/>
                    </a:lnTo>
                    <a:lnTo>
                      <a:pt x="233" y="178"/>
                    </a:lnTo>
                    <a:lnTo>
                      <a:pt x="231" y="177"/>
                    </a:lnTo>
                    <a:lnTo>
                      <a:pt x="233" y="177"/>
                    </a:lnTo>
                    <a:lnTo>
                      <a:pt x="233" y="175"/>
                    </a:lnTo>
                    <a:lnTo>
                      <a:pt x="234" y="175"/>
                    </a:lnTo>
                    <a:lnTo>
                      <a:pt x="236" y="177"/>
                    </a:lnTo>
                    <a:lnTo>
                      <a:pt x="236" y="177"/>
                    </a:lnTo>
                    <a:close/>
                    <a:moveTo>
                      <a:pt x="226" y="47"/>
                    </a:moveTo>
                    <a:lnTo>
                      <a:pt x="226" y="49"/>
                    </a:lnTo>
                    <a:lnTo>
                      <a:pt x="224" y="47"/>
                    </a:lnTo>
                    <a:lnTo>
                      <a:pt x="224" y="47"/>
                    </a:lnTo>
                    <a:lnTo>
                      <a:pt x="226" y="47"/>
                    </a:lnTo>
                    <a:lnTo>
                      <a:pt x="226" y="47"/>
                    </a:lnTo>
                    <a:lnTo>
                      <a:pt x="226" y="47"/>
                    </a:lnTo>
                    <a:lnTo>
                      <a:pt x="226" y="47"/>
                    </a:lnTo>
                    <a:close/>
                    <a:moveTo>
                      <a:pt x="226" y="180"/>
                    </a:moveTo>
                    <a:lnTo>
                      <a:pt x="227" y="181"/>
                    </a:lnTo>
                    <a:lnTo>
                      <a:pt x="226" y="181"/>
                    </a:lnTo>
                    <a:lnTo>
                      <a:pt x="224" y="181"/>
                    </a:lnTo>
                    <a:lnTo>
                      <a:pt x="223" y="181"/>
                    </a:lnTo>
                    <a:lnTo>
                      <a:pt x="220" y="180"/>
                    </a:lnTo>
                    <a:lnTo>
                      <a:pt x="219" y="180"/>
                    </a:lnTo>
                    <a:lnTo>
                      <a:pt x="220" y="178"/>
                    </a:lnTo>
                    <a:lnTo>
                      <a:pt x="219" y="178"/>
                    </a:lnTo>
                    <a:lnTo>
                      <a:pt x="219" y="178"/>
                    </a:lnTo>
                    <a:lnTo>
                      <a:pt x="217" y="177"/>
                    </a:lnTo>
                    <a:lnTo>
                      <a:pt x="217" y="177"/>
                    </a:lnTo>
                    <a:lnTo>
                      <a:pt x="223" y="178"/>
                    </a:lnTo>
                    <a:lnTo>
                      <a:pt x="226" y="180"/>
                    </a:lnTo>
                    <a:close/>
                    <a:moveTo>
                      <a:pt x="101" y="11"/>
                    </a:moveTo>
                    <a:lnTo>
                      <a:pt x="105" y="10"/>
                    </a:lnTo>
                    <a:lnTo>
                      <a:pt x="114" y="11"/>
                    </a:lnTo>
                    <a:lnTo>
                      <a:pt x="115" y="10"/>
                    </a:lnTo>
                    <a:lnTo>
                      <a:pt x="115" y="11"/>
                    </a:lnTo>
                    <a:lnTo>
                      <a:pt x="112" y="13"/>
                    </a:lnTo>
                    <a:lnTo>
                      <a:pt x="109" y="14"/>
                    </a:lnTo>
                    <a:lnTo>
                      <a:pt x="102" y="14"/>
                    </a:lnTo>
                    <a:lnTo>
                      <a:pt x="101" y="14"/>
                    </a:lnTo>
                    <a:lnTo>
                      <a:pt x="101" y="14"/>
                    </a:lnTo>
                    <a:lnTo>
                      <a:pt x="101" y="13"/>
                    </a:lnTo>
                    <a:lnTo>
                      <a:pt x="101" y="11"/>
                    </a:lnTo>
                    <a:close/>
                    <a:moveTo>
                      <a:pt x="175" y="23"/>
                    </a:moveTo>
                    <a:lnTo>
                      <a:pt x="175" y="22"/>
                    </a:lnTo>
                    <a:lnTo>
                      <a:pt x="175" y="22"/>
                    </a:lnTo>
                    <a:lnTo>
                      <a:pt x="197" y="33"/>
                    </a:lnTo>
                    <a:lnTo>
                      <a:pt x="200" y="34"/>
                    </a:lnTo>
                    <a:lnTo>
                      <a:pt x="206" y="42"/>
                    </a:lnTo>
                    <a:lnTo>
                      <a:pt x="213" y="46"/>
                    </a:lnTo>
                    <a:lnTo>
                      <a:pt x="216" y="49"/>
                    </a:lnTo>
                    <a:lnTo>
                      <a:pt x="216" y="52"/>
                    </a:lnTo>
                    <a:lnTo>
                      <a:pt x="214" y="55"/>
                    </a:lnTo>
                    <a:lnTo>
                      <a:pt x="213" y="59"/>
                    </a:lnTo>
                    <a:lnTo>
                      <a:pt x="211" y="60"/>
                    </a:lnTo>
                    <a:lnTo>
                      <a:pt x="209" y="55"/>
                    </a:lnTo>
                    <a:lnTo>
                      <a:pt x="207" y="49"/>
                    </a:lnTo>
                    <a:lnTo>
                      <a:pt x="204" y="42"/>
                    </a:lnTo>
                    <a:lnTo>
                      <a:pt x="200" y="37"/>
                    </a:lnTo>
                    <a:lnTo>
                      <a:pt x="198" y="37"/>
                    </a:lnTo>
                    <a:lnTo>
                      <a:pt x="196" y="36"/>
                    </a:lnTo>
                    <a:lnTo>
                      <a:pt x="194" y="36"/>
                    </a:lnTo>
                    <a:lnTo>
                      <a:pt x="193" y="34"/>
                    </a:lnTo>
                    <a:lnTo>
                      <a:pt x="184" y="29"/>
                    </a:lnTo>
                    <a:lnTo>
                      <a:pt x="181" y="26"/>
                    </a:lnTo>
                    <a:lnTo>
                      <a:pt x="180" y="26"/>
                    </a:lnTo>
                    <a:lnTo>
                      <a:pt x="175" y="24"/>
                    </a:lnTo>
                    <a:lnTo>
                      <a:pt x="174" y="24"/>
                    </a:lnTo>
                    <a:lnTo>
                      <a:pt x="175" y="23"/>
                    </a:lnTo>
                    <a:lnTo>
                      <a:pt x="175" y="23"/>
                    </a:lnTo>
                    <a:close/>
                    <a:moveTo>
                      <a:pt x="140" y="73"/>
                    </a:moveTo>
                    <a:lnTo>
                      <a:pt x="153" y="73"/>
                    </a:lnTo>
                    <a:lnTo>
                      <a:pt x="157" y="73"/>
                    </a:lnTo>
                    <a:lnTo>
                      <a:pt x="160" y="72"/>
                    </a:lnTo>
                    <a:lnTo>
                      <a:pt x="160" y="70"/>
                    </a:lnTo>
                    <a:lnTo>
                      <a:pt x="160" y="69"/>
                    </a:lnTo>
                    <a:lnTo>
                      <a:pt x="161" y="66"/>
                    </a:lnTo>
                    <a:lnTo>
                      <a:pt x="163" y="65"/>
                    </a:lnTo>
                    <a:lnTo>
                      <a:pt x="163" y="65"/>
                    </a:lnTo>
                    <a:lnTo>
                      <a:pt x="163" y="65"/>
                    </a:lnTo>
                    <a:lnTo>
                      <a:pt x="164" y="66"/>
                    </a:lnTo>
                    <a:lnTo>
                      <a:pt x="164" y="66"/>
                    </a:lnTo>
                    <a:lnTo>
                      <a:pt x="163" y="69"/>
                    </a:lnTo>
                    <a:lnTo>
                      <a:pt x="163" y="69"/>
                    </a:lnTo>
                    <a:lnTo>
                      <a:pt x="163" y="70"/>
                    </a:lnTo>
                    <a:lnTo>
                      <a:pt x="164" y="72"/>
                    </a:lnTo>
                    <a:lnTo>
                      <a:pt x="164" y="72"/>
                    </a:lnTo>
                    <a:lnTo>
                      <a:pt x="165" y="73"/>
                    </a:lnTo>
                    <a:lnTo>
                      <a:pt x="167" y="73"/>
                    </a:lnTo>
                    <a:lnTo>
                      <a:pt x="167" y="73"/>
                    </a:lnTo>
                    <a:lnTo>
                      <a:pt x="168" y="72"/>
                    </a:lnTo>
                    <a:lnTo>
                      <a:pt x="170" y="72"/>
                    </a:lnTo>
                    <a:lnTo>
                      <a:pt x="171" y="72"/>
                    </a:lnTo>
                    <a:lnTo>
                      <a:pt x="171" y="72"/>
                    </a:lnTo>
                    <a:lnTo>
                      <a:pt x="173" y="73"/>
                    </a:lnTo>
                    <a:lnTo>
                      <a:pt x="174" y="73"/>
                    </a:lnTo>
                    <a:lnTo>
                      <a:pt x="175" y="72"/>
                    </a:lnTo>
                    <a:lnTo>
                      <a:pt x="177" y="72"/>
                    </a:lnTo>
                    <a:lnTo>
                      <a:pt x="178" y="72"/>
                    </a:lnTo>
                    <a:lnTo>
                      <a:pt x="178" y="70"/>
                    </a:lnTo>
                    <a:lnTo>
                      <a:pt x="181" y="66"/>
                    </a:lnTo>
                    <a:lnTo>
                      <a:pt x="183" y="65"/>
                    </a:lnTo>
                    <a:lnTo>
                      <a:pt x="186" y="63"/>
                    </a:lnTo>
                    <a:lnTo>
                      <a:pt x="188" y="62"/>
                    </a:lnTo>
                    <a:lnTo>
                      <a:pt x="190" y="62"/>
                    </a:lnTo>
                    <a:lnTo>
                      <a:pt x="190" y="57"/>
                    </a:lnTo>
                    <a:lnTo>
                      <a:pt x="188" y="52"/>
                    </a:lnTo>
                    <a:lnTo>
                      <a:pt x="190" y="50"/>
                    </a:lnTo>
                    <a:lnTo>
                      <a:pt x="193" y="50"/>
                    </a:lnTo>
                    <a:lnTo>
                      <a:pt x="194" y="50"/>
                    </a:lnTo>
                    <a:lnTo>
                      <a:pt x="196" y="50"/>
                    </a:lnTo>
                    <a:lnTo>
                      <a:pt x="197" y="52"/>
                    </a:lnTo>
                    <a:lnTo>
                      <a:pt x="198" y="50"/>
                    </a:lnTo>
                    <a:lnTo>
                      <a:pt x="200" y="52"/>
                    </a:lnTo>
                    <a:lnTo>
                      <a:pt x="203" y="52"/>
                    </a:lnTo>
                    <a:lnTo>
                      <a:pt x="203" y="52"/>
                    </a:lnTo>
                    <a:lnTo>
                      <a:pt x="203" y="55"/>
                    </a:lnTo>
                    <a:lnTo>
                      <a:pt x="203" y="59"/>
                    </a:lnTo>
                    <a:lnTo>
                      <a:pt x="203" y="60"/>
                    </a:lnTo>
                    <a:lnTo>
                      <a:pt x="201" y="62"/>
                    </a:lnTo>
                    <a:lnTo>
                      <a:pt x="198" y="63"/>
                    </a:lnTo>
                    <a:lnTo>
                      <a:pt x="197" y="63"/>
                    </a:lnTo>
                    <a:lnTo>
                      <a:pt x="196" y="65"/>
                    </a:lnTo>
                    <a:lnTo>
                      <a:pt x="196" y="66"/>
                    </a:lnTo>
                    <a:lnTo>
                      <a:pt x="198" y="69"/>
                    </a:lnTo>
                    <a:lnTo>
                      <a:pt x="198" y="70"/>
                    </a:lnTo>
                    <a:lnTo>
                      <a:pt x="197" y="73"/>
                    </a:lnTo>
                    <a:lnTo>
                      <a:pt x="194" y="73"/>
                    </a:lnTo>
                    <a:lnTo>
                      <a:pt x="191" y="73"/>
                    </a:lnTo>
                    <a:lnTo>
                      <a:pt x="188" y="73"/>
                    </a:lnTo>
                    <a:lnTo>
                      <a:pt x="187" y="75"/>
                    </a:lnTo>
                    <a:lnTo>
                      <a:pt x="183" y="79"/>
                    </a:lnTo>
                    <a:lnTo>
                      <a:pt x="180" y="82"/>
                    </a:lnTo>
                    <a:lnTo>
                      <a:pt x="170" y="86"/>
                    </a:lnTo>
                    <a:lnTo>
                      <a:pt x="165" y="86"/>
                    </a:lnTo>
                    <a:lnTo>
                      <a:pt x="158" y="88"/>
                    </a:lnTo>
                    <a:lnTo>
                      <a:pt x="157" y="86"/>
                    </a:lnTo>
                    <a:lnTo>
                      <a:pt x="155" y="86"/>
                    </a:lnTo>
                    <a:lnTo>
                      <a:pt x="151" y="83"/>
                    </a:lnTo>
                    <a:lnTo>
                      <a:pt x="150" y="83"/>
                    </a:lnTo>
                    <a:lnTo>
                      <a:pt x="148" y="83"/>
                    </a:lnTo>
                    <a:lnTo>
                      <a:pt x="147" y="83"/>
                    </a:lnTo>
                    <a:lnTo>
                      <a:pt x="145" y="83"/>
                    </a:lnTo>
                    <a:lnTo>
                      <a:pt x="144" y="83"/>
                    </a:lnTo>
                    <a:lnTo>
                      <a:pt x="141" y="80"/>
                    </a:lnTo>
                    <a:lnTo>
                      <a:pt x="140" y="80"/>
                    </a:lnTo>
                    <a:lnTo>
                      <a:pt x="135" y="79"/>
                    </a:lnTo>
                    <a:lnTo>
                      <a:pt x="134" y="78"/>
                    </a:lnTo>
                    <a:lnTo>
                      <a:pt x="132" y="76"/>
                    </a:lnTo>
                    <a:lnTo>
                      <a:pt x="132" y="76"/>
                    </a:lnTo>
                    <a:lnTo>
                      <a:pt x="132" y="75"/>
                    </a:lnTo>
                    <a:lnTo>
                      <a:pt x="132" y="73"/>
                    </a:lnTo>
                    <a:lnTo>
                      <a:pt x="134" y="72"/>
                    </a:lnTo>
                    <a:lnTo>
                      <a:pt x="134" y="72"/>
                    </a:lnTo>
                    <a:lnTo>
                      <a:pt x="135" y="72"/>
                    </a:lnTo>
                    <a:lnTo>
                      <a:pt x="135" y="73"/>
                    </a:lnTo>
                    <a:lnTo>
                      <a:pt x="140" y="73"/>
                    </a:lnTo>
                    <a:close/>
                    <a:moveTo>
                      <a:pt x="165" y="19"/>
                    </a:moveTo>
                    <a:lnTo>
                      <a:pt x="168" y="19"/>
                    </a:lnTo>
                    <a:lnTo>
                      <a:pt x="168" y="22"/>
                    </a:lnTo>
                    <a:lnTo>
                      <a:pt x="167" y="23"/>
                    </a:lnTo>
                    <a:lnTo>
                      <a:pt x="164" y="23"/>
                    </a:lnTo>
                    <a:lnTo>
                      <a:pt x="161" y="19"/>
                    </a:lnTo>
                    <a:lnTo>
                      <a:pt x="163" y="19"/>
                    </a:lnTo>
                    <a:lnTo>
                      <a:pt x="165" y="19"/>
                    </a:lnTo>
                    <a:close/>
                    <a:moveTo>
                      <a:pt x="157" y="1"/>
                    </a:moveTo>
                    <a:lnTo>
                      <a:pt x="157" y="3"/>
                    </a:lnTo>
                    <a:lnTo>
                      <a:pt x="155" y="3"/>
                    </a:lnTo>
                    <a:lnTo>
                      <a:pt x="155" y="3"/>
                    </a:lnTo>
                    <a:lnTo>
                      <a:pt x="154" y="3"/>
                    </a:lnTo>
                    <a:lnTo>
                      <a:pt x="153" y="1"/>
                    </a:lnTo>
                    <a:lnTo>
                      <a:pt x="154" y="0"/>
                    </a:lnTo>
                    <a:lnTo>
                      <a:pt x="155" y="0"/>
                    </a:lnTo>
                    <a:lnTo>
                      <a:pt x="157" y="1"/>
                    </a:lnTo>
                    <a:close/>
                    <a:moveTo>
                      <a:pt x="184" y="152"/>
                    </a:moveTo>
                    <a:lnTo>
                      <a:pt x="183" y="157"/>
                    </a:lnTo>
                    <a:lnTo>
                      <a:pt x="181" y="155"/>
                    </a:lnTo>
                    <a:lnTo>
                      <a:pt x="180" y="155"/>
                    </a:lnTo>
                    <a:lnTo>
                      <a:pt x="178" y="154"/>
                    </a:lnTo>
                    <a:lnTo>
                      <a:pt x="178" y="152"/>
                    </a:lnTo>
                    <a:lnTo>
                      <a:pt x="177" y="151"/>
                    </a:lnTo>
                    <a:lnTo>
                      <a:pt x="175" y="149"/>
                    </a:lnTo>
                    <a:lnTo>
                      <a:pt x="175" y="149"/>
                    </a:lnTo>
                    <a:lnTo>
                      <a:pt x="174" y="147"/>
                    </a:lnTo>
                    <a:lnTo>
                      <a:pt x="180" y="152"/>
                    </a:lnTo>
                    <a:lnTo>
                      <a:pt x="180" y="152"/>
                    </a:lnTo>
                    <a:lnTo>
                      <a:pt x="183" y="152"/>
                    </a:lnTo>
                    <a:lnTo>
                      <a:pt x="183" y="152"/>
                    </a:lnTo>
                    <a:lnTo>
                      <a:pt x="184" y="152"/>
                    </a:lnTo>
                    <a:close/>
                    <a:moveTo>
                      <a:pt x="207" y="32"/>
                    </a:moveTo>
                    <a:lnTo>
                      <a:pt x="207" y="32"/>
                    </a:lnTo>
                    <a:lnTo>
                      <a:pt x="206" y="30"/>
                    </a:lnTo>
                    <a:lnTo>
                      <a:pt x="207" y="30"/>
                    </a:lnTo>
                    <a:lnTo>
                      <a:pt x="209" y="30"/>
                    </a:lnTo>
                    <a:lnTo>
                      <a:pt x="207" y="32"/>
                    </a:lnTo>
                    <a:close/>
                    <a:moveTo>
                      <a:pt x="211" y="135"/>
                    </a:moveTo>
                    <a:lnTo>
                      <a:pt x="213" y="137"/>
                    </a:lnTo>
                    <a:lnTo>
                      <a:pt x="213" y="138"/>
                    </a:lnTo>
                    <a:lnTo>
                      <a:pt x="211" y="138"/>
                    </a:lnTo>
                    <a:lnTo>
                      <a:pt x="209" y="137"/>
                    </a:lnTo>
                    <a:lnTo>
                      <a:pt x="207" y="137"/>
                    </a:lnTo>
                    <a:lnTo>
                      <a:pt x="206" y="135"/>
                    </a:lnTo>
                    <a:lnTo>
                      <a:pt x="209" y="134"/>
                    </a:lnTo>
                    <a:lnTo>
                      <a:pt x="211" y="135"/>
                    </a:lnTo>
                    <a:close/>
                    <a:moveTo>
                      <a:pt x="196" y="27"/>
                    </a:moveTo>
                    <a:lnTo>
                      <a:pt x="196" y="26"/>
                    </a:lnTo>
                    <a:lnTo>
                      <a:pt x="197" y="26"/>
                    </a:lnTo>
                    <a:lnTo>
                      <a:pt x="197" y="27"/>
                    </a:lnTo>
                    <a:lnTo>
                      <a:pt x="197" y="27"/>
                    </a:lnTo>
                    <a:lnTo>
                      <a:pt x="198" y="29"/>
                    </a:lnTo>
                    <a:lnTo>
                      <a:pt x="197" y="29"/>
                    </a:lnTo>
                    <a:lnTo>
                      <a:pt x="197" y="27"/>
                    </a:lnTo>
                    <a:lnTo>
                      <a:pt x="196" y="2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76" name="Freeform 270">
                <a:extLst>
                  <a:ext uri="{FF2B5EF4-FFF2-40B4-BE49-F238E27FC236}">
                    <a16:creationId xmlns:a16="http://schemas.microsoft.com/office/drawing/2014/main" id="{58B1185B-4CAD-7AEF-E922-18381262627A}"/>
                  </a:ext>
                </a:extLst>
              </p:cNvPr>
              <p:cNvSpPr>
                <a:spLocks noEditPoints="1"/>
              </p:cNvSpPr>
              <p:nvPr/>
            </p:nvSpPr>
            <p:spPr bwMode="auto">
              <a:xfrm>
                <a:off x="8498789" y="4368363"/>
                <a:ext cx="1033862" cy="942766"/>
              </a:xfrm>
              <a:custGeom>
                <a:avLst/>
                <a:gdLst>
                  <a:gd name="T0" fmla="*/ 712 w 715"/>
                  <a:gd name="T1" fmla="*/ 322 h 652"/>
                  <a:gd name="T2" fmla="*/ 710 w 715"/>
                  <a:gd name="T3" fmla="*/ 281 h 652"/>
                  <a:gd name="T4" fmla="*/ 671 w 715"/>
                  <a:gd name="T5" fmla="*/ 247 h 652"/>
                  <a:gd name="T6" fmla="*/ 635 w 715"/>
                  <a:gd name="T7" fmla="*/ 187 h 652"/>
                  <a:gd name="T8" fmla="*/ 514 w 715"/>
                  <a:gd name="T9" fmla="*/ 1 h 652"/>
                  <a:gd name="T10" fmla="*/ 417 w 715"/>
                  <a:gd name="T11" fmla="*/ 21 h 652"/>
                  <a:gd name="T12" fmla="*/ 421 w 715"/>
                  <a:gd name="T13" fmla="*/ 66 h 652"/>
                  <a:gd name="T14" fmla="*/ 468 w 715"/>
                  <a:gd name="T15" fmla="*/ 126 h 652"/>
                  <a:gd name="T16" fmla="*/ 326 w 715"/>
                  <a:gd name="T17" fmla="*/ 24 h 652"/>
                  <a:gd name="T18" fmla="*/ 345 w 715"/>
                  <a:gd name="T19" fmla="*/ 18 h 652"/>
                  <a:gd name="T20" fmla="*/ 302 w 715"/>
                  <a:gd name="T21" fmla="*/ 29 h 652"/>
                  <a:gd name="T22" fmla="*/ 573 w 715"/>
                  <a:gd name="T23" fmla="*/ 539 h 652"/>
                  <a:gd name="T24" fmla="*/ 694 w 715"/>
                  <a:gd name="T25" fmla="*/ 271 h 652"/>
                  <a:gd name="T26" fmla="*/ 654 w 715"/>
                  <a:gd name="T27" fmla="*/ 223 h 652"/>
                  <a:gd name="T28" fmla="*/ 609 w 715"/>
                  <a:gd name="T29" fmla="*/ 172 h 652"/>
                  <a:gd name="T30" fmla="*/ 580 w 715"/>
                  <a:gd name="T31" fmla="*/ 126 h 652"/>
                  <a:gd name="T32" fmla="*/ 539 w 715"/>
                  <a:gd name="T33" fmla="*/ 56 h 652"/>
                  <a:gd name="T34" fmla="*/ 521 w 715"/>
                  <a:gd name="T35" fmla="*/ 14 h 652"/>
                  <a:gd name="T36" fmla="*/ 506 w 715"/>
                  <a:gd name="T37" fmla="*/ 52 h 652"/>
                  <a:gd name="T38" fmla="*/ 465 w 715"/>
                  <a:gd name="T39" fmla="*/ 132 h 652"/>
                  <a:gd name="T40" fmla="*/ 408 w 715"/>
                  <a:gd name="T41" fmla="*/ 95 h 652"/>
                  <a:gd name="T42" fmla="*/ 421 w 715"/>
                  <a:gd name="T43" fmla="*/ 43 h 652"/>
                  <a:gd name="T44" fmla="*/ 401 w 715"/>
                  <a:gd name="T45" fmla="*/ 37 h 652"/>
                  <a:gd name="T46" fmla="*/ 368 w 715"/>
                  <a:gd name="T47" fmla="*/ 31 h 652"/>
                  <a:gd name="T48" fmla="*/ 333 w 715"/>
                  <a:gd name="T49" fmla="*/ 20 h 652"/>
                  <a:gd name="T50" fmla="*/ 322 w 715"/>
                  <a:gd name="T51" fmla="*/ 37 h 652"/>
                  <a:gd name="T52" fmla="*/ 305 w 715"/>
                  <a:gd name="T53" fmla="*/ 52 h 652"/>
                  <a:gd name="T54" fmla="*/ 297 w 715"/>
                  <a:gd name="T55" fmla="*/ 86 h 652"/>
                  <a:gd name="T56" fmla="*/ 267 w 715"/>
                  <a:gd name="T57" fmla="*/ 93 h 652"/>
                  <a:gd name="T58" fmla="*/ 231 w 715"/>
                  <a:gd name="T59" fmla="*/ 70 h 652"/>
                  <a:gd name="T60" fmla="*/ 218 w 715"/>
                  <a:gd name="T61" fmla="*/ 80 h 652"/>
                  <a:gd name="T62" fmla="*/ 211 w 715"/>
                  <a:gd name="T63" fmla="*/ 96 h 652"/>
                  <a:gd name="T64" fmla="*/ 203 w 715"/>
                  <a:gd name="T65" fmla="*/ 109 h 652"/>
                  <a:gd name="T66" fmla="*/ 187 w 715"/>
                  <a:gd name="T67" fmla="*/ 118 h 652"/>
                  <a:gd name="T68" fmla="*/ 167 w 715"/>
                  <a:gd name="T69" fmla="*/ 126 h 652"/>
                  <a:gd name="T70" fmla="*/ 106 w 715"/>
                  <a:gd name="T71" fmla="*/ 182 h 652"/>
                  <a:gd name="T72" fmla="*/ 22 w 715"/>
                  <a:gd name="T73" fmla="*/ 215 h 652"/>
                  <a:gd name="T74" fmla="*/ 13 w 715"/>
                  <a:gd name="T75" fmla="*/ 296 h 652"/>
                  <a:gd name="T76" fmla="*/ 22 w 715"/>
                  <a:gd name="T77" fmla="*/ 335 h 652"/>
                  <a:gd name="T78" fmla="*/ 48 w 715"/>
                  <a:gd name="T79" fmla="*/ 440 h 652"/>
                  <a:gd name="T80" fmla="*/ 104 w 715"/>
                  <a:gd name="T81" fmla="*/ 463 h 652"/>
                  <a:gd name="T82" fmla="*/ 184 w 715"/>
                  <a:gd name="T83" fmla="*/ 450 h 652"/>
                  <a:gd name="T84" fmla="*/ 319 w 715"/>
                  <a:gd name="T85" fmla="*/ 404 h 652"/>
                  <a:gd name="T86" fmla="*/ 378 w 715"/>
                  <a:gd name="T87" fmla="*/ 434 h 652"/>
                  <a:gd name="T88" fmla="*/ 405 w 715"/>
                  <a:gd name="T89" fmla="*/ 470 h 652"/>
                  <a:gd name="T90" fmla="*/ 438 w 715"/>
                  <a:gd name="T91" fmla="*/ 444 h 652"/>
                  <a:gd name="T92" fmla="*/ 442 w 715"/>
                  <a:gd name="T93" fmla="*/ 454 h 652"/>
                  <a:gd name="T94" fmla="*/ 463 w 715"/>
                  <a:gd name="T95" fmla="*/ 487 h 652"/>
                  <a:gd name="T96" fmla="*/ 504 w 715"/>
                  <a:gd name="T97" fmla="*/ 539 h 652"/>
                  <a:gd name="T98" fmla="*/ 566 w 715"/>
                  <a:gd name="T99" fmla="*/ 534 h 652"/>
                  <a:gd name="T100" fmla="*/ 590 w 715"/>
                  <a:gd name="T101" fmla="*/ 555 h 652"/>
                  <a:gd name="T102" fmla="*/ 664 w 715"/>
                  <a:gd name="T103" fmla="*/ 474 h 652"/>
                  <a:gd name="T104" fmla="*/ 675 w 715"/>
                  <a:gd name="T105" fmla="*/ 442 h 652"/>
                  <a:gd name="T106" fmla="*/ 705 w 715"/>
                  <a:gd name="T107" fmla="*/ 385 h 652"/>
                  <a:gd name="T108" fmla="*/ 559 w 715"/>
                  <a:gd name="T109" fmla="*/ 585 h 652"/>
                  <a:gd name="T110" fmla="*/ 567 w 715"/>
                  <a:gd name="T111" fmla="*/ 542 h 652"/>
                  <a:gd name="T112" fmla="*/ 596 w 715"/>
                  <a:gd name="T113" fmla="*/ 599 h 652"/>
                  <a:gd name="T114" fmla="*/ 570 w 715"/>
                  <a:gd name="T115" fmla="*/ 621 h 652"/>
                  <a:gd name="T116" fmla="*/ 585 w 715"/>
                  <a:gd name="T117" fmla="*/ 651 h 652"/>
                  <a:gd name="T118" fmla="*/ 608 w 715"/>
                  <a:gd name="T119" fmla="*/ 639 h 652"/>
                  <a:gd name="T120" fmla="*/ 621 w 715"/>
                  <a:gd name="T121" fmla="*/ 616 h 652"/>
                  <a:gd name="T122" fmla="*/ 544 w 715"/>
                  <a:gd name="T123" fmla="*/ 575 h 652"/>
                  <a:gd name="T124" fmla="*/ 435 w 715"/>
                  <a:gd name="T125" fmla="*/ 490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15" h="652">
                    <a:moveTo>
                      <a:pt x="216" y="79"/>
                    </a:moveTo>
                    <a:lnTo>
                      <a:pt x="216" y="79"/>
                    </a:lnTo>
                    <a:lnTo>
                      <a:pt x="216" y="80"/>
                    </a:lnTo>
                    <a:lnTo>
                      <a:pt x="216" y="82"/>
                    </a:lnTo>
                    <a:lnTo>
                      <a:pt x="214" y="82"/>
                    </a:lnTo>
                    <a:lnTo>
                      <a:pt x="216" y="79"/>
                    </a:lnTo>
                    <a:close/>
                    <a:moveTo>
                      <a:pt x="204" y="96"/>
                    </a:moveTo>
                    <a:lnTo>
                      <a:pt x="205" y="95"/>
                    </a:lnTo>
                    <a:lnTo>
                      <a:pt x="204" y="93"/>
                    </a:lnTo>
                    <a:lnTo>
                      <a:pt x="204" y="95"/>
                    </a:lnTo>
                    <a:lnTo>
                      <a:pt x="204" y="96"/>
                    </a:lnTo>
                    <a:close/>
                    <a:moveTo>
                      <a:pt x="43" y="195"/>
                    </a:moveTo>
                    <a:lnTo>
                      <a:pt x="42" y="197"/>
                    </a:lnTo>
                    <a:lnTo>
                      <a:pt x="43" y="197"/>
                    </a:lnTo>
                    <a:lnTo>
                      <a:pt x="45" y="197"/>
                    </a:lnTo>
                    <a:lnTo>
                      <a:pt x="45" y="195"/>
                    </a:lnTo>
                    <a:lnTo>
                      <a:pt x="45" y="194"/>
                    </a:lnTo>
                    <a:lnTo>
                      <a:pt x="43" y="195"/>
                    </a:lnTo>
                    <a:lnTo>
                      <a:pt x="43" y="195"/>
                    </a:lnTo>
                    <a:close/>
                    <a:moveTo>
                      <a:pt x="712" y="316"/>
                    </a:moveTo>
                    <a:lnTo>
                      <a:pt x="712" y="316"/>
                    </a:lnTo>
                    <a:lnTo>
                      <a:pt x="712" y="317"/>
                    </a:lnTo>
                    <a:lnTo>
                      <a:pt x="712" y="319"/>
                    </a:lnTo>
                    <a:lnTo>
                      <a:pt x="712" y="322"/>
                    </a:lnTo>
                    <a:lnTo>
                      <a:pt x="712" y="322"/>
                    </a:lnTo>
                    <a:lnTo>
                      <a:pt x="711" y="320"/>
                    </a:lnTo>
                    <a:lnTo>
                      <a:pt x="711" y="319"/>
                    </a:lnTo>
                    <a:lnTo>
                      <a:pt x="711" y="319"/>
                    </a:lnTo>
                    <a:lnTo>
                      <a:pt x="711" y="317"/>
                    </a:lnTo>
                    <a:lnTo>
                      <a:pt x="711" y="316"/>
                    </a:lnTo>
                    <a:lnTo>
                      <a:pt x="712" y="316"/>
                    </a:lnTo>
                    <a:close/>
                    <a:moveTo>
                      <a:pt x="712" y="327"/>
                    </a:moveTo>
                    <a:lnTo>
                      <a:pt x="712" y="329"/>
                    </a:lnTo>
                    <a:lnTo>
                      <a:pt x="712" y="329"/>
                    </a:lnTo>
                    <a:lnTo>
                      <a:pt x="712" y="329"/>
                    </a:lnTo>
                    <a:lnTo>
                      <a:pt x="712" y="329"/>
                    </a:lnTo>
                    <a:lnTo>
                      <a:pt x="714" y="326"/>
                    </a:lnTo>
                    <a:lnTo>
                      <a:pt x="714" y="325"/>
                    </a:lnTo>
                    <a:lnTo>
                      <a:pt x="714" y="323"/>
                    </a:lnTo>
                    <a:lnTo>
                      <a:pt x="712" y="323"/>
                    </a:lnTo>
                    <a:lnTo>
                      <a:pt x="712" y="325"/>
                    </a:lnTo>
                    <a:lnTo>
                      <a:pt x="712" y="327"/>
                    </a:lnTo>
                    <a:close/>
                    <a:moveTo>
                      <a:pt x="705" y="281"/>
                    </a:moveTo>
                    <a:lnTo>
                      <a:pt x="705" y="283"/>
                    </a:lnTo>
                    <a:lnTo>
                      <a:pt x="705" y="286"/>
                    </a:lnTo>
                    <a:lnTo>
                      <a:pt x="705" y="289"/>
                    </a:lnTo>
                    <a:lnTo>
                      <a:pt x="705" y="292"/>
                    </a:lnTo>
                    <a:lnTo>
                      <a:pt x="710" y="281"/>
                    </a:lnTo>
                    <a:lnTo>
                      <a:pt x="711" y="279"/>
                    </a:lnTo>
                    <a:lnTo>
                      <a:pt x="711" y="276"/>
                    </a:lnTo>
                    <a:lnTo>
                      <a:pt x="711" y="274"/>
                    </a:lnTo>
                    <a:lnTo>
                      <a:pt x="710" y="271"/>
                    </a:lnTo>
                    <a:lnTo>
                      <a:pt x="708" y="271"/>
                    </a:lnTo>
                    <a:lnTo>
                      <a:pt x="707" y="273"/>
                    </a:lnTo>
                    <a:lnTo>
                      <a:pt x="710" y="274"/>
                    </a:lnTo>
                    <a:lnTo>
                      <a:pt x="708" y="277"/>
                    </a:lnTo>
                    <a:lnTo>
                      <a:pt x="705" y="281"/>
                    </a:lnTo>
                    <a:close/>
                    <a:moveTo>
                      <a:pt x="661" y="223"/>
                    </a:moveTo>
                    <a:lnTo>
                      <a:pt x="662" y="224"/>
                    </a:lnTo>
                    <a:lnTo>
                      <a:pt x="662" y="224"/>
                    </a:lnTo>
                    <a:lnTo>
                      <a:pt x="661" y="224"/>
                    </a:lnTo>
                    <a:lnTo>
                      <a:pt x="661" y="224"/>
                    </a:lnTo>
                    <a:lnTo>
                      <a:pt x="661" y="224"/>
                    </a:lnTo>
                    <a:lnTo>
                      <a:pt x="661" y="224"/>
                    </a:lnTo>
                    <a:lnTo>
                      <a:pt x="661" y="223"/>
                    </a:lnTo>
                    <a:lnTo>
                      <a:pt x="661" y="223"/>
                    </a:lnTo>
                    <a:close/>
                    <a:moveTo>
                      <a:pt x="671" y="247"/>
                    </a:moveTo>
                    <a:lnTo>
                      <a:pt x="671" y="248"/>
                    </a:lnTo>
                    <a:lnTo>
                      <a:pt x="674" y="251"/>
                    </a:lnTo>
                    <a:lnTo>
                      <a:pt x="675" y="251"/>
                    </a:lnTo>
                    <a:lnTo>
                      <a:pt x="674" y="248"/>
                    </a:lnTo>
                    <a:lnTo>
                      <a:pt x="671" y="247"/>
                    </a:lnTo>
                    <a:close/>
                    <a:moveTo>
                      <a:pt x="651" y="220"/>
                    </a:moveTo>
                    <a:lnTo>
                      <a:pt x="649" y="220"/>
                    </a:lnTo>
                    <a:lnTo>
                      <a:pt x="649" y="221"/>
                    </a:lnTo>
                    <a:lnTo>
                      <a:pt x="651" y="223"/>
                    </a:lnTo>
                    <a:lnTo>
                      <a:pt x="651" y="223"/>
                    </a:lnTo>
                    <a:lnTo>
                      <a:pt x="651" y="221"/>
                    </a:lnTo>
                    <a:lnTo>
                      <a:pt x="651" y="221"/>
                    </a:lnTo>
                    <a:lnTo>
                      <a:pt x="651" y="220"/>
                    </a:lnTo>
                    <a:lnTo>
                      <a:pt x="651" y="220"/>
                    </a:lnTo>
                    <a:close/>
                    <a:moveTo>
                      <a:pt x="633" y="182"/>
                    </a:moveTo>
                    <a:lnTo>
                      <a:pt x="633" y="182"/>
                    </a:lnTo>
                    <a:lnTo>
                      <a:pt x="633" y="182"/>
                    </a:lnTo>
                    <a:lnTo>
                      <a:pt x="633" y="182"/>
                    </a:lnTo>
                    <a:lnTo>
                      <a:pt x="633" y="184"/>
                    </a:lnTo>
                    <a:lnTo>
                      <a:pt x="632" y="184"/>
                    </a:lnTo>
                    <a:lnTo>
                      <a:pt x="633" y="184"/>
                    </a:lnTo>
                    <a:lnTo>
                      <a:pt x="633" y="182"/>
                    </a:lnTo>
                    <a:close/>
                    <a:moveTo>
                      <a:pt x="635" y="187"/>
                    </a:moveTo>
                    <a:lnTo>
                      <a:pt x="635" y="185"/>
                    </a:lnTo>
                    <a:lnTo>
                      <a:pt x="635" y="184"/>
                    </a:lnTo>
                    <a:lnTo>
                      <a:pt x="633" y="185"/>
                    </a:lnTo>
                    <a:lnTo>
                      <a:pt x="633" y="187"/>
                    </a:lnTo>
                    <a:lnTo>
                      <a:pt x="635" y="187"/>
                    </a:lnTo>
                    <a:lnTo>
                      <a:pt x="635" y="187"/>
                    </a:lnTo>
                    <a:close/>
                    <a:moveTo>
                      <a:pt x="583" y="148"/>
                    </a:moveTo>
                    <a:lnTo>
                      <a:pt x="586" y="152"/>
                    </a:lnTo>
                    <a:lnTo>
                      <a:pt x="586" y="152"/>
                    </a:lnTo>
                    <a:lnTo>
                      <a:pt x="587" y="152"/>
                    </a:lnTo>
                    <a:lnTo>
                      <a:pt x="587" y="149"/>
                    </a:lnTo>
                    <a:lnTo>
                      <a:pt x="587" y="149"/>
                    </a:lnTo>
                    <a:lnTo>
                      <a:pt x="585" y="148"/>
                    </a:lnTo>
                    <a:lnTo>
                      <a:pt x="583" y="148"/>
                    </a:lnTo>
                    <a:close/>
                    <a:moveTo>
                      <a:pt x="516" y="11"/>
                    </a:moveTo>
                    <a:lnTo>
                      <a:pt x="516" y="11"/>
                    </a:lnTo>
                    <a:lnTo>
                      <a:pt x="514" y="8"/>
                    </a:lnTo>
                    <a:lnTo>
                      <a:pt x="514" y="10"/>
                    </a:lnTo>
                    <a:lnTo>
                      <a:pt x="514" y="10"/>
                    </a:lnTo>
                    <a:lnTo>
                      <a:pt x="514" y="10"/>
                    </a:lnTo>
                    <a:lnTo>
                      <a:pt x="514" y="10"/>
                    </a:lnTo>
                    <a:lnTo>
                      <a:pt x="514" y="11"/>
                    </a:lnTo>
                    <a:lnTo>
                      <a:pt x="516" y="11"/>
                    </a:lnTo>
                    <a:close/>
                    <a:moveTo>
                      <a:pt x="514" y="1"/>
                    </a:moveTo>
                    <a:lnTo>
                      <a:pt x="513" y="1"/>
                    </a:lnTo>
                    <a:lnTo>
                      <a:pt x="514" y="0"/>
                    </a:lnTo>
                    <a:lnTo>
                      <a:pt x="514" y="0"/>
                    </a:lnTo>
                    <a:lnTo>
                      <a:pt x="514" y="1"/>
                    </a:lnTo>
                    <a:lnTo>
                      <a:pt x="514" y="1"/>
                    </a:lnTo>
                    <a:lnTo>
                      <a:pt x="514" y="1"/>
                    </a:lnTo>
                    <a:close/>
                    <a:moveTo>
                      <a:pt x="516" y="3"/>
                    </a:moveTo>
                    <a:lnTo>
                      <a:pt x="516" y="1"/>
                    </a:lnTo>
                    <a:lnTo>
                      <a:pt x="516" y="1"/>
                    </a:lnTo>
                    <a:lnTo>
                      <a:pt x="517" y="1"/>
                    </a:lnTo>
                    <a:lnTo>
                      <a:pt x="516" y="3"/>
                    </a:lnTo>
                    <a:close/>
                    <a:moveTo>
                      <a:pt x="411" y="66"/>
                    </a:moveTo>
                    <a:lnTo>
                      <a:pt x="411" y="66"/>
                    </a:lnTo>
                    <a:lnTo>
                      <a:pt x="411" y="67"/>
                    </a:lnTo>
                    <a:lnTo>
                      <a:pt x="409" y="67"/>
                    </a:lnTo>
                    <a:lnTo>
                      <a:pt x="408" y="67"/>
                    </a:lnTo>
                    <a:lnTo>
                      <a:pt x="408" y="66"/>
                    </a:lnTo>
                    <a:lnTo>
                      <a:pt x="409" y="64"/>
                    </a:lnTo>
                    <a:lnTo>
                      <a:pt x="411" y="64"/>
                    </a:lnTo>
                    <a:lnTo>
                      <a:pt x="411" y="66"/>
                    </a:lnTo>
                    <a:close/>
                    <a:moveTo>
                      <a:pt x="417" y="100"/>
                    </a:moveTo>
                    <a:lnTo>
                      <a:pt x="417" y="99"/>
                    </a:lnTo>
                    <a:lnTo>
                      <a:pt x="417" y="99"/>
                    </a:lnTo>
                    <a:lnTo>
                      <a:pt x="415" y="99"/>
                    </a:lnTo>
                    <a:lnTo>
                      <a:pt x="417" y="100"/>
                    </a:lnTo>
                    <a:close/>
                    <a:moveTo>
                      <a:pt x="417" y="23"/>
                    </a:moveTo>
                    <a:lnTo>
                      <a:pt x="418" y="21"/>
                    </a:lnTo>
                    <a:lnTo>
                      <a:pt x="419" y="18"/>
                    </a:lnTo>
                    <a:lnTo>
                      <a:pt x="419" y="17"/>
                    </a:lnTo>
                    <a:lnTo>
                      <a:pt x="417" y="21"/>
                    </a:lnTo>
                    <a:lnTo>
                      <a:pt x="415" y="23"/>
                    </a:lnTo>
                    <a:lnTo>
                      <a:pt x="417" y="23"/>
                    </a:lnTo>
                    <a:close/>
                    <a:moveTo>
                      <a:pt x="424" y="103"/>
                    </a:moveTo>
                    <a:lnTo>
                      <a:pt x="424" y="103"/>
                    </a:lnTo>
                    <a:lnTo>
                      <a:pt x="425" y="103"/>
                    </a:lnTo>
                    <a:lnTo>
                      <a:pt x="425" y="102"/>
                    </a:lnTo>
                    <a:lnTo>
                      <a:pt x="424" y="100"/>
                    </a:lnTo>
                    <a:lnTo>
                      <a:pt x="424" y="99"/>
                    </a:lnTo>
                    <a:lnTo>
                      <a:pt x="422" y="100"/>
                    </a:lnTo>
                    <a:lnTo>
                      <a:pt x="422" y="102"/>
                    </a:lnTo>
                    <a:lnTo>
                      <a:pt x="422" y="102"/>
                    </a:lnTo>
                    <a:lnTo>
                      <a:pt x="424" y="103"/>
                    </a:lnTo>
                    <a:close/>
                    <a:moveTo>
                      <a:pt x="409" y="29"/>
                    </a:moveTo>
                    <a:lnTo>
                      <a:pt x="411" y="29"/>
                    </a:lnTo>
                    <a:lnTo>
                      <a:pt x="412" y="27"/>
                    </a:lnTo>
                    <a:lnTo>
                      <a:pt x="414" y="26"/>
                    </a:lnTo>
                    <a:lnTo>
                      <a:pt x="414" y="24"/>
                    </a:lnTo>
                    <a:lnTo>
                      <a:pt x="411" y="26"/>
                    </a:lnTo>
                    <a:lnTo>
                      <a:pt x="411" y="27"/>
                    </a:lnTo>
                    <a:lnTo>
                      <a:pt x="409" y="29"/>
                    </a:lnTo>
                    <a:close/>
                    <a:moveTo>
                      <a:pt x="419" y="73"/>
                    </a:moveTo>
                    <a:lnTo>
                      <a:pt x="419" y="72"/>
                    </a:lnTo>
                    <a:lnTo>
                      <a:pt x="421" y="67"/>
                    </a:lnTo>
                    <a:lnTo>
                      <a:pt x="421" y="66"/>
                    </a:lnTo>
                    <a:lnTo>
                      <a:pt x="419" y="67"/>
                    </a:lnTo>
                    <a:lnTo>
                      <a:pt x="419" y="67"/>
                    </a:lnTo>
                    <a:lnTo>
                      <a:pt x="418" y="66"/>
                    </a:lnTo>
                    <a:lnTo>
                      <a:pt x="418" y="64"/>
                    </a:lnTo>
                    <a:lnTo>
                      <a:pt x="415" y="66"/>
                    </a:lnTo>
                    <a:lnTo>
                      <a:pt x="414" y="69"/>
                    </a:lnTo>
                    <a:lnTo>
                      <a:pt x="414" y="72"/>
                    </a:lnTo>
                    <a:lnTo>
                      <a:pt x="412" y="75"/>
                    </a:lnTo>
                    <a:lnTo>
                      <a:pt x="415" y="75"/>
                    </a:lnTo>
                    <a:lnTo>
                      <a:pt x="418" y="76"/>
                    </a:lnTo>
                    <a:lnTo>
                      <a:pt x="421" y="76"/>
                    </a:lnTo>
                    <a:lnTo>
                      <a:pt x="422" y="75"/>
                    </a:lnTo>
                    <a:lnTo>
                      <a:pt x="419" y="73"/>
                    </a:lnTo>
                    <a:close/>
                    <a:moveTo>
                      <a:pt x="468" y="125"/>
                    </a:moveTo>
                    <a:lnTo>
                      <a:pt x="467" y="125"/>
                    </a:lnTo>
                    <a:lnTo>
                      <a:pt x="467" y="126"/>
                    </a:lnTo>
                    <a:lnTo>
                      <a:pt x="467" y="126"/>
                    </a:lnTo>
                    <a:lnTo>
                      <a:pt x="465" y="126"/>
                    </a:lnTo>
                    <a:lnTo>
                      <a:pt x="467" y="128"/>
                    </a:lnTo>
                    <a:lnTo>
                      <a:pt x="467" y="128"/>
                    </a:lnTo>
                    <a:lnTo>
                      <a:pt x="468" y="128"/>
                    </a:lnTo>
                    <a:lnTo>
                      <a:pt x="468" y="128"/>
                    </a:lnTo>
                    <a:lnTo>
                      <a:pt x="468" y="126"/>
                    </a:lnTo>
                    <a:lnTo>
                      <a:pt x="468" y="126"/>
                    </a:lnTo>
                    <a:lnTo>
                      <a:pt x="468" y="125"/>
                    </a:lnTo>
                    <a:close/>
                    <a:moveTo>
                      <a:pt x="421" y="100"/>
                    </a:moveTo>
                    <a:lnTo>
                      <a:pt x="421" y="99"/>
                    </a:lnTo>
                    <a:lnTo>
                      <a:pt x="421" y="99"/>
                    </a:lnTo>
                    <a:lnTo>
                      <a:pt x="421" y="99"/>
                    </a:lnTo>
                    <a:lnTo>
                      <a:pt x="421" y="99"/>
                    </a:lnTo>
                    <a:lnTo>
                      <a:pt x="421" y="100"/>
                    </a:lnTo>
                    <a:close/>
                    <a:moveTo>
                      <a:pt x="468" y="115"/>
                    </a:moveTo>
                    <a:lnTo>
                      <a:pt x="465" y="115"/>
                    </a:lnTo>
                    <a:lnTo>
                      <a:pt x="463" y="118"/>
                    </a:lnTo>
                    <a:lnTo>
                      <a:pt x="461" y="121"/>
                    </a:lnTo>
                    <a:lnTo>
                      <a:pt x="464" y="121"/>
                    </a:lnTo>
                    <a:lnTo>
                      <a:pt x="468" y="118"/>
                    </a:lnTo>
                    <a:lnTo>
                      <a:pt x="471" y="116"/>
                    </a:lnTo>
                    <a:lnTo>
                      <a:pt x="468" y="115"/>
                    </a:lnTo>
                    <a:close/>
                    <a:moveTo>
                      <a:pt x="315" y="31"/>
                    </a:moveTo>
                    <a:lnTo>
                      <a:pt x="316" y="33"/>
                    </a:lnTo>
                    <a:lnTo>
                      <a:pt x="319" y="33"/>
                    </a:lnTo>
                    <a:lnTo>
                      <a:pt x="320" y="31"/>
                    </a:lnTo>
                    <a:lnTo>
                      <a:pt x="322" y="30"/>
                    </a:lnTo>
                    <a:lnTo>
                      <a:pt x="325" y="27"/>
                    </a:lnTo>
                    <a:lnTo>
                      <a:pt x="326" y="26"/>
                    </a:lnTo>
                    <a:lnTo>
                      <a:pt x="328" y="24"/>
                    </a:lnTo>
                    <a:lnTo>
                      <a:pt x="326" y="24"/>
                    </a:lnTo>
                    <a:lnTo>
                      <a:pt x="326" y="23"/>
                    </a:lnTo>
                    <a:lnTo>
                      <a:pt x="325" y="21"/>
                    </a:lnTo>
                    <a:lnTo>
                      <a:pt x="323" y="20"/>
                    </a:lnTo>
                    <a:lnTo>
                      <a:pt x="320" y="21"/>
                    </a:lnTo>
                    <a:lnTo>
                      <a:pt x="316" y="23"/>
                    </a:lnTo>
                    <a:lnTo>
                      <a:pt x="313" y="23"/>
                    </a:lnTo>
                    <a:lnTo>
                      <a:pt x="310" y="21"/>
                    </a:lnTo>
                    <a:lnTo>
                      <a:pt x="309" y="21"/>
                    </a:lnTo>
                    <a:lnTo>
                      <a:pt x="307" y="20"/>
                    </a:lnTo>
                    <a:lnTo>
                      <a:pt x="307" y="20"/>
                    </a:lnTo>
                    <a:lnTo>
                      <a:pt x="307" y="21"/>
                    </a:lnTo>
                    <a:lnTo>
                      <a:pt x="307" y="24"/>
                    </a:lnTo>
                    <a:lnTo>
                      <a:pt x="309" y="26"/>
                    </a:lnTo>
                    <a:lnTo>
                      <a:pt x="310" y="29"/>
                    </a:lnTo>
                    <a:lnTo>
                      <a:pt x="312" y="30"/>
                    </a:lnTo>
                    <a:lnTo>
                      <a:pt x="315" y="31"/>
                    </a:lnTo>
                    <a:close/>
                    <a:moveTo>
                      <a:pt x="345" y="17"/>
                    </a:moveTo>
                    <a:lnTo>
                      <a:pt x="346" y="16"/>
                    </a:lnTo>
                    <a:lnTo>
                      <a:pt x="346" y="18"/>
                    </a:lnTo>
                    <a:lnTo>
                      <a:pt x="346" y="21"/>
                    </a:lnTo>
                    <a:lnTo>
                      <a:pt x="346" y="23"/>
                    </a:lnTo>
                    <a:lnTo>
                      <a:pt x="345" y="21"/>
                    </a:lnTo>
                    <a:lnTo>
                      <a:pt x="345" y="20"/>
                    </a:lnTo>
                    <a:lnTo>
                      <a:pt x="345" y="18"/>
                    </a:lnTo>
                    <a:lnTo>
                      <a:pt x="345" y="17"/>
                    </a:lnTo>
                    <a:lnTo>
                      <a:pt x="345" y="17"/>
                    </a:lnTo>
                    <a:lnTo>
                      <a:pt x="345" y="17"/>
                    </a:lnTo>
                    <a:lnTo>
                      <a:pt x="345" y="17"/>
                    </a:lnTo>
                    <a:close/>
                    <a:moveTo>
                      <a:pt x="305" y="29"/>
                    </a:moveTo>
                    <a:lnTo>
                      <a:pt x="305" y="27"/>
                    </a:lnTo>
                    <a:lnTo>
                      <a:pt x="303" y="26"/>
                    </a:lnTo>
                    <a:lnTo>
                      <a:pt x="303" y="24"/>
                    </a:lnTo>
                    <a:lnTo>
                      <a:pt x="305" y="23"/>
                    </a:lnTo>
                    <a:lnTo>
                      <a:pt x="306" y="23"/>
                    </a:lnTo>
                    <a:lnTo>
                      <a:pt x="307" y="24"/>
                    </a:lnTo>
                    <a:lnTo>
                      <a:pt x="307" y="26"/>
                    </a:lnTo>
                    <a:lnTo>
                      <a:pt x="307" y="27"/>
                    </a:lnTo>
                    <a:lnTo>
                      <a:pt x="309" y="29"/>
                    </a:lnTo>
                    <a:lnTo>
                      <a:pt x="310" y="30"/>
                    </a:lnTo>
                    <a:lnTo>
                      <a:pt x="310" y="30"/>
                    </a:lnTo>
                    <a:lnTo>
                      <a:pt x="309" y="31"/>
                    </a:lnTo>
                    <a:lnTo>
                      <a:pt x="309" y="31"/>
                    </a:lnTo>
                    <a:lnTo>
                      <a:pt x="305" y="31"/>
                    </a:lnTo>
                    <a:lnTo>
                      <a:pt x="303" y="31"/>
                    </a:lnTo>
                    <a:lnTo>
                      <a:pt x="303" y="31"/>
                    </a:lnTo>
                    <a:lnTo>
                      <a:pt x="302" y="31"/>
                    </a:lnTo>
                    <a:lnTo>
                      <a:pt x="302" y="30"/>
                    </a:lnTo>
                    <a:lnTo>
                      <a:pt x="302" y="29"/>
                    </a:lnTo>
                    <a:lnTo>
                      <a:pt x="303" y="29"/>
                    </a:lnTo>
                    <a:lnTo>
                      <a:pt x="303" y="29"/>
                    </a:lnTo>
                    <a:lnTo>
                      <a:pt x="305" y="29"/>
                    </a:lnTo>
                    <a:close/>
                    <a:moveTo>
                      <a:pt x="621" y="586"/>
                    </a:moveTo>
                    <a:lnTo>
                      <a:pt x="619" y="586"/>
                    </a:lnTo>
                    <a:lnTo>
                      <a:pt x="619" y="585"/>
                    </a:lnTo>
                    <a:lnTo>
                      <a:pt x="619" y="585"/>
                    </a:lnTo>
                    <a:lnTo>
                      <a:pt x="621" y="585"/>
                    </a:lnTo>
                    <a:lnTo>
                      <a:pt x="621" y="585"/>
                    </a:lnTo>
                    <a:lnTo>
                      <a:pt x="621" y="585"/>
                    </a:lnTo>
                    <a:lnTo>
                      <a:pt x="621" y="586"/>
                    </a:lnTo>
                    <a:lnTo>
                      <a:pt x="621" y="586"/>
                    </a:lnTo>
                    <a:close/>
                    <a:moveTo>
                      <a:pt x="622" y="573"/>
                    </a:moveTo>
                    <a:lnTo>
                      <a:pt x="616" y="569"/>
                    </a:lnTo>
                    <a:lnTo>
                      <a:pt x="616" y="569"/>
                    </a:lnTo>
                    <a:lnTo>
                      <a:pt x="613" y="570"/>
                    </a:lnTo>
                    <a:lnTo>
                      <a:pt x="615" y="573"/>
                    </a:lnTo>
                    <a:lnTo>
                      <a:pt x="618" y="576"/>
                    </a:lnTo>
                    <a:lnTo>
                      <a:pt x="619" y="579"/>
                    </a:lnTo>
                    <a:lnTo>
                      <a:pt x="622" y="576"/>
                    </a:lnTo>
                    <a:lnTo>
                      <a:pt x="622" y="576"/>
                    </a:lnTo>
                    <a:lnTo>
                      <a:pt x="622" y="575"/>
                    </a:lnTo>
                    <a:lnTo>
                      <a:pt x="622" y="573"/>
                    </a:lnTo>
                    <a:close/>
                    <a:moveTo>
                      <a:pt x="573" y="539"/>
                    </a:moveTo>
                    <a:lnTo>
                      <a:pt x="570" y="537"/>
                    </a:lnTo>
                    <a:lnTo>
                      <a:pt x="569" y="539"/>
                    </a:lnTo>
                    <a:lnTo>
                      <a:pt x="570" y="540"/>
                    </a:lnTo>
                    <a:lnTo>
                      <a:pt x="573" y="539"/>
                    </a:lnTo>
                    <a:close/>
                    <a:moveTo>
                      <a:pt x="715" y="342"/>
                    </a:moveTo>
                    <a:lnTo>
                      <a:pt x="715" y="340"/>
                    </a:lnTo>
                    <a:lnTo>
                      <a:pt x="708" y="323"/>
                    </a:lnTo>
                    <a:lnTo>
                      <a:pt x="707" y="317"/>
                    </a:lnTo>
                    <a:lnTo>
                      <a:pt x="707" y="304"/>
                    </a:lnTo>
                    <a:lnTo>
                      <a:pt x="707" y="302"/>
                    </a:lnTo>
                    <a:lnTo>
                      <a:pt x="708" y="297"/>
                    </a:lnTo>
                    <a:lnTo>
                      <a:pt x="708" y="294"/>
                    </a:lnTo>
                    <a:lnTo>
                      <a:pt x="707" y="294"/>
                    </a:lnTo>
                    <a:lnTo>
                      <a:pt x="705" y="293"/>
                    </a:lnTo>
                    <a:lnTo>
                      <a:pt x="704" y="292"/>
                    </a:lnTo>
                    <a:lnTo>
                      <a:pt x="704" y="290"/>
                    </a:lnTo>
                    <a:lnTo>
                      <a:pt x="704" y="289"/>
                    </a:lnTo>
                    <a:lnTo>
                      <a:pt x="704" y="287"/>
                    </a:lnTo>
                    <a:lnTo>
                      <a:pt x="704" y="286"/>
                    </a:lnTo>
                    <a:lnTo>
                      <a:pt x="702" y="283"/>
                    </a:lnTo>
                    <a:lnTo>
                      <a:pt x="698" y="279"/>
                    </a:lnTo>
                    <a:lnTo>
                      <a:pt x="697" y="277"/>
                    </a:lnTo>
                    <a:lnTo>
                      <a:pt x="695" y="273"/>
                    </a:lnTo>
                    <a:lnTo>
                      <a:pt x="694" y="271"/>
                    </a:lnTo>
                    <a:lnTo>
                      <a:pt x="689" y="269"/>
                    </a:lnTo>
                    <a:lnTo>
                      <a:pt x="687" y="263"/>
                    </a:lnTo>
                    <a:lnTo>
                      <a:pt x="685" y="260"/>
                    </a:lnTo>
                    <a:lnTo>
                      <a:pt x="682" y="258"/>
                    </a:lnTo>
                    <a:lnTo>
                      <a:pt x="677" y="256"/>
                    </a:lnTo>
                    <a:lnTo>
                      <a:pt x="674" y="254"/>
                    </a:lnTo>
                    <a:lnTo>
                      <a:pt x="671" y="250"/>
                    </a:lnTo>
                    <a:lnTo>
                      <a:pt x="668" y="248"/>
                    </a:lnTo>
                    <a:lnTo>
                      <a:pt x="666" y="246"/>
                    </a:lnTo>
                    <a:lnTo>
                      <a:pt x="666" y="243"/>
                    </a:lnTo>
                    <a:lnTo>
                      <a:pt x="666" y="235"/>
                    </a:lnTo>
                    <a:lnTo>
                      <a:pt x="665" y="231"/>
                    </a:lnTo>
                    <a:lnTo>
                      <a:pt x="665" y="228"/>
                    </a:lnTo>
                    <a:lnTo>
                      <a:pt x="665" y="227"/>
                    </a:lnTo>
                    <a:lnTo>
                      <a:pt x="664" y="225"/>
                    </a:lnTo>
                    <a:lnTo>
                      <a:pt x="662" y="225"/>
                    </a:lnTo>
                    <a:lnTo>
                      <a:pt x="662" y="227"/>
                    </a:lnTo>
                    <a:lnTo>
                      <a:pt x="662" y="228"/>
                    </a:lnTo>
                    <a:lnTo>
                      <a:pt x="662" y="230"/>
                    </a:lnTo>
                    <a:lnTo>
                      <a:pt x="661" y="228"/>
                    </a:lnTo>
                    <a:lnTo>
                      <a:pt x="659" y="228"/>
                    </a:lnTo>
                    <a:lnTo>
                      <a:pt x="658" y="227"/>
                    </a:lnTo>
                    <a:lnTo>
                      <a:pt x="655" y="223"/>
                    </a:lnTo>
                    <a:lnTo>
                      <a:pt x="654" y="223"/>
                    </a:lnTo>
                    <a:lnTo>
                      <a:pt x="652" y="223"/>
                    </a:lnTo>
                    <a:lnTo>
                      <a:pt x="652" y="224"/>
                    </a:lnTo>
                    <a:lnTo>
                      <a:pt x="652" y="227"/>
                    </a:lnTo>
                    <a:lnTo>
                      <a:pt x="652" y="230"/>
                    </a:lnTo>
                    <a:lnTo>
                      <a:pt x="649" y="227"/>
                    </a:lnTo>
                    <a:lnTo>
                      <a:pt x="648" y="227"/>
                    </a:lnTo>
                    <a:lnTo>
                      <a:pt x="646" y="225"/>
                    </a:lnTo>
                    <a:lnTo>
                      <a:pt x="645" y="223"/>
                    </a:lnTo>
                    <a:lnTo>
                      <a:pt x="644" y="218"/>
                    </a:lnTo>
                    <a:lnTo>
                      <a:pt x="642" y="212"/>
                    </a:lnTo>
                    <a:lnTo>
                      <a:pt x="642" y="211"/>
                    </a:lnTo>
                    <a:lnTo>
                      <a:pt x="641" y="208"/>
                    </a:lnTo>
                    <a:lnTo>
                      <a:pt x="638" y="202"/>
                    </a:lnTo>
                    <a:lnTo>
                      <a:pt x="636" y="201"/>
                    </a:lnTo>
                    <a:lnTo>
                      <a:pt x="632" y="195"/>
                    </a:lnTo>
                    <a:lnTo>
                      <a:pt x="631" y="192"/>
                    </a:lnTo>
                    <a:lnTo>
                      <a:pt x="629" y="189"/>
                    </a:lnTo>
                    <a:lnTo>
                      <a:pt x="632" y="189"/>
                    </a:lnTo>
                    <a:lnTo>
                      <a:pt x="629" y="185"/>
                    </a:lnTo>
                    <a:lnTo>
                      <a:pt x="625" y="182"/>
                    </a:lnTo>
                    <a:lnTo>
                      <a:pt x="612" y="175"/>
                    </a:lnTo>
                    <a:lnTo>
                      <a:pt x="610" y="175"/>
                    </a:lnTo>
                    <a:lnTo>
                      <a:pt x="609" y="174"/>
                    </a:lnTo>
                    <a:lnTo>
                      <a:pt x="609" y="172"/>
                    </a:lnTo>
                    <a:lnTo>
                      <a:pt x="609" y="171"/>
                    </a:lnTo>
                    <a:lnTo>
                      <a:pt x="608" y="171"/>
                    </a:lnTo>
                    <a:lnTo>
                      <a:pt x="606" y="169"/>
                    </a:lnTo>
                    <a:lnTo>
                      <a:pt x="606" y="169"/>
                    </a:lnTo>
                    <a:lnTo>
                      <a:pt x="603" y="169"/>
                    </a:lnTo>
                    <a:lnTo>
                      <a:pt x="602" y="169"/>
                    </a:lnTo>
                    <a:lnTo>
                      <a:pt x="600" y="169"/>
                    </a:lnTo>
                    <a:lnTo>
                      <a:pt x="599" y="168"/>
                    </a:lnTo>
                    <a:lnTo>
                      <a:pt x="598" y="166"/>
                    </a:lnTo>
                    <a:lnTo>
                      <a:pt x="592" y="165"/>
                    </a:lnTo>
                    <a:lnTo>
                      <a:pt x="589" y="162"/>
                    </a:lnTo>
                    <a:lnTo>
                      <a:pt x="587" y="159"/>
                    </a:lnTo>
                    <a:lnTo>
                      <a:pt x="587" y="158"/>
                    </a:lnTo>
                    <a:lnTo>
                      <a:pt x="587" y="155"/>
                    </a:lnTo>
                    <a:lnTo>
                      <a:pt x="587" y="154"/>
                    </a:lnTo>
                    <a:lnTo>
                      <a:pt x="586" y="152"/>
                    </a:lnTo>
                    <a:lnTo>
                      <a:pt x="583" y="151"/>
                    </a:lnTo>
                    <a:lnTo>
                      <a:pt x="582" y="149"/>
                    </a:lnTo>
                    <a:lnTo>
                      <a:pt x="582" y="146"/>
                    </a:lnTo>
                    <a:lnTo>
                      <a:pt x="583" y="139"/>
                    </a:lnTo>
                    <a:lnTo>
                      <a:pt x="583" y="136"/>
                    </a:lnTo>
                    <a:lnTo>
                      <a:pt x="583" y="133"/>
                    </a:lnTo>
                    <a:lnTo>
                      <a:pt x="582" y="131"/>
                    </a:lnTo>
                    <a:lnTo>
                      <a:pt x="580" y="126"/>
                    </a:lnTo>
                    <a:lnTo>
                      <a:pt x="580" y="123"/>
                    </a:lnTo>
                    <a:lnTo>
                      <a:pt x="576" y="122"/>
                    </a:lnTo>
                    <a:lnTo>
                      <a:pt x="575" y="119"/>
                    </a:lnTo>
                    <a:lnTo>
                      <a:pt x="573" y="115"/>
                    </a:lnTo>
                    <a:lnTo>
                      <a:pt x="569" y="98"/>
                    </a:lnTo>
                    <a:lnTo>
                      <a:pt x="569" y="93"/>
                    </a:lnTo>
                    <a:lnTo>
                      <a:pt x="569" y="90"/>
                    </a:lnTo>
                    <a:lnTo>
                      <a:pt x="569" y="89"/>
                    </a:lnTo>
                    <a:lnTo>
                      <a:pt x="569" y="87"/>
                    </a:lnTo>
                    <a:lnTo>
                      <a:pt x="567" y="86"/>
                    </a:lnTo>
                    <a:lnTo>
                      <a:pt x="566" y="85"/>
                    </a:lnTo>
                    <a:lnTo>
                      <a:pt x="562" y="82"/>
                    </a:lnTo>
                    <a:lnTo>
                      <a:pt x="560" y="82"/>
                    </a:lnTo>
                    <a:lnTo>
                      <a:pt x="556" y="76"/>
                    </a:lnTo>
                    <a:lnTo>
                      <a:pt x="554" y="75"/>
                    </a:lnTo>
                    <a:lnTo>
                      <a:pt x="553" y="75"/>
                    </a:lnTo>
                    <a:lnTo>
                      <a:pt x="550" y="76"/>
                    </a:lnTo>
                    <a:lnTo>
                      <a:pt x="549" y="77"/>
                    </a:lnTo>
                    <a:lnTo>
                      <a:pt x="546" y="79"/>
                    </a:lnTo>
                    <a:lnTo>
                      <a:pt x="543" y="77"/>
                    </a:lnTo>
                    <a:lnTo>
                      <a:pt x="542" y="73"/>
                    </a:lnTo>
                    <a:lnTo>
                      <a:pt x="540" y="69"/>
                    </a:lnTo>
                    <a:lnTo>
                      <a:pt x="539" y="66"/>
                    </a:lnTo>
                    <a:lnTo>
                      <a:pt x="539" y="56"/>
                    </a:lnTo>
                    <a:lnTo>
                      <a:pt x="537" y="52"/>
                    </a:lnTo>
                    <a:lnTo>
                      <a:pt x="536" y="46"/>
                    </a:lnTo>
                    <a:lnTo>
                      <a:pt x="534" y="44"/>
                    </a:lnTo>
                    <a:lnTo>
                      <a:pt x="534" y="43"/>
                    </a:lnTo>
                    <a:lnTo>
                      <a:pt x="534" y="43"/>
                    </a:lnTo>
                    <a:lnTo>
                      <a:pt x="531" y="40"/>
                    </a:lnTo>
                    <a:lnTo>
                      <a:pt x="531" y="40"/>
                    </a:lnTo>
                    <a:lnTo>
                      <a:pt x="531" y="39"/>
                    </a:lnTo>
                    <a:lnTo>
                      <a:pt x="531" y="34"/>
                    </a:lnTo>
                    <a:lnTo>
                      <a:pt x="531" y="33"/>
                    </a:lnTo>
                    <a:lnTo>
                      <a:pt x="530" y="33"/>
                    </a:lnTo>
                    <a:lnTo>
                      <a:pt x="529" y="33"/>
                    </a:lnTo>
                    <a:lnTo>
                      <a:pt x="527" y="33"/>
                    </a:lnTo>
                    <a:lnTo>
                      <a:pt x="527" y="31"/>
                    </a:lnTo>
                    <a:lnTo>
                      <a:pt x="527" y="31"/>
                    </a:lnTo>
                    <a:lnTo>
                      <a:pt x="526" y="27"/>
                    </a:lnTo>
                    <a:lnTo>
                      <a:pt x="526" y="23"/>
                    </a:lnTo>
                    <a:lnTo>
                      <a:pt x="526" y="20"/>
                    </a:lnTo>
                    <a:lnTo>
                      <a:pt x="524" y="18"/>
                    </a:lnTo>
                    <a:lnTo>
                      <a:pt x="524" y="16"/>
                    </a:lnTo>
                    <a:lnTo>
                      <a:pt x="523" y="16"/>
                    </a:lnTo>
                    <a:lnTo>
                      <a:pt x="521" y="14"/>
                    </a:lnTo>
                    <a:lnTo>
                      <a:pt x="521" y="14"/>
                    </a:lnTo>
                    <a:lnTo>
                      <a:pt x="521" y="14"/>
                    </a:lnTo>
                    <a:lnTo>
                      <a:pt x="521" y="13"/>
                    </a:lnTo>
                    <a:lnTo>
                      <a:pt x="521" y="13"/>
                    </a:lnTo>
                    <a:lnTo>
                      <a:pt x="521" y="13"/>
                    </a:lnTo>
                    <a:lnTo>
                      <a:pt x="520" y="11"/>
                    </a:lnTo>
                    <a:lnTo>
                      <a:pt x="519" y="13"/>
                    </a:lnTo>
                    <a:lnTo>
                      <a:pt x="517" y="13"/>
                    </a:lnTo>
                    <a:lnTo>
                      <a:pt x="516" y="16"/>
                    </a:lnTo>
                    <a:lnTo>
                      <a:pt x="514" y="18"/>
                    </a:lnTo>
                    <a:lnTo>
                      <a:pt x="513" y="24"/>
                    </a:lnTo>
                    <a:lnTo>
                      <a:pt x="511" y="30"/>
                    </a:lnTo>
                    <a:lnTo>
                      <a:pt x="511" y="36"/>
                    </a:lnTo>
                    <a:lnTo>
                      <a:pt x="510" y="34"/>
                    </a:lnTo>
                    <a:lnTo>
                      <a:pt x="510" y="34"/>
                    </a:lnTo>
                    <a:lnTo>
                      <a:pt x="509" y="34"/>
                    </a:lnTo>
                    <a:lnTo>
                      <a:pt x="507" y="37"/>
                    </a:lnTo>
                    <a:lnTo>
                      <a:pt x="507" y="39"/>
                    </a:lnTo>
                    <a:lnTo>
                      <a:pt x="506" y="41"/>
                    </a:lnTo>
                    <a:lnTo>
                      <a:pt x="507" y="44"/>
                    </a:lnTo>
                    <a:lnTo>
                      <a:pt x="509" y="46"/>
                    </a:lnTo>
                    <a:lnTo>
                      <a:pt x="509" y="46"/>
                    </a:lnTo>
                    <a:lnTo>
                      <a:pt x="510" y="47"/>
                    </a:lnTo>
                    <a:lnTo>
                      <a:pt x="510" y="49"/>
                    </a:lnTo>
                    <a:lnTo>
                      <a:pt x="507" y="49"/>
                    </a:lnTo>
                    <a:lnTo>
                      <a:pt x="506" y="52"/>
                    </a:lnTo>
                    <a:lnTo>
                      <a:pt x="504" y="60"/>
                    </a:lnTo>
                    <a:lnTo>
                      <a:pt x="503" y="64"/>
                    </a:lnTo>
                    <a:lnTo>
                      <a:pt x="503" y="67"/>
                    </a:lnTo>
                    <a:lnTo>
                      <a:pt x="503" y="69"/>
                    </a:lnTo>
                    <a:lnTo>
                      <a:pt x="504" y="72"/>
                    </a:lnTo>
                    <a:lnTo>
                      <a:pt x="504" y="73"/>
                    </a:lnTo>
                    <a:lnTo>
                      <a:pt x="504" y="76"/>
                    </a:lnTo>
                    <a:lnTo>
                      <a:pt x="504" y="80"/>
                    </a:lnTo>
                    <a:lnTo>
                      <a:pt x="504" y="82"/>
                    </a:lnTo>
                    <a:lnTo>
                      <a:pt x="504" y="87"/>
                    </a:lnTo>
                    <a:lnTo>
                      <a:pt x="504" y="90"/>
                    </a:lnTo>
                    <a:lnTo>
                      <a:pt x="504" y="95"/>
                    </a:lnTo>
                    <a:lnTo>
                      <a:pt x="501" y="103"/>
                    </a:lnTo>
                    <a:lnTo>
                      <a:pt x="500" y="110"/>
                    </a:lnTo>
                    <a:lnTo>
                      <a:pt x="498" y="115"/>
                    </a:lnTo>
                    <a:lnTo>
                      <a:pt x="497" y="119"/>
                    </a:lnTo>
                    <a:lnTo>
                      <a:pt x="494" y="126"/>
                    </a:lnTo>
                    <a:lnTo>
                      <a:pt x="491" y="129"/>
                    </a:lnTo>
                    <a:lnTo>
                      <a:pt x="490" y="133"/>
                    </a:lnTo>
                    <a:lnTo>
                      <a:pt x="487" y="136"/>
                    </a:lnTo>
                    <a:lnTo>
                      <a:pt x="483" y="138"/>
                    </a:lnTo>
                    <a:lnTo>
                      <a:pt x="478" y="138"/>
                    </a:lnTo>
                    <a:lnTo>
                      <a:pt x="474" y="138"/>
                    </a:lnTo>
                    <a:lnTo>
                      <a:pt x="465" y="132"/>
                    </a:lnTo>
                    <a:lnTo>
                      <a:pt x="464" y="132"/>
                    </a:lnTo>
                    <a:lnTo>
                      <a:pt x="463" y="131"/>
                    </a:lnTo>
                    <a:lnTo>
                      <a:pt x="461" y="126"/>
                    </a:lnTo>
                    <a:lnTo>
                      <a:pt x="461" y="125"/>
                    </a:lnTo>
                    <a:lnTo>
                      <a:pt x="457" y="123"/>
                    </a:lnTo>
                    <a:lnTo>
                      <a:pt x="454" y="122"/>
                    </a:lnTo>
                    <a:lnTo>
                      <a:pt x="450" y="121"/>
                    </a:lnTo>
                    <a:lnTo>
                      <a:pt x="445" y="121"/>
                    </a:lnTo>
                    <a:lnTo>
                      <a:pt x="442" y="118"/>
                    </a:lnTo>
                    <a:lnTo>
                      <a:pt x="437" y="112"/>
                    </a:lnTo>
                    <a:lnTo>
                      <a:pt x="432" y="110"/>
                    </a:lnTo>
                    <a:lnTo>
                      <a:pt x="425" y="106"/>
                    </a:lnTo>
                    <a:lnTo>
                      <a:pt x="424" y="106"/>
                    </a:lnTo>
                    <a:lnTo>
                      <a:pt x="421" y="105"/>
                    </a:lnTo>
                    <a:lnTo>
                      <a:pt x="419" y="105"/>
                    </a:lnTo>
                    <a:lnTo>
                      <a:pt x="418" y="103"/>
                    </a:lnTo>
                    <a:lnTo>
                      <a:pt x="418" y="103"/>
                    </a:lnTo>
                    <a:lnTo>
                      <a:pt x="418" y="102"/>
                    </a:lnTo>
                    <a:lnTo>
                      <a:pt x="418" y="100"/>
                    </a:lnTo>
                    <a:lnTo>
                      <a:pt x="417" y="100"/>
                    </a:lnTo>
                    <a:lnTo>
                      <a:pt x="414" y="100"/>
                    </a:lnTo>
                    <a:lnTo>
                      <a:pt x="412" y="100"/>
                    </a:lnTo>
                    <a:lnTo>
                      <a:pt x="411" y="99"/>
                    </a:lnTo>
                    <a:lnTo>
                      <a:pt x="408" y="95"/>
                    </a:lnTo>
                    <a:lnTo>
                      <a:pt x="407" y="93"/>
                    </a:lnTo>
                    <a:lnTo>
                      <a:pt x="401" y="90"/>
                    </a:lnTo>
                    <a:lnTo>
                      <a:pt x="396" y="87"/>
                    </a:lnTo>
                    <a:lnTo>
                      <a:pt x="396" y="83"/>
                    </a:lnTo>
                    <a:lnTo>
                      <a:pt x="398" y="80"/>
                    </a:lnTo>
                    <a:lnTo>
                      <a:pt x="404" y="73"/>
                    </a:lnTo>
                    <a:lnTo>
                      <a:pt x="405" y="70"/>
                    </a:lnTo>
                    <a:lnTo>
                      <a:pt x="405" y="66"/>
                    </a:lnTo>
                    <a:lnTo>
                      <a:pt x="405" y="60"/>
                    </a:lnTo>
                    <a:lnTo>
                      <a:pt x="405" y="59"/>
                    </a:lnTo>
                    <a:lnTo>
                      <a:pt x="407" y="57"/>
                    </a:lnTo>
                    <a:lnTo>
                      <a:pt x="409" y="56"/>
                    </a:lnTo>
                    <a:lnTo>
                      <a:pt x="411" y="54"/>
                    </a:lnTo>
                    <a:lnTo>
                      <a:pt x="411" y="56"/>
                    </a:lnTo>
                    <a:lnTo>
                      <a:pt x="412" y="56"/>
                    </a:lnTo>
                    <a:lnTo>
                      <a:pt x="412" y="56"/>
                    </a:lnTo>
                    <a:lnTo>
                      <a:pt x="414" y="57"/>
                    </a:lnTo>
                    <a:lnTo>
                      <a:pt x="415" y="56"/>
                    </a:lnTo>
                    <a:lnTo>
                      <a:pt x="415" y="54"/>
                    </a:lnTo>
                    <a:lnTo>
                      <a:pt x="415" y="50"/>
                    </a:lnTo>
                    <a:lnTo>
                      <a:pt x="417" y="49"/>
                    </a:lnTo>
                    <a:lnTo>
                      <a:pt x="418" y="47"/>
                    </a:lnTo>
                    <a:lnTo>
                      <a:pt x="419" y="44"/>
                    </a:lnTo>
                    <a:lnTo>
                      <a:pt x="421" y="43"/>
                    </a:lnTo>
                    <a:lnTo>
                      <a:pt x="422" y="40"/>
                    </a:lnTo>
                    <a:lnTo>
                      <a:pt x="422" y="40"/>
                    </a:lnTo>
                    <a:lnTo>
                      <a:pt x="421" y="39"/>
                    </a:lnTo>
                    <a:lnTo>
                      <a:pt x="418" y="39"/>
                    </a:lnTo>
                    <a:lnTo>
                      <a:pt x="417" y="37"/>
                    </a:lnTo>
                    <a:lnTo>
                      <a:pt x="417" y="36"/>
                    </a:lnTo>
                    <a:lnTo>
                      <a:pt x="415" y="34"/>
                    </a:lnTo>
                    <a:lnTo>
                      <a:pt x="414" y="34"/>
                    </a:lnTo>
                    <a:lnTo>
                      <a:pt x="411" y="36"/>
                    </a:lnTo>
                    <a:lnTo>
                      <a:pt x="411" y="37"/>
                    </a:lnTo>
                    <a:lnTo>
                      <a:pt x="411" y="39"/>
                    </a:lnTo>
                    <a:lnTo>
                      <a:pt x="412" y="40"/>
                    </a:lnTo>
                    <a:lnTo>
                      <a:pt x="411" y="41"/>
                    </a:lnTo>
                    <a:lnTo>
                      <a:pt x="409" y="41"/>
                    </a:lnTo>
                    <a:lnTo>
                      <a:pt x="408" y="41"/>
                    </a:lnTo>
                    <a:lnTo>
                      <a:pt x="407" y="40"/>
                    </a:lnTo>
                    <a:lnTo>
                      <a:pt x="405" y="39"/>
                    </a:lnTo>
                    <a:lnTo>
                      <a:pt x="405" y="39"/>
                    </a:lnTo>
                    <a:lnTo>
                      <a:pt x="405" y="37"/>
                    </a:lnTo>
                    <a:lnTo>
                      <a:pt x="404" y="37"/>
                    </a:lnTo>
                    <a:lnTo>
                      <a:pt x="404" y="37"/>
                    </a:lnTo>
                    <a:lnTo>
                      <a:pt x="402" y="39"/>
                    </a:lnTo>
                    <a:lnTo>
                      <a:pt x="401" y="39"/>
                    </a:lnTo>
                    <a:lnTo>
                      <a:pt x="401" y="37"/>
                    </a:lnTo>
                    <a:lnTo>
                      <a:pt x="402" y="36"/>
                    </a:lnTo>
                    <a:lnTo>
                      <a:pt x="404" y="34"/>
                    </a:lnTo>
                    <a:lnTo>
                      <a:pt x="404" y="33"/>
                    </a:lnTo>
                    <a:lnTo>
                      <a:pt x="404" y="33"/>
                    </a:lnTo>
                    <a:lnTo>
                      <a:pt x="404" y="33"/>
                    </a:lnTo>
                    <a:lnTo>
                      <a:pt x="404" y="31"/>
                    </a:lnTo>
                    <a:lnTo>
                      <a:pt x="405" y="31"/>
                    </a:lnTo>
                    <a:lnTo>
                      <a:pt x="395" y="37"/>
                    </a:lnTo>
                    <a:lnTo>
                      <a:pt x="392" y="37"/>
                    </a:lnTo>
                    <a:lnTo>
                      <a:pt x="391" y="37"/>
                    </a:lnTo>
                    <a:lnTo>
                      <a:pt x="388" y="37"/>
                    </a:lnTo>
                    <a:lnTo>
                      <a:pt x="385" y="36"/>
                    </a:lnTo>
                    <a:lnTo>
                      <a:pt x="385" y="36"/>
                    </a:lnTo>
                    <a:lnTo>
                      <a:pt x="385" y="34"/>
                    </a:lnTo>
                    <a:lnTo>
                      <a:pt x="384" y="34"/>
                    </a:lnTo>
                    <a:lnTo>
                      <a:pt x="384" y="34"/>
                    </a:lnTo>
                    <a:lnTo>
                      <a:pt x="382" y="34"/>
                    </a:lnTo>
                    <a:lnTo>
                      <a:pt x="381" y="34"/>
                    </a:lnTo>
                    <a:lnTo>
                      <a:pt x="378" y="34"/>
                    </a:lnTo>
                    <a:lnTo>
                      <a:pt x="376" y="34"/>
                    </a:lnTo>
                    <a:lnTo>
                      <a:pt x="375" y="34"/>
                    </a:lnTo>
                    <a:lnTo>
                      <a:pt x="372" y="33"/>
                    </a:lnTo>
                    <a:lnTo>
                      <a:pt x="371" y="31"/>
                    </a:lnTo>
                    <a:lnTo>
                      <a:pt x="368" y="31"/>
                    </a:lnTo>
                    <a:lnTo>
                      <a:pt x="363" y="31"/>
                    </a:lnTo>
                    <a:lnTo>
                      <a:pt x="361" y="30"/>
                    </a:lnTo>
                    <a:lnTo>
                      <a:pt x="359" y="30"/>
                    </a:lnTo>
                    <a:lnTo>
                      <a:pt x="358" y="29"/>
                    </a:lnTo>
                    <a:lnTo>
                      <a:pt x="356" y="27"/>
                    </a:lnTo>
                    <a:lnTo>
                      <a:pt x="355" y="26"/>
                    </a:lnTo>
                    <a:lnTo>
                      <a:pt x="353" y="24"/>
                    </a:lnTo>
                    <a:lnTo>
                      <a:pt x="352" y="24"/>
                    </a:lnTo>
                    <a:lnTo>
                      <a:pt x="352" y="24"/>
                    </a:lnTo>
                    <a:lnTo>
                      <a:pt x="351" y="24"/>
                    </a:lnTo>
                    <a:lnTo>
                      <a:pt x="349" y="24"/>
                    </a:lnTo>
                    <a:lnTo>
                      <a:pt x="349" y="26"/>
                    </a:lnTo>
                    <a:lnTo>
                      <a:pt x="348" y="26"/>
                    </a:lnTo>
                    <a:lnTo>
                      <a:pt x="348" y="24"/>
                    </a:lnTo>
                    <a:lnTo>
                      <a:pt x="348" y="24"/>
                    </a:lnTo>
                    <a:lnTo>
                      <a:pt x="346" y="24"/>
                    </a:lnTo>
                    <a:lnTo>
                      <a:pt x="342" y="21"/>
                    </a:lnTo>
                    <a:lnTo>
                      <a:pt x="340" y="20"/>
                    </a:lnTo>
                    <a:lnTo>
                      <a:pt x="340" y="20"/>
                    </a:lnTo>
                    <a:lnTo>
                      <a:pt x="339" y="21"/>
                    </a:lnTo>
                    <a:lnTo>
                      <a:pt x="339" y="21"/>
                    </a:lnTo>
                    <a:lnTo>
                      <a:pt x="339" y="21"/>
                    </a:lnTo>
                    <a:lnTo>
                      <a:pt x="335" y="20"/>
                    </a:lnTo>
                    <a:lnTo>
                      <a:pt x="333" y="20"/>
                    </a:lnTo>
                    <a:lnTo>
                      <a:pt x="333" y="21"/>
                    </a:lnTo>
                    <a:lnTo>
                      <a:pt x="333" y="23"/>
                    </a:lnTo>
                    <a:lnTo>
                      <a:pt x="338" y="24"/>
                    </a:lnTo>
                    <a:lnTo>
                      <a:pt x="338" y="26"/>
                    </a:lnTo>
                    <a:lnTo>
                      <a:pt x="339" y="26"/>
                    </a:lnTo>
                    <a:lnTo>
                      <a:pt x="342" y="26"/>
                    </a:lnTo>
                    <a:lnTo>
                      <a:pt x="343" y="26"/>
                    </a:lnTo>
                    <a:lnTo>
                      <a:pt x="346" y="27"/>
                    </a:lnTo>
                    <a:lnTo>
                      <a:pt x="346" y="30"/>
                    </a:lnTo>
                    <a:lnTo>
                      <a:pt x="346" y="34"/>
                    </a:lnTo>
                    <a:lnTo>
                      <a:pt x="348" y="37"/>
                    </a:lnTo>
                    <a:lnTo>
                      <a:pt x="346" y="37"/>
                    </a:lnTo>
                    <a:lnTo>
                      <a:pt x="345" y="37"/>
                    </a:lnTo>
                    <a:lnTo>
                      <a:pt x="343" y="37"/>
                    </a:lnTo>
                    <a:lnTo>
                      <a:pt x="343" y="40"/>
                    </a:lnTo>
                    <a:lnTo>
                      <a:pt x="342" y="39"/>
                    </a:lnTo>
                    <a:lnTo>
                      <a:pt x="340" y="39"/>
                    </a:lnTo>
                    <a:lnTo>
                      <a:pt x="339" y="39"/>
                    </a:lnTo>
                    <a:lnTo>
                      <a:pt x="333" y="39"/>
                    </a:lnTo>
                    <a:lnTo>
                      <a:pt x="328" y="40"/>
                    </a:lnTo>
                    <a:lnTo>
                      <a:pt x="325" y="39"/>
                    </a:lnTo>
                    <a:lnTo>
                      <a:pt x="323" y="36"/>
                    </a:lnTo>
                    <a:lnTo>
                      <a:pt x="322" y="37"/>
                    </a:lnTo>
                    <a:lnTo>
                      <a:pt x="322" y="37"/>
                    </a:lnTo>
                    <a:lnTo>
                      <a:pt x="320" y="37"/>
                    </a:lnTo>
                    <a:lnTo>
                      <a:pt x="319" y="37"/>
                    </a:lnTo>
                    <a:lnTo>
                      <a:pt x="319" y="39"/>
                    </a:lnTo>
                    <a:lnTo>
                      <a:pt x="319" y="40"/>
                    </a:lnTo>
                    <a:lnTo>
                      <a:pt x="319" y="40"/>
                    </a:lnTo>
                    <a:lnTo>
                      <a:pt x="318" y="40"/>
                    </a:lnTo>
                    <a:lnTo>
                      <a:pt x="316" y="41"/>
                    </a:lnTo>
                    <a:lnTo>
                      <a:pt x="316" y="43"/>
                    </a:lnTo>
                    <a:lnTo>
                      <a:pt x="316" y="44"/>
                    </a:lnTo>
                    <a:lnTo>
                      <a:pt x="315" y="43"/>
                    </a:lnTo>
                    <a:lnTo>
                      <a:pt x="313" y="43"/>
                    </a:lnTo>
                    <a:lnTo>
                      <a:pt x="312" y="41"/>
                    </a:lnTo>
                    <a:lnTo>
                      <a:pt x="312" y="43"/>
                    </a:lnTo>
                    <a:lnTo>
                      <a:pt x="310" y="43"/>
                    </a:lnTo>
                    <a:lnTo>
                      <a:pt x="312" y="46"/>
                    </a:lnTo>
                    <a:lnTo>
                      <a:pt x="312" y="46"/>
                    </a:lnTo>
                    <a:lnTo>
                      <a:pt x="310" y="46"/>
                    </a:lnTo>
                    <a:lnTo>
                      <a:pt x="309" y="46"/>
                    </a:lnTo>
                    <a:lnTo>
                      <a:pt x="307" y="46"/>
                    </a:lnTo>
                    <a:lnTo>
                      <a:pt x="307" y="47"/>
                    </a:lnTo>
                    <a:lnTo>
                      <a:pt x="306" y="49"/>
                    </a:lnTo>
                    <a:lnTo>
                      <a:pt x="306" y="50"/>
                    </a:lnTo>
                    <a:lnTo>
                      <a:pt x="306" y="50"/>
                    </a:lnTo>
                    <a:lnTo>
                      <a:pt x="305" y="52"/>
                    </a:lnTo>
                    <a:lnTo>
                      <a:pt x="303" y="52"/>
                    </a:lnTo>
                    <a:lnTo>
                      <a:pt x="303" y="53"/>
                    </a:lnTo>
                    <a:lnTo>
                      <a:pt x="303" y="54"/>
                    </a:lnTo>
                    <a:lnTo>
                      <a:pt x="303" y="56"/>
                    </a:lnTo>
                    <a:lnTo>
                      <a:pt x="305" y="57"/>
                    </a:lnTo>
                    <a:lnTo>
                      <a:pt x="303" y="60"/>
                    </a:lnTo>
                    <a:lnTo>
                      <a:pt x="302" y="60"/>
                    </a:lnTo>
                    <a:lnTo>
                      <a:pt x="299" y="62"/>
                    </a:lnTo>
                    <a:lnTo>
                      <a:pt x="297" y="63"/>
                    </a:lnTo>
                    <a:lnTo>
                      <a:pt x="296" y="64"/>
                    </a:lnTo>
                    <a:lnTo>
                      <a:pt x="296" y="69"/>
                    </a:lnTo>
                    <a:lnTo>
                      <a:pt x="296" y="70"/>
                    </a:lnTo>
                    <a:lnTo>
                      <a:pt x="295" y="72"/>
                    </a:lnTo>
                    <a:lnTo>
                      <a:pt x="292" y="73"/>
                    </a:lnTo>
                    <a:lnTo>
                      <a:pt x="290" y="75"/>
                    </a:lnTo>
                    <a:lnTo>
                      <a:pt x="290" y="76"/>
                    </a:lnTo>
                    <a:lnTo>
                      <a:pt x="290" y="79"/>
                    </a:lnTo>
                    <a:lnTo>
                      <a:pt x="292" y="79"/>
                    </a:lnTo>
                    <a:lnTo>
                      <a:pt x="293" y="80"/>
                    </a:lnTo>
                    <a:lnTo>
                      <a:pt x="295" y="80"/>
                    </a:lnTo>
                    <a:lnTo>
                      <a:pt x="295" y="82"/>
                    </a:lnTo>
                    <a:lnTo>
                      <a:pt x="295" y="83"/>
                    </a:lnTo>
                    <a:lnTo>
                      <a:pt x="296" y="85"/>
                    </a:lnTo>
                    <a:lnTo>
                      <a:pt x="297" y="86"/>
                    </a:lnTo>
                    <a:lnTo>
                      <a:pt x="295" y="86"/>
                    </a:lnTo>
                    <a:lnTo>
                      <a:pt x="295" y="87"/>
                    </a:lnTo>
                    <a:lnTo>
                      <a:pt x="295" y="92"/>
                    </a:lnTo>
                    <a:lnTo>
                      <a:pt x="292" y="89"/>
                    </a:lnTo>
                    <a:lnTo>
                      <a:pt x="292" y="87"/>
                    </a:lnTo>
                    <a:lnTo>
                      <a:pt x="290" y="87"/>
                    </a:lnTo>
                    <a:lnTo>
                      <a:pt x="287" y="87"/>
                    </a:lnTo>
                    <a:lnTo>
                      <a:pt x="287" y="87"/>
                    </a:lnTo>
                    <a:lnTo>
                      <a:pt x="287" y="89"/>
                    </a:lnTo>
                    <a:lnTo>
                      <a:pt x="287" y="92"/>
                    </a:lnTo>
                    <a:lnTo>
                      <a:pt x="284" y="89"/>
                    </a:lnTo>
                    <a:lnTo>
                      <a:pt x="282" y="86"/>
                    </a:lnTo>
                    <a:lnTo>
                      <a:pt x="277" y="85"/>
                    </a:lnTo>
                    <a:lnTo>
                      <a:pt x="273" y="85"/>
                    </a:lnTo>
                    <a:lnTo>
                      <a:pt x="272" y="86"/>
                    </a:lnTo>
                    <a:lnTo>
                      <a:pt x="270" y="87"/>
                    </a:lnTo>
                    <a:lnTo>
                      <a:pt x="269" y="89"/>
                    </a:lnTo>
                    <a:lnTo>
                      <a:pt x="269" y="90"/>
                    </a:lnTo>
                    <a:lnTo>
                      <a:pt x="269" y="92"/>
                    </a:lnTo>
                    <a:lnTo>
                      <a:pt x="269" y="93"/>
                    </a:lnTo>
                    <a:lnTo>
                      <a:pt x="270" y="95"/>
                    </a:lnTo>
                    <a:lnTo>
                      <a:pt x="269" y="93"/>
                    </a:lnTo>
                    <a:lnTo>
                      <a:pt x="267" y="93"/>
                    </a:lnTo>
                    <a:lnTo>
                      <a:pt x="267" y="93"/>
                    </a:lnTo>
                    <a:lnTo>
                      <a:pt x="266" y="95"/>
                    </a:lnTo>
                    <a:lnTo>
                      <a:pt x="267" y="92"/>
                    </a:lnTo>
                    <a:lnTo>
                      <a:pt x="267" y="87"/>
                    </a:lnTo>
                    <a:lnTo>
                      <a:pt x="269" y="85"/>
                    </a:lnTo>
                    <a:lnTo>
                      <a:pt x="267" y="83"/>
                    </a:lnTo>
                    <a:lnTo>
                      <a:pt x="266" y="80"/>
                    </a:lnTo>
                    <a:lnTo>
                      <a:pt x="257" y="72"/>
                    </a:lnTo>
                    <a:lnTo>
                      <a:pt x="254" y="70"/>
                    </a:lnTo>
                    <a:lnTo>
                      <a:pt x="250" y="67"/>
                    </a:lnTo>
                    <a:lnTo>
                      <a:pt x="249" y="67"/>
                    </a:lnTo>
                    <a:lnTo>
                      <a:pt x="246" y="66"/>
                    </a:lnTo>
                    <a:lnTo>
                      <a:pt x="244" y="66"/>
                    </a:lnTo>
                    <a:lnTo>
                      <a:pt x="243" y="70"/>
                    </a:lnTo>
                    <a:lnTo>
                      <a:pt x="241" y="72"/>
                    </a:lnTo>
                    <a:lnTo>
                      <a:pt x="241" y="73"/>
                    </a:lnTo>
                    <a:lnTo>
                      <a:pt x="240" y="73"/>
                    </a:lnTo>
                    <a:lnTo>
                      <a:pt x="239" y="72"/>
                    </a:lnTo>
                    <a:lnTo>
                      <a:pt x="237" y="72"/>
                    </a:lnTo>
                    <a:lnTo>
                      <a:pt x="236" y="72"/>
                    </a:lnTo>
                    <a:lnTo>
                      <a:pt x="234" y="73"/>
                    </a:lnTo>
                    <a:lnTo>
                      <a:pt x="234" y="72"/>
                    </a:lnTo>
                    <a:lnTo>
                      <a:pt x="234" y="72"/>
                    </a:lnTo>
                    <a:lnTo>
                      <a:pt x="233" y="70"/>
                    </a:lnTo>
                    <a:lnTo>
                      <a:pt x="231" y="70"/>
                    </a:lnTo>
                    <a:lnTo>
                      <a:pt x="231" y="70"/>
                    </a:lnTo>
                    <a:lnTo>
                      <a:pt x="231" y="72"/>
                    </a:lnTo>
                    <a:lnTo>
                      <a:pt x="231" y="73"/>
                    </a:lnTo>
                    <a:lnTo>
                      <a:pt x="231" y="73"/>
                    </a:lnTo>
                    <a:lnTo>
                      <a:pt x="231" y="76"/>
                    </a:lnTo>
                    <a:lnTo>
                      <a:pt x="230" y="77"/>
                    </a:lnTo>
                    <a:lnTo>
                      <a:pt x="228" y="82"/>
                    </a:lnTo>
                    <a:lnTo>
                      <a:pt x="227" y="80"/>
                    </a:lnTo>
                    <a:lnTo>
                      <a:pt x="227" y="79"/>
                    </a:lnTo>
                    <a:lnTo>
                      <a:pt x="226" y="79"/>
                    </a:lnTo>
                    <a:lnTo>
                      <a:pt x="224" y="80"/>
                    </a:lnTo>
                    <a:lnTo>
                      <a:pt x="224" y="77"/>
                    </a:lnTo>
                    <a:lnTo>
                      <a:pt x="226" y="76"/>
                    </a:lnTo>
                    <a:lnTo>
                      <a:pt x="226" y="76"/>
                    </a:lnTo>
                    <a:lnTo>
                      <a:pt x="224" y="75"/>
                    </a:lnTo>
                    <a:lnTo>
                      <a:pt x="223" y="76"/>
                    </a:lnTo>
                    <a:lnTo>
                      <a:pt x="223" y="76"/>
                    </a:lnTo>
                    <a:lnTo>
                      <a:pt x="223" y="77"/>
                    </a:lnTo>
                    <a:lnTo>
                      <a:pt x="223" y="77"/>
                    </a:lnTo>
                    <a:lnTo>
                      <a:pt x="223" y="79"/>
                    </a:lnTo>
                    <a:lnTo>
                      <a:pt x="221" y="79"/>
                    </a:lnTo>
                    <a:lnTo>
                      <a:pt x="221" y="80"/>
                    </a:lnTo>
                    <a:lnTo>
                      <a:pt x="220" y="80"/>
                    </a:lnTo>
                    <a:lnTo>
                      <a:pt x="218" y="80"/>
                    </a:lnTo>
                    <a:lnTo>
                      <a:pt x="218" y="82"/>
                    </a:lnTo>
                    <a:lnTo>
                      <a:pt x="217" y="82"/>
                    </a:lnTo>
                    <a:lnTo>
                      <a:pt x="217" y="83"/>
                    </a:lnTo>
                    <a:lnTo>
                      <a:pt x="216" y="83"/>
                    </a:lnTo>
                    <a:lnTo>
                      <a:pt x="216" y="85"/>
                    </a:lnTo>
                    <a:lnTo>
                      <a:pt x="217" y="86"/>
                    </a:lnTo>
                    <a:lnTo>
                      <a:pt x="217" y="87"/>
                    </a:lnTo>
                    <a:lnTo>
                      <a:pt x="218" y="89"/>
                    </a:lnTo>
                    <a:lnTo>
                      <a:pt x="220" y="89"/>
                    </a:lnTo>
                    <a:lnTo>
                      <a:pt x="218" y="90"/>
                    </a:lnTo>
                    <a:lnTo>
                      <a:pt x="217" y="90"/>
                    </a:lnTo>
                    <a:lnTo>
                      <a:pt x="213" y="89"/>
                    </a:lnTo>
                    <a:lnTo>
                      <a:pt x="213" y="90"/>
                    </a:lnTo>
                    <a:lnTo>
                      <a:pt x="210" y="92"/>
                    </a:lnTo>
                    <a:lnTo>
                      <a:pt x="210" y="92"/>
                    </a:lnTo>
                    <a:lnTo>
                      <a:pt x="210" y="93"/>
                    </a:lnTo>
                    <a:lnTo>
                      <a:pt x="211" y="95"/>
                    </a:lnTo>
                    <a:lnTo>
                      <a:pt x="213" y="95"/>
                    </a:lnTo>
                    <a:lnTo>
                      <a:pt x="214" y="95"/>
                    </a:lnTo>
                    <a:lnTo>
                      <a:pt x="214" y="95"/>
                    </a:lnTo>
                    <a:lnTo>
                      <a:pt x="214" y="96"/>
                    </a:lnTo>
                    <a:lnTo>
                      <a:pt x="214" y="96"/>
                    </a:lnTo>
                    <a:lnTo>
                      <a:pt x="213" y="98"/>
                    </a:lnTo>
                    <a:lnTo>
                      <a:pt x="211" y="96"/>
                    </a:lnTo>
                    <a:lnTo>
                      <a:pt x="210" y="95"/>
                    </a:lnTo>
                    <a:lnTo>
                      <a:pt x="208" y="95"/>
                    </a:lnTo>
                    <a:lnTo>
                      <a:pt x="207" y="93"/>
                    </a:lnTo>
                    <a:lnTo>
                      <a:pt x="207" y="95"/>
                    </a:lnTo>
                    <a:lnTo>
                      <a:pt x="205" y="96"/>
                    </a:lnTo>
                    <a:lnTo>
                      <a:pt x="205" y="98"/>
                    </a:lnTo>
                    <a:lnTo>
                      <a:pt x="204" y="98"/>
                    </a:lnTo>
                    <a:lnTo>
                      <a:pt x="204" y="98"/>
                    </a:lnTo>
                    <a:lnTo>
                      <a:pt x="203" y="99"/>
                    </a:lnTo>
                    <a:lnTo>
                      <a:pt x="203" y="100"/>
                    </a:lnTo>
                    <a:lnTo>
                      <a:pt x="201" y="102"/>
                    </a:lnTo>
                    <a:lnTo>
                      <a:pt x="203" y="103"/>
                    </a:lnTo>
                    <a:lnTo>
                      <a:pt x="203" y="105"/>
                    </a:lnTo>
                    <a:lnTo>
                      <a:pt x="204" y="106"/>
                    </a:lnTo>
                    <a:lnTo>
                      <a:pt x="204" y="106"/>
                    </a:lnTo>
                    <a:lnTo>
                      <a:pt x="205" y="105"/>
                    </a:lnTo>
                    <a:lnTo>
                      <a:pt x="205" y="103"/>
                    </a:lnTo>
                    <a:lnTo>
                      <a:pt x="207" y="103"/>
                    </a:lnTo>
                    <a:lnTo>
                      <a:pt x="205" y="106"/>
                    </a:lnTo>
                    <a:lnTo>
                      <a:pt x="205" y="108"/>
                    </a:lnTo>
                    <a:lnTo>
                      <a:pt x="205" y="108"/>
                    </a:lnTo>
                    <a:lnTo>
                      <a:pt x="204" y="109"/>
                    </a:lnTo>
                    <a:lnTo>
                      <a:pt x="203" y="109"/>
                    </a:lnTo>
                    <a:lnTo>
                      <a:pt x="203" y="109"/>
                    </a:lnTo>
                    <a:lnTo>
                      <a:pt x="203" y="112"/>
                    </a:lnTo>
                    <a:lnTo>
                      <a:pt x="204" y="113"/>
                    </a:lnTo>
                    <a:lnTo>
                      <a:pt x="207" y="113"/>
                    </a:lnTo>
                    <a:lnTo>
                      <a:pt x="208" y="115"/>
                    </a:lnTo>
                    <a:lnTo>
                      <a:pt x="207" y="115"/>
                    </a:lnTo>
                    <a:lnTo>
                      <a:pt x="201" y="115"/>
                    </a:lnTo>
                    <a:lnTo>
                      <a:pt x="200" y="113"/>
                    </a:lnTo>
                    <a:lnTo>
                      <a:pt x="198" y="113"/>
                    </a:lnTo>
                    <a:lnTo>
                      <a:pt x="197" y="112"/>
                    </a:lnTo>
                    <a:lnTo>
                      <a:pt x="197" y="112"/>
                    </a:lnTo>
                    <a:lnTo>
                      <a:pt x="195" y="112"/>
                    </a:lnTo>
                    <a:lnTo>
                      <a:pt x="194" y="113"/>
                    </a:lnTo>
                    <a:lnTo>
                      <a:pt x="194" y="113"/>
                    </a:lnTo>
                    <a:lnTo>
                      <a:pt x="194" y="113"/>
                    </a:lnTo>
                    <a:lnTo>
                      <a:pt x="191" y="113"/>
                    </a:lnTo>
                    <a:lnTo>
                      <a:pt x="191" y="112"/>
                    </a:lnTo>
                    <a:lnTo>
                      <a:pt x="190" y="110"/>
                    </a:lnTo>
                    <a:lnTo>
                      <a:pt x="188" y="112"/>
                    </a:lnTo>
                    <a:lnTo>
                      <a:pt x="188" y="112"/>
                    </a:lnTo>
                    <a:lnTo>
                      <a:pt x="188" y="115"/>
                    </a:lnTo>
                    <a:lnTo>
                      <a:pt x="188" y="116"/>
                    </a:lnTo>
                    <a:lnTo>
                      <a:pt x="187" y="116"/>
                    </a:lnTo>
                    <a:lnTo>
                      <a:pt x="185" y="116"/>
                    </a:lnTo>
                    <a:lnTo>
                      <a:pt x="187" y="118"/>
                    </a:lnTo>
                    <a:lnTo>
                      <a:pt x="188" y="119"/>
                    </a:lnTo>
                    <a:lnTo>
                      <a:pt x="190" y="122"/>
                    </a:lnTo>
                    <a:lnTo>
                      <a:pt x="191" y="123"/>
                    </a:lnTo>
                    <a:lnTo>
                      <a:pt x="191" y="123"/>
                    </a:lnTo>
                    <a:lnTo>
                      <a:pt x="193" y="123"/>
                    </a:lnTo>
                    <a:lnTo>
                      <a:pt x="193" y="123"/>
                    </a:lnTo>
                    <a:lnTo>
                      <a:pt x="193" y="125"/>
                    </a:lnTo>
                    <a:lnTo>
                      <a:pt x="193" y="125"/>
                    </a:lnTo>
                    <a:lnTo>
                      <a:pt x="193" y="126"/>
                    </a:lnTo>
                    <a:lnTo>
                      <a:pt x="193" y="128"/>
                    </a:lnTo>
                    <a:lnTo>
                      <a:pt x="191" y="128"/>
                    </a:lnTo>
                    <a:lnTo>
                      <a:pt x="190" y="128"/>
                    </a:lnTo>
                    <a:lnTo>
                      <a:pt x="190" y="126"/>
                    </a:lnTo>
                    <a:lnTo>
                      <a:pt x="188" y="126"/>
                    </a:lnTo>
                    <a:lnTo>
                      <a:pt x="188" y="126"/>
                    </a:lnTo>
                    <a:lnTo>
                      <a:pt x="187" y="128"/>
                    </a:lnTo>
                    <a:lnTo>
                      <a:pt x="187" y="135"/>
                    </a:lnTo>
                    <a:lnTo>
                      <a:pt x="185" y="132"/>
                    </a:lnTo>
                    <a:lnTo>
                      <a:pt x="177" y="116"/>
                    </a:lnTo>
                    <a:lnTo>
                      <a:pt x="177" y="115"/>
                    </a:lnTo>
                    <a:lnTo>
                      <a:pt x="175" y="116"/>
                    </a:lnTo>
                    <a:lnTo>
                      <a:pt x="172" y="121"/>
                    </a:lnTo>
                    <a:lnTo>
                      <a:pt x="171" y="122"/>
                    </a:lnTo>
                    <a:lnTo>
                      <a:pt x="167" y="126"/>
                    </a:lnTo>
                    <a:lnTo>
                      <a:pt x="164" y="128"/>
                    </a:lnTo>
                    <a:lnTo>
                      <a:pt x="162" y="131"/>
                    </a:lnTo>
                    <a:lnTo>
                      <a:pt x="162" y="133"/>
                    </a:lnTo>
                    <a:lnTo>
                      <a:pt x="162" y="136"/>
                    </a:lnTo>
                    <a:lnTo>
                      <a:pt x="162" y="139"/>
                    </a:lnTo>
                    <a:lnTo>
                      <a:pt x="164" y="142"/>
                    </a:lnTo>
                    <a:lnTo>
                      <a:pt x="165" y="144"/>
                    </a:lnTo>
                    <a:lnTo>
                      <a:pt x="165" y="145"/>
                    </a:lnTo>
                    <a:lnTo>
                      <a:pt x="165" y="146"/>
                    </a:lnTo>
                    <a:lnTo>
                      <a:pt x="164" y="148"/>
                    </a:lnTo>
                    <a:lnTo>
                      <a:pt x="157" y="154"/>
                    </a:lnTo>
                    <a:lnTo>
                      <a:pt x="155" y="155"/>
                    </a:lnTo>
                    <a:lnTo>
                      <a:pt x="154" y="158"/>
                    </a:lnTo>
                    <a:lnTo>
                      <a:pt x="151" y="164"/>
                    </a:lnTo>
                    <a:lnTo>
                      <a:pt x="149" y="166"/>
                    </a:lnTo>
                    <a:lnTo>
                      <a:pt x="145" y="171"/>
                    </a:lnTo>
                    <a:lnTo>
                      <a:pt x="139" y="175"/>
                    </a:lnTo>
                    <a:lnTo>
                      <a:pt x="135" y="178"/>
                    </a:lnTo>
                    <a:lnTo>
                      <a:pt x="119" y="181"/>
                    </a:lnTo>
                    <a:lnTo>
                      <a:pt x="118" y="182"/>
                    </a:lnTo>
                    <a:lnTo>
                      <a:pt x="115" y="182"/>
                    </a:lnTo>
                    <a:lnTo>
                      <a:pt x="112" y="181"/>
                    </a:lnTo>
                    <a:lnTo>
                      <a:pt x="109" y="181"/>
                    </a:lnTo>
                    <a:lnTo>
                      <a:pt x="106" y="182"/>
                    </a:lnTo>
                    <a:lnTo>
                      <a:pt x="102" y="185"/>
                    </a:lnTo>
                    <a:lnTo>
                      <a:pt x="99" y="187"/>
                    </a:lnTo>
                    <a:lnTo>
                      <a:pt x="92" y="188"/>
                    </a:lnTo>
                    <a:lnTo>
                      <a:pt x="83" y="192"/>
                    </a:lnTo>
                    <a:lnTo>
                      <a:pt x="79" y="194"/>
                    </a:lnTo>
                    <a:lnTo>
                      <a:pt x="68" y="194"/>
                    </a:lnTo>
                    <a:lnTo>
                      <a:pt x="63" y="195"/>
                    </a:lnTo>
                    <a:lnTo>
                      <a:pt x="56" y="200"/>
                    </a:lnTo>
                    <a:lnTo>
                      <a:pt x="45" y="208"/>
                    </a:lnTo>
                    <a:lnTo>
                      <a:pt x="43" y="210"/>
                    </a:lnTo>
                    <a:lnTo>
                      <a:pt x="40" y="211"/>
                    </a:lnTo>
                    <a:lnTo>
                      <a:pt x="35" y="214"/>
                    </a:lnTo>
                    <a:lnTo>
                      <a:pt x="32" y="215"/>
                    </a:lnTo>
                    <a:lnTo>
                      <a:pt x="29" y="218"/>
                    </a:lnTo>
                    <a:lnTo>
                      <a:pt x="26" y="224"/>
                    </a:lnTo>
                    <a:lnTo>
                      <a:pt x="25" y="227"/>
                    </a:lnTo>
                    <a:lnTo>
                      <a:pt x="22" y="228"/>
                    </a:lnTo>
                    <a:lnTo>
                      <a:pt x="22" y="225"/>
                    </a:lnTo>
                    <a:lnTo>
                      <a:pt x="22" y="225"/>
                    </a:lnTo>
                    <a:lnTo>
                      <a:pt x="22" y="224"/>
                    </a:lnTo>
                    <a:lnTo>
                      <a:pt x="20" y="221"/>
                    </a:lnTo>
                    <a:lnTo>
                      <a:pt x="20" y="220"/>
                    </a:lnTo>
                    <a:lnTo>
                      <a:pt x="22" y="217"/>
                    </a:lnTo>
                    <a:lnTo>
                      <a:pt x="22" y="215"/>
                    </a:lnTo>
                    <a:lnTo>
                      <a:pt x="19" y="217"/>
                    </a:lnTo>
                    <a:lnTo>
                      <a:pt x="17" y="220"/>
                    </a:lnTo>
                    <a:lnTo>
                      <a:pt x="14" y="227"/>
                    </a:lnTo>
                    <a:lnTo>
                      <a:pt x="14" y="230"/>
                    </a:lnTo>
                    <a:lnTo>
                      <a:pt x="14" y="233"/>
                    </a:lnTo>
                    <a:lnTo>
                      <a:pt x="14" y="237"/>
                    </a:lnTo>
                    <a:lnTo>
                      <a:pt x="14" y="240"/>
                    </a:lnTo>
                    <a:lnTo>
                      <a:pt x="13" y="247"/>
                    </a:lnTo>
                    <a:lnTo>
                      <a:pt x="12" y="253"/>
                    </a:lnTo>
                    <a:lnTo>
                      <a:pt x="9" y="258"/>
                    </a:lnTo>
                    <a:lnTo>
                      <a:pt x="9" y="266"/>
                    </a:lnTo>
                    <a:lnTo>
                      <a:pt x="10" y="269"/>
                    </a:lnTo>
                    <a:lnTo>
                      <a:pt x="22" y="292"/>
                    </a:lnTo>
                    <a:lnTo>
                      <a:pt x="23" y="296"/>
                    </a:lnTo>
                    <a:lnTo>
                      <a:pt x="23" y="299"/>
                    </a:lnTo>
                    <a:lnTo>
                      <a:pt x="23" y="302"/>
                    </a:lnTo>
                    <a:lnTo>
                      <a:pt x="20" y="303"/>
                    </a:lnTo>
                    <a:lnTo>
                      <a:pt x="19" y="302"/>
                    </a:lnTo>
                    <a:lnTo>
                      <a:pt x="16" y="296"/>
                    </a:lnTo>
                    <a:lnTo>
                      <a:pt x="16" y="297"/>
                    </a:lnTo>
                    <a:lnTo>
                      <a:pt x="16" y="299"/>
                    </a:lnTo>
                    <a:lnTo>
                      <a:pt x="14" y="299"/>
                    </a:lnTo>
                    <a:lnTo>
                      <a:pt x="13" y="297"/>
                    </a:lnTo>
                    <a:lnTo>
                      <a:pt x="13" y="296"/>
                    </a:lnTo>
                    <a:lnTo>
                      <a:pt x="14" y="293"/>
                    </a:lnTo>
                    <a:lnTo>
                      <a:pt x="14" y="293"/>
                    </a:lnTo>
                    <a:lnTo>
                      <a:pt x="13" y="292"/>
                    </a:lnTo>
                    <a:lnTo>
                      <a:pt x="12" y="290"/>
                    </a:lnTo>
                    <a:lnTo>
                      <a:pt x="10" y="289"/>
                    </a:lnTo>
                    <a:lnTo>
                      <a:pt x="9" y="287"/>
                    </a:lnTo>
                    <a:lnTo>
                      <a:pt x="9" y="289"/>
                    </a:lnTo>
                    <a:lnTo>
                      <a:pt x="9" y="292"/>
                    </a:lnTo>
                    <a:lnTo>
                      <a:pt x="12" y="296"/>
                    </a:lnTo>
                    <a:lnTo>
                      <a:pt x="16" y="302"/>
                    </a:lnTo>
                    <a:lnTo>
                      <a:pt x="16" y="304"/>
                    </a:lnTo>
                    <a:lnTo>
                      <a:pt x="16" y="306"/>
                    </a:lnTo>
                    <a:lnTo>
                      <a:pt x="14" y="307"/>
                    </a:lnTo>
                    <a:lnTo>
                      <a:pt x="13" y="307"/>
                    </a:lnTo>
                    <a:lnTo>
                      <a:pt x="10" y="304"/>
                    </a:lnTo>
                    <a:lnTo>
                      <a:pt x="7" y="297"/>
                    </a:lnTo>
                    <a:lnTo>
                      <a:pt x="7" y="299"/>
                    </a:lnTo>
                    <a:lnTo>
                      <a:pt x="7" y="300"/>
                    </a:lnTo>
                    <a:lnTo>
                      <a:pt x="6" y="300"/>
                    </a:lnTo>
                    <a:lnTo>
                      <a:pt x="4" y="299"/>
                    </a:lnTo>
                    <a:lnTo>
                      <a:pt x="14" y="313"/>
                    </a:lnTo>
                    <a:lnTo>
                      <a:pt x="19" y="320"/>
                    </a:lnTo>
                    <a:lnTo>
                      <a:pt x="20" y="327"/>
                    </a:lnTo>
                    <a:lnTo>
                      <a:pt x="22" y="335"/>
                    </a:lnTo>
                    <a:lnTo>
                      <a:pt x="22" y="338"/>
                    </a:lnTo>
                    <a:lnTo>
                      <a:pt x="23" y="339"/>
                    </a:lnTo>
                    <a:lnTo>
                      <a:pt x="27" y="343"/>
                    </a:lnTo>
                    <a:lnTo>
                      <a:pt x="27" y="345"/>
                    </a:lnTo>
                    <a:lnTo>
                      <a:pt x="29" y="350"/>
                    </a:lnTo>
                    <a:lnTo>
                      <a:pt x="30" y="352"/>
                    </a:lnTo>
                    <a:lnTo>
                      <a:pt x="33" y="356"/>
                    </a:lnTo>
                    <a:lnTo>
                      <a:pt x="35" y="358"/>
                    </a:lnTo>
                    <a:lnTo>
                      <a:pt x="36" y="362"/>
                    </a:lnTo>
                    <a:lnTo>
                      <a:pt x="36" y="366"/>
                    </a:lnTo>
                    <a:lnTo>
                      <a:pt x="36" y="375"/>
                    </a:lnTo>
                    <a:lnTo>
                      <a:pt x="37" y="382"/>
                    </a:lnTo>
                    <a:lnTo>
                      <a:pt x="39" y="385"/>
                    </a:lnTo>
                    <a:lnTo>
                      <a:pt x="39" y="389"/>
                    </a:lnTo>
                    <a:lnTo>
                      <a:pt x="48" y="404"/>
                    </a:lnTo>
                    <a:lnTo>
                      <a:pt x="49" y="411"/>
                    </a:lnTo>
                    <a:lnTo>
                      <a:pt x="49" y="419"/>
                    </a:lnTo>
                    <a:lnTo>
                      <a:pt x="49" y="421"/>
                    </a:lnTo>
                    <a:lnTo>
                      <a:pt x="48" y="424"/>
                    </a:lnTo>
                    <a:lnTo>
                      <a:pt x="48" y="427"/>
                    </a:lnTo>
                    <a:lnTo>
                      <a:pt x="48" y="428"/>
                    </a:lnTo>
                    <a:lnTo>
                      <a:pt x="49" y="432"/>
                    </a:lnTo>
                    <a:lnTo>
                      <a:pt x="49" y="435"/>
                    </a:lnTo>
                    <a:lnTo>
                      <a:pt x="48" y="440"/>
                    </a:lnTo>
                    <a:lnTo>
                      <a:pt x="45" y="442"/>
                    </a:lnTo>
                    <a:lnTo>
                      <a:pt x="40" y="442"/>
                    </a:lnTo>
                    <a:lnTo>
                      <a:pt x="36" y="441"/>
                    </a:lnTo>
                    <a:lnTo>
                      <a:pt x="36" y="451"/>
                    </a:lnTo>
                    <a:lnTo>
                      <a:pt x="36" y="453"/>
                    </a:lnTo>
                    <a:lnTo>
                      <a:pt x="36" y="454"/>
                    </a:lnTo>
                    <a:lnTo>
                      <a:pt x="37" y="455"/>
                    </a:lnTo>
                    <a:lnTo>
                      <a:pt x="37" y="457"/>
                    </a:lnTo>
                    <a:lnTo>
                      <a:pt x="39" y="457"/>
                    </a:lnTo>
                    <a:lnTo>
                      <a:pt x="39" y="457"/>
                    </a:lnTo>
                    <a:lnTo>
                      <a:pt x="40" y="457"/>
                    </a:lnTo>
                    <a:lnTo>
                      <a:pt x="43" y="458"/>
                    </a:lnTo>
                    <a:lnTo>
                      <a:pt x="45" y="458"/>
                    </a:lnTo>
                    <a:lnTo>
                      <a:pt x="48" y="460"/>
                    </a:lnTo>
                    <a:lnTo>
                      <a:pt x="49" y="461"/>
                    </a:lnTo>
                    <a:lnTo>
                      <a:pt x="52" y="465"/>
                    </a:lnTo>
                    <a:lnTo>
                      <a:pt x="55" y="467"/>
                    </a:lnTo>
                    <a:lnTo>
                      <a:pt x="59" y="470"/>
                    </a:lnTo>
                    <a:lnTo>
                      <a:pt x="63" y="470"/>
                    </a:lnTo>
                    <a:lnTo>
                      <a:pt x="82" y="473"/>
                    </a:lnTo>
                    <a:lnTo>
                      <a:pt x="86" y="473"/>
                    </a:lnTo>
                    <a:lnTo>
                      <a:pt x="91" y="471"/>
                    </a:lnTo>
                    <a:lnTo>
                      <a:pt x="96" y="468"/>
                    </a:lnTo>
                    <a:lnTo>
                      <a:pt x="104" y="463"/>
                    </a:lnTo>
                    <a:lnTo>
                      <a:pt x="108" y="460"/>
                    </a:lnTo>
                    <a:lnTo>
                      <a:pt x="112" y="460"/>
                    </a:lnTo>
                    <a:lnTo>
                      <a:pt x="114" y="458"/>
                    </a:lnTo>
                    <a:lnTo>
                      <a:pt x="116" y="457"/>
                    </a:lnTo>
                    <a:lnTo>
                      <a:pt x="119" y="453"/>
                    </a:lnTo>
                    <a:lnTo>
                      <a:pt x="121" y="451"/>
                    </a:lnTo>
                    <a:lnTo>
                      <a:pt x="122" y="450"/>
                    </a:lnTo>
                    <a:lnTo>
                      <a:pt x="125" y="450"/>
                    </a:lnTo>
                    <a:lnTo>
                      <a:pt x="132" y="450"/>
                    </a:lnTo>
                    <a:lnTo>
                      <a:pt x="142" y="448"/>
                    </a:lnTo>
                    <a:lnTo>
                      <a:pt x="152" y="448"/>
                    </a:lnTo>
                    <a:lnTo>
                      <a:pt x="157" y="448"/>
                    </a:lnTo>
                    <a:lnTo>
                      <a:pt x="161" y="450"/>
                    </a:lnTo>
                    <a:lnTo>
                      <a:pt x="162" y="450"/>
                    </a:lnTo>
                    <a:lnTo>
                      <a:pt x="162" y="450"/>
                    </a:lnTo>
                    <a:lnTo>
                      <a:pt x="162" y="450"/>
                    </a:lnTo>
                    <a:lnTo>
                      <a:pt x="164" y="451"/>
                    </a:lnTo>
                    <a:lnTo>
                      <a:pt x="165" y="450"/>
                    </a:lnTo>
                    <a:lnTo>
                      <a:pt x="174" y="448"/>
                    </a:lnTo>
                    <a:lnTo>
                      <a:pt x="174" y="448"/>
                    </a:lnTo>
                    <a:lnTo>
                      <a:pt x="175" y="448"/>
                    </a:lnTo>
                    <a:lnTo>
                      <a:pt x="180" y="450"/>
                    </a:lnTo>
                    <a:lnTo>
                      <a:pt x="181" y="450"/>
                    </a:lnTo>
                    <a:lnTo>
                      <a:pt x="184" y="450"/>
                    </a:lnTo>
                    <a:lnTo>
                      <a:pt x="188" y="447"/>
                    </a:lnTo>
                    <a:lnTo>
                      <a:pt x="191" y="444"/>
                    </a:lnTo>
                    <a:lnTo>
                      <a:pt x="194" y="440"/>
                    </a:lnTo>
                    <a:lnTo>
                      <a:pt x="197" y="434"/>
                    </a:lnTo>
                    <a:lnTo>
                      <a:pt x="198" y="432"/>
                    </a:lnTo>
                    <a:lnTo>
                      <a:pt x="200" y="431"/>
                    </a:lnTo>
                    <a:lnTo>
                      <a:pt x="203" y="430"/>
                    </a:lnTo>
                    <a:lnTo>
                      <a:pt x="207" y="428"/>
                    </a:lnTo>
                    <a:lnTo>
                      <a:pt x="216" y="425"/>
                    </a:lnTo>
                    <a:lnTo>
                      <a:pt x="224" y="421"/>
                    </a:lnTo>
                    <a:lnTo>
                      <a:pt x="228" y="418"/>
                    </a:lnTo>
                    <a:lnTo>
                      <a:pt x="233" y="418"/>
                    </a:lnTo>
                    <a:lnTo>
                      <a:pt x="244" y="418"/>
                    </a:lnTo>
                    <a:lnTo>
                      <a:pt x="249" y="418"/>
                    </a:lnTo>
                    <a:lnTo>
                      <a:pt x="254" y="417"/>
                    </a:lnTo>
                    <a:lnTo>
                      <a:pt x="269" y="412"/>
                    </a:lnTo>
                    <a:lnTo>
                      <a:pt x="282" y="407"/>
                    </a:lnTo>
                    <a:lnTo>
                      <a:pt x="287" y="405"/>
                    </a:lnTo>
                    <a:lnTo>
                      <a:pt x="297" y="404"/>
                    </a:lnTo>
                    <a:lnTo>
                      <a:pt x="305" y="404"/>
                    </a:lnTo>
                    <a:lnTo>
                      <a:pt x="312" y="405"/>
                    </a:lnTo>
                    <a:lnTo>
                      <a:pt x="315" y="404"/>
                    </a:lnTo>
                    <a:lnTo>
                      <a:pt x="316" y="404"/>
                    </a:lnTo>
                    <a:lnTo>
                      <a:pt x="319" y="404"/>
                    </a:lnTo>
                    <a:lnTo>
                      <a:pt x="320" y="402"/>
                    </a:lnTo>
                    <a:lnTo>
                      <a:pt x="323" y="402"/>
                    </a:lnTo>
                    <a:lnTo>
                      <a:pt x="328" y="405"/>
                    </a:lnTo>
                    <a:lnTo>
                      <a:pt x="338" y="411"/>
                    </a:lnTo>
                    <a:lnTo>
                      <a:pt x="343" y="412"/>
                    </a:lnTo>
                    <a:lnTo>
                      <a:pt x="346" y="412"/>
                    </a:lnTo>
                    <a:lnTo>
                      <a:pt x="348" y="412"/>
                    </a:lnTo>
                    <a:lnTo>
                      <a:pt x="351" y="412"/>
                    </a:lnTo>
                    <a:lnTo>
                      <a:pt x="353" y="414"/>
                    </a:lnTo>
                    <a:lnTo>
                      <a:pt x="356" y="415"/>
                    </a:lnTo>
                    <a:lnTo>
                      <a:pt x="363" y="415"/>
                    </a:lnTo>
                    <a:lnTo>
                      <a:pt x="366" y="417"/>
                    </a:lnTo>
                    <a:lnTo>
                      <a:pt x="372" y="421"/>
                    </a:lnTo>
                    <a:lnTo>
                      <a:pt x="374" y="422"/>
                    </a:lnTo>
                    <a:lnTo>
                      <a:pt x="375" y="422"/>
                    </a:lnTo>
                    <a:lnTo>
                      <a:pt x="375" y="424"/>
                    </a:lnTo>
                    <a:lnTo>
                      <a:pt x="375" y="425"/>
                    </a:lnTo>
                    <a:lnTo>
                      <a:pt x="375" y="425"/>
                    </a:lnTo>
                    <a:lnTo>
                      <a:pt x="374" y="427"/>
                    </a:lnTo>
                    <a:lnTo>
                      <a:pt x="372" y="427"/>
                    </a:lnTo>
                    <a:lnTo>
                      <a:pt x="374" y="430"/>
                    </a:lnTo>
                    <a:lnTo>
                      <a:pt x="375" y="432"/>
                    </a:lnTo>
                    <a:lnTo>
                      <a:pt x="376" y="434"/>
                    </a:lnTo>
                    <a:lnTo>
                      <a:pt x="378" y="434"/>
                    </a:lnTo>
                    <a:lnTo>
                      <a:pt x="381" y="435"/>
                    </a:lnTo>
                    <a:lnTo>
                      <a:pt x="384" y="435"/>
                    </a:lnTo>
                    <a:lnTo>
                      <a:pt x="384" y="437"/>
                    </a:lnTo>
                    <a:lnTo>
                      <a:pt x="385" y="438"/>
                    </a:lnTo>
                    <a:lnTo>
                      <a:pt x="386" y="441"/>
                    </a:lnTo>
                    <a:lnTo>
                      <a:pt x="386" y="444"/>
                    </a:lnTo>
                    <a:lnTo>
                      <a:pt x="391" y="448"/>
                    </a:lnTo>
                    <a:lnTo>
                      <a:pt x="392" y="451"/>
                    </a:lnTo>
                    <a:lnTo>
                      <a:pt x="394" y="454"/>
                    </a:lnTo>
                    <a:lnTo>
                      <a:pt x="395" y="457"/>
                    </a:lnTo>
                    <a:lnTo>
                      <a:pt x="395" y="461"/>
                    </a:lnTo>
                    <a:lnTo>
                      <a:pt x="395" y="463"/>
                    </a:lnTo>
                    <a:lnTo>
                      <a:pt x="392" y="461"/>
                    </a:lnTo>
                    <a:lnTo>
                      <a:pt x="391" y="463"/>
                    </a:lnTo>
                    <a:lnTo>
                      <a:pt x="392" y="463"/>
                    </a:lnTo>
                    <a:lnTo>
                      <a:pt x="395" y="464"/>
                    </a:lnTo>
                    <a:lnTo>
                      <a:pt x="398" y="468"/>
                    </a:lnTo>
                    <a:lnTo>
                      <a:pt x="399" y="470"/>
                    </a:lnTo>
                    <a:lnTo>
                      <a:pt x="399" y="470"/>
                    </a:lnTo>
                    <a:lnTo>
                      <a:pt x="401" y="470"/>
                    </a:lnTo>
                    <a:lnTo>
                      <a:pt x="401" y="468"/>
                    </a:lnTo>
                    <a:lnTo>
                      <a:pt x="402" y="468"/>
                    </a:lnTo>
                    <a:lnTo>
                      <a:pt x="405" y="471"/>
                    </a:lnTo>
                    <a:lnTo>
                      <a:pt x="405" y="470"/>
                    </a:lnTo>
                    <a:lnTo>
                      <a:pt x="405" y="465"/>
                    </a:lnTo>
                    <a:lnTo>
                      <a:pt x="405" y="463"/>
                    </a:lnTo>
                    <a:lnTo>
                      <a:pt x="407" y="461"/>
                    </a:lnTo>
                    <a:lnTo>
                      <a:pt x="412" y="454"/>
                    </a:lnTo>
                    <a:lnTo>
                      <a:pt x="417" y="450"/>
                    </a:lnTo>
                    <a:lnTo>
                      <a:pt x="425" y="445"/>
                    </a:lnTo>
                    <a:lnTo>
                      <a:pt x="430" y="441"/>
                    </a:lnTo>
                    <a:lnTo>
                      <a:pt x="432" y="434"/>
                    </a:lnTo>
                    <a:lnTo>
                      <a:pt x="435" y="430"/>
                    </a:lnTo>
                    <a:lnTo>
                      <a:pt x="437" y="428"/>
                    </a:lnTo>
                    <a:lnTo>
                      <a:pt x="437" y="425"/>
                    </a:lnTo>
                    <a:lnTo>
                      <a:pt x="437" y="422"/>
                    </a:lnTo>
                    <a:lnTo>
                      <a:pt x="438" y="424"/>
                    </a:lnTo>
                    <a:lnTo>
                      <a:pt x="440" y="427"/>
                    </a:lnTo>
                    <a:lnTo>
                      <a:pt x="440" y="428"/>
                    </a:lnTo>
                    <a:lnTo>
                      <a:pt x="441" y="431"/>
                    </a:lnTo>
                    <a:lnTo>
                      <a:pt x="440" y="432"/>
                    </a:lnTo>
                    <a:lnTo>
                      <a:pt x="440" y="434"/>
                    </a:lnTo>
                    <a:lnTo>
                      <a:pt x="440" y="435"/>
                    </a:lnTo>
                    <a:lnTo>
                      <a:pt x="438" y="437"/>
                    </a:lnTo>
                    <a:lnTo>
                      <a:pt x="438" y="440"/>
                    </a:lnTo>
                    <a:lnTo>
                      <a:pt x="440" y="441"/>
                    </a:lnTo>
                    <a:lnTo>
                      <a:pt x="440" y="442"/>
                    </a:lnTo>
                    <a:lnTo>
                      <a:pt x="438" y="444"/>
                    </a:lnTo>
                    <a:lnTo>
                      <a:pt x="437" y="445"/>
                    </a:lnTo>
                    <a:lnTo>
                      <a:pt x="435" y="450"/>
                    </a:lnTo>
                    <a:lnTo>
                      <a:pt x="434" y="451"/>
                    </a:lnTo>
                    <a:lnTo>
                      <a:pt x="432" y="455"/>
                    </a:lnTo>
                    <a:lnTo>
                      <a:pt x="432" y="463"/>
                    </a:lnTo>
                    <a:lnTo>
                      <a:pt x="431" y="467"/>
                    </a:lnTo>
                    <a:lnTo>
                      <a:pt x="431" y="468"/>
                    </a:lnTo>
                    <a:lnTo>
                      <a:pt x="430" y="468"/>
                    </a:lnTo>
                    <a:lnTo>
                      <a:pt x="428" y="470"/>
                    </a:lnTo>
                    <a:lnTo>
                      <a:pt x="425" y="470"/>
                    </a:lnTo>
                    <a:lnTo>
                      <a:pt x="424" y="470"/>
                    </a:lnTo>
                    <a:lnTo>
                      <a:pt x="424" y="470"/>
                    </a:lnTo>
                    <a:lnTo>
                      <a:pt x="424" y="471"/>
                    </a:lnTo>
                    <a:lnTo>
                      <a:pt x="422" y="471"/>
                    </a:lnTo>
                    <a:lnTo>
                      <a:pt x="421" y="476"/>
                    </a:lnTo>
                    <a:lnTo>
                      <a:pt x="425" y="476"/>
                    </a:lnTo>
                    <a:lnTo>
                      <a:pt x="430" y="476"/>
                    </a:lnTo>
                    <a:lnTo>
                      <a:pt x="434" y="474"/>
                    </a:lnTo>
                    <a:lnTo>
                      <a:pt x="437" y="473"/>
                    </a:lnTo>
                    <a:lnTo>
                      <a:pt x="437" y="471"/>
                    </a:lnTo>
                    <a:lnTo>
                      <a:pt x="438" y="468"/>
                    </a:lnTo>
                    <a:lnTo>
                      <a:pt x="440" y="464"/>
                    </a:lnTo>
                    <a:lnTo>
                      <a:pt x="441" y="458"/>
                    </a:lnTo>
                    <a:lnTo>
                      <a:pt x="442" y="454"/>
                    </a:lnTo>
                    <a:lnTo>
                      <a:pt x="447" y="461"/>
                    </a:lnTo>
                    <a:lnTo>
                      <a:pt x="448" y="464"/>
                    </a:lnTo>
                    <a:lnTo>
                      <a:pt x="450" y="468"/>
                    </a:lnTo>
                    <a:lnTo>
                      <a:pt x="450" y="473"/>
                    </a:lnTo>
                    <a:lnTo>
                      <a:pt x="448" y="476"/>
                    </a:lnTo>
                    <a:lnTo>
                      <a:pt x="447" y="480"/>
                    </a:lnTo>
                    <a:lnTo>
                      <a:pt x="444" y="483"/>
                    </a:lnTo>
                    <a:lnTo>
                      <a:pt x="448" y="484"/>
                    </a:lnTo>
                    <a:lnTo>
                      <a:pt x="451" y="483"/>
                    </a:lnTo>
                    <a:lnTo>
                      <a:pt x="454" y="483"/>
                    </a:lnTo>
                    <a:lnTo>
                      <a:pt x="457" y="481"/>
                    </a:lnTo>
                    <a:lnTo>
                      <a:pt x="460" y="478"/>
                    </a:lnTo>
                    <a:lnTo>
                      <a:pt x="463" y="478"/>
                    </a:lnTo>
                    <a:lnTo>
                      <a:pt x="464" y="478"/>
                    </a:lnTo>
                    <a:lnTo>
                      <a:pt x="464" y="480"/>
                    </a:lnTo>
                    <a:lnTo>
                      <a:pt x="464" y="481"/>
                    </a:lnTo>
                    <a:lnTo>
                      <a:pt x="464" y="481"/>
                    </a:lnTo>
                    <a:lnTo>
                      <a:pt x="464" y="483"/>
                    </a:lnTo>
                    <a:lnTo>
                      <a:pt x="463" y="483"/>
                    </a:lnTo>
                    <a:lnTo>
                      <a:pt x="461" y="483"/>
                    </a:lnTo>
                    <a:lnTo>
                      <a:pt x="460" y="483"/>
                    </a:lnTo>
                    <a:lnTo>
                      <a:pt x="458" y="483"/>
                    </a:lnTo>
                    <a:lnTo>
                      <a:pt x="460" y="486"/>
                    </a:lnTo>
                    <a:lnTo>
                      <a:pt x="463" y="487"/>
                    </a:lnTo>
                    <a:lnTo>
                      <a:pt x="465" y="490"/>
                    </a:lnTo>
                    <a:lnTo>
                      <a:pt x="467" y="491"/>
                    </a:lnTo>
                    <a:lnTo>
                      <a:pt x="470" y="494"/>
                    </a:lnTo>
                    <a:lnTo>
                      <a:pt x="471" y="497"/>
                    </a:lnTo>
                    <a:lnTo>
                      <a:pt x="473" y="501"/>
                    </a:lnTo>
                    <a:lnTo>
                      <a:pt x="474" y="504"/>
                    </a:lnTo>
                    <a:lnTo>
                      <a:pt x="474" y="507"/>
                    </a:lnTo>
                    <a:lnTo>
                      <a:pt x="473" y="511"/>
                    </a:lnTo>
                    <a:lnTo>
                      <a:pt x="473" y="514"/>
                    </a:lnTo>
                    <a:lnTo>
                      <a:pt x="473" y="517"/>
                    </a:lnTo>
                    <a:lnTo>
                      <a:pt x="474" y="519"/>
                    </a:lnTo>
                    <a:lnTo>
                      <a:pt x="478" y="523"/>
                    </a:lnTo>
                    <a:lnTo>
                      <a:pt x="480" y="524"/>
                    </a:lnTo>
                    <a:lnTo>
                      <a:pt x="481" y="527"/>
                    </a:lnTo>
                    <a:lnTo>
                      <a:pt x="483" y="529"/>
                    </a:lnTo>
                    <a:lnTo>
                      <a:pt x="486" y="532"/>
                    </a:lnTo>
                    <a:lnTo>
                      <a:pt x="488" y="532"/>
                    </a:lnTo>
                    <a:lnTo>
                      <a:pt x="491" y="533"/>
                    </a:lnTo>
                    <a:lnTo>
                      <a:pt x="496" y="534"/>
                    </a:lnTo>
                    <a:lnTo>
                      <a:pt x="497" y="534"/>
                    </a:lnTo>
                    <a:lnTo>
                      <a:pt x="500" y="537"/>
                    </a:lnTo>
                    <a:lnTo>
                      <a:pt x="501" y="539"/>
                    </a:lnTo>
                    <a:lnTo>
                      <a:pt x="503" y="539"/>
                    </a:lnTo>
                    <a:lnTo>
                      <a:pt x="504" y="539"/>
                    </a:lnTo>
                    <a:lnTo>
                      <a:pt x="506" y="537"/>
                    </a:lnTo>
                    <a:lnTo>
                      <a:pt x="507" y="537"/>
                    </a:lnTo>
                    <a:lnTo>
                      <a:pt x="509" y="537"/>
                    </a:lnTo>
                    <a:lnTo>
                      <a:pt x="510" y="537"/>
                    </a:lnTo>
                    <a:lnTo>
                      <a:pt x="511" y="539"/>
                    </a:lnTo>
                    <a:lnTo>
                      <a:pt x="513" y="539"/>
                    </a:lnTo>
                    <a:lnTo>
                      <a:pt x="514" y="539"/>
                    </a:lnTo>
                    <a:lnTo>
                      <a:pt x="519" y="539"/>
                    </a:lnTo>
                    <a:lnTo>
                      <a:pt x="520" y="540"/>
                    </a:lnTo>
                    <a:lnTo>
                      <a:pt x="523" y="542"/>
                    </a:lnTo>
                    <a:lnTo>
                      <a:pt x="533" y="546"/>
                    </a:lnTo>
                    <a:lnTo>
                      <a:pt x="536" y="547"/>
                    </a:lnTo>
                    <a:lnTo>
                      <a:pt x="539" y="547"/>
                    </a:lnTo>
                    <a:lnTo>
                      <a:pt x="542" y="546"/>
                    </a:lnTo>
                    <a:lnTo>
                      <a:pt x="549" y="542"/>
                    </a:lnTo>
                    <a:lnTo>
                      <a:pt x="556" y="537"/>
                    </a:lnTo>
                    <a:lnTo>
                      <a:pt x="559" y="536"/>
                    </a:lnTo>
                    <a:lnTo>
                      <a:pt x="557" y="536"/>
                    </a:lnTo>
                    <a:lnTo>
                      <a:pt x="556" y="534"/>
                    </a:lnTo>
                    <a:lnTo>
                      <a:pt x="553" y="534"/>
                    </a:lnTo>
                    <a:lnTo>
                      <a:pt x="560" y="530"/>
                    </a:lnTo>
                    <a:lnTo>
                      <a:pt x="563" y="530"/>
                    </a:lnTo>
                    <a:lnTo>
                      <a:pt x="565" y="532"/>
                    </a:lnTo>
                    <a:lnTo>
                      <a:pt x="566" y="534"/>
                    </a:lnTo>
                    <a:lnTo>
                      <a:pt x="565" y="537"/>
                    </a:lnTo>
                    <a:lnTo>
                      <a:pt x="562" y="539"/>
                    </a:lnTo>
                    <a:lnTo>
                      <a:pt x="559" y="539"/>
                    </a:lnTo>
                    <a:lnTo>
                      <a:pt x="562" y="540"/>
                    </a:lnTo>
                    <a:lnTo>
                      <a:pt x="563" y="542"/>
                    </a:lnTo>
                    <a:lnTo>
                      <a:pt x="565" y="542"/>
                    </a:lnTo>
                    <a:lnTo>
                      <a:pt x="567" y="539"/>
                    </a:lnTo>
                    <a:lnTo>
                      <a:pt x="569" y="537"/>
                    </a:lnTo>
                    <a:lnTo>
                      <a:pt x="570" y="536"/>
                    </a:lnTo>
                    <a:lnTo>
                      <a:pt x="573" y="536"/>
                    </a:lnTo>
                    <a:lnTo>
                      <a:pt x="573" y="539"/>
                    </a:lnTo>
                    <a:lnTo>
                      <a:pt x="573" y="540"/>
                    </a:lnTo>
                    <a:lnTo>
                      <a:pt x="572" y="542"/>
                    </a:lnTo>
                    <a:lnTo>
                      <a:pt x="572" y="543"/>
                    </a:lnTo>
                    <a:lnTo>
                      <a:pt x="575" y="545"/>
                    </a:lnTo>
                    <a:lnTo>
                      <a:pt x="576" y="546"/>
                    </a:lnTo>
                    <a:lnTo>
                      <a:pt x="577" y="546"/>
                    </a:lnTo>
                    <a:lnTo>
                      <a:pt x="579" y="547"/>
                    </a:lnTo>
                    <a:lnTo>
                      <a:pt x="580" y="550"/>
                    </a:lnTo>
                    <a:lnTo>
                      <a:pt x="583" y="549"/>
                    </a:lnTo>
                    <a:lnTo>
                      <a:pt x="586" y="550"/>
                    </a:lnTo>
                    <a:lnTo>
                      <a:pt x="586" y="553"/>
                    </a:lnTo>
                    <a:lnTo>
                      <a:pt x="589" y="555"/>
                    </a:lnTo>
                    <a:lnTo>
                      <a:pt x="590" y="555"/>
                    </a:lnTo>
                    <a:lnTo>
                      <a:pt x="590" y="552"/>
                    </a:lnTo>
                    <a:lnTo>
                      <a:pt x="590" y="549"/>
                    </a:lnTo>
                    <a:lnTo>
                      <a:pt x="587" y="550"/>
                    </a:lnTo>
                    <a:lnTo>
                      <a:pt x="586" y="547"/>
                    </a:lnTo>
                    <a:lnTo>
                      <a:pt x="587" y="546"/>
                    </a:lnTo>
                    <a:lnTo>
                      <a:pt x="595" y="546"/>
                    </a:lnTo>
                    <a:lnTo>
                      <a:pt x="599" y="543"/>
                    </a:lnTo>
                    <a:lnTo>
                      <a:pt x="609" y="534"/>
                    </a:lnTo>
                    <a:lnTo>
                      <a:pt x="616" y="530"/>
                    </a:lnTo>
                    <a:lnTo>
                      <a:pt x="623" y="529"/>
                    </a:lnTo>
                    <a:lnTo>
                      <a:pt x="641" y="527"/>
                    </a:lnTo>
                    <a:lnTo>
                      <a:pt x="642" y="527"/>
                    </a:lnTo>
                    <a:lnTo>
                      <a:pt x="644" y="526"/>
                    </a:lnTo>
                    <a:lnTo>
                      <a:pt x="646" y="524"/>
                    </a:lnTo>
                    <a:lnTo>
                      <a:pt x="649" y="523"/>
                    </a:lnTo>
                    <a:lnTo>
                      <a:pt x="651" y="522"/>
                    </a:lnTo>
                    <a:lnTo>
                      <a:pt x="651" y="520"/>
                    </a:lnTo>
                    <a:lnTo>
                      <a:pt x="652" y="519"/>
                    </a:lnTo>
                    <a:lnTo>
                      <a:pt x="652" y="507"/>
                    </a:lnTo>
                    <a:lnTo>
                      <a:pt x="655" y="491"/>
                    </a:lnTo>
                    <a:lnTo>
                      <a:pt x="655" y="487"/>
                    </a:lnTo>
                    <a:lnTo>
                      <a:pt x="658" y="484"/>
                    </a:lnTo>
                    <a:lnTo>
                      <a:pt x="664" y="474"/>
                    </a:lnTo>
                    <a:lnTo>
                      <a:pt x="664" y="474"/>
                    </a:lnTo>
                    <a:lnTo>
                      <a:pt x="665" y="474"/>
                    </a:lnTo>
                    <a:lnTo>
                      <a:pt x="665" y="474"/>
                    </a:lnTo>
                    <a:lnTo>
                      <a:pt x="665" y="474"/>
                    </a:lnTo>
                    <a:lnTo>
                      <a:pt x="665" y="473"/>
                    </a:lnTo>
                    <a:lnTo>
                      <a:pt x="664" y="473"/>
                    </a:lnTo>
                    <a:lnTo>
                      <a:pt x="664" y="473"/>
                    </a:lnTo>
                    <a:lnTo>
                      <a:pt x="665" y="471"/>
                    </a:lnTo>
                    <a:lnTo>
                      <a:pt x="665" y="471"/>
                    </a:lnTo>
                    <a:lnTo>
                      <a:pt x="666" y="471"/>
                    </a:lnTo>
                    <a:lnTo>
                      <a:pt x="666" y="470"/>
                    </a:lnTo>
                    <a:lnTo>
                      <a:pt x="666" y="467"/>
                    </a:lnTo>
                    <a:lnTo>
                      <a:pt x="666" y="463"/>
                    </a:lnTo>
                    <a:lnTo>
                      <a:pt x="669" y="458"/>
                    </a:lnTo>
                    <a:lnTo>
                      <a:pt x="671" y="455"/>
                    </a:lnTo>
                    <a:lnTo>
                      <a:pt x="674" y="451"/>
                    </a:lnTo>
                    <a:lnTo>
                      <a:pt x="674" y="451"/>
                    </a:lnTo>
                    <a:lnTo>
                      <a:pt x="672" y="451"/>
                    </a:lnTo>
                    <a:lnTo>
                      <a:pt x="672" y="451"/>
                    </a:lnTo>
                    <a:lnTo>
                      <a:pt x="672" y="451"/>
                    </a:lnTo>
                    <a:lnTo>
                      <a:pt x="674" y="450"/>
                    </a:lnTo>
                    <a:lnTo>
                      <a:pt x="675" y="450"/>
                    </a:lnTo>
                    <a:lnTo>
                      <a:pt x="675" y="448"/>
                    </a:lnTo>
                    <a:lnTo>
                      <a:pt x="675" y="442"/>
                    </a:lnTo>
                    <a:lnTo>
                      <a:pt x="675" y="442"/>
                    </a:lnTo>
                    <a:lnTo>
                      <a:pt x="682" y="431"/>
                    </a:lnTo>
                    <a:lnTo>
                      <a:pt x="684" y="430"/>
                    </a:lnTo>
                    <a:lnTo>
                      <a:pt x="688" y="427"/>
                    </a:lnTo>
                    <a:lnTo>
                      <a:pt x="691" y="425"/>
                    </a:lnTo>
                    <a:lnTo>
                      <a:pt x="689" y="425"/>
                    </a:lnTo>
                    <a:lnTo>
                      <a:pt x="689" y="425"/>
                    </a:lnTo>
                    <a:lnTo>
                      <a:pt x="689" y="425"/>
                    </a:lnTo>
                    <a:lnTo>
                      <a:pt x="689" y="425"/>
                    </a:lnTo>
                    <a:lnTo>
                      <a:pt x="692" y="424"/>
                    </a:lnTo>
                    <a:lnTo>
                      <a:pt x="694" y="422"/>
                    </a:lnTo>
                    <a:lnTo>
                      <a:pt x="695" y="419"/>
                    </a:lnTo>
                    <a:lnTo>
                      <a:pt x="697" y="417"/>
                    </a:lnTo>
                    <a:lnTo>
                      <a:pt x="697" y="417"/>
                    </a:lnTo>
                    <a:lnTo>
                      <a:pt x="697" y="414"/>
                    </a:lnTo>
                    <a:lnTo>
                      <a:pt x="697" y="412"/>
                    </a:lnTo>
                    <a:lnTo>
                      <a:pt x="698" y="411"/>
                    </a:lnTo>
                    <a:lnTo>
                      <a:pt x="701" y="409"/>
                    </a:lnTo>
                    <a:lnTo>
                      <a:pt x="701" y="408"/>
                    </a:lnTo>
                    <a:lnTo>
                      <a:pt x="702" y="405"/>
                    </a:lnTo>
                    <a:lnTo>
                      <a:pt x="704" y="402"/>
                    </a:lnTo>
                    <a:lnTo>
                      <a:pt x="705" y="396"/>
                    </a:lnTo>
                    <a:lnTo>
                      <a:pt x="705" y="394"/>
                    </a:lnTo>
                    <a:lnTo>
                      <a:pt x="705" y="388"/>
                    </a:lnTo>
                    <a:lnTo>
                      <a:pt x="705" y="385"/>
                    </a:lnTo>
                    <a:lnTo>
                      <a:pt x="707" y="382"/>
                    </a:lnTo>
                    <a:lnTo>
                      <a:pt x="708" y="373"/>
                    </a:lnTo>
                    <a:lnTo>
                      <a:pt x="711" y="361"/>
                    </a:lnTo>
                    <a:lnTo>
                      <a:pt x="712" y="359"/>
                    </a:lnTo>
                    <a:lnTo>
                      <a:pt x="715" y="353"/>
                    </a:lnTo>
                    <a:lnTo>
                      <a:pt x="715" y="352"/>
                    </a:lnTo>
                    <a:lnTo>
                      <a:pt x="715" y="349"/>
                    </a:lnTo>
                    <a:lnTo>
                      <a:pt x="715" y="346"/>
                    </a:lnTo>
                    <a:lnTo>
                      <a:pt x="715" y="342"/>
                    </a:lnTo>
                    <a:close/>
                    <a:moveTo>
                      <a:pt x="623" y="580"/>
                    </a:moveTo>
                    <a:lnTo>
                      <a:pt x="622" y="580"/>
                    </a:lnTo>
                    <a:lnTo>
                      <a:pt x="618" y="582"/>
                    </a:lnTo>
                    <a:lnTo>
                      <a:pt x="619" y="583"/>
                    </a:lnTo>
                    <a:lnTo>
                      <a:pt x="622" y="583"/>
                    </a:lnTo>
                    <a:lnTo>
                      <a:pt x="623" y="585"/>
                    </a:lnTo>
                    <a:lnTo>
                      <a:pt x="625" y="583"/>
                    </a:lnTo>
                    <a:lnTo>
                      <a:pt x="625" y="582"/>
                    </a:lnTo>
                    <a:lnTo>
                      <a:pt x="625" y="580"/>
                    </a:lnTo>
                    <a:lnTo>
                      <a:pt x="623" y="580"/>
                    </a:lnTo>
                    <a:close/>
                    <a:moveTo>
                      <a:pt x="560" y="585"/>
                    </a:moveTo>
                    <a:lnTo>
                      <a:pt x="560" y="583"/>
                    </a:lnTo>
                    <a:lnTo>
                      <a:pt x="560" y="583"/>
                    </a:lnTo>
                    <a:lnTo>
                      <a:pt x="560" y="583"/>
                    </a:lnTo>
                    <a:lnTo>
                      <a:pt x="559" y="585"/>
                    </a:lnTo>
                    <a:lnTo>
                      <a:pt x="559" y="585"/>
                    </a:lnTo>
                    <a:lnTo>
                      <a:pt x="560" y="586"/>
                    </a:lnTo>
                    <a:lnTo>
                      <a:pt x="560" y="585"/>
                    </a:lnTo>
                    <a:lnTo>
                      <a:pt x="560" y="585"/>
                    </a:lnTo>
                    <a:close/>
                    <a:moveTo>
                      <a:pt x="606" y="642"/>
                    </a:moveTo>
                    <a:lnTo>
                      <a:pt x="606" y="642"/>
                    </a:lnTo>
                    <a:lnTo>
                      <a:pt x="606" y="641"/>
                    </a:lnTo>
                    <a:lnTo>
                      <a:pt x="605" y="642"/>
                    </a:lnTo>
                    <a:lnTo>
                      <a:pt x="605" y="642"/>
                    </a:lnTo>
                    <a:lnTo>
                      <a:pt x="605" y="644"/>
                    </a:lnTo>
                    <a:lnTo>
                      <a:pt x="606" y="645"/>
                    </a:lnTo>
                    <a:lnTo>
                      <a:pt x="608" y="645"/>
                    </a:lnTo>
                    <a:lnTo>
                      <a:pt x="606" y="644"/>
                    </a:lnTo>
                    <a:lnTo>
                      <a:pt x="606" y="642"/>
                    </a:lnTo>
                    <a:close/>
                    <a:moveTo>
                      <a:pt x="619" y="631"/>
                    </a:moveTo>
                    <a:lnTo>
                      <a:pt x="618" y="631"/>
                    </a:lnTo>
                    <a:lnTo>
                      <a:pt x="618" y="631"/>
                    </a:lnTo>
                    <a:lnTo>
                      <a:pt x="618" y="632"/>
                    </a:lnTo>
                    <a:lnTo>
                      <a:pt x="618" y="632"/>
                    </a:lnTo>
                    <a:lnTo>
                      <a:pt x="619" y="632"/>
                    </a:lnTo>
                    <a:lnTo>
                      <a:pt x="621" y="631"/>
                    </a:lnTo>
                    <a:lnTo>
                      <a:pt x="619" y="631"/>
                    </a:lnTo>
                    <a:lnTo>
                      <a:pt x="619" y="631"/>
                    </a:lnTo>
                    <a:close/>
                    <a:moveTo>
                      <a:pt x="567" y="542"/>
                    </a:moveTo>
                    <a:lnTo>
                      <a:pt x="566" y="543"/>
                    </a:lnTo>
                    <a:lnTo>
                      <a:pt x="567" y="542"/>
                    </a:lnTo>
                    <a:lnTo>
                      <a:pt x="569" y="542"/>
                    </a:lnTo>
                    <a:lnTo>
                      <a:pt x="569" y="543"/>
                    </a:lnTo>
                    <a:lnTo>
                      <a:pt x="570" y="543"/>
                    </a:lnTo>
                    <a:lnTo>
                      <a:pt x="570" y="542"/>
                    </a:lnTo>
                    <a:lnTo>
                      <a:pt x="569" y="542"/>
                    </a:lnTo>
                    <a:lnTo>
                      <a:pt x="567" y="542"/>
                    </a:lnTo>
                    <a:close/>
                    <a:moveTo>
                      <a:pt x="622" y="601"/>
                    </a:moveTo>
                    <a:lnTo>
                      <a:pt x="622" y="595"/>
                    </a:lnTo>
                    <a:lnTo>
                      <a:pt x="621" y="592"/>
                    </a:lnTo>
                    <a:lnTo>
                      <a:pt x="619" y="590"/>
                    </a:lnTo>
                    <a:lnTo>
                      <a:pt x="618" y="590"/>
                    </a:lnTo>
                    <a:lnTo>
                      <a:pt x="616" y="592"/>
                    </a:lnTo>
                    <a:lnTo>
                      <a:pt x="615" y="592"/>
                    </a:lnTo>
                    <a:lnTo>
                      <a:pt x="613" y="592"/>
                    </a:lnTo>
                    <a:lnTo>
                      <a:pt x="610" y="592"/>
                    </a:lnTo>
                    <a:lnTo>
                      <a:pt x="610" y="592"/>
                    </a:lnTo>
                    <a:lnTo>
                      <a:pt x="609" y="592"/>
                    </a:lnTo>
                    <a:lnTo>
                      <a:pt x="609" y="593"/>
                    </a:lnTo>
                    <a:lnTo>
                      <a:pt x="608" y="595"/>
                    </a:lnTo>
                    <a:lnTo>
                      <a:pt x="600" y="595"/>
                    </a:lnTo>
                    <a:lnTo>
                      <a:pt x="598" y="596"/>
                    </a:lnTo>
                    <a:lnTo>
                      <a:pt x="596" y="599"/>
                    </a:lnTo>
                    <a:lnTo>
                      <a:pt x="595" y="598"/>
                    </a:lnTo>
                    <a:lnTo>
                      <a:pt x="593" y="598"/>
                    </a:lnTo>
                    <a:lnTo>
                      <a:pt x="590" y="598"/>
                    </a:lnTo>
                    <a:lnTo>
                      <a:pt x="587" y="599"/>
                    </a:lnTo>
                    <a:lnTo>
                      <a:pt x="585" y="598"/>
                    </a:lnTo>
                    <a:lnTo>
                      <a:pt x="582" y="596"/>
                    </a:lnTo>
                    <a:lnTo>
                      <a:pt x="573" y="592"/>
                    </a:lnTo>
                    <a:lnTo>
                      <a:pt x="572" y="590"/>
                    </a:lnTo>
                    <a:lnTo>
                      <a:pt x="570" y="590"/>
                    </a:lnTo>
                    <a:lnTo>
                      <a:pt x="565" y="590"/>
                    </a:lnTo>
                    <a:lnTo>
                      <a:pt x="562" y="589"/>
                    </a:lnTo>
                    <a:lnTo>
                      <a:pt x="559" y="588"/>
                    </a:lnTo>
                    <a:lnTo>
                      <a:pt x="559" y="589"/>
                    </a:lnTo>
                    <a:lnTo>
                      <a:pt x="557" y="595"/>
                    </a:lnTo>
                    <a:lnTo>
                      <a:pt x="559" y="598"/>
                    </a:lnTo>
                    <a:lnTo>
                      <a:pt x="559" y="601"/>
                    </a:lnTo>
                    <a:lnTo>
                      <a:pt x="560" y="605"/>
                    </a:lnTo>
                    <a:lnTo>
                      <a:pt x="562" y="608"/>
                    </a:lnTo>
                    <a:lnTo>
                      <a:pt x="566" y="613"/>
                    </a:lnTo>
                    <a:lnTo>
                      <a:pt x="569" y="618"/>
                    </a:lnTo>
                    <a:lnTo>
                      <a:pt x="569" y="621"/>
                    </a:lnTo>
                    <a:lnTo>
                      <a:pt x="569" y="621"/>
                    </a:lnTo>
                    <a:lnTo>
                      <a:pt x="569" y="621"/>
                    </a:lnTo>
                    <a:lnTo>
                      <a:pt x="570" y="621"/>
                    </a:lnTo>
                    <a:lnTo>
                      <a:pt x="570" y="621"/>
                    </a:lnTo>
                    <a:lnTo>
                      <a:pt x="570" y="622"/>
                    </a:lnTo>
                    <a:lnTo>
                      <a:pt x="573" y="624"/>
                    </a:lnTo>
                    <a:lnTo>
                      <a:pt x="573" y="625"/>
                    </a:lnTo>
                    <a:lnTo>
                      <a:pt x="573" y="628"/>
                    </a:lnTo>
                    <a:lnTo>
                      <a:pt x="572" y="626"/>
                    </a:lnTo>
                    <a:lnTo>
                      <a:pt x="570" y="625"/>
                    </a:lnTo>
                    <a:lnTo>
                      <a:pt x="569" y="624"/>
                    </a:lnTo>
                    <a:lnTo>
                      <a:pt x="567" y="622"/>
                    </a:lnTo>
                    <a:lnTo>
                      <a:pt x="569" y="626"/>
                    </a:lnTo>
                    <a:lnTo>
                      <a:pt x="570" y="631"/>
                    </a:lnTo>
                    <a:lnTo>
                      <a:pt x="572" y="635"/>
                    </a:lnTo>
                    <a:lnTo>
                      <a:pt x="577" y="642"/>
                    </a:lnTo>
                    <a:lnTo>
                      <a:pt x="579" y="644"/>
                    </a:lnTo>
                    <a:lnTo>
                      <a:pt x="580" y="645"/>
                    </a:lnTo>
                    <a:lnTo>
                      <a:pt x="582" y="645"/>
                    </a:lnTo>
                    <a:lnTo>
                      <a:pt x="583" y="645"/>
                    </a:lnTo>
                    <a:lnTo>
                      <a:pt x="585" y="647"/>
                    </a:lnTo>
                    <a:lnTo>
                      <a:pt x="586" y="647"/>
                    </a:lnTo>
                    <a:lnTo>
                      <a:pt x="583" y="647"/>
                    </a:lnTo>
                    <a:lnTo>
                      <a:pt x="582" y="648"/>
                    </a:lnTo>
                    <a:lnTo>
                      <a:pt x="582" y="649"/>
                    </a:lnTo>
                    <a:lnTo>
                      <a:pt x="583" y="651"/>
                    </a:lnTo>
                    <a:lnTo>
                      <a:pt x="585" y="651"/>
                    </a:lnTo>
                    <a:lnTo>
                      <a:pt x="586" y="651"/>
                    </a:lnTo>
                    <a:lnTo>
                      <a:pt x="589" y="651"/>
                    </a:lnTo>
                    <a:lnTo>
                      <a:pt x="590" y="651"/>
                    </a:lnTo>
                    <a:lnTo>
                      <a:pt x="592" y="651"/>
                    </a:lnTo>
                    <a:lnTo>
                      <a:pt x="593" y="652"/>
                    </a:lnTo>
                    <a:lnTo>
                      <a:pt x="595" y="652"/>
                    </a:lnTo>
                    <a:lnTo>
                      <a:pt x="596" y="652"/>
                    </a:lnTo>
                    <a:lnTo>
                      <a:pt x="598" y="652"/>
                    </a:lnTo>
                    <a:lnTo>
                      <a:pt x="599" y="651"/>
                    </a:lnTo>
                    <a:lnTo>
                      <a:pt x="599" y="648"/>
                    </a:lnTo>
                    <a:lnTo>
                      <a:pt x="600" y="647"/>
                    </a:lnTo>
                    <a:lnTo>
                      <a:pt x="600" y="645"/>
                    </a:lnTo>
                    <a:lnTo>
                      <a:pt x="600" y="645"/>
                    </a:lnTo>
                    <a:lnTo>
                      <a:pt x="599" y="645"/>
                    </a:lnTo>
                    <a:lnTo>
                      <a:pt x="599" y="644"/>
                    </a:lnTo>
                    <a:lnTo>
                      <a:pt x="599" y="642"/>
                    </a:lnTo>
                    <a:lnTo>
                      <a:pt x="602" y="644"/>
                    </a:lnTo>
                    <a:lnTo>
                      <a:pt x="605" y="642"/>
                    </a:lnTo>
                    <a:lnTo>
                      <a:pt x="605" y="638"/>
                    </a:lnTo>
                    <a:lnTo>
                      <a:pt x="605" y="635"/>
                    </a:lnTo>
                    <a:lnTo>
                      <a:pt x="606" y="635"/>
                    </a:lnTo>
                    <a:lnTo>
                      <a:pt x="606" y="636"/>
                    </a:lnTo>
                    <a:lnTo>
                      <a:pt x="608" y="638"/>
                    </a:lnTo>
                    <a:lnTo>
                      <a:pt x="608" y="639"/>
                    </a:lnTo>
                    <a:lnTo>
                      <a:pt x="609" y="639"/>
                    </a:lnTo>
                    <a:lnTo>
                      <a:pt x="609" y="636"/>
                    </a:lnTo>
                    <a:lnTo>
                      <a:pt x="610" y="636"/>
                    </a:lnTo>
                    <a:lnTo>
                      <a:pt x="612" y="636"/>
                    </a:lnTo>
                    <a:lnTo>
                      <a:pt x="613" y="636"/>
                    </a:lnTo>
                    <a:lnTo>
                      <a:pt x="613" y="638"/>
                    </a:lnTo>
                    <a:lnTo>
                      <a:pt x="613" y="639"/>
                    </a:lnTo>
                    <a:lnTo>
                      <a:pt x="613" y="639"/>
                    </a:lnTo>
                    <a:lnTo>
                      <a:pt x="612" y="639"/>
                    </a:lnTo>
                    <a:lnTo>
                      <a:pt x="610" y="639"/>
                    </a:lnTo>
                    <a:lnTo>
                      <a:pt x="612" y="641"/>
                    </a:lnTo>
                    <a:lnTo>
                      <a:pt x="612" y="642"/>
                    </a:lnTo>
                    <a:lnTo>
                      <a:pt x="613" y="644"/>
                    </a:lnTo>
                    <a:lnTo>
                      <a:pt x="615" y="644"/>
                    </a:lnTo>
                    <a:lnTo>
                      <a:pt x="616" y="642"/>
                    </a:lnTo>
                    <a:lnTo>
                      <a:pt x="616" y="641"/>
                    </a:lnTo>
                    <a:lnTo>
                      <a:pt x="616" y="639"/>
                    </a:lnTo>
                    <a:lnTo>
                      <a:pt x="615" y="635"/>
                    </a:lnTo>
                    <a:lnTo>
                      <a:pt x="615" y="634"/>
                    </a:lnTo>
                    <a:lnTo>
                      <a:pt x="616" y="631"/>
                    </a:lnTo>
                    <a:lnTo>
                      <a:pt x="618" y="622"/>
                    </a:lnTo>
                    <a:lnTo>
                      <a:pt x="619" y="619"/>
                    </a:lnTo>
                    <a:lnTo>
                      <a:pt x="621" y="616"/>
                    </a:lnTo>
                    <a:lnTo>
                      <a:pt x="621" y="616"/>
                    </a:lnTo>
                    <a:lnTo>
                      <a:pt x="621" y="618"/>
                    </a:lnTo>
                    <a:lnTo>
                      <a:pt x="621" y="618"/>
                    </a:lnTo>
                    <a:lnTo>
                      <a:pt x="621" y="618"/>
                    </a:lnTo>
                    <a:lnTo>
                      <a:pt x="622" y="619"/>
                    </a:lnTo>
                    <a:lnTo>
                      <a:pt x="622" y="621"/>
                    </a:lnTo>
                    <a:lnTo>
                      <a:pt x="622" y="622"/>
                    </a:lnTo>
                    <a:lnTo>
                      <a:pt x="623" y="622"/>
                    </a:lnTo>
                    <a:lnTo>
                      <a:pt x="623" y="619"/>
                    </a:lnTo>
                    <a:lnTo>
                      <a:pt x="622" y="609"/>
                    </a:lnTo>
                    <a:lnTo>
                      <a:pt x="622" y="601"/>
                    </a:lnTo>
                    <a:close/>
                    <a:moveTo>
                      <a:pt x="605" y="645"/>
                    </a:moveTo>
                    <a:lnTo>
                      <a:pt x="602" y="648"/>
                    </a:lnTo>
                    <a:lnTo>
                      <a:pt x="602" y="648"/>
                    </a:lnTo>
                    <a:lnTo>
                      <a:pt x="602" y="651"/>
                    </a:lnTo>
                    <a:lnTo>
                      <a:pt x="605" y="649"/>
                    </a:lnTo>
                    <a:lnTo>
                      <a:pt x="606" y="648"/>
                    </a:lnTo>
                    <a:lnTo>
                      <a:pt x="605" y="647"/>
                    </a:lnTo>
                    <a:lnTo>
                      <a:pt x="605" y="645"/>
                    </a:lnTo>
                    <a:close/>
                    <a:moveTo>
                      <a:pt x="547" y="565"/>
                    </a:moveTo>
                    <a:lnTo>
                      <a:pt x="546" y="566"/>
                    </a:lnTo>
                    <a:lnTo>
                      <a:pt x="544" y="567"/>
                    </a:lnTo>
                    <a:lnTo>
                      <a:pt x="544" y="572"/>
                    </a:lnTo>
                    <a:lnTo>
                      <a:pt x="544" y="573"/>
                    </a:lnTo>
                    <a:lnTo>
                      <a:pt x="544" y="575"/>
                    </a:lnTo>
                    <a:lnTo>
                      <a:pt x="544" y="576"/>
                    </a:lnTo>
                    <a:lnTo>
                      <a:pt x="547" y="575"/>
                    </a:lnTo>
                    <a:lnTo>
                      <a:pt x="549" y="575"/>
                    </a:lnTo>
                    <a:lnTo>
                      <a:pt x="549" y="573"/>
                    </a:lnTo>
                    <a:lnTo>
                      <a:pt x="549" y="570"/>
                    </a:lnTo>
                    <a:lnTo>
                      <a:pt x="549" y="569"/>
                    </a:lnTo>
                    <a:lnTo>
                      <a:pt x="547" y="565"/>
                    </a:lnTo>
                    <a:close/>
                    <a:moveTo>
                      <a:pt x="440" y="486"/>
                    </a:moveTo>
                    <a:lnTo>
                      <a:pt x="434" y="486"/>
                    </a:lnTo>
                    <a:lnTo>
                      <a:pt x="434" y="484"/>
                    </a:lnTo>
                    <a:lnTo>
                      <a:pt x="432" y="483"/>
                    </a:lnTo>
                    <a:lnTo>
                      <a:pt x="430" y="483"/>
                    </a:lnTo>
                    <a:lnTo>
                      <a:pt x="419" y="486"/>
                    </a:lnTo>
                    <a:lnTo>
                      <a:pt x="417" y="487"/>
                    </a:lnTo>
                    <a:lnTo>
                      <a:pt x="415" y="488"/>
                    </a:lnTo>
                    <a:lnTo>
                      <a:pt x="418" y="491"/>
                    </a:lnTo>
                    <a:lnTo>
                      <a:pt x="419" y="491"/>
                    </a:lnTo>
                    <a:lnTo>
                      <a:pt x="422" y="491"/>
                    </a:lnTo>
                    <a:lnTo>
                      <a:pt x="428" y="491"/>
                    </a:lnTo>
                    <a:lnTo>
                      <a:pt x="430" y="491"/>
                    </a:lnTo>
                    <a:lnTo>
                      <a:pt x="432" y="491"/>
                    </a:lnTo>
                    <a:lnTo>
                      <a:pt x="434" y="491"/>
                    </a:lnTo>
                    <a:lnTo>
                      <a:pt x="435" y="490"/>
                    </a:lnTo>
                    <a:lnTo>
                      <a:pt x="435" y="490"/>
                    </a:lnTo>
                    <a:lnTo>
                      <a:pt x="437" y="488"/>
                    </a:lnTo>
                    <a:lnTo>
                      <a:pt x="438" y="488"/>
                    </a:lnTo>
                    <a:lnTo>
                      <a:pt x="440" y="488"/>
                    </a:lnTo>
                    <a:lnTo>
                      <a:pt x="441" y="488"/>
                    </a:lnTo>
                    <a:lnTo>
                      <a:pt x="442" y="488"/>
                    </a:lnTo>
                    <a:lnTo>
                      <a:pt x="442" y="488"/>
                    </a:lnTo>
                    <a:lnTo>
                      <a:pt x="442" y="487"/>
                    </a:lnTo>
                    <a:lnTo>
                      <a:pt x="440" y="486"/>
                    </a:lnTo>
                    <a:close/>
                    <a:moveTo>
                      <a:pt x="3" y="292"/>
                    </a:moveTo>
                    <a:lnTo>
                      <a:pt x="2" y="286"/>
                    </a:lnTo>
                    <a:lnTo>
                      <a:pt x="0" y="286"/>
                    </a:lnTo>
                    <a:lnTo>
                      <a:pt x="0" y="287"/>
                    </a:lnTo>
                    <a:lnTo>
                      <a:pt x="0" y="287"/>
                    </a:lnTo>
                    <a:lnTo>
                      <a:pt x="0" y="290"/>
                    </a:lnTo>
                    <a:lnTo>
                      <a:pt x="2" y="293"/>
                    </a:lnTo>
                    <a:lnTo>
                      <a:pt x="4" y="297"/>
                    </a:lnTo>
                    <a:lnTo>
                      <a:pt x="4" y="294"/>
                    </a:lnTo>
                    <a:lnTo>
                      <a:pt x="3" y="29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77" name="Freeform 271">
                <a:extLst>
                  <a:ext uri="{FF2B5EF4-FFF2-40B4-BE49-F238E27FC236}">
                    <a16:creationId xmlns:a16="http://schemas.microsoft.com/office/drawing/2014/main" id="{470BF340-A0B5-3E44-4641-B397427134DE}"/>
                  </a:ext>
                </a:extLst>
              </p:cNvPr>
              <p:cNvSpPr>
                <a:spLocks/>
              </p:cNvSpPr>
              <p:nvPr/>
            </p:nvSpPr>
            <p:spPr bwMode="auto">
              <a:xfrm>
                <a:off x="10459512" y="4602608"/>
                <a:ext cx="4338" cy="4338"/>
              </a:xfrm>
              <a:custGeom>
                <a:avLst/>
                <a:gdLst>
                  <a:gd name="T0" fmla="*/ 0 w 3"/>
                  <a:gd name="T1" fmla="*/ 2 h 3"/>
                  <a:gd name="T2" fmla="*/ 3 w 3"/>
                  <a:gd name="T3" fmla="*/ 3 h 3"/>
                  <a:gd name="T4" fmla="*/ 3 w 3"/>
                  <a:gd name="T5" fmla="*/ 2 h 3"/>
                  <a:gd name="T6" fmla="*/ 1 w 3"/>
                  <a:gd name="T7" fmla="*/ 0 h 3"/>
                  <a:gd name="T8" fmla="*/ 0 w 3"/>
                  <a:gd name="T9" fmla="*/ 2 h 3"/>
                </a:gdLst>
                <a:ahLst/>
                <a:cxnLst>
                  <a:cxn ang="0">
                    <a:pos x="T0" y="T1"/>
                  </a:cxn>
                  <a:cxn ang="0">
                    <a:pos x="T2" y="T3"/>
                  </a:cxn>
                  <a:cxn ang="0">
                    <a:pos x="T4" y="T5"/>
                  </a:cxn>
                  <a:cxn ang="0">
                    <a:pos x="T6" y="T7"/>
                  </a:cxn>
                  <a:cxn ang="0">
                    <a:pos x="T8" y="T9"/>
                  </a:cxn>
                </a:cxnLst>
                <a:rect l="0" t="0" r="r" b="b"/>
                <a:pathLst>
                  <a:path w="3" h="3">
                    <a:moveTo>
                      <a:pt x="0" y="2"/>
                    </a:moveTo>
                    <a:lnTo>
                      <a:pt x="3" y="3"/>
                    </a:lnTo>
                    <a:lnTo>
                      <a:pt x="3" y="2"/>
                    </a:lnTo>
                    <a:lnTo>
                      <a:pt x="1" y="0"/>
                    </a:lnTo>
                    <a:lnTo>
                      <a:pt x="0"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78" name="Freeform 272">
                <a:extLst>
                  <a:ext uri="{FF2B5EF4-FFF2-40B4-BE49-F238E27FC236}">
                    <a16:creationId xmlns:a16="http://schemas.microsoft.com/office/drawing/2014/main" id="{30578B2F-5C1F-B0D3-9973-CD190698F3F3}"/>
                  </a:ext>
                </a:extLst>
              </p:cNvPr>
              <p:cNvSpPr>
                <a:spLocks/>
              </p:cNvSpPr>
              <p:nvPr/>
            </p:nvSpPr>
            <p:spPr bwMode="auto">
              <a:xfrm>
                <a:off x="9897033" y="4881679"/>
                <a:ext cx="1446" cy="1446"/>
              </a:xfrm>
              <a:custGeom>
                <a:avLst/>
                <a:gdLst>
                  <a:gd name="T0" fmla="*/ 0 w 1"/>
                  <a:gd name="T1" fmla="*/ 1 h 1"/>
                  <a:gd name="T2" fmla="*/ 0 w 1"/>
                  <a:gd name="T3" fmla="*/ 1 h 1"/>
                  <a:gd name="T4" fmla="*/ 0 w 1"/>
                  <a:gd name="T5" fmla="*/ 1 h 1"/>
                  <a:gd name="T6" fmla="*/ 1 w 1"/>
                  <a:gd name="T7" fmla="*/ 1 h 1"/>
                  <a:gd name="T8" fmla="*/ 1 w 1"/>
                  <a:gd name="T9" fmla="*/ 1 h 1"/>
                  <a:gd name="T10" fmla="*/ 1 w 1"/>
                  <a:gd name="T11" fmla="*/ 1 h 1"/>
                  <a:gd name="T12" fmla="*/ 1 w 1"/>
                  <a:gd name="T13" fmla="*/ 1 h 1"/>
                  <a:gd name="T14" fmla="*/ 1 w 1"/>
                  <a:gd name="T15" fmla="*/ 1 h 1"/>
                  <a:gd name="T16" fmla="*/ 1 w 1"/>
                  <a:gd name="T17" fmla="*/ 1 h 1"/>
                  <a:gd name="T18" fmla="*/ 0 w 1"/>
                  <a:gd name="T19" fmla="*/ 0 h 1"/>
                  <a:gd name="T20" fmla="*/ 0 w 1"/>
                  <a:gd name="T2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1">
                    <a:moveTo>
                      <a:pt x="0" y="1"/>
                    </a:moveTo>
                    <a:lnTo>
                      <a:pt x="0" y="1"/>
                    </a:lnTo>
                    <a:lnTo>
                      <a:pt x="0" y="1"/>
                    </a:lnTo>
                    <a:lnTo>
                      <a:pt x="1" y="1"/>
                    </a:lnTo>
                    <a:lnTo>
                      <a:pt x="1" y="1"/>
                    </a:lnTo>
                    <a:lnTo>
                      <a:pt x="1" y="1"/>
                    </a:lnTo>
                    <a:lnTo>
                      <a:pt x="1" y="1"/>
                    </a:lnTo>
                    <a:lnTo>
                      <a:pt x="1" y="1"/>
                    </a:lnTo>
                    <a:lnTo>
                      <a:pt x="1" y="1"/>
                    </a:lnTo>
                    <a:lnTo>
                      <a:pt x="0" y="0"/>
                    </a:lnTo>
                    <a:lnTo>
                      <a:pt x="0" y="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79" name="Freeform 273">
                <a:extLst>
                  <a:ext uri="{FF2B5EF4-FFF2-40B4-BE49-F238E27FC236}">
                    <a16:creationId xmlns:a16="http://schemas.microsoft.com/office/drawing/2014/main" id="{B75EAFAE-A8E1-2BB7-D0FD-7F4D63BC88DE}"/>
                  </a:ext>
                </a:extLst>
              </p:cNvPr>
              <p:cNvSpPr>
                <a:spLocks noEditPoints="1"/>
              </p:cNvSpPr>
              <p:nvPr/>
            </p:nvSpPr>
            <p:spPr bwMode="auto">
              <a:xfrm>
                <a:off x="9846424" y="5033504"/>
                <a:ext cx="456924" cy="594290"/>
              </a:xfrm>
              <a:custGeom>
                <a:avLst/>
                <a:gdLst>
                  <a:gd name="T0" fmla="*/ 310 w 316"/>
                  <a:gd name="T1" fmla="*/ 197 h 411"/>
                  <a:gd name="T2" fmla="*/ 306 w 316"/>
                  <a:gd name="T3" fmla="*/ 202 h 411"/>
                  <a:gd name="T4" fmla="*/ 55 w 316"/>
                  <a:gd name="T5" fmla="*/ 409 h 411"/>
                  <a:gd name="T6" fmla="*/ 17 w 316"/>
                  <a:gd name="T7" fmla="*/ 231 h 411"/>
                  <a:gd name="T8" fmla="*/ 10 w 316"/>
                  <a:gd name="T9" fmla="*/ 241 h 411"/>
                  <a:gd name="T10" fmla="*/ 29 w 316"/>
                  <a:gd name="T11" fmla="*/ 274 h 411"/>
                  <a:gd name="T12" fmla="*/ 39 w 316"/>
                  <a:gd name="T13" fmla="*/ 268 h 411"/>
                  <a:gd name="T14" fmla="*/ 144 w 316"/>
                  <a:gd name="T15" fmla="*/ 145 h 411"/>
                  <a:gd name="T16" fmla="*/ 128 w 316"/>
                  <a:gd name="T17" fmla="*/ 178 h 411"/>
                  <a:gd name="T18" fmla="*/ 119 w 316"/>
                  <a:gd name="T19" fmla="*/ 189 h 411"/>
                  <a:gd name="T20" fmla="*/ 122 w 316"/>
                  <a:gd name="T21" fmla="*/ 198 h 411"/>
                  <a:gd name="T22" fmla="*/ 114 w 316"/>
                  <a:gd name="T23" fmla="*/ 198 h 411"/>
                  <a:gd name="T24" fmla="*/ 98 w 316"/>
                  <a:gd name="T25" fmla="*/ 204 h 411"/>
                  <a:gd name="T26" fmla="*/ 91 w 316"/>
                  <a:gd name="T27" fmla="*/ 227 h 411"/>
                  <a:gd name="T28" fmla="*/ 81 w 316"/>
                  <a:gd name="T29" fmla="*/ 247 h 411"/>
                  <a:gd name="T30" fmla="*/ 50 w 316"/>
                  <a:gd name="T31" fmla="*/ 261 h 411"/>
                  <a:gd name="T32" fmla="*/ 38 w 316"/>
                  <a:gd name="T33" fmla="*/ 256 h 411"/>
                  <a:gd name="T34" fmla="*/ 16 w 316"/>
                  <a:gd name="T35" fmla="*/ 247 h 411"/>
                  <a:gd name="T36" fmla="*/ 10 w 316"/>
                  <a:gd name="T37" fmla="*/ 247 h 411"/>
                  <a:gd name="T38" fmla="*/ 17 w 316"/>
                  <a:gd name="T39" fmla="*/ 237 h 411"/>
                  <a:gd name="T40" fmla="*/ 17 w 316"/>
                  <a:gd name="T41" fmla="*/ 231 h 411"/>
                  <a:gd name="T42" fmla="*/ 20 w 316"/>
                  <a:gd name="T43" fmla="*/ 227 h 411"/>
                  <a:gd name="T44" fmla="*/ 27 w 316"/>
                  <a:gd name="T45" fmla="*/ 220 h 411"/>
                  <a:gd name="T46" fmla="*/ 46 w 316"/>
                  <a:gd name="T47" fmla="*/ 202 h 411"/>
                  <a:gd name="T48" fmla="*/ 65 w 316"/>
                  <a:gd name="T49" fmla="*/ 192 h 411"/>
                  <a:gd name="T50" fmla="*/ 79 w 316"/>
                  <a:gd name="T51" fmla="*/ 184 h 411"/>
                  <a:gd name="T52" fmla="*/ 83 w 316"/>
                  <a:gd name="T53" fmla="*/ 178 h 411"/>
                  <a:gd name="T54" fmla="*/ 91 w 316"/>
                  <a:gd name="T55" fmla="*/ 171 h 411"/>
                  <a:gd name="T56" fmla="*/ 109 w 316"/>
                  <a:gd name="T57" fmla="*/ 135 h 411"/>
                  <a:gd name="T58" fmla="*/ 122 w 316"/>
                  <a:gd name="T59" fmla="*/ 132 h 411"/>
                  <a:gd name="T60" fmla="*/ 139 w 316"/>
                  <a:gd name="T61" fmla="*/ 133 h 411"/>
                  <a:gd name="T62" fmla="*/ 145 w 316"/>
                  <a:gd name="T63" fmla="*/ 135 h 411"/>
                  <a:gd name="T64" fmla="*/ 4 w 316"/>
                  <a:gd name="T65" fmla="*/ 359 h 411"/>
                  <a:gd name="T66" fmla="*/ 3 w 316"/>
                  <a:gd name="T67" fmla="*/ 366 h 411"/>
                  <a:gd name="T68" fmla="*/ 4 w 316"/>
                  <a:gd name="T69" fmla="*/ 359 h 411"/>
                  <a:gd name="T70" fmla="*/ 211 w 316"/>
                  <a:gd name="T71" fmla="*/ 89 h 411"/>
                  <a:gd name="T72" fmla="*/ 194 w 316"/>
                  <a:gd name="T73" fmla="*/ 99 h 411"/>
                  <a:gd name="T74" fmla="*/ 194 w 316"/>
                  <a:gd name="T75" fmla="*/ 113 h 411"/>
                  <a:gd name="T76" fmla="*/ 162 w 316"/>
                  <a:gd name="T77" fmla="*/ 145 h 411"/>
                  <a:gd name="T78" fmla="*/ 157 w 316"/>
                  <a:gd name="T79" fmla="*/ 141 h 411"/>
                  <a:gd name="T80" fmla="*/ 160 w 316"/>
                  <a:gd name="T81" fmla="*/ 113 h 411"/>
                  <a:gd name="T82" fmla="*/ 148 w 316"/>
                  <a:gd name="T83" fmla="*/ 92 h 411"/>
                  <a:gd name="T84" fmla="*/ 158 w 316"/>
                  <a:gd name="T85" fmla="*/ 67 h 411"/>
                  <a:gd name="T86" fmla="*/ 155 w 316"/>
                  <a:gd name="T87" fmla="*/ 54 h 411"/>
                  <a:gd name="T88" fmla="*/ 150 w 316"/>
                  <a:gd name="T89" fmla="*/ 49 h 411"/>
                  <a:gd name="T90" fmla="*/ 148 w 316"/>
                  <a:gd name="T91" fmla="*/ 37 h 411"/>
                  <a:gd name="T92" fmla="*/ 141 w 316"/>
                  <a:gd name="T93" fmla="*/ 31 h 411"/>
                  <a:gd name="T94" fmla="*/ 134 w 316"/>
                  <a:gd name="T95" fmla="*/ 20 h 411"/>
                  <a:gd name="T96" fmla="*/ 128 w 316"/>
                  <a:gd name="T97" fmla="*/ 16 h 411"/>
                  <a:gd name="T98" fmla="*/ 125 w 316"/>
                  <a:gd name="T99" fmla="*/ 3 h 411"/>
                  <a:gd name="T100" fmla="*/ 144 w 316"/>
                  <a:gd name="T101" fmla="*/ 16 h 411"/>
                  <a:gd name="T102" fmla="*/ 152 w 316"/>
                  <a:gd name="T103" fmla="*/ 24 h 411"/>
                  <a:gd name="T104" fmla="*/ 157 w 316"/>
                  <a:gd name="T105" fmla="*/ 43 h 411"/>
                  <a:gd name="T106" fmla="*/ 160 w 316"/>
                  <a:gd name="T107" fmla="*/ 49 h 411"/>
                  <a:gd name="T108" fmla="*/ 168 w 316"/>
                  <a:gd name="T109" fmla="*/ 46 h 411"/>
                  <a:gd name="T110" fmla="*/ 178 w 316"/>
                  <a:gd name="T111" fmla="*/ 63 h 411"/>
                  <a:gd name="T112" fmla="*/ 139 w 316"/>
                  <a:gd name="T113" fmla="*/ 133 h 411"/>
                  <a:gd name="T114" fmla="*/ 167 w 316"/>
                  <a:gd name="T115" fmla="*/ 33 h 411"/>
                  <a:gd name="T116" fmla="*/ 315 w 316"/>
                  <a:gd name="T117" fmla="*/ 208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6" h="411">
                    <a:moveTo>
                      <a:pt x="315" y="195"/>
                    </a:moveTo>
                    <a:lnTo>
                      <a:pt x="313" y="197"/>
                    </a:lnTo>
                    <a:lnTo>
                      <a:pt x="313" y="197"/>
                    </a:lnTo>
                    <a:lnTo>
                      <a:pt x="312" y="198"/>
                    </a:lnTo>
                    <a:lnTo>
                      <a:pt x="312" y="198"/>
                    </a:lnTo>
                    <a:lnTo>
                      <a:pt x="312" y="197"/>
                    </a:lnTo>
                    <a:lnTo>
                      <a:pt x="310" y="197"/>
                    </a:lnTo>
                    <a:lnTo>
                      <a:pt x="310" y="197"/>
                    </a:lnTo>
                    <a:lnTo>
                      <a:pt x="309" y="197"/>
                    </a:lnTo>
                    <a:lnTo>
                      <a:pt x="310" y="197"/>
                    </a:lnTo>
                    <a:lnTo>
                      <a:pt x="310" y="197"/>
                    </a:lnTo>
                    <a:lnTo>
                      <a:pt x="309" y="199"/>
                    </a:lnTo>
                    <a:lnTo>
                      <a:pt x="310" y="199"/>
                    </a:lnTo>
                    <a:lnTo>
                      <a:pt x="312" y="201"/>
                    </a:lnTo>
                    <a:lnTo>
                      <a:pt x="312" y="202"/>
                    </a:lnTo>
                    <a:lnTo>
                      <a:pt x="312" y="202"/>
                    </a:lnTo>
                    <a:lnTo>
                      <a:pt x="310" y="204"/>
                    </a:lnTo>
                    <a:lnTo>
                      <a:pt x="309" y="204"/>
                    </a:lnTo>
                    <a:lnTo>
                      <a:pt x="307" y="204"/>
                    </a:lnTo>
                    <a:lnTo>
                      <a:pt x="306" y="202"/>
                    </a:lnTo>
                    <a:lnTo>
                      <a:pt x="307" y="199"/>
                    </a:lnTo>
                    <a:lnTo>
                      <a:pt x="307" y="198"/>
                    </a:lnTo>
                    <a:lnTo>
                      <a:pt x="303" y="198"/>
                    </a:lnTo>
                    <a:lnTo>
                      <a:pt x="306" y="197"/>
                    </a:lnTo>
                    <a:lnTo>
                      <a:pt x="309" y="195"/>
                    </a:lnTo>
                    <a:lnTo>
                      <a:pt x="312" y="195"/>
                    </a:lnTo>
                    <a:lnTo>
                      <a:pt x="315" y="195"/>
                    </a:lnTo>
                    <a:close/>
                    <a:moveTo>
                      <a:pt x="56" y="409"/>
                    </a:moveTo>
                    <a:lnTo>
                      <a:pt x="56" y="409"/>
                    </a:lnTo>
                    <a:lnTo>
                      <a:pt x="55" y="409"/>
                    </a:lnTo>
                    <a:lnTo>
                      <a:pt x="55" y="411"/>
                    </a:lnTo>
                    <a:lnTo>
                      <a:pt x="56" y="411"/>
                    </a:lnTo>
                    <a:lnTo>
                      <a:pt x="58" y="411"/>
                    </a:lnTo>
                    <a:lnTo>
                      <a:pt x="58" y="411"/>
                    </a:lnTo>
                    <a:lnTo>
                      <a:pt x="58" y="411"/>
                    </a:lnTo>
                    <a:lnTo>
                      <a:pt x="56" y="409"/>
                    </a:lnTo>
                    <a:close/>
                    <a:moveTo>
                      <a:pt x="19" y="228"/>
                    </a:moveTo>
                    <a:lnTo>
                      <a:pt x="19" y="231"/>
                    </a:lnTo>
                    <a:lnTo>
                      <a:pt x="19" y="231"/>
                    </a:lnTo>
                    <a:lnTo>
                      <a:pt x="17" y="231"/>
                    </a:lnTo>
                    <a:lnTo>
                      <a:pt x="17" y="230"/>
                    </a:lnTo>
                    <a:lnTo>
                      <a:pt x="17" y="230"/>
                    </a:lnTo>
                    <a:lnTo>
                      <a:pt x="19" y="228"/>
                    </a:lnTo>
                    <a:close/>
                    <a:moveTo>
                      <a:pt x="12" y="240"/>
                    </a:moveTo>
                    <a:lnTo>
                      <a:pt x="13" y="238"/>
                    </a:lnTo>
                    <a:lnTo>
                      <a:pt x="15" y="240"/>
                    </a:lnTo>
                    <a:lnTo>
                      <a:pt x="15" y="241"/>
                    </a:lnTo>
                    <a:lnTo>
                      <a:pt x="13" y="241"/>
                    </a:lnTo>
                    <a:lnTo>
                      <a:pt x="12" y="241"/>
                    </a:lnTo>
                    <a:lnTo>
                      <a:pt x="10" y="241"/>
                    </a:lnTo>
                    <a:lnTo>
                      <a:pt x="12" y="240"/>
                    </a:lnTo>
                    <a:lnTo>
                      <a:pt x="12" y="240"/>
                    </a:lnTo>
                    <a:close/>
                    <a:moveTo>
                      <a:pt x="40" y="271"/>
                    </a:moveTo>
                    <a:lnTo>
                      <a:pt x="40" y="271"/>
                    </a:lnTo>
                    <a:lnTo>
                      <a:pt x="39" y="273"/>
                    </a:lnTo>
                    <a:lnTo>
                      <a:pt x="38" y="274"/>
                    </a:lnTo>
                    <a:lnTo>
                      <a:pt x="33" y="276"/>
                    </a:lnTo>
                    <a:lnTo>
                      <a:pt x="30" y="277"/>
                    </a:lnTo>
                    <a:lnTo>
                      <a:pt x="29" y="277"/>
                    </a:lnTo>
                    <a:lnTo>
                      <a:pt x="29" y="274"/>
                    </a:lnTo>
                    <a:lnTo>
                      <a:pt x="32" y="270"/>
                    </a:lnTo>
                    <a:lnTo>
                      <a:pt x="33" y="268"/>
                    </a:lnTo>
                    <a:lnTo>
                      <a:pt x="33" y="267"/>
                    </a:lnTo>
                    <a:lnTo>
                      <a:pt x="33" y="266"/>
                    </a:lnTo>
                    <a:lnTo>
                      <a:pt x="33" y="264"/>
                    </a:lnTo>
                    <a:lnTo>
                      <a:pt x="35" y="264"/>
                    </a:lnTo>
                    <a:lnTo>
                      <a:pt x="36" y="264"/>
                    </a:lnTo>
                    <a:lnTo>
                      <a:pt x="38" y="266"/>
                    </a:lnTo>
                    <a:lnTo>
                      <a:pt x="39" y="267"/>
                    </a:lnTo>
                    <a:lnTo>
                      <a:pt x="39" y="268"/>
                    </a:lnTo>
                    <a:lnTo>
                      <a:pt x="38" y="268"/>
                    </a:lnTo>
                    <a:lnTo>
                      <a:pt x="39" y="270"/>
                    </a:lnTo>
                    <a:lnTo>
                      <a:pt x="40" y="271"/>
                    </a:lnTo>
                    <a:close/>
                    <a:moveTo>
                      <a:pt x="148" y="139"/>
                    </a:moveTo>
                    <a:lnTo>
                      <a:pt x="148" y="138"/>
                    </a:lnTo>
                    <a:lnTo>
                      <a:pt x="148" y="139"/>
                    </a:lnTo>
                    <a:lnTo>
                      <a:pt x="147" y="141"/>
                    </a:lnTo>
                    <a:lnTo>
                      <a:pt x="145" y="142"/>
                    </a:lnTo>
                    <a:lnTo>
                      <a:pt x="144" y="143"/>
                    </a:lnTo>
                    <a:lnTo>
                      <a:pt x="144" y="145"/>
                    </a:lnTo>
                    <a:lnTo>
                      <a:pt x="144" y="146"/>
                    </a:lnTo>
                    <a:lnTo>
                      <a:pt x="145" y="148"/>
                    </a:lnTo>
                    <a:lnTo>
                      <a:pt x="144" y="149"/>
                    </a:lnTo>
                    <a:lnTo>
                      <a:pt x="147" y="149"/>
                    </a:lnTo>
                    <a:lnTo>
                      <a:pt x="147" y="152"/>
                    </a:lnTo>
                    <a:lnTo>
                      <a:pt x="145" y="155"/>
                    </a:lnTo>
                    <a:lnTo>
                      <a:pt x="135" y="166"/>
                    </a:lnTo>
                    <a:lnTo>
                      <a:pt x="134" y="169"/>
                    </a:lnTo>
                    <a:lnTo>
                      <a:pt x="131" y="176"/>
                    </a:lnTo>
                    <a:lnTo>
                      <a:pt x="128" y="178"/>
                    </a:lnTo>
                    <a:lnTo>
                      <a:pt x="127" y="181"/>
                    </a:lnTo>
                    <a:lnTo>
                      <a:pt x="124" y="182"/>
                    </a:lnTo>
                    <a:lnTo>
                      <a:pt x="121" y="184"/>
                    </a:lnTo>
                    <a:lnTo>
                      <a:pt x="118" y="185"/>
                    </a:lnTo>
                    <a:lnTo>
                      <a:pt x="119" y="187"/>
                    </a:lnTo>
                    <a:lnTo>
                      <a:pt x="119" y="188"/>
                    </a:lnTo>
                    <a:lnTo>
                      <a:pt x="118" y="188"/>
                    </a:lnTo>
                    <a:lnTo>
                      <a:pt x="116" y="189"/>
                    </a:lnTo>
                    <a:lnTo>
                      <a:pt x="118" y="189"/>
                    </a:lnTo>
                    <a:lnTo>
                      <a:pt x="119" y="189"/>
                    </a:lnTo>
                    <a:lnTo>
                      <a:pt x="119" y="191"/>
                    </a:lnTo>
                    <a:lnTo>
                      <a:pt x="121" y="192"/>
                    </a:lnTo>
                    <a:lnTo>
                      <a:pt x="122" y="194"/>
                    </a:lnTo>
                    <a:lnTo>
                      <a:pt x="124" y="194"/>
                    </a:lnTo>
                    <a:lnTo>
                      <a:pt x="125" y="194"/>
                    </a:lnTo>
                    <a:lnTo>
                      <a:pt x="127" y="195"/>
                    </a:lnTo>
                    <a:lnTo>
                      <a:pt x="127" y="198"/>
                    </a:lnTo>
                    <a:lnTo>
                      <a:pt x="125" y="198"/>
                    </a:lnTo>
                    <a:lnTo>
                      <a:pt x="124" y="199"/>
                    </a:lnTo>
                    <a:lnTo>
                      <a:pt x="122" y="198"/>
                    </a:lnTo>
                    <a:lnTo>
                      <a:pt x="121" y="198"/>
                    </a:lnTo>
                    <a:lnTo>
                      <a:pt x="118" y="198"/>
                    </a:lnTo>
                    <a:lnTo>
                      <a:pt x="118" y="198"/>
                    </a:lnTo>
                    <a:lnTo>
                      <a:pt x="115" y="198"/>
                    </a:lnTo>
                    <a:lnTo>
                      <a:pt x="116" y="198"/>
                    </a:lnTo>
                    <a:lnTo>
                      <a:pt x="118" y="197"/>
                    </a:lnTo>
                    <a:lnTo>
                      <a:pt x="115" y="195"/>
                    </a:lnTo>
                    <a:lnTo>
                      <a:pt x="115" y="195"/>
                    </a:lnTo>
                    <a:lnTo>
                      <a:pt x="114" y="197"/>
                    </a:lnTo>
                    <a:lnTo>
                      <a:pt x="114" y="198"/>
                    </a:lnTo>
                    <a:lnTo>
                      <a:pt x="112" y="198"/>
                    </a:lnTo>
                    <a:lnTo>
                      <a:pt x="111" y="197"/>
                    </a:lnTo>
                    <a:lnTo>
                      <a:pt x="108" y="195"/>
                    </a:lnTo>
                    <a:lnTo>
                      <a:pt x="109" y="198"/>
                    </a:lnTo>
                    <a:lnTo>
                      <a:pt x="109" y="198"/>
                    </a:lnTo>
                    <a:lnTo>
                      <a:pt x="109" y="199"/>
                    </a:lnTo>
                    <a:lnTo>
                      <a:pt x="108" y="201"/>
                    </a:lnTo>
                    <a:lnTo>
                      <a:pt x="106" y="201"/>
                    </a:lnTo>
                    <a:lnTo>
                      <a:pt x="99" y="204"/>
                    </a:lnTo>
                    <a:lnTo>
                      <a:pt x="98" y="204"/>
                    </a:lnTo>
                    <a:lnTo>
                      <a:pt x="98" y="205"/>
                    </a:lnTo>
                    <a:lnTo>
                      <a:pt x="96" y="207"/>
                    </a:lnTo>
                    <a:lnTo>
                      <a:pt x="95" y="207"/>
                    </a:lnTo>
                    <a:lnTo>
                      <a:pt x="94" y="208"/>
                    </a:lnTo>
                    <a:lnTo>
                      <a:pt x="95" y="210"/>
                    </a:lnTo>
                    <a:lnTo>
                      <a:pt x="94" y="215"/>
                    </a:lnTo>
                    <a:lnTo>
                      <a:pt x="92" y="221"/>
                    </a:lnTo>
                    <a:lnTo>
                      <a:pt x="89" y="222"/>
                    </a:lnTo>
                    <a:lnTo>
                      <a:pt x="91" y="224"/>
                    </a:lnTo>
                    <a:lnTo>
                      <a:pt x="91" y="227"/>
                    </a:lnTo>
                    <a:lnTo>
                      <a:pt x="85" y="238"/>
                    </a:lnTo>
                    <a:lnTo>
                      <a:pt x="83" y="241"/>
                    </a:lnTo>
                    <a:lnTo>
                      <a:pt x="85" y="241"/>
                    </a:lnTo>
                    <a:lnTo>
                      <a:pt x="85" y="243"/>
                    </a:lnTo>
                    <a:lnTo>
                      <a:pt x="86" y="243"/>
                    </a:lnTo>
                    <a:lnTo>
                      <a:pt x="86" y="244"/>
                    </a:lnTo>
                    <a:lnTo>
                      <a:pt x="85" y="245"/>
                    </a:lnTo>
                    <a:lnTo>
                      <a:pt x="83" y="245"/>
                    </a:lnTo>
                    <a:lnTo>
                      <a:pt x="82" y="245"/>
                    </a:lnTo>
                    <a:lnTo>
                      <a:pt x="81" y="247"/>
                    </a:lnTo>
                    <a:lnTo>
                      <a:pt x="79" y="247"/>
                    </a:lnTo>
                    <a:lnTo>
                      <a:pt x="78" y="248"/>
                    </a:lnTo>
                    <a:lnTo>
                      <a:pt x="68" y="258"/>
                    </a:lnTo>
                    <a:lnTo>
                      <a:pt x="65" y="260"/>
                    </a:lnTo>
                    <a:lnTo>
                      <a:pt x="62" y="261"/>
                    </a:lnTo>
                    <a:lnTo>
                      <a:pt x="59" y="263"/>
                    </a:lnTo>
                    <a:lnTo>
                      <a:pt x="56" y="263"/>
                    </a:lnTo>
                    <a:lnTo>
                      <a:pt x="55" y="261"/>
                    </a:lnTo>
                    <a:lnTo>
                      <a:pt x="52" y="261"/>
                    </a:lnTo>
                    <a:lnTo>
                      <a:pt x="50" y="261"/>
                    </a:lnTo>
                    <a:lnTo>
                      <a:pt x="49" y="261"/>
                    </a:lnTo>
                    <a:lnTo>
                      <a:pt x="48" y="261"/>
                    </a:lnTo>
                    <a:lnTo>
                      <a:pt x="46" y="261"/>
                    </a:lnTo>
                    <a:lnTo>
                      <a:pt x="45" y="261"/>
                    </a:lnTo>
                    <a:lnTo>
                      <a:pt x="43" y="260"/>
                    </a:lnTo>
                    <a:lnTo>
                      <a:pt x="43" y="260"/>
                    </a:lnTo>
                    <a:lnTo>
                      <a:pt x="42" y="258"/>
                    </a:lnTo>
                    <a:lnTo>
                      <a:pt x="40" y="257"/>
                    </a:lnTo>
                    <a:lnTo>
                      <a:pt x="39" y="256"/>
                    </a:lnTo>
                    <a:lnTo>
                      <a:pt x="38" y="256"/>
                    </a:lnTo>
                    <a:lnTo>
                      <a:pt x="36" y="257"/>
                    </a:lnTo>
                    <a:lnTo>
                      <a:pt x="35" y="256"/>
                    </a:lnTo>
                    <a:lnTo>
                      <a:pt x="33" y="256"/>
                    </a:lnTo>
                    <a:lnTo>
                      <a:pt x="32" y="253"/>
                    </a:lnTo>
                    <a:lnTo>
                      <a:pt x="32" y="253"/>
                    </a:lnTo>
                    <a:lnTo>
                      <a:pt x="26" y="253"/>
                    </a:lnTo>
                    <a:lnTo>
                      <a:pt x="19" y="253"/>
                    </a:lnTo>
                    <a:lnTo>
                      <a:pt x="15" y="253"/>
                    </a:lnTo>
                    <a:lnTo>
                      <a:pt x="17" y="247"/>
                    </a:lnTo>
                    <a:lnTo>
                      <a:pt x="16" y="247"/>
                    </a:lnTo>
                    <a:lnTo>
                      <a:pt x="16" y="248"/>
                    </a:lnTo>
                    <a:lnTo>
                      <a:pt x="15" y="248"/>
                    </a:lnTo>
                    <a:lnTo>
                      <a:pt x="13" y="248"/>
                    </a:lnTo>
                    <a:lnTo>
                      <a:pt x="13" y="248"/>
                    </a:lnTo>
                    <a:lnTo>
                      <a:pt x="15" y="247"/>
                    </a:lnTo>
                    <a:lnTo>
                      <a:pt x="15" y="247"/>
                    </a:lnTo>
                    <a:lnTo>
                      <a:pt x="15" y="245"/>
                    </a:lnTo>
                    <a:lnTo>
                      <a:pt x="13" y="247"/>
                    </a:lnTo>
                    <a:lnTo>
                      <a:pt x="12" y="247"/>
                    </a:lnTo>
                    <a:lnTo>
                      <a:pt x="10" y="247"/>
                    </a:lnTo>
                    <a:lnTo>
                      <a:pt x="10" y="245"/>
                    </a:lnTo>
                    <a:lnTo>
                      <a:pt x="12" y="244"/>
                    </a:lnTo>
                    <a:lnTo>
                      <a:pt x="13" y="243"/>
                    </a:lnTo>
                    <a:lnTo>
                      <a:pt x="16" y="243"/>
                    </a:lnTo>
                    <a:lnTo>
                      <a:pt x="19" y="241"/>
                    </a:lnTo>
                    <a:lnTo>
                      <a:pt x="16" y="241"/>
                    </a:lnTo>
                    <a:lnTo>
                      <a:pt x="16" y="240"/>
                    </a:lnTo>
                    <a:lnTo>
                      <a:pt x="16" y="238"/>
                    </a:lnTo>
                    <a:lnTo>
                      <a:pt x="19" y="237"/>
                    </a:lnTo>
                    <a:lnTo>
                      <a:pt x="17" y="237"/>
                    </a:lnTo>
                    <a:lnTo>
                      <a:pt x="16" y="237"/>
                    </a:lnTo>
                    <a:lnTo>
                      <a:pt x="16" y="237"/>
                    </a:lnTo>
                    <a:lnTo>
                      <a:pt x="15" y="237"/>
                    </a:lnTo>
                    <a:lnTo>
                      <a:pt x="15" y="235"/>
                    </a:lnTo>
                    <a:lnTo>
                      <a:pt x="15" y="234"/>
                    </a:lnTo>
                    <a:lnTo>
                      <a:pt x="16" y="234"/>
                    </a:lnTo>
                    <a:lnTo>
                      <a:pt x="17" y="234"/>
                    </a:lnTo>
                    <a:lnTo>
                      <a:pt x="17" y="234"/>
                    </a:lnTo>
                    <a:lnTo>
                      <a:pt x="17" y="233"/>
                    </a:lnTo>
                    <a:lnTo>
                      <a:pt x="17" y="231"/>
                    </a:lnTo>
                    <a:lnTo>
                      <a:pt x="17" y="233"/>
                    </a:lnTo>
                    <a:lnTo>
                      <a:pt x="20" y="234"/>
                    </a:lnTo>
                    <a:lnTo>
                      <a:pt x="22" y="234"/>
                    </a:lnTo>
                    <a:lnTo>
                      <a:pt x="22" y="233"/>
                    </a:lnTo>
                    <a:lnTo>
                      <a:pt x="22" y="233"/>
                    </a:lnTo>
                    <a:lnTo>
                      <a:pt x="22" y="231"/>
                    </a:lnTo>
                    <a:lnTo>
                      <a:pt x="23" y="231"/>
                    </a:lnTo>
                    <a:lnTo>
                      <a:pt x="20" y="230"/>
                    </a:lnTo>
                    <a:lnTo>
                      <a:pt x="20" y="228"/>
                    </a:lnTo>
                    <a:lnTo>
                      <a:pt x="20" y="227"/>
                    </a:lnTo>
                    <a:lnTo>
                      <a:pt x="23" y="227"/>
                    </a:lnTo>
                    <a:lnTo>
                      <a:pt x="22" y="224"/>
                    </a:lnTo>
                    <a:lnTo>
                      <a:pt x="23" y="222"/>
                    </a:lnTo>
                    <a:lnTo>
                      <a:pt x="25" y="221"/>
                    </a:lnTo>
                    <a:lnTo>
                      <a:pt x="26" y="221"/>
                    </a:lnTo>
                    <a:lnTo>
                      <a:pt x="26" y="221"/>
                    </a:lnTo>
                    <a:lnTo>
                      <a:pt x="27" y="222"/>
                    </a:lnTo>
                    <a:lnTo>
                      <a:pt x="27" y="224"/>
                    </a:lnTo>
                    <a:lnTo>
                      <a:pt x="27" y="221"/>
                    </a:lnTo>
                    <a:lnTo>
                      <a:pt x="27" y="220"/>
                    </a:lnTo>
                    <a:lnTo>
                      <a:pt x="27" y="220"/>
                    </a:lnTo>
                    <a:lnTo>
                      <a:pt x="29" y="217"/>
                    </a:lnTo>
                    <a:lnTo>
                      <a:pt x="32" y="215"/>
                    </a:lnTo>
                    <a:lnTo>
                      <a:pt x="33" y="215"/>
                    </a:lnTo>
                    <a:lnTo>
                      <a:pt x="35" y="217"/>
                    </a:lnTo>
                    <a:lnTo>
                      <a:pt x="35" y="212"/>
                    </a:lnTo>
                    <a:lnTo>
                      <a:pt x="38" y="208"/>
                    </a:lnTo>
                    <a:lnTo>
                      <a:pt x="40" y="205"/>
                    </a:lnTo>
                    <a:lnTo>
                      <a:pt x="45" y="202"/>
                    </a:lnTo>
                    <a:lnTo>
                      <a:pt x="46" y="202"/>
                    </a:lnTo>
                    <a:lnTo>
                      <a:pt x="48" y="201"/>
                    </a:lnTo>
                    <a:lnTo>
                      <a:pt x="49" y="201"/>
                    </a:lnTo>
                    <a:lnTo>
                      <a:pt x="50" y="201"/>
                    </a:lnTo>
                    <a:lnTo>
                      <a:pt x="52" y="201"/>
                    </a:lnTo>
                    <a:lnTo>
                      <a:pt x="53" y="199"/>
                    </a:lnTo>
                    <a:lnTo>
                      <a:pt x="56" y="198"/>
                    </a:lnTo>
                    <a:lnTo>
                      <a:pt x="58" y="199"/>
                    </a:lnTo>
                    <a:lnTo>
                      <a:pt x="58" y="197"/>
                    </a:lnTo>
                    <a:lnTo>
                      <a:pt x="60" y="194"/>
                    </a:lnTo>
                    <a:lnTo>
                      <a:pt x="65" y="192"/>
                    </a:lnTo>
                    <a:lnTo>
                      <a:pt x="69" y="191"/>
                    </a:lnTo>
                    <a:lnTo>
                      <a:pt x="69" y="189"/>
                    </a:lnTo>
                    <a:lnTo>
                      <a:pt x="69" y="189"/>
                    </a:lnTo>
                    <a:lnTo>
                      <a:pt x="69" y="189"/>
                    </a:lnTo>
                    <a:lnTo>
                      <a:pt x="71" y="189"/>
                    </a:lnTo>
                    <a:lnTo>
                      <a:pt x="69" y="188"/>
                    </a:lnTo>
                    <a:lnTo>
                      <a:pt x="72" y="187"/>
                    </a:lnTo>
                    <a:lnTo>
                      <a:pt x="73" y="185"/>
                    </a:lnTo>
                    <a:lnTo>
                      <a:pt x="76" y="182"/>
                    </a:lnTo>
                    <a:lnTo>
                      <a:pt x="79" y="184"/>
                    </a:lnTo>
                    <a:lnTo>
                      <a:pt x="78" y="182"/>
                    </a:lnTo>
                    <a:lnTo>
                      <a:pt x="78" y="182"/>
                    </a:lnTo>
                    <a:lnTo>
                      <a:pt x="78" y="181"/>
                    </a:lnTo>
                    <a:lnTo>
                      <a:pt x="78" y="181"/>
                    </a:lnTo>
                    <a:lnTo>
                      <a:pt x="79" y="181"/>
                    </a:lnTo>
                    <a:lnTo>
                      <a:pt x="81" y="181"/>
                    </a:lnTo>
                    <a:lnTo>
                      <a:pt x="82" y="181"/>
                    </a:lnTo>
                    <a:lnTo>
                      <a:pt x="82" y="179"/>
                    </a:lnTo>
                    <a:lnTo>
                      <a:pt x="82" y="179"/>
                    </a:lnTo>
                    <a:lnTo>
                      <a:pt x="83" y="178"/>
                    </a:lnTo>
                    <a:lnTo>
                      <a:pt x="85" y="179"/>
                    </a:lnTo>
                    <a:lnTo>
                      <a:pt x="85" y="178"/>
                    </a:lnTo>
                    <a:lnTo>
                      <a:pt x="86" y="176"/>
                    </a:lnTo>
                    <a:lnTo>
                      <a:pt x="89" y="172"/>
                    </a:lnTo>
                    <a:lnTo>
                      <a:pt x="89" y="174"/>
                    </a:lnTo>
                    <a:lnTo>
                      <a:pt x="89" y="175"/>
                    </a:lnTo>
                    <a:lnTo>
                      <a:pt x="89" y="175"/>
                    </a:lnTo>
                    <a:lnTo>
                      <a:pt x="89" y="176"/>
                    </a:lnTo>
                    <a:lnTo>
                      <a:pt x="91" y="174"/>
                    </a:lnTo>
                    <a:lnTo>
                      <a:pt x="91" y="171"/>
                    </a:lnTo>
                    <a:lnTo>
                      <a:pt x="92" y="168"/>
                    </a:lnTo>
                    <a:lnTo>
                      <a:pt x="95" y="166"/>
                    </a:lnTo>
                    <a:lnTo>
                      <a:pt x="94" y="165"/>
                    </a:lnTo>
                    <a:lnTo>
                      <a:pt x="95" y="162"/>
                    </a:lnTo>
                    <a:lnTo>
                      <a:pt x="96" y="155"/>
                    </a:lnTo>
                    <a:lnTo>
                      <a:pt x="99" y="152"/>
                    </a:lnTo>
                    <a:lnTo>
                      <a:pt x="104" y="149"/>
                    </a:lnTo>
                    <a:lnTo>
                      <a:pt x="106" y="146"/>
                    </a:lnTo>
                    <a:lnTo>
                      <a:pt x="108" y="142"/>
                    </a:lnTo>
                    <a:lnTo>
                      <a:pt x="109" y="135"/>
                    </a:lnTo>
                    <a:lnTo>
                      <a:pt x="111" y="130"/>
                    </a:lnTo>
                    <a:lnTo>
                      <a:pt x="114" y="128"/>
                    </a:lnTo>
                    <a:lnTo>
                      <a:pt x="116" y="126"/>
                    </a:lnTo>
                    <a:lnTo>
                      <a:pt x="119" y="125"/>
                    </a:lnTo>
                    <a:lnTo>
                      <a:pt x="124" y="125"/>
                    </a:lnTo>
                    <a:lnTo>
                      <a:pt x="121" y="125"/>
                    </a:lnTo>
                    <a:lnTo>
                      <a:pt x="119" y="126"/>
                    </a:lnTo>
                    <a:lnTo>
                      <a:pt x="119" y="129"/>
                    </a:lnTo>
                    <a:lnTo>
                      <a:pt x="121" y="130"/>
                    </a:lnTo>
                    <a:lnTo>
                      <a:pt x="122" y="132"/>
                    </a:lnTo>
                    <a:lnTo>
                      <a:pt x="124" y="132"/>
                    </a:lnTo>
                    <a:lnTo>
                      <a:pt x="125" y="133"/>
                    </a:lnTo>
                    <a:lnTo>
                      <a:pt x="125" y="133"/>
                    </a:lnTo>
                    <a:lnTo>
                      <a:pt x="125" y="135"/>
                    </a:lnTo>
                    <a:lnTo>
                      <a:pt x="125" y="138"/>
                    </a:lnTo>
                    <a:lnTo>
                      <a:pt x="125" y="139"/>
                    </a:lnTo>
                    <a:lnTo>
                      <a:pt x="128" y="141"/>
                    </a:lnTo>
                    <a:lnTo>
                      <a:pt x="129" y="141"/>
                    </a:lnTo>
                    <a:lnTo>
                      <a:pt x="138" y="135"/>
                    </a:lnTo>
                    <a:lnTo>
                      <a:pt x="139" y="133"/>
                    </a:lnTo>
                    <a:lnTo>
                      <a:pt x="142" y="133"/>
                    </a:lnTo>
                    <a:lnTo>
                      <a:pt x="141" y="135"/>
                    </a:lnTo>
                    <a:lnTo>
                      <a:pt x="139" y="136"/>
                    </a:lnTo>
                    <a:lnTo>
                      <a:pt x="139" y="139"/>
                    </a:lnTo>
                    <a:lnTo>
                      <a:pt x="138" y="141"/>
                    </a:lnTo>
                    <a:lnTo>
                      <a:pt x="139" y="141"/>
                    </a:lnTo>
                    <a:lnTo>
                      <a:pt x="141" y="138"/>
                    </a:lnTo>
                    <a:lnTo>
                      <a:pt x="142" y="136"/>
                    </a:lnTo>
                    <a:lnTo>
                      <a:pt x="142" y="135"/>
                    </a:lnTo>
                    <a:lnTo>
                      <a:pt x="145" y="135"/>
                    </a:lnTo>
                    <a:lnTo>
                      <a:pt x="147" y="135"/>
                    </a:lnTo>
                    <a:lnTo>
                      <a:pt x="148" y="135"/>
                    </a:lnTo>
                    <a:lnTo>
                      <a:pt x="147" y="136"/>
                    </a:lnTo>
                    <a:lnTo>
                      <a:pt x="145" y="138"/>
                    </a:lnTo>
                    <a:lnTo>
                      <a:pt x="144" y="139"/>
                    </a:lnTo>
                    <a:lnTo>
                      <a:pt x="142" y="141"/>
                    </a:lnTo>
                    <a:lnTo>
                      <a:pt x="144" y="141"/>
                    </a:lnTo>
                    <a:lnTo>
                      <a:pt x="147" y="139"/>
                    </a:lnTo>
                    <a:lnTo>
                      <a:pt x="148" y="139"/>
                    </a:lnTo>
                    <a:close/>
                    <a:moveTo>
                      <a:pt x="4" y="359"/>
                    </a:moveTo>
                    <a:lnTo>
                      <a:pt x="6" y="359"/>
                    </a:lnTo>
                    <a:lnTo>
                      <a:pt x="6" y="360"/>
                    </a:lnTo>
                    <a:lnTo>
                      <a:pt x="6" y="363"/>
                    </a:lnTo>
                    <a:lnTo>
                      <a:pt x="6" y="365"/>
                    </a:lnTo>
                    <a:lnTo>
                      <a:pt x="6" y="365"/>
                    </a:lnTo>
                    <a:lnTo>
                      <a:pt x="6" y="366"/>
                    </a:lnTo>
                    <a:lnTo>
                      <a:pt x="6" y="368"/>
                    </a:lnTo>
                    <a:lnTo>
                      <a:pt x="4" y="368"/>
                    </a:lnTo>
                    <a:lnTo>
                      <a:pt x="3" y="368"/>
                    </a:lnTo>
                    <a:lnTo>
                      <a:pt x="3" y="366"/>
                    </a:lnTo>
                    <a:lnTo>
                      <a:pt x="2" y="366"/>
                    </a:lnTo>
                    <a:lnTo>
                      <a:pt x="2" y="366"/>
                    </a:lnTo>
                    <a:lnTo>
                      <a:pt x="0" y="366"/>
                    </a:lnTo>
                    <a:lnTo>
                      <a:pt x="0" y="366"/>
                    </a:lnTo>
                    <a:lnTo>
                      <a:pt x="0" y="366"/>
                    </a:lnTo>
                    <a:lnTo>
                      <a:pt x="0" y="365"/>
                    </a:lnTo>
                    <a:lnTo>
                      <a:pt x="0" y="365"/>
                    </a:lnTo>
                    <a:lnTo>
                      <a:pt x="2" y="363"/>
                    </a:lnTo>
                    <a:lnTo>
                      <a:pt x="4" y="359"/>
                    </a:lnTo>
                    <a:lnTo>
                      <a:pt x="4" y="359"/>
                    </a:lnTo>
                    <a:close/>
                    <a:moveTo>
                      <a:pt x="220" y="64"/>
                    </a:moveTo>
                    <a:lnTo>
                      <a:pt x="221" y="64"/>
                    </a:lnTo>
                    <a:lnTo>
                      <a:pt x="221" y="67"/>
                    </a:lnTo>
                    <a:lnTo>
                      <a:pt x="220" y="69"/>
                    </a:lnTo>
                    <a:lnTo>
                      <a:pt x="220" y="72"/>
                    </a:lnTo>
                    <a:lnTo>
                      <a:pt x="218" y="79"/>
                    </a:lnTo>
                    <a:lnTo>
                      <a:pt x="218" y="82"/>
                    </a:lnTo>
                    <a:lnTo>
                      <a:pt x="217" y="83"/>
                    </a:lnTo>
                    <a:lnTo>
                      <a:pt x="213" y="87"/>
                    </a:lnTo>
                    <a:lnTo>
                      <a:pt x="211" y="89"/>
                    </a:lnTo>
                    <a:lnTo>
                      <a:pt x="211" y="92"/>
                    </a:lnTo>
                    <a:lnTo>
                      <a:pt x="211" y="93"/>
                    </a:lnTo>
                    <a:lnTo>
                      <a:pt x="211" y="96"/>
                    </a:lnTo>
                    <a:lnTo>
                      <a:pt x="211" y="97"/>
                    </a:lnTo>
                    <a:lnTo>
                      <a:pt x="208" y="95"/>
                    </a:lnTo>
                    <a:lnTo>
                      <a:pt x="204" y="95"/>
                    </a:lnTo>
                    <a:lnTo>
                      <a:pt x="200" y="95"/>
                    </a:lnTo>
                    <a:lnTo>
                      <a:pt x="197" y="96"/>
                    </a:lnTo>
                    <a:lnTo>
                      <a:pt x="195" y="97"/>
                    </a:lnTo>
                    <a:lnTo>
                      <a:pt x="194" y="99"/>
                    </a:lnTo>
                    <a:lnTo>
                      <a:pt x="194" y="102"/>
                    </a:lnTo>
                    <a:lnTo>
                      <a:pt x="194" y="103"/>
                    </a:lnTo>
                    <a:lnTo>
                      <a:pt x="194" y="105"/>
                    </a:lnTo>
                    <a:lnTo>
                      <a:pt x="195" y="105"/>
                    </a:lnTo>
                    <a:lnTo>
                      <a:pt x="195" y="106"/>
                    </a:lnTo>
                    <a:lnTo>
                      <a:pt x="195" y="106"/>
                    </a:lnTo>
                    <a:lnTo>
                      <a:pt x="195" y="107"/>
                    </a:lnTo>
                    <a:lnTo>
                      <a:pt x="195" y="107"/>
                    </a:lnTo>
                    <a:lnTo>
                      <a:pt x="195" y="109"/>
                    </a:lnTo>
                    <a:lnTo>
                      <a:pt x="194" y="113"/>
                    </a:lnTo>
                    <a:lnTo>
                      <a:pt x="193" y="116"/>
                    </a:lnTo>
                    <a:lnTo>
                      <a:pt x="177" y="139"/>
                    </a:lnTo>
                    <a:lnTo>
                      <a:pt x="174" y="142"/>
                    </a:lnTo>
                    <a:lnTo>
                      <a:pt x="171" y="145"/>
                    </a:lnTo>
                    <a:lnTo>
                      <a:pt x="167" y="148"/>
                    </a:lnTo>
                    <a:lnTo>
                      <a:pt x="165" y="148"/>
                    </a:lnTo>
                    <a:lnTo>
                      <a:pt x="165" y="148"/>
                    </a:lnTo>
                    <a:lnTo>
                      <a:pt x="164" y="146"/>
                    </a:lnTo>
                    <a:lnTo>
                      <a:pt x="162" y="146"/>
                    </a:lnTo>
                    <a:lnTo>
                      <a:pt x="162" y="145"/>
                    </a:lnTo>
                    <a:lnTo>
                      <a:pt x="162" y="143"/>
                    </a:lnTo>
                    <a:lnTo>
                      <a:pt x="161" y="143"/>
                    </a:lnTo>
                    <a:lnTo>
                      <a:pt x="160" y="143"/>
                    </a:lnTo>
                    <a:lnTo>
                      <a:pt x="160" y="145"/>
                    </a:lnTo>
                    <a:lnTo>
                      <a:pt x="158" y="145"/>
                    </a:lnTo>
                    <a:lnTo>
                      <a:pt x="158" y="143"/>
                    </a:lnTo>
                    <a:lnTo>
                      <a:pt x="158" y="142"/>
                    </a:lnTo>
                    <a:lnTo>
                      <a:pt x="158" y="141"/>
                    </a:lnTo>
                    <a:lnTo>
                      <a:pt x="158" y="141"/>
                    </a:lnTo>
                    <a:lnTo>
                      <a:pt x="157" y="141"/>
                    </a:lnTo>
                    <a:lnTo>
                      <a:pt x="157" y="142"/>
                    </a:lnTo>
                    <a:lnTo>
                      <a:pt x="155" y="142"/>
                    </a:lnTo>
                    <a:lnTo>
                      <a:pt x="154" y="141"/>
                    </a:lnTo>
                    <a:lnTo>
                      <a:pt x="155" y="138"/>
                    </a:lnTo>
                    <a:lnTo>
                      <a:pt x="160" y="132"/>
                    </a:lnTo>
                    <a:lnTo>
                      <a:pt x="162" y="129"/>
                    </a:lnTo>
                    <a:lnTo>
                      <a:pt x="164" y="125"/>
                    </a:lnTo>
                    <a:lnTo>
                      <a:pt x="164" y="120"/>
                    </a:lnTo>
                    <a:lnTo>
                      <a:pt x="162" y="116"/>
                    </a:lnTo>
                    <a:lnTo>
                      <a:pt x="160" y="113"/>
                    </a:lnTo>
                    <a:lnTo>
                      <a:pt x="157" y="112"/>
                    </a:lnTo>
                    <a:lnTo>
                      <a:pt x="154" y="110"/>
                    </a:lnTo>
                    <a:lnTo>
                      <a:pt x="150" y="107"/>
                    </a:lnTo>
                    <a:lnTo>
                      <a:pt x="147" y="106"/>
                    </a:lnTo>
                    <a:lnTo>
                      <a:pt x="144" y="105"/>
                    </a:lnTo>
                    <a:lnTo>
                      <a:pt x="139" y="102"/>
                    </a:lnTo>
                    <a:lnTo>
                      <a:pt x="138" y="99"/>
                    </a:lnTo>
                    <a:lnTo>
                      <a:pt x="139" y="96"/>
                    </a:lnTo>
                    <a:lnTo>
                      <a:pt x="142" y="93"/>
                    </a:lnTo>
                    <a:lnTo>
                      <a:pt x="148" y="92"/>
                    </a:lnTo>
                    <a:lnTo>
                      <a:pt x="151" y="90"/>
                    </a:lnTo>
                    <a:lnTo>
                      <a:pt x="152" y="87"/>
                    </a:lnTo>
                    <a:lnTo>
                      <a:pt x="154" y="80"/>
                    </a:lnTo>
                    <a:lnTo>
                      <a:pt x="154" y="79"/>
                    </a:lnTo>
                    <a:lnTo>
                      <a:pt x="157" y="74"/>
                    </a:lnTo>
                    <a:lnTo>
                      <a:pt x="157" y="72"/>
                    </a:lnTo>
                    <a:lnTo>
                      <a:pt x="157" y="70"/>
                    </a:lnTo>
                    <a:lnTo>
                      <a:pt x="157" y="69"/>
                    </a:lnTo>
                    <a:lnTo>
                      <a:pt x="157" y="69"/>
                    </a:lnTo>
                    <a:lnTo>
                      <a:pt x="158" y="67"/>
                    </a:lnTo>
                    <a:lnTo>
                      <a:pt x="157" y="66"/>
                    </a:lnTo>
                    <a:lnTo>
                      <a:pt x="155" y="63"/>
                    </a:lnTo>
                    <a:lnTo>
                      <a:pt x="155" y="60"/>
                    </a:lnTo>
                    <a:lnTo>
                      <a:pt x="155" y="59"/>
                    </a:lnTo>
                    <a:lnTo>
                      <a:pt x="154" y="57"/>
                    </a:lnTo>
                    <a:lnTo>
                      <a:pt x="154" y="56"/>
                    </a:lnTo>
                    <a:lnTo>
                      <a:pt x="152" y="54"/>
                    </a:lnTo>
                    <a:lnTo>
                      <a:pt x="152" y="53"/>
                    </a:lnTo>
                    <a:lnTo>
                      <a:pt x="154" y="54"/>
                    </a:lnTo>
                    <a:lnTo>
                      <a:pt x="155" y="54"/>
                    </a:lnTo>
                    <a:lnTo>
                      <a:pt x="155" y="56"/>
                    </a:lnTo>
                    <a:lnTo>
                      <a:pt x="155" y="54"/>
                    </a:lnTo>
                    <a:lnTo>
                      <a:pt x="157" y="53"/>
                    </a:lnTo>
                    <a:lnTo>
                      <a:pt x="157" y="53"/>
                    </a:lnTo>
                    <a:lnTo>
                      <a:pt x="158" y="53"/>
                    </a:lnTo>
                    <a:lnTo>
                      <a:pt x="157" y="51"/>
                    </a:lnTo>
                    <a:lnTo>
                      <a:pt x="155" y="51"/>
                    </a:lnTo>
                    <a:lnTo>
                      <a:pt x="152" y="51"/>
                    </a:lnTo>
                    <a:lnTo>
                      <a:pt x="151" y="50"/>
                    </a:lnTo>
                    <a:lnTo>
                      <a:pt x="150" y="49"/>
                    </a:lnTo>
                    <a:lnTo>
                      <a:pt x="145" y="41"/>
                    </a:lnTo>
                    <a:lnTo>
                      <a:pt x="147" y="41"/>
                    </a:lnTo>
                    <a:lnTo>
                      <a:pt x="148" y="41"/>
                    </a:lnTo>
                    <a:lnTo>
                      <a:pt x="148" y="43"/>
                    </a:lnTo>
                    <a:lnTo>
                      <a:pt x="150" y="43"/>
                    </a:lnTo>
                    <a:lnTo>
                      <a:pt x="150" y="41"/>
                    </a:lnTo>
                    <a:lnTo>
                      <a:pt x="150" y="40"/>
                    </a:lnTo>
                    <a:lnTo>
                      <a:pt x="150" y="40"/>
                    </a:lnTo>
                    <a:lnTo>
                      <a:pt x="148" y="39"/>
                    </a:lnTo>
                    <a:lnTo>
                      <a:pt x="148" y="37"/>
                    </a:lnTo>
                    <a:lnTo>
                      <a:pt x="148" y="36"/>
                    </a:lnTo>
                    <a:lnTo>
                      <a:pt x="148" y="36"/>
                    </a:lnTo>
                    <a:lnTo>
                      <a:pt x="147" y="34"/>
                    </a:lnTo>
                    <a:lnTo>
                      <a:pt x="147" y="36"/>
                    </a:lnTo>
                    <a:lnTo>
                      <a:pt x="147" y="36"/>
                    </a:lnTo>
                    <a:lnTo>
                      <a:pt x="145" y="36"/>
                    </a:lnTo>
                    <a:lnTo>
                      <a:pt x="142" y="33"/>
                    </a:lnTo>
                    <a:lnTo>
                      <a:pt x="142" y="31"/>
                    </a:lnTo>
                    <a:lnTo>
                      <a:pt x="141" y="30"/>
                    </a:lnTo>
                    <a:lnTo>
                      <a:pt x="141" y="31"/>
                    </a:lnTo>
                    <a:lnTo>
                      <a:pt x="142" y="34"/>
                    </a:lnTo>
                    <a:lnTo>
                      <a:pt x="144" y="36"/>
                    </a:lnTo>
                    <a:lnTo>
                      <a:pt x="145" y="37"/>
                    </a:lnTo>
                    <a:lnTo>
                      <a:pt x="145" y="39"/>
                    </a:lnTo>
                    <a:lnTo>
                      <a:pt x="144" y="39"/>
                    </a:lnTo>
                    <a:lnTo>
                      <a:pt x="141" y="34"/>
                    </a:lnTo>
                    <a:lnTo>
                      <a:pt x="134" y="26"/>
                    </a:lnTo>
                    <a:lnTo>
                      <a:pt x="132" y="23"/>
                    </a:lnTo>
                    <a:lnTo>
                      <a:pt x="132" y="21"/>
                    </a:lnTo>
                    <a:lnTo>
                      <a:pt x="134" y="20"/>
                    </a:lnTo>
                    <a:lnTo>
                      <a:pt x="135" y="18"/>
                    </a:lnTo>
                    <a:lnTo>
                      <a:pt x="135" y="17"/>
                    </a:lnTo>
                    <a:lnTo>
                      <a:pt x="134" y="17"/>
                    </a:lnTo>
                    <a:lnTo>
                      <a:pt x="132" y="18"/>
                    </a:lnTo>
                    <a:lnTo>
                      <a:pt x="132" y="20"/>
                    </a:lnTo>
                    <a:lnTo>
                      <a:pt x="131" y="21"/>
                    </a:lnTo>
                    <a:lnTo>
                      <a:pt x="131" y="20"/>
                    </a:lnTo>
                    <a:lnTo>
                      <a:pt x="129" y="17"/>
                    </a:lnTo>
                    <a:lnTo>
                      <a:pt x="128" y="17"/>
                    </a:lnTo>
                    <a:lnTo>
                      <a:pt x="128" y="16"/>
                    </a:lnTo>
                    <a:lnTo>
                      <a:pt x="127" y="16"/>
                    </a:lnTo>
                    <a:lnTo>
                      <a:pt x="127" y="14"/>
                    </a:lnTo>
                    <a:lnTo>
                      <a:pt x="128" y="13"/>
                    </a:lnTo>
                    <a:lnTo>
                      <a:pt x="128" y="13"/>
                    </a:lnTo>
                    <a:lnTo>
                      <a:pt x="127" y="8"/>
                    </a:lnTo>
                    <a:lnTo>
                      <a:pt x="125" y="5"/>
                    </a:lnTo>
                    <a:lnTo>
                      <a:pt x="119" y="0"/>
                    </a:lnTo>
                    <a:lnTo>
                      <a:pt x="122" y="0"/>
                    </a:lnTo>
                    <a:lnTo>
                      <a:pt x="125" y="0"/>
                    </a:lnTo>
                    <a:lnTo>
                      <a:pt x="125" y="3"/>
                    </a:lnTo>
                    <a:lnTo>
                      <a:pt x="125" y="5"/>
                    </a:lnTo>
                    <a:lnTo>
                      <a:pt x="129" y="11"/>
                    </a:lnTo>
                    <a:lnTo>
                      <a:pt x="132" y="8"/>
                    </a:lnTo>
                    <a:lnTo>
                      <a:pt x="132" y="10"/>
                    </a:lnTo>
                    <a:lnTo>
                      <a:pt x="135" y="11"/>
                    </a:lnTo>
                    <a:lnTo>
                      <a:pt x="141" y="13"/>
                    </a:lnTo>
                    <a:lnTo>
                      <a:pt x="142" y="13"/>
                    </a:lnTo>
                    <a:lnTo>
                      <a:pt x="144" y="14"/>
                    </a:lnTo>
                    <a:lnTo>
                      <a:pt x="144" y="14"/>
                    </a:lnTo>
                    <a:lnTo>
                      <a:pt x="144" y="16"/>
                    </a:lnTo>
                    <a:lnTo>
                      <a:pt x="144" y="16"/>
                    </a:lnTo>
                    <a:lnTo>
                      <a:pt x="145" y="17"/>
                    </a:lnTo>
                    <a:lnTo>
                      <a:pt x="147" y="16"/>
                    </a:lnTo>
                    <a:lnTo>
                      <a:pt x="147" y="16"/>
                    </a:lnTo>
                    <a:lnTo>
                      <a:pt x="147" y="16"/>
                    </a:lnTo>
                    <a:lnTo>
                      <a:pt x="148" y="17"/>
                    </a:lnTo>
                    <a:lnTo>
                      <a:pt x="151" y="20"/>
                    </a:lnTo>
                    <a:lnTo>
                      <a:pt x="151" y="21"/>
                    </a:lnTo>
                    <a:lnTo>
                      <a:pt x="152" y="23"/>
                    </a:lnTo>
                    <a:lnTo>
                      <a:pt x="152" y="24"/>
                    </a:lnTo>
                    <a:lnTo>
                      <a:pt x="151" y="24"/>
                    </a:lnTo>
                    <a:lnTo>
                      <a:pt x="151" y="26"/>
                    </a:lnTo>
                    <a:lnTo>
                      <a:pt x="152" y="27"/>
                    </a:lnTo>
                    <a:lnTo>
                      <a:pt x="150" y="27"/>
                    </a:lnTo>
                    <a:lnTo>
                      <a:pt x="150" y="27"/>
                    </a:lnTo>
                    <a:lnTo>
                      <a:pt x="154" y="36"/>
                    </a:lnTo>
                    <a:lnTo>
                      <a:pt x="155" y="37"/>
                    </a:lnTo>
                    <a:lnTo>
                      <a:pt x="155" y="39"/>
                    </a:lnTo>
                    <a:lnTo>
                      <a:pt x="155" y="40"/>
                    </a:lnTo>
                    <a:lnTo>
                      <a:pt x="157" y="43"/>
                    </a:lnTo>
                    <a:lnTo>
                      <a:pt x="157" y="44"/>
                    </a:lnTo>
                    <a:lnTo>
                      <a:pt x="157" y="44"/>
                    </a:lnTo>
                    <a:lnTo>
                      <a:pt x="155" y="46"/>
                    </a:lnTo>
                    <a:lnTo>
                      <a:pt x="155" y="46"/>
                    </a:lnTo>
                    <a:lnTo>
                      <a:pt x="155" y="47"/>
                    </a:lnTo>
                    <a:lnTo>
                      <a:pt x="155" y="47"/>
                    </a:lnTo>
                    <a:lnTo>
                      <a:pt x="155" y="49"/>
                    </a:lnTo>
                    <a:lnTo>
                      <a:pt x="157" y="49"/>
                    </a:lnTo>
                    <a:lnTo>
                      <a:pt x="158" y="50"/>
                    </a:lnTo>
                    <a:lnTo>
                      <a:pt x="160" y="49"/>
                    </a:lnTo>
                    <a:lnTo>
                      <a:pt x="162" y="50"/>
                    </a:lnTo>
                    <a:lnTo>
                      <a:pt x="164" y="51"/>
                    </a:lnTo>
                    <a:lnTo>
                      <a:pt x="165" y="53"/>
                    </a:lnTo>
                    <a:lnTo>
                      <a:pt x="165" y="54"/>
                    </a:lnTo>
                    <a:lnTo>
                      <a:pt x="167" y="54"/>
                    </a:lnTo>
                    <a:lnTo>
                      <a:pt x="167" y="56"/>
                    </a:lnTo>
                    <a:lnTo>
                      <a:pt x="168" y="56"/>
                    </a:lnTo>
                    <a:lnTo>
                      <a:pt x="170" y="54"/>
                    </a:lnTo>
                    <a:lnTo>
                      <a:pt x="170" y="54"/>
                    </a:lnTo>
                    <a:lnTo>
                      <a:pt x="168" y="46"/>
                    </a:lnTo>
                    <a:lnTo>
                      <a:pt x="167" y="43"/>
                    </a:lnTo>
                    <a:lnTo>
                      <a:pt x="167" y="43"/>
                    </a:lnTo>
                    <a:lnTo>
                      <a:pt x="168" y="41"/>
                    </a:lnTo>
                    <a:lnTo>
                      <a:pt x="170" y="43"/>
                    </a:lnTo>
                    <a:lnTo>
                      <a:pt x="171" y="44"/>
                    </a:lnTo>
                    <a:lnTo>
                      <a:pt x="174" y="46"/>
                    </a:lnTo>
                    <a:lnTo>
                      <a:pt x="177" y="57"/>
                    </a:lnTo>
                    <a:lnTo>
                      <a:pt x="178" y="62"/>
                    </a:lnTo>
                    <a:lnTo>
                      <a:pt x="180" y="63"/>
                    </a:lnTo>
                    <a:lnTo>
                      <a:pt x="178" y="63"/>
                    </a:lnTo>
                    <a:lnTo>
                      <a:pt x="180" y="64"/>
                    </a:lnTo>
                    <a:lnTo>
                      <a:pt x="193" y="70"/>
                    </a:lnTo>
                    <a:lnTo>
                      <a:pt x="195" y="72"/>
                    </a:lnTo>
                    <a:lnTo>
                      <a:pt x="198" y="72"/>
                    </a:lnTo>
                    <a:lnTo>
                      <a:pt x="204" y="70"/>
                    </a:lnTo>
                    <a:lnTo>
                      <a:pt x="211" y="63"/>
                    </a:lnTo>
                    <a:lnTo>
                      <a:pt x="217" y="63"/>
                    </a:lnTo>
                    <a:lnTo>
                      <a:pt x="220" y="64"/>
                    </a:lnTo>
                    <a:close/>
                    <a:moveTo>
                      <a:pt x="141" y="132"/>
                    </a:moveTo>
                    <a:lnTo>
                      <a:pt x="139" y="133"/>
                    </a:lnTo>
                    <a:lnTo>
                      <a:pt x="138" y="133"/>
                    </a:lnTo>
                    <a:lnTo>
                      <a:pt x="138" y="132"/>
                    </a:lnTo>
                    <a:lnTo>
                      <a:pt x="139" y="130"/>
                    </a:lnTo>
                    <a:lnTo>
                      <a:pt x="139" y="129"/>
                    </a:lnTo>
                    <a:lnTo>
                      <a:pt x="141" y="129"/>
                    </a:lnTo>
                    <a:lnTo>
                      <a:pt x="141" y="130"/>
                    </a:lnTo>
                    <a:lnTo>
                      <a:pt x="141" y="132"/>
                    </a:lnTo>
                    <a:close/>
                    <a:moveTo>
                      <a:pt x="167" y="36"/>
                    </a:moveTo>
                    <a:lnTo>
                      <a:pt x="165" y="34"/>
                    </a:lnTo>
                    <a:lnTo>
                      <a:pt x="167" y="33"/>
                    </a:lnTo>
                    <a:lnTo>
                      <a:pt x="168" y="34"/>
                    </a:lnTo>
                    <a:lnTo>
                      <a:pt x="168" y="34"/>
                    </a:lnTo>
                    <a:lnTo>
                      <a:pt x="170" y="36"/>
                    </a:lnTo>
                    <a:lnTo>
                      <a:pt x="170" y="37"/>
                    </a:lnTo>
                    <a:lnTo>
                      <a:pt x="168" y="37"/>
                    </a:lnTo>
                    <a:lnTo>
                      <a:pt x="167" y="36"/>
                    </a:lnTo>
                    <a:close/>
                    <a:moveTo>
                      <a:pt x="313" y="207"/>
                    </a:moveTo>
                    <a:lnTo>
                      <a:pt x="315" y="207"/>
                    </a:lnTo>
                    <a:lnTo>
                      <a:pt x="315" y="208"/>
                    </a:lnTo>
                    <a:lnTo>
                      <a:pt x="315" y="208"/>
                    </a:lnTo>
                    <a:lnTo>
                      <a:pt x="315" y="210"/>
                    </a:lnTo>
                    <a:lnTo>
                      <a:pt x="315" y="208"/>
                    </a:lnTo>
                    <a:lnTo>
                      <a:pt x="316" y="208"/>
                    </a:lnTo>
                    <a:lnTo>
                      <a:pt x="315" y="207"/>
                    </a:lnTo>
                    <a:lnTo>
                      <a:pt x="313" y="20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80" name="Freeform 275">
                <a:extLst>
                  <a:ext uri="{FF2B5EF4-FFF2-40B4-BE49-F238E27FC236}">
                    <a16:creationId xmlns:a16="http://schemas.microsoft.com/office/drawing/2014/main" id="{D4BBAFD7-ED05-4D6C-C903-35C9886A2C66}"/>
                  </a:ext>
                </a:extLst>
              </p:cNvPr>
              <p:cNvSpPr>
                <a:spLocks noEditPoints="1"/>
              </p:cNvSpPr>
              <p:nvPr/>
            </p:nvSpPr>
            <p:spPr bwMode="auto">
              <a:xfrm>
                <a:off x="10184779" y="4324984"/>
                <a:ext cx="14460" cy="18798"/>
              </a:xfrm>
              <a:custGeom>
                <a:avLst/>
                <a:gdLst>
                  <a:gd name="T0" fmla="*/ 10 w 10"/>
                  <a:gd name="T1" fmla="*/ 13 h 13"/>
                  <a:gd name="T2" fmla="*/ 10 w 10"/>
                  <a:gd name="T3" fmla="*/ 13 h 13"/>
                  <a:gd name="T4" fmla="*/ 10 w 10"/>
                  <a:gd name="T5" fmla="*/ 13 h 13"/>
                  <a:gd name="T6" fmla="*/ 10 w 10"/>
                  <a:gd name="T7" fmla="*/ 13 h 13"/>
                  <a:gd name="T8" fmla="*/ 10 w 10"/>
                  <a:gd name="T9" fmla="*/ 13 h 13"/>
                  <a:gd name="T10" fmla="*/ 10 w 10"/>
                  <a:gd name="T11" fmla="*/ 13 h 13"/>
                  <a:gd name="T12" fmla="*/ 10 w 10"/>
                  <a:gd name="T13" fmla="*/ 13 h 13"/>
                  <a:gd name="T14" fmla="*/ 10 w 10"/>
                  <a:gd name="T15" fmla="*/ 13 h 13"/>
                  <a:gd name="T16" fmla="*/ 10 w 10"/>
                  <a:gd name="T17" fmla="*/ 13 h 13"/>
                  <a:gd name="T18" fmla="*/ 10 w 10"/>
                  <a:gd name="T19" fmla="*/ 13 h 13"/>
                  <a:gd name="T20" fmla="*/ 10 w 10"/>
                  <a:gd name="T21" fmla="*/ 13 h 13"/>
                  <a:gd name="T22" fmla="*/ 10 w 10"/>
                  <a:gd name="T23" fmla="*/ 13 h 13"/>
                  <a:gd name="T24" fmla="*/ 10 w 10"/>
                  <a:gd name="T25" fmla="*/ 13 h 13"/>
                  <a:gd name="T26" fmla="*/ 3 w 10"/>
                  <a:gd name="T27" fmla="*/ 0 h 13"/>
                  <a:gd name="T28" fmla="*/ 3 w 10"/>
                  <a:gd name="T29" fmla="*/ 0 h 13"/>
                  <a:gd name="T30" fmla="*/ 3 w 10"/>
                  <a:gd name="T31" fmla="*/ 0 h 13"/>
                  <a:gd name="T32" fmla="*/ 3 w 10"/>
                  <a:gd name="T33" fmla="*/ 0 h 13"/>
                  <a:gd name="T34" fmla="*/ 3 w 10"/>
                  <a:gd name="T35" fmla="*/ 1 h 13"/>
                  <a:gd name="T36" fmla="*/ 3 w 10"/>
                  <a:gd name="T37" fmla="*/ 1 h 13"/>
                  <a:gd name="T38" fmla="*/ 3 w 10"/>
                  <a:gd name="T39" fmla="*/ 1 h 13"/>
                  <a:gd name="T40" fmla="*/ 3 w 10"/>
                  <a:gd name="T41" fmla="*/ 1 h 13"/>
                  <a:gd name="T42" fmla="*/ 3 w 10"/>
                  <a:gd name="T43" fmla="*/ 0 h 13"/>
                  <a:gd name="T44" fmla="*/ 3 w 10"/>
                  <a:gd name="T45" fmla="*/ 0 h 13"/>
                  <a:gd name="T46" fmla="*/ 0 w 10"/>
                  <a:gd name="T47" fmla="*/ 7 h 13"/>
                  <a:gd name="T48" fmla="*/ 0 w 10"/>
                  <a:gd name="T49" fmla="*/ 7 h 13"/>
                  <a:gd name="T50" fmla="*/ 0 w 10"/>
                  <a:gd name="T51" fmla="*/ 7 h 13"/>
                  <a:gd name="T52" fmla="*/ 0 w 10"/>
                  <a:gd name="T53" fmla="*/ 7 h 13"/>
                  <a:gd name="T54" fmla="*/ 0 w 10"/>
                  <a:gd name="T55" fmla="*/ 7 h 13"/>
                  <a:gd name="T56" fmla="*/ 0 w 10"/>
                  <a:gd name="T57" fmla="*/ 7 h 13"/>
                  <a:gd name="T58" fmla="*/ 0 w 10"/>
                  <a:gd name="T59" fmla="*/ 7 h 13"/>
                  <a:gd name="T60" fmla="*/ 0 w 10"/>
                  <a:gd name="T61"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 h="13">
                    <a:moveTo>
                      <a:pt x="10" y="13"/>
                    </a:moveTo>
                    <a:lnTo>
                      <a:pt x="10" y="13"/>
                    </a:lnTo>
                    <a:lnTo>
                      <a:pt x="10" y="13"/>
                    </a:lnTo>
                    <a:lnTo>
                      <a:pt x="10" y="13"/>
                    </a:lnTo>
                    <a:lnTo>
                      <a:pt x="10" y="13"/>
                    </a:lnTo>
                    <a:lnTo>
                      <a:pt x="10" y="13"/>
                    </a:lnTo>
                    <a:lnTo>
                      <a:pt x="10" y="13"/>
                    </a:lnTo>
                    <a:lnTo>
                      <a:pt x="10" y="13"/>
                    </a:lnTo>
                    <a:lnTo>
                      <a:pt x="10" y="13"/>
                    </a:lnTo>
                    <a:lnTo>
                      <a:pt x="10" y="13"/>
                    </a:lnTo>
                    <a:lnTo>
                      <a:pt x="10" y="13"/>
                    </a:lnTo>
                    <a:lnTo>
                      <a:pt x="10" y="13"/>
                    </a:lnTo>
                    <a:lnTo>
                      <a:pt x="10" y="13"/>
                    </a:lnTo>
                    <a:close/>
                    <a:moveTo>
                      <a:pt x="3" y="0"/>
                    </a:moveTo>
                    <a:lnTo>
                      <a:pt x="3" y="0"/>
                    </a:lnTo>
                    <a:lnTo>
                      <a:pt x="3" y="0"/>
                    </a:lnTo>
                    <a:lnTo>
                      <a:pt x="3" y="0"/>
                    </a:lnTo>
                    <a:lnTo>
                      <a:pt x="3" y="1"/>
                    </a:lnTo>
                    <a:lnTo>
                      <a:pt x="3" y="1"/>
                    </a:lnTo>
                    <a:lnTo>
                      <a:pt x="3" y="1"/>
                    </a:lnTo>
                    <a:lnTo>
                      <a:pt x="3" y="1"/>
                    </a:lnTo>
                    <a:lnTo>
                      <a:pt x="3" y="0"/>
                    </a:lnTo>
                    <a:lnTo>
                      <a:pt x="3" y="0"/>
                    </a:lnTo>
                    <a:close/>
                    <a:moveTo>
                      <a:pt x="0" y="7"/>
                    </a:moveTo>
                    <a:lnTo>
                      <a:pt x="0" y="7"/>
                    </a:lnTo>
                    <a:lnTo>
                      <a:pt x="0" y="7"/>
                    </a:lnTo>
                    <a:lnTo>
                      <a:pt x="0" y="7"/>
                    </a:lnTo>
                    <a:lnTo>
                      <a:pt x="0" y="7"/>
                    </a:lnTo>
                    <a:lnTo>
                      <a:pt x="0" y="7"/>
                    </a:lnTo>
                    <a:lnTo>
                      <a:pt x="0" y="7"/>
                    </a:lnTo>
                    <a:lnTo>
                      <a:pt x="0" y="7"/>
                    </a:lnTo>
                    <a:close/>
                  </a:path>
                </a:pathLst>
              </a:custGeom>
              <a:grpFill/>
              <a:ln w="9525">
                <a:solidFill>
                  <a:schemeClr val="bg1">
                    <a:lumMod val="95000"/>
                  </a:schemeClr>
                </a:solidFill>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81" name="Freeform 276">
                <a:extLst>
                  <a:ext uri="{FF2B5EF4-FFF2-40B4-BE49-F238E27FC236}">
                    <a16:creationId xmlns:a16="http://schemas.microsoft.com/office/drawing/2014/main" id="{AB59731E-5524-E58C-9C56-4DA53F058934}"/>
                  </a:ext>
                </a:extLst>
              </p:cNvPr>
              <p:cNvSpPr>
                <a:spLocks noEditPoints="1"/>
              </p:cNvSpPr>
              <p:nvPr/>
            </p:nvSpPr>
            <p:spPr bwMode="auto">
              <a:xfrm>
                <a:off x="10184779" y="4324984"/>
                <a:ext cx="14460" cy="18798"/>
              </a:xfrm>
              <a:custGeom>
                <a:avLst/>
                <a:gdLst>
                  <a:gd name="T0" fmla="*/ 10 w 10"/>
                  <a:gd name="T1" fmla="*/ 13 h 13"/>
                  <a:gd name="T2" fmla="*/ 10 w 10"/>
                  <a:gd name="T3" fmla="*/ 13 h 13"/>
                  <a:gd name="T4" fmla="*/ 10 w 10"/>
                  <a:gd name="T5" fmla="*/ 13 h 13"/>
                  <a:gd name="T6" fmla="*/ 10 w 10"/>
                  <a:gd name="T7" fmla="*/ 13 h 13"/>
                  <a:gd name="T8" fmla="*/ 10 w 10"/>
                  <a:gd name="T9" fmla="*/ 13 h 13"/>
                  <a:gd name="T10" fmla="*/ 10 w 10"/>
                  <a:gd name="T11" fmla="*/ 13 h 13"/>
                  <a:gd name="T12" fmla="*/ 10 w 10"/>
                  <a:gd name="T13" fmla="*/ 13 h 13"/>
                  <a:gd name="T14" fmla="*/ 10 w 10"/>
                  <a:gd name="T15" fmla="*/ 13 h 13"/>
                  <a:gd name="T16" fmla="*/ 10 w 10"/>
                  <a:gd name="T17" fmla="*/ 13 h 13"/>
                  <a:gd name="T18" fmla="*/ 10 w 10"/>
                  <a:gd name="T19" fmla="*/ 13 h 13"/>
                  <a:gd name="T20" fmla="*/ 10 w 10"/>
                  <a:gd name="T21" fmla="*/ 13 h 13"/>
                  <a:gd name="T22" fmla="*/ 10 w 10"/>
                  <a:gd name="T23" fmla="*/ 13 h 13"/>
                  <a:gd name="T24" fmla="*/ 10 w 10"/>
                  <a:gd name="T25" fmla="*/ 13 h 13"/>
                  <a:gd name="T26" fmla="*/ 3 w 10"/>
                  <a:gd name="T27" fmla="*/ 0 h 13"/>
                  <a:gd name="T28" fmla="*/ 3 w 10"/>
                  <a:gd name="T29" fmla="*/ 0 h 13"/>
                  <a:gd name="T30" fmla="*/ 3 w 10"/>
                  <a:gd name="T31" fmla="*/ 0 h 13"/>
                  <a:gd name="T32" fmla="*/ 3 w 10"/>
                  <a:gd name="T33" fmla="*/ 0 h 13"/>
                  <a:gd name="T34" fmla="*/ 3 w 10"/>
                  <a:gd name="T35" fmla="*/ 1 h 13"/>
                  <a:gd name="T36" fmla="*/ 3 w 10"/>
                  <a:gd name="T37" fmla="*/ 1 h 13"/>
                  <a:gd name="T38" fmla="*/ 3 w 10"/>
                  <a:gd name="T39" fmla="*/ 1 h 13"/>
                  <a:gd name="T40" fmla="*/ 3 w 10"/>
                  <a:gd name="T41" fmla="*/ 1 h 13"/>
                  <a:gd name="T42" fmla="*/ 3 w 10"/>
                  <a:gd name="T43" fmla="*/ 0 h 13"/>
                  <a:gd name="T44" fmla="*/ 3 w 10"/>
                  <a:gd name="T45" fmla="*/ 0 h 13"/>
                  <a:gd name="T46" fmla="*/ 0 w 10"/>
                  <a:gd name="T47" fmla="*/ 7 h 13"/>
                  <a:gd name="T48" fmla="*/ 0 w 10"/>
                  <a:gd name="T49" fmla="*/ 7 h 13"/>
                  <a:gd name="T50" fmla="*/ 0 w 10"/>
                  <a:gd name="T51" fmla="*/ 7 h 13"/>
                  <a:gd name="T52" fmla="*/ 0 w 10"/>
                  <a:gd name="T53" fmla="*/ 7 h 13"/>
                  <a:gd name="T54" fmla="*/ 0 w 10"/>
                  <a:gd name="T55" fmla="*/ 7 h 13"/>
                  <a:gd name="T56" fmla="*/ 0 w 10"/>
                  <a:gd name="T57" fmla="*/ 7 h 13"/>
                  <a:gd name="T58" fmla="*/ 0 w 10"/>
                  <a:gd name="T59" fmla="*/ 7 h 13"/>
                  <a:gd name="T60" fmla="*/ 0 w 10"/>
                  <a:gd name="T61"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 h="13">
                    <a:moveTo>
                      <a:pt x="10" y="13"/>
                    </a:moveTo>
                    <a:lnTo>
                      <a:pt x="10" y="13"/>
                    </a:lnTo>
                    <a:lnTo>
                      <a:pt x="10" y="13"/>
                    </a:lnTo>
                    <a:lnTo>
                      <a:pt x="10" y="13"/>
                    </a:lnTo>
                    <a:lnTo>
                      <a:pt x="10" y="13"/>
                    </a:lnTo>
                    <a:lnTo>
                      <a:pt x="10" y="13"/>
                    </a:lnTo>
                    <a:lnTo>
                      <a:pt x="10" y="13"/>
                    </a:lnTo>
                    <a:lnTo>
                      <a:pt x="10" y="13"/>
                    </a:lnTo>
                    <a:lnTo>
                      <a:pt x="10" y="13"/>
                    </a:lnTo>
                    <a:lnTo>
                      <a:pt x="10" y="13"/>
                    </a:lnTo>
                    <a:lnTo>
                      <a:pt x="10" y="13"/>
                    </a:lnTo>
                    <a:lnTo>
                      <a:pt x="10" y="13"/>
                    </a:lnTo>
                    <a:lnTo>
                      <a:pt x="10" y="13"/>
                    </a:lnTo>
                    <a:moveTo>
                      <a:pt x="3" y="0"/>
                    </a:moveTo>
                    <a:lnTo>
                      <a:pt x="3" y="0"/>
                    </a:lnTo>
                    <a:lnTo>
                      <a:pt x="3" y="0"/>
                    </a:lnTo>
                    <a:lnTo>
                      <a:pt x="3" y="0"/>
                    </a:lnTo>
                    <a:lnTo>
                      <a:pt x="3" y="1"/>
                    </a:lnTo>
                    <a:lnTo>
                      <a:pt x="3" y="1"/>
                    </a:lnTo>
                    <a:lnTo>
                      <a:pt x="3" y="1"/>
                    </a:lnTo>
                    <a:lnTo>
                      <a:pt x="3" y="1"/>
                    </a:lnTo>
                    <a:lnTo>
                      <a:pt x="3" y="0"/>
                    </a:lnTo>
                    <a:lnTo>
                      <a:pt x="3" y="0"/>
                    </a:lnTo>
                    <a:moveTo>
                      <a:pt x="0" y="7"/>
                    </a:moveTo>
                    <a:lnTo>
                      <a:pt x="0" y="7"/>
                    </a:lnTo>
                    <a:lnTo>
                      <a:pt x="0" y="7"/>
                    </a:lnTo>
                    <a:lnTo>
                      <a:pt x="0" y="7"/>
                    </a:lnTo>
                    <a:lnTo>
                      <a:pt x="0" y="7"/>
                    </a:lnTo>
                    <a:lnTo>
                      <a:pt x="0" y="7"/>
                    </a:lnTo>
                    <a:lnTo>
                      <a:pt x="0" y="7"/>
                    </a:lnTo>
                    <a:lnTo>
                      <a:pt x="0" y="7"/>
                    </a:lnTo>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82" name="Freeform 277">
                <a:extLst>
                  <a:ext uri="{FF2B5EF4-FFF2-40B4-BE49-F238E27FC236}">
                    <a16:creationId xmlns:a16="http://schemas.microsoft.com/office/drawing/2014/main" id="{DBC6649B-0312-A207-76BC-AC2B3CE14909}"/>
                  </a:ext>
                </a:extLst>
              </p:cNvPr>
              <p:cNvSpPr>
                <a:spLocks/>
              </p:cNvSpPr>
              <p:nvPr/>
            </p:nvSpPr>
            <p:spPr bwMode="auto">
              <a:xfrm>
                <a:off x="9871005" y="4122549"/>
                <a:ext cx="2892" cy="2892"/>
              </a:xfrm>
              <a:custGeom>
                <a:avLst/>
                <a:gdLst>
                  <a:gd name="T0" fmla="*/ 0 w 2"/>
                  <a:gd name="T1" fmla="*/ 2 h 2"/>
                  <a:gd name="T2" fmla="*/ 0 w 2"/>
                  <a:gd name="T3" fmla="*/ 2 h 2"/>
                  <a:gd name="T4" fmla="*/ 0 w 2"/>
                  <a:gd name="T5" fmla="*/ 0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2 h 2"/>
                  <a:gd name="T22" fmla="*/ 0 w 2"/>
                  <a:gd name="T23" fmla="*/ 2 h 2"/>
                  <a:gd name="T24" fmla="*/ 0 w 2"/>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2">
                    <a:moveTo>
                      <a:pt x="0" y="2"/>
                    </a:moveTo>
                    <a:lnTo>
                      <a:pt x="0" y="2"/>
                    </a:lnTo>
                    <a:lnTo>
                      <a:pt x="0" y="0"/>
                    </a:lnTo>
                    <a:lnTo>
                      <a:pt x="2" y="0"/>
                    </a:lnTo>
                    <a:lnTo>
                      <a:pt x="2" y="0"/>
                    </a:lnTo>
                    <a:lnTo>
                      <a:pt x="2" y="0"/>
                    </a:lnTo>
                    <a:lnTo>
                      <a:pt x="0" y="0"/>
                    </a:lnTo>
                    <a:lnTo>
                      <a:pt x="0" y="0"/>
                    </a:lnTo>
                    <a:lnTo>
                      <a:pt x="0" y="0"/>
                    </a:lnTo>
                    <a:lnTo>
                      <a:pt x="0" y="0"/>
                    </a:lnTo>
                    <a:lnTo>
                      <a:pt x="0" y="2"/>
                    </a:lnTo>
                    <a:lnTo>
                      <a:pt x="0" y="2"/>
                    </a:lnTo>
                    <a:lnTo>
                      <a:pt x="0"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83" name="Freeform 278">
                <a:extLst>
                  <a:ext uri="{FF2B5EF4-FFF2-40B4-BE49-F238E27FC236}">
                    <a16:creationId xmlns:a16="http://schemas.microsoft.com/office/drawing/2014/main" id="{7D520E5E-31BE-5F5D-6668-3E36EABB2A30}"/>
                  </a:ext>
                </a:extLst>
              </p:cNvPr>
              <p:cNvSpPr>
                <a:spLocks noEditPoints="1"/>
              </p:cNvSpPr>
              <p:nvPr/>
            </p:nvSpPr>
            <p:spPr bwMode="auto">
              <a:xfrm>
                <a:off x="9917276" y="3923007"/>
                <a:ext cx="76636" cy="40487"/>
              </a:xfrm>
              <a:custGeom>
                <a:avLst/>
                <a:gdLst>
                  <a:gd name="T0" fmla="*/ 43 w 53"/>
                  <a:gd name="T1" fmla="*/ 5 h 28"/>
                  <a:gd name="T2" fmla="*/ 42 w 53"/>
                  <a:gd name="T3" fmla="*/ 3 h 28"/>
                  <a:gd name="T4" fmla="*/ 45 w 53"/>
                  <a:gd name="T5" fmla="*/ 5 h 28"/>
                  <a:gd name="T6" fmla="*/ 46 w 53"/>
                  <a:gd name="T7" fmla="*/ 5 h 28"/>
                  <a:gd name="T8" fmla="*/ 47 w 53"/>
                  <a:gd name="T9" fmla="*/ 5 h 28"/>
                  <a:gd name="T10" fmla="*/ 46 w 53"/>
                  <a:gd name="T11" fmla="*/ 5 h 28"/>
                  <a:gd name="T12" fmla="*/ 45 w 53"/>
                  <a:gd name="T13" fmla="*/ 5 h 28"/>
                  <a:gd name="T14" fmla="*/ 43 w 53"/>
                  <a:gd name="T15" fmla="*/ 5 h 28"/>
                  <a:gd name="T16" fmla="*/ 53 w 53"/>
                  <a:gd name="T17" fmla="*/ 6 h 28"/>
                  <a:gd name="T18" fmla="*/ 53 w 53"/>
                  <a:gd name="T19" fmla="*/ 6 h 28"/>
                  <a:gd name="T20" fmla="*/ 52 w 53"/>
                  <a:gd name="T21" fmla="*/ 6 h 28"/>
                  <a:gd name="T22" fmla="*/ 52 w 53"/>
                  <a:gd name="T23" fmla="*/ 6 h 28"/>
                  <a:gd name="T24" fmla="*/ 50 w 53"/>
                  <a:gd name="T25" fmla="*/ 6 h 28"/>
                  <a:gd name="T26" fmla="*/ 52 w 53"/>
                  <a:gd name="T27" fmla="*/ 6 h 28"/>
                  <a:gd name="T28" fmla="*/ 52 w 53"/>
                  <a:gd name="T29" fmla="*/ 6 h 28"/>
                  <a:gd name="T30" fmla="*/ 53 w 53"/>
                  <a:gd name="T31" fmla="*/ 6 h 28"/>
                  <a:gd name="T32" fmla="*/ 17 w 53"/>
                  <a:gd name="T33" fmla="*/ 25 h 28"/>
                  <a:gd name="T34" fmla="*/ 17 w 53"/>
                  <a:gd name="T35" fmla="*/ 25 h 28"/>
                  <a:gd name="T36" fmla="*/ 16 w 53"/>
                  <a:gd name="T37" fmla="*/ 26 h 28"/>
                  <a:gd name="T38" fmla="*/ 16 w 53"/>
                  <a:gd name="T39" fmla="*/ 28 h 28"/>
                  <a:gd name="T40" fmla="*/ 16 w 53"/>
                  <a:gd name="T41" fmla="*/ 26 h 28"/>
                  <a:gd name="T42" fmla="*/ 19 w 53"/>
                  <a:gd name="T43" fmla="*/ 23 h 28"/>
                  <a:gd name="T44" fmla="*/ 17 w 53"/>
                  <a:gd name="T45" fmla="*/ 25 h 28"/>
                  <a:gd name="T46" fmla="*/ 1 w 53"/>
                  <a:gd name="T47" fmla="*/ 0 h 28"/>
                  <a:gd name="T48" fmla="*/ 3 w 53"/>
                  <a:gd name="T49" fmla="*/ 0 h 28"/>
                  <a:gd name="T50" fmla="*/ 1 w 53"/>
                  <a:gd name="T51" fmla="*/ 0 h 28"/>
                  <a:gd name="T52" fmla="*/ 0 w 53"/>
                  <a:gd name="T53" fmla="*/ 0 h 28"/>
                  <a:gd name="T54" fmla="*/ 0 w 53"/>
                  <a:gd name="T55" fmla="*/ 0 h 28"/>
                  <a:gd name="T56" fmla="*/ 0 w 53"/>
                  <a:gd name="T57" fmla="*/ 0 h 28"/>
                  <a:gd name="T58" fmla="*/ 1 w 53"/>
                  <a:gd name="T5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28">
                    <a:moveTo>
                      <a:pt x="43" y="5"/>
                    </a:moveTo>
                    <a:lnTo>
                      <a:pt x="42" y="3"/>
                    </a:lnTo>
                    <a:lnTo>
                      <a:pt x="45" y="5"/>
                    </a:lnTo>
                    <a:lnTo>
                      <a:pt x="46" y="5"/>
                    </a:lnTo>
                    <a:lnTo>
                      <a:pt x="47" y="5"/>
                    </a:lnTo>
                    <a:lnTo>
                      <a:pt x="46" y="5"/>
                    </a:lnTo>
                    <a:lnTo>
                      <a:pt x="45" y="5"/>
                    </a:lnTo>
                    <a:lnTo>
                      <a:pt x="43" y="5"/>
                    </a:lnTo>
                    <a:close/>
                    <a:moveTo>
                      <a:pt x="53" y="6"/>
                    </a:moveTo>
                    <a:lnTo>
                      <a:pt x="53" y="6"/>
                    </a:lnTo>
                    <a:lnTo>
                      <a:pt x="52" y="6"/>
                    </a:lnTo>
                    <a:lnTo>
                      <a:pt x="52" y="6"/>
                    </a:lnTo>
                    <a:lnTo>
                      <a:pt x="50" y="6"/>
                    </a:lnTo>
                    <a:lnTo>
                      <a:pt x="52" y="6"/>
                    </a:lnTo>
                    <a:lnTo>
                      <a:pt x="52" y="6"/>
                    </a:lnTo>
                    <a:lnTo>
                      <a:pt x="53" y="6"/>
                    </a:lnTo>
                    <a:close/>
                    <a:moveTo>
                      <a:pt x="17" y="25"/>
                    </a:moveTo>
                    <a:lnTo>
                      <a:pt x="17" y="25"/>
                    </a:lnTo>
                    <a:lnTo>
                      <a:pt x="16" y="26"/>
                    </a:lnTo>
                    <a:lnTo>
                      <a:pt x="16" y="28"/>
                    </a:lnTo>
                    <a:lnTo>
                      <a:pt x="16" y="26"/>
                    </a:lnTo>
                    <a:lnTo>
                      <a:pt x="19" y="23"/>
                    </a:lnTo>
                    <a:lnTo>
                      <a:pt x="17" y="25"/>
                    </a:lnTo>
                    <a:close/>
                    <a:moveTo>
                      <a:pt x="1" y="0"/>
                    </a:moveTo>
                    <a:lnTo>
                      <a:pt x="3" y="0"/>
                    </a:lnTo>
                    <a:lnTo>
                      <a:pt x="1" y="0"/>
                    </a:lnTo>
                    <a:lnTo>
                      <a:pt x="0" y="0"/>
                    </a:lnTo>
                    <a:lnTo>
                      <a:pt x="0" y="0"/>
                    </a:lnTo>
                    <a:lnTo>
                      <a:pt x="0" y="0"/>
                    </a:lnTo>
                    <a:lnTo>
                      <a:pt x="1"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grpSp>
        <p:grpSp>
          <p:nvGrpSpPr>
            <p:cNvPr id="14" name="Grupo 4">
              <a:extLst>
                <a:ext uri="{FF2B5EF4-FFF2-40B4-BE49-F238E27FC236}">
                  <a16:creationId xmlns:a16="http://schemas.microsoft.com/office/drawing/2014/main" id="{F4513B6C-3B4D-3D74-E3AD-4BE1F34AE638}"/>
                </a:ext>
              </a:extLst>
            </p:cNvPr>
            <p:cNvGrpSpPr/>
            <p:nvPr/>
          </p:nvGrpSpPr>
          <p:grpSpPr>
            <a:xfrm>
              <a:off x="7857968" y="1577995"/>
              <a:ext cx="3669723" cy="2777088"/>
              <a:chOff x="6292252" y="1266778"/>
              <a:chExt cx="4173041" cy="3157977"/>
            </a:xfrm>
            <a:grpFill/>
          </p:grpSpPr>
          <p:sp>
            <p:nvSpPr>
              <p:cNvPr id="15" name="Freeform 111">
                <a:extLst>
                  <a:ext uri="{FF2B5EF4-FFF2-40B4-BE49-F238E27FC236}">
                    <a16:creationId xmlns:a16="http://schemas.microsoft.com/office/drawing/2014/main" id="{4B0D347C-B782-23EF-79BA-A6CC170A75EA}"/>
                  </a:ext>
                </a:extLst>
              </p:cNvPr>
              <p:cNvSpPr>
                <a:spLocks noEditPoints="1"/>
              </p:cNvSpPr>
              <p:nvPr/>
            </p:nvSpPr>
            <p:spPr bwMode="auto">
              <a:xfrm>
                <a:off x="8527706" y="3983737"/>
                <a:ext cx="31811" cy="23135"/>
              </a:xfrm>
              <a:custGeom>
                <a:avLst/>
                <a:gdLst>
                  <a:gd name="T0" fmla="*/ 17 w 22"/>
                  <a:gd name="T1" fmla="*/ 4 h 16"/>
                  <a:gd name="T2" fmla="*/ 17 w 22"/>
                  <a:gd name="T3" fmla="*/ 1 h 16"/>
                  <a:gd name="T4" fmla="*/ 19 w 22"/>
                  <a:gd name="T5" fmla="*/ 1 h 16"/>
                  <a:gd name="T6" fmla="*/ 20 w 22"/>
                  <a:gd name="T7" fmla="*/ 4 h 16"/>
                  <a:gd name="T8" fmla="*/ 22 w 22"/>
                  <a:gd name="T9" fmla="*/ 7 h 16"/>
                  <a:gd name="T10" fmla="*/ 22 w 22"/>
                  <a:gd name="T11" fmla="*/ 10 h 16"/>
                  <a:gd name="T12" fmla="*/ 22 w 22"/>
                  <a:gd name="T13" fmla="*/ 11 h 16"/>
                  <a:gd name="T14" fmla="*/ 19 w 22"/>
                  <a:gd name="T15" fmla="*/ 10 h 16"/>
                  <a:gd name="T16" fmla="*/ 17 w 22"/>
                  <a:gd name="T17" fmla="*/ 7 h 16"/>
                  <a:gd name="T18" fmla="*/ 17 w 22"/>
                  <a:gd name="T19" fmla="*/ 4 h 16"/>
                  <a:gd name="T20" fmla="*/ 6 w 22"/>
                  <a:gd name="T21" fmla="*/ 13 h 16"/>
                  <a:gd name="T22" fmla="*/ 9 w 22"/>
                  <a:gd name="T23" fmla="*/ 16 h 16"/>
                  <a:gd name="T24" fmla="*/ 12 w 22"/>
                  <a:gd name="T25" fmla="*/ 16 h 16"/>
                  <a:gd name="T26" fmla="*/ 13 w 22"/>
                  <a:gd name="T27" fmla="*/ 14 h 16"/>
                  <a:gd name="T28" fmla="*/ 13 w 22"/>
                  <a:gd name="T29" fmla="*/ 13 h 16"/>
                  <a:gd name="T30" fmla="*/ 13 w 22"/>
                  <a:gd name="T31" fmla="*/ 6 h 16"/>
                  <a:gd name="T32" fmla="*/ 13 w 22"/>
                  <a:gd name="T33" fmla="*/ 4 h 16"/>
                  <a:gd name="T34" fmla="*/ 15 w 22"/>
                  <a:gd name="T35" fmla="*/ 3 h 16"/>
                  <a:gd name="T36" fmla="*/ 17 w 22"/>
                  <a:gd name="T37" fmla="*/ 1 h 16"/>
                  <a:gd name="T38" fmla="*/ 17 w 22"/>
                  <a:gd name="T39" fmla="*/ 0 h 16"/>
                  <a:gd name="T40" fmla="*/ 17 w 22"/>
                  <a:gd name="T41" fmla="*/ 0 h 16"/>
                  <a:gd name="T42" fmla="*/ 17 w 22"/>
                  <a:gd name="T43" fmla="*/ 0 h 16"/>
                  <a:gd name="T44" fmla="*/ 13 w 22"/>
                  <a:gd name="T45" fmla="*/ 0 h 16"/>
                  <a:gd name="T46" fmla="*/ 5 w 22"/>
                  <a:gd name="T47" fmla="*/ 6 h 16"/>
                  <a:gd name="T48" fmla="*/ 0 w 22"/>
                  <a:gd name="T49" fmla="*/ 7 h 16"/>
                  <a:gd name="T50" fmla="*/ 3 w 22"/>
                  <a:gd name="T51" fmla="*/ 10 h 16"/>
                  <a:gd name="T52" fmla="*/ 6 w 22"/>
                  <a:gd name="T53"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 h="16">
                    <a:moveTo>
                      <a:pt x="17" y="4"/>
                    </a:moveTo>
                    <a:lnTo>
                      <a:pt x="17" y="1"/>
                    </a:lnTo>
                    <a:lnTo>
                      <a:pt x="19" y="1"/>
                    </a:lnTo>
                    <a:lnTo>
                      <a:pt x="20" y="4"/>
                    </a:lnTo>
                    <a:lnTo>
                      <a:pt x="22" y="7"/>
                    </a:lnTo>
                    <a:lnTo>
                      <a:pt x="22" y="10"/>
                    </a:lnTo>
                    <a:lnTo>
                      <a:pt x="22" y="11"/>
                    </a:lnTo>
                    <a:lnTo>
                      <a:pt x="19" y="10"/>
                    </a:lnTo>
                    <a:lnTo>
                      <a:pt x="17" y="7"/>
                    </a:lnTo>
                    <a:lnTo>
                      <a:pt x="17" y="4"/>
                    </a:lnTo>
                    <a:close/>
                    <a:moveTo>
                      <a:pt x="6" y="13"/>
                    </a:moveTo>
                    <a:lnTo>
                      <a:pt x="9" y="16"/>
                    </a:lnTo>
                    <a:lnTo>
                      <a:pt x="12" y="16"/>
                    </a:lnTo>
                    <a:lnTo>
                      <a:pt x="13" y="14"/>
                    </a:lnTo>
                    <a:lnTo>
                      <a:pt x="13" y="13"/>
                    </a:lnTo>
                    <a:lnTo>
                      <a:pt x="13" y="6"/>
                    </a:lnTo>
                    <a:lnTo>
                      <a:pt x="13" y="4"/>
                    </a:lnTo>
                    <a:lnTo>
                      <a:pt x="15" y="3"/>
                    </a:lnTo>
                    <a:lnTo>
                      <a:pt x="17" y="1"/>
                    </a:lnTo>
                    <a:lnTo>
                      <a:pt x="17" y="0"/>
                    </a:lnTo>
                    <a:lnTo>
                      <a:pt x="17" y="0"/>
                    </a:lnTo>
                    <a:lnTo>
                      <a:pt x="17" y="0"/>
                    </a:lnTo>
                    <a:lnTo>
                      <a:pt x="13" y="0"/>
                    </a:lnTo>
                    <a:lnTo>
                      <a:pt x="5" y="6"/>
                    </a:lnTo>
                    <a:lnTo>
                      <a:pt x="0" y="7"/>
                    </a:lnTo>
                    <a:lnTo>
                      <a:pt x="3" y="10"/>
                    </a:lnTo>
                    <a:lnTo>
                      <a:pt x="6" y="1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16" name="Freeform 112">
                <a:extLst>
                  <a:ext uri="{FF2B5EF4-FFF2-40B4-BE49-F238E27FC236}">
                    <a16:creationId xmlns:a16="http://schemas.microsoft.com/office/drawing/2014/main" id="{5168FE37-F717-3EEE-B9B2-76D75AD6C5E6}"/>
                  </a:ext>
                </a:extLst>
              </p:cNvPr>
              <p:cNvSpPr>
                <a:spLocks/>
              </p:cNvSpPr>
              <p:nvPr/>
            </p:nvSpPr>
            <p:spPr bwMode="auto">
              <a:xfrm>
                <a:off x="6538065" y="3104593"/>
                <a:ext cx="166285" cy="143150"/>
              </a:xfrm>
              <a:custGeom>
                <a:avLst/>
                <a:gdLst>
                  <a:gd name="T0" fmla="*/ 9 w 115"/>
                  <a:gd name="T1" fmla="*/ 56 h 99"/>
                  <a:gd name="T2" fmla="*/ 13 w 115"/>
                  <a:gd name="T3" fmla="*/ 59 h 99"/>
                  <a:gd name="T4" fmla="*/ 12 w 115"/>
                  <a:gd name="T5" fmla="*/ 65 h 99"/>
                  <a:gd name="T6" fmla="*/ 9 w 115"/>
                  <a:gd name="T7" fmla="*/ 66 h 99"/>
                  <a:gd name="T8" fmla="*/ 10 w 115"/>
                  <a:gd name="T9" fmla="*/ 69 h 99"/>
                  <a:gd name="T10" fmla="*/ 6 w 115"/>
                  <a:gd name="T11" fmla="*/ 70 h 99"/>
                  <a:gd name="T12" fmla="*/ 3 w 115"/>
                  <a:gd name="T13" fmla="*/ 72 h 99"/>
                  <a:gd name="T14" fmla="*/ 3 w 115"/>
                  <a:gd name="T15" fmla="*/ 73 h 99"/>
                  <a:gd name="T16" fmla="*/ 3 w 115"/>
                  <a:gd name="T17" fmla="*/ 75 h 99"/>
                  <a:gd name="T18" fmla="*/ 2 w 115"/>
                  <a:gd name="T19" fmla="*/ 78 h 99"/>
                  <a:gd name="T20" fmla="*/ 0 w 115"/>
                  <a:gd name="T21" fmla="*/ 79 h 99"/>
                  <a:gd name="T22" fmla="*/ 0 w 115"/>
                  <a:gd name="T23" fmla="*/ 80 h 99"/>
                  <a:gd name="T24" fmla="*/ 0 w 115"/>
                  <a:gd name="T25" fmla="*/ 82 h 99"/>
                  <a:gd name="T26" fmla="*/ 2 w 115"/>
                  <a:gd name="T27" fmla="*/ 83 h 99"/>
                  <a:gd name="T28" fmla="*/ 2 w 115"/>
                  <a:gd name="T29" fmla="*/ 83 h 99"/>
                  <a:gd name="T30" fmla="*/ 2 w 115"/>
                  <a:gd name="T31" fmla="*/ 85 h 99"/>
                  <a:gd name="T32" fmla="*/ 2 w 115"/>
                  <a:gd name="T33" fmla="*/ 86 h 99"/>
                  <a:gd name="T34" fmla="*/ 2 w 115"/>
                  <a:gd name="T35" fmla="*/ 88 h 99"/>
                  <a:gd name="T36" fmla="*/ 2 w 115"/>
                  <a:gd name="T37" fmla="*/ 88 h 99"/>
                  <a:gd name="T38" fmla="*/ 0 w 115"/>
                  <a:gd name="T39" fmla="*/ 89 h 99"/>
                  <a:gd name="T40" fmla="*/ 0 w 115"/>
                  <a:gd name="T41" fmla="*/ 90 h 99"/>
                  <a:gd name="T42" fmla="*/ 0 w 115"/>
                  <a:gd name="T43" fmla="*/ 92 h 99"/>
                  <a:gd name="T44" fmla="*/ 3 w 115"/>
                  <a:gd name="T45" fmla="*/ 93 h 99"/>
                  <a:gd name="T46" fmla="*/ 5 w 115"/>
                  <a:gd name="T47" fmla="*/ 95 h 99"/>
                  <a:gd name="T48" fmla="*/ 10 w 115"/>
                  <a:gd name="T49" fmla="*/ 98 h 99"/>
                  <a:gd name="T50" fmla="*/ 19 w 115"/>
                  <a:gd name="T51" fmla="*/ 99 h 99"/>
                  <a:gd name="T52" fmla="*/ 52 w 115"/>
                  <a:gd name="T53" fmla="*/ 79 h 99"/>
                  <a:gd name="T54" fmla="*/ 88 w 115"/>
                  <a:gd name="T55" fmla="*/ 59 h 99"/>
                  <a:gd name="T56" fmla="*/ 94 w 115"/>
                  <a:gd name="T57" fmla="*/ 55 h 99"/>
                  <a:gd name="T58" fmla="*/ 95 w 115"/>
                  <a:gd name="T59" fmla="*/ 49 h 99"/>
                  <a:gd name="T60" fmla="*/ 97 w 115"/>
                  <a:gd name="T61" fmla="*/ 36 h 99"/>
                  <a:gd name="T62" fmla="*/ 98 w 115"/>
                  <a:gd name="T63" fmla="*/ 29 h 99"/>
                  <a:gd name="T64" fmla="*/ 97 w 115"/>
                  <a:gd name="T65" fmla="*/ 20 h 99"/>
                  <a:gd name="T66" fmla="*/ 101 w 115"/>
                  <a:gd name="T67" fmla="*/ 16 h 99"/>
                  <a:gd name="T68" fmla="*/ 107 w 115"/>
                  <a:gd name="T69" fmla="*/ 13 h 99"/>
                  <a:gd name="T70" fmla="*/ 112 w 115"/>
                  <a:gd name="T71" fmla="*/ 9 h 99"/>
                  <a:gd name="T72" fmla="*/ 115 w 115"/>
                  <a:gd name="T73" fmla="*/ 4 h 99"/>
                  <a:gd name="T74" fmla="*/ 112 w 115"/>
                  <a:gd name="T75" fmla="*/ 0 h 99"/>
                  <a:gd name="T76" fmla="*/ 104 w 115"/>
                  <a:gd name="T77" fmla="*/ 4 h 99"/>
                  <a:gd name="T78" fmla="*/ 97 w 115"/>
                  <a:gd name="T79" fmla="*/ 4 h 99"/>
                  <a:gd name="T80" fmla="*/ 85 w 115"/>
                  <a:gd name="T81" fmla="*/ 4 h 99"/>
                  <a:gd name="T82" fmla="*/ 65 w 115"/>
                  <a:gd name="T83" fmla="*/ 11 h 99"/>
                  <a:gd name="T84" fmla="*/ 58 w 115"/>
                  <a:gd name="T85" fmla="*/ 13 h 99"/>
                  <a:gd name="T86" fmla="*/ 51 w 115"/>
                  <a:gd name="T87" fmla="*/ 11 h 99"/>
                  <a:gd name="T88" fmla="*/ 43 w 115"/>
                  <a:gd name="T89" fmla="*/ 9 h 99"/>
                  <a:gd name="T90" fmla="*/ 31 w 115"/>
                  <a:gd name="T91" fmla="*/ 13 h 99"/>
                  <a:gd name="T92" fmla="*/ 23 w 115"/>
                  <a:gd name="T93" fmla="*/ 13 h 99"/>
                  <a:gd name="T94" fmla="*/ 16 w 115"/>
                  <a:gd name="T95" fmla="*/ 10 h 99"/>
                  <a:gd name="T96" fmla="*/ 13 w 115"/>
                  <a:gd name="T97" fmla="*/ 14 h 99"/>
                  <a:gd name="T98" fmla="*/ 15 w 115"/>
                  <a:gd name="T99" fmla="*/ 19 h 99"/>
                  <a:gd name="T100" fmla="*/ 15 w 115"/>
                  <a:gd name="T101" fmla="*/ 21 h 99"/>
                  <a:gd name="T102" fmla="*/ 10 w 115"/>
                  <a:gd name="T103" fmla="*/ 23 h 99"/>
                  <a:gd name="T104" fmla="*/ 10 w 115"/>
                  <a:gd name="T105" fmla="*/ 24 h 99"/>
                  <a:gd name="T106" fmla="*/ 9 w 115"/>
                  <a:gd name="T107" fmla="*/ 26 h 99"/>
                  <a:gd name="T108" fmla="*/ 8 w 115"/>
                  <a:gd name="T109" fmla="*/ 27 h 99"/>
                  <a:gd name="T110" fmla="*/ 6 w 115"/>
                  <a:gd name="T111" fmla="*/ 29 h 99"/>
                  <a:gd name="T112" fmla="*/ 6 w 115"/>
                  <a:gd name="T113" fmla="*/ 30 h 99"/>
                  <a:gd name="T114" fmla="*/ 3 w 115"/>
                  <a:gd name="T115" fmla="*/ 29 h 99"/>
                  <a:gd name="T116" fmla="*/ 0 w 115"/>
                  <a:gd name="T117" fmla="*/ 32 h 99"/>
                  <a:gd name="T118" fmla="*/ 2 w 115"/>
                  <a:gd name="T119" fmla="*/ 37 h 99"/>
                  <a:gd name="T120" fmla="*/ 2 w 115"/>
                  <a:gd name="T121" fmla="*/ 50 h 99"/>
                  <a:gd name="T122" fmla="*/ 9 w 115"/>
                  <a:gd name="T123" fmla="*/ 5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5" h="99">
                    <a:moveTo>
                      <a:pt x="10" y="55"/>
                    </a:moveTo>
                    <a:lnTo>
                      <a:pt x="9" y="56"/>
                    </a:lnTo>
                    <a:lnTo>
                      <a:pt x="12" y="57"/>
                    </a:lnTo>
                    <a:lnTo>
                      <a:pt x="13" y="59"/>
                    </a:lnTo>
                    <a:lnTo>
                      <a:pt x="13" y="62"/>
                    </a:lnTo>
                    <a:lnTo>
                      <a:pt x="12" y="65"/>
                    </a:lnTo>
                    <a:lnTo>
                      <a:pt x="10" y="65"/>
                    </a:lnTo>
                    <a:lnTo>
                      <a:pt x="9" y="66"/>
                    </a:lnTo>
                    <a:lnTo>
                      <a:pt x="9" y="67"/>
                    </a:lnTo>
                    <a:lnTo>
                      <a:pt x="10" y="69"/>
                    </a:lnTo>
                    <a:lnTo>
                      <a:pt x="8" y="69"/>
                    </a:lnTo>
                    <a:lnTo>
                      <a:pt x="6" y="70"/>
                    </a:lnTo>
                    <a:lnTo>
                      <a:pt x="5" y="70"/>
                    </a:lnTo>
                    <a:lnTo>
                      <a:pt x="3" y="72"/>
                    </a:lnTo>
                    <a:lnTo>
                      <a:pt x="3" y="73"/>
                    </a:lnTo>
                    <a:lnTo>
                      <a:pt x="3" y="73"/>
                    </a:lnTo>
                    <a:lnTo>
                      <a:pt x="3" y="75"/>
                    </a:lnTo>
                    <a:lnTo>
                      <a:pt x="3" y="75"/>
                    </a:lnTo>
                    <a:lnTo>
                      <a:pt x="3" y="76"/>
                    </a:lnTo>
                    <a:lnTo>
                      <a:pt x="2" y="78"/>
                    </a:lnTo>
                    <a:lnTo>
                      <a:pt x="0" y="79"/>
                    </a:lnTo>
                    <a:lnTo>
                      <a:pt x="0" y="79"/>
                    </a:lnTo>
                    <a:lnTo>
                      <a:pt x="0" y="80"/>
                    </a:lnTo>
                    <a:lnTo>
                      <a:pt x="0" y="80"/>
                    </a:lnTo>
                    <a:lnTo>
                      <a:pt x="0" y="80"/>
                    </a:lnTo>
                    <a:lnTo>
                      <a:pt x="0" y="82"/>
                    </a:lnTo>
                    <a:lnTo>
                      <a:pt x="2" y="82"/>
                    </a:lnTo>
                    <a:lnTo>
                      <a:pt x="2" y="83"/>
                    </a:lnTo>
                    <a:lnTo>
                      <a:pt x="2" y="83"/>
                    </a:lnTo>
                    <a:lnTo>
                      <a:pt x="2" y="83"/>
                    </a:lnTo>
                    <a:lnTo>
                      <a:pt x="2" y="85"/>
                    </a:lnTo>
                    <a:lnTo>
                      <a:pt x="2" y="85"/>
                    </a:lnTo>
                    <a:lnTo>
                      <a:pt x="2" y="86"/>
                    </a:lnTo>
                    <a:lnTo>
                      <a:pt x="2" y="86"/>
                    </a:lnTo>
                    <a:lnTo>
                      <a:pt x="2" y="86"/>
                    </a:lnTo>
                    <a:lnTo>
                      <a:pt x="2" y="88"/>
                    </a:lnTo>
                    <a:lnTo>
                      <a:pt x="2" y="88"/>
                    </a:lnTo>
                    <a:lnTo>
                      <a:pt x="2" y="88"/>
                    </a:lnTo>
                    <a:lnTo>
                      <a:pt x="0" y="89"/>
                    </a:lnTo>
                    <a:lnTo>
                      <a:pt x="0" y="89"/>
                    </a:lnTo>
                    <a:lnTo>
                      <a:pt x="0" y="90"/>
                    </a:lnTo>
                    <a:lnTo>
                      <a:pt x="0" y="90"/>
                    </a:lnTo>
                    <a:lnTo>
                      <a:pt x="0" y="90"/>
                    </a:lnTo>
                    <a:lnTo>
                      <a:pt x="0" y="92"/>
                    </a:lnTo>
                    <a:lnTo>
                      <a:pt x="2" y="92"/>
                    </a:lnTo>
                    <a:lnTo>
                      <a:pt x="3" y="93"/>
                    </a:lnTo>
                    <a:lnTo>
                      <a:pt x="5" y="95"/>
                    </a:lnTo>
                    <a:lnTo>
                      <a:pt x="5" y="95"/>
                    </a:lnTo>
                    <a:lnTo>
                      <a:pt x="6" y="96"/>
                    </a:lnTo>
                    <a:lnTo>
                      <a:pt x="10" y="98"/>
                    </a:lnTo>
                    <a:lnTo>
                      <a:pt x="15" y="99"/>
                    </a:lnTo>
                    <a:lnTo>
                      <a:pt x="19" y="99"/>
                    </a:lnTo>
                    <a:lnTo>
                      <a:pt x="22" y="96"/>
                    </a:lnTo>
                    <a:lnTo>
                      <a:pt x="52" y="79"/>
                    </a:lnTo>
                    <a:lnTo>
                      <a:pt x="78" y="63"/>
                    </a:lnTo>
                    <a:lnTo>
                      <a:pt x="88" y="59"/>
                    </a:lnTo>
                    <a:lnTo>
                      <a:pt x="91" y="57"/>
                    </a:lnTo>
                    <a:lnTo>
                      <a:pt x="94" y="55"/>
                    </a:lnTo>
                    <a:lnTo>
                      <a:pt x="94" y="52"/>
                    </a:lnTo>
                    <a:lnTo>
                      <a:pt x="95" y="49"/>
                    </a:lnTo>
                    <a:lnTo>
                      <a:pt x="95" y="43"/>
                    </a:lnTo>
                    <a:lnTo>
                      <a:pt x="97" y="36"/>
                    </a:lnTo>
                    <a:lnTo>
                      <a:pt x="98" y="33"/>
                    </a:lnTo>
                    <a:lnTo>
                      <a:pt x="98" y="29"/>
                    </a:lnTo>
                    <a:lnTo>
                      <a:pt x="95" y="23"/>
                    </a:lnTo>
                    <a:lnTo>
                      <a:pt x="97" y="20"/>
                    </a:lnTo>
                    <a:lnTo>
                      <a:pt x="98" y="17"/>
                    </a:lnTo>
                    <a:lnTo>
                      <a:pt x="101" y="16"/>
                    </a:lnTo>
                    <a:lnTo>
                      <a:pt x="104" y="14"/>
                    </a:lnTo>
                    <a:lnTo>
                      <a:pt x="107" y="13"/>
                    </a:lnTo>
                    <a:lnTo>
                      <a:pt x="110" y="11"/>
                    </a:lnTo>
                    <a:lnTo>
                      <a:pt x="112" y="9"/>
                    </a:lnTo>
                    <a:lnTo>
                      <a:pt x="114" y="6"/>
                    </a:lnTo>
                    <a:lnTo>
                      <a:pt x="115" y="4"/>
                    </a:lnTo>
                    <a:lnTo>
                      <a:pt x="114" y="1"/>
                    </a:lnTo>
                    <a:lnTo>
                      <a:pt x="112" y="0"/>
                    </a:lnTo>
                    <a:lnTo>
                      <a:pt x="107" y="3"/>
                    </a:lnTo>
                    <a:lnTo>
                      <a:pt x="104" y="4"/>
                    </a:lnTo>
                    <a:lnTo>
                      <a:pt x="99" y="4"/>
                    </a:lnTo>
                    <a:lnTo>
                      <a:pt x="97" y="4"/>
                    </a:lnTo>
                    <a:lnTo>
                      <a:pt x="92" y="4"/>
                    </a:lnTo>
                    <a:lnTo>
                      <a:pt x="85" y="4"/>
                    </a:lnTo>
                    <a:lnTo>
                      <a:pt x="72" y="10"/>
                    </a:lnTo>
                    <a:lnTo>
                      <a:pt x="65" y="11"/>
                    </a:lnTo>
                    <a:lnTo>
                      <a:pt x="61" y="13"/>
                    </a:lnTo>
                    <a:lnTo>
                      <a:pt x="58" y="13"/>
                    </a:lnTo>
                    <a:lnTo>
                      <a:pt x="54" y="13"/>
                    </a:lnTo>
                    <a:lnTo>
                      <a:pt x="51" y="11"/>
                    </a:lnTo>
                    <a:lnTo>
                      <a:pt x="46" y="10"/>
                    </a:lnTo>
                    <a:lnTo>
                      <a:pt x="43" y="9"/>
                    </a:lnTo>
                    <a:lnTo>
                      <a:pt x="42" y="9"/>
                    </a:lnTo>
                    <a:lnTo>
                      <a:pt x="31" y="13"/>
                    </a:lnTo>
                    <a:lnTo>
                      <a:pt x="28" y="13"/>
                    </a:lnTo>
                    <a:lnTo>
                      <a:pt x="23" y="13"/>
                    </a:lnTo>
                    <a:lnTo>
                      <a:pt x="18" y="10"/>
                    </a:lnTo>
                    <a:lnTo>
                      <a:pt x="16" y="10"/>
                    </a:lnTo>
                    <a:lnTo>
                      <a:pt x="13" y="13"/>
                    </a:lnTo>
                    <a:lnTo>
                      <a:pt x="13" y="14"/>
                    </a:lnTo>
                    <a:lnTo>
                      <a:pt x="13" y="17"/>
                    </a:lnTo>
                    <a:lnTo>
                      <a:pt x="15" y="19"/>
                    </a:lnTo>
                    <a:lnTo>
                      <a:pt x="15" y="21"/>
                    </a:lnTo>
                    <a:lnTo>
                      <a:pt x="15" y="21"/>
                    </a:lnTo>
                    <a:lnTo>
                      <a:pt x="12" y="21"/>
                    </a:lnTo>
                    <a:lnTo>
                      <a:pt x="10" y="23"/>
                    </a:lnTo>
                    <a:lnTo>
                      <a:pt x="10" y="23"/>
                    </a:lnTo>
                    <a:lnTo>
                      <a:pt x="10" y="24"/>
                    </a:lnTo>
                    <a:lnTo>
                      <a:pt x="9" y="26"/>
                    </a:lnTo>
                    <a:lnTo>
                      <a:pt x="9" y="26"/>
                    </a:lnTo>
                    <a:lnTo>
                      <a:pt x="8" y="27"/>
                    </a:lnTo>
                    <a:lnTo>
                      <a:pt x="8" y="27"/>
                    </a:lnTo>
                    <a:lnTo>
                      <a:pt x="6" y="27"/>
                    </a:lnTo>
                    <a:lnTo>
                      <a:pt x="6" y="29"/>
                    </a:lnTo>
                    <a:lnTo>
                      <a:pt x="6" y="29"/>
                    </a:lnTo>
                    <a:lnTo>
                      <a:pt x="6" y="30"/>
                    </a:lnTo>
                    <a:lnTo>
                      <a:pt x="5" y="29"/>
                    </a:lnTo>
                    <a:lnTo>
                      <a:pt x="3" y="29"/>
                    </a:lnTo>
                    <a:lnTo>
                      <a:pt x="2" y="27"/>
                    </a:lnTo>
                    <a:lnTo>
                      <a:pt x="0" y="32"/>
                    </a:lnTo>
                    <a:lnTo>
                      <a:pt x="0" y="34"/>
                    </a:lnTo>
                    <a:lnTo>
                      <a:pt x="2" y="37"/>
                    </a:lnTo>
                    <a:lnTo>
                      <a:pt x="2" y="40"/>
                    </a:lnTo>
                    <a:lnTo>
                      <a:pt x="2" y="50"/>
                    </a:lnTo>
                    <a:lnTo>
                      <a:pt x="3" y="53"/>
                    </a:lnTo>
                    <a:lnTo>
                      <a:pt x="9" y="53"/>
                    </a:lnTo>
                    <a:lnTo>
                      <a:pt x="10" y="5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17" name="Freeform 113">
                <a:extLst>
                  <a:ext uri="{FF2B5EF4-FFF2-40B4-BE49-F238E27FC236}">
                    <a16:creationId xmlns:a16="http://schemas.microsoft.com/office/drawing/2014/main" id="{F5CC68DA-C4AA-ED6B-541C-19D1C8AFF909}"/>
                  </a:ext>
                </a:extLst>
              </p:cNvPr>
              <p:cNvSpPr>
                <a:spLocks/>
              </p:cNvSpPr>
              <p:nvPr/>
            </p:nvSpPr>
            <p:spPr bwMode="auto">
              <a:xfrm>
                <a:off x="6519268" y="3181229"/>
                <a:ext cx="37595" cy="46271"/>
              </a:xfrm>
              <a:custGeom>
                <a:avLst/>
                <a:gdLst>
                  <a:gd name="T0" fmla="*/ 2 w 26"/>
                  <a:gd name="T1" fmla="*/ 32 h 32"/>
                  <a:gd name="T2" fmla="*/ 3 w 26"/>
                  <a:gd name="T3" fmla="*/ 32 h 32"/>
                  <a:gd name="T4" fmla="*/ 3 w 26"/>
                  <a:gd name="T5" fmla="*/ 32 h 32"/>
                  <a:gd name="T6" fmla="*/ 5 w 26"/>
                  <a:gd name="T7" fmla="*/ 32 h 32"/>
                  <a:gd name="T8" fmla="*/ 5 w 26"/>
                  <a:gd name="T9" fmla="*/ 32 h 32"/>
                  <a:gd name="T10" fmla="*/ 6 w 26"/>
                  <a:gd name="T11" fmla="*/ 32 h 32"/>
                  <a:gd name="T12" fmla="*/ 6 w 26"/>
                  <a:gd name="T13" fmla="*/ 32 h 32"/>
                  <a:gd name="T14" fmla="*/ 8 w 26"/>
                  <a:gd name="T15" fmla="*/ 30 h 32"/>
                  <a:gd name="T16" fmla="*/ 8 w 26"/>
                  <a:gd name="T17" fmla="*/ 29 h 32"/>
                  <a:gd name="T18" fmla="*/ 9 w 26"/>
                  <a:gd name="T19" fmla="*/ 29 h 32"/>
                  <a:gd name="T20" fmla="*/ 9 w 26"/>
                  <a:gd name="T21" fmla="*/ 27 h 32"/>
                  <a:gd name="T22" fmla="*/ 9 w 26"/>
                  <a:gd name="T23" fmla="*/ 27 h 32"/>
                  <a:gd name="T24" fmla="*/ 9 w 26"/>
                  <a:gd name="T25" fmla="*/ 29 h 32"/>
                  <a:gd name="T26" fmla="*/ 11 w 26"/>
                  <a:gd name="T27" fmla="*/ 27 h 32"/>
                  <a:gd name="T28" fmla="*/ 12 w 26"/>
                  <a:gd name="T29" fmla="*/ 26 h 32"/>
                  <a:gd name="T30" fmla="*/ 13 w 26"/>
                  <a:gd name="T31" fmla="*/ 26 h 32"/>
                  <a:gd name="T32" fmla="*/ 13 w 26"/>
                  <a:gd name="T33" fmla="*/ 26 h 32"/>
                  <a:gd name="T34" fmla="*/ 13 w 26"/>
                  <a:gd name="T35" fmla="*/ 25 h 32"/>
                  <a:gd name="T36" fmla="*/ 15 w 26"/>
                  <a:gd name="T37" fmla="*/ 25 h 32"/>
                  <a:gd name="T38" fmla="*/ 16 w 26"/>
                  <a:gd name="T39" fmla="*/ 23 h 32"/>
                  <a:gd name="T40" fmla="*/ 16 w 26"/>
                  <a:gd name="T41" fmla="*/ 22 h 32"/>
                  <a:gd name="T42" fmla="*/ 16 w 26"/>
                  <a:gd name="T43" fmla="*/ 22 h 32"/>
                  <a:gd name="T44" fmla="*/ 16 w 26"/>
                  <a:gd name="T45" fmla="*/ 20 h 32"/>
                  <a:gd name="T46" fmla="*/ 16 w 26"/>
                  <a:gd name="T47" fmla="*/ 20 h 32"/>
                  <a:gd name="T48" fmla="*/ 16 w 26"/>
                  <a:gd name="T49" fmla="*/ 19 h 32"/>
                  <a:gd name="T50" fmla="*/ 18 w 26"/>
                  <a:gd name="T51" fmla="*/ 17 h 32"/>
                  <a:gd name="T52" fmla="*/ 19 w 26"/>
                  <a:gd name="T53" fmla="*/ 17 h 32"/>
                  <a:gd name="T54" fmla="*/ 21 w 26"/>
                  <a:gd name="T55" fmla="*/ 16 h 32"/>
                  <a:gd name="T56" fmla="*/ 23 w 26"/>
                  <a:gd name="T57" fmla="*/ 16 h 32"/>
                  <a:gd name="T58" fmla="*/ 22 w 26"/>
                  <a:gd name="T59" fmla="*/ 14 h 32"/>
                  <a:gd name="T60" fmla="*/ 22 w 26"/>
                  <a:gd name="T61" fmla="*/ 13 h 32"/>
                  <a:gd name="T62" fmla="*/ 23 w 26"/>
                  <a:gd name="T63" fmla="*/ 12 h 32"/>
                  <a:gd name="T64" fmla="*/ 25 w 26"/>
                  <a:gd name="T65" fmla="*/ 12 h 32"/>
                  <a:gd name="T66" fmla="*/ 26 w 26"/>
                  <a:gd name="T67" fmla="*/ 9 h 32"/>
                  <a:gd name="T68" fmla="*/ 26 w 26"/>
                  <a:gd name="T69" fmla="*/ 6 h 32"/>
                  <a:gd name="T70" fmla="*/ 25 w 26"/>
                  <a:gd name="T71" fmla="*/ 4 h 32"/>
                  <a:gd name="T72" fmla="*/ 22 w 26"/>
                  <a:gd name="T73" fmla="*/ 3 h 32"/>
                  <a:gd name="T74" fmla="*/ 23 w 26"/>
                  <a:gd name="T75" fmla="*/ 2 h 32"/>
                  <a:gd name="T76" fmla="*/ 22 w 26"/>
                  <a:gd name="T77" fmla="*/ 0 h 32"/>
                  <a:gd name="T78" fmla="*/ 16 w 26"/>
                  <a:gd name="T79" fmla="*/ 0 h 32"/>
                  <a:gd name="T80" fmla="*/ 16 w 26"/>
                  <a:gd name="T81" fmla="*/ 3 h 32"/>
                  <a:gd name="T82" fmla="*/ 15 w 26"/>
                  <a:gd name="T83" fmla="*/ 4 h 32"/>
                  <a:gd name="T84" fmla="*/ 13 w 26"/>
                  <a:gd name="T85" fmla="*/ 4 h 32"/>
                  <a:gd name="T86" fmla="*/ 12 w 26"/>
                  <a:gd name="T87" fmla="*/ 6 h 32"/>
                  <a:gd name="T88" fmla="*/ 11 w 26"/>
                  <a:gd name="T89" fmla="*/ 9 h 32"/>
                  <a:gd name="T90" fmla="*/ 3 w 26"/>
                  <a:gd name="T91" fmla="*/ 27 h 32"/>
                  <a:gd name="T92" fmla="*/ 0 w 26"/>
                  <a:gd name="T93" fmla="*/ 32 h 32"/>
                  <a:gd name="T94" fmla="*/ 2 w 26"/>
                  <a:gd name="T95" fmla="*/ 32 h 32"/>
                  <a:gd name="T96" fmla="*/ 2 w 26"/>
                  <a:gd name="T9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 h="32">
                    <a:moveTo>
                      <a:pt x="2" y="32"/>
                    </a:moveTo>
                    <a:lnTo>
                      <a:pt x="3" y="32"/>
                    </a:lnTo>
                    <a:lnTo>
                      <a:pt x="3" y="32"/>
                    </a:lnTo>
                    <a:lnTo>
                      <a:pt x="5" y="32"/>
                    </a:lnTo>
                    <a:lnTo>
                      <a:pt x="5" y="32"/>
                    </a:lnTo>
                    <a:lnTo>
                      <a:pt x="6" y="32"/>
                    </a:lnTo>
                    <a:lnTo>
                      <a:pt x="6" y="32"/>
                    </a:lnTo>
                    <a:lnTo>
                      <a:pt x="8" y="30"/>
                    </a:lnTo>
                    <a:lnTo>
                      <a:pt x="8" y="29"/>
                    </a:lnTo>
                    <a:lnTo>
                      <a:pt x="9" y="29"/>
                    </a:lnTo>
                    <a:lnTo>
                      <a:pt x="9" y="27"/>
                    </a:lnTo>
                    <a:lnTo>
                      <a:pt x="9" y="27"/>
                    </a:lnTo>
                    <a:lnTo>
                      <a:pt x="9" y="29"/>
                    </a:lnTo>
                    <a:lnTo>
                      <a:pt x="11" y="27"/>
                    </a:lnTo>
                    <a:lnTo>
                      <a:pt x="12" y="26"/>
                    </a:lnTo>
                    <a:lnTo>
                      <a:pt x="13" y="26"/>
                    </a:lnTo>
                    <a:lnTo>
                      <a:pt x="13" y="26"/>
                    </a:lnTo>
                    <a:lnTo>
                      <a:pt x="13" y="25"/>
                    </a:lnTo>
                    <a:lnTo>
                      <a:pt x="15" y="25"/>
                    </a:lnTo>
                    <a:lnTo>
                      <a:pt x="16" y="23"/>
                    </a:lnTo>
                    <a:lnTo>
                      <a:pt x="16" y="22"/>
                    </a:lnTo>
                    <a:lnTo>
                      <a:pt x="16" y="22"/>
                    </a:lnTo>
                    <a:lnTo>
                      <a:pt x="16" y="20"/>
                    </a:lnTo>
                    <a:lnTo>
                      <a:pt x="16" y="20"/>
                    </a:lnTo>
                    <a:lnTo>
                      <a:pt x="16" y="19"/>
                    </a:lnTo>
                    <a:lnTo>
                      <a:pt x="18" y="17"/>
                    </a:lnTo>
                    <a:lnTo>
                      <a:pt x="19" y="17"/>
                    </a:lnTo>
                    <a:lnTo>
                      <a:pt x="21" y="16"/>
                    </a:lnTo>
                    <a:lnTo>
                      <a:pt x="23" y="16"/>
                    </a:lnTo>
                    <a:lnTo>
                      <a:pt x="22" y="14"/>
                    </a:lnTo>
                    <a:lnTo>
                      <a:pt x="22" y="13"/>
                    </a:lnTo>
                    <a:lnTo>
                      <a:pt x="23" y="12"/>
                    </a:lnTo>
                    <a:lnTo>
                      <a:pt x="25" y="12"/>
                    </a:lnTo>
                    <a:lnTo>
                      <a:pt x="26" y="9"/>
                    </a:lnTo>
                    <a:lnTo>
                      <a:pt x="26" y="6"/>
                    </a:lnTo>
                    <a:lnTo>
                      <a:pt x="25" y="4"/>
                    </a:lnTo>
                    <a:lnTo>
                      <a:pt x="22" y="3"/>
                    </a:lnTo>
                    <a:lnTo>
                      <a:pt x="23" y="2"/>
                    </a:lnTo>
                    <a:lnTo>
                      <a:pt x="22" y="0"/>
                    </a:lnTo>
                    <a:lnTo>
                      <a:pt x="16" y="0"/>
                    </a:lnTo>
                    <a:lnTo>
                      <a:pt x="16" y="3"/>
                    </a:lnTo>
                    <a:lnTo>
                      <a:pt x="15" y="4"/>
                    </a:lnTo>
                    <a:lnTo>
                      <a:pt x="13" y="4"/>
                    </a:lnTo>
                    <a:lnTo>
                      <a:pt x="12" y="6"/>
                    </a:lnTo>
                    <a:lnTo>
                      <a:pt x="11" y="9"/>
                    </a:lnTo>
                    <a:lnTo>
                      <a:pt x="3" y="27"/>
                    </a:lnTo>
                    <a:lnTo>
                      <a:pt x="0" y="32"/>
                    </a:lnTo>
                    <a:lnTo>
                      <a:pt x="2" y="32"/>
                    </a:lnTo>
                    <a:lnTo>
                      <a:pt x="2" y="3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18" name="Freeform 114">
                <a:extLst>
                  <a:ext uri="{FF2B5EF4-FFF2-40B4-BE49-F238E27FC236}">
                    <a16:creationId xmlns:a16="http://schemas.microsoft.com/office/drawing/2014/main" id="{1F2C7D59-F939-1D32-FE79-1383C0A5AD22}"/>
                  </a:ext>
                </a:extLst>
              </p:cNvPr>
              <p:cNvSpPr>
                <a:spLocks/>
              </p:cNvSpPr>
              <p:nvPr/>
            </p:nvSpPr>
            <p:spPr bwMode="auto">
              <a:xfrm>
                <a:off x="6918353" y="3419813"/>
                <a:ext cx="21689" cy="44825"/>
              </a:xfrm>
              <a:custGeom>
                <a:avLst/>
                <a:gdLst>
                  <a:gd name="T0" fmla="*/ 5 w 15"/>
                  <a:gd name="T1" fmla="*/ 31 h 31"/>
                  <a:gd name="T2" fmla="*/ 6 w 15"/>
                  <a:gd name="T3" fmla="*/ 31 h 31"/>
                  <a:gd name="T4" fmla="*/ 9 w 15"/>
                  <a:gd name="T5" fmla="*/ 31 h 31"/>
                  <a:gd name="T6" fmla="*/ 12 w 15"/>
                  <a:gd name="T7" fmla="*/ 29 h 31"/>
                  <a:gd name="T8" fmla="*/ 15 w 15"/>
                  <a:gd name="T9" fmla="*/ 25 h 31"/>
                  <a:gd name="T10" fmla="*/ 15 w 15"/>
                  <a:gd name="T11" fmla="*/ 21 h 31"/>
                  <a:gd name="T12" fmla="*/ 15 w 15"/>
                  <a:gd name="T13" fmla="*/ 18 h 31"/>
                  <a:gd name="T14" fmla="*/ 13 w 15"/>
                  <a:gd name="T15" fmla="*/ 15 h 31"/>
                  <a:gd name="T16" fmla="*/ 13 w 15"/>
                  <a:gd name="T17" fmla="*/ 13 h 31"/>
                  <a:gd name="T18" fmla="*/ 13 w 15"/>
                  <a:gd name="T19" fmla="*/ 8 h 31"/>
                  <a:gd name="T20" fmla="*/ 13 w 15"/>
                  <a:gd name="T21" fmla="*/ 6 h 31"/>
                  <a:gd name="T22" fmla="*/ 13 w 15"/>
                  <a:gd name="T23" fmla="*/ 5 h 31"/>
                  <a:gd name="T24" fmla="*/ 10 w 15"/>
                  <a:gd name="T25" fmla="*/ 2 h 31"/>
                  <a:gd name="T26" fmla="*/ 9 w 15"/>
                  <a:gd name="T27" fmla="*/ 2 h 31"/>
                  <a:gd name="T28" fmla="*/ 9 w 15"/>
                  <a:gd name="T29" fmla="*/ 0 h 31"/>
                  <a:gd name="T30" fmla="*/ 7 w 15"/>
                  <a:gd name="T31" fmla="*/ 2 h 31"/>
                  <a:gd name="T32" fmla="*/ 6 w 15"/>
                  <a:gd name="T33" fmla="*/ 2 h 31"/>
                  <a:gd name="T34" fmla="*/ 6 w 15"/>
                  <a:gd name="T35" fmla="*/ 2 h 31"/>
                  <a:gd name="T36" fmla="*/ 5 w 15"/>
                  <a:gd name="T37" fmla="*/ 3 h 31"/>
                  <a:gd name="T38" fmla="*/ 5 w 15"/>
                  <a:gd name="T39" fmla="*/ 3 h 31"/>
                  <a:gd name="T40" fmla="*/ 3 w 15"/>
                  <a:gd name="T41" fmla="*/ 6 h 31"/>
                  <a:gd name="T42" fmla="*/ 0 w 15"/>
                  <a:gd name="T43" fmla="*/ 16 h 31"/>
                  <a:gd name="T44" fmla="*/ 0 w 15"/>
                  <a:gd name="T45" fmla="*/ 18 h 31"/>
                  <a:gd name="T46" fmla="*/ 0 w 15"/>
                  <a:gd name="T47" fmla="*/ 19 h 31"/>
                  <a:gd name="T48" fmla="*/ 2 w 15"/>
                  <a:gd name="T49" fmla="*/ 23 h 31"/>
                  <a:gd name="T50" fmla="*/ 2 w 15"/>
                  <a:gd name="T51" fmla="*/ 25 h 31"/>
                  <a:gd name="T52" fmla="*/ 0 w 15"/>
                  <a:gd name="T53" fmla="*/ 28 h 31"/>
                  <a:gd name="T54" fmla="*/ 2 w 15"/>
                  <a:gd name="T55" fmla="*/ 29 h 31"/>
                  <a:gd name="T56" fmla="*/ 5 w 15"/>
                  <a:gd name="T5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 h="31">
                    <a:moveTo>
                      <a:pt x="5" y="31"/>
                    </a:moveTo>
                    <a:lnTo>
                      <a:pt x="6" y="31"/>
                    </a:lnTo>
                    <a:lnTo>
                      <a:pt x="9" y="31"/>
                    </a:lnTo>
                    <a:lnTo>
                      <a:pt x="12" y="29"/>
                    </a:lnTo>
                    <a:lnTo>
                      <a:pt x="15" y="25"/>
                    </a:lnTo>
                    <a:lnTo>
                      <a:pt x="15" y="21"/>
                    </a:lnTo>
                    <a:lnTo>
                      <a:pt x="15" y="18"/>
                    </a:lnTo>
                    <a:lnTo>
                      <a:pt x="13" y="15"/>
                    </a:lnTo>
                    <a:lnTo>
                      <a:pt x="13" y="13"/>
                    </a:lnTo>
                    <a:lnTo>
                      <a:pt x="13" y="8"/>
                    </a:lnTo>
                    <a:lnTo>
                      <a:pt x="13" y="6"/>
                    </a:lnTo>
                    <a:lnTo>
                      <a:pt x="13" y="5"/>
                    </a:lnTo>
                    <a:lnTo>
                      <a:pt x="10" y="2"/>
                    </a:lnTo>
                    <a:lnTo>
                      <a:pt x="9" y="2"/>
                    </a:lnTo>
                    <a:lnTo>
                      <a:pt x="9" y="0"/>
                    </a:lnTo>
                    <a:lnTo>
                      <a:pt x="7" y="2"/>
                    </a:lnTo>
                    <a:lnTo>
                      <a:pt x="6" y="2"/>
                    </a:lnTo>
                    <a:lnTo>
                      <a:pt x="6" y="2"/>
                    </a:lnTo>
                    <a:lnTo>
                      <a:pt x="5" y="3"/>
                    </a:lnTo>
                    <a:lnTo>
                      <a:pt x="5" y="3"/>
                    </a:lnTo>
                    <a:lnTo>
                      <a:pt x="3" y="6"/>
                    </a:lnTo>
                    <a:lnTo>
                      <a:pt x="0" y="16"/>
                    </a:lnTo>
                    <a:lnTo>
                      <a:pt x="0" y="18"/>
                    </a:lnTo>
                    <a:lnTo>
                      <a:pt x="0" y="19"/>
                    </a:lnTo>
                    <a:lnTo>
                      <a:pt x="2" y="23"/>
                    </a:lnTo>
                    <a:lnTo>
                      <a:pt x="2" y="25"/>
                    </a:lnTo>
                    <a:lnTo>
                      <a:pt x="0" y="28"/>
                    </a:lnTo>
                    <a:lnTo>
                      <a:pt x="2" y="29"/>
                    </a:lnTo>
                    <a:lnTo>
                      <a:pt x="5" y="3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19" name="Freeform 115">
                <a:extLst>
                  <a:ext uri="{FF2B5EF4-FFF2-40B4-BE49-F238E27FC236}">
                    <a16:creationId xmlns:a16="http://schemas.microsoft.com/office/drawing/2014/main" id="{2AF8B616-5B05-700E-4154-6E11D153FF6A}"/>
                  </a:ext>
                </a:extLst>
              </p:cNvPr>
              <p:cNvSpPr>
                <a:spLocks/>
              </p:cNvSpPr>
              <p:nvPr/>
            </p:nvSpPr>
            <p:spPr bwMode="auto">
              <a:xfrm>
                <a:off x="6516376" y="3218824"/>
                <a:ext cx="109893" cy="114231"/>
              </a:xfrm>
              <a:custGeom>
                <a:avLst/>
                <a:gdLst>
                  <a:gd name="T0" fmla="*/ 20 w 76"/>
                  <a:gd name="T1" fmla="*/ 79 h 79"/>
                  <a:gd name="T2" fmla="*/ 27 w 76"/>
                  <a:gd name="T3" fmla="*/ 73 h 79"/>
                  <a:gd name="T4" fmla="*/ 33 w 76"/>
                  <a:gd name="T5" fmla="*/ 68 h 79"/>
                  <a:gd name="T6" fmla="*/ 40 w 76"/>
                  <a:gd name="T7" fmla="*/ 66 h 79"/>
                  <a:gd name="T8" fmla="*/ 46 w 76"/>
                  <a:gd name="T9" fmla="*/ 63 h 79"/>
                  <a:gd name="T10" fmla="*/ 47 w 76"/>
                  <a:gd name="T11" fmla="*/ 59 h 79"/>
                  <a:gd name="T12" fmla="*/ 50 w 76"/>
                  <a:gd name="T13" fmla="*/ 56 h 79"/>
                  <a:gd name="T14" fmla="*/ 36 w 76"/>
                  <a:gd name="T15" fmla="*/ 36 h 79"/>
                  <a:gd name="T16" fmla="*/ 70 w 76"/>
                  <a:gd name="T17" fmla="*/ 26 h 79"/>
                  <a:gd name="T18" fmla="*/ 76 w 76"/>
                  <a:gd name="T19" fmla="*/ 23 h 79"/>
                  <a:gd name="T20" fmla="*/ 76 w 76"/>
                  <a:gd name="T21" fmla="*/ 20 h 79"/>
                  <a:gd name="T22" fmla="*/ 74 w 76"/>
                  <a:gd name="T23" fmla="*/ 20 h 79"/>
                  <a:gd name="T24" fmla="*/ 71 w 76"/>
                  <a:gd name="T25" fmla="*/ 20 h 79"/>
                  <a:gd name="T26" fmla="*/ 73 w 76"/>
                  <a:gd name="T27" fmla="*/ 17 h 79"/>
                  <a:gd name="T28" fmla="*/ 37 w 76"/>
                  <a:gd name="T29" fmla="*/ 17 h 79"/>
                  <a:gd name="T30" fmla="*/ 30 w 76"/>
                  <a:gd name="T31" fmla="*/ 20 h 79"/>
                  <a:gd name="T32" fmla="*/ 21 w 76"/>
                  <a:gd name="T33" fmla="*/ 17 h 79"/>
                  <a:gd name="T34" fmla="*/ 20 w 76"/>
                  <a:gd name="T35" fmla="*/ 16 h 79"/>
                  <a:gd name="T36" fmla="*/ 17 w 76"/>
                  <a:gd name="T37" fmla="*/ 13 h 79"/>
                  <a:gd name="T38" fmla="*/ 14 w 76"/>
                  <a:gd name="T39" fmla="*/ 13 h 79"/>
                  <a:gd name="T40" fmla="*/ 13 w 76"/>
                  <a:gd name="T41" fmla="*/ 13 h 79"/>
                  <a:gd name="T42" fmla="*/ 11 w 76"/>
                  <a:gd name="T43" fmla="*/ 13 h 79"/>
                  <a:gd name="T44" fmla="*/ 11 w 76"/>
                  <a:gd name="T45" fmla="*/ 14 h 79"/>
                  <a:gd name="T46" fmla="*/ 11 w 76"/>
                  <a:gd name="T47" fmla="*/ 14 h 79"/>
                  <a:gd name="T48" fmla="*/ 11 w 76"/>
                  <a:gd name="T49" fmla="*/ 19 h 79"/>
                  <a:gd name="T50" fmla="*/ 11 w 76"/>
                  <a:gd name="T51" fmla="*/ 23 h 79"/>
                  <a:gd name="T52" fmla="*/ 11 w 76"/>
                  <a:gd name="T53" fmla="*/ 24 h 79"/>
                  <a:gd name="T54" fmla="*/ 10 w 76"/>
                  <a:gd name="T55" fmla="*/ 26 h 79"/>
                  <a:gd name="T56" fmla="*/ 11 w 76"/>
                  <a:gd name="T57" fmla="*/ 29 h 79"/>
                  <a:gd name="T58" fmla="*/ 11 w 76"/>
                  <a:gd name="T59" fmla="*/ 32 h 79"/>
                  <a:gd name="T60" fmla="*/ 10 w 76"/>
                  <a:gd name="T61" fmla="*/ 32 h 79"/>
                  <a:gd name="T62" fmla="*/ 10 w 76"/>
                  <a:gd name="T63" fmla="*/ 33 h 79"/>
                  <a:gd name="T64" fmla="*/ 10 w 76"/>
                  <a:gd name="T65" fmla="*/ 34 h 79"/>
                  <a:gd name="T66" fmla="*/ 8 w 76"/>
                  <a:gd name="T67" fmla="*/ 37 h 79"/>
                  <a:gd name="T68" fmla="*/ 8 w 76"/>
                  <a:gd name="T69" fmla="*/ 40 h 79"/>
                  <a:gd name="T70" fmla="*/ 8 w 76"/>
                  <a:gd name="T71" fmla="*/ 42 h 79"/>
                  <a:gd name="T72" fmla="*/ 8 w 76"/>
                  <a:gd name="T73" fmla="*/ 45 h 79"/>
                  <a:gd name="T74" fmla="*/ 7 w 76"/>
                  <a:gd name="T75" fmla="*/ 47 h 79"/>
                  <a:gd name="T76" fmla="*/ 5 w 76"/>
                  <a:gd name="T77" fmla="*/ 50 h 79"/>
                  <a:gd name="T78" fmla="*/ 4 w 76"/>
                  <a:gd name="T79" fmla="*/ 55 h 79"/>
                  <a:gd name="T80" fmla="*/ 4 w 76"/>
                  <a:gd name="T81" fmla="*/ 62 h 79"/>
                  <a:gd name="T82" fmla="*/ 2 w 76"/>
                  <a:gd name="T83" fmla="*/ 63 h 79"/>
                  <a:gd name="T84" fmla="*/ 2 w 76"/>
                  <a:gd name="T85" fmla="*/ 65 h 79"/>
                  <a:gd name="T86" fmla="*/ 1 w 76"/>
                  <a:gd name="T87" fmla="*/ 73 h 79"/>
                  <a:gd name="T88" fmla="*/ 1 w 76"/>
                  <a:gd name="T89" fmla="*/ 75 h 79"/>
                  <a:gd name="T90" fmla="*/ 0 w 76"/>
                  <a:gd name="T91" fmla="*/ 76 h 79"/>
                  <a:gd name="T92" fmla="*/ 17 w 76"/>
                  <a:gd name="T9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6" h="79">
                    <a:moveTo>
                      <a:pt x="17" y="79"/>
                    </a:moveTo>
                    <a:lnTo>
                      <a:pt x="20" y="79"/>
                    </a:lnTo>
                    <a:lnTo>
                      <a:pt x="24" y="76"/>
                    </a:lnTo>
                    <a:lnTo>
                      <a:pt x="27" y="73"/>
                    </a:lnTo>
                    <a:lnTo>
                      <a:pt x="30" y="70"/>
                    </a:lnTo>
                    <a:lnTo>
                      <a:pt x="33" y="68"/>
                    </a:lnTo>
                    <a:lnTo>
                      <a:pt x="36" y="66"/>
                    </a:lnTo>
                    <a:lnTo>
                      <a:pt x="40" y="66"/>
                    </a:lnTo>
                    <a:lnTo>
                      <a:pt x="44" y="65"/>
                    </a:lnTo>
                    <a:lnTo>
                      <a:pt x="46" y="63"/>
                    </a:lnTo>
                    <a:lnTo>
                      <a:pt x="46" y="60"/>
                    </a:lnTo>
                    <a:lnTo>
                      <a:pt x="47" y="59"/>
                    </a:lnTo>
                    <a:lnTo>
                      <a:pt x="48" y="57"/>
                    </a:lnTo>
                    <a:lnTo>
                      <a:pt x="50" y="56"/>
                    </a:lnTo>
                    <a:lnTo>
                      <a:pt x="53" y="55"/>
                    </a:lnTo>
                    <a:lnTo>
                      <a:pt x="36" y="36"/>
                    </a:lnTo>
                    <a:lnTo>
                      <a:pt x="66" y="29"/>
                    </a:lnTo>
                    <a:lnTo>
                      <a:pt x="70" y="26"/>
                    </a:lnTo>
                    <a:lnTo>
                      <a:pt x="74" y="24"/>
                    </a:lnTo>
                    <a:lnTo>
                      <a:pt x="76" y="23"/>
                    </a:lnTo>
                    <a:lnTo>
                      <a:pt x="76" y="22"/>
                    </a:lnTo>
                    <a:lnTo>
                      <a:pt x="76" y="20"/>
                    </a:lnTo>
                    <a:lnTo>
                      <a:pt x="76" y="20"/>
                    </a:lnTo>
                    <a:lnTo>
                      <a:pt x="74" y="20"/>
                    </a:lnTo>
                    <a:lnTo>
                      <a:pt x="73" y="20"/>
                    </a:lnTo>
                    <a:lnTo>
                      <a:pt x="71" y="20"/>
                    </a:lnTo>
                    <a:lnTo>
                      <a:pt x="71" y="17"/>
                    </a:lnTo>
                    <a:lnTo>
                      <a:pt x="73" y="17"/>
                    </a:lnTo>
                    <a:lnTo>
                      <a:pt x="67" y="0"/>
                    </a:lnTo>
                    <a:lnTo>
                      <a:pt x="37" y="17"/>
                    </a:lnTo>
                    <a:lnTo>
                      <a:pt x="34" y="20"/>
                    </a:lnTo>
                    <a:lnTo>
                      <a:pt x="30" y="20"/>
                    </a:lnTo>
                    <a:lnTo>
                      <a:pt x="25" y="19"/>
                    </a:lnTo>
                    <a:lnTo>
                      <a:pt x="21" y="17"/>
                    </a:lnTo>
                    <a:lnTo>
                      <a:pt x="20" y="16"/>
                    </a:lnTo>
                    <a:lnTo>
                      <a:pt x="20" y="16"/>
                    </a:lnTo>
                    <a:lnTo>
                      <a:pt x="18" y="14"/>
                    </a:lnTo>
                    <a:lnTo>
                      <a:pt x="17" y="13"/>
                    </a:lnTo>
                    <a:lnTo>
                      <a:pt x="15" y="13"/>
                    </a:lnTo>
                    <a:lnTo>
                      <a:pt x="14" y="13"/>
                    </a:lnTo>
                    <a:lnTo>
                      <a:pt x="13" y="13"/>
                    </a:lnTo>
                    <a:lnTo>
                      <a:pt x="13" y="13"/>
                    </a:lnTo>
                    <a:lnTo>
                      <a:pt x="13" y="13"/>
                    </a:lnTo>
                    <a:lnTo>
                      <a:pt x="11" y="13"/>
                    </a:lnTo>
                    <a:lnTo>
                      <a:pt x="11" y="13"/>
                    </a:lnTo>
                    <a:lnTo>
                      <a:pt x="11" y="14"/>
                    </a:lnTo>
                    <a:lnTo>
                      <a:pt x="11" y="14"/>
                    </a:lnTo>
                    <a:lnTo>
                      <a:pt x="11" y="14"/>
                    </a:lnTo>
                    <a:lnTo>
                      <a:pt x="11" y="14"/>
                    </a:lnTo>
                    <a:lnTo>
                      <a:pt x="11" y="19"/>
                    </a:lnTo>
                    <a:lnTo>
                      <a:pt x="11" y="22"/>
                    </a:lnTo>
                    <a:lnTo>
                      <a:pt x="11" y="23"/>
                    </a:lnTo>
                    <a:lnTo>
                      <a:pt x="11" y="23"/>
                    </a:lnTo>
                    <a:lnTo>
                      <a:pt x="11" y="24"/>
                    </a:lnTo>
                    <a:lnTo>
                      <a:pt x="10" y="26"/>
                    </a:lnTo>
                    <a:lnTo>
                      <a:pt x="10" y="26"/>
                    </a:lnTo>
                    <a:lnTo>
                      <a:pt x="11" y="29"/>
                    </a:lnTo>
                    <a:lnTo>
                      <a:pt x="11" y="29"/>
                    </a:lnTo>
                    <a:lnTo>
                      <a:pt x="11" y="30"/>
                    </a:lnTo>
                    <a:lnTo>
                      <a:pt x="11" y="32"/>
                    </a:lnTo>
                    <a:lnTo>
                      <a:pt x="10" y="32"/>
                    </a:lnTo>
                    <a:lnTo>
                      <a:pt x="10" y="32"/>
                    </a:lnTo>
                    <a:lnTo>
                      <a:pt x="10" y="33"/>
                    </a:lnTo>
                    <a:lnTo>
                      <a:pt x="10" y="33"/>
                    </a:lnTo>
                    <a:lnTo>
                      <a:pt x="10" y="33"/>
                    </a:lnTo>
                    <a:lnTo>
                      <a:pt x="10" y="34"/>
                    </a:lnTo>
                    <a:lnTo>
                      <a:pt x="8" y="36"/>
                    </a:lnTo>
                    <a:lnTo>
                      <a:pt x="8" y="37"/>
                    </a:lnTo>
                    <a:lnTo>
                      <a:pt x="8" y="39"/>
                    </a:lnTo>
                    <a:lnTo>
                      <a:pt x="8" y="40"/>
                    </a:lnTo>
                    <a:lnTo>
                      <a:pt x="8" y="40"/>
                    </a:lnTo>
                    <a:lnTo>
                      <a:pt x="8" y="42"/>
                    </a:lnTo>
                    <a:lnTo>
                      <a:pt x="8" y="43"/>
                    </a:lnTo>
                    <a:lnTo>
                      <a:pt x="8" y="45"/>
                    </a:lnTo>
                    <a:lnTo>
                      <a:pt x="8" y="46"/>
                    </a:lnTo>
                    <a:lnTo>
                      <a:pt x="7" y="47"/>
                    </a:lnTo>
                    <a:lnTo>
                      <a:pt x="7" y="47"/>
                    </a:lnTo>
                    <a:lnTo>
                      <a:pt x="5" y="50"/>
                    </a:lnTo>
                    <a:lnTo>
                      <a:pt x="5" y="52"/>
                    </a:lnTo>
                    <a:lnTo>
                      <a:pt x="4" y="55"/>
                    </a:lnTo>
                    <a:lnTo>
                      <a:pt x="4" y="60"/>
                    </a:lnTo>
                    <a:lnTo>
                      <a:pt x="4" y="62"/>
                    </a:lnTo>
                    <a:lnTo>
                      <a:pt x="4" y="62"/>
                    </a:lnTo>
                    <a:lnTo>
                      <a:pt x="2" y="63"/>
                    </a:lnTo>
                    <a:lnTo>
                      <a:pt x="2" y="63"/>
                    </a:lnTo>
                    <a:lnTo>
                      <a:pt x="2" y="65"/>
                    </a:lnTo>
                    <a:lnTo>
                      <a:pt x="1" y="69"/>
                    </a:lnTo>
                    <a:lnTo>
                      <a:pt x="1" y="73"/>
                    </a:lnTo>
                    <a:lnTo>
                      <a:pt x="1" y="73"/>
                    </a:lnTo>
                    <a:lnTo>
                      <a:pt x="1" y="75"/>
                    </a:lnTo>
                    <a:lnTo>
                      <a:pt x="1" y="76"/>
                    </a:lnTo>
                    <a:lnTo>
                      <a:pt x="0" y="76"/>
                    </a:lnTo>
                    <a:lnTo>
                      <a:pt x="13" y="79"/>
                    </a:lnTo>
                    <a:lnTo>
                      <a:pt x="17" y="7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0" name="Freeform 116">
                <a:extLst>
                  <a:ext uri="{FF2B5EF4-FFF2-40B4-BE49-F238E27FC236}">
                    <a16:creationId xmlns:a16="http://schemas.microsoft.com/office/drawing/2014/main" id="{DDC56A2B-16B4-C8BE-E7B8-601FAB85E265}"/>
                  </a:ext>
                </a:extLst>
              </p:cNvPr>
              <p:cNvSpPr>
                <a:spLocks/>
              </p:cNvSpPr>
              <p:nvPr/>
            </p:nvSpPr>
            <p:spPr bwMode="auto">
              <a:xfrm>
                <a:off x="7174288" y="3113269"/>
                <a:ext cx="413545" cy="373058"/>
              </a:xfrm>
              <a:custGeom>
                <a:avLst/>
                <a:gdLst>
                  <a:gd name="T0" fmla="*/ 273 w 286"/>
                  <a:gd name="T1" fmla="*/ 24 h 258"/>
                  <a:gd name="T2" fmla="*/ 266 w 286"/>
                  <a:gd name="T3" fmla="*/ 10 h 258"/>
                  <a:gd name="T4" fmla="*/ 253 w 286"/>
                  <a:gd name="T5" fmla="*/ 1 h 258"/>
                  <a:gd name="T6" fmla="*/ 230 w 286"/>
                  <a:gd name="T7" fmla="*/ 3 h 258"/>
                  <a:gd name="T8" fmla="*/ 189 w 286"/>
                  <a:gd name="T9" fmla="*/ 13 h 258"/>
                  <a:gd name="T10" fmla="*/ 188 w 286"/>
                  <a:gd name="T11" fmla="*/ 27 h 258"/>
                  <a:gd name="T12" fmla="*/ 188 w 286"/>
                  <a:gd name="T13" fmla="*/ 38 h 258"/>
                  <a:gd name="T14" fmla="*/ 179 w 286"/>
                  <a:gd name="T15" fmla="*/ 59 h 258"/>
                  <a:gd name="T16" fmla="*/ 165 w 286"/>
                  <a:gd name="T17" fmla="*/ 72 h 258"/>
                  <a:gd name="T18" fmla="*/ 151 w 286"/>
                  <a:gd name="T19" fmla="*/ 87 h 258"/>
                  <a:gd name="T20" fmla="*/ 141 w 286"/>
                  <a:gd name="T21" fmla="*/ 106 h 258"/>
                  <a:gd name="T22" fmla="*/ 122 w 286"/>
                  <a:gd name="T23" fmla="*/ 107 h 258"/>
                  <a:gd name="T24" fmla="*/ 116 w 286"/>
                  <a:gd name="T25" fmla="*/ 113 h 258"/>
                  <a:gd name="T26" fmla="*/ 95 w 286"/>
                  <a:gd name="T27" fmla="*/ 136 h 258"/>
                  <a:gd name="T28" fmla="*/ 63 w 286"/>
                  <a:gd name="T29" fmla="*/ 146 h 258"/>
                  <a:gd name="T30" fmla="*/ 0 w 286"/>
                  <a:gd name="T31" fmla="*/ 141 h 258"/>
                  <a:gd name="T32" fmla="*/ 31 w 286"/>
                  <a:gd name="T33" fmla="*/ 171 h 258"/>
                  <a:gd name="T34" fmla="*/ 36 w 286"/>
                  <a:gd name="T35" fmla="*/ 191 h 258"/>
                  <a:gd name="T36" fmla="*/ 29 w 286"/>
                  <a:gd name="T37" fmla="*/ 205 h 258"/>
                  <a:gd name="T38" fmla="*/ 17 w 286"/>
                  <a:gd name="T39" fmla="*/ 214 h 258"/>
                  <a:gd name="T40" fmla="*/ 27 w 286"/>
                  <a:gd name="T41" fmla="*/ 231 h 258"/>
                  <a:gd name="T42" fmla="*/ 50 w 286"/>
                  <a:gd name="T43" fmla="*/ 228 h 258"/>
                  <a:gd name="T44" fmla="*/ 69 w 286"/>
                  <a:gd name="T45" fmla="*/ 230 h 258"/>
                  <a:gd name="T46" fmla="*/ 96 w 286"/>
                  <a:gd name="T47" fmla="*/ 222 h 258"/>
                  <a:gd name="T48" fmla="*/ 109 w 286"/>
                  <a:gd name="T49" fmla="*/ 238 h 258"/>
                  <a:gd name="T50" fmla="*/ 122 w 286"/>
                  <a:gd name="T51" fmla="*/ 258 h 258"/>
                  <a:gd name="T52" fmla="*/ 129 w 286"/>
                  <a:gd name="T53" fmla="*/ 257 h 258"/>
                  <a:gd name="T54" fmla="*/ 139 w 286"/>
                  <a:gd name="T55" fmla="*/ 250 h 258"/>
                  <a:gd name="T56" fmla="*/ 145 w 286"/>
                  <a:gd name="T57" fmla="*/ 248 h 258"/>
                  <a:gd name="T58" fmla="*/ 162 w 286"/>
                  <a:gd name="T59" fmla="*/ 250 h 258"/>
                  <a:gd name="T60" fmla="*/ 171 w 286"/>
                  <a:gd name="T61" fmla="*/ 247 h 258"/>
                  <a:gd name="T62" fmla="*/ 174 w 286"/>
                  <a:gd name="T63" fmla="*/ 250 h 258"/>
                  <a:gd name="T64" fmla="*/ 178 w 286"/>
                  <a:gd name="T65" fmla="*/ 247 h 258"/>
                  <a:gd name="T66" fmla="*/ 179 w 286"/>
                  <a:gd name="T67" fmla="*/ 245 h 258"/>
                  <a:gd name="T68" fmla="*/ 179 w 286"/>
                  <a:gd name="T69" fmla="*/ 241 h 258"/>
                  <a:gd name="T70" fmla="*/ 172 w 286"/>
                  <a:gd name="T71" fmla="*/ 225 h 258"/>
                  <a:gd name="T72" fmla="*/ 169 w 286"/>
                  <a:gd name="T73" fmla="*/ 221 h 258"/>
                  <a:gd name="T74" fmla="*/ 165 w 286"/>
                  <a:gd name="T75" fmla="*/ 220 h 258"/>
                  <a:gd name="T76" fmla="*/ 164 w 286"/>
                  <a:gd name="T77" fmla="*/ 212 h 258"/>
                  <a:gd name="T78" fmla="*/ 162 w 286"/>
                  <a:gd name="T79" fmla="*/ 204 h 258"/>
                  <a:gd name="T80" fmla="*/ 154 w 286"/>
                  <a:gd name="T81" fmla="*/ 201 h 258"/>
                  <a:gd name="T82" fmla="*/ 156 w 286"/>
                  <a:gd name="T83" fmla="*/ 189 h 258"/>
                  <a:gd name="T84" fmla="*/ 172 w 286"/>
                  <a:gd name="T85" fmla="*/ 176 h 258"/>
                  <a:gd name="T86" fmla="*/ 177 w 286"/>
                  <a:gd name="T87" fmla="*/ 182 h 258"/>
                  <a:gd name="T88" fmla="*/ 194 w 286"/>
                  <a:gd name="T89" fmla="*/ 176 h 258"/>
                  <a:gd name="T90" fmla="*/ 198 w 286"/>
                  <a:gd name="T91" fmla="*/ 171 h 258"/>
                  <a:gd name="T92" fmla="*/ 207 w 286"/>
                  <a:gd name="T93" fmla="*/ 159 h 258"/>
                  <a:gd name="T94" fmla="*/ 221 w 286"/>
                  <a:gd name="T95" fmla="*/ 139 h 258"/>
                  <a:gd name="T96" fmla="*/ 231 w 286"/>
                  <a:gd name="T97" fmla="*/ 132 h 258"/>
                  <a:gd name="T98" fmla="*/ 231 w 286"/>
                  <a:gd name="T99" fmla="*/ 128 h 258"/>
                  <a:gd name="T100" fmla="*/ 243 w 286"/>
                  <a:gd name="T101" fmla="*/ 118 h 258"/>
                  <a:gd name="T102" fmla="*/ 241 w 286"/>
                  <a:gd name="T103" fmla="*/ 105 h 258"/>
                  <a:gd name="T104" fmla="*/ 253 w 286"/>
                  <a:gd name="T105" fmla="*/ 97 h 258"/>
                  <a:gd name="T106" fmla="*/ 248 w 286"/>
                  <a:gd name="T107" fmla="*/ 90 h 258"/>
                  <a:gd name="T108" fmla="*/ 238 w 286"/>
                  <a:gd name="T109" fmla="*/ 84 h 258"/>
                  <a:gd name="T110" fmla="*/ 234 w 286"/>
                  <a:gd name="T111" fmla="*/ 79 h 258"/>
                  <a:gd name="T112" fmla="*/ 231 w 286"/>
                  <a:gd name="T113" fmla="*/ 66 h 258"/>
                  <a:gd name="T114" fmla="*/ 233 w 286"/>
                  <a:gd name="T115" fmla="*/ 60 h 258"/>
                  <a:gd name="T116" fmla="*/ 228 w 286"/>
                  <a:gd name="T117" fmla="*/ 53 h 258"/>
                  <a:gd name="T118" fmla="*/ 251 w 286"/>
                  <a:gd name="T119" fmla="*/ 47 h 258"/>
                  <a:gd name="T120" fmla="*/ 267 w 286"/>
                  <a:gd name="T121" fmla="*/ 47 h 258"/>
                  <a:gd name="T122" fmla="*/ 280 w 286"/>
                  <a:gd name="T123" fmla="*/ 43 h 258"/>
                  <a:gd name="T124" fmla="*/ 286 w 286"/>
                  <a:gd name="T125" fmla="*/ 3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6" h="258">
                    <a:moveTo>
                      <a:pt x="286" y="37"/>
                    </a:moveTo>
                    <a:lnTo>
                      <a:pt x="283" y="33"/>
                    </a:lnTo>
                    <a:lnTo>
                      <a:pt x="281" y="30"/>
                    </a:lnTo>
                    <a:lnTo>
                      <a:pt x="281" y="28"/>
                    </a:lnTo>
                    <a:lnTo>
                      <a:pt x="280" y="27"/>
                    </a:lnTo>
                    <a:lnTo>
                      <a:pt x="278" y="26"/>
                    </a:lnTo>
                    <a:lnTo>
                      <a:pt x="277" y="26"/>
                    </a:lnTo>
                    <a:lnTo>
                      <a:pt x="277" y="24"/>
                    </a:lnTo>
                    <a:lnTo>
                      <a:pt x="277" y="23"/>
                    </a:lnTo>
                    <a:lnTo>
                      <a:pt x="273" y="24"/>
                    </a:lnTo>
                    <a:lnTo>
                      <a:pt x="271" y="24"/>
                    </a:lnTo>
                    <a:lnTo>
                      <a:pt x="270" y="24"/>
                    </a:lnTo>
                    <a:lnTo>
                      <a:pt x="270" y="23"/>
                    </a:lnTo>
                    <a:lnTo>
                      <a:pt x="267" y="20"/>
                    </a:lnTo>
                    <a:lnTo>
                      <a:pt x="266" y="18"/>
                    </a:lnTo>
                    <a:lnTo>
                      <a:pt x="266" y="18"/>
                    </a:lnTo>
                    <a:lnTo>
                      <a:pt x="266" y="18"/>
                    </a:lnTo>
                    <a:lnTo>
                      <a:pt x="267" y="17"/>
                    </a:lnTo>
                    <a:lnTo>
                      <a:pt x="267" y="13"/>
                    </a:lnTo>
                    <a:lnTo>
                      <a:pt x="266" y="10"/>
                    </a:lnTo>
                    <a:lnTo>
                      <a:pt x="266" y="8"/>
                    </a:lnTo>
                    <a:lnTo>
                      <a:pt x="264" y="7"/>
                    </a:lnTo>
                    <a:lnTo>
                      <a:pt x="263" y="5"/>
                    </a:lnTo>
                    <a:lnTo>
                      <a:pt x="258" y="5"/>
                    </a:lnTo>
                    <a:lnTo>
                      <a:pt x="257" y="5"/>
                    </a:lnTo>
                    <a:lnTo>
                      <a:pt x="257" y="4"/>
                    </a:lnTo>
                    <a:lnTo>
                      <a:pt x="257" y="4"/>
                    </a:lnTo>
                    <a:lnTo>
                      <a:pt x="255" y="3"/>
                    </a:lnTo>
                    <a:lnTo>
                      <a:pt x="255" y="1"/>
                    </a:lnTo>
                    <a:lnTo>
                      <a:pt x="253" y="1"/>
                    </a:lnTo>
                    <a:lnTo>
                      <a:pt x="251" y="1"/>
                    </a:lnTo>
                    <a:lnTo>
                      <a:pt x="250" y="1"/>
                    </a:lnTo>
                    <a:lnTo>
                      <a:pt x="247" y="1"/>
                    </a:lnTo>
                    <a:lnTo>
                      <a:pt x="245" y="0"/>
                    </a:lnTo>
                    <a:lnTo>
                      <a:pt x="244" y="0"/>
                    </a:lnTo>
                    <a:lnTo>
                      <a:pt x="243" y="0"/>
                    </a:lnTo>
                    <a:lnTo>
                      <a:pt x="241" y="0"/>
                    </a:lnTo>
                    <a:lnTo>
                      <a:pt x="234" y="3"/>
                    </a:lnTo>
                    <a:lnTo>
                      <a:pt x="231" y="4"/>
                    </a:lnTo>
                    <a:lnTo>
                      <a:pt x="230" y="3"/>
                    </a:lnTo>
                    <a:lnTo>
                      <a:pt x="224" y="3"/>
                    </a:lnTo>
                    <a:lnTo>
                      <a:pt x="221" y="3"/>
                    </a:lnTo>
                    <a:lnTo>
                      <a:pt x="211" y="3"/>
                    </a:lnTo>
                    <a:lnTo>
                      <a:pt x="205" y="4"/>
                    </a:lnTo>
                    <a:lnTo>
                      <a:pt x="199" y="5"/>
                    </a:lnTo>
                    <a:lnTo>
                      <a:pt x="198" y="7"/>
                    </a:lnTo>
                    <a:lnTo>
                      <a:pt x="194" y="10"/>
                    </a:lnTo>
                    <a:lnTo>
                      <a:pt x="192" y="11"/>
                    </a:lnTo>
                    <a:lnTo>
                      <a:pt x="191" y="11"/>
                    </a:lnTo>
                    <a:lnTo>
                      <a:pt x="189" y="13"/>
                    </a:lnTo>
                    <a:lnTo>
                      <a:pt x="188" y="13"/>
                    </a:lnTo>
                    <a:lnTo>
                      <a:pt x="187" y="14"/>
                    </a:lnTo>
                    <a:lnTo>
                      <a:pt x="187" y="14"/>
                    </a:lnTo>
                    <a:lnTo>
                      <a:pt x="185" y="17"/>
                    </a:lnTo>
                    <a:lnTo>
                      <a:pt x="184" y="18"/>
                    </a:lnTo>
                    <a:lnTo>
                      <a:pt x="184" y="20"/>
                    </a:lnTo>
                    <a:lnTo>
                      <a:pt x="184" y="21"/>
                    </a:lnTo>
                    <a:lnTo>
                      <a:pt x="187" y="23"/>
                    </a:lnTo>
                    <a:lnTo>
                      <a:pt x="187" y="26"/>
                    </a:lnTo>
                    <a:lnTo>
                      <a:pt x="188" y="27"/>
                    </a:lnTo>
                    <a:lnTo>
                      <a:pt x="189" y="30"/>
                    </a:lnTo>
                    <a:lnTo>
                      <a:pt x="189" y="31"/>
                    </a:lnTo>
                    <a:lnTo>
                      <a:pt x="189" y="33"/>
                    </a:lnTo>
                    <a:lnTo>
                      <a:pt x="189" y="33"/>
                    </a:lnTo>
                    <a:lnTo>
                      <a:pt x="188" y="34"/>
                    </a:lnTo>
                    <a:lnTo>
                      <a:pt x="189" y="34"/>
                    </a:lnTo>
                    <a:lnTo>
                      <a:pt x="189" y="36"/>
                    </a:lnTo>
                    <a:lnTo>
                      <a:pt x="189" y="36"/>
                    </a:lnTo>
                    <a:lnTo>
                      <a:pt x="189" y="37"/>
                    </a:lnTo>
                    <a:lnTo>
                      <a:pt x="188" y="38"/>
                    </a:lnTo>
                    <a:lnTo>
                      <a:pt x="187" y="41"/>
                    </a:lnTo>
                    <a:lnTo>
                      <a:pt x="181" y="47"/>
                    </a:lnTo>
                    <a:lnTo>
                      <a:pt x="179" y="50"/>
                    </a:lnTo>
                    <a:lnTo>
                      <a:pt x="179" y="50"/>
                    </a:lnTo>
                    <a:lnTo>
                      <a:pt x="179" y="50"/>
                    </a:lnTo>
                    <a:lnTo>
                      <a:pt x="178" y="50"/>
                    </a:lnTo>
                    <a:lnTo>
                      <a:pt x="179" y="51"/>
                    </a:lnTo>
                    <a:lnTo>
                      <a:pt x="181" y="53"/>
                    </a:lnTo>
                    <a:lnTo>
                      <a:pt x="181" y="54"/>
                    </a:lnTo>
                    <a:lnTo>
                      <a:pt x="179" y="59"/>
                    </a:lnTo>
                    <a:lnTo>
                      <a:pt x="177" y="60"/>
                    </a:lnTo>
                    <a:lnTo>
                      <a:pt x="171" y="61"/>
                    </a:lnTo>
                    <a:lnTo>
                      <a:pt x="166" y="61"/>
                    </a:lnTo>
                    <a:lnTo>
                      <a:pt x="162" y="60"/>
                    </a:lnTo>
                    <a:lnTo>
                      <a:pt x="159" y="60"/>
                    </a:lnTo>
                    <a:lnTo>
                      <a:pt x="159" y="63"/>
                    </a:lnTo>
                    <a:lnTo>
                      <a:pt x="159" y="64"/>
                    </a:lnTo>
                    <a:lnTo>
                      <a:pt x="164" y="67"/>
                    </a:lnTo>
                    <a:lnTo>
                      <a:pt x="165" y="70"/>
                    </a:lnTo>
                    <a:lnTo>
                      <a:pt x="165" y="72"/>
                    </a:lnTo>
                    <a:lnTo>
                      <a:pt x="166" y="73"/>
                    </a:lnTo>
                    <a:lnTo>
                      <a:pt x="165" y="74"/>
                    </a:lnTo>
                    <a:lnTo>
                      <a:pt x="162" y="76"/>
                    </a:lnTo>
                    <a:lnTo>
                      <a:pt x="161" y="77"/>
                    </a:lnTo>
                    <a:lnTo>
                      <a:pt x="155" y="79"/>
                    </a:lnTo>
                    <a:lnTo>
                      <a:pt x="154" y="79"/>
                    </a:lnTo>
                    <a:lnTo>
                      <a:pt x="152" y="80"/>
                    </a:lnTo>
                    <a:lnTo>
                      <a:pt x="152" y="83"/>
                    </a:lnTo>
                    <a:lnTo>
                      <a:pt x="151" y="86"/>
                    </a:lnTo>
                    <a:lnTo>
                      <a:pt x="151" y="87"/>
                    </a:lnTo>
                    <a:lnTo>
                      <a:pt x="149" y="90"/>
                    </a:lnTo>
                    <a:lnTo>
                      <a:pt x="149" y="92"/>
                    </a:lnTo>
                    <a:lnTo>
                      <a:pt x="148" y="93"/>
                    </a:lnTo>
                    <a:lnTo>
                      <a:pt x="148" y="99"/>
                    </a:lnTo>
                    <a:lnTo>
                      <a:pt x="148" y="100"/>
                    </a:lnTo>
                    <a:lnTo>
                      <a:pt x="146" y="103"/>
                    </a:lnTo>
                    <a:lnTo>
                      <a:pt x="145" y="105"/>
                    </a:lnTo>
                    <a:lnTo>
                      <a:pt x="143" y="106"/>
                    </a:lnTo>
                    <a:lnTo>
                      <a:pt x="142" y="106"/>
                    </a:lnTo>
                    <a:lnTo>
                      <a:pt x="141" y="106"/>
                    </a:lnTo>
                    <a:lnTo>
                      <a:pt x="139" y="106"/>
                    </a:lnTo>
                    <a:lnTo>
                      <a:pt x="139" y="105"/>
                    </a:lnTo>
                    <a:lnTo>
                      <a:pt x="139" y="105"/>
                    </a:lnTo>
                    <a:lnTo>
                      <a:pt x="138" y="103"/>
                    </a:lnTo>
                    <a:lnTo>
                      <a:pt x="136" y="103"/>
                    </a:lnTo>
                    <a:lnTo>
                      <a:pt x="133" y="103"/>
                    </a:lnTo>
                    <a:lnTo>
                      <a:pt x="132" y="103"/>
                    </a:lnTo>
                    <a:lnTo>
                      <a:pt x="129" y="103"/>
                    </a:lnTo>
                    <a:lnTo>
                      <a:pt x="128" y="103"/>
                    </a:lnTo>
                    <a:lnTo>
                      <a:pt x="122" y="107"/>
                    </a:lnTo>
                    <a:lnTo>
                      <a:pt x="120" y="107"/>
                    </a:lnTo>
                    <a:lnTo>
                      <a:pt x="120" y="109"/>
                    </a:lnTo>
                    <a:lnTo>
                      <a:pt x="119" y="109"/>
                    </a:lnTo>
                    <a:lnTo>
                      <a:pt x="119" y="109"/>
                    </a:lnTo>
                    <a:lnTo>
                      <a:pt x="119" y="110"/>
                    </a:lnTo>
                    <a:lnTo>
                      <a:pt x="120" y="110"/>
                    </a:lnTo>
                    <a:lnTo>
                      <a:pt x="122" y="112"/>
                    </a:lnTo>
                    <a:lnTo>
                      <a:pt x="120" y="112"/>
                    </a:lnTo>
                    <a:lnTo>
                      <a:pt x="119" y="113"/>
                    </a:lnTo>
                    <a:lnTo>
                      <a:pt x="116" y="113"/>
                    </a:lnTo>
                    <a:lnTo>
                      <a:pt x="115" y="115"/>
                    </a:lnTo>
                    <a:lnTo>
                      <a:pt x="112" y="113"/>
                    </a:lnTo>
                    <a:lnTo>
                      <a:pt x="109" y="113"/>
                    </a:lnTo>
                    <a:lnTo>
                      <a:pt x="108" y="113"/>
                    </a:lnTo>
                    <a:lnTo>
                      <a:pt x="105" y="113"/>
                    </a:lnTo>
                    <a:lnTo>
                      <a:pt x="103" y="115"/>
                    </a:lnTo>
                    <a:lnTo>
                      <a:pt x="99" y="120"/>
                    </a:lnTo>
                    <a:lnTo>
                      <a:pt x="98" y="122"/>
                    </a:lnTo>
                    <a:lnTo>
                      <a:pt x="96" y="123"/>
                    </a:lnTo>
                    <a:lnTo>
                      <a:pt x="95" y="136"/>
                    </a:lnTo>
                    <a:lnTo>
                      <a:pt x="96" y="136"/>
                    </a:lnTo>
                    <a:lnTo>
                      <a:pt x="96" y="138"/>
                    </a:lnTo>
                    <a:lnTo>
                      <a:pt x="96" y="138"/>
                    </a:lnTo>
                    <a:lnTo>
                      <a:pt x="96" y="139"/>
                    </a:lnTo>
                    <a:lnTo>
                      <a:pt x="95" y="141"/>
                    </a:lnTo>
                    <a:lnTo>
                      <a:pt x="95" y="141"/>
                    </a:lnTo>
                    <a:lnTo>
                      <a:pt x="90" y="142"/>
                    </a:lnTo>
                    <a:lnTo>
                      <a:pt x="77" y="145"/>
                    </a:lnTo>
                    <a:lnTo>
                      <a:pt x="67" y="145"/>
                    </a:lnTo>
                    <a:lnTo>
                      <a:pt x="63" y="146"/>
                    </a:lnTo>
                    <a:lnTo>
                      <a:pt x="62" y="146"/>
                    </a:lnTo>
                    <a:lnTo>
                      <a:pt x="59" y="148"/>
                    </a:lnTo>
                    <a:lnTo>
                      <a:pt x="59" y="148"/>
                    </a:lnTo>
                    <a:lnTo>
                      <a:pt x="57" y="148"/>
                    </a:lnTo>
                    <a:lnTo>
                      <a:pt x="49" y="148"/>
                    </a:lnTo>
                    <a:lnTo>
                      <a:pt x="46" y="148"/>
                    </a:lnTo>
                    <a:lnTo>
                      <a:pt x="34" y="148"/>
                    </a:lnTo>
                    <a:lnTo>
                      <a:pt x="29" y="148"/>
                    </a:lnTo>
                    <a:lnTo>
                      <a:pt x="21" y="146"/>
                    </a:lnTo>
                    <a:lnTo>
                      <a:pt x="0" y="141"/>
                    </a:lnTo>
                    <a:lnTo>
                      <a:pt x="6" y="146"/>
                    </a:lnTo>
                    <a:lnTo>
                      <a:pt x="8" y="151"/>
                    </a:lnTo>
                    <a:lnTo>
                      <a:pt x="13" y="158"/>
                    </a:lnTo>
                    <a:lnTo>
                      <a:pt x="14" y="161"/>
                    </a:lnTo>
                    <a:lnTo>
                      <a:pt x="17" y="164"/>
                    </a:lnTo>
                    <a:lnTo>
                      <a:pt x="21" y="166"/>
                    </a:lnTo>
                    <a:lnTo>
                      <a:pt x="27" y="168"/>
                    </a:lnTo>
                    <a:lnTo>
                      <a:pt x="29" y="169"/>
                    </a:lnTo>
                    <a:lnTo>
                      <a:pt x="30" y="169"/>
                    </a:lnTo>
                    <a:lnTo>
                      <a:pt x="31" y="171"/>
                    </a:lnTo>
                    <a:lnTo>
                      <a:pt x="31" y="171"/>
                    </a:lnTo>
                    <a:lnTo>
                      <a:pt x="33" y="171"/>
                    </a:lnTo>
                    <a:lnTo>
                      <a:pt x="34" y="171"/>
                    </a:lnTo>
                    <a:lnTo>
                      <a:pt x="34" y="172"/>
                    </a:lnTo>
                    <a:lnTo>
                      <a:pt x="34" y="176"/>
                    </a:lnTo>
                    <a:lnTo>
                      <a:pt x="34" y="184"/>
                    </a:lnTo>
                    <a:lnTo>
                      <a:pt x="34" y="185"/>
                    </a:lnTo>
                    <a:lnTo>
                      <a:pt x="34" y="189"/>
                    </a:lnTo>
                    <a:lnTo>
                      <a:pt x="34" y="191"/>
                    </a:lnTo>
                    <a:lnTo>
                      <a:pt x="36" y="191"/>
                    </a:lnTo>
                    <a:lnTo>
                      <a:pt x="39" y="191"/>
                    </a:lnTo>
                    <a:lnTo>
                      <a:pt x="42" y="192"/>
                    </a:lnTo>
                    <a:lnTo>
                      <a:pt x="43" y="194"/>
                    </a:lnTo>
                    <a:lnTo>
                      <a:pt x="43" y="195"/>
                    </a:lnTo>
                    <a:lnTo>
                      <a:pt x="43" y="198"/>
                    </a:lnTo>
                    <a:lnTo>
                      <a:pt x="42" y="201"/>
                    </a:lnTo>
                    <a:lnTo>
                      <a:pt x="40" y="202"/>
                    </a:lnTo>
                    <a:lnTo>
                      <a:pt x="33" y="204"/>
                    </a:lnTo>
                    <a:lnTo>
                      <a:pt x="30" y="204"/>
                    </a:lnTo>
                    <a:lnTo>
                      <a:pt x="29" y="205"/>
                    </a:lnTo>
                    <a:lnTo>
                      <a:pt x="27" y="205"/>
                    </a:lnTo>
                    <a:lnTo>
                      <a:pt x="26" y="205"/>
                    </a:lnTo>
                    <a:lnTo>
                      <a:pt x="26" y="207"/>
                    </a:lnTo>
                    <a:lnTo>
                      <a:pt x="26" y="208"/>
                    </a:lnTo>
                    <a:lnTo>
                      <a:pt x="24" y="208"/>
                    </a:lnTo>
                    <a:lnTo>
                      <a:pt x="24" y="208"/>
                    </a:lnTo>
                    <a:lnTo>
                      <a:pt x="23" y="208"/>
                    </a:lnTo>
                    <a:lnTo>
                      <a:pt x="20" y="211"/>
                    </a:lnTo>
                    <a:lnTo>
                      <a:pt x="19" y="212"/>
                    </a:lnTo>
                    <a:lnTo>
                      <a:pt x="17" y="214"/>
                    </a:lnTo>
                    <a:lnTo>
                      <a:pt x="17" y="218"/>
                    </a:lnTo>
                    <a:lnTo>
                      <a:pt x="16" y="220"/>
                    </a:lnTo>
                    <a:lnTo>
                      <a:pt x="14" y="222"/>
                    </a:lnTo>
                    <a:lnTo>
                      <a:pt x="14" y="224"/>
                    </a:lnTo>
                    <a:lnTo>
                      <a:pt x="14" y="230"/>
                    </a:lnTo>
                    <a:lnTo>
                      <a:pt x="13" y="231"/>
                    </a:lnTo>
                    <a:lnTo>
                      <a:pt x="16" y="233"/>
                    </a:lnTo>
                    <a:lnTo>
                      <a:pt x="17" y="233"/>
                    </a:lnTo>
                    <a:lnTo>
                      <a:pt x="23" y="231"/>
                    </a:lnTo>
                    <a:lnTo>
                      <a:pt x="27" y="231"/>
                    </a:lnTo>
                    <a:lnTo>
                      <a:pt x="29" y="231"/>
                    </a:lnTo>
                    <a:lnTo>
                      <a:pt x="29" y="231"/>
                    </a:lnTo>
                    <a:lnTo>
                      <a:pt x="31" y="230"/>
                    </a:lnTo>
                    <a:lnTo>
                      <a:pt x="31" y="230"/>
                    </a:lnTo>
                    <a:lnTo>
                      <a:pt x="33" y="230"/>
                    </a:lnTo>
                    <a:lnTo>
                      <a:pt x="37" y="231"/>
                    </a:lnTo>
                    <a:lnTo>
                      <a:pt x="47" y="231"/>
                    </a:lnTo>
                    <a:lnTo>
                      <a:pt x="47" y="230"/>
                    </a:lnTo>
                    <a:lnTo>
                      <a:pt x="49" y="228"/>
                    </a:lnTo>
                    <a:lnTo>
                      <a:pt x="50" y="228"/>
                    </a:lnTo>
                    <a:lnTo>
                      <a:pt x="57" y="228"/>
                    </a:lnTo>
                    <a:lnTo>
                      <a:pt x="57" y="228"/>
                    </a:lnTo>
                    <a:lnTo>
                      <a:pt x="59" y="228"/>
                    </a:lnTo>
                    <a:lnTo>
                      <a:pt x="63" y="230"/>
                    </a:lnTo>
                    <a:lnTo>
                      <a:pt x="64" y="230"/>
                    </a:lnTo>
                    <a:lnTo>
                      <a:pt x="64" y="230"/>
                    </a:lnTo>
                    <a:lnTo>
                      <a:pt x="66" y="231"/>
                    </a:lnTo>
                    <a:lnTo>
                      <a:pt x="66" y="231"/>
                    </a:lnTo>
                    <a:lnTo>
                      <a:pt x="67" y="231"/>
                    </a:lnTo>
                    <a:lnTo>
                      <a:pt x="69" y="230"/>
                    </a:lnTo>
                    <a:lnTo>
                      <a:pt x="69" y="230"/>
                    </a:lnTo>
                    <a:lnTo>
                      <a:pt x="73" y="228"/>
                    </a:lnTo>
                    <a:lnTo>
                      <a:pt x="86" y="228"/>
                    </a:lnTo>
                    <a:lnTo>
                      <a:pt x="96" y="227"/>
                    </a:lnTo>
                    <a:lnTo>
                      <a:pt x="99" y="227"/>
                    </a:lnTo>
                    <a:lnTo>
                      <a:pt x="98" y="225"/>
                    </a:lnTo>
                    <a:lnTo>
                      <a:pt x="96" y="225"/>
                    </a:lnTo>
                    <a:lnTo>
                      <a:pt x="95" y="225"/>
                    </a:lnTo>
                    <a:lnTo>
                      <a:pt x="93" y="225"/>
                    </a:lnTo>
                    <a:lnTo>
                      <a:pt x="96" y="222"/>
                    </a:lnTo>
                    <a:lnTo>
                      <a:pt x="99" y="224"/>
                    </a:lnTo>
                    <a:lnTo>
                      <a:pt x="100" y="227"/>
                    </a:lnTo>
                    <a:lnTo>
                      <a:pt x="103" y="230"/>
                    </a:lnTo>
                    <a:lnTo>
                      <a:pt x="103" y="231"/>
                    </a:lnTo>
                    <a:lnTo>
                      <a:pt x="103" y="234"/>
                    </a:lnTo>
                    <a:lnTo>
                      <a:pt x="103" y="235"/>
                    </a:lnTo>
                    <a:lnTo>
                      <a:pt x="103" y="237"/>
                    </a:lnTo>
                    <a:lnTo>
                      <a:pt x="105" y="238"/>
                    </a:lnTo>
                    <a:lnTo>
                      <a:pt x="106" y="238"/>
                    </a:lnTo>
                    <a:lnTo>
                      <a:pt x="109" y="238"/>
                    </a:lnTo>
                    <a:lnTo>
                      <a:pt x="112" y="241"/>
                    </a:lnTo>
                    <a:lnTo>
                      <a:pt x="112" y="243"/>
                    </a:lnTo>
                    <a:lnTo>
                      <a:pt x="113" y="247"/>
                    </a:lnTo>
                    <a:lnTo>
                      <a:pt x="113" y="250"/>
                    </a:lnTo>
                    <a:lnTo>
                      <a:pt x="115" y="253"/>
                    </a:lnTo>
                    <a:lnTo>
                      <a:pt x="116" y="254"/>
                    </a:lnTo>
                    <a:lnTo>
                      <a:pt x="118" y="255"/>
                    </a:lnTo>
                    <a:lnTo>
                      <a:pt x="120" y="255"/>
                    </a:lnTo>
                    <a:lnTo>
                      <a:pt x="120" y="257"/>
                    </a:lnTo>
                    <a:lnTo>
                      <a:pt x="122" y="258"/>
                    </a:lnTo>
                    <a:lnTo>
                      <a:pt x="123" y="257"/>
                    </a:lnTo>
                    <a:lnTo>
                      <a:pt x="123" y="255"/>
                    </a:lnTo>
                    <a:lnTo>
                      <a:pt x="125" y="257"/>
                    </a:lnTo>
                    <a:lnTo>
                      <a:pt x="126" y="257"/>
                    </a:lnTo>
                    <a:lnTo>
                      <a:pt x="128" y="258"/>
                    </a:lnTo>
                    <a:lnTo>
                      <a:pt x="128" y="258"/>
                    </a:lnTo>
                    <a:lnTo>
                      <a:pt x="129" y="258"/>
                    </a:lnTo>
                    <a:lnTo>
                      <a:pt x="129" y="258"/>
                    </a:lnTo>
                    <a:lnTo>
                      <a:pt x="129" y="257"/>
                    </a:lnTo>
                    <a:lnTo>
                      <a:pt x="129" y="257"/>
                    </a:lnTo>
                    <a:lnTo>
                      <a:pt x="131" y="257"/>
                    </a:lnTo>
                    <a:lnTo>
                      <a:pt x="132" y="255"/>
                    </a:lnTo>
                    <a:lnTo>
                      <a:pt x="132" y="255"/>
                    </a:lnTo>
                    <a:lnTo>
                      <a:pt x="133" y="255"/>
                    </a:lnTo>
                    <a:lnTo>
                      <a:pt x="135" y="255"/>
                    </a:lnTo>
                    <a:lnTo>
                      <a:pt x="136" y="255"/>
                    </a:lnTo>
                    <a:lnTo>
                      <a:pt x="136" y="255"/>
                    </a:lnTo>
                    <a:lnTo>
                      <a:pt x="139" y="255"/>
                    </a:lnTo>
                    <a:lnTo>
                      <a:pt x="139" y="251"/>
                    </a:lnTo>
                    <a:lnTo>
                      <a:pt x="139" y="250"/>
                    </a:lnTo>
                    <a:lnTo>
                      <a:pt x="141" y="248"/>
                    </a:lnTo>
                    <a:lnTo>
                      <a:pt x="141" y="248"/>
                    </a:lnTo>
                    <a:lnTo>
                      <a:pt x="141" y="248"/>
                    </a:lnTo>
                    <a:lnTo>
                      <a:pt x="141" y="248"/>
                    </a:lnTo>
                    <a:lnTo>
                      <a:pt x="141" y="250"/>
                    </a:lnTo>
                    <a:lnTo>
                      <a:pt x="142" y="248"/>
                    </a:lnTo>
                    <a:lnTo>
                      <a:pt x="142" y="248"/>
                    </a:lnTo>
                    <a:lnTo>
                      <a:pt x="143" y="248"/>
                    </a:lnTo>
                    <a:lnTo>
                      <a:pt x="143" y="250"/>
                    </a:lnTo>
                    <a:lnTo>
                      <a:pt x="145" y="248"/>
                    </a:lnTo>
                    <a:lnTo>
                      <a:pt x="146" y="250"/>
                    </a:lnTo>
                    <a:lnTo>
                      <a:pt x="148" y="250"/>
                    </a:lnTo>
                    <a:lnTo>
                      <a:pt x="154" y="250"/>
                    </a:lnTo>
                    <a:lnTo>
                      <a:pt x="156" y="251"/>
                    </a:lnTo>
                    <a:lnTo>
                      <a:pt x="158" y="251"/>
                    </a:lnTo>
                    <a:lnTo>
                      <a:pt x="161" y="251"/>
                    </a:lnTo>
                    <a:lnTo>
                      <a:pt x="161" y="251"/>
                    </a:lnTo>
                    <a:lnTo>
                      <a:pt x="162" y="251"/>
                    </a:lnTo>
                    <a:lnTo>
                      <a:pt x="162" y="250"/>
                    </a:lnTo>
                    <a:lnTo>
                      <a:pt x="162" y="250"/>
                    </a:lnTo>
                    <a:lnTo>
                      <a:pt x="164" y="250"/>
                    </a:lnTo>
                    <a:lnTo>
                      <a:pt x="164" y="248"/>
                    </a:lnTo>
                    <a:lnTo>
                      <a:pt x="164" y="248"/>
                    </a:lnTo>
                    <a:lnTo>
                      <a:pt x="165" y="248"/>
                    </a:lnTo>
                    <a:lnTo>
                      <a:pt x="166" y="247"/>
                    </a:lnTo>
                    <a:lnTo>
                      <a:pt x="171" y="247"/>
                    </a:lnTo>
                    <a:lnTo>
                      <a:pt x="171" y="247"/>
                    </a:lnTo>
                    <a:lnTo>
                      <a:pt x="171" y="247"/>
                    </a:lnTo>
                    <a:lnTo>
                      <a:pt x="171" y="247"/>
                    </a:lnTo>
                    <a:lnTo>
                      <a:pt x="171" y="247"/>
                    </a:lnTo>
                    <a:lnTo>
                      <a:pt x="171" y="248"/>
                    </a:lnTo>
                    <a:lnTo>
                      <a:pt x="171" y="248"/>
                    </a:lnTo>
                    <a:lnTo>
                      <a:pt x="171" y="248"/>
                    </a:lnTo>
                    <a:lnTo>
                      <a:pt x="171" y="248"/>
                    </a:lnTo>
                    <a:lnTo>
                      <a:pt x="172" y="248"/>
                    </a:lnTo>
                    <a:lnTo>
                      <a:pt x="172" y="250"/>
                    </a:lnTo>
                    <a:lnTo>
                      <a:pt x="172" y="250"/>
                    </a:lnTo>
                    <a:lnTo>
                      <a:pt x="172" y="250"/>
                    </a:lnTo>
                    <a:lnTo>
                      <a:pt x="172" y="250"/>
                    </a:lnTo>
                    <a:lnTo>
                      <a:pt x="174" y="250"/>
                    </a:lnTo>
                    <a:lnTo>
                      <a:pt x="174" y="250"/>
                    </a:lnTo>
                    <a:lnTo>
                      <a:pt x="174" y="250"/>
                    </a:lnTo>
                    <a:lnTo>
                      <a:pt x="175" y="250"/>
                    </a:lnTo>
                    <a:lnTo>
                      <a:pt x="175" y="250"/>
                    </a:lnTo>
                    <a:lnTo>
                      <a:pt x="175" y="250"/>
                    </a:lnTo>
                    <a:lnTo>
                      <a:pt x="175" y="250"/>
                    </a:lnTo>
                    <a:lnTo>
                      <a:pt x="177" y="248"/>
                    </a:lnTo>
                    <a:lnTo>
                      <a:pt x="177" y="248"/>
                    </a:lnTo>
                    <a:lnTo>
                      <a:pt x="177" y="248"/>
                    </a:lnTo>
                    <a:lnTo>
                      <a:pt x="178" y="247"/>
                    </a:lnTo>
                    <a:lnTo>
                      <a:pt x="178" y="247"/>
                    </a:lnTo>
                    <a:lnTo>
                      <a:pt x="179" y="247"/>
                    </a:lnTo>
                    <a:lnTo>
                      <a:pt x="179" y="247"/>
                    </a:lnTo>
                    <a:lnTo>
                      <a:pt x="179" y="247"/>
                    </a:lnTo>
                    <a:lnTo>
                      <a:pt x="179" y="247"/>
                    </a:lnTo>
                    <a:lnTo>
                      <a:pt x="179" y="247"/>
                    </a:lnTo>
                    <a:lnTo>
                      <a:pt x="179" y="247"/>
                    </a:lnTo>
                    <a:lnTo>
                      <a:pt x="179" y="245"/>
                    </a:lnTo>
                    <a:lnTo>
                      <a:pt x="179" y="245"/>
                    </a:lnTo>
                    <a:lnTo>
                      <a:pt x="179" y="245"/>
                    </a:lnTo>
                    <a:lnTo>
                      <a:pt x="179" y="245"/>
                    </a:lnTo>
                    <a:lnTo>
                      <a:pt x="179" y="245"/>
                    </a:lnTo>
                    <a:lnTo>
                      <a:pt x="179" y="245"/>
                    </a:lnTo>
                    <a:lnTo>
                      <a:pt x="179" y="245"/>
                    </a:lnTo>
                    <a:lnTo>
                      <a:pt x="178" y="245"/>
                    </a:lnTo>
                    <a:lnTo>
                      <a:pt x="178" y="243"/>
                    </a:lnTo>
                    <a:lnTo>
                      <a:pt x="179" y="243"/>
                    </a:lnTo>
                    <a:lnTo>
                      <a:pt x="179" y="241"/>
                    </a:lnTo>
                    <a:lnTo>
                      <a:pt x="179" y="241"/>
                    </a:lnTo>
                    <a:lnTo>
                      <a:pt x="179" y="241"/>
                    </a:lnTo>
                    <a:lnTo>
                      <a:pt x="179" y="240"/>
                    </a:lnTo>
                    <a:lnTo>
                      <a:pt x="179" y="238"/>
                    </a:lnTo>
                    <a:lnTo>
                      <a:pt x="178" y="235"/>
                    </a:lnTo>
                    <a:lnTo>
                      <a:pt x="177" y="234"/>
                    </a:lnTo>
                    <a:lnTo>
                      <a:pt x="177" y="233"/>
                    </a:lnTo>
                    <a:lnTo>
                      <a:pt x="175" y="230"/>
                    </a:lnTo>
                    <a:lnTo>
                      <a:pt x="174" y="228"/>
                    </a:lnTo>
                    <a:lnTo>
                      <a:pt x="174" y="228"/>
                    </a:lnTo>
                    <a:lnTo>
                      <a:pt x="174" y="227"/>
                    </a:lnTo>
                    <a:lnTo>
                      <a:pt x="172" y="225"/>
                    </a:lnTo>
                    <a:lnTo>
                      <a:pt x="172" y="225"/>
                    </a:lnTo>
                    <a:lnTo>
                      <a:pt x="174" y="224"/>
                    </a:lnTo>
                    <a:lnTo>
                      <a:pt x="172" y="222"/>
                    </a:lnTo>
                    <a:lnTo>
                      <a:pt x="172" y="222"/>
                    </a:lnTo>
                    <a:lnTo>
                      <a:pt x="172" y="221"/>
                    </a:lnTo>
                    <a:lnTo>
                      <a:pt x="171" y="221"/>
                    </a:lnTo>
                    <a:lnTo>
                      <a:pt x="171" y="221"/>
                    </a:lnTo>
                    <a:lnTo>
                      <a:pt x="171" y="221"/>
                    </a:lnTo>
                    <a:lnTo>
                      <a:pt x="169" y="221"/>
                    </a:lnTo>
                    <a:lnTo>
                      <a:pt x="169" y="221"/>
                    </a:lnTo>
                    <a:lnTo>
                      <a:pt x="169" y="221"/>
                    </a:lnTo>
                    <a:lnTo>
                      <a:pt x="169" y="221"/>
                    </a:lnTo>
                    <a:lnTo>
                      <a:pt x="168" y="222"/>
                    </a:lnTo>
                    <a:lnTo>
                      <a:pt x="168" y="221"/>
                    </a:lnTo>
                    <a:lnTo>
                      <a:pt x="168" y="221"/>
                    </a:lnTo>
                    <a:lnTo>
                      <a:pt x="166" y="221"/>
                    </a:lnTo>
                    <a:lnTo>
                      <a:pt x="166" y="221"/>
                    </a:lnTo>
                    <a:lnTo>
                      <a:pt x="165" y="221"/>
                    </a:lnTo>
                    <a:lnTo>
                      <a:pt x="165" y="220"/>
                    </a:lnTo>
                    <a:lnTo>
                      <a:pt x="165" y="220"/>
                    </a:lnTo>
                    <a:lnTo>
                      <a:pt x="164" y="217"/>
                    </a:lnTo>
                    <a:lnTo>
                      <a:pt x="164" y="217"/>
                    </a:lnTo>
                    <a:lnTo>
                      <a:pt x="162" y="217"/>
                    </a:lnTo>
                    <a:lnTo>
                      <a:pt x="162" y="215"/>
                    </a:lnTo>
                    <a:lnTo>
                      <a:pt x="162" y="215"/>
                    </a:lnTo>
                    <a:lnTo>
                      <a:pt x="162" y="214"/>
                    </a:lnTo>
                    <a:lnTo>
                      <a:pt x="162" y="214"/>
                    </a:lnTo>
                    <a:lnTo>
                      <a:pt x="164" y="214"/>
                    </a:lnTo>
                    <a:lnTo>
                      <a:pt x="164" y="212"/>
                    </a:lnTo>
                    <a:lnTo>
                      <a:pt x="164" y="212"/>
                    </a:lnTo>
                    <a:lnTo>
                      <a:pt x="164" y="211"/>
                    </a:lnTo>
                    <a:lnTo>
                      <a:pt x="164" y="211"/>
                    </a:lnTo>
                    <a:lnTo>
                      <a:pt x="164" y="210"/>
                    </a:lnTo>
                    <a:lnTo>
                      <a:pt x="164" y="208"/>
                    </a:lnTo>
                    <a:lnTo>
                      <a:pt x="164" y="207"/>
                    </a:lnTo>
                    <a:lnTo>
                      <a:pt x="164" y="205"/>
                    </a:lnTo>
                    <a:lnTo>
                      <a:pt x="164" y="205"/>
                    </a:lnTo>
                    <a:lnTo>
                      <a:pt x="164" y="205"/>
                    </a:lnTo>
                    <a:lnTo>
                      <a:pt x="164" y="204"/>
                    </a:lnTo>
                    <a:lnTo>
                      <a:pt x="162" y="204"/>
                    </a:lnTo>
                    <a:lnTo>
                      <a:pt x="161" y="204"/>
                    </a:lnTo>
                    <a:lnTo>
                      <a:pt x="161" y="204"/>
                    </a:lnTo>
                    <a:lnTo>
                      <a:pt x="159" y="204"/>
                    </a:lnTo>
                    <a:lnTo>
                      <a:pt x="159" y="204"/>
                    </a:lnTo>
                    <a:lnTo>
                      <a:pt x="158" y="204"/>
                    </a:lnTo>
                    <a:lnTo>
                      <a:pt x="158" y="204"/>
                    </a:lnTo>
                    <a:lnTo>
                      <a:pt x="156" y="204"/>
                    </a:lnTo>
                    <a:lnTo>
                      <a:pt x="156" y="202"/>
                    </a:lnTo>
                    <a:lnTo>
                      <a:pt x="155" y="202"/>
                    </a:lnTo>
                    <a:lnTo>
                      <a:pt x="154" y="201"/>
                    </a:lnTo>
                    <a:lnTo>
                      <a:pt x="154" y="201"/>
                    </a:lnTo>
                    <a:lnTo>
                      <a:pt x="152" y="201"/>
                    </a:lnTo>
                    <a:lnTo>
                      <a:pt x="152" y="199"/>
                    </a:lnTo>
                    <a:lnTo>
                      <a:pt x="152" y="197"/>
                    </a:lnTo>
                    <a:lnTo>
                      <a:pt x="152" y="195"/>
                    </a:lnTo>
                    <a:lnTo>
                      <a:pt x="154" y="194"/>
                    </a:lnTo>
                    <a:lnTo>
                      <a:pt x="154" y="192"/>
                    </a:lnTo>
                    <a:lnTo>
                      <a:pt x="155" y="191"/>
                    </a:lnTo>
                    <a:lnTo>
                      <a:pt x="155" y="191"/>
                    </a:lnTo>
                    <a:lnTo>
                      <a:pt x="156" y="189"/>
                    </a:lnTo>
                    <a:lnTo>
                      <a:pt x="156" y="189"/>
                    </a:lnTo>
                    <a:lnTo>
                      <a:pt x="159" y="187"/>
                    </a:lnTo>
                    <a:lnTo>
                      <a:pt x="162" y="182"/>
                    </a:lnTo>
                    <a:lnTo>
                      <a:pt x="164" y="179"/>
                    </a:lnTo>
                    <a:lnTo>
                      <a:pt x="165" y="178"/>
                    </a:lnTo>
                    <a:lnTo>
                      <a:pt x="165" y="178"/>
                    </a:lnTo>
                    <a:lnTo>
                      <a:pt x="166" y="176"/>
                    </a:lnTo>
                    <a:lnTo>
                      <a:pt x="168" y="175"/>
                    </a:lnTo>
                    <a:lnTo>
                      <a:pt x="171" y="175"/>
                    </a:lnTo>
                    <a:lnTo>
                      <a:pt x="172" y="176"/>
                    </a:lnTo>
                    <a:lnTo>
                      <a:pt x="172" y="178"/>
                    </a:lnTo>
                    <a:lnTo>
                      <a:pt x="172" y="179"/>
                    </a:lnTo>
                    <a:lnTo>
                      <a:pt x="174" y="179"/>
                    </a:lnTo>
                    <a:lnTo>
                      <a:pt x="174" y="181"/>
                    </a:lnTo>
                    <a:lnTo>
                      <a:pt x="174" y="181"/>
                    </a:lnTo>
                    <a:lnTo>
                      <a:pt x="174" y="181"/>
                    </a:lnTo>
                    <a:lnTo>
                      <a:pt x="175" y="182"/>
                    </a:lnTo>
                    <a:lnTo>
                      <a:pt x="175" y="182"/>
                    </a:lnTo>
                    <a:lnTo>
                      <a:pt x="177" y="182"/>
                    </a:lnTo>
                    <a:lnTo>
                      <a:pt x="177" y="182"/>
                    </a:lnTo>
                    <a:lnTo>
                      <a:pt x="179" y="181"/>
                    </a:lnTo>
                    <a:lnTo>
                      <a:pt x="181" y="179"/>
                    </a:lnTo>
                    <a:lnTo>
                      <a:pt x="184" y="179"/>
                    </a:lnTo>
                    <a:lnTo>
                      <a:pt x="185" y="179"/>
                    </a:lnTo>
                    <a:lnTo>
                      <a:pt x="187" y="179"/>
                    </a:lnTo>
                    <a:lnTo>
                      <a:pt x="187" y="179"/>
                    </a:lnTo>
                    <a:lnTo>
                      <a:pt x="188" y="178"/>
                    </a:lnTo>
                    <a:lnTo>
                      <a:pt x="189" y="178"/>
                    </a:lnTo>
                    <a:lnTo>
                      <a:pt x="189" y="178"/>
                    </a:lnTo>
                    <a:lnTo>
                      <a:pt x="194" y="176"/>
                    </a:lnTo>
                    <a:lnTo>
                      <a:pt x="194" y="176"/>
                    </a:lnTo>
                    <a:lnTo>
                      <a:pt x="195" y="175"/>
                    </a:lnTo>
                    <a:lnTo>
                      <a:pt x="195" y="175"/>
                    </a:lnTo>
                    <a:lnTo>
                      <a:pt x="195" y="174"/>
                    </a:lnTo>
                    <a:lnTo>
                      <a:pt x="195" y="174"/>
                    </a:lnTo>
                    <a:lnTo>
                      <a:pt x="195" y="174"/>
                    </a:lnTo>
                    <a:lnTo>
                      <a:pt x="197" y="172"/>
                    </a:lnTo>
                    <a:lnTo>
                      <a:pt x="197" y="171"/>
                    </a:lnTo>
                    <a:lnTo>
                      <a:pt x="197" y="171"/>
                    </a:lnTo>
                    <a:lnTo>
                      <a:pt x="198" y="171"/>
                    </a:lnTo>
                    <a:lnTo>
                      <a:pt x="198" y="169"/>
                    </a:lnTo>
                    <a:lnTo>
                      <a:pt x="199" y="169"/>
                    </a:lnTo>
                    <a:lnTo>
                      <a:pt x="199" y="168"/>
                    </a:lnTo>
                    <a:lnTo>
                      <a:pt x="199" y="168"/>
                    </a:lnTo>
                    <a:lnTo>
                      <a:pt x="199" y="168"/>
                    </a:lnTo>
                    <a:lnTo>
                      <a:pt x="199" y="166"/>
                    </a:lnTo>
                    <a:lnTo>
                      <a:pt x="199" y="166"/>
                    </a:lnTo>
                    <a:lnTo>
                      <a:pt x="202" y="164"/>
                    </a:lnTo>
                    <a:lnTo>
                      <a:pt x="204" y="161"/>
                    </a:lnTo>
                    <a:lnTo>
                      <a:pt x="207" y="159"/>
                    </a:lnTo>
                    <a:lnTo>
                      <a:pt x="210" y="158"/>
                    </a:lnTo>
                    <a:lnTo>
                      <a:pt x="211" y="156"/>
                    </a:lnTo>
                    <a:lnTo>
                      <a:pt x="212" y="156"/>
                    </a:lnTo>
                    <a:lnTo>
                      <a:pt x="212" y="155"/>
                    </a:lnTo>
                    <a:lnTo>
                      <a:pt x="214" y="155"/>
                    </a:lnTo>
                    <a:lnTo>
                      <a:pt x="215" y="152"/>
                    </a:lnTo>
                    <a:lnTo>
                      <a:pt x="217" y="148"/>
                    </a:lnTo>
                    <a:lnTo>
                      <a:pt x="218" y="145"/>
                    </a:lnTo>
                    <a:lnTo>
                      <a:pt x="220" y="141"/>
                    </a:lnTo>
                    <a:lnTo>
                      <a:pt x="221" y="139"/>
                    </a:lnTo>
                    <a:lnTo>
                      <a:pt x="221" y="139"/>
                    </a:lnTo>
                    <a:lnTo>
                      <a:pt x="221" y="138"/>
                    </a:lnTo>
                    <a:lnTo>
                      <a:pt x="222" y="138"/>
                    </a:lnTo>
                    <a:lnTo>
                      <a:pt x="225" y="136"/>
                    </a:lnTo>
                    <a:lnTo>
                      <a:pt x="228" y="135"/>
                    </a:lnTo>
                    <a:lnTo>
                      <a:pt x="230" y="135"/>
                    </a:lnTo>
                    <a:lnTo>
                      <a:pt x="230" y="135"/>
                    </a:lnTo>
                    <a:lnTo>
                      <a:pt x="230" y="133"/>
                    </a:lnTo>
                    <a:lnTo>
                      <a:pt x="231" y="133"/>
                    </a:lnTo>
                    <a:lnTo>
                      <a:pt x="231" y="132"/>
                    </a:lnTo>
                    <a:lnTo>
                      <a:pt x="231" y="132"/>
                    </a:lnTo>
                    <a:lnTo>
                      <a:pt x="230" y="132"/>
                    </a:lnTo>
                    <a:lnTo>
                      <a:pt x="230" y="132"/>
                    </a:lnTo>
                    <a:lnTo>
                      <a:pt x="230" y="130"/>
                    </a:lnTo>
                    <a:lnTo>
                      <a:pt x="230" y="130"/>
                    </a:lnTo>
                    <a:lnTo>
                      <a:pt x="230" y="129"/>
                    </a:lnTo>
                    <a:lnTo>
                      <a:pt x="230" y="129"/>
                    </a:lnTo>
                    <a:lnTo>
                      <a:pt x="231" y="129"/>
                    </a:lnTo>
                    <a:lnTo>
                      <a:pt x="231" y="128"/>
                    </a:lnTo>
                    <a:lnTo>
                      <a:pt x="231" y="128"/>
                    </a:lnTo>
                    <a:lnTo>
                      <a:pt x="233" y="126"/>
                    </a:lnTo>
                    <a:lnTo>
                      <a:pt x="233" y="126"/>
                    </a:lnTo>
                    <a:lnTo>
                      <a:pt x="234" y="125"/>
                    </a:lnTo>
                    <a:lnTo>
                      <a:pt x="235" y="123"/>
                    </a:lnTo>
                    <a:lnTo>
                      <a:pt x="237" y="120"/>
                    </a:lnTo>
                    <a:lnTo>
                      <a:pt x="238" y="120"/>
                    </a:lnTo>
                    <a:lnTo>
                      <a:pt x="238" y="120"/>
                    </a:lnTo>
                    <a:lnTo>
                      <a:pt x="240" y="119"/>
                    </a:lnTo>
                    <a:lnTo>
                      <a:pt x="243" y="118"/>
                    </a:lnTo>
                    <a:lnTo>
                      <a:pt x="243" y="118"/>
                    </a:lnTo>
                    <a:lnTo>
                      <a:pt x="243" y="116"/>
                    </a:lnTo>
                    <a:lnTo>
                      <a:pt x="241" y="116"/>
                    </a:lnTo>
                    <a:lnTo>
                      <a:pt x="241" y="116"/>
                    </a:lnTo>
                    <a:lnTo>
                      <a:pt x="241" y="115"/>
                    </a:lnTo>
                    <a:lnTo>
                      <a:pt x="241" y="115"/>
                    </a:lnTo>
                    <a:lnTo>
                      <a:pt x="241" y="112"/>
                    </a:lnTo>
                    <a:lnTo>
                      <a:pt x="241" y="110"/>
                    </a:lnTo>
                    <a:lnTo>
                      <a:pt x="241" y="107"/>
                    </a:lnTo>
                    <a:lnTo>
                      <a:pt x="241" y="105"/>
                    </a:lnTo>
                    <a:lnTo>
                      <a:pt x="241" y="105"/>
                    </a:lnTo>
                    <a:lnTo>
                      <a:pt x="241" y="103"/>
                    </a:lnTo>
                    <a:lnTo>
                      <a:pt x="241" y="103"/>
                    </a:lnTo>
                    <a:lnTo>
                      <a:pt x="241" y="103"/>
                    </a:lnTo>
                    <a:lnTo>
                      <a:pt x="243" y="102"/>
                    </a:lnTo>
                    <a:lnTo>
                      <a:pt x="244" y="100"/>
                    </a:lnTo>
                    <a:lnTo>
                      <a:pt x="245" y="100"/>
                    </a:lnTo>
                    <a:lnTo>
                      <a:pt x="248" y="99"/>
                    </a:lnTo>
                    <a:lnTo>
                      <a:pt x="250" y="97"/>
                    </a:lnTo>
                    <a:lnTo>
                      <a:pt x="251" y="97"/>
                    </a:lnTo>
                    <a:lnTo>
                      <a:pt x="253" y="97"/>
                    </a:lnTo>
                    <a:lnTo>
                      <a:pt x="254" y="96"/>
                    </a:lnTo>
                    <a:lnTo>
                      <a:pt x="254" y="96"/>
                    </a:lnTo>
                    <a:lnTo>
                      <a:pt x="254" y="96"/>
                    </a:lnTo>
                    <a:lnTo>
                      <a:pt x="255" y="95"/>
                    </a:lnTo>
                    <a:lnTo>
                      <a:pt x="255" y="95"/>
                    </a:lnTo>
                    <a:lnTo>
                      <a:pt x="255" y="93"/>
                    </a:lnTo>
                    <a:lnTo>
                      <a:pt x="254" y="93"/>
                    </a:lnTo>
                    <a:lnTo>
                      <a:pt x="254" y="92"/>
                    </a:lnTo>
                    <a:lnTo>
                      <a:pt x="251" y="92"/>
                    </a:lnTo>
                    <a:lnTo>
                      <a:pt x="248" y="90"/>
                    </a:lnTo>
                    <a:lnTo>
                      <a:pt x="247" y="90"/>
                    </a:lnTo>
                    <a:lnTo>
                      <a:pt x="244" y="90"/>
                    </a:lnTo>
                    <a:lnTo>
                      <a:pt x="243" y="87"/>
                    </a:lnTo>
                    <a:lnTo>
                      <a:pt x="243" y="86"/>
                    </a:lnTo>
                    <a:lnTo>
                      <a:pt x="244" y="84"/>
                    </a:lnTo>
                    <a:lnTo>
                      <a:pt x="243" y="84"/>
                    </a:lnTo>
                    <a:lnTo>
                      <a:pt x="243" y="84"/>
                    </a:lnTo>
                    <a:lnTo>
                      <a:pt x="241" y="84"/>
                    </a:lnTo>
                    <a:lnTo>
                      <a:pt x="240" y="84"/>
                    </a:lnTo>
                    <a:lnTo>
                      <a:pt x="238" y="84"/>
                    </a:lnTo>
                    <a:lnTo>
                      <a:pt x="238" y="84"/>
                    </a:lnTo>
                    <a:lnTo>
                      <a:pt x="237" y="84"/>
                    </a:lnTo>
                    <a:lnTo>
                      <a:pt x="237" y="83"/>
                    </a:lnTo>
                    <a:lnTo>
                      <a:pt x="237" y="82"/>
                    </a:lnTo>
                    <a:lnTo>
                      <a:pt x="237" y="82"/>
                    </a:lnTo>
                    <a:lnTo>
                      <a:pt x="237" y="80"/>
                    </a:lnTo>
                    <a:lnTo>
                      <a:pt x="237" y="80"/>
                    </a:lnTo>
                    <a:lnTo>
                      <a:pt x="235" y="80"/>
                    </a:lnTo>
                    <a:lnTo>
                      <a:pt x="234" y="79"/>
                    </a:lnTo>
                    <a:lnTo>
                      <a:pt x="234" y="79"/>
                    </a:lnTo>
                    <a:lnTo>
                      <a:pt x="233" y="77"/>
                    </a:lnTo>
                    <a:lnTo>
                      <a:pt x="231" y="76"/>
                    </a:lnTo>
                    <a:lnTo>
                      <a:pt x="233" y="74"/>
                    </a:lnTo>
                    <a:lnTo>
                      <a:pt x="233" y="73"/>
                    </a:lnTo>
                    <a:lnTo>
                      <a:pt x="234" y="73"/>
                    </a:lnTo>
                    <a:lnTo>
                      <a:pt x="234" y="72"/>
                    </a:lnTo>
                    <a:lnTo>
                      <a:pt x="234" y="70"/>
                    </a:lnTo>
                    <a:lnTo>
                      <a:pt x="234" y="69"/>
                    </a:lnTo>
                    <a:lnTo>
                      <a:pt x="231" y="67"/>
                    </a:lnTo>
                    <a:lnTo>
                      <a:pt x="231" y="66"/>
                    </a:lnTo>
                    <a:lnTo>
                      <a:pt x="231" y="64"/>
                    </a:lnTo>
                    <a:lnTo>
                      <a:pt x="233" y="64"/>
                    </a:lnTo>
                    <a:lnTo>
                      <a:pt x="233" y="63"/>
                    </a:lnTo>
                    <a:lnTo>
                      <a:pt x="234" y="63"/>
                    </a:lnTo>
                    <a:lnTo>
                      <a:pt x="235" y="63"/>
                    </a:lnTo>
                    <a:lnTo>
                      <a:pt x="237" y="61"/>
                    </a:lnTo>
                    <a:lnTo>
                      <a:pt x="235" y="60"/>
                    </a:lnTo>
                    <a:lnTo>
                      <a:pt x="234" y="60"/>
                    </a:lnTo>
                    <a:lnTo>
                      <a:pt x="234" y="60"/>
                    </a:lnTo>
                    <a:lnTo>
                      <a:pt x="233" y="60"/>
                    </a:lnTo>
                    <a:lnTo>
                      <a:pt x="233" y="60"/>
                    </a:lnTo>
                    <a:lnTo>
                      <a:pt x="231" y="60"/>
                    </a:lnTo>
                    <a:lnTo>
                      <a:pt x="230" y="59"/>
                    </a:lnTo>
                    <a:lnTo>
                      <a:pt x="230" y="59"/>
                    </a:lnTo>
                    <a:lnTo>
                      <a:pt x="231" y="57"/>
                    </a:lnTo>
                    <a:lnTo>
                      <a:pt x="231" y="56"/>
                    </a:lnTo>
                    <a:lnTo>
                      <a:pt x="231" y="54"/>
                    </a:lnTo>
                    <a:lnTo>
                      <a:pt x="230" y="54"/>
                    </a:lnTo>
                    <a:lnTo>
                      <a:pt x="228" y="53"/>
                    </a:lnTo>
                    <a:lnTo>
                      <a:pt x="228" y="53"/>
                    </a:lnTo>
                    <a:lnTo>
                      <a:pt x="230" y="50"/>
                    </a:lnTo>
                    <a:lnTo>
                      <a:pt x="231" y="47"/>
                    </a:lnTo>
                    <a:lnTo>
                      <a:pt x="234" y="46"/>
                    </a:lnTo>
                    <a:lnTo>
                      <a:pt x="235" y="46"/>
                    </a:lnTo>
                    <a:lnTo>
                      <a:pt x="237" y="44"/>
                    </a:lnTo>
                    <a:lnTo>
                      <a:pt x="241" y="46"/>
                    </a:lnTo>
                    <a:lnTo>
                      <a:pt x="244" y="46"/>
                    </a:lnTo>
                    <a:lnTo>
                      <a:pt x="247" y="47"/>
                    </a:lnTo>
                    <a:lnTo>
                      <a:pt x="248" y="47"/>
                    </a:lnTo>
                    <a:lnTo>
                      <a:pt x="251" y="47"/>
                    </a:lnTo>
                    <a:lnTo>
                      <a:pt x="253" y="47"/>
                    </a:lnTo>
                    <a:lnTo>
                      <a:pt x="254" y="49"/>
                    </a:lnTo>
                    <a:lnTo>
                      <a:pt x="255" y="49"/>
                    </a:lnTo>
                    <a:lnTo>
                      <a:pt x="258" y="50"/>
                    </a:lnTo>
                    <a:lnTo>
                      <a:pt x="261" y="50"/>
                    </a:lnTo>
                    <a:lnTo>
                      <a:pt x="263" y="50"/>
                    </a:lnTo>
                    <a:lnTo>
                      <a:pt x="264" y="49"/>
                    </a:lnTo>
                    <a:lnTo>
                      <a:pt x="266" y="49"/>
                    </a:lnTo>
                    <a:lnTo>
                      <a:pt x="267" y="47"/>
                    </a:lnTo>
                    <a:lnTo>
                      <a:pt x="267" y="47"/>
                    </a:lnTo>
                    <a:lnTo>
                      <a:pt x="270" y="47"/>
                    </a:lnTo>
                    <a:lnTo>
                      <a:pt x="271" y="47"/>
                    </a:lnTo>
                    <a:lnTo>
                      <a:pt x="276" y="46"/>
                    </a:lnTo>
                    <a:lnTo>
                      <a:pt x="276" y="46"/>
                    </a:lnTo>
                    <a:lnTo>
                      <a:pt x="277" y="46"/>
                    </a:lnTo>
                    <a:lnTo>
                      <a:pt x="278" y="46"/>
                    </a:lnTo>
                    <a:lnTo>
                      <a:pt x="278" y="44"/>
                    </a:lnTo>
                    <a:lnTo>
                      <a:pt x="280" y="44"/>
                    </a:lnTo>
                    <a:lnTo>
                      <a:pt x="280" y="43"/>
                    </a:lnTo>
                    <a:lnTo>
                      <a:pt x="280" y="43"/>
                    </a:lnTo>
                    <a:lnTo>
                      <a:pt x="281" y="43"/>
                    </a:lnTo>
                    <a:lnTo>
                      <a:pt x="281" y="41"/>
                    </a:lnTo>
                    <a:lnTo>
                      <a:pt x="283" y="41"/>
                    </a:lnTo>
                    <a:lnTo>
                      <a:pt x="284" y="41"/>
                    </a:lnTo>
                    <a:lnTo>
                      <a:pt x="284" y="40"/>
                    </a:lnTo>
                    <a:lnTo>
                      <a:pt x="284" y="40"/>
                    </a:lnTo>
                    <a:lnTo>
                      <a:pt x="284" y="40"/>
                    </a:lnTo>
                    <a:lnTo>
                      <a:pt x="286" y="38"/>
                    </a:lnTo>
                    <a:lnTo>
                      <a:pt x="286" y="38"/>
                    </a:lnTo>
                    <a:lnTo>
                      <a:pt x="286" y="3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1" name="Freeform 117">
                <a:extLst>
                  <a:ext uri="{FF2B5EF4-FFF2-40B4-BE49-F238E27FC236}">
                    <a16:creationId xmlns:a16="http://schemas.microsoft.com/office/drawing/2014/main" id="{B044A057-AA16-3631-E680-22CB29C1398E}"/>
                  </a:ext>
                </a:extLst>
              </p:cNvPr>
              <p:cNvSpPr>
                <a:spLocks/>
              </p:cNvSpPr>
              <p:nvPr/>
            </p:nvSpPr>
            <p:spPr bwMode="auto">
              <a:xfrm>
                <a:off x="6613255" y="3101701"/>
                <a:ext cx="248705" cy="235692"/>
              </a:xfrm>
              <a:custGeom>
                <a:avLst/>
                <a:gdLst>
                  <a:gd name="T0" fmla="*/ 168 w 172"/>
                  <a:gd name="T1" fmla="*/ 140 h 163"/>
                  <a:gd name="T2" fmla="*/ 164 w 172"/>
                  <a:gd name="T3" fmla="*/ 136 h 163"/>
                  <a:gd name="T4" fmla="*/ 162 w 172"/>
                  <a:gd name="T5" fmla="*/ 127 h 163"/>
                  <a:gd name="T6" fmla="*/ 158 w 172"/>
                  <a:gd name="T7" fmla="*/ 126 h 163"/>
                  <a:gd name="T8" fmla="*/ 157 w 172"/>
                  <a:gd name="T9" fmla="*/ 120 h 163"/>
                  <a:gd name="T10" fmla="*/ 158 w 172"/>
                  <a:gd name="T11" fmla="*/ 108 h 163"/>
                  <a:gd name="T12" fmla="*/ 151 w 172"/>
                  <a:gd name="T13" fmla="*/ 100 h 163"/>
                  <a:gd name="T14" fmla="*/ 148 w 172"/>
                  <a:gd name="T15" fmla="*/ 98 h 163"/>
                  <a:gd name="T16" fmla="*/ 137 w 172"/>
                  <a:gd name="T17" fmla="*/ 91 h 163"/>
                  <a:gd name="T18" fmla="*/ 131 w 172"/>
                  <a:gd name="T19" fmla="*/ 90 h 163"/>
                  <a:gd name="T20" fmla="*/ 129 w 172"/>
                  <a:gd name="T21" fmla="*/ 87 h 163"/>
                  <a:gd name="T22" fmla="*/ 129 w 172"/>
                  <a:gd name="T23" fmla="*/ 84 h 163"/>
                  <a:gd name="T24" fmla="*/ 126 w 172"/>
                  <a:gd name="T25" fmla="*/ 80 h 163"/>
                  <a:gd name="T26" fmla="*/ 125 w 172"/>
                  <a:gd name="T27" fmla="*/ 77 h 163"/>
                  <a:gd name="T28" fmla="*/ 118 w 172"/>
                  <a:gd name="T29" fmla="*/ 71 h 163"/>
                  <a:gd name="T30" fmla="*/ 119 w 172"/>
                  <a:gd name="T31" fmla="*/ 65 h 163"/>
                  <a:gd name="T32" fmla="*/ 118 w 172"/>
                  <a:gd name="T33" fmla="*/ 59 h 163"/>
                  <a:gd name="T34" fmla="*/ 121 w 172"/>
                  <a:gd name="T35" fmla="*/ 57 h 163"/>
                  <a:gd name="T36" fmla="*/ 124 w 172"/>
                  <a:gd name="T37" fmla="*/ 49 h 163"/>
                  <a:gd name="T38" fmla="*/ 129 w 172"/>
                  <a:gd name="T39" fmla="*/ 45 h 163"/>
                  <a:gd name="T40" fmla="*/ 128 w 172"/>
                  <a:gd name="T41" fmla="*/ 39 h 163"/>
                  <a:gd name="T42" fmla="*/ 129 w 172"/>
                  <a:gd name="T43" fmla="*/ 34 h 163"/>
                  <a:gd name="T44" fmla="*/ 132 w 172"/>
                  <a:gd name="T45" fmla="*/ 32 h 163"/>
                  <a:gd name="T46" fmla="*/ 125 w 172"/>
                  <a:gd name="T47" fmla="*/ 32 h 163"/>
                  <a:gd name="T48" fmla="*/ 122 w 172"/>
                  <a:gd name="T49" fmla="*/ 31 h 163"/>
                  <a:gd name="T50" fmla="*/ 116 w 172"/>
                  <a:gd name="T51" fmla="*/ 28 h 163"/>
                  <a:gd name="T52" fmla="*/ 111 w 172"/>
                  <a:gd name="T53" fmla="*/ 16 h 163"/>
                  <a:gd name="T54" fmla="*/ 101 w 172"/>
                  <a:gd name="T55" fmla="*/ 6 h 163"/>
                  <a:gd name="T56" fmla="*/ 96 w 172"/>
                  <a:gd name="T57" fmla="*/ 8 h 163"/>
                  <a:gd name="T58" fmla="*/ 95 w 172"/>
                  <a:gd name="T59" fmla="*/ 2 h 163"/>
                  <a:gd name="T60" fmla="*/ 88 w 172"/>
                  <a:gd name="T61" fmla="*/ 2 h 163"/>
                  <a:gd name="T62" fmla="*/ 78 w 172"/>
                  <a:gd name="T63" fmla="*/ 0 h 163"/>
                  <a:gd name="T64" fmla="*/ 69 w 172"/>
                  <a:gd name="T65" fmla="*/ 2 h 163"/>
                  <a:gd name="T66" fmla="*/ 62 w 172"/>
                  <a:gd name="T67" fmla="*/ 8 h 163"/>
                  <a:gd name="T68" fmla="*/ 55 w 172"/>
                  <a:gd name="T69" fmla="*/ 15 h 163"/>
                  <a:gd name="T70" fmla="*/ 46 w 172"/>
                  <a:gd name="T71" fmla="*/ 19 h 163"/>
                  <a:gd name="T72" fmla="*/ 46 w 172"/>
                  <a:gd name="T73" fmla="*/ 31 h 163"/>
                  <a:gd name="T74" fmla="*/ 43 w 172"/>
                  <a:gd name="T75" fmla="*/ 45 h 163"/>
                  <a:gd name="T76" fmla="*/ 42 w 172"/>
                  <a:gd name="T77" fmla="*/ 57 h 163"/>
                  <a:gd name="T78" fmla="*/ 26 w 172"/>
                  <a:gd name="T79" fmla="*/ 65 h 163"/>
                  <a:gd name="T80" fmla="*/ 4 w 172"/>
                  <a:gd name="T81" fmla="*/ 98 h 163"/>
                  <a:gd name="T82" fmla="*/ 7 w 172"/>
                  <a:gd name="T83" fmla="*/ 101 h 163"/>
                  <a:gd name="T84" fmla="*/ 9 w 172"/>
                  <a:gd name="T85" fmla="*/ 103 h 163"/>
                  <a:gd name="T86" fmla="*/ 22 w 172"/>
                  <a:gd name="T87" fmla="*/ 107 h 163"/>
                  <a:gd name="T88" fmla="*/ 59 w 172"/>
                  <a:gd name="T89" fmla="*/ 126 h 163"/>
                  <a:gd name="T90" fmla="*/ 108 w 172"/>
                  <a:gd name="T91" fmla="*/ 161 h 163"/>
                  <a:gd name="T92" fmla="*/ 132 w 172"/>
                  <a:gd name="T93" fmla="*/ 163 h 163"/>
                  <a:gd name="T94" fmla="*/ 144 w 172"/>
                  <a:gd name="T95" fmla="*/ 154 h 163"/>
                  <a:gd name="T96" fmla="*/ 151 w 172"/>
                  <a:gd name="T97" fmla="*/ 144 h 163"/>
                  <a:gd name="T98" fmla="*/ 162 w 172"/>
                  <a:gd name="T99" fmla="*/ 146 h 163"/>
                  <a:gd name="T100" fmla="*/ 170 w 172"/>
                  <a:gd name="T101" fmla="*/ 146 h 163"/>
                  <a:gd name="T102" fmla="*/ 170 w 172"/>
                  <a:gd name="T103" fmla="*/ 14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163">
                    <a:moveTo>
                      <a:pt x="170" y="143"/>
                    </a:moveTo>
                    <a:lnTo>
                      <a:pt x="170" y="141"/>
                    </a:lnTo>
                    <a:lnTo>
                      <a:pt x="168" y="140"/>
                    </a:lnTo>
                    <a:lnTo>
                      <a:pt x="167" y="138"/>
                    </a:lnTo>
                    <a:lnTo>
                      <a:pt x="164" y="137"/>
                    </a:lnTo>
                    <a:lnTo>
                      <a:pt x="164" y="136"/>
                    </a:lnTo>
                    <a:lnTo>
                      <a:pt x="162" y="133"/>
                    </a:lnTo>
                    <a:lnTo>
                      <a:pt x="162" y="130"/>
                    </a:lnTo>
                    <a:lnTo>
                      <a:pt x="162" y="127"/>
                    </a:lnTo>
                    <a:lnTo>
                      <a:pt x="162" y="127"/>
                    </a:lnTo>
                    <a:lnTo>
                      <a:pt x="160" y="126"/>
                    </a:lnTo>
                    <a:lnTo>
                      <a:pt x="158" y="126"/>
                    </a:lnTo>
                    <a:lnTo>
                      <a:pt x="158" y="126"/>
                    </a:lnTo>
                    <a:lnTo>
                      <a:pt x="157" y="124"/>
                    </a:lnTo>
                    <a:lnTo>
                      <a:pt x="157" y="120"/>
                    </a:lnTo>
                    <a:lnTo>
                      <a:pt x="160" y="114"/>
                    </a:lnTo>
                    <a:lnTo>
                      <a:pt x="160" y="110"/>
                    </a:lnTo>
                    <a:lnTo>
                      <a:pt x="158" y="108"/>
                    </a:lnTo>
                    <a:lnTo>
                      <a:pt x="155" y="105"/>
                    </a:lnTo>
                    <a:lnTo>
                      <a:pt x="152" y="100"/>
                    </a:lnTo>
                    <a:lnTo>
                      <a:pt x="151" y="100"/>
                    </a:lnTo>
                    <a:lnTo>
                      <a:pt x="151" y="98"/>
                    </a:lnTo>
                    <a:lnTo>
                      <a:pt x="149" y="98"/>
                    </a:lnTo>
                    <a:lnTo>
                      <a:pt x="148" y="98"/>
                    </a:lnTo>
                    <a:lnTo>
                      <a:pt x="147" y="98"/>
                    </a:lnTo>
                    <a:lnTo>
                      <a:pt x="145" y="97"/>
                    </a:lnTo>
                    <a:lnTo>
                      <a:pt x="137" y="91"/>
                    </a:lnTo>
                    <a:lnTo>
                      <a:pt x="135" y="90"/>
                    </a:lnTo>
                    <a:lnTo>
                      <a:pt x="134" y="90"/>
                    </a:lnTo>
                    <a:lnTo>
                      <a:pt x="131" y="90"/>
                    </a:lnTo>
                    <a:lnTo>
                      <a:pt x="129" y="90"/>
                    </a:lnTo>
                    <a:lnTo>
                      <a:pt x="129" y="88"/>
                    </a:lnTo>
                    <a:lnTo>
                      <a:pt x="129" y="87"/>
                    </a:lnTo>
                    <a:lnTo>
                      <a:pt x="129" y="85"/>
                    </a:lnTo>
                    <a:lnTo>
                      <a:pt x="129" y="85"/>
                    </a:lnTo>
                    <a:lnTo>
                      <a:pt x="129" y="84"/>
                    </a:lnTo>
                    <a:lnTo>
                      <a:pt x="129" y="82"/>
                    </a:lnTo>
                    <a:lnTo>
                      <a:pt x="128" y="81"/>
                    </a:lnTo>
                    <a:lnTo>
                      <a:pt x="126" y="80"/>
                    </a:lnTo>
                    <a:lnTo>
                      <a:pt x="125" y="78"/>
                    </a:lnTo>
                    <a:lnTo>
                      <a:pt x="125" y="77"/>
                    </a:lnTo>
                    <a:lnTo>
                      <a:pt x="125" y="77"/>
                    </a:lnTo>
                    <a:lnTo>
                      <a:pt x="124" y="77"/>
                    </a:lnTo>
                    <a:lnTo>
                      <a:pt x="124" y="77"/>
                    </a:lnTo>
                    <a:lnTo>
                      <a:pt x="118" y="71"/>
                    </a:lnTo>
                    <a:lnTo>
                      <a:pt x="118" y="69"/>
                    </a:lnTo>
                    <a:lnTo>
                      <a:pt x="118" y="68"/>
                    </a:lnTo>
                    <a:lnTo>
                      <a:pt x="119" y="65"/>
                    </a:lnTo>
                    <a:lnTo>
                      <a:pt x="119" y="64"/>
                    </a:lnTo>
                    <a:lnTo>
                      <a:pt x="119" y="61"/>
                    </a:lnTo>
                    <a:lnTo>
                      <a:pt x="118" y="59"/>
                    </a:lnTo>
                    <a:lnTo>
                      <a:pt x="118" y="58"/>
                    </a:lnTo>
                    <a:lnTo>
                      <a:pt x="118" y="57"/>
                    </a:lnTo>
                    <a:lnTo>
                      <a:pt x="121" y="57"/>
                    </a:lnTo>
                    <a:lnTo>
                      <a:pt x="122" y="55"/>
                    </a:lnTo>
                    <a:lnTo>
                      <a:pt x="122" y="52"/>
                    </a:lnTo>
                    <a:lnTo>
                      <a:pt x="124" y="49"/>
                    </a:lnTo>
                    <a:lnTo>
                      <a:pt x="126" y="48"/>
                    </a:lnTo>
                    <a:lnTo>
                      <a:pt x="128" y="46"/>
                    </a:lnTo>
                    <a:lnTo>
                      <a:pt x="129" y="45"/>
                    </a:lnTo>
                    <a:lnTo>
                      <a:pt x="129" y="42"/>
                    </a:lnTo>
                    <a:lnTo>
                      <a:pt x="128" y="41"/>
                    </a:lnTo>
                    <a:lnTo>
                      <a:pt x="128" y="39"/>
                    </a:lnTo>
                    <a:lnTo>
                      <a:pt x="126" y="36"/>
                    </a:lnTo>
                    <a:lnTo>
                      <a:pt x="128" y="35"/>
                    </a:lnTo>
                    <a:lnTo>
                      <a:pt x="129" y="34"/>
                    </a:lnTo>
                    <a:lnTo>
                      <a:pt x="131" y="34"/>
                    </a:lnTo>
                    <a:lnTo>
                      <a:pt x="132" y="34"/>
                    </a:lnTo>
                    <a:lnTo>
                      <a:pt x="132" y="32"/>
                    </a:lnTo>
                    <a:lnTo>
                      <a:pt x="131" y="32"/>
                    </a:lnTo>
                    <a:lnTo>
                      <a:pt x="129" y="32"/>
                    </a:lnTo>
                    <a:lnTo>
                      <a:pt x="125" y="32"/>
                    </a:lnTo>
                    <a:lnTo>
                      <a:pt x="124" y="31"/>
                    </a:lnTo>
                    <a:lnTo>
                      <a:pt x="124" y="31"/>
                    </a:lnTo>
                    <a:lnTo>
                      <a:pt x="122" y="31"/>
                    </a:lnTo>
                    <a:lnTo>
                      <a:pt x="121" y="29"/>
                    </a:lnTo>
                    <a:lnTo>
                      <a:pt x="118" y="28"/>
                    </a:lnTo>
                    <a:lnTo>
                      <a:pt x="116" y="28"/>
                    </a:lnTo>
                    <a:lnTo>
                      <a:pt x="115" y="26"/>
                    </a:lnTo>
                    <a:lnTo>
                      <a:pt x="114" y="22"/>
                    </a:lnTo>
                    <a:lnTo>
                      <a:pt x="111" y="16"/>
                    </a:lnTo>
                    <a:lnTo>
                      <a:pt x="105" y="5"/>
                    </a:lnTo>
                    <a:lnTo>
                      <a:pt x="104" y="5"/>
                    </a:lnTo>
                    <a:lnTo>
                      <a:pt x="101" y="6"/>
                    </a:lnTo>
                    <a:lnTo>
                      <a:pt x="98" y="8"/>
                    </a:lnTo>
                    <a:lnTo>
                      <a:pt x="96" y="8"/>
                    </a:lnTo>
                    <a:lnTo>
                      <a:pt x="96" y="8"/>
                    </a:lnTo>
                    <a:lnTo>
                      <a:pt x="96" y="3"/>
                    </a:lnTo>
                    <a:lnTo>
                      <a:pt x="95" y="3"/>
                    </a:lnTo>
                    <a:lnTo>
                      <a:pt x="95" y="2"/>
                    </a:lnTo>
                    <a:lnTo>
                      <a:pt x="93" y="2"/>
                    </a:lnTo>
                    <a:lnTo>
                      <a:pt x="91" y="2"/>
                    </a:lnTo>
                    <a:lnTo>
                      <a:pt x="88" y="2"/>
                    </a:lnTo>
                    <a:lnTo>
                      <a:pt x="83" y="2"/>
                    </a:lnTo>
                    <a:lnTo>
                      <a:pt x="81" y="2"/>
                    </a:lnTo>
                    <a:lnTo>
                      <a:pt x="78" y="0"/>
                    </a:lnTo>
                    <a:lnTo>
                      <a:pt x="72" y="0"/>
                    </a:lnTo>
                    <a:lnTo>
                      <a:pt x="70" y="0"/>
                    </a:lnTo>
                    <a:lnTo>
                      <a:pt x="69" y="2"/>
                    </a:lnTo>
                    <a:lnTo>
                      <a:pt x="66" y="5"/>
                    </a:lnTo>
                    <a:lnTo>
                      <a:pt x="63" y="6"/>
                    </a:lnTo>
                    <a:lnTo>
                      <a:pt x="62" y="8"/>
                    </a:lnTo>
                    <a:lnTo>
                      <a:pt x="60" y="11"/>
                    </a:lnTo>
                    <a:lnTo>
                      <a:pt x="58" y="13"/>
                    </a:lnTo>
                    <a:lnTo>
                      <a:pt x="55" y="15"/>
                    </a:lnTo>
                    <a:lnTo>
                      <a:pt x="52" y="16"/>
                    </a:lnTo>
                    <a:lnTo>
                      <a:pt x="49" y="18"/>
                    </a:lnTo>
                    <a:lnTo>
                      <a:pt x="46" y="19"/>
                    </a:lnTo>
                    <a:lnTo>
                      <a:pt x="45" y="22"/>
                    </a:lnTo>
                    <a:lnTo>
                      <a:pt x="43" y="25"/>
                    </a:lnTo>
                    <a:lnTo>
                      <a:pt x="46" y="31"/>
                    </a:lnTo>
                    <a:lnTo>
                      <a:pt x="46" y="35"/>
                    </a:lnTo>
                    <a:lnTo>
                      <a:pt x="45" y="38"/>
                    </a:lnTo>
                    <a:lnTo>
                      <a:pt x="43" y="45"/>
                    </a:lnTo>
                    <a:lnTo>
                      <a:pt x="43" y="51"/>
                    </a:lnTo>
                    <a:lnTo>
                      <a:pt x="42" y="54"/>
                    </a:lnTo>
                    <a:lnTo>
                      <a:pt x="42" y="57"/>
                    </a:lnTo>
                    <a:lnTo>
                      <a:pt x="39" y="59"/>
                    </a:lnTo>
                    <a:lnTo>
                      <a:pt x="36" y="61"/>
                    </a:lnTo>
                    <a:lnTo>
                      <a:pt x="26" y="65"/>
                    </a:lnTo>
                    <a:lnTo>
                      <a:pt x="0" y="81"/>
                    </a:lnTo>
                    <a:lnTo>
                      <a:pt x="6" y="98"/>
                    </a:lnTo>
                    <a:lnTo>
                      <a:pt x="4" y="98"/>
                    </a:lnTo>
                    <a:lnTo>
                      <a:pt x="4" y="101"/>
                    </a:lnTo>
                    <a:lnTo>
                      <a:pt x="6" y="101"/>
                    </a:lnTo>
                    <a:lnTo>
                      <a:pt x="7" y="101"/>
                    </a:lnTo>
                    <a:lnTo>
                      <a:pt x="9" y="101"/>
                    </a:lnTo>
                    <a:lnTo>
                      <a:pt x="9" y="101"/>
                    </a:lnTo>
                    <a:lnTo>
                      <a:pt x="9" y="103"/>
                    </a:lnTo>
                    <a:lnTo>
                      <a:pt x="9" y="104"/>
                    </a:lnTo>
                    <a:lnTo>
                      <a:pt x="7" y="105"/>
                    </a:lnTo>
                    <a:lnTo>
                      <a:pt x="22" y="107"/>
                    </a:lnTo>
                    <a:lnTo>
                      <a:pt x="27" y="108"/>
                    </a:lnTo>
                    <a:lnTo>
                      <a:pt x="35" y="111"/>
                    </a:lnTo>
                    <a:lnTo>
                      <a:pt x="59" y="126"/>
                    </a:lnTo>
                    <a:lnTo>
                      <a:pt x="102" y="159"/>
                    </a:lnTo>
                    <a:lnTo>
                      <a:pt x="105" y="160"/>
                    </a:lnTo>
                    <a:lnTo>
                      <a:pt x="108" y="161"/>
                    </a:lnTo>
                    <a:lnTo>
                      <a:pt x="119" y="161"/>
                    </a:lnTo>
                    <a:lnTo>
                      <a:pt x="128" y="163"/>
                    </a:lnTo>
                    <a:lnTo>
                      <a:pt x="132" y="163"/>
                    </a:lnTo>
                    <a:lnTo>
                      <a:pt x="137" y="163"/>
                    </a:lnTo>
                    <a:lnTo>
                      <a:pt x="142" y="156"/>
                    </a:lnTo>
                    <a:lnTo>
                      <a:pt x="144" y="154"/>
                    </a:lnTo>
                    <a:lnTo>
                      <a:pt x="145" y="149"/>
                    </a:lnTo>
                    <a:lnTo>
                      <a:pt x="147" y="146"/>
                    </a:lnTo>
                    <a:lnTo>
                      <a:pt x="151" y="144"/>
                    </a:lnTo>
                    <a:lnTo>
                      <a:pt x="154" y="143"/>
                    </a:lnTo>
                    <a:lnTo>
                      <a:pt x="158" y="144"/>
                    </a:lnTo>
                    <a:lnTo>
                      <a:pt x="162" y="146"/>
                    </a:lnTo>
                    <a:lnTo>
                      <a:pt x="164" y="144"/>
                    </a:lnTo>
                    <a:lnTo>
                      <a:pt x="167" y="146"/>
                    </a:lnTo>
                    <a:lnTo>
                      <a:pt x="170" y="146"/>
                    </a:lnTo>
                    <a:lnTo>
                      <a:pt x="172" y="146"/>
                    </a:lnTo>
                    <a:lnTo>
                      <a:pt x="171" y="144"/>
                    </a:lnTo>
                    <a:lnTo>
                      <a:pt x="170" y="14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2" name="Freeform 118">
                <a:extLst>
                  <a:ext uri="{FF2B5EF4-FFF2-40B4-BE49-F238E27FC236}">
                    <a16:creationId xmlns:a16="http://schemas.microsoft.com/office/drawing/2014/main" id="{624D0B4D-E49A-D732-2080-364FCDFF6CE9}"/>
                  </a:ext>
                </a:extLst>
              </p:cNvPr>
              <p:cNvSpPr>
                <a:spLocks/>
              </p:cNvSpPr>
              <p:nvPr/>
            </p:nvSpPr>
            <p:spPr bwMode="auto">
              <a:xfrm>
                <a:off x="7165612" y="3071336"/>
                <a:ext cx="365828" cy="255935"/>
              </a:xfrm>
              <a:custGeom>
                <a:avLst/>
                <a:gdLst>
                  <a:gd name="T0" fmla="*/ 233 w 253"/>
                  <a:gd name="T1" fmla="*/ 24 h 177"/>
                  <a:gd name="T2" fmla="*/ 233 w 253"/>
                  <a:gd name="T3" fmla="*/ 23 h 177"/>
                  <a:gd name="T4" fmla="*/ 230 w 253"/>
                  <a:gd name="T5" fmla="*/ 20 h 177"/>
                  <a:gd name="T6" fmla="*/ 218 w 253"/>
                  <a:gd name="T7" fmla="*/ 23 h 177"/>
                  <a:gd name="T8" fmla="*/ 213 w 253"/>
                  <a:gd name="T9" fmla="*/ 29 h 177"/>
                  <a:gd name="T10" fmla="*/ 200 w 253"/>
                  <a:gd name="T11" fmla="*/ 34 h 177"/>
                  <a:gd name="T12" fmla="*/ 193 w 253"/>
                  <a:gd name="T13" fmla="*/ 27 h 177"/>
                  <a:gd name="T14" fmla="*/ 194 w 253"/>
                  <a:gd name="T15" fmla="*/ 10 h 177"/>
                  <a:gd name="T16" fmla="*/ 191 w 253"/>
                  <a:gd name="T17" fmla="*/ 10 h 177"/>
                  <a:gd name="T18" fmla="*/ 191 w 253"/>
                  <a:gd name="T19" fmla="*/ 6 h 177"/>
                  <a:gd name="T20" fmla="*/ 180 w 253"/>
                  <a:gd name="T21" fmla="*/ 0 h 177"/>
                  <a:gd name="T22" fmla="*/ 172 w 253"/>
                  <a:gd name="T23" fmla="*/ 10 h 177"/>
                  <a:gd name="T24" fmla="*/ 172 w 253"/>
                  <a:gd name="T25" fmla="*/ 16 h 177"/>
                  <a:gd name="T26" fmla="*/ 162 w 253"/>
                  <a:gd name="T27" fmla="*/ 17 h 177"/>
                  <a:gd name="T28" fmla="*/ 154 w 253"/>
                  <a:gd name="T29" fmla="*/ 26 h 177"/>
                  <a:gd name="T30" fmla="*/ 145 w 253"/>
                  <a:gd name="T31" fmla="*/ 23 h 177"/>
                  <a:gd name="T32" fmla="*/ 126 w 253"/>
                  <a:gd name="T33" fmla="*/ 24 h 177"/>
                  <a:gd name="T34" fmla="*/ 118 w 253"/>
                  <a:gd name="T35" fmla="*/ 23 h 177"/>
                  <a:gd name="T36" fmla="*/ 106 w 253"/>
                  <a:gd name="T37" fmla="*/ 21 h 177"/>
                  <a:gd name="T38" fmla="*/ 89 w 253"/>
                  <a:gd name="T39" fmla="*/ 21 h 177"/>
                  <a:gd name="T40" fmla="*/ 79 w 253"/>
                  <a:gd name="T41" fmla="*/ 24 h 177"/>
                  <a:gd name="T42" fmla="*/ 70 w 253"/>
                  <a:gd name="T43" fmla="*/ 42 h 177"/>
                  <a:gd name="T44" fmla="*/ 50 w 253"/>
                  <a:gd name="T45" fmla="*/ 52 h 177"/>
                  <a:gd name="T46" fmla="*/ 46 w 253"/>
                  <a:gd name="T47" fmla="*/ 55 h 177"/>
                  <a:gd name="T48" fmla="*/ 43 w 253"/>
                  <a:gd name="T49" fmla="*/ 62 h 177"/>
                  <a:gd name="T50" fmla="*/ 32 w 253"/>
                  <a:gd name="T51" fmla="*/ 66 h 177"/>
                  <a:gd name="T52" fmla="*/ 26 w 253"/>
                  <a:gd name="T53" fmla="*/ 60 h 177"/>
                  <a:gd name="T54" fmla="*/ 16 w 253"/>
                  <a:gd name="T55" fmla="*/ 59 h 177"/>
                  <a:gd name="T56" fmla="*/ 13 w 253"/>
                  <a:gd name="T57" fmla="*/ 60 h 177"/>
                  <a:gd name="T58" fmla="*/ 10 w 253"/>
                  <a:gd name="T59" fmla="*/ 73 h 177"/>
                  <a:gd name="T60" fmla="*/ 4 w 253"/>
                  <a:gd name="T61" fmla="*/ 83 h 177"/>
                  <a:gd name="T62" fmla="*/ 0 w 253"/>
                  <a:gd name="T63" fmla="*/ 93 h 177"/>
                  <a:gd name="T64" fmla="*/ 7 w 253"/>
                  <a:gd name="T65" fmla="*/ 99 h 177"/>
                  <a:gd name="T66" fmla="*/ 2 w 253"/>
                  <a:gd name="T67" fmla="*/ 108 h 177"/>
                  <a:gd name="T68" fmla="*/ 6 w 253"/>
                  <a:gd name="T69" fmla="*/ 131 h 177"/>
                  <a:gd name="T70" fmla="*/ 20 w 253"/>
                  <a:gd name="T71" fmla="*/ 139 h 177"/>
                  <a:gd name="T72" fmla="*/ 9 w 253"/>
                  <a:gd name="T73" fmla="*/ 167 h 177"/>
                  <a:gd name="T74" fmla="*/ 40 w 253"/>
                  <a:gd name="T75" fmla="*/ 177 h 177"/>
                  <a:gd name="T76" fmla="*/ 65 w 253"/>
                  <a:gd name="T77" fmla="*/ 177 h 177"/>
                  <a:gd name="T78" fmla="*/ 96 w 253"/>
                  <a:gd name="T79" fmla="*/ 171 h 177"/>
                  <a:gd name="T80" fmla="*/ 102 w 253"/>
                  <a:gd name="T81" fmla="*/ 167 h 177"/>
                  <a:gd name="T82" fmla="*/ 105 w 253"/>
                  <a:gd name="T83" fmla="*/ 149 h 177"/>
                  <a:gd name="T84" fmla="*/ 118 w 253"/>
                  <a:gd name="T85" fmla="*/ 142 h 177"/>
                  <a:gd name="T86" fmla="*/ 128 w 253"/>
                  <a:gd name="T87" fmla="*/ 141 h 177"/>
                  <a:gd name="T88" fmla="*/ 126 w 253"/>
                  <a:gd name="T89" fmla="*/ 138 h 177"/>
                  <a:gd name="T90" fmla="*/ 138 w 253"/>
                  <a:gd name="T91" fmla="*/ 132 h 177"/>
                  <a:gd name="T92" fmla="*/ 145 w 253"/>
                  <a:gd name="T93" fmla="*/ 134 h 177"/>
                  <a:gd name="T94" fmla="*/ 151 w 253"/>
                  <a:gd name="T95" fmla="*/ 134 h 177"/>
                  <a:gd name="T96" fmla="*/ 155 w 253"/>
                  <a:gd name="T97" fmla="*/ 121 h 177"/>
                  <a:gd name="T98" fmla="*/ 158 w 253"/>
                  <a:gd name="T99" fmla="*/ 109 h 177"/>
                  <a:gd name="T100" fmla="*/ 171 w 253"/>
                  <a:gd name="T101" fmla="*/ 103 h 177"/>
                  <a:gd name="T102" fmla="*/ 165 w 253"/>
                  <a:gd name="T103" fmla="*/ 93 h 177"/>
                  <a:gd name="T104" fmla="*/ 177 w 253"/>
                  <a:gd name="T105" fmla="*/ 90 h 177"/>
                  <a:gd name="T106" fmla="*/ 185 w 253"/>
                  <a:gd name="T107" fmla="*/ 80 h 177"/>
                  <a:gd name="T108" fmla="*/ 187 w 253"/>
                  <a:gd name="T109" fmla="*/ 76 h 177"/>
                  <a:gd name="T110" fmla="*/ 195 w 253"/>
                  <a:gd name="T111" fmla="*/ 65 h 177"/>
                  <a:gd name="T112" fmla="*/ 195 w 253"/>
                  <a:gd name="T113" fmla="*/ 60 h 177"/>
                  <a:gd name="T114" fmla="*/ 190 w 253"/>
                  <a:gd name="T115" fmla="*/ 50 h 177"/>
                  <a:gd name="T116" fmla="*/ 193 w 253"/>
                  <a:gd name="T117" fmla="*/ 43 h 177"/>
                  <a:gd name="T118" fmla="*/ 200 w 253"/>
                  <a:gd name="T119" fmla="*/ 39 h 177"/>
                  <a:gd name="T120" fmla="*/ 227 w 253"/>
                  <a:gd name="T121" fmla="*/ 32 h 177"/>
                  <a:gd name="T122" fmla="*/ 247 w 253"/>
                  <a:gd name="T123" fmla="*/ 29 h 177"/>
                  <a:gd name="T124" fmla="*/ 250 w 253"/>
                  <a:gd name="T125" fmla="*/ 2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3" h="177">
                    <a:moveTo>
                      <a:pt x="246" y="21"/>
                    </a:moveTo>
                    <a:lnTo>
                      <a:pt x="241" y="21"/>
                    </a:lnTo>
                    <a:lnTo>
                      <a:pt x="236" y="24"/>
                    </a:lnTo>
                    <a:lnTo>
                      <a:pt x="234" y="24"/>
                    </a:lnTo>
                    <a:lnTo>
                      <a:pt x="233" y="24"/>
                    </a:lnTo>
                    <a:lnTo>
                      <a:pt x="231" y="23"/>
                    </a:lnTo>
                    <a:lnTo>
                      <a:pt x="231" y="23"/>
                    </a:lnTo>
                    <a:lnTo>
                      <a:pt x="233" y="23"/>
                    </a:lnTo>
                    <a:lnTo>
                      <a:pt x="233" y="23"/>
                    </a:lnTo>
                    <a:lnTo>
                      <a:pt x="233" y="23"/>
                    </a:lnTo>
                    <a:lnTo>
                      <a:pt x="233" y="21"/>
                    </a:lnTo>
                    <a:lnTo>
                      <a:pt x="233" y="21"/>
                    </a:lnTo>
                    <a:lnTo>
                      <a:pt x="233" y="20"/>
                    </a:lnTo>
                    <a:lnTo>
                      <a:pt x="231" y="20"/>
                    </a:lnTo>
                    <a:lnTo>
                      <a:pt x="230" y="20"/>
                    </a:lnTo>
                    <a:lnTo>
                      <a:pt x="228" y="20"/>
                    </a:lnTo>
                    <a:lnTo>
                      <a:pt x="227" y="20"/>
                    </a:lnTo>
                    <a:lnTo>
                      <a:pt x="224" y="20"/>
                    </a:lnTo>
                    <a:lnTo>
                      <a:pt x="221" y="21"/>
                    </a:lnTo>
                    <a:lnTo>
                      <a:pt x="218" y="23"/>
                    </a:lnTo>
                    <a:lnTo>
                      <a:pt x="217" y="24"/>
                    </a:lnTo>
                    <a:lnTo>
                      <a:pt x="216" y="26"/>
                    </a:lnTo>
                    <a:lnTo>
                      <a:pt x="214" y="27"/>
                    </a:lnTo>
                    <a:lnTo>
                      <a:pt x="214" y="29"/>
                    </a:lnTo>
                    <a:lnTo>
                      <a:pt x="213" y="29"/>
                    </a:lnTo>
                    <a:lnTo>
                      <a:pt x="208" y="30"/>
                    </a:lnTo>
                    <a:lnTo>
                      <a:pt x="207" y="30"/>
                    </a:lnTo>
                    <a:lnTo>
                      <a:pt x="205" y="32"/>
                    </a:lnTo>
                    <a:lnTo>
                      <a:pt x="203" y="33"/>
                    </a:lnTo>
                    <a:lnTo>
                      <a:pt x="200" y="34"/>
                    </a:lnTo>
                    <a:lnTo>
                      <a:pt x="198" y="36"/>
                    </a:lnTo>
                    <a:lnTo>
                      <a:pt x="195" y="34"/>
                    </a:lnTo>
                    <a:lnTo>
                      <a:pt x="194" y="32"/>
                    </a:lnTo>
                    <a:lnTo>
                      <a:pt x="193" y="29"/>
                    </a:lnTo>
                    <a:lnTo>
                      <a:pt x="193" y="27"/>
                    </a:lnTo>
                    <a:lnTo>
                      <a:pt x="193" y="24"/>
                    </a:lnTo>
                    <a:lnTo>
                      <a:pt x="194" y="17"/>
                    </a:lnTo>
                    <a:lnTo>
                      <a:pt x="195" y="13"/>
                    </a:lnTo>
                    <a:lnTo>
                      <a:pt x="195" y="11"/>
                    </a:lnTo>
                    <a:lnTo>
                      <a:pt x="194" y="10"/>
                    </a:lnTo>
                    <a:lnTo>
                      <a:pt x="194" y="10"/>
                    </a:lnTo>
                    <a:lnTo>
                      <a:pt x="194" y="10"/>
                    </a:lnTo>
                    <a:lnTo>
                      <a:pt x="193" y="10"/>
                    </a:lnTo>
                    <a:lnTo>
                      <a:pt x="193" y="10"/>
                    </a:lnTo>
                    <a:lnTo>
                      <a:pt x="191" y="10"/>
                    </a:lnTo>
                    <a:lnTo>
                      <a:pt x="191" y="10"/>
                    </a:lnTo>
                    <a:lnTo>
                      <a:pt x="190" y="10"/>
                    </a:lnTo>
                    <a:lnTo>
                      <a:pt x="190" y="9"/>
                    </a:lnTo>
                    <a:lnTo>
                      <a:pt x="190" y="7"/>
                    </a:lnTo>
                    <a:lnTo>
                      <a:pt x="191" y="6"/>
                    </a:lnTo>
                    <a:lnTo>
                      <a:pt x="191" y="6"/>
                    </a:lnTo>
                    <a:lnTo>
                      <a:pt x="190" y="3"/>
                    </a:lnTo>
                    <a:lnTo>
                      <a:pt x="187" y="0"/>
                    </a:lnTo>
                    <a:lnTo>
                      <a:pt x="184" y="0"/>
                    </a:lnTo>
                    <a:lnTo>
                      <a:pt x="180" y="0"/>
                    </a:lnTo>
                    <a:lnTo>
                      <a:pt x="178" y="1"/>
                    </a:lnTo>
                    <a:lnTo>
                      <a:pt x="177" y="4"/>
                    </a:lnTo>
                    <a:lnTo>
                      <a:pt x="174" y="9"/>
                    </a:lnTo>
                    <a:lnTo>
                      <a:pt x="172" y="9"/>
                    </a:lnTo>
                    <a:lnTo>
                      <a:pt x="172" y="10"/>
                    </a:lnTo>
                    <a:lnTo>
                      <a:pt x="171" y="10"/>
                    </a:lnTo>
                    <a:lnTo>
                      <a:pt x="171" y="11"/>
                    </a:lnTo>
                    <a:lnTo>
                      <a:pt x="171" y="13"/>
                    </a:lnTo>
                    <a:lnTo>
                      <a:pt x="171" y="14"/>
                    </a:lnTo>
                    <a:lnTo>
                      <a:pt x="172" y="16"/>
                    </a:lnTo>
                    <a:lnTo>
                      <a:pt x="171" y="17"/>
                    </a:lnTo>
                    <a:lnTo>
                      <a:pt x="170" y="17"/>
                    </a:lnTo>
                    <a:lnTo>
                      <a:pt x="167" y="17"/>
                    </a:lnTo>
                    <a:lnTo>
                      <a:pt x="165" y="17"/>
                    </a:lnTo>
                    <a:lnTo>
                      <a:pt x="162" y="17"/>
                    </a:lnTo>
                    <a:lnTo>
                      <a:pt x="160" y="17"/>
                    </a:lnTo>
                    <a:lnTo>
                      <a:pt x="158" y="19"/>
                    </a:lnTo>
                    <a:lnTo>
                      <a:pt x="157" y="23"/>
                    </a:lnTo>
                    <a:lnTo>
                      <a:pt x="157" y="26"/>
                    </a:lnTo>
                    <a:lnTo>
                      <a:pt x="154" y="26"/>
                    </a:lnTo>
                    <a:lnTo>
                      <a:pt x="152" y="24"/>
                    </a:lnTo>
                    <a:lnTo>
                      <a:pt x="149" y="23"/>
                    </a:lnTo>
                    <a:lnTo>
                      <a:pt x="148" y="23"/>
                    </a:lnTo>
                    <a:lnTo>
                      <a:pt x="147" y="23"/>
                    </a:lnTo>
                    <a:lnTo>
                      <a:pt x="145" y="23"/>
                    </a:lnTo>
                    <a:lnTo>
                      <a:pt x="145" y="23"/>
                    </a:lnTo>
                    <a:lnTo>
                      <a:pt x="135" y="29"/>
                    </a:lnTo>
                    <a:lnTo>
                      <a:pt x="131" y="29"/>
                    </a:lnTo>
                    <a:lnTo>
                      <a:pt x="128" y="26"/>
                    </a:lnTo>
                    <a:lnTo>
                      <a:pt x="126" y="24"/>
                    </a:lnTo>
                    <a:lnTo>
                      <a:pt x="124" y="24"/>
                    </a:lnTo>
                    <a:lnTo>
                      <a:pt x="122" y="24"/>
                    </a:lnTo>
                    <a:lnTo>
                      <a:pt x="121" y="24"/>
                    </a:lnTo>
                    <a:lnTo>
                      <a:pt x="119" y="24"/>
                    </a:lnTo>
                    <a:lnTo>
                      <a:pt x="118" y="23"/>
                    </a:lnTo>
                    <a:lnTo>
                      <a:pt x="116" y="23"/>
                    </a:lnTo>
                    <a:lnTo>
                      <a:pt x="115" y="21"/>
                    </a:lnTo>
                    <a:lnTo>
                      <a:pt x="114" y="21"/>
                    </a:lnTo>
                    <a:lnTo>
                      <a:pt x="111" y="21"/>
                    </a:lnTo>
                    <a:lnTo>
                      <a:pt x="106" y="21"/>
                    </a:lnTo>
                    <a:lnTo>
                      <a:pt x="102" y="21"/>
                    </a:lnTo>
                    <a:lnTo>
                      <a:pt x="95" y="19"/>
                    </a:lnTo>
                    <a:lnTo>
                      <a:pt x="92" y="19"/>
                    </a:lnTo>
                    <a:lnTo>
                      <a:pt x="91" y="20"/>
                    </a:lnTo>
                    <a:lnTo>
                      <a:pt x="89" y="21"/>
                    </a:lnTo>
                    <a:lnTo>
                      <a:pt x="89" y="23"/>
                    </a:lnTo>
                    <a:lnTo>
                      <a:pt x="88" y="24"/>
                    </a:lnTo>
                    <a:lnTo>
                      <a:pt x="86" y="24"/>
                    </a:lnTo>
                    <a:lnTo>
                      <a:pt x="82" y="24"/>
                    </a:lnTo>
                    <a:lnTo>
                      <a:pt x="79" y="24"/>
                    </a:lnTo>
                    <a:lnTo>
                      <a:pt x="76" y="27"/>
                    </a:lnTo>
                    <a:lnTo>
                      <a:pt x="75" y="29"/>
                    </a:lnTo>
                    <a:lnTo>
                      <a:pt x="73" y="36"/>
                    </a:lnTo>
                    <a:lnTo>
                      <a:pt x="72" y="40"/>
                    </a:lnTo>
                    <a:lnTo>
                      <a:pt x="70" y="42"/>
                    </a:lnTo>
                    <a:lnTo>
                      <a:pt x="68" y="44"/>
                    </a:lnTo>
                    <a:lnTo>
                      <a:pt x="63" y="47"/>
                    </a:lnTo>
                    <a:lnTo>
                      <a:pt x="60" y="49"/>
                    </a:lnTo>
                    <a:lnTo>
                      <a:pt x="59" y="49"/>
                    </a:lnTo>
                    <a:lnTo>
                      <a:pt x="50" y="52"/>
                    </a:lnTo>
                    <a:lnTo>
                      <a:pt x="49" y="52"/>
                    </a:lnTo>
                    <a:lnTo>
                      <a:pt x="48" y="53"/>
                    </a:lnTo>
                    <a:lnTo>
                      <a:pt x="48" y="53"/>
                    </a:lnTo>
                    <a:lnTo>
                      <a:pt x="46" y="55"/>
                    </a:lnTo>
                    <a:lnTo>
                      <a:pt x="46" y="55"/>
                    </a:lnTo>
                    <a:lnTo>
                      <a:pt x="46" y="57"/>
                    </a:lnTo>
                    <a:lnTo>
                      <a:pt x="46" y="57"/>
                    </a:lnTo>
                    <a:lnTo>
                      <a:pt x="45" y="59"/>
                    </a:lnTo>
                    <a:lnTo>
                      <a:pt x="45" y="60"/>
                    </a:lnTo>
                    <a:lnTo>
                      <a:pt x="43" y="62"/>
                    </a:lnTo>
                    <a:lnTo>
                      <a:pt x="40" y="63"/>
                    </a:lnTo>
                    <a:lnTo>
                      <a:pt x="39" y="63"/>
                    </a:lnTo>
                    <a:lnTo>
                      <a:pt x="37" y="65"/>
                    </a:lnTo>
                    <a:lnTo>
                      <a:pt x="33" y="66"/>
                    </a:lnTo>
                    <a:lnTo>
                      <a:pt x="32" y="66"/>
                    </a:lnTo>
                    <a:lnTo>
                      <a:pt x="32" y="65"/>
                    </a:lnTo>
                    <a:lnTo>
                      <a:pt x="30" y="63"/>
                    </a:lnTo>
                    <a:lnTo>
                      <a:pt x="29" y="62"/>
                    </a:lnTo>
                    <a:lnTo>
                      <a:pt x="27" y="62"/>
                    </a:lnTo>
                    <a:lnTo>
                      <a:pt x="26" y="60"/>
                    </a:lnTo>
                    <a:lnTo>
                      <a:pt x="26" y="60"/>
                    </a:lnTo>
                    <a:lnTo>
                      <a:pt x="20" y="60"/>
                    </a:lnTo>
                    <a:lnTo>
                      <a:pt x="19" y="60"/>
                    </a:lnTo>
                    <a:lnTo>
                      <a:pt x="17" y="59"/>
                    </a:lnTo>
                    <a:lnTo>
                      <a:pt x="16" y="59"/>
                    </a:lnTo>
                    <a:lnTo>
                      <a:pt x="16" y="57"/>
                    </a:lnTo>
                    <a:lnTo>
                      <a:pt x="14" y="57"/>
                    </a:lnTo>
                    <a:lnTo>
                      <a:pt x="13" y="57"/>
                    </a:lnTo>
                    <a:lnTo>
                      <a:pt x="14" y="59"/>
                    </a:lnTo>
                    <a:lnTo>
                      <a:pt x="13" y="60"/>
                    </a:lnTo>
                    <a:lnTo>
                      <a:pt x="12" y="62"/>
                    </a:lnTo>
                    <a:lnTo>
                      <a:pt x="12" y="63"/>
                    </a:lnTo>
                    <a:lnTo>
                      <a:pt x="12" y="69"/>
                    </a:lnTo>
                    <a:lnTo>
                      <a:pt x="10" y="72"/>
                    </a:lnTo>
                    <a:lnTo>
                      <a:pt x="10" y="73"/>
                    </a:lnTo>
                    <a:lnTo>
                      <a:pt x="6" y="79"/>
                    </a:lnTo>
                    <a:lnTo>
                      <a:pt x="4" y="80"/>
                    </a:lnTo>
                    <a:lnTo>
                      <a:pt x="6" y="80"/>
                    </a:lnTo>
                    <a:lnTo>
                      <a:pt x="7" y="83"/>
                    </a:lnTo>
                    <a:lnTo>
                      <a:pt x="4" y="83"/>
                    </a:lnTo>
                    <a:lnTo>
                      <a:pt x="3" y="83"/>
                    </a:lnTo>
                    <a:lnTo>
                      <a:pt x="2" y="85"/>
                    </a:lnTo>
                    <a:lnTo>
                      <a:pt x="0" y="86"/>
                    </a:lnTo>
                    <a:lnTo>
                      <a:pt x="0" y="88"/>
                    </a:lnTo>
                    <a:lnTo>
                      <a:pt x="0" y="93"/>
                    </a:lnTo>
                    <a:lnTo>
                      <a:pt x="0" y="95"/>
                    </a:lnTo>
                    <a:lnTo>
                      <a:pt x="2" y="96"/>
                    </a:lnTo>
                    <a:lnTo>
                      <a:pt x="4" y="98"/>
                    </a:lnTo>
                    <a:lnTo>
                      <a:pt x="6" y="99"/>
                    </a:lnTo>
                    <a:lnTo>
                      <a:pt x="7" y="99"/>
                    </a:lnTo>
                    <a:lnTo>
                      <a:pt x="7" y="101"/>
                    </a:lnTo>
                    <a:lnTo>
                      <a:pt x="3" y="103"/>
                    </a:lnTo>
                    <a:lnTo>
                      <a:pt x="2" y="106"/>
                    </a:lnTo>
                    <a:lnTo>
                      <a:pt x="2" y="106"/>
                    </a:lnTo>
                    <a:lnTo>
                      <a:pt x="2" y="108"/>
                    </a:lnTo>
                    <a:lnTo>
                      <a:pt x="2" y="111"/>
                    </a:lnTo>
                    <a:lnTo>
                      <a:pt x="3" y="113"/>
                    </a:lnTo>
                    <a:lnTo>
                      <a:pt x="6" y="121"/>
                    </a:lnTo>
                    <a:lnTo>
                      <a:pt x="6" y="125"/>
                    </a:lnTo>
                    <a:lnTo>
                      <a:pt x="6" y="131"/>
                    </a:lnTo>
                    <a:lnTo>
                      <a:pt x="4" y="135"/>
                    </a:lnTo>
                    <a:lnTo>
                      <a:pt x="6" y="138"/>
                    </a:lnTo>
                    <a:lnTo>
                      <a:pt x="9" y="139"/>
                    </a:lnTo>
                    <a:lnTo>
                      <a:pt x="17" y="139"/>
                    </a:lnTo>
                    <a:lnTo>
                      <a:pt x="20" y="139"/>
                    </a:lnTo>
                    <a:lnTo>
                      <a:pt x="25" y="145"/>
                    </a:lnTo>
                    <a:lnTo>
                      <a:pt x="22" y="152"/>
                    </a:lnTo>
                    <a:lnTo>
                      <a:pt x="16" y="159"/>
                    </a:lnTo>
                    <a:lnTo>
                      <a:pt x="12" y="164"/>
                    </a:lnTo>
                    <a:lnTo>
                      <a:pt x="9" y="167"/>
                    </a:lnTo>
                    <a:lnTo>
                      <a:pt x="9" y="167"/>
                    </a:lnTo>
                    <a:lnTo>
                      <a:pt x="6" y="170"/>
                    </a:lnTo>
                    <a:lnTo>
                      <a:pt x="27" y="175"/>
                    </a:lnTo>
                    <a:lnTo>
                      <a:pt x="35" y="177"/>
                    </a:lnTo>
                    <a:lnTo>
                      <a:pt x="40" y="177"/>
                    </a:lnTo>
                    <a:lnTo>
                      <a:pt x="52" y="177"/>
                    </a:lnTo>
                    <a:lnTo>
                      <a:pt x="55" y="177"/>
                    </a:lnTo>
                    <a:lnTo>
                      <a:pt x="63" y="177"/>
                    </a:lnTo>
                    <a:lnTo>
                      <a:pt x="65" y="177"/>
                    </a:lnTo>
                    <a:lnTo>
                      <a:pt x="65" y="177"/>
                    </a:lnTo>
                    <a:lnTo>
                      <a:pt x="68" y="175"/>
                    </a:lnTo>
                    <a:lnTo>
                      <a:pt x="69" y="175"/>
                    </a:lnTo>
                    <a:lnTo>
                      <a:pt x="73" y="174"/>
                    </a:lnTo>
                    <a:lnTo>
                      <a:pt x="83" y="174"/>
                    </a:lnTo>
                    <a:lnTo>
                      <a:pt x="96" y="171"/>
                    </a:lnTo>
                    <a:lnTo>
                      <a:pt x="101" y="170"/>
                    </a:lnTo>
                    <a:lnTo>
                      <a:pt x="101" y="170"/>
                    </a:lnTo>
                    <a:lnTo>
                      <a:pt x="102" y="168"/>
                    </a:lnTo>
                    <a:lnTo>
                      <a:pt x="102" y="167"/>
                    </a:lnTo>
                    <a:lnTo>
                      <a:pt x="102" y="167"/>
                    </a:lnTo>
                    <a:lnTo>
                      <a:pt x="102" y="165"/>
                    </a:lnTo>
                    <a:lnTo>
                      <a:pt x="101" y="165"/>
                    </a:lnTo>
                    <a:lnTo>
                      <a:pt x="102" y="152"/>
                    </a:lnTo>
                    <a:lnTo>
                      <a:pt x="104" y="151"/>
                    </a:lnTo>
                    <a:lnTo>
                      <a:pt x="105" y="149"/>
                    </a:lnTo>
                    <a:lnTo>
                      <a:pt x="109" y="144"/>
                    </a:lnTo>
                    <a:lnTo>
                      <a:pt x="111" y="142"/>
                    </a:lnTo>
                    <a:lnTo>
                      <a:pt x="114" y="142"/>
                    </a:lnTo>
                    <a:lnTo>
                      <a:pt x="115" y="142"/>
                    </a:lnTo>
                    <a:lnTo>
                      <a:pt x="118" y="142"/>
                    </a:lnTo>
                    <a:lnTo>
                      <a:pt x="121" y="144"/>
                    </a:lnTo>
                    <a:lnTo>
                      <a:pt x="122" y="142"/>
                    </a:lnTo>
                    <a:lnTo>
                      <a:pt x="125" y="142"/>
                    </a:lnTo>
                    <a:lnTo>
                      <a:pt x="126" y="141"/>
                    </a:lnTo>
                    <a:lnTo>
                      <a:pt x="128" y="141"/>
                    </a:lnTo>
                    <a:lnTo>
                      <a:pt x="126" y="139"/>
                    </a:lnTo>
                    <a:lnTo>
                      <a:pt x="125" y="139"/>
                    </a:lnTo>
                    <a:lnTo>
                      <a:pt x="125" y="138"/>
                    </a:lnTo>
                    <a:lnTo>
                      <a:pt x="125" y="138"/>
                    </a:lnTo>
                    <a:lnTo>
                      <a:pt x="126" y="138"/>
                    </a:lnTo>
                    <a:lnTo>
                      <a:pt x="126" y="136"/>
                    </a:lnTo>
                    <a:lnTo>
                      <a:pt x="128" y="136"/>
                    </a:lnTo>
                    <a:lnTo>
                      <a:pt x="134" y="132"/>
                    </a:lnTo>
                    <a:lnTo>
                      <a:pt x="135" y="132"/>
                    </a:lnTo>
                    <a:lnTo>
                      <a:pt x="138" y="132"/>
                    </a:lnTo>
                    <a:lnTo>
                      <a:pt x="139" y="132"/>
                    </a:lnTo>
                    <a:lnTo>
                      <a:pt x="142" y="132"/>
                    </a:lnTo>
                    <a:lnTo>
                      <a:pt x="144" y="132"/>
                    </a:lnTo>
                    <a:lnTo>
                      <a:pt x="145" y="134"/>
                    </a:lnTo>
                    <a:lnTo>
                      <a:pt x="145" y="134"/>
                    </a:lnTo>
                    <a:lnTo>
                      <a:pt x="145" y="135"/>
                    </a:lnTo>
                    <a:lnTo>
                      <a:pt x="147" y="135"/>
                    </a:lnTo>
                    <a:lnTo>
                      <a:pt x="148" y="135"/>
                    </a:lnTo>
                    <a:lnTo>
                      <a:pt x="149" y="135"/>
                    </a:lnTo>
                    <a:lnTo>
                      <a:pt x="151" y="134"/>
                    </a:lnTo>
                    <a:lnTo>
                      <a:pt x="152" y="132"/>
                    </a:lnTo>
                    <a:lnTo>
                      <a:pt x="154" y="129"/>
                    </a:lnTo>
                    <a:lnTo>
                      <a:pt x="154" y="128"/>
                    </a:lnTo>
                    <a:lnTo>
                      <a:pt x="154" y="122"/>
                    </a:lnTo>
                    <a:lnTo>
                      <a:pt x="155" y="121"/>
                    </a:lnTo>
                    <a:lnTo>
                      <a:pt x="155" y="119"/>
                    </a:lnTo>
                    <a:lnTo>
                      <a:pt x="157" y="116"/>
                    </a:lnTo>
                    <a:lnTo>
                      <a:pt x="157" y="115"/>
                    </a:lnTo>
                    <a:lnTo>
                      <a:pt x="158" y="112"/>
                    </a:lnTo>
                    <a:lnTo>
                      <a:pt x="158" y="109"/>
                    </a:lnTo>
                    <a:lnTo>
                      <a:pt x="160" y="108"/>
                    </a:lnTo>
                    <a:lnTo>
                      <a:pt x="161" y="108"/>
                    </a:lnTo>
                    <a:lnTo>
                      <a:pt x="167" y="106"/>
                    </a:lnTo>
                    <a:lnTo>
                      <a:pt x="168" y="105"/>
                    </a:lnTo>
                    <a:lnTo>
                      <a:pt x="171" y="103"/>
                    </a:lnTo>
                    <a:lnTo>
                      <a:pt x="172" y="102"/>
                    </a:lnTo>
                    <a:lnTo>
                      <a:pt x="171" y="101"/>
                    </a:lnTo>
                    <a:lnTo>
                      <a:pt x="171" y="99"/>
                    </a:lnTo>
                    <a:lnTo>
                      <a:pt x="170" y="96"/>
                    </a:lnTo>
                    <a:lnTo>
                      <a:pt x="165" y="93"/>
                    </a:lnTo>
                    <a:lnTo>
                      <a:pt x="165" y="92"/>
                    </a:lnTo>
                    <a:lnTo>
                      <a:pt x="165" y="89"/>
                    </a:lnTo>
                    <a:lnTo>
                      <a:pt x="168" y="89"/>
                    </a:lnTo>
                    <a:lnTo>
                      <a:pt x="172" y="90"/>
                    </a:lnTo>
                    <a:lnTo>
                      <a:pt x="177" y="90"/>
                    </a:lnTo>
                    <a:lnTo>
                      <a:pt x="183" y="89"/>
                    </a:lnTo>
                    <a:lnTo>
                      <a:pt x="185" y="88"/>
                    </a:lnTo>
                    <a:lnTo>
                      <a:pt x="187" y="83"/>
                    </a:lnTo>
                    <a:lnTo>
                      <a:pt x="187" y="82"/>
                    </a:lnTo>
                    <a:lnTo>
                      <a:pt x="185" y="80"/>
                    </a:lnTo>
                    <a:lnTo>
                      <a:pt x="184" y="79"/>
                    </a:lnTo>
                    <a:lnTo>
                      <a:pt x="185" y="79"/>
                    </a:lnTo>
                    <a:lnTo>
                      <a:pt x="185" y="79"/>
                    </a:lnTo>
                    <a:lnTo>
                      <a:pt x="185" y="79"/>
                    </a:lnTo>
                    <a:lnTo>
                      <a:pt x="187" y="76"/>
                    </a:lnTo>
                    <a:lnTo>
                      <a:pt x="193" y="70"/>
                    </a:lnTo>
                    <a:lnTo>
                      <a:pt x="194" y="67"/>
                    </a:lnTo>
                    <a:lnTo>
                      <a:pt x="195" y="66"/>
                    </a:lnTo>
                    <a:lnTo>
                      <a:pt x="195" y="65"/>
                    </a:lnTo>
                    <a:lnTo>
                      <a:pt x="195" y="65"/>
                    </a:lnTo>
                    <a:lnTo>
                      <a:pt x="195" y="63"/>
                    </a:lnTo>
                    <a:lnTo>
                      <a:pt x="194" y="63"/>
                    </a:lnTo>
                    <a:lnTo>
                      <a:pt x="195" y="62"/>
                    </a:lnTo>
                    <a:lnTo>
                      <a:pt x="195" y="62"/>
                    </a:lnTo>
                    <a:lnTo>
                      <a:pt x="195" y="60"/>
                    </a:lnTo>
                    <a:lnTo>
                      <a:pt x="195" y="59"/>
                    </a:lnTo>
                    <a:lnTo>
                      <a:pt x="194" y="56"/>
                    </a:lnTo>
                    <a:lnTo>
                      <a:pt x="193" y="55"/>
                    </a:lnTo>
                    <a:lnTo>
                      <a:pt x="193" y="52"/>
                    </a:lnTo>
                    <a:lnTo>
                      <a:pt x="190" y="50"/>
                    </a:lnTo>
                    <a:lnTo>
                      <a:pt x="190" y="49"/>
                    </a:lnTo>
                    <a:lnTo>
                      <a:pt x="190" y="47"/>
                    </a:lnTo>
                    <a:lnTo>
                      <a:pt x="191" y="46"/>
                    </a:lnTo>
                    <a:lnTo>
                      <a:pt x="193" y="43"/>
                    </a:lnTo>
                    <a:lnTo>
                      <a:pt x="193" y="43"/>
                    </a:lnTo>
                    <a:lnTo>
                      <a:pt x="194" y="42"/>
                    </a:lnTo>
                    <a:lnTo>
                      <a:pt x="195" y="42"/>
                    </a:lnTo>
                    <a:lnTo>
                      <a:pt x="197" y="40"/>
                    </a:lnTo>
                    <a:lnTo>
                      <a:pt x="198" y="40"/>
                    </a:lnTo>
                    <a:lnTo>
                      <a:pt x="200" y="39"/>
                    </a:lnTo>
                    <a:lnTo>
                      <a:pt x="204" y="36"/>
                    </a:lnTo>
                    <a:lnTo>
                      <a:pt x="205" y="34"/>
                    </a:lnTo>
                    <a:lnTo>
                      <a:pt x="211" y="33"/>
                    </a:lnTo>
                    <a:lnTo>
                      <a:pt x="217" y="32"/>
                    </a:lnTo>
                    <a:lnTo>
                      <a:pt x="227" y="32"/>
                    </a:lnTo>
                    <a:lnTo>
                      <a:pt x="230" y="32"/>
                    </a:lnTo>
                    <a:lnTo>
                      <a:pt x="236" y="32"/>
                    </a:lnTo>
                    <a:lnTo>
                      <a:pt x="237" y="33"/>
                    </a:lnTo>
                    <a:lnTo>
                      <a:pt x="240" y="32"/>
                    </a:lnTo>
                    <a:lnTo>
                      <a:pt x="247" y="29"/>
                    </a:lnTo>
                    <a:lnTo>
                      <a:pt x="246" y="26"/>
                    </a:lnTo>
                    <a:lnTo>
                      <a:pt x="247" y="24"/>
                    </a:lnTo>
                    <a:lnTo>
                      <a:pt x="250" y="24"/>
                    </a:lnTo>
                    <a:lnTo>
                      <a:pt x="253" y="24"/>
                    </a:lnTo>
                    <a:lnTo>
                      <a:pt x="250" y="21"/>
                    </a:lnTo>
                    <a:lnTo>
                      <a:pt x="246" y="2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3" name="Freeform 119">
                <a:extLst>
                  <a:ext uri="{FF2B5EF4-FFF2-40B4-BE49-F238E27FC236}">
                    <a16:creationId xmlns:a16="http://schemas.microsoft.com/office/drawing/2014/main" id="{6BABB6E1-8D25-F5FA-30CD-CCCE48F94B17}"/>
                  </a:ext>
                </a:extLst>
              </p:cNvPr>
              <p:cNvSpPr>
                <a:spLocks noEditPoints="1"/>
              </p:cNvSpPr>
              <p:nvPr/>
            </p:nvSpPr>
            <p:spPr bwMode="auto">
              <a:xfrm>
                <a:off x="6766527" y="2962889"/>
                <a:ext cx="141704" cy="108447"/>
              </a:xfrm>
              <a:custGeom>
                <a:avLst/>
                <a:gdLst>
                  <a:gd name="T0" fmla="*/ 16 w 98"/>
                  <a:gd name="T1" fmla="*/ 63 h 75"/>
                  <a:gd name="T2" fmla="*/ 0 w 98"/>
                  <a:gd name="T3" fmla="*/ 49 h 75"/>
                  <a:gd name="T4" fmla="*/ 3 w 98"/>
                  <a:gd name="T5" fmla="*/ 46 h 75"/>
                  <a:gd name="T6" fmla="*/ 6 w 98"/>
                  <a:gd name="T7" fmla="*/ 50 h 75"/>
                  <a:gd name="T8" fmla="*/ 10 w 98"/>
                  <a:gd name="T9" fmla="*/ 52 h 75"/>
                  <a:gd name="T10" fmla="*/ 18 w 98"/>
                  <a:gd name="T11" fmla="*/ 52 h 75"/>
                  <a:gd name="T12" fmla="*/ 20 w 98"/>
                  <a:gd name="T13" fmla="*/ 58 h 75"/>
                  <a:gd name="T14" fmla="*/ 20 w 98"/>
                  <a:gd name="T15" fmla="*/ 59 h 75"/>
                  <a:gd name="T16" fmla="*/ 3 w 98"/>
                  <a:gd name="T17" fmla="*/ 19 h 75"/>
                  <a:gd name="T18" fmla="*/ 29 w 98"/>
                  <a:gd name="T19" fmla="*/ 0 h 75"/>
                  <a:gd name="T20" fmla="*/ 31 w 98"/>
                  <a:gd name="T21" fmla="*/ 2 h 75"/>
                  <a:gd name="T22" fmla="*/ 33 w 98"/>
                  <a:gd name="T23" fmla="*/ 2 h 75"/>
                  <a:gd name="T24" fmla="*/ 36 w 98"/>
                  <a:gd name="T25" fmla="*/ 4 h 75"/>
                  <a:gd name="T26" fmla="*/ 39 w 98"/>
                  <a:gd name="T27" fmla="*/ 7 h 75"/>
                  <a:gd name="T28" fmla="*/ 42 w 98"/>
                  <a:gd name="T29" fmla="*/ 10 h 75"/>
                  <a:gd name="T30" fmla="*/ 43 w 98"/>
                  <a:gd name="T31" fmla="*/ 13 h 75"/>
                  <a:gd name="T32" fmla="*/ 48 w 98"/>
                  <a:gd name="T33" fmla="*/ 15 h 75"/>
                  <a:gd name="T34" fmla="*/ 54 w 98"/>
                  <a:gd name="T35" fmla="*/ 16 h 75"/>
                  <a:gd name="T36" fmla="*/ 58 w 98"/>
                  <a:gd name="T37" fmla="*/ 10 h 75"/>
                  <a:gd name="T38" fmla="*/ 62 w 98"/>
                  <a:gd name="T39" fmla="*/ 9 h 75"/>
                  <a:gd name="T40" fmla="*/ 66 w 98"/>
                  <a:gd name="T41" fmla="*/ 2 h 75"/>
                  <a:gd name="T42" fmla="*/ 84 w 98"/>
                  <a:gd name="T43" fmla="*/ 26 h 75"/>
                  <a:gd name="T44" fmla="*/ 92 w 98"/>
                  <a:gd name="T45" fmla="*/ 30 h 75"/>
                  <a:gd name="T46" fmla="*/ 95 w 98"/>
                  <a:gd name="T47" fmla="*/ 35 h 75"/>
                  <a:gd name="T48" fmla="*/ 84 w 98"/>
                  <a:gd name="T49" fmla="*/ 38 h 75"/>
                  <a:gd name="T50" fmla="*/ 79 w 98"/>
                  <a:gd name="T51" fmla="*/ 59 h 75"/>
                  <a:gd name="T52" fmla="*/ 74 w 98"/>
                  <a:gd name="T53" fmla="*/ 62 h 75"/>
                  <a:gd name="T54" fmla="*/ 72 w 98"/>
                  <a:gd name="T55" fmla="*/ 75 h 75"/>
                  <a:gd name="T56" fmla="*/ 64 w 98"/>
                  <a:gd name="T57" fmla="*/ 71 h 75"/>
                  <a:gd name="T58" fmla="*/ 58 w 98"/>
                  <a:gd name="T59" fmla="*/ 63 h 75"/>
                  <a:gd name="T60" fmla="*/ 61 w 98"/>
                  <a:gd name="T61" fmla="*/ 61 h 75"/>
                  <a:gd name="T62" fmla="*/ 61 w 98"/>
                  <a:gd name="T63" fmla="*/ 55 h 75"/>
                  <a:gd name="T64" fmla="*/ 55 w 98"/>
                  <a:gd name="T65" fmla="*/ 49 h 75"/>
                  <a:gd name="T66" fmla="*/ 31 w 98"/>
                  <a:gd name="T67" fmla="*/ 65 h 75"/>
                  <a:gd name="T68" fmla="*/ 32 w 98"/>
                  <a:gd name="T69" fmla="*/ 58 h 75"/>
                  <a:gd name="T70" fmla="*/ 28 w 98"/>
                  <a:gd name="T71" fmla="*/ 53 h 75"/>
                  <a:gd name="T72" fmla="*/ 28 w 98"/>
                  <a:gd name="T73" fmla="*/ 49 h 75"/>
                  <a:gd name="T74" fmla="*/ 23 w 98"/>
                  <a:gd name="T75" fmla="*/ 49 h 75"/>
                  <a:gd name="T76" fmla="*/ 16 w 98"/>
                  <a:gd name="T77" fmla="*/ 42 h 75"/>
                  <a:gd name="T78" fmla="*/ 19 w 98"/>
                  <a:gd name="T79" fmla="*/ 36 h 75"/>
                  <a:gd name="T80" fmla="*/ 10 w 98"/>
                  <a:gd name="T81" fmla="*/ 27 h 75"/>
                  <a:gd name="T82" fmla="*/ 12 w 98"/>
                  <a:gd name="T83" fmla="*/ 22 h 75"/>
                  <a:gd name="T84" fmla="*/ 8 w 98"/>
                  <a:gd name="T85" fmla="*/ 17 h 75"/>
                  <a:gd name="T86" fmla="*/ 3 w 98"/>
                  <a:gd name="T87" fmla="*/ 13 h 75"/>
                  <a:gd name="T88" fmla="*/ 12 w 98"/>
                  <a:gd name="T89" fmla="*/ 10 h 75"/>
                  <a:gd name="T90" fmla="*/ 16 w 98"/>
                  <a:gd name="T91" fmla="*/ 13 h 75"/>
                  <a:gd name="T92" fmla="*/ 16 w 98"/>
                  <a:gd name="T93" fmla="*/ 15 h 75"/>
                  <a:gd name="T94" fmla="*/ 23 w 98"/>
                  <a:gd name="T95" fmla="*/ 16 h 75"/>
                  <a:gd name="T96" fmla="*/ 31 w 98"/>
                  <a:gd name="T97" fmla="*/ 19 h 75"/>
                  <a:gd name="T98" fmla="*/ 25 w 98"/>
                  <a:gd name="T99" fmla="*/ 6 h 75"/>
                  <a:gd name="T100" fmla="*/ 13 w 98"/>
                  <a:gd name="T101" fmla="*/ 27 h 75"/>
                  <a:gd name="T102" fmla="*/ 13 w 98"/>
                  <a:gd name="T103"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8" h="75">
                    <a:moveTo>
                      <a:pt x="20" y="59"/>
                    </a:moveTo>
                    <a:lnTo>
                      <a:pt x="23" y="65"/>
                    </a:lnTo>
                    <a:lnTo>
                      <a:pt x="19" y="65"/>
                    </a:lnTo>
                    <a:lnTo>
                      <a:pt x="16" y="63"/>
                    </a:lnTo>
                    <a:lnTo>
                      <a:pt x="12" y="62"/>
                    </a:lnTo>
                    <a:lnTo>
                      <a:pt x="9" y="59"/>
                    </a:lnTo>
                    <a:lnTo>
                      <a:pt x="5" y="55"/>
                    </a:lnTo>
                    <a:lnTo>
                      <a:pt x="0" y="49"/>
                    </a:lnTo>
                    <a:lnTo>
                      <a:pt x="0" y="49"/>
                    </a:lnTo>
                    <a:lnTo>
                      <a:pt x="0" y="48"/>
                    </a:lnTo>
                    <a:lnTo>
                      <a:pt x="2" y="48"/>
                    </a:lnTo>
                    <a:lnTo>
                      <a:pt x="3" y="46"/>
                    </a:lnTo>
                    <a:lnTo>
                      <a:pt x="5" y="48"/>
                    </a:lnTo>
                    <a:lnTo>
                      <a:pt x="6" y="48"/>
                    </a:lnTo>
                    <a:lnTo>
                      <a:pt x="6" y="49"/>
                    </a:lnTo>
                    <a:lnTo>
                      <a:pt x="6" y="50"/>
                    </a:lnTo>
                    <a:lnTo>
                      <a:pt x="6" y="50"/>
                    </a:lnTo>
                    <a:lnTo>
                      <a:pt x="8" y="50"/>
                    </a:lnTo>
                    <a:lnTo>
                      <a:pt x="10" y="52"/>
                    </a:lnTo>
                    <a:lnTo>
                      <a:pt x="10" y="52"/>
                    </a:lnTo>
                    <a:lnTo>
                      <a:pt x="12" y="52"/>
                    </a:lnTo>
                    <a:lnTo>
                      <a:pt x="15" y="50"/>
                    </a:lnTo>
                    <a:lnTo>
                      <a:pt x="16" y="50"/>
                    </a:lnTo>
                    <a:lnTo>
                      <a:pt x="18" y="52"/>
                    </a:lnTo>
                    <a:lnTo>
                      <a:pt x="18" y="53"/>
                    </a:lnTo>
                    <a:lnTo>
                      <a:pt x="19" y="56"/>
                    </a:lnTo>
                    <a:lnTo>
                      <a:pt x="19" y="56"/>
                    </a:lnTo>
                    <a:lnTo>
                      <a:pt x="20" y="58"/>
                    </a:lnTo>
                    <a:lnTo>
                      <a:pt x="20" y="58"/>
                    </a:lnTo>
                    <a:lnTo>
                      <a:pt x="20" y="58"/>
                    </a:lnTo>
                    <a:lnTo>
                      <a:pt x="20" y="59"/>
                    </a:lnTo>
                    <a:lnTo>
                      <a:pt x="20" y="59"/>
                    </a:lnTo>
                    <a:close/>
                    <a:moveTo>
                      <a:pt x="3" y="19"/>
                    </a:moveTo>
                    <a:lnTo>
                      <a:pt x="5" y="20"/>
                    </a:lnTo>
                    <a:lnTo>
                      <a:pt x="5" y="19"/>
                    </a:lnTo>
                    <a:lnTo>
                      <a:pt x="3" y="19"/>
                    </a:lnTo>
                    <a:lnTo>
                      <a:pt x="3" y="19"/>
                    </a:lnTo>
                    <a:close/>
                    <a:moveTo>
                      <a:pt x="29" y="0"/>
                    </a:moveTo>
                    <a:lnTo>
                      <a:pt x="29" y="0"/>
                    </a:lnTo>
                    <a:lnTo>
                      <a:pt x="29" y="0"/>
                    </a:lnTo>
                    <a:lnTo>
                      <a:pt x="29" y="0"/>
                    </a:lnTo>
                    <a:lnTo>
                      <a:pt x="31" y="2"/>
                    </a:lnTo>
                    <a:lnTo>
                      <a:pt x="31" y="2"/>
                    </a:lnTo>
                    <a:lnTo>
                      <a:pt x="31" y="2"/>
                    </a:lnTo>
                    <a:lnTo>
                      <a:pt x="31" y="2"/>
                    </a:lnTo>
                    <a:lnTo>
                      <a:pt x="32" y="3"/>
                    </a:lnTo>
                    <a:lnTo>
                      <a:pt x="32" y="3"/>
                    </a:lnTo>
                    <a:lnTo>
                      <a:pt x="33" y="2"/>
                    </a:lnTo>
                    <a:lnTo>
                      <a:pt x="35" y="3"/>
                    </a:lnTo>
                    <a:lnTo>
                      <a:pt x="35" y="3"/>
                    </a:lnTo>
                    <a:lnTo>
                      <a:pt x="36" y="4"/>
                    </a:lnTo>
                    <a:lnTo>
                      <a:pt x="36" y="4"/>
                    </a:lnTo>
                    <a:lnTo>
                      <a:pt x="38" y="6"/>
                    </a:lnTo>
                    <a:lnTo>
                      <a:pt x="38" y="6"/>
                    </a:lnTo>
                    <a:lnTo>
                      <a:pt x="39" y="6"/>
                    </a:lnTo>
                    <a:lnTo>
                      <a:pt x="39" y="7"/>
                    </a:lnTo>
                    <a:lnTo>
                      <a:pt x="41" y="9"/>
                    </a:lnTo>
                    <a:lnTo>
                      <a:pt x="42" y="9"/>
                    </a:lnTo>
                    <a:lnTo>
                      <a:pt x="42" y="10"/>
                    </a:lnTo>
                    <a:lnTo>
                      <a:pt x="42" y="10"/>
                    </a:lnTo>
                    <a:lnTo>
                      <a:pt x="43" y="10"/>
                    </a:lnTo>
                    <a:lnTo>
                      <a:pt x="43" y="12"/>
                    </a:lnTo>
                    <a:lnTo>
                      <a:pt x="43" y="13"/>
                    </a:lnTo>
                    <a:lnTo>
                      <a:pt x="43" y="13"/>
                    </a:lnTo>
                    <a:lnTo>
                      <a:pt x="43" y="13"/>
                    </a:lnTo>
                    <a:lnTo>
                      <a:pt x="45" y="15"/>
                    </a:lnTo>
                    <a:lnTo>
                      <a:pt x="46" y="15"/>
                    </a:lnTo>
                    <a:lnTo>
                      <a:pt x="48" y="15"/>
                    </a:lnTo>
                    <a:lnTo>
                      <a:pt x="49" y="15"/>
                    </a:lnTo>
                    <a:lnTo>
                      <a:pt x="49" y="16"/>
                    </a:lnTo>
                    <a:lnTo>
                      <a:pt x="51" y="16"/>
                    </a:lnTo>
                    <a:lnTo>
                      <a:pt x="54" y="16"/>
                    </a:lnTo>
                    <a:lnTo>
                      <a:pt x="55" y="15"/>
                    </a:lnTo>
                    <a:lnTo>
                      <a:pt x="56" y="13"/>
                    </a:lnTo>
                    <a:lnTo>
                      <a:pt x="56" y="12"/>
                    </a:lnTo>
                    <a:lnTo>
                      <a:pt x="58" y="10"/>
                    </a:lnTo>
                    <a:lnTo>
                      <a:pt x="58" y="10"/>
                    </a:lnTo>
                    <a:lnTo>
                      <a:pt x="59" y="10"/>
                    </a:lnTo>
                    <a:lnTo>
                      <a:pt x="59" y="9"/>
                    </a:lnTo>
                    <a:lnTo>
                      <a:pt x="62" y="9"/>
                    </a:lnTo>
                    <a:lnTo>
                      <a:pt x="62" y="7"/>
                    </a:lnTo>
                    <a:lnTo>
                      <a:pt x="64" y="6"/>
                    </a:lnTo>
                    <a:lnTo>
                      <a:pt x="65" y="3"/>
                    </a:lnTo>
                    <a:lnTo>
                      <a:pt x="66" y="2"/>
                    </a:lnTo>
                    <a:lnTo>
                      <a:pt x="72" y="6"/>
                    </a:lnTo>
                    <a:lnTo>
                      <a:pt x="78" y="19"/>
                    </a:lnTo>
                    <a:lnTo>
                      <a:pt x="82" y="25"/>
                    </a:lnTo>
                    <a:lnTo>
                      <a:pt x="84" y="26"/>
                    </a:lnTo>
                    <a:lnTo>
                      <a:pt x="85" y="27"/>
                    </a:lnTo>
                    <a:lnTo>
                      <a:pt x="88" y="29"/>
                    </a:lnTo>
                    <a:lnTo>
                      <a:pt x="89" y="29"/>
                    </a:lnTo>
                    <a:lnTo>
                      <a:pt x="92" y="30"/>
                    </a:lnTo>
                    <a:lnTo>
                      <a:pt x="95" y="30"/>
                    </a:lnTo>
                    <a:lnTo>
                      <a:pt x="97" y="33"/>
                    </a:lnTo>
                    <a:lnTo>
                      <a:pt x="98" y="36"/>
                    </a:lnTo>
                    <a:lnTo>
                      <a:pt x="95" y="35"/>
                    </a:lnTo>
                    <a:lnTo>
                      <a:pt x="92" y="35"/>
                    </a:lnTo>
                    <a:lnTo>
                      <a:pt x="89" y="35"/>
                    </a:lnTo>
                    <a:lnTo>
                      <a:pt x="87" y="36"/>
                    </a:lnTo>
                    <a:lnTo>
                      <a:pt x="84" y="38"/>
                    </a:lnTo>
                    <a:lnTo>
                      <a:pt x="82" y="40"/>
                    </a:lnTo>
                    <a:lnTo>
                      <a:pt x="81" y="45"/>
                    </a:lnTo>
                    <a:lnTo>
                      <a:pt x="81" y="55"/>
                    </a:lnTo>
                    <a:lnTo>
                      <a:pt x="79" y="59"/>
                    </a:lnTo>
                    <a:lnTo>
                      <a:pt x="76" y="63"/>
                    </a:lnTo>
                    <a:lnTo>
                      <a:pt x="75" y="61"/>
                    </a:lnTo>
                    <a:lnTo>
                      <a:pt x="75" y="61"/>
                    </a:lnTo>
                    <a:lnTo>
                      <a:pt x="74" y="62"/>
                    </a:lnTo>
                    <a:lnTo>
                      <a:pt x="72" y="63"/>
                    </a:lnTo>
                    <a:lnTo>
                      <a:pt x="72" y="66"/>
                    </a:lnTo>
                    <a:lnTo>
                      <a:pt x="72" y="69"/>
                    </a:lnTo>
                    <a:lnTo>
                      <a:pt x="72" y="75"/>
                    </a:lnTo>
                    <a:lnTo>
                      <a:pt x="69" y="75"/>
                    </a:lnTo>
                    <a:lnTo>
                      <a:pt x="66" y="75"/>
                    </a:lnTo>
                    <a:lnTo>
                      <a:pt x="65" y="73"/>
                    </a:lnTo>
                    <a:lnTo>
                      <a:pt x="64" y="71"/>
                    </a:lnTo>
                    <a:lnTo>
                      <a:pt x="58" y="68"/>
                    </a:lnTo>
                    <a:lnTo>
                      <a:pt x="56" y="66"/>
                    </a:lnTo>
                    <a:lnTo>
                      <a:pt x="56" y="65"/>
                    </a:lnTo>
                    <a:lnTo>
                      <a:pt x="58" y="63"/>
                    </a:lnTo>
                    <a:lnTo>
                      <a:pt x="61" y="63"/>
                    </a:lnTo>
                    <a:lnTo>
                      <a:pt x="61" y="63"/>
                    </a:lnTo>
                    <a:lnTo>
                      <a:pt x="62" y="62"/>
                    </a:lnTo>
                    <a:lnTo>
                      <a:pt x="61" y="61"/>
                    </a:lnTo>
                    <a:lnTo>
                      <a:pt x="59" y="59"/>
                    </a:lnTo>
                    <a:lnTo>
                      <a:pt x="58" y="58"/>
                    </a:lnTo>
                    <a:lnTo>
                      <a:pt x="59" y="56"/>
                    </a:lnTo>
                    <a:lnTo>
                      <a:pt x="61" y="55"/>
                    </a:lnTo>
                    <a:lnTo>
                      <a:pt x="61" y="55"/>
                    </a:lnTo>
                    <a:lnTo>
                      <a:pt x="59" y="52"/>
                    </a:lnTo>
                    <a:lnTo>
                      <a:pt x="58" y="49"/>
                    </a:lnTo>
                    <a:lnTo>
                      <a:pt x="55" y="49"/>
                    </a:lnTo>
                    <a:lnTo>
                      <a:pt x="52" y="49"/>
                    </a:lnTo>
                    <a:lnTo>
                      <a:pt x="46" y="53"/>
                    </a:lnTo>
                    <a:lnTo>
                      <a:pt x="32" y="63"/>
                    </a:lnTo>
                    <a:lnTo>
                      <a:pt x="31" y="65"/>
                    </a:lnTo>
                    <a:lnTo>
                      <a:pt x="29" y="62"/>
                    </a:lnTo>
                    <a:lnTo>
                      <a:pt x="29" y="61"/>
                    </a:lnTo>
                    <a:lnTo>
                      <a:pt x="29" y="59"/>
                    </a:lnTo>
                    <a:lnTo>
                      <a:pt x="32" y="58"/>
                    </a:lnTo>
                    <a:lnTo>
                      <a:pt x="31" y="56"/>
                    </a:lnTo>
                    <a:lnTo>
                      <a:pt x="29" y="56"/>
                    </a:lnTo>
                    <a:lnTo>
                      <a:pt x="29" y="55"/>
                    </a:lnTo>
                    <a:lnTo>
                      <a:pt x="28" y="53"/>
                    </a:lnTo>
                    <a:lnTo>
                      <a:pt x="29" y="52"/>
                    </a:lnTo>
                    <a:lnTo>
                      <a:pt x="29" y="52"/>
                    </a:lnTo>
                    <a:lnTo>
                      <a:pt x="29" y="50"/>
                    </a:lnTo>
                    <a:lnTo>
                      <a:pt x="28" y="49"/>
                    </a:lnTo>
                    <a:lnTo>
                      <a:pt x="26" y="49"/>
                    </a:lnTo>
                    <a:lnTo>
                      <a:pt x="25" y="49"/>
                    </a:lnTo>
                    <a:lnTo>
                      <a:pt x="23" y="49"/>
                    </a:lnTo>
                    <a:lnTo>
                      <a:pt x="23" y="49"/>
                    </a:lnTo>
                    <a:lnTo>
                      <a:pt x="18" y="45"/>
                    </a:lnTo>
                    <a:lnTo>
                      <a:pt x="16" y="43"/>
                    </a:lnTo>
                    <a:lnTo>
                      <a:pt x="13" y="42"/>
                    </a:lnTo>
                    <a:lnTo>
                      <a:pt x="16" y="42"/>
                    </a:lnTo>
                    <a:lnTo>
                      <a:pt x="18" y="42"/>
                    </a:lnTo>
                    <a:lnTo>
                      <a:pt x="19" y="40"/>
                    </a:lnTo>
                    <a:lnTo>
                      <a:pt x="20" y="39"/>
                    </a:lnTo>
                    <a:lnTo>
                      <a:pt x="19" y="36"/>
                    </a:lnTo>
                    <a:lnTo>
                      <a:pt x="18" y="35"/>
                    </a:lnTo>
                    <a:lnTo>
                      <a:pt x="15" y="32"/>
                    </a:lnTo>
                    <a:lnTo>
                      <a:pt x="12" y="30"/>
                    </a:lnTo>
                    <a:lnTo>
                      <a:pt x="10" y="27"/>
                    </a:lnTo>
                    <a:lnTo>
                      <a:pt x="12" y="26"/>
                    </a:lnTo>
                    <a:lnTo>
                      <a:pt x="13" y="25"/>
                    </a:lnTo>
                    <a:lnTo>
                      <a:pt x="13" y="23"/>
                    </a:lnTo>
                    <a:lnTo>
                      <a:pt x="12" y="22"/>
                    </a:lnTo>
                    <a:lnTo>
                      <a:pt x="9" y="20"/>
                    </a:lnTo>
                    <a:lnTo>
                      <a:pt x="5" y="19"/>
                    </a:lnTo>
                    <a:lnTo>
                      <a:pt x="6" y="17"/>
                    </a:lnTo>
                    <a:lnTo>
                      <a:pt x="8" y="17"/>
                    </a:lnTo>
                    <a:lnTo>
                      <a:pt x="6" y="16"/>
                    </a:lnTo>
                    <a:lnTo>
                      <a:pt x="5" y="16"/>
                    </a:lnTo>
                    <a:lnTo>
                      <a:pt x="5" y="15"/>
                    </a:lnTo>
                    <a:lnTo>
                      <a:pt x="3" y="13"/>
                    </a:lnTo>
                    <a:lnTo>
                      <a:pt x="6" y="12"/>
                    </a:lnTo>
                    <a:lnTo>
                      <a:pt x="8" y="12"/>
                    </a:lnTo>
                    <a:lnTo>
                      <a:pt x="9" y="10"/>
                    </a:lnTo>
                    <a:lnTo>
                      <a:pt x="12" y="10"/>
                    </a:lnTo>
                    <a:lnTo>
                      <a:pt x="12" y="12"/>
                    </a:lnTo>
                    <a:lnTo>
                      <a:pt x="13" y="12"/>
                    </a:lnTo>
                    <a:lnTo>
                      <a:pt x="15" y="12"/>
                    </a:lnTo>
                    <a:lnTo>
                      <a:pt x="16" y="13"/>
                    </a:lnTo>
                    <a:lnTo>
                      <a:pt x="16" y="13"/>
                    </a:lnTo>
                    <a:lnTo>
                      <a:pt x="16" y="13"/>
                    </a:lnTo>
                    <a:lnTo>
                      <a:pt x="16" y="15"/>
                    </a:lnTo>
                    <a:lnTo>
                      <a:pt x="16" y="15"/>
                    </a:lnTo>
                    <a:lnTo>
                      <a:pt x="19" y="16"/>
                    </a:lnTo>
                    <a:lnTo>
                      <a:pt x="20" y="16"/>
                    </a:lnTo>
                    <a:lnTo>
                      <a:pt x="22" y="16"/>
                    </a:lnTo>
                    <a:lnTo>
                      <a:pt x="23" y="16"/>
                    </a:lnTo>
                    <a:lnTo>
                      <a:pt x="25" y="16"/>
                    </a:lnTo>
                    <a:lnTo>
                      <a:pt x="28" y="17"/>
                    </a:lnTo>
                    <a:lnTo>
                      <a:pt x="29" y="19"/>
                    </a:lnTo>
                    <a:lnTo>
                      <a:pt x="31" y="19"/>
                    </a:lnTo>
                    <a:lnTo>
                      <a:pt x="33" y="16"/>
                    </a:lnTo>
                    <a:lnTo>
                      <a:pt x="32" y="13"/>
                    </a:lnTo>
                    <a:lnTo>
                      <a:pt x="26" y="7"/>
                    </a:lnTo>
                    <a:lnTo>
                      <a:pt x="25" y="6"/>
                    </a:lnTo>
                    <a:lnTo>
                      <a:pt x="26" y="4"/>
                    </a:lnTo>
                    <a:lnTo>
                      <a:pt x="28" y="3"/>
                    </a:lnTo>
                    <a:lnTo>
                      <a:pt x="29" y="0"/>
                    </a:lnTo>
                    <a:close/>
                    <a:moveTo>
                      <a:pt x="13" y="27"/>
                    </a:moveTo>
                    <a:lnTo>
                      <a:pt x="13" y="27"/>
                    </a:lnTo>
                    <a:lnTo>
                      <a:pt x="12" y="29"/>
                    </a:lnTo>
                    <a:lnTo>
                      <a:pt x="13" y="29"/>
                    </a:lnTo>
                    <a:lnTo>
                      <a:pt x="13" y="2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4" name="Freeform 120">
                <a:extLst>
                  <a:ext uri="{FF2B5EF4-FFF2-40B4-BE49-F238E27FC236}">
                    <a16:creationId xmlns:a16="http://schemas.microsoft.com/office/drawing/2014/main" id="{458216E3-1C92-E53B-DBD5-795ED9D6F058}"/>
                  </a:ext>
                </a:extLst>
              </p:cNvPr>
              <p:cNvSpPr>
                <a:spLocks/>
              </p:cNvSpPr>
              <p:nvPr/>
            </p:nvSpPr>
            <p:spPr bwMode="auto">
              <a:xfrm>
                <a:off x="6645066" y="2909389"/>
                <a:ext cx="169177" cy="80974"/>
              </a:xfrm>
              <a:custGeom>
                <a:avLst/>
                <a:gdLst>
                  <a:gd name="T0" fmla="*/ 36 w 117"/>
                  <a:gd name="T1" fmla="*/ 47 h 56"/>
                  <a:gd name="T2" fmla="*/ 43 w 117"/>
                  <a:gd name="T3" fmla="*/ 47 h 56"/>
                  <a:gd name="T4" fmla="*/ 46 w 117"/>
                  <a:gd name="T5" fmla="*/ 44 h 56"/>
                  <a:gd name="T6" fmla="*/ 51 w 117"/>
                  <a:gd name="T7" fmla="*/ 47 h 56"/>
                  <a:gd name="T8" fmla="*/ 59 w 117"/>
                  <a:gd name="T9" fmla="*/ 53 h 56"/>
                  <a:gd name="T10" fmla="*/ 60 w 117"/>
                  <a:gd name="T11" fmla="*/ 54 h 56"/>
                  <a:gd name="T12" fmla="*/ 86 w 117"/>
                  <a:gd name="T13" fmla="*/ 53 h 56"/>
                  <a:gd name="T14" fmla="*/ 86 w 117"/>
                  <a:gd name="T15" fmla="*/ 52 h 56"/>
                  <a:gd name="T16" fmla="*/ 90 w 117"/>
                  <a:gd name="T17" fmla="*/ 49 h 56"/>
                  <a:gd name="T18" fmla="*/ 96 w 117"/>
                  <a:gd name="T19" fmla="*/ 47 h 56"/>
                  <a:gd name="T20" fmla="*/ 99 w 117"/>
                  <a:gd name="T21" fmla="*/ 49 h 56"/>
                  <a:gd name="T22" fmla="*/ 100 w 117"/>
                  <a:gd name="T23" fmla="*/ 50 h 56"/>
                  <a:gd name="T24" fmla="*/ 103 w 117"/>
                  <a:gd name="T25" fmla="*/ 53 h 56"/>
                  <a:gd name="T26" fmla="*/ 107 w 117"/>
                  <a:gd name="T27" fmla="*/ 53 h 56"/>
                  <a:gd name="T28" fmla="*/ 113 w 117"/>
                  <a:gd name="T29" fmla="*/ 56 h 56"/>
                  <a:gd name="T30" fmla="*/ 116 w 117"/>
                  <a:gd name="T31" fmla="*/ 50 h 56"/>
                  <a:gd name="T32" fmla="*/ 110 w 117"/>
                  <a:gd name="T33" fmla="*/ 41 h 56"/>
                  <a:gd name="T34" fmla="*/ 113 w 117"/>
                  <a:gd name="T35" fmla="*/ 37 h 56"/>
                  <a:gd name="T36" fmla="*/ 107 w 117"/>
                  <a:gd name="T37" fmla="*/ 36 h 56"/>
                  <a:gd name="T38" fmla="*/ 103 w 117"/>
                  <a:gd name="T39" fmla="*/ 33 h 56"/>
                  <a:gd name="T40" fmla="*/ 99 w 117"/>
                  <a:gd name="T41" fmla="*/ 30 h 56"/>
                  <a:gd name="T42" fmla="*/ 100 w 117"/>
                  <a:gd name="T43" fmla="*/ 26 h 56"/>
                  <a:gd name="T44" fmla="*/ 99 w 117"/>
                  <a:gd name="T45" fmla="*/ 24 h 56"/>
                  <a:gd name="T46" fmla="*/ 96 w 117"/>
                  <a:gd name="T47" fmla="*/ 23 h 56"/>
                  <a:gd name="T48" fmla="*/ 90 w 117"/>
                  <a:gd name="T49" fmla="*/ 20 h 56"/>
                  <a:gd name="T50" fmla="*/ 86 w 117"/>
                  <a:gd name="T51" fmla="*/ 18 h 56"/>
                  <a:gd name="T52" fmla="*/ 84 w 117"/>
                  <a:gd name="T53" fmla="*/ 18 h 56"/>
                  <a:gd name="T54" fmla="*/ 83 w 117"/>
                  <a:gd name="T55" fmla="*/ 20 h 56"/>
                  <a:gd name="T56" fmla="*/ 82 w 117"/>
                  <a:gd name="T57" fmla="*/ 18 h 56"/>
                  <a:gd name="T58" fmla="*/ 79 w 117"/>
                  <a:gd name="T59" fmla="*/ 18 h 56"/>
                  <a:gd name="T60" fmla="*/ 76 w 117"/>
                  <a:gd name="T61" fmla="*/ 20 h 56"/>
                  <a:gd name="T62" fmla="*/ 69 w 117"/>
                  <a:gd name="T63" fmla="*/ 23 h 56"/>
                  <a:gd name="T64" fmla="*/ 66 w 117"/>
                  <a:gd name="T65" fmla="*/ 23 h 56"/>
                  <a:gd name="T66" fmla="*/ 66 w 117"/>
                  <a:gd name="T67" fmla="*/ 20 h 56"/>
                  <a:gd name="T68" fmla="*/ 66 w 117"/>
                  <a:gd name="T69" fmla="*/ 18 h 56"/>
                  <a:gd name="T70" fmla="*/ 63 w 117"/>
                  <a:gd name="T71" fmla="*/ 17 h 56"/>
                  <a:gd name="T72" fmla="*/ 59 w 117"/>
                  <a:gd name="T73" fmla="*/ 16 h 56"/>
                  <a:gd name="T74" fmla="*/ 50 w 117"/>
                  <a:gd name="T75" fmla="*/ 10 h 56"/>
                  <a:gd name="T76" fmla="*/ 46 w 117"/>
                  <a:gd name="T77" fmla="*/ 10 h 56"/>
                  <a:gd name="T78" fmla="*/ 43 w 117"/>
                  <a:gd name="T79" fmla="*/ 8 h 56"/>
                  <a:gd name="T80" fmla="*/ 36 w 117"/>
                  <a:gd name="T81" fmla="*/ 8 h 56"/>
                  <a:gd name="T82" fmla="*/ 28 w 117"/>
                  <a:gd name="T83" fmla="*/ 8 h 56"/>
                  <a:gd name="T84" fmla="*/ 21 w 117"/>
                  <a:gd name="T85" fmla="*/ 6 h 56"/>
                  <a:gd name="T86" fmla="*/ 17 w 117"/>
                  <a:gd name="T87" fmla="*/ 4 h 56"/>
                  <a:gd name="T88" fmla="*/ 10 w 117"/>
                  <a:gd name="T89" fmla="*/ 1 h 56"/>
                  <a:gd name="T90" fmla="*/ 3 w 117"/>
                  <a:gd name="T91" fmla="*/ 0 h 56"/>
                  <a:gd name="T92" fmla="*/ 1 w 117"/>
                  <a:gd name="T93" fmla="*/ 1 h 56"/>
                  <a:gd name="T94" fmla="*/ 10 w 117"/>
                  <a:gd name="T95" fmla="*/ 10 h 56"/>
                  <a:gd name="T96" fmla="*/ 18 w 117"/>
                  <a:gd name="T97" fmla="*/ 14 h 56"/>
                  <a:gd name="T98" fmla="*/ 20 w 117"/>
                  <a:gd name="T99" fmla="*/ 17 h 56"/>
                  <a:gd name="T100" fmla="*/ 24 w 117"/>
                  <a:gd name="T101" fmla="*/ 18 h 56"/>
                  <a:gd name="T102" fmla="*/ 30 w 117"/>
                  <a:gd name="T103" fmla="*/ 37 h 56"/>
                  <a:gd name="T104" fmla="*/ 27 w 117"/>
                  <a:gd name="T105"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7" h="56">
                    <a:moveTo>
                      <a:pt x="31" y="47"/>
                    </a:moveTo>
                    <a:lnTo>
                      <a:pt x="33" y="47"/>
                    </a:lnTo>
                    <a:lnTo>
                      <a:pt x="36" y="47"/>
                    </a:lnTo>
                    <a:lnTo>
                      <a:pt x="37" y="46"/>
                    </a:lnTo>
                    <a:lnTo>
                      <a:pt x="43" y="47"/>
                    </a:lnTo>
                    <a:lnTo>
                      <a:pt x="43" y="47"/>
                    </a:lnTo>
                    <a:lnTo>
                      <a:pt x="44" y="47"/>
                    </a:lnTo>
                    <a:lnTo>
                      <a:pt x="46" y="46"/>
                    </a:lnTo>
                    <a:lnTo>
                      <a:pt x="46" y="44"/>
                    </a:lnTo>
                    <a:lnTo>
                      <a:pt x="47" y="44"/>
                    </a:lnTo>
                    <a:lnTo>
                      <a:pt x="50" y="46"/>
                    </a:lnTo>
                    <a:lnTo>
                      <a:pt x="51" y="47"/>
                    </a:lnTo>
                    <a:lnTo>
                      <a:pt x="56" y="52"/>
                    </a:lnTo>
                    <a:lnTo>
                      <a:pt x="59" y="53"/>
                    </a:lnTo>
                    <a:lnTo>
                      <a:pt x="59" y="53"/>
                    </a:lnTo>
                    <a:lnTo>
                      <a:pt x="60" y="53"/>
                    </a:lnTo>
                    <a:lnTo>
                      <a:pt x="60" y="54"/>
                    </a:lnTo>
                    <a:lnTo>
                      <a:pt x="60" y="54"/>
                    </a:lnTo>
                    <a:lnTo>
                      <a:pt x="73" y="53"/>
                    </a:lnTo>
                    <a:lnTo>
                      <a:pt x="82" y="53"/>
                    </a:lnTo>
                    <a:lnTo>
                      <a:pt x="86" y="53"/>
                    </a:lnTo>
                    <a:lnTo>
                      <a:pt x="84" y="52"/>
                    </a:lnTo>
                    <a:lnTo>
                      <a:pt x="84" y="52"/>
                    </a:lnTo>
                    <a:lnTo>
                      <a:pt x="86" y="52"/>
                    </a:lnTo>
                    <a:lnTo>
                      <a:pt x="87" y="52"/>
                    </a:lnTo>
                    <a:lnTo>
                      <a:pt x="87" y="50"/>
                    </a:lnTo>
                    <a:lnTo>
                      <a:pt x="90" y="49"/>
                    </a:lnTo>
                    <a:lnTo>
                      <a:pt x="92" y="49"/>
                    </a:lnTo>
                    <a:lnTo>
                      <a:pt x="93" y="47"/>
                    </a:lnTo>
                    <a:lnTo>
                      <a:pt x="96" y="47"/>
                    </a:lnTo>
                    <a:lnTo>
                      <a:pt x="96" y="49"/>
                    </a:lnTo>
                    <a:lnTo>
                      <a:pt x="97" y="49"/>
                    </a:lnTo>
                    <a:lnTo>
                      <a:pt x="99" y="49"/>
                    </a:lnTo>
                    <a:lnTo>
                      <a:pt x="100" y="50"/>
                    </a:lnTo>
                    <a:lnTo>
                      <a:pt x="100" y="50"/>
                    </a:lnTo>
                    <a:lnTo>
                      <a:pt x="100" y="50"/>
                    </a:lnTo>
                    <a:lnTo>
                      <a:pt x="100" y="52"/>
                    </a:lnTo>
                    <a:lnTo>
                      <a:pt x="100" y="52"/>
                    </a:lnTo>
                    <a:lnTo>
                      <a:pt x="103" y="53"/>
                    </a:lnTo>
                    <a:lnTo>
                      <a:pt x="104" y="53"/>
                    </a:lnTo>
                    <a:lnTo>
                      <a:pt x="106" y="53"/>
                    </a:lnTo>
                    <a:lnTo>
                      <a:pt x="107" y="53"/>
                    </a:lnTo>
                    <a:lnTo>
                      <a:pt x="109" y="53"/>
                    </a:lnTo>
                    <a:lnTo>
                      <a:pt x="112" y="54"/>
                    </a:lnTo>
                    <a:lnTo>
                      <a:pt x="113" y="56"/>
                    </a:lnTo>
                    <a:lnTo>
                      <a:pt x="115" y="56"/>
                    </a:lnTo>
                    <a:lnTo>
                      <a:pt x="117" y="53"/>
                    </a:lnTo>
                    <a:lnTo>
                      <a:pt x="116" y="50"/>
                    </a:lnTo>
                    <a:lnTo>
                      <a:pt x="110" y="44"/>
                    </a:lnTo>
                    <a:lnTo>
                      <a:pt x="109" y="43"/>
                    </a:lnTo>
                    <a:lnTo>
                      <a:pt x="110" y="41"/>
                    </a:lnTo>
                    <a:lnTo>
                      <a:pt x="112" y="40"/>
                    </a:lnTo>
                    <a:lnTo>
                      <a:pt x="113" y="37"/>
                    </a:lnTo>
                    <a:lnTo>
                      <a:pt x="113" y="37"/>
                    </a:lnTo>
                    <a:lnTo>
                      <a:pt x="110" y="37"/>
                    </a:lnTo>
                    <a:lnTo>
                      <a:pt x="109" y="36"/>
                    </a:lnTo>
                    <a:lnTo>
                      <a:pt x="107" y="36"/>
                    </a:lnTo>
                    <a:lnTo>
                      <a:pt x="106" y="34"/>
                    </a:lnTo>
                    <a:lnTo>
                      <a:pt x="104" y="34"/>
                    </a:lnTo>
                    <a:lnTo>
                      <a:pt x="103" y="33"/>
                    </a:lnTo>
                    <a:lnTo>
                      <a:pt x="100" y="31"/>
                    </a:lnTo>
                    <a:lnTo>
                      <a:pt x="99" y="31"/>
                    </a:lnTo>
                    <a:lnTo>
                      <a:pt x="99" y="30"/>
                    </a:lnTo>
                    <a:lnTo>
                      <a:pt x="100" y="26"/>
                    </a:lnTo>
                    <a:lnTo>
                      <a:pt x="100" y="26"/>
                    </a:lnTo>
                    <a:lnTo>
                      <a:pt x="100" y="26"/>
                    </a:lnTo>
                    <a:lnTo>
                      <a:pt x="100" y="24"/>
                    </a:lnTo>
                    <a:lnTo>
                      <a:pt x="100" y="24"/>
                    </a:lnTo>
                    <a:lnTo>
                      <a:pt x="99" y="24"/>
                    </a:lnTo>
                    <a:lnTo>
                      <a:pt x="99" y="24"/>
                    </a:lnTo>
                    <a:lnTo>
                      <a:pt x="97" y="23"/>
                    </a:lnTo>
                    <a:lnTo>
                      <a:pt x="96" y="23"/>
                    </a:lnTo>
                    <a:lnTo>
                      <a:pt x="94" y="23"/>
                    </a:lnTo>
                    <a:lnTo>
                      <a:pt x="93" y="23"/>
                    </a:lnTo>
                    <a:lnTo>
                      <a:pt x="90" y="20"/>
                    </a:lnTo>
                    <a:lnTo>
                      <a:pt x="89" y="20"/>
                    </a:lnTo>
                    <a:lnTo>
                      <a:pt x="86" y="18"/>
                    </a:lnTo>
                    <a:lnTo>
                      <a:pt x="86" y="18"/>
                    </a:lnTo>
                    <a:lnTo>
                      <a:pt x="86" y="18"/>
                    </a:lnTo>
                    <a:lnTo>
                      <a:pt x="84" y="18"/>
                    </a:lnTo>
                    <a:lnTo>
                      <a:pt x="84" y="18"/>
                    </a:lnTo>
                    <a:lnTo>
                      <a:pt x="84" y="20"/>
                    </a:lnTo>
                    <a:lnTo>
                      <a:pt x="84" y="21"/>
                    </a:lnTo>
                    <a:lnTo>
                      <a:pt x="83" y="20"/>
                    </a:lnTo>
                    <a:lnTo>
                      <a:pt x="83" y="20"/>
                    </a:lnTo>
                    <a:lnTo>
                      <a:pt x="82" y="20"/>
                    </a:lnTo>
                    <a:lnTo>
                      <a:pt x="82" y="18"/>
                    </a:lnTo>
                    <a:lnTo>
                      <a:pt x="80" y="18"/>
                    </a:lnTo>
                    <a:lnTo>
                      <a:pt x="80" y="18"/>
                    </a:lnTo>
                    <a:lnTo>
                      <a:pt x="79" y="18"/>
                    </a:lnTo>
                    <a:lnTo>
                      <a:pt x="79" y="18"/>
                    </a:lnTo>
                    <a:lnTo>
                      <a:pt x="79" y="18"/>
                    </a:lnTo>
                    <a:lnTo>
                      <a:pt x="76" y="20"/>
                    </a:lnTo>
                    <a:lnTo>
                      <a:pt x="71" y="21"/>
                    </a:lnTo>
                    <a:lnTo>
                      <a:pt x="70" y="23"/>
                    </a:lnTo>
                    <a:lnTo>
                      <a:pt x="69" y="23"/>
                    </a:lnTo>
                    <a:lnTo>
                      <a:pt x="69" y="23"/>
                    </a:lnTo>
                    <a:lnTo>
                      <a:pt x="67" y="23"/>
                    </a:lnTo>
                    <a:lnTo>
                      <a:pt x="66" y="23"/>
                    </a:lnTo>
                    <a:lnTo>
                      <a:pt x="66" y="21"/>
                    </a:lnTo>
                    <a:lnTo>
                      <a:pt x="66" y="20"/>
                    </a:lnTo>
                    <a:lnTo>
                      <a:pt x="66" y="20"/>
                    </a:lnTo>
                    <a:lnTo>
                      <a:pt x="67" y="18"/>
                    </a:lnTo>
                    <a:lnTo>
                      <a:pt x="66" y="18"/>
                    </a:lnTo>
                    <a:lnTo>
                      <a:pt x="66" y="18"/>
                    </a:lnTo>
                    <a:lnTo>
                      <a:pt x="66" y="18"/>
                    </a:lnTo>
                    <a:lnTo>
                      <a:pt x="64" y="18"/>
                    </a:lnTo>
                    <a:lnTo>
                      <a:pt x="63" y="17"/>
                    </a:lnTo>
                    <a:lnTo>
                      <a:pt x="61" y="17"/>
                    </a:lnTo>
                    <a:lnTo>
                      <a:pt x="60" y="16"/>
                    </a:lnTo>
                    <a:lnTo>
                      <a:pt x="59" y="16"/>
                    </a:lnTo>
                    <a:lnTo>
                      <a:pt x="54" y="13"/>
                    </a:lnTo>
                    <a:lnTo>
                      <a:pt x="53" y="11"/>
                    </a:lnTo>
                    <a:lnTo>
                      <a:pt x="50" y="10"/>
                    </a:lnTo>
                    <a:lnTo>
                      <a:pt x="48" y="10"/>
                    </a:lnTo>
                    <a:lnTo>
                      <a:pt x="46" y="10"/>
                    </a:lnTo>
                    <a:lnTo>
                      <a:pt x="46" y="10"/>
                    </a:lnTo>
                    <a:lnTo>
                      <a:pt x="44" y="8"/>
                    </a:lnTo>
                    <a:lnTo>
                      <a:pt x="43" y="8"/>
                    </a:lnTo>
                    <a:lnTo>
                      <a:pt x="43" y="8"/>
                    </a:lnTo>
                    <a:lnTo>
                      <a:pt x="40" y="8"/>
                    </a:lnTo>
                    <a:lnTo>
                      <a:pt x="38" y="8"/>
                    </a:lnTo>
                    <a:lnTo>
                      <a:pt x="36" y="8"/>
                    </a:lnTo>
                    <a:lnTo>
                      <a:pt x="31" y="8"/>
                    </a:lnTo>
                    <a:lnTo>
                      <a:pt x="30" y="8"/>
                    </a:lnTo>
                    <a:lnTo>
                      <a:pt x="28" y="8"/>
                    </a:lnTo>
                    <a:lnTo>
                      <a:pt x="27" y="7"/>
                    </a:lnTo>
                    <a:lnTo>
                      <a:pt x="24" y="6"/>
                    </a:lnTo>
                    <a:lnTo>
                      <a:pt x="21" y="6"/>
                    </a:lnTo>
                    <a:lnTo>
                      <a:pt x="20" y="4"/>
                    </a:lnTo>
                    <a:lnTo>
                      <a:pt x="18" y="4"/>
                    </a:lnTo>
                    <a:lnTo>
                      <a:pt x="17" y="4"/>
                    </a:lnTo>
                    <a:lnTo>
                      <a:pt x="15" y="3"/>
                    </a:lnTo>
                    <a:lnTo>
                      <a:pt x="11" y="1"/>
                    </a:lnTo>
                    <a:lnTo>
                      <a:pt x="10" y="1"/>
                    </a:lnTo>
                    <a:lnTo>
                      <a:pt x="10" y="1"/>
                    </a:lnTo>
                    <a:lnTo>
                      <a:pt x="4" y="1"/>
                    </a:lnTo>
                    <a:lnTo>
                      <a:pt x="3" y="0"/>
                    </a:lnTo>
                    <a:lnTo>
                      <a:pt x="1" y="1"/>
                    </a:lnTo>
                    <a:lnTo>
                      <a:pt x="1" y="1"/>
                    </a:lnTo>
                    <a:lnTo>
                      <a:pt x="1" y="1"/>
                    </a:lnTo>
                    <a:lnTo>
                      <a:pt x="0" y="3"/>
                    </a:lnTo>
                    <a:lnTo>
                      <a:pt x="0" y="4"/>
                    </a:lnTo>
                    <a:lnTo>
                      <a:pt x="10" y="10"/>
                    </a:lnTo>
                    <a:lnTo>
                      <a:pt x="15" y="13"/>
                    </a:lnTo>
                    <a:lnTo>
                      <a:pt x="17" y="14"/>
                    </a:lnTo>
                    <a:lnTo>
                      <a:pt x="18" y="14"/>
                    </a:lnTo>
                    <a:lnTo>
                      <a:pt x="18" y="16"/>
                    </a:lnTo>
                    <a:lnTo>
                      <a:pt x="20" y="17"/>
                    </a:lnTo>
                    <a:lnTo>
                      <a:pt x="20" y="17"/>
                    </a:lnTo>
                    <a:lnTo>
                      <a:pt x="21" y="17"/>
                    </a:lnTo>
                    <a:lnTo>
                      <a:pt x="24" y="18"/>
                    </a:lnTo>
                    <a:lnTo>
                      <a:pt x="24" y="18"/>
                    </a:lnTo>
                    <a:lnTo>
                      <a:pt x="27" y="21"/>
                    </a:lnTo>
                    <a:lnTo>
                      <a:pt x="28" y="26"/>
                    </a:lnTo>
                    <a:lnTo>
                      <a:pt x="30" y="37"/>
                    </a:lnTo>
                    <a:lnTo>
                      <a:pt x="30" y="40"/>
                    </a:lnTo>
                    <a:lnTo>
                      <a:pt x="28" y="43"/>
                    </a:lnTo>
                    <a:lnTo>
                      <a:pt x="27" y="46"/>
                    </a:lnTo>
                    <a:lnTo>
                      <a:pt x="30" y="47"/>
                    </a:lnTo>
                    <a:lnTo>
                      <a:pt x="31" y="4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5" name="Freeform 121">
                <a:extLst>
                  <a:ext uri="{FF2B5EF4-FFF2-40B4-BE49-F238E27FC236}">
                    <a16:creationId xmlns:a16="http://schemas.microsoft.com/office/drawing/2014/main" id="{CEF3BD8D-79EF-0184-6159-F39927C154B8}"/>
                  </a:ext>
                </a:extLst>
              </p:cNvPr>
              <p:cNvSpPr>
                <a:spLocks noEditPoints="1"/>
              </p:cNvSpPr>
              <p:nvPr/>
            </p:nvSpPr>
            <p:spPr bwMode="auto">
              <a:xfrm>
                <a:off x="8789425" y="2929632"/>
                <a:ext cx="161948" cy="161948"/>
              </a:xfrm>
              <a:custGeom>
                <a:avLst/>
                <a:gdLst>
                  <a:gd name="T0" fmla="*/ 111 w 112"/>
                  <a:gd name="T1" fmla="*/ 15 h 112"/>
                  <a:gd name="T2" fmla="*/ 105 w 112"/>
                  <a:gd name="T3" fmla="*/ 16 h 112"/>
                  <a:gd name="T4" fmla="*/ 98 w 112"/>
                  <a:gd name="T5" fmla="*/ 23 h 112"/>
                  <a:gd name="T6" fmla="*/ 95 w 112"/>
                  <a:gd name="T7" fmla="*/ 30 h 112"/>
                  <a:gd name="T8" fmla="*/ 95 w 112"/>
                  <a:gd name="T9" fmla="*/ 43 h 112"/>
                  <a:gd name="T10" fmla="*/ 94 w 112"/>
                  <a:gd name="T11" fmla="*/ 46 h 112"/>
                  <a:gd name="T12" fmla="*/ 88 w 112"/>
                  <a:gd name="T13" fmla="*/ 49 h 112"/>
                  <a:gd name="T14" fmla="*/ 73 w 112"/>
                  <a:gd name="T15" fmla="*/ 62 h 112"/>
                  <a:gd name="T16" fmla="*/ 63 w 112"/>
                  <a:gd name="T17" fmla="*/ 66 h 112"/>
                  <a:gd name="T18" fmla="*/ 56 w 112"/>
                  <a:gd name="T19" fmla="*/ 69 h 112"/>
                  <a:gd name="T20" fmla="*/ 56 w 112"/>
                  <a:gd name="T21" fmla="*/ 76 h 112"/>
                  <a:gd name="T22" fmla="*/ 53 w 112"/>
                  <a:gd name="T23" fmla="*/ 79 h 112"/>
                  <a:gd name="T24" fmla="*/ 55 w 112"/>
                  <a:gd name="T25" fmla="*/ 82 h 112"/>
                  <a:gd name="T26" fmla="*/ 62 w 112"/>
                  <a:gd name="T27" fmla="*/ 85 h 112"/>
                  <a:gd name="T28" fmla="*/ 71 w 112"/>
                  <a:gd name="T29" fmla="*/ 92 h 112"/>
                  <a:gd name="T30" fmla="*/ 68 w 112"/>
                  <a:gd name="T31" fmla="*/ 98 h 112"/>
                  <a:gd name="T32" fmla="*/ 63 w 112"/>
                  <a:gd name="T33" fmla="*/ 101 h 112"/>
                  <a:gd name="T34" fmla="*/ 46 w 112"/>
                  <a:gd name="T35" fmla="*/ 102 h 112"/>
                  <a:gd name="T36" fmla="*/ 38 w 112"/>
                  <a:gd name="T37" fmla="*/ 109 h 112"/>
                  <a:gd name="T38" fmla="*/ 32 w 112"/>
                  <a:gd name="T39" fmla="*/ 112 h 112"/>
                  <a:gd name="T40" fmla="*/ 26 w 112"/>
                  <a:gd name="T41" fmla="*/ 108 h 112"/>
                  <a:gd name="T42" fmla="*/ 23 w 112"/>
                  <a:gd name="T43" fmla="*/ 108 h 112"/>
                  <a:gd name="T44" fmla="*/ 19 w 112"/>
                  <a:gd name="T45" fmla="*/ 112 h 112"/>
                  <a:gd name="T46" fmla="*/ 17 w 112"/>
                  <a:gd name="T47" fmla="*/ 111 h 112"/>
                  <a:gd name="T48" fmla="*/ 16 w 112"/>
                  <a:gd name="T49" fmla="*/ 105 h 112"/>
                  <a:gd name="T50" fmla="*/ 9 w 112"/>
                  <a:gd name="T51" fmla="*/ 102 h 112"/>
                  <a:gd name="T52" fmla="*/ 12 w 112"/>
                  <a:gd name="T53" fmla="*/ 96 h 112"/>
                  <a:gd name="T54" fmla="*/ 19 w 112"/>
                  <a:gd name="T55" fmla="*/ 92 h 112"/>
                  <a:gd name="T56" fmla="*/ 17 w 112"/>
                  <a:gd name="T57" fmla="*/ 91 h 112"/>
                  <a:gd name="T58" fmla="*/ 15 w 112"/>
                  <a:gd name="T59" fmla="*/ 85 h 112"/>
                  <a:gd name="T60" fmla="*/ 17 w 112"/>
                  <a:gd name="T61" fmla="*/ 75 h 112"/>
                  <a:gd name="T62" fmla="*/ 7 w 112"/>
                  <a:gd name="T63" fmla="*/ 71 h 112"/>
                  <a:gd name="T64" fmla="*/ 4 w 112"/>
                  <a:gd name="T65" fmla="*/ 71 h 112"/>
                  <a:gd name="T66" fmla="*/ 2 w 112"/>
                  <a:gd name="T67" fmla="*/ 61 h 112"/>
                  <a:gd name="T68" fmla="*/ 30 w 112"/>
                  <a:gd name="T69" fmla="*/ 43 h 112"/>
                  <a:gd name="T70" fmla="*/ 36 w 112"/>
                  <a:gd name="T71" fmla="*/ 36 h 112"/>
                  <a:gd name="T72" fmla="*/ 39 w 112"/>
                  <a:gd name="T73" fmla="*/ 30 h 112"/>
                  <a:gd name="T74" fmla="*/ 43 w 112"/>
                  <a:gd name="T75" fmla="*/ 26 h 112"/>
                  <a:gd name="T76" fmla="*/ 48 w 112"/>
                  <a:gd name="T77" fmla="*/ 29 h 112"/>
                  <a:gd name="T78" fmla="*/ 50 w 112"/>
                  <a:gd name="T79" fmla="*/ 32 h 112"/>
                  <a:gd name="T80" fmla="*/ 59 w 112"/>
                  <a:gd name="T81" fmla="*/ 33 h 112"/>
                  <a:gd name="T82" fmla="*/ 65 w 112"/>
                  <a:gd name="T83" fmla="*/ 33 h 112"/>
                  <a:gd name="T84" fmla="*/ 69 w 112"/>
                  <a:gd name="T85" fmla="*/ 32 h 112"/>
                  <a:gd name="T86" fmla="*/ 65 w 112"/>
                  <a:gd name="T87" fmla="*/ 22 h 112"/>
                  <a:gd name="T88" fmla="*/ 75 w 112"/>
                  <a:gd name="T89" fmla="*/ 20 h 112"/>
                  <a:gd name="T90" fmla="*/ 82 w 112"/>
                  <a:gd name="T91" fmla="*/ 19 h 112"/>
                  <a:gd name="T92" fmla="*/ 86 w 112"/>
                  <a:gd name="T93" fmla="*/ 13 h 112"/>
                  <a:gd name="T94" fmla="*/ 91 w 112"/>
                  <a:gd name="T95" fmla="*/ 12 h 112"/>
                  <a:gd name="T96" fmla="*/ 96 w 112"/>
                  <a:gd name="T97" fmla="*/ 2 h 112"/>
                  <a:gd name="T98" fmla="*/ 102 w 112"/>
                  <a:gd name="T99" fmla="*/ 0 h 112"/>
                  <a:gd name="T100" fmla="*/ 104 w 112"/>
                  <a:gd name="T101" fmla="*/ 4 h 112"/>
                  <a:gd name="T102" fmla="*/ 106 w 112"/>
                  <a:gd name="T103" fmla="*/ 7 h 112"/>
                  <a:gd name="T104" fmla="*/ 109 w 112"/>
                  <a:gd name="T105" fmla="*/ 10 h 112"/>
                  <a:gd name="T106" fmla="*/ 111 w 112"/>
                  <a:gd name="T107" fmla="*/ 13 h 112"/>
                  <a:gd name="T108" fmla="*/ 10 w 112"/>
                  <a:gd name="T109" fmla="*/ 73 h 112"/>
                  <a:gd name="T110" fmla="*/ 9 w 112"/>
                  <a:gd name="T111" fmla="*/ 73 h 112"/>
                  <a:gd name="T112" fmla="*/ 10 w 112"/>
                  <a:gd name="T113" fmla="*/ 7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2" h="112">
                    <a:moveTo>
                      <a:pt x="111" y="15"/>
                    </a:moveTo>
                    <a:lnTo>
                      <a:pt x="112" y="15"/>
                    </a:lnTo>
                    <a:lnTo>
                      <a:pt x="111" y="15"/>
                    </a:lnTo>
                    <a:lnTo>
                      <a:pt x="108" y="15"/>
                    </a:lnTo>
                    <a:lnTo>
                      <a:pt x="106" y="15"/>
                    </a:lnTo>
                    <a:lnTo>
                      <a:pt x="105" y="16"/>
                    </a:lnTo>
                    <a:lnTo>
                      <a:pt x="105" y="17"/>
                    </a:lnTo>
                    <a:lnTo>
                      <a:pt x="102" y="19"/>
                    </a:lnTo>
                    <a:lnTo>
                      <a:pt x="98" y="23"/>
                    </a:lnTo>
                    <a:lnTo>
                      <a:pt x="96" y="25"/>
                    </a:lnTo>
                    <a:lnTo>
                      <a:pt x="95" y="27"/>
                    </a:lnTo>
                    <a:lnTo>
                      <a:pt x="95" y="30"/>
                    </a:lnTo>
                    <a:lnTo>
                      <a:pt x="94" y="33"/>
                    </a:lnTo>
                    <a:lnTo>
                      <a:pt x="95" y="42"/>
                    </a:lnTo>
                    <a:lnTo>
                      <a:pt x="95" y="43"/>
                    </a:lnTo>
                    <a:lnTo>
                      <a:pt x="95" y="45"/>
                    </a:lnTo>
                    <a:lnTo>
                      <a:pt x="95" y="46"/>
                    </a:lnTo>
                    <a:lnTo>
                      <a:pt x="94" y="46"/>
                    </a:lnTo>
                    <a:lnTo>
                      <a:pt x="92" y="48"/>
                    </a:lnTo>
                    <a:lnTo>
                      <a:pt x="89" y="48"/>
                    </a:lnTo>
                    <a:lnTo>
                      <a:pt x="88" y="49"/>
                    </a:lnTo>
                    <a:lnTo>
                      <a:pt x="86" y="50"/>
                    </a:lnTo>
                    <a:lnTo>
                      <a:pt x="82" y="55"/>
                    </a:lnTo>
                    <a:lnTo>
                      <a:pt x="73" y="62"/>
                    </a:lnTo>
                    <a:lnTo>
                      <a:pt x="71" y="63"/>
                    </a:lnTo>
                    <a:lnTo>
                      <a:pt x="65" y="65"/>
                    </a:lnTo>
                    <a:lnTo>
                      <a:pt x="63" y="66"/>
                    </a:lnTo>
                    <a:lnTo>
                      <a:pt x="59" y="68"/>
                    </a:lnTo>
                    <a:lnTo>
                      <a:pt x="58" y="69"/>
                    </a:lnTo>
                    <a:lnTo>
                      <a:pt x="56" y="69"/>
                    </a:lnTo>
                    <a:lnTo>
                      <a:pt x="56" y="71"/>
                    </a:lnTo>
                    <a:lnTo>
                      <a:pt x="56" y="72"/>
                    </a:lnTo>
                    <a:lnTo>
                      <a:pt x="56" y="76"/>
                    </a:lnTo>
                    <a:lnTo>
                      <a:pt x="56" y="78"/>
                    </a:lnTo>
                    <a:lnTo>
                      <a:pt x="55" y="78"/>
                    </a:lnTo>
                    <a:lnTo>
                      <a:pt x="53" y="79"/>
                    </a:lnTo>
                    <a:lnTo>
                      <a:pt x="53" y="79"/>
                    </a:lnTo>
                    <a:lnTo>
                      <a:pt x="53" y="82"/>
                    </a:lnTo>
                    <a:lnTo>
                      <a:pt x="55" y="82"/>
                    </a:lnTo>
                    <a:lnTo>
                      <a:pt x="59" y="84"/>
                    </a:lnTo>
                    <a:lnTo>
                      <a:pt x="60" y="84"/>
                    </a:lnTo>
                    <a:lnTo>
                      <a:pt x="62" y="85"/>
                    </a:lnTo>
                    <a:lnTo>
                      <a:pt x="66" y="89"/>
                    </a:lnTo>
                    <a:lnTo>
                      <a:pt x="69" y="92"/>
                    </a:lnTo>
                    <a:lnTo>
                      <a:pt x="71" y="92"/>
                    </a:lnTo>
                    <a:lnTo>
                      <a:pt x="71" y="94"/>
                    </a:lnTo>
                    <a:lnTo>
                      <a:pt x="69" y="95"/>
                    </a:lnTo>
                    <a:lnTo>
                      <a:pt x="68" y="98"/>
                    </a:lnTo>
                    <a:lnTo>
                      <a:pt x="68" y="99"/>
                    </a:lnTo>
                    <a:lnTo>
                      <a:pt x="65" y="101"/>
                    </a:lnTo>
                    <a:lnTo>
                      <a:pt x="63" y="101"/>
                    </a:lnTo>
                    <a:lnTo>
                      <a:pt x="56" y="101"/>
                    </a:lnTo>
                    <a:lnTo>
                      <a:pt x="50" y="101"/>
                    </a:lnTo>
                    <a:lnTo>
                      <a:pt x="46" y="102"/>
                    </a:lnTo>
                    <a:lnTo>
                      <a:pt x="43" y="107"/>
                    </a:lnTo>
                    <a:lnTo>
                      <a:pt x="40" y="111"/>
                    </a:lnTo>
                    <a:lnTo>
                      <a:pt x="38" y="109"/>
                    </a:lnTo>
                    <a:lnTo>
                      <a:pt x="35" y="109"/>
                    </a:lnTo>
                    <a:lnTo>
                      <a:pt x="33" y="109"/>
                    </a:lnTo>
                    <a:lnTo>
                      <a:pt x="32" y="112"/>
                    </a:lnTo>
                    <a:lnTo>
                      <a:pt x="30" y="111"/>
                    </a:lnTo>
                    <a:lnTo>
                      <a:pt x="29" y="109"/>
                    </a:lnTo>
                    <a:lnTo>
                      <a:pt x="26" y="108"/>
                    </a:lnTo>
                    <a:lnTo>
                      <a:pt x="25" y="107"/>
                    </a:lnTo>
                    <a:lnTo>
                      <a:pt x="25" y="108"/>
                    </a:lnTo>
                    <a:lnTo>
                      <a:pt x="23" y="108"/>
                    </a:lnTo>
                    <a:lnTo>
                      <a:pt x="22" y="109"/>
                    </a:lnTo>
                    <a:lnTo>
                      <a:pt x="22" y="111"/>
                    </a:lnTo>
                    <a:lnTo>
                      <a:pt x="19" y="112"/>
                    </a:lnTo>
                    <a:lnTo>
                      <a:pt x="19" y="112"/>
                    </a:lnTo>
                    <a:lnTo>
                      <a:pt x="19" y="111"/>
                    </a:lnTo>
                    <a:lnTo>
                      <a:pt x="17" y="111"/>
                    </a:lnTo>
                    <a:lnTo>
                      <a:pt x="13" y="108"/>
                    </a:lnTo>
                    <a:lnTo>
                      <a:pt x="12" y="108"/>
                    </a:lnTo>
                    <a:lnTo>
                      <a:pt x="16" y="105"/>
                    </a:lnTo>
                    <a:lnTo>
                      <a:pt x="13" y="105"/>
                    </a:lnTo>
                    <a:lnTo>
                      <a:pt x="6" y="104"/>
                    </a:lnTo>
                    <a:lnTo>
                      <a:pt x="9" y="102"/>
                    </a:lnTo>
                    <a:lnTo>
                      <a:pt x="9" y="101"/>
                    </a:lnTo>
                    <a:lnTo>
                      <a:pt x="10" y="98"/>
                    </a:lnTo>
                    <a:lnTo>
                      <a:pt x="12" y="96"/>
                    </a:lnTo>
                    <a:lnTo>
                      <a:pt x="15" y="94"/>
                    </a:lnTo>
                    <a:lnTo>
                      <a:pt x="16" y="94"/>
                    </a:lnTo>
                    <a:lnTo>
                      <a:pt x="19" y="92"/>
                    </a:lnTo>
                    <a:lnTo>
                      <a:pt x="22" y="92"/>
                    </a:lnTo>
                    <a:lnTo>
                      <a:pt x="19" y="91"/>
                    </a:lnTo>
                    <a:lnTo>
                      <a:pt x="17" y="91"/>
                    </a:lnTo>
                    <a:lnTo>
                      <a:pt x="16" y="91"/>
                    </a:lnTo>
                    <a:lnTo>
                      <a:pt x="15" y="88"/>
                    </a:lnTo>
                    <a:lnTo>
                      <a:pt x="15" y="85"/>
                    </a:lnTo>
                    <a:lnTo>
                      <a:pt x="17" y="81"/>
                    </a:lnTo>
                    <a:lnTo>
                      <a:pt x="19" y="78"/>
                    </a:lnTo>
                    <a:lnTo>
                      <a:pt x="17" y="75"/>
                    </a:lnTo>
                    <a:lnTo>
                      <a:pt x="16" y="73"/>
                    </a:lnTo>
                    <a:lnTo>
                      <a:pt x="9" y="71"/>
                    </a:lnTo>
                    <a:lnTo>
                      <a:pt x="7" y="71"/>
                    </a:lnTo>
                    <a:lnTo>
                      <a:pt x="7" y="72"/>
                    </a:lnTo>
                    <a:lnTo>
                      <a:pt x="4" y="73"/>
                    </a:lnTo>
                    <a:lnTo>
                      <a:pt x="4" y="71"/>
                    </a:lnTo>
                    <a:lnTo>
                      <a:pt x="0" y="66"/>
                    </a:lnTo>
                    <a:lnTo>
                      <a:pt x="0" y="65"/>
                    </a:lnTo>
                    <a:lnTo>
                      <a:pt x="2" y="61"/>
                    </a:lnTo>
                    <a:lnTo>
                      <a:pt x="6" y="58"/>
                    </a:lnTo>
                    <a:lnTo>
                      <a:pt x="27" y="45"/>
                    </a:lnTo>
                    <a:lnTo>
                      <a:pt x="30" y="43"/>
                    </a:lnTo>
                    <a:lnTo>
                      <a:pt x="32" y="40"/>
                    </a:lnTo>
                    <a:lnTo>
                      <a:pt x="36" y="38"/>
                    </a:lnTo>
                    <a:lnTo>
                      <a:pt x="36" y="36"/>
                    </a:lnTo>
                    <a:lnTo>
                      <a:pt x="38" y="35"/>
                    </a:lnTo>
                    <a:lnTo>
                      <a:pt x="39" y="32"/>
                    </a:lnTo>
                    <a:lnTo>
                      <a:pt x="39" y="30"/>
                    </a:lnTo>
                    <a:lnTo>
                      <a:pt x="40" y="29"/>
                    </a:lnTo>
                    <a:lnTo>
                      <a:pt x="42" y="27"/>
                    </a:lnTo>
                    <a:lnTo>
                      <a:pt x="43" y="26"/>
                    </a:lnTo>
                    <a:lnTo>
                      <a:pt x="45" y="26"/>
                    </a:lnTo>
                    <a:lnTo>
                      <a:pt x="46" y="27"/>
                    </a:lnTo>
                    <a:lnTo>
                      <a:pt x="48" y="29"/>
                    </a:lnTo>
                    <a:lnTo>
                      <a:pt x="48" y="30"/>
                    </a:lnTo>
                    <a:lnTo>
                      <a:pt x="49" y="30"/>
                    </a:lnTo>
                    <a:lnTo>
                      <a:pt x="50" y="32"/>
                    </a:lnTo>
                    <a:lnTo>
                      <a:pt x="53" y="33"/>
                    </a:lnTo>
                    <a:lnTo>
                      <a:pt x="58" y="33"/>
                    </a:lnTo>
                    <a:lnTo>
                      <a:pt x="59" y="33"/>
                    </a:lnTo>
                    <a:lnTo>
                      <a:pt x="62" y="33"/>
                    </a:lnTo>
                    <a:lnTo>
                      <a:pt x="63" y="33"/>
                    </a:lnTo>
                    <a:lnTo>
                      <a:pt x="65" y="33"/>
                    </a:lnTo>
                    <a:lnTo>
                      <a:pt x="66" y="35"/>
                    </a:lnTo>
                    <a:lnTo>
                      <a:pt x="66" y="35"/>
                    </a:lnTo>
                    <a:lnTo>
                      <a:pt x="69" y="32"/>
                    </a:lnTo>
                    <a:lnTo>
                      <a:pt x="68" y="29"/>
                    </a:lnTo>
                    <a:lnTo>
                      <a:pt x="66" y="26"/>
                    </a:lnTo>
                    <a:lnTo>
                      <a:pt x="65" y="22"/>
                    </a:lnTo>
                    <a:lnTo>
                      <a:pt x="66" y="22"/>
                    </a:lnTo>
                    <a:lnTo>
                      <a:pt x="69" y="20"/>
                    </a:lnTo>
                    <a:lnTo>
                      <a:pt x="75" y="20"/>
                    </a:lnTo>
                    <a:lnTo>
                      <a:pt x="78" y="20"/>
                    </a:lnTo>
                    <a:lnTo>
                      <a:pt x="79" y="20"/>
                    </a:lnTo>
                    <a:lnTo>
                      <a:pt x="82" y="19"/>
                    </a:lnTo>
                    <a:lnTo>
                      <a:pt x="83" y="19"/>
                    </a:lnTo>
                    <a:lnTo>
                      <a:pt x="85" y="17"/>
                    </a:lnTo>
                    <a:lnTo>
                      <a:pt x="86" y="13"/>
                    </a:lnTo>
                    <a:lnTo>
                      <a:pt x="88" y="12"/>
                    </a:lnTo>
                    <a:lnTo>
                      <a:pt x="89" y="12"/>
                    </a:lnTo>
                    <a:lnTo>
                      <a:pt x="91" y="12"/>
                    </a:lnTo>
                    <a:lnTo>
                      <a:pt x="92" y="12"/>
                    </a:lnTo>
                    <a:lnTo>
                      <a:pt x="95" y="9"/>
                    </a:lnTo>
                    <a:lnTo>
                      <a:pt x="96" y="2"/>
                    </a:lnTo>
                    <a:lnTo>
                      <a:pt x="99" y="0"/>
                    </a:lnTo>
                    <a:lnTo>
                      <a:pt x="101" y="0"/>
                    </a:lnTo>
                    <a:lnTo>
                      <a:pt x="102" y="0"/>
                    </a:lnTo>
                    <a:lnTo>
                      <a:pt x="104" y="2"/>
                    </a:lnTo>
                    <a:lnTo>
                      <a:pt x="104" y="3"/>
                    </a:lnTo>
                    <a:lnTo>
                      <a:pt x="104" y="4"/>
                    </a:lnTo>
                    <a:lnTo>
                      <a:pt x="105" y="4"/>
                    </a:lnTo>
                    <a:lnTo>
                      <a:pt x="105" y="6"/>
                    </a:lnTo>
                    <a:lnTo>
                      <a:pt x="106" y="7"/>
                    </a:lnTo>
                    <a:lnTo>
                      <a:pt x="106" y="7"/>
                    </a:lnTo>
                    <a:lnTo>
                      <a:pt x="109" y="9"/>
                    </a:lnTo>
                    <a:lnTo>
                      <a:pt x="109" y="10"/>
                    </a:lnTo>
                    <a:lnTo>
                      <a:pt x="109" y="12"/>
                    </a:lnTo>
                    <a:lnTo>
                      <a:pt x="111" y="12"/>
                    </a:lnTo>
                    <a:lnTo>
                      <a:pt x="111" y="13"/>
                    </a:lnTo>
                    <a:lnTo>
                      <a:pt x="111" y="15"/>
                    </a:lnTo>
                    <a:close/>
                    <a:moveTo>
                      <a:pt x="10" y="73"/>
                    </a:moveTo>
                    <a:lnTo>
                      <a:pt x="10" y="73"/>
                    </a:lnTo>
                    <a:lnTo>
                      <a:pt x="10" y="73"/>
                    </a:lnTo>
                    <a:lnTo>
                      <a:pt x="9" y="73"/>
                    </a:lnTo>
                    <a:lnTo>
                      <a:pt x="9" y="73"/>
                    </a:lnTo>
                    <a:lnTo>
                      <a:pt x="9" y="75"/>
                    </a:lnTo>
                    <a:lnTo>
                      <a:pt x="10" y="73"/>
                    </a:lnTo>
                    <a:lnTo>
                      <a:pt x="10" y="7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6" name="Freeform 122">
                <a:extLst>
                  <a:ext uri="{FF2B5EF4-FFF2-40B4-BE49-F238E27FC236}">
                    <a16:creationId xmlns:a16="http://schemas.microsoft.com/office/drawing/2014/main" id="{4CAD577B-70C1-14A0-DA39-9BBC3A074EBC}"/>
                  </a:ext>
                </a:extLst>
              </p:cNvPr>
              <p:cNvSpPr>
                <a:spLocks noEditPoints="1"/>
              </p:cNvSpPr>
              <p:nvPr/>
            </p:nvSpPr>
            <p:spPr bwMode="auto">
              <a:xfrm>
                <a:off x="6747729" y="3032295"/>
                <a:ext cx="488735" cy="417882"/>
              </a:xfrm>
              <a:custGeom>
                <a:avLst/>
                <a:gdLst>
                  <a:gd name="T0" fmla="*/ 295 w 338"/>
                  <a:gd name="T1" fmla="*/ 287 h 289"/>
                  <a:gd name="T2" fmla="*/ 285 w 338"/>
                  <a:gd name="T3" fmla="*/ 284 h 289"/>
                  <a:gd name="T4" fmla="*/ 263 w 338"/>
                  <a:gd name="T5" fmla="*/ 281 h 289"/>
                  <a:gd name="T6" fmla="*/ 236 w 338"/>
                  <a:gd name="T7" fmla="*/ 276 h 289"/>
                  <a:gd name="T8" fmla="*/ 212 w 338"/>
                  <a:gd name="T9" fmla="*/ 250 h 289"/>
                  <a:gd name="T10" fmla="*/ 191 w 338"/>
                  <a:gd name="T11" fmla="*/ 260 h 289"/>
                  <a:gd name="T12" fmla="*/ 166 w 338"/>
                  <a:gd name="T13" fmla="*/ 254 h 289"/>
                  <a:gd name="T14" fmla="*/ 150 w 338"/>
                  <a:gd name="T15" fmla="*/ 243 h 289"/>
                  <a:gd name="T16" fmla="*/ 124 w 338"/>
                  <a:gd name="T17" fmla="*/ 224 h 289"/>
                  <a:gd name="T18" fmla="*/ 120 w 338"/>
                  <a:gd name="T19" fmla="*/ 214 h 289"/>
                  <a:gd name="T20" fmla="*/ 117 w 338"/>
                  <a:gd name="T21" fmla="*/ 207 h 289"/>
                  <a:gd name="T22" fmla="*/ 104 w 338"/>
                  <a:gd name="T23" fmla="*/ 189 h 289"/>
                  <a:gd name="T24" fmla="*/ 91 w 338"/>
                  <a:gd name="T25" fmla="*/ 186 h 289"/>
                  <a:gd name="T26" fmla="*/ 85 w 338"/>
                  <a:gd name="T27" fmla="*/ 188 h 289"/>
                  <a:gd name="T28" fmla="*/ 77 w 338"/>
                  <a:gd name="T29" fmla="*/ 191 h 289"/>
                  <a:gd name="T30" fmla="*/ 69 w 338"/>
                  <a:gd name="T31" fmla="*/ 175 h 289"/>
                  <a:gd name="T32" fmla="*/ 67 w 338"/>
                  <a:gd name="T33" fmla="*/ 158 h 289"/>
                  <a:gd name="T34" fmla="*/ 54 w 338"/>
                  <a:gd name="T35" fmla="*/ 146 h 289"/>
                  <a:gd name="T36" fmla="*/ 36 w 338"/>
                  <a:gd name="T37" fmla="*/ 135 h 289"/>
                  <a:gd name="T38" fmla="*/ 32 w 338"/>
                  <a:gd name="T39" fmla="*/ 125 h 289"/>
                  <a:gd name="T40" fmla="*/ 26 w 338"/>
                  <a:gd name="T41" fmla="*/ 112 h 289"/>
                  <a:gd name="T42" fmla="*/ 31 w 338"/>
                  <a:gd name="T43" fmla="*/ 97 h 289"/>
                  <a:gd name="T44" fmla="*/ 35 w 338"/>
                  <a:gd name="T45" fmla="*/ 83 h 289"/>
                  <a:gd name="T46" fmla="*/ 31 w 338"/>
                  <a:gd name="T47" fmla="*/ 79 h 289"/>
                  <a:gd name="T48" fmla="*/ 18 w 338"/>
                  <a:gd name="T49" fmla="*/ 64 h 289"/>
                  <a:gd name="T50" fmla="*/ 8 w 338"/>
                  <a:gd name="T51" fmla="*/ 41 h 289"/>
                  <a:gd name="T52" fmla="*/ 6 w 338"/>
                  <a:gd name="T53" fmla="*/ 30 h 289"/>
                  <a:gd name="T54" fmla="*/ 2 w 338"/>
                  <a:gd name="T55" fmla="*/ 15 h 289"/>
                  <a:gd name="T56" fmla="*/ 5 w 338"/>
                  <a:gd name="T57" fmla="*/ 7 h 289"/>
                  <a:gd name="T58" fmla="*/ 12 w 338"/>
                  <a:gd name="T59" fmla="*/ 1 h 289"/>
                  <a:gd name="T60" fmla="*/ 41 w 338"/>
                  <a:gd name="T61" fmla="*/ 17 h 289"/>
                  <a:gd name="T62" fmla="*/ 74 w 338"/>
                  <a:gd name="T63" fmla="*/ 7 h 289"/>
                  <a:gd name="T64" fmla="*/ 74 w 338"/>
                  <a:gd name="T65" fmla="*/ 15 h 289"/>
                  <a:gd name="T66" fmla="*/ 82 w 338"/>
                  <a:gd name="T67" fmla="*/ 27 h 289"/>
                  <a:gd name="T68" fmla="*/ 108 w 338"/>
                  <a:gd name="T69" fmla="*/ 48 h 289"/>
                  <a:gd name="T70" fmla="*/ 137 w 338"/>
                  <a:gd name="T71" fmla="*/ 64 h 289"/>
                  <a:gd name="T72" fmla="*/ 174 w 338"/>
                  <a:gd name="T73" fmla="*/ 60 h 289"/>
                  <a:gd name="T74" fmla="*/ 187 w 338"/>
                  <a:gd name="T75" fmla="*/ 46 h 289"/>
                  <a:gd name="T76" fmla="*/ 214 w 338"/>
                  <a:gd name="T77" fmla="*/ 33 h 289"/>
                  <a:gd name="T78" fmla="*/ 233 w 338"/>
                  <a:gd name="T79" fmla="*/ 34 h 289"/>
                  <a:gd name="T80" fmla="*/ 252 w 338"/>
                  <a:gd name="T81" fmla="*/ 43 h 289"/>
                  <a:gd name="T82" fmla="*/ 273 w 338"/>
                  <a:gd name="T83" fmla="*/ 53 h 289"/>
                  <a:gd name="T84" fmla="*/ 298 w 338"/>
                  <a:gd name="T85" fmla="*/ 63 h 289"/>
                  <a:gd name="T86" fmla="*/ 302 w 338"/>
                  <a:gd name="T87" fmla="*/ 87 h 289"/>
                  <a:gd name="T88" fmla="*/ 295 w 338"/>
                  <a:gd name="T89" fmla="*/ 107 h 289"/>
                  <a:gd name="T90" fmla="*/ 289 w 338"/>
                  <a:gd name="T91" fmla="*/ 122 h 289"/>
                  <a:gd name="T92" fmla="*/ 291 w 338"/>
                  <a:gd name="T93" fmla="*/ 133 h 289"/>
                  <a:gd name="T94" fmla="*/ 295 w 338"/>
                  <a:gd name="T95" fmla="*/ 165 h 289"/>
                  <a:gd name="T96" fmla="*/ 298 w 338"/>
                  <a:gd name="T97" fmla="*/ 194 h 289"/>
                  <a:gd name="T98" fmla="*/ 316 w 338"/>
                  <a:gd name="T99" fmla="*/ 222 h 289"/>
                  <a:gd name="T100" fmla="*/ 329 w 338"/>
                  <a:gd name="T101" fmla="*/ 228 h 289"/>
                  <a:gd name="T102" fmla="*/ 337 w 338"/>
                  <a:gd name="T103" fmla="*/ 248 h 289"/>
                  <a:gd name="T104" fmla="*/ 324 w 338"/>
                  <a:gd name="T105" fmla="*/ 261 h 289"/>
                  <a:gd name="T106" fmla="*/ 315 w 338"/>
                  <a:gd name="T107" fmla="*/ 267 h 289"/>
                  <a:gd name="T108" fmla="*/ 209 w 338"/>
                  <a:gd name="T109" fmla="*/ 253 h 289"/>
                  <a:gd name="T110" fmla="*/ 206 w 338"/>
                  <a:gd name="T111" fmla="*/ 258 h 289"/>
                  <a:gd name="T112" fmla="*/ 209 w 338"/>
                  <a:gd name="T113" fmla="*/ 253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8" h="289">
                    <a:moveTo>
                      <a:pt x="309" y="286"/>
                    </a:moveTo>
                    <a:lnTo>
                      <a:pt x="308" y="287"/>
                    </a:lnTo>
                    <a:lnTo>
                      <a:pt x="306" y="289"/>
                    </a:lnTo>
                    <a:lnTo>
                      <a:pt x="306" y="289"/>
                    </a:lnTo>
                    <a:lnTo>
                      <a:pt x="305" y="289"/>
                    </a:lnTo>
                    <a:lnTo>
                      <a:pt x="302" y="289"/>
                    </a:lnTo>
                    <a:lnTo>
                      <a:pt x="301" y="289"/>
                    </a:lnTo>
                    <a:lnTo>
                      <a:pt x="295" y="287"/>
                    </a:lnTo>
                    <a:lnTo>
                      <a:pt x="293" y="286"/>
                    </a:lnTo>
                    <a:lnTo>
                      <a:pt x="292" y="284"/>
                    </a:lnTo>
                    <a:lnTo>
                      <a:pt x="292" y="284"/>
                    </a:lnTo>
                    <a:lnTo>
                      <a:pt x="291" y="283"/>
                    </a:lnTo>
                    <a:lnTo>
                      <a:pt x="289" y="283"/>
                    </a:lnTo>
                    <a:lnTo>
                      <a:pt x="288" y="284"/>
                    </a:lnTo>
                    <a:lnTo>
                      <a:pt x="286" y="284"/>
                    </a:lnTo>
                    <a:lnTo>
                      <a:pt x="285" y="284"/>
                    </a:lnTo>
                    <a:lnTo>
                      <a:pt x="282" y="284"/>
                    </a:lnTo>
                    <a:lnTo>
                      <a:pt x="279" y="283"/>
                    </a:lnTo>
                    <a:lnTo>
                      <a:pt x="276" y="283"/>
                    </a:lnTo>
                    <a:lnTo>
                      <a:pt x="272" y="283"/>
                    </a:lnTo>
                    <a:lnTo>
                      <a:pt x="270" y="283"/>
                    </a:lnTo>
                    <a:lnTo>
                      <a:pt x="266" y="283"/>
                    </a:lnTo>
                    <a:lnTo>
                      <a:pt x="265" y="283"/>
                    </a:lnTo>
                    <a:lnTo>
                      <a:pt x="263" y="281"/>
                    </a:lnTo>
                    <a:lnTo>
                      <a:pt x="260" y="281"/>
                    </a:lnTo>
                    <a:lnTo>
                      <a:pt x="259" y="280"/>
                    </a:lnTo>
                    <a:lnTo>
                      <a:pt x="256" y="280"/>
                    </a:lnTo>
                    <a:lnTo>
                      <a:pt x="250" y="280"/>
                    </a:lnTo>
                    <a:lnTo>
                      <a:pt x="249" y="280"/>
                    </a:lnTo>
                    <a:lnTo>
                      <a:pt x="246" y="278"/>
                    </a:lnTo>
                    <a:lnTo>
                      <a:pt x="242" y="278"/>
                    </a:lnTo>
                    <a:lnTo>
                      <a:pt x="236" y="276"/>
                    </a:lnTo>
                    <a:lnTo>
                      <a:pt x="233" y="274"/>
                    </a:lnTo>
                    <a:lnTo>
                      <a:pt x="232" y="271"/>
                    </a:lnTo>
                    <a:lnTo>
                      <a:pt x="230" y="268"/>
                    </a:lnTo>
                    <a:lnTo>
                      <a:pt x="229" y="258"/>
                    </a:lnTo>
                    <a:lnTo>
                      <a:pt x="226" y="253"/>
                    </a:lnTo>
                    <a:lnTo>
                      <a:pt x="222" y="248"/>
                    </a:lnTo>
                    <a:lnTo>
                      <a:pt x="214" y="248"/>
                    </a:lnTo>
                    <a:lnTo>
                      <a:pt x="212" y="250"/>
                    </a:lnTo>
                    <a:lnTo>
                      <a:pt x="204" y="253"/>
                    </a:lnTo>
                    <a:lnTo>
                      <a:pt x="203" y="254"/>
                    </a:lnTo>
                    <a:lnTo>
                      <a:pt x="202" y="255"/>
                    </a:lnTo>
                    <a:lnTo>
                      <a:pt x="200" y="255"/>
                    </a:lnTo>
                    <a:lnTo>
                      <a:pt x="197" y="257"/>
                    </a:lnTo>
                    <a:lnTo>
                      <a:pt x="196" y="257"/>
                    </a:lnTo>
                    <a:lnTo>
                      <a:pt x="194" y="258"/>
                    </a:lnTo>
                    <a:lnTo>
                      <a:pt x="191" y="260"/>
                    </a:lnTo>
                    <a:lnTo>
                      <a:pt x="190" y="261"/>
                    </a:lnTo>
                    <a:lnTo>
                      <a:pt x="186" y="261"/>
                    </a:lnTo>
                    <a:lnTo>
                      <a:pt x="179" y="258"/>
                    </a:lnTo>
                    <a:lnTo>
                      <a:pt x="176" y="257"/>
                    </a:lnTo>
                    <a:lnTo>
                      <a:pt x="171" y="257"/>
                    </a:lnTo>
                    <a:lnTo>
                      <a:pt x="168" y="257"/>
                    </a:lnTo>
                    <a:lnTo>
                      <a:pt x="167" y="255"/>
                    </a:lnTo>
                    <a:lnTo>
                      <a:pt x="166" y="254"/>
                    </a:lnTo>
                    <a:lnTo>
                      <a:pt x="164" y="253"/>
                    </a:lnTo>
                    <a:lnTo>
                      <a:pt x="163" y="251"/>
                    </a:lnTo>
                    <a:lnTo>
                      <a:pt x="161" y="251"/>
                    </a:lnTo>
                    <a:lnTo>
                      <a:pt x="157" y="248"/>
                    </a:lnTo>
                    <a:lnTo>
                      <a:pt x="156" y="248"/>
                    </a:lnTo>
                    <a:lnTo>
                      <a:pt x="154" y="247"/>
                    </a:lnTo>
                    <a:lnTo>
                      <a:pt x="153" y="245"/>
                    </a:lnTo>
                    <a:lnTo>
                      <a:pt x="150" y="243"/>
                    </a:lnTo>
                    <a:lnTo>
                      <a:pt x="148" y="240"/>
                    </a:lnTo>
                    <a:lnTo>
                      <a:pt x="144" y="238"/>
                    </a:lnTo>
                    <a:lnTo>
                      <a:pt x="141" y="235"/>
                    </a:lnTo>
                    <a:lnTo>
                      <a:pt x="134" y="234"/>
                    </a:lnTo>
                    <a:lnTo>
                      <a:pt x="131" y="232"/>
                    </a:lnTo>
                    <a:lnTo>
                      <a:pt x="130" y="231"/>
                    </a:lnTo>
                    <a:lnTo>
                      <a:pt x="127" y="227"/>
                    </a:lnTo>
                    <a:lnTo>
                      <a:pt x="124" y="224"/>
                    </a:lnTo>
                    <a:lnTo>
                      <a:pt x="124" y="221"/>
                    </a:lnTo>
                    <a:lnTo>
                      <a:pt x="124" y="221"/>
                    </a:lnTo>
                    <a:lnTo>
                      <a:pt x="124" y="218"/>
                    </a:lnTo>
                    <a:lnTo>
                      <a:pt x="123" y="218"/>
                    </a:lnTo>
                    <a:lnTo>
                      <a:pt x="123" y="217"/>
                    </a:lnTo>
                    <a:lnTo>
                      <a:pt x="121" y="215"/>
                    </a:lnTo>
                    <a:lnTo>
                      <a:pt x="121" y="215"/>
                    </a:lnTo>
                    <a:lnTo>
                      <a:pt x="120" y="214"/>
                    </a:lnTo>
                    <a:lnTo>
                      <a:pt x="120" y="212"/>
                    </a:lnTo>
                    <a:lnTo>
                      <a:pt x="120" y="211"/>
                    </a:lnTo>
                    <a:lnTo>
                      <a:pt x="118" y="209"/>
                    </a:lnTo>
                    <a:lnTo>
                      <a:pt x="117" y="209"/>
                    </a:lnTo>
                    <a:lnTo>
                      <a:pt x="117" y="209"/>
                    </a:lnTo>
                    <a:lnTo>
                      <a:pt x="117" y="208"/>
                    </a:lnTo>
                    <a:lnTo>
                      <a:pt x="117" y="207"/>
                    </a:lnTo>
                    <a:lnTo>
                      <a:pt x="117" y="207"/>
                    </a:lnTo>
                    <a:lnTo>
                      <a:pt x="115" y="204"/>
                    </a:lnTo>
                    <a:lnTo>
                      <a:pt x="110" y="198"/>
                    </a:lnTo>
                    <a:lnTo>
                      <a:pt x="108" y="195"/>
                    </a:lnTo>
                    <a:lnTo>
                      <a:pt x="108" y="194"/>
                    </a:lnTo>
                    <a:lnTo>
                      <a:pt x="107" y="192"/>
                    </a:lnTo>
                    <a:lnTo>
                      <a:pt x="107" y="191"/>
                    </a:lnTo>
                    <a:lnTo>
                      <a:pt x="105" y="189"/>
                    </a:lnTo>
                    <a:lnTo>
                      <a:pt x="104" y="189"/>
                    </a:lnTo>
                    <a:lnTo>
                      <a:pt x="100" y="192"/>
                    </a:lnTo>
                    <a:lnTo>
                      <a:pt x="98" y="192"/>
                    </a:lnTo>
                    <a:lnTo>
                      <a:pt x="95" y="192"/>
                    </a:lnTo>
                    <a:lnTo>
                      <a:pt x="92" y="191"/>
                    </a:lnTo>
                    <a:lnTo>
                      <a:pt x="89" y="188"/>
                    </a:lnTo>
                    <a:lnTo>
                      <a:pt x="87" y="186"/>
                    </a:lnTo>
                    <a:lnTo>
                      <a:pt x="88" y="186"/>
                    </a:lnTo>
                    <a:lnTo>
                      <a:pt x="91" y="186"/>
                    </a:lnTo>
                    <a:lnTo>
                      <a:pt x="91" y="185"/>
                    </a:lnTo>
                    <a:lnTo>
                      <a:pt x="91" y="185"/>
                    </a:lnTo>
                    <a:lnTo>
                      <a:pt x="89" y="184"/>
                    </a:lnTo>
                    <a:lnTo>
                      <a:pt x="88" y="184"/>
                    </a:lnTo>
                    <a:lnTo>
                      <a:pt x="87" y="184"/>
                    </a:lnTo>
                    <a:lnTo>
                      <a:pt x="88" y="185"/>
                    </a:lnTo>
                    <a:lnTo>
                      <a:pt x="85" y="185"/>
                    </a:lnTo>
                    <a:lnTo>
                      <a:pt x="85" y="188"/>
                    </a:lnTo>
                    <a:lnTo>
                      <a:pt x="85" y="189"/>
                    </a:lnTo>
                    <a:lnTo>
                      <a:pt x="85" y="191"/>
                    </a:lnTo>
                    <a:lnTo>
                      <a:pt x="84" y="192"/>
                    </a:lnTo>
                    <a:lnTo>
                      <a:pt x="82" y="192"/>
                    </a:lnTo>
                    <a:lnTo>
                      <a:pt x="81" y="194"/>
                    </a:lnTo>
                    <a:lnTo>
                      <a:pt x="79" y="194"/>
                    </a:lnTo>
                    <a:lnTo>
                      <a:pt x="78" y="192"/>
                    </a:lnTo>
                    <a:lnTo>
                      <a:pt x="77" y="191"/>
                    </a:lnTo>
                    <a:lnTo>
                      <a:pt x="77" y="189"/>
                    </a:lnTo>
                    <a:lnTo>
                      <a:pt x="75" y="188"/>
                    </a:lnTo>
                    <a:lnTo>
                      <a:pt x="74" y="186"/>
                    </a:lnTo>
                    <a:lnTo>
                      <a:pt x="71" y="185"/>
                    </a:lnTo>
                    <a:lnTo>
                      <a:pt x="71" y="184"/>
                    </a:lnTo>
                    <a:lnTo>
                      <a:pt x="69" y="181"/>
                    </a:lnTo>
                    <a:lnTo>
                      <a:pt x="69" y="178"/>
                    </a:lnTo>
                    <a:lnTo>
                      <a:pt x="69" y="175"/>
                    </a:lnTo>
                    <a:lnTo>
                      <a:pt x="69" y="175"/>
                    </a:lnTo>
                    <a:lnTo>
                      <a:pt x="67" y="174"/>
                    </a:lnTo>
                    <a:lnTo>
                      <a:pt x="65" y="174"/>
                    </a:lnTo>
                    <a:lnTo>
                      <a:pt x="65" y="174"/>
                    </a:lnTo>
                    <a:lnTo>
                      <a:pt x="64" y="172"/>
                    </a:lnTo>
                    <a:lnTo>
                      <a:pt x="64" y="168"/>
                    </a:lnTo>
                    <a:lnTo>
                      <a:pt x="67" y="162"/>
                    </a:lnTo>
                    <a:lnTo>
                      <a:pt x="67" y="158"/>
                    </a:lnTo>
                    <a:lnTo>
                      <a:pt x="65" y="156"/>
                    </a:lnTo>
                    <a:lnTo>
                      <a:pt x="62" y="153"/>
                    </a:lnTo>
                    <a:lnTo>
                      <a:pt x="59" y="148"/>
                    </a:lnTo>
                    <a:lnTo>
                      <a:pt x="58" y="148"/>
                    </a:lnTo>
                    <a:lnTo>
                      <a:pt x="58" y="146"/>
                    </a:lnTo>
                    <a:lnTo>
                      <a:pt x="56" y="146"/>
                    </a:lnTo>
                    <a:lnTo>
                      <a:pt x="55" y="146"/>
                    </a:lnTo>
                    <a:lnTo>
                      <a:pt x="54" y="146"/>
                    </a:lnTo>
                    <a:lnTo>
                      <a:pt x="52" y="145"/>
                    </a:lnTo>
                    <a:lnTo>
                      <a:pt x="44" y="139"/>
                    </a:lnTo>
                    <a:lnTo>
                      <a:pt x="42" y="138"/>
                    </a:lnTo>
                    <a:lnTo>
                      <a:pt x="41" y="138"/>
                    </a:lnTo>
                    <a:lnTo>
                      <a:pt x="38" y="138"/>
                    </a:lnTo>
                    <a:lnTo>
                      <a:pt x="36" y="138"/>
                    </a:lnTo>
                    <a:lnTo>
                      <a:pt x="36" y="136"/>
                    </a:lnTo>
                    <a:lnTo>
                      <a:pt x="36" y="135"/>
                    </a:lnTo>
                    <a:lnTo>
                      <a:pt x="36" y="133"/>
                    </a:lnTo>
                    <a:lnTo>
                      <a:pt x="36" y="133"/>
                    </a:lnTo>
                    <a:lnTo>
                      <a:pt x="36" y="132"/>
                    </a:lnTo>
                    <a:lnTo>
                      <a:pt x="36" y="130"/>
                    </a:lnTo>
                    <a:lnTo>
                      <a:pt x="35" y="129"/>
                    </a:lnTo>
                    <a:lnTo>
                      <a:pt x="33" y="128"/>
                    </a:lnTo>
                    <a:lnTo>
                      <a:pt x="32" y="126"/>
                    </a:lnTo>
                    <a:lnTo>
                      <a:pt x="32" y="125"/>
                    </a:lnTo>
                    <a:lnTo>
                      <a:pt x="32" y="125"/>
                    </a:lnTo>
                    <a:lnTo>
                      <a:pt x="31" y="125"/>
                    </a:lnTo>
                    <a:lnTo>
                      <a:pt x="31" y="125"/>
                    </a:lnTo>
                    <a:lnTo>
                      <a:pt x="25" y="119"/>
                    </a:lnTo>
                    <a:lnTo>
                      <a:pt x="25" y="117"/>
                    </a:lnTo>
                    <a:lnTo>
                      <a:pt x="25" y="116"/>
                    </a:lnTo>
                    <a:lnTo>
                      <a:pt x="26" y="113"/>
                    </a:lnTo>
                    <a:lnTo>
                      <a:pt x="26" y="112"/>
                    </a:lnTo>
                    <a:lnTo>
                      <a:pt x="26" y="109"/>
                    </a:lnTo>
                    <a:lnTo>
                      <a:pt x="25" y="107"/>
                    </a:lnTo>
                    <a:lnTo>
                      <a:pt x="25" y="106"/>
                    </a:lnTo>
                    <a:lnTo>
                      <a:pt x="25" y="105"/>
                    </a:lnTo>
                    <a:lnTo>
                      <a:pt x="28" y="105"/>
                    </a:lnTo>
                    <a:lnTo>
                      <a:pt x="29" y="103"/>
                    </a:lnTo>
                    <a:lnTo>
                      <a:pt x="29" y="100"/>
                    </a:lnTo>
                    <a:lnTo>
                      <a:pt x="31" y="97"/>
                    </a:lnTo>
                    <a:lnTo>
                      <a:pt x="33" y="96"/>
                    </a:lnTo>
                    <a:lnTo>
                      <a:pt x="35" y="94"/>
                    </a:lnTo>
                    <a:lnTo>
                      <a:pt x="36" y="93"/>
                    </a:lnTo>
                    <a:lnTo>
                      <a:pt x="36" y="90"/>
                    </a:lnTo>
                    <a:lnTo>
                      <a:pt x="35" y="89"/>
                    </a:lnTo>
                    <a:lnTo>
                      <a:pt x="35" y="87"/>
                    </a:lnTo>
                    <a:lnTo>
                      <a:pt x="33" y="84"/>
                    </a:lnTo>
                    <a:lnTo>
                      <a:pt x="35" y="83"/>
                    </a:lnTo>
                    <a:lnTo>
                      <a:pt x="36" y="82"/>
                    </a:lnTo>
                    <a:lnTo>
                      <a:pt x="38" y="82"/>
                    </a:lnTo>
                    <a:lnTo>
                      <a:pt x="39" y="82"/>
                    </a:lnTo>
                    <a:lnTo>
                      <a:pt x="39" y="80"/>
                    </a:lnTo>
                    <a:lnTo>
                      <a:pt x="38" y="80"/>
                    </a:lnTo>
                    <a:lnTo>
                      <a:pt x="36" y="80"/>
                    </a:lnTo>
                    <a:lnTo>
                      <a:pt x="32" y="80"/>
                    </a:lnTo>
                    <a:lnTo>
                      <a:pt x="31" y="79"/>
                    </a:lnTo>
                    <a:lnTo>
                      <a:pt x="31" y="79"/>
                    </a:lnTo>
                    <a:lnTo>
                      <a:pt x="29" y="79"/>
                    </a:lnTo>
                    <a:lnTo>
                      <a:pt x="28" y="77"/>
                    </a:lnTo>
                    <a:lnTo>
                      <a:pt x="25" y="76"/>
                    </a:lnTo>
                    <a:lnTo>
                      <a:pt x="23" y="76"/>
                    </a:lnTo>
                    <a:lnTo>
                      <a:pt x="22" y="74"/>
                    </a:lnTo>
                    <a:lnTo>
                      <a:pt x="21" y="70"/>
                    </a:lnTo>
                    <a:lnTo>
                      <a:pt x="18" y="64"/>
                    </a:lnTo>
                    <a:lnTo>
                      <a:pt x="12" y="53"/>
                    </a:lnTo>
                    <a:lnTo>
                      <a:pt x="13" y="50"/>
                    </a:lnTo>
                    <a:lnTo>
                      <a:pt x="12" y="48"/>
                    </a:lnTo>
                    <a:lnTo>
                      <a:pt x="11" y="47"/>
                    </a:lnTo>
                    <a:lnTo>
                      <a:pt x="9" y="46"/>
                    </a:lnTo>
                    <a:lnTo>
                      <a:pt x="9" y="43"/>
                    </a:lnTo>
                    <a:lnTo>
                      <a:pt x="9" y="41"/>
                    </a:lnTo>
                    <a:lnTo>
                      <a:pt x="8" y="41"/>
                    </a:lnTo>
                    <a:lnTo>
                      <a:pt x="6" y="38"/>
                    </a:lnTo>
                    <a:lnTo>
                      <a:pt x="5" y="38"/>
                    </a:lnTo>
                    <a:lnTo>
                      <a:pt x="3" y="38"/>
                    </a:lnTo>
                    <a:lnTo>
                      <a:pt x="3" y="37"/>
                    </a:lnTo>
                    <a:lnTo>
                      <a:pt x="3" y="36"/>
                    </a:lnTo>
                    <a:lnTo>
                      <a:pt x="3" y="36"/>
                    </a:lnTo>
                    <a:lnTo>
                      <a:pt x="6" y="31"/>
                    </a:lnTo>
                    <a:lnTo>
                      <a:pt x="6" y="30"/>
                    </a:lnTo>
                    <a:lnTo>
                      <a:pt x="6" y="28"/>
                    </a:lnTo>
                    <a:lnTo>
                      <a:pt x="5" y="28"/>
                    </a:lnTo>
                    <a:lnTo>
                      <a:pt x="5" y="27"/>
                    </a:lnTo>
                    <a:lnTo>
                      <a:pt x="3" y="25"/>
                    </a:lnTo>
                    <a:lnTo>
                      <a:pt x="3" y="21"/>
                    </a:lnTo>
                    <a:lnTo>
                      <a:pt x="3" y="20"/>
                    </a:lnTo>
                    <a:lnTo>
                      <a:pt x="2" y="15"/>
                    </a:lnTo>
                    <a:lnTo>
                      <a:pt x="2" y="15"/>
                    </a:lnTo>
                    <a:lnTo>
                      <a:pt x="2" y="13"/>
                    </a:lnTo>
                    <a:lnTo>
                      <a:pt x="2" y="13"/>
                    </a:lnTo>
                    <a:lnTo>
                      <a:pt x="2" y="11"/>
                    </a:lnTo>
                    <a:lnTo>
                      <a:pt x="0" y="10"/>
                    </a:lnTo>
                    <a:lnTo>
                      <a:pt x="0" y="8"/>
                    </a:lnTo>
                    <a:lnTo>
                      <a:pt x="0" y="7"/>
                    </a:lnTo>
                    <a:lnTo>
                      <a:pt x="2" y="7"/>
                    </a:lnTo>
                    <a:lnTo>
                      <a:pt x="5" y="7"/>
                    </a:lnTo>
                    <a:lnTo>
                      <a:pt x="6" y="5"/>
                    </a:lnTo>
                    <a:lnTo>
                      <a:pt x="6" y="4"/>
                    </a:lnTo>
                    <a:lnTo>
                      <a:pt x="8" y="2"/>
                    </a:lnTo>
                    <a:lnTo>
                      <a:pt x="8" y="0"/>
                    </a:lnTo>
                    <a:lnTo>
                      <a:pt x="9" y="0"/>
                    </a:lnTo>
                    <a:lnTo>
                      <a:pt x="11" y="0"/>
                    </a:lnTo>
                    <a:lnTo>
                      <a:pt x="11" y="0"/>
                    </a:lnTo>
                    <a:lnTo>
                      <a:pt x="12" y="1"/>
                    </a:lnTo>
                    <a:lnTo>
                      <a:pt x="13" y="1"/>
                    </a:lnTo>
                    <a:lnTo>
                      <a:pt x="18" y="7"/>
                    </a:lnTo>
                    <a:lnTo>
                      <a:pt x="22" y="11"/>
                    </a:lnTo>
                    <a:lnTo>
                      <a:pt x="25" y="14"/>
                    </a:lnTo>
                    <a:lnTo>
                      <a:pt x="29" y="15"/>
                    </a:lnTo>
                    <a:lnTo>
                      <a:pt x="32" y="17"/>
                    </a:lnTo>
                    <a:lnTo>
                      <a:pt x="36" y="17"/>
                    </a:lnTo>
                    <a:lnTo>
                      <a:pt x="41" y="17"/>
                    </a:lnTo>
                    <a:lnTo>
                      <a:pt x="44" y="17"/>
                    </a:lnTo>
                    <a:lnTo>
                      <a:pt x="45" y="15"/>
                    </a:lnTo>
                    <a:lnTo>
                      <a:pt x="59" y="5"/>
                    </a:lnTo>
                    <a:lnTo>
                      <a:pt x="65" y="1"/>
                    </a:lnTo>
                    <a:lnTo>
                      <a:pt x="68" y="1"/>
                    </a:lnTo>
                    <a:lnTo>
                      <a:pt x="71" y="1"/>
                    </a:lnTo>
                    <a:lnTo>
                      <a:pt x="72" y="4"/>
                    </a:lnTo>
                    <a:lnTo>
                      <a:pt x="74" y="7"/>
                    </a:lnTo>
                    <a:lnTo>
                      <a:pt x="74" y="7"/>
                    </a:lnTo>
                    <a:lnTo>
                      <a:pt x="72" y="8"/>
                    </a:lnTo>
                    <a:lnTo>
                      <a:pt x="71" y="10"/>
                    </a:lnTo>
                    <a:lnTo>
                      <a:pt x="72" y="11"/>
                    </a:lnTo>
                    <a:lnTo>
                      <a:pt x="74" y="13"/>
                    </a:lnTo>
                    <a:lnTo>
                      <a:pt x="75" y="14"/>
                    </a:lnTo>
                    <a:lnTo>
                      <a:pt x="74" y="15"/>
                    </a:lnTo>
                    <a:lnTo>
                      <a:pt x="74" y="15"/>
                    </a:lnTo>
                    <a:lnTo>
                      <a:pt x="71" y="15"/>
                    </a:lnTo>
                    <a:lnTo>
                      <a:pt x="69" y="17"/>
                    </a:lnTo>
                    <a:lnTo>
                      <a:pt x="69" y="18"/>
                    </a:lnTo>
                    <a:lnTo>
                      <a:pt x="71" y="20"/>
                    </a:lnTo>
                    <a:lnTo>
                      <a:pt x="77" y="23"/>
                    </a:lnTo>
                    <a:lnTo>
                      <a:pt x="78" y="25"/>
                    </a:lnTo>
                    <a:lnTo>
                      <a:pt x="79" y="27"/>
                    </a:lnTo>
                    <a:lnTo>
                      <a:pt x="82" y="27"/>
                    </a:lnTo>
                    <a:lnTo>
                      <a:pt x="85" y="27"/>
                    </a:lnTo>
                    <a:lnTo>
                      <a:pt x="85" y="33"/>
                    </a:lnTo>
                    <a:lnTo>
                      <a:pt x="87" y="38"/>
                    </a:lnTo>
                    <a:lnTo>
                      <a:pt x="89" y="43"/>
                    </a:lnTo>
                    <a:lnTo>
                      <a:pt x="95" y="46"/>
                    </a:lnTo>
                    <a:lnTo>
                      <a:pt x="102" y="47"/>
                    </a:lnTo>
                    <a:lnTo>
                      <a:pt x="105" y="47"/>
                    </a:lnTo>
                    <a:lnTo>
                      <a:pt x="108" y="48"/>
                    </a:lnTo>
                    <a:lnTo>
                      <a:pt x="108" y="50"/>
                    </a:lnTo>
                    <a:lnTo>
                      <a:pt x="110" y="51"/>
                    </a:lnTo>
                    <a:lnTo>
                      <a:pt x="111" y="53"/>
                    </a:lnTo>
                    <a:lnTo>
                      <a:pt x="112" y="54"/>
                    </a:lnTo>
                    <a:lnTo>
                      <a:pt x="115" y="57"/>
                    </a:lnTo>
                    <a:lnTo>
                      <a:pt x="124" y="60"/>
                    </a:lnTo>
                    <a:lnTo>
                      <a:pt x="130" y="63"/>
                    </a:lnTo>
                    <a:lnTo>
                      <a:pt x="137" y="64"/>
                    </a:lnTo>
                    <a:lnTo>
                      <a:pt x="144" y="63"/>
                    </a:lnTo>
                    <a:lnTo>
                      <a:pt x="166" y="57"/>
                    </a:lnTo>
                    <a:lnTo>
                      <a:pt x="174" y="57"/>
                    </a:lnTo>
                    <a:lnTo>
                      <a:pt x="173" y="59"/>
                    </a:lnTo>
                    <a:lnTo>
                      <a:pt x="171" y="59"/>
                    </a:lnTo>
                    <a:lnTo>
                      <a:pt x="170" y="59"/>
                    </a:lnTo>
                    <a:lnTo>
                      <a:pt x="170" y="59"/>
                    </a:lnTo>
                    <a:lnTo>
                      <a:pt x="174" y="60"/>
                    </a:lnTo>
                    <a:lnTo>
                      <a:pt x="176" y="57"/>
                    </a:lnTo>
                    <a:lnTo>
                      <a:pt x="174" y="53"/>
                    </a:lnTo>
                    <a:lnTo>
                      <a:pt x="174" y="48"/>
                    </a:lnTo>
                    <a:lnTo>
                      <a:pt x="177" y="48"/>
                    </a:lnTo>
                    <a:lnTo>
                      <a:pt x="180" y="48"/>
                    </a:lnTo>
                    <a:lnTo>
                      <a:pt x="183" y="48"/>
                    </a:lnTo>
                    <a:lnTo>
                      <a:pt x="186" y="47"/>
                    </a:lnTo>
                    <a:lnTo>
                      <a:pt x="187" y="46"/>
                    </a:lnTo>
                    <a:lnTo>
                      <a:pt x="189" y="44"/>
                    </a:lnTo>
                    <a:lnTo>
                      <a:pt x="190" y="41"/>
                    </a:lnTo>
                    <a:lnTo>
                      <a:pt x="194" y="37"/>
                    </a:lnTo>
                    <a:lnTo>
                      <a:pt x="199" y="36"/>
                    </a:lnTo>
                    <a:lnTo>
                      <a:pt x="204" y="34"/>
                    </a:lnTo>
                    <a:lnTo>
                      <a:pt x="212" y="34"/>
                    </a:lnTo>
                    <a:lnTo>
                      <a:pt x="213" y="34"/>
                    </a:lnTo>
                    <a:lnTo>
                      <a:pt x="214" y="33"/>
                    </a:lnTo>
                    <a:lnTo>
                      <a:pt x="216" y="33"/>
                    </a:lnTo>
                    <a:lnTo>
                      <a:pt x="219" y="31"/>
                    </a:lnTo>
                    <a:lnTo>
                      <a:pt x="220" y="30"/>
                    </a:lnTo>
                    <a:lnTo>
                      <a:pt x="223" y="30"/>
                    </a:lnTo>
                    <a:lnTo>
                      <a:pt x="230" y="31"/>
                    </a:lnTo>
                    <a:lnTo>
                      <a:pt x="232" y="31"/>
                    </a:lnTo>
                    <a:lnTo>
                      <a:pt x="233" y="33"/>
                    </a:lnTo>
                    <a:lnTo>
                      <a:pt x="233" y="34"/>
                    </a:lnTo>
                    <a:lnTo>
                      <a:pt x="233" y="36"/>
                    </a:lnTo>
                    <a:lnTo>
                      <a:pt x="235" y="36"/>
                    </a:lnTo>
                    <a:lnTo>
                      <a:pt x="236" y="37"/>
                    </a:lnTo>
                    <a:lnTo>
                      <a:pt x="243" y="38"/>
                    </a:lnTo>
                    <a:lnTo>
                      <a:pt x="245" y="40"/>
                    </a:lnTo>
                    <a:lnTo>
                      <a:pt x="249" y="41"/>
                    </a:lnTo>
                    <a:lnTo>
                      <a:pt x="250" y="43"/>
                    </a:lnTo>
                    <a:lnTo>
                      <a:pt x="252" y="43"/>
                    </a:lnTo>
                    <a:lnTo>
                      <a:pt x="253" y="43"/>
                    </a:lnTo>
                    <a:lnTo>
                      <a:pt x="259" y="43"/>
                    </a:lnTo>
                    <a:lnTo>
                      <a:pt x="260" y="43"/>
                    </a:lnTo>
                    <a:lnTo>
                      <a:pt x="262" y="43"/>
                    </a:lnTo>
                    <a:lnTo>
                      <a:pt x="265" y="44"/>
                    </a:lnTo>
                    <a:lnTo>
                      <a:pt x="268" y="46"/>
                    </a:lnTo>
                    <a:lnTo>
                      <a:pt x="270" y="50"/>
                    </a:lnTo>
                    <a:lnTo>
                      <a:pt x="273" y="53"/>
                    </a:lnTo>
                    <a:lnTo>
                      <a:pt x="281" y="56"/>
                    </a:lnTo>
                    <a:lnTo>
                      <a:pt x="282" y="57"/>
                    </a:lnTo>
                    <a:lnTo>
                      <a:pt x="283" y="59"/>
                    </a:lnTo>
                    <a:lnTo>
                      <a:pt x="285" y="60"/>
                    </a:lnTo>
                    <a:lnTo>
                      <a:pt x="285" y="61"/>
                    </a:lnTo>
                    <a:lnTo>
                      <a:pt x="288" y="63"/>
                    </a:lnTo>
                    <a:lnTo>
                      <a:pt x="291" y="63"/>
                    </a:lnTo>
                    <a:lnTo>
                      <a:pt x="298" y="63"/>
                    </a:lnTo>
                    <a:lnTo>
                      <a:pt x="299" y="63"/>
                    </a:lnTo>
                    <a:lnTo>
                      <a:pt x="301" y="64"/>
                    </a:lnTo>
                    <a:lnTo>
                      <a:pt x="301" y="67"/>
                    </a:lnTo>
                    <a:lnTo>
                      <a:pt x="302" y="77"/>
                    </a:lnTo>
                    <a:lnTo>
                      <a:pt x="302" y="80"/>
                    </a:lnTo>
                    <a:lnTo>
                      <a:pt x="302" y="84"/>
                    </a:lnTo>
                    <a:lnTo>
                      <a:pt x="303" y="86"/>
                    </a:lnTo>
                    <a:lnTo>
                      <a:pt x="302" y="87"/>
                    </a:lnTo>
                    <a:lnTo>
                      <a:pt x="301" y="89"/>
                    </a:lnTo>
                    <a:lnTo>
                      <a:pt x="301" y="90"/>
                    </a:lnTo>
                    <a:lnTo>
                      <a:pt x="301" y="96"/>
                    </a:lnTo>
                    <a:lnTo>
                      <a:pt x="299" y="99"/>
                    </a:lnTo>
                    <a:lnTo>
                      <a:pt x="299" y="100"/>
                    </a:lnTo>
                    <a:lnTo>
                      <a:pt x="295" y="106"/>
                    </a:lnTo>
                    <a:lnTo>
                      <a:pt x="293" y="107"/>
                    </a:lnTo>
                    <a:lnTo>
                      <a:pt x="295" y="107"/>
                    </a:lnTo>
                    <a:lnTo>
                      <a:pt x="296" y="110"/>
                    </a:lnTo>
                    <a:lnTo>
                      <a:pt x="293" y="110"/>
                    </a:lnTo>
                    <a:lnTo>
                      <a:pt x="292" y="110"/>
                    </a:lnTo>
                    <a:lnTo>
                      <a:pt x="291" y="112"/>
                    </a:lnTo>
                    <a:lnTo>
                      <a:pt x="289" y="113"/>
                    </a:lnTo>
                    <a:lnTo>
                      <a:pt x="289" y="115"/>
                    </a:lnTo>
                    <a:lnTo>
                      <a:pt x="289" y="120"/>
                    </a:lnTo>
                    <a:lnTo>
                      <a:pt x="289" y="122"/>
                    </a:lnTo>
                    <a:lnTo>
                      <a:pt x="291" y="123"/>
                    </a:lnTo>
                    <a:lnTo>
                      <a:pt x="293" y="125"/>
                    </a:lnTo>
                    <a:lnTo>
                      <a:pt x="295" y="126"/>
                    </a:lnTo>
                    <a:lnTo>
                      <a:pt x="296" y="126"/>
                    </a:lnTo>
                    <a:lnTo>
                      <a:pt x="296" y="128"/>
                    </a:lnTo>
                    <a:lnTo>
                      <a:pt x="292" y="130"/>
                    </a:lnTo>
                    <a:lnTo>
                      <a:pt x="291" y="133"/>
                    </a:lnTo>
                    <a:lnTo>
                      <a:pt x="291" y="133"/>
                    </a:lnTo>
                    <a:lnTo>
                      <a:pt x="291" y="135"/>
                    </a:lnTo>
                    <a:lnTo>
                      <a:pt x="291" y="138"/>
                    </a:lnTo>
                    <a:lnTo>
                      <a:pt x="292" y="140"/>
                    </a:lnTo>
                    <a:lnTo>
                      <a:pt x="295" y="148"/>
                    </a:lnTo>
                    <a:lnTo>
                      <a:pt x="295" y="152"/>
                    </a:lnTo>
                    <a:lnTo>
                      <a:pt x="295" y="158"/>
                    </a:lnTo>
                    <a:lnTo>
                      <a:pt x="293" y="162"/>
                    </a:lnTo>
                    <a:lnTo>
                      <a:pt x="295" y="165"/>
                    </a:lnTo>
                    <a:lnTo>
                      <a:pt x="298" y="166"/>
                    </a:lnTo>
                    <a:lnTo>
                      <a:pt x="306" y="166"/>
                    </a:lnTo>
                    <a:lnTo>
                      <a:pt x="309" y="166"/>
                    </a:lnTo>
                    <a:lnTo>
                      <a:pt x="314" y="172"/>
                    </a:lnTo>
                    <a:lnTo>
                      <a:pt x="311" y="179"/>
                    </a:lnTo>
                    <a:lnTo>
                      <a:pt x="305" y="186"/>
                    </a:lnTo>
                    <a:lnTo>
                      <a:pt x="301" y="191"/>
                    </a:lnTo>
                    <a:lnTo>
                      <a:pt x="298" y="194"/>
                    </a:lnTo>
                    <a:lnTo>
                      <a:pt x="298" y="194"/>
                    </a:lnTo>
                    <a:lnTo>
                      <a:pt x="295" y="197"/>
                    </a:lnTo>
                    <a:lnTo>
                      <a:pt x="301" y="202"/>
                    </a:lnTo>
                    <a:lnTo>
                      <a:pt x="303" y="207"/>
                    </a:lnTo>
                    <a:lnTo>
                      <a:pt x="308" y="214"/>
                    </a:lnTo>
                    <a:lnTo>
                      <a:pt x="309" y="217"/>
                    </a:lnTo>
                    <a:lnTo>
                      <a:pt x="312" y="220"/>
                    </a:lnTo>
                    <a:lnTo>
                      <a:pt x="316" y="222"/>
                    </a:lnTo>
                    <a:lnTo>
                      <a:pt x="322" y="224"/>
                    </a:lnTo>
                    <a:lnTo>
                      <a:pt x="324" y="225"/>
                    </a:lnTo>
                    <a:lnTo>
                      <a:pt x="325" y="225"/>
                    </a:lnTo>
                    <a:lnTo>
                      <a:pt x="326" y="227"/>
                    </a:lnTo>
                    <a:lnTo>
                      <a:pt x="326" y="227"/>
                    </a:lnTo>
                    <a:lnTo>
                      <a:pt x="328" y="227"/>
                    </a:lnTo>
                    <a:lnTo>
                      <a:pt x="329" y="227"/>
                    </a:lnTo>
                    <a:lnTo>
                      <a:pt x="329" y="228"/>
                    </a:lnTo>
                    <a:lnTo>
                      <a:pt x="329" y="232"/>
                    </a:lnTo>
                    <a:lnTo>
                      <a:pt x="329" y="240"/>
                    </a:lnTo>
                    <a:lnTo>
                      <a:pt x="329" y="241"/>
                    </a:lnTo>
                    <a:lnTo>
                      <a:pt x="329" y="245"/>
                    </a:lnTo>
                    <a:lnTo>
                      <a:pt x="329" y="247"/>
                    </a:lnTo>
                    <a:lnTo>
                      <a:pt x="331" y="247"/>
                    </a:lnTo>
                    <a:lnTo>
                      <a:pt x="334" y="247"/>
                    </a:lnTo>
                    <a:lnTo>
                      <a:pt x="337" y="248"/>
                    </a:lnTo>
                    <a:lnTo>
                      <a:pt x="338" y="250"/>
                    </a:lnTo>
                    <a:lnTo>
                      <a:pt x="338" y="251"/>
                    </a:lnTo>
                    <a:lnTo>
                      <a:pt x="338" y="254"/>
                    </a:lnTo>
                    <a:lnTo>
                      <a:pt x="337" y="257"/>
                    </a:lnTo>
                    <a:lnTo>
                      <a:pt x="335" y="258"/>
                    </a:lnTo>
                    <a:lnTo>
                      <a:pt x="328" y="260"/>
                    </a:lnTo>
                    <a:lnTo>
                      <a:pt x="325" y="260"/>
                    </a:lnTo>
                    <a:lnTo>
                      <a:pt x="324" y="261"/>
                    </a:lnTo>
                    <a:lnTo>
                      <a:pt x="322" y="261"/>
                    </a:lnTo>
                    <a:lnTo>
                      <a:pt x="321" y="261"/>
                    </a:lnTo>
                    <a:lnTo>
                      <a:pt x="321" y="263"/>
                    </a:lnTo>
                    <a:lnTo>
                      <a:pt x="321" y="264"/>
                    </a:lnTo>
                    <a:lnTo>
                      <a:pt x="319" y="264"/>
                    </a:lnTo>
                    <a:lnTo>
                      <a:pt x="319" y="264"/>
                    </a:lnTo>
                    <a:lnTo>
                      <a:pt x="318" y="264"/>
                    </a:lnTo>
                    <a:lnTo>
                      <a:pt x="315" y="267"/>
                    </a:lnTo>
                    <a:lnTo>
                      <a:pt x="314" y="268"/>
                    </a:lnTo>
                    <a:lnTo>
                      <a:pt x="312" y="270"/>
                    </a:lnTo>
                    <a:lnTo>
                      <a:pt x="312" y="274"/>
                    </a:lnTo>
                    <a:lnTo>
                      <a:pt x="311" y="276"/>
                    </a:lnTo>
                    <a:lnTo>
                      <a:pt x="309" y="278"/>
                    </a:lnTo>
                    <a:lnTo>
                      <a:pt x="309" y="280"/>
                    </a:lnTo>
                    <a:lnTo>
                      <a:pt x="309" y="286"/>
                    </a:lnTo>
                    <a:close/>
                    <a:moveTo>
                      <a:pt x="209" y="253"/>
                    </a:moveTo>
                    <a:lnTo>
                      <a:pt x="206" y="253"/>
                    </a:lnTo>
                    <a:lnTo>
                      <a:pt x="206" y="255"/>
                    </a:lnTo>
                    <a:lnTo>
                      <a:pt x="203" y="257"/>
                    </a:lnTo>
                    <a:lnTo>
                      <a:pt x="200" y="258"/>
                    </a:lnTo>
                    <a:lnTo>
                      <a:pt x="197" y="258"/>
                    </a:lnTo>
                    <a:lnTo>
                      <a:pt x="199" y="260"/>
                    </a:lnTo>
                    <a:lnTo>
                      <a:pt x="202" y="260"/>
                    </a:lnTo>
                    <a:lnTo>
                      <a:pt x="206" y="258"/>
                    </a:lnTo>
                    <a:lnTo>
                      <a:pt x="207" y="257"/>
                    </a:lnTo>
                    <a:lnTo>
                      <a:pt x="209" y="257"/>
                    </a:lnTo>
                    <a:lnTo>
                      <a:pt x="210" y="257"/>
                    </a:lnTo>
                    <a:lnTo>
                      <a:pt x="212" y="255"/>
                    </a:lnTo>
                    <a:lnTo>
                      <a:pt x="213" y="254"/>
                    </a:lnTo>
                    <a:lnTo>
                      <a:pt x="214" y="253"/>
                    </a:lnTo>
                    <a:lnTo>
                      <a:pt x="213" y="251"/>
                    </a:lnTo>
                    <a:lnTo>
                      <a:pt x="209" y="25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7" name="Freeform 123">
                <a:extLst>
                  <a:ext uri="{FF2B5EF4-FFF2-40B4-BE49-F238E27FC236}">
                    <a16:creationId xmlns:a16="http://schemas.microsoft.com/office/drawing/2014/main" id="{1A76FA98-F551-6EF3-D6BE-03A20B873AF2}"/>
                  </a:ext>
                </a:extLst>
              </p:cNvPr>
              <p:cNvSpPr>
                <a:spLocks noEditPoints="1"/>
              </p:cNvSpPr>
              <p:nvPr/>
            </p:nvSpPr>
            <p:spPr bwMode="auto">
              <a:xfrm>
                <a:off x="8228393" y="3732140"/>
                <a:ext cx="135920" cy="112785"/>
              </a:xfrm>
              <a:custGeom>
                <a:avLst/>
                <a:gdLst>
                  <a:gd name="T0" fmla="*/ 35 w 94"/>
                  <a:gd name="T1" fmla="*/ 76 h 78"/>
                  <a:gd name="T2" fmla="*/ 26 w 94"/>
                  <a:gd name="T3" fmla="*/ 75 h 78"/>
                  <a:gd name="T4" fmla="*/ 23 w 94"/>
                  <a:gd name="T5" fmla="*/ 72 h 78"/>
                  <a:gd name="T6" fmla="*/ 25 w 94"/>
                  <a:gd name="T7" fmla="*/ 69 h 78"/>
                  <a:gd name="T8" fmla="*/ 23 w 94"/>
                  <a:gd name="T9" fmla="*/ 65 h 78"/>
                  <a:gd name="T10" fmla="*/ 21 w 94"/>
                  <a:gd name="T11" fmla="*/ 66 h 78"/>
                  <a:gd name="T12" fmla="*/ 18 w 94"/>
                  <a:gd name="T13" fmla="*/ 69 h 78"/>
                  <a:gd name="T14" fmla="*/ 15 w 94"/>
                  <a:gd name="T15" fmla="*/ 66 h 78"/>
                  <a:gd name="T16" fmla="*/ 13 w 94"/>
                  <a:gd name="T17" fmla="*/ 59 h 78"/>
                  <a:gd name="T18" fmla="*/ 12 w 94"/>
                  <a:gd name="T19" fmla="*/ 53 h 78"/>
                  <a:gd name="T20" fmla="*/ 12 w 94"/>
                  <a:gd name="T21" fmla="*/ 55 h 78"/>
                  <a:gd name="T22" fmla="*/ 8 w 94"/>
                  <a:gd name="T23" fmla="*/ 46 h 78"/>
                  <a:gd name="T24" fmla="*/ 8 w 94"/>
                  <a:gd name="T25" fmla="*/ 40 h 78"/>
                  <a:gd name="T26" fmla="*/ 3 w 94"/>
                  <a:gd name="T27" fmla="*/ 36 h 78"/>
                  <a:gd name="T28" fmla="*/ 0 w 94"/>
                  <a:gd name="T29" fmla="*/ 26 h 78"/>
                  <a:gd name="T30" fmla="*/ 2 w 94"/>
                  <a:gd name="T31" fmla="*/ 20 h 78"/>
                  <a:gd name="T32" fmla="*/ 5 w 94"/>
                  <a:gd name="T33" fmla="*/ 20 h 78"/>
                  <a:gd name="T34" fmla="*/ 5 w 94"/>
                  <a:gd name="T35" fmla="*/ 19 h 78"/>
                  <a:gd name="T36" fmla="*/ 15 w 94"/>
                  <a:gd name="T37" fmla="*/ 7 h 78"/>
                  <a:gd name="T38" fmla="*/ 23 w 94"/>
                  <a:gd name="T39" fmla="*/ 6 h 78"/>
                  <a:gd name="T40" fmla="*/ 42 w 94"/>
                  <a:gd name="T41" fmla="*/ 4 h 78"/>
                  <a:gd name="T42" fmla="*/ 48 w 94"/>
                  <a:gd name="T43" fmla="*/ 9 h 78"/>
                  <a:gd name="T44" fmla="*/ 52 w 94"/>
                  <a:gd name="T45" fmla="*/ 9 h 78"/>
                  <a:gd name="T46" fmla="*/ 59 w 94"/>
                  <a:gd name="T47" fmla="*/ 11 h 78"/>
                  <a:gd name="T48" fmla="*/ 68 w 94"/>
                  <a:gd name="T49" fmla="*/ 13 h 78"/>
                  <a:gd name="T50" fmla="*/ 66 w 94"/>
                  <a:gd name="T51" fmla="*/ 6 h 78"/>
                  <a:gd name="T52" fmla="*/ 69 w 94"/>
                  <a:gd name="T53" fmla="*/ 4 h 78"/>
                  <a:gd name="T54" fmla="*/ 72 w 94"/>
                  <a:gd name="T55" fmla="*/ 4 h 78"/>
                  <a:gd name="T56" fmla="*/ 77 w 94"/>
                  <a:gd name="T57" fmla="*/ 4 h 78"/>
                  <a:gd name="T58" fmla="*/ 84 w 94"/>
                  <a:gd name="T59" fmla="*/ 6 h 78"/>
                  <a:gd name="T60" fmla="*/ 89 w 94"/>
                  <a:gd name="T61" fmla="*/ 1 h 78"/>
                  <a:gd name="T62" fmla="*/ 92 w 94"/>
                  <a:gd name="T63" fmla="*/ 3 h 78"/>
                  <a:gd name="T64" fmla="*/ 89 w 94"/>
                  <a:gd name="T65" fmla="*/ 14 h 78"/>
                  <a:gd name="T66" fmla="*/ 94 w 94"/>
                  <a:gd name="T67" fmla="*/ 24 h 78"/>
                  <a:gd name="T68" fmla="*/ 92 w 94"/>
                  <a:gd name="T69" fmla="*/ 39 h 78"/>
                  <a:gd name="T70" fmla="*/ 89 w 94"/>
                  <a:gd name="T71" fmla="*/ 45 h 78"/>
                  <a:gd name="T72" fmla="*/ 87 w 94"/>
                  <a:gd name="T73" fmla="*/ 43 h 78"/>
                  <a:gd name="T74" fmla="*/ 84 w 94"/>
                  <a:gd name="T75" fmla="*/ 46 h 78"/>
                  <a:gd name="T76" fmla="*/ 78 w 94"/>
                  <a:gd name="T77" fmla="*/ 49 h 78"/>
                  <a:gd name="T78" fmla="*/ 74 w 94"/>
                  <a:gd name="T79" fmla="*/ 50 h 78"/>
                  <a:gd name="T80" fmla="*/ 71 w 94"/>
                  <a:gd name="T81" fmla="*/ 55 h 78"/>
                  <a:gd name="T82" fmla="*/ 65 w 94"/>
                  <a:gd name="T83" fmla="*/ 55 h 78"/>
                  <a:gd name="T84" fmla="*/ 62 w 94"/>
                  <a:gd name="T85" fmla="*/ 59 h 78"/>
                  <a:gd name="T86" fmla="*/ 65 w 94"/>
                  <a:gd name="T87" fmla="*/ 63 h 78"/>
                  <a:gd name="T88" fmla="*/ 68 w 94"/>
                  <a:gd name="T89" fmla="*/ 68 h 78"/>
                  <a:gd name="T90" fmla="*/ 66 w 94"/>
                  <a:gd name="T91" fmla="*/ 70 h 78"/>
                  <a:gd name="T92" fmla="*/ 61 w 94"/>
                  <a:gd name="T93" fmla="*/ 68 h 78"/>
                  <a:gd name="T94" fmla="*/ 55 w 94"/>
                  <a:gd name="T95" fmla="*/ 68 h 78"/>
                  <a:gd name="T96" fmla="*/ 54 w 94"/>
                  <a:gd name="T97" fmla="*/ 69 h 78"/>
                  <a:gd name="T98" fmla="*/ 51 w 94"/>
                  <a:gd name="T99" fmla="*/ 69 h 78"/>
                  <a:gd name="T100" fmla="*/ 48 w 94"/>
                  <a:gd name="T101" fmla="*/ 69 h 78"/>
                  <a:gd name="T102" fmla="*/ 49 w 94"/>
                  <a:gd name="T103" fmla="*/ 70 h 78"/>
                  <a:gd name="T104" fmla="*/ 46 w 94"/>
                  <a:gd name="T105" fmla="*/ 73 h 78"/>
                  <a:gd name="T106" fmla="*/ 39 w 94"/>
                  <a:gd name="T107" fmla="*/ 76 h 78"/>
                  <a:gd name="T108" fmla="*/ 18 w 94"/>
                  <a:gd name="T109" fmla="*/ 73 h 78"/>
                  <a:gd name="T110" fmla="*/ 18 w 94"/>
                  <a:gd name="T111" fmla="*/ 72 h 78"/>
                  <a:gd name="T112" fmla="*/ 12 w 94"/>
                  <a:gd name="T113" fmla="*/ 60 h 78"/>
                  <a:gd name="T114" fmla="*/ 13 w 94"/>
                  <a:gd name="T115"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4" h="78">
                    <a:moveTo>
                      <a:pt x="39" y="76"/>
                    </a:moveTo>
                    <a:lnTo>
                      <a:pt x="38" y="78"/>
                    </a:lnTo>
                    <a:lnTo>
                      <a:pt x="35" y="76"/>
                    </a:lnTo>
                    <a:lnTo>
                      <a:pt x="31" y="75"/>
                    </a:lnTo>
                    <a:lnTo>
                      <a:pt x="28" y="73"/>
                    </a:lnTo>
                    <a:lnTo>
                      <a:pt x="26" y="75"/>
                    </a:lnTo>
                    <a:lnTo>
                      <a:pt x="25" y="75"/>
                    </a:lnTo>
                    <a:lnTo>
                      <a:pt x="23" y="75"/>
                    </a:lnTo>
                    <a:lnTo>
                      <a:pt x="23" y="72"/>
                    </a:lnTo>
                    <a:lnTo>
                      <a:pt x="23" y="70"/>
                    </a:lnTo>
                    <a:lnTo>
                      <a:pt x="25" y="70"/>
                    </a:lnTo>
                    <a:lnTo>
                      <a:pt x="25" y="69"/>
                    </a:lnTo>
                    <a:lnTo>
                      <a:pt x="25" y="68"/>
                    </a:lnTo>
                    <a:lnTo>
                      <a:pt x="25" y="66"/>
                    </a:lnTo>
                    <a:lnTo>
                      <a:pt x="23" y="65"/>
                    </a:lnTo>
                    <a:lnTo>
                      <a:pt x="22" y="65"/>
                    </a:lnTo>
                    <a:lnTo>
                      <a:pt x="22" y="65"/>
                    </a:lnTo>
                    <a:lnTo>
                      <a:pt x="21" y="66"/>
                    </a:lnTo>
                    <a:lnTo>
                      <a:pt x="19" y="66"/>
                    </a:lnTo>
                    <a:lnTo>
                      <a:pt x="19" y="68"/>
                    </a:lnTo>
                    <a:lnTo>
                      <a:pt x="18" y="69"/>
                    </a:lnTo>
                    <a:lnTo>
                      <a:pt x="16" y="68"/>
                    </a:lnTo>
                    <a:lnTo>
                      <a:pt x="15" y="68"/>
                    </a:lnTo>
                    <a:lnTo>
                      <a:pt x="15" y="66"/>
                    </a:lnTo>
                    <a:lnTo>
                      <a:pt x="15" y="65"/>
                    </a:lnTo>
                    <a:lnTo>
                      <a:pt x="15" y="62"/>
                    </a:lnTo>
                    <a:lnTo>
                      <a:pt x="13" y="59"/>
                    </a:lnTo>
                    <a:lnTo>
                      <a:pt x="13" y="56"/>
                    </a:lnTo>
                    <a:lnTo>
                      <a:pt x="12" y="53"/>
                    </a:lnTo>
                    <a:lnTo>
                      <a:pt x="12" y="53"/>
                    </a:lnTo>
                    <a:lnTo>
                      <a:pt x="12" y="53"/>
                    </a:lnTo>
                    <a:lnTo>
                      <a:pt x="12" y="53"/>
                    </a:lnTo>
                    <a:lnTo>
                      <a:pt x="12" y="55"/>
                    </a:lnTo>
                    <a:lnTo>
                      <a:pt x="9" y="49"/>
                    </a:lnTo>
                    <a:lnTo>
                      <a:pt x="8" y="47"/>
                    </a:lnTo>
                    <a:lnTo>
                      <a:pt x="8" y="46"/>
                    </a:lnTo>
                    <a:lnTo>
                      <a:pt x="8" y="43"/>
                    </a:lnTo>
                    <a:lnTo>
                      <a:pt x="8" y="42"/>
                    </a:lnTo>
                    <a:lnTo>
                      <a:pt x="8" y="40"/>
                    </a:lnTo>
                    <a:lnTo>
                      <a:pt x="5" y="39"/>
                    </a:lnTo>
                    <a:lnTo>
                      <a:pt x="5" y="37"/>
                    </a:lnTo>
                    <a:lnTo>
                      <a:pt x="3" y="36"/>
                    </a:lnTo>
                    <a:lnTo>
                      <a:pt x="3" y="32"/>
                    </a:lnTo>
                    <a:lnTo>
                      <a:pt x="3" y="30"/>
                    </a:lnTo>
                    <a:lnTo>
                      <a:pt x="0" y="26"/>
                    </a:lnTo>
                    <a:lnTo>
                      <a:pt x="0" y="23"/>
                    </a:lnTo>
                    <a:lnTo>
                      <a:pt x="2" y="20"/>
                    </a:lnTo>
                    <a:lnTo>
                      <a:pt x="2" y="20"/>
                    </a:lnTo>
                    <a:lnTo>
                      <a:pt x="5" y="20"/>
                    </a:lnTo>
                    <a:lnTo>
                      <a:pt x="5" y="20"/>
                    </a:lnTo>
                    <a:lnTo>
                      <a:pt x="5" y="20"/>
                    </a:lnTo>
                    <a:lnTo>
                      <a:pt x="5" y="19"/>
                    </a:lnTo>
                    <a:lnTo>
                      <a:pt x="5" y="19"/>
                    </a:lnTo>
                    <a:lnTo>
                      <a:pt x="5" y="19"/>
                    </a:lnTo>
                    <a:lnTo>
                      <a:pt x="6" y="17"/>
                    </a:lnTo>
                    <a:lnTo>
                      <a:pt x="12" y="10"/>
                    </a:lnTo>
                    <a:lnTo>
                      <a:pt x="15" y="7"/>
                    </a:lnTo>
                    <a:lnTo>
                      <a:pt x="18" y="6"/>
                    </a:lnTo>
                    <a:lnTo>
                      <a:pt x="22" y="6"/>
                    </a:lnTo>
                    <a:lnTo>
                      <a:pt x="23" y="6"/>
                    </a:lnTo>
                    <a:lnTo>
                      <a:pt x="29" y="6"/>
                    </a:lnTo>
                    <a:lnTo>
                      <a:pt x="31" y="6"/>
                    </a:lnTo>
                    <a:lnTo>
                      <a:pt x="42" y="4"/>
                    </a:lnTo>
                    <a:lnTo>
                      <a:pt x="46" y="6"/>
                    </a:lnTo>
                    <a:lnTo>
                      <a:pt x="46" y="7"/>
                    </a:lnTo>
                    <a:lnTo>
                      <a:pt x="48" y="9"/>
                    </a:lnTo>
                    <a:lnTo>
                      <a:pt x="49" y="9"/>
                    </a:lnTo>
                    <a:lnTo>
                      <a:pt x="51" y="7"/>
                    </a:lnTo>
                    <a:lnTo>
                      <a:pt x="52" y="9"/>
                    </a:lnTo>
                    <a:lnTo>
                      <a:pt x="54" y="10"/>
                    </a:lnTo>
                    <a:lnTo>
                      <a:pt x="56" y="10"/>
                    </a:lnTo>
                    <a:lnTo>
                      <a:pt x="59" y="11"/>
                    </a:lnTo>
                    <a:lnTo>
                      <a:pt x="64" y="14"/>
                    </a:lnTo>
                    <a:lnTo>
                      <a:pt x="66" y="14"/>
                    </a:lnTo>
                    <a:lnTo>
                      <a:pt x="68" y="13"/>
                    </a:lnTo>
                    <a:lnTo>
                      <a:pt x="66" y="10"/>
                    </a:lnTo>
                    <a:lnTo>
                      <a:pt x="66" y="9"/>
                    </a:lnTo>
                    <a:lnTo>
                      <a:pt x="66" y="6"/>
                    </a:lnTo>
                    <a:lnTo>
                      <a:pt x="66" y="6"/>
                    </a:lnTo>
                    <a:lnTo>
                      <a:pt x="68" y="6"/>
                    </a:lnTo>
                    <a:lnTo>
                      <a:pt x="69" y="4"/>
                    </a:lnTo>
                    <a:lnTo>
                      <a:pt x="69" y="4"/>
                    </a:lnTo>
                    <a:lnTo>
                      <a:pt x="71" y="4"/>
                    </a:lnTo>
                    <a:lnTo>
                      <a:pt x="72" y="4"/>
                    </a:lnTo>
                    <a:lnTo>
                      <a:pt x="74" y="3"/>
                    </a:lnTo>
                    <a:lnTo>
                      <a:pt x="74" y="3"/>
                    </a:lnTo>
                    <a:lnTo>
                      <a:pt x="77" y="4"/>
                    </a:lnTo>
                    <a:lnTo>
                      <a:pt x="78" y="6"/>
                    </a:lnTo>
                    <a:lnTo>
                      <a:pt x="81" y="6"/>
                    </a:lnTo>
                    <a:lnTo>
                      <a:pt x="84" y="6"/>
                    </a:lnTo>
                    <a:lnTo>
                      <a:pt x="88" y="3"/>
                    </a:lnTo>
                    <a:lnTo>
                      <a:pt x="89" y="3"/>
                    </a:lnTo>
                    <a:lnTo>
                      <a:pt x="89" y="1"/>
                    </a:lnTo>
                    <a:lnTo>
                      <a:pt x="91" y="1"/>
                    </a:lnTo>
                    <a:lnTo>
                      <a:pt x="92" y="0"/>
                    </a:lnTo>
                    <a:lnTo>
                      <a:pt x="92" y="3"/>
                    </a:lnTo>
                    <a:lnTo>
                      <a:pt x="89" y="9"/>
                    </a:lnTo>
                    <a:lnTo>
                      <a:pt x="89" y="11"/>
                    </a:lnTo>
                    <a:lnTo>
                      <a:pt x="89" y="14"/>
                    </a:lnTo>
                    <a:lnTo>
                      <a:pt x="92" y="19"/>
                    </a:lnTo>
                    <a:lnTo>
                      <a:pt x="94" y="22"/>
                    </a:lnTo>
                    <a:lnTo>
                      <a:pt x="94" y="24"/>
                    </a:lnTo>
                    <a:lnTo>
                      <a:pt x="92" y="30"/>
                    </a:lnTo>
                    <a:lnTo>
                      <a:pt x="92" y="33"/>
                    </a:lnTo>
                    <a:lnTo>
                      <a:pt x="92" y="39"/>
                    </a:lnTo>
                    <a:lnTo>
                      <a:pt x="92" y="42"/>
                    </a:lnTo>
                    <a:lnTo>
                      <a:pt x="91" y="43"/>
                    </a:lnTo>
                    <a:lnTo>
                      <a:pt x="89" y="45"/>
                    </a:lnTo>
                    <a:lnTo>
                      <a:pt x="88" y="43"/>
                    </a:lnTo>
                    <a:lnTo>
                      <a:pt x="88" y="43"/>
                    </a:lnTo>
                    <a:lnTo>
                      <a:pt x="87" y="43"/>
                    </a:lnTo>
                    <a:lnTo>
                      <a:pt x="85" y="45"/>
                    </a:lnTo>
                    <a:lnTo>
                      <a:pt x="85" y="45"/>
                    </a:lnTo>
                    <a:lnTo>
                      <a:pt x="84" y="46"/>
                    </a:lnTo>
                    <a:lnTo>
                      <a:pt x="81" y="47"/>
                    </a:lnTo>
                    <a:lnTo>
                      <a:pt x="79" y="47"/>
                    </a:lnTo>
                    <a:lnTo>
                      <a:pt x="78" y="49"/>
                    </a:lnTo>
                    <a:lnTo>
                      <a:pt x="75" y="49"/>
                    </a:lnTo>
                    <a:lnTo>
                      <a:pt x="74" y="49"/>
                    </a:lnTo>
                    <a:lnTo>
                      <a:pt x="74" y="50"/>
                    </a:lnTo>
                    <a:lnTo>
                      <a:pt x="72" y="52"/>
                    </a:lnTo>
                    <a:lnTo>
                      <a:pt x="72" y="53"/>
                    </a:lnTo>
                    <a:lnTo>
                      <a:pt x="71" y="55"/>
                    </a:lnTo>
                    <a:lnTo>
                      <a:pt x="68" y="55"/>
                    </a:lnTo>
                    <a:lnTo>
                      <a:pt x="66" y="53"/>
                    </a:lnTo>
                    <a:lnTo>
                      <a:pt x="65" y="55"/>
                    </a:lnTo>
                    <a:lnTo>
                      <a:pt x="64" y="55"/>
                    </a:lnTo>
                    <a:lnTo>
                      <a:pt x="62" y="57"/>
                    </a:lnTo>
                    <a:lnTo>
                      <a:pt x="62" y="59"/>
                    </a:lnTo>
                    <a:lnTo>
                      <a:pt x="64" y="60"/>
                    </a:lnTo>
                    <a:lnTo>
                      <a:pt x="64" y="62"/>
                    </a:lnTo>
                    <a:lnTo>
                      <a:pt x="65" y="63"/>
                    </a:lnTo>
                    <a:lnTo>
                      <a:pt x="68" y="65"/>
                    </a:lnTo>
                    <a:lnTo>
                      <a:pt x="68" y="66"/>
                    </a:lnTo>
                    <a:lnTo>
                      <a:pt x="68" y="68"/>
                    </a:lnTo>
                    <a:lnTo>
                      <a:pt x="68" y="69"/>
                    </a:lnTo>
                    <a:lnTo>
                      <a:pt x="68" y="70"/>
                    </a:lnTo>
                    <a:lnTo>
                      <a:pt x="66" y="70"/>
                    </a:lnTo>
                    <a:lnTo>
                      <a:pt x="64" y="69"/>
                    </a:lnTo>
                    <a:lnTo>
                      <a:pt x="62" y="68"/>
                    </a:lnTo>
                    <a:lnTo>
                      <a:pt x="61" y="68"/>
                    </a:lnTo>
                    <a:lnTo>
                      <a:pt x="59" y="68"/>
                    </a:lnTo>
                    <a:lnTo>
                      <a:pt x="58" y="68"/>
                    </a:lnTo>
                    <a:lnTo>
                      <a:pt x="55" y="68"/>
                    </a:lnTo>
                    <a:lnTo>
                      <a:pt x="55" y="68"/>
                    </a:lnTo>
                    <a:lnTo>
                      <a:pt x="54" y="69"/>
                    </a:lnTo>
                    <a:lnTo>
                      <a:pt x="54" y="69"/>
                    </a:lnTo>
                    <a:lnTo>
                      <a:pt x="52" y="69"/>
                    </a:lnTo>
                    <a:lnTo>
                      <a:pt x="52" y="69"/>
                    </a:lnTo>
                    <a:lnTo>
                      <a:pt x="51" y="69"/>
                    </a:lnTo>
                    <a:lnTo>
                      <a:pt x="51" y="69"/>
                    </a:lnTo>
                    <a:lnTo>
                      <a:pt x="49" y="69"/>
                    </a:lnTo>
                    <a:lnTo>
                      <a:pt x="48" y="69"/>
                    </a:lnTo>
                    <a:lnTo>
                      <a:pt x="48" y="69"/>
                    </a:lnTo>
                    <a:lnTo>
                      <a:pt x="48" y="70"/>
                    </a:lnTo>
                    <a:lnTo>
                      <a:pt x="49" y="70"/>
                    </a:lnTo>
                    <a:lnTo>
                      <a:pt x="49" y="70"/>
                    </a:lnTo>
                    <a:lnTo>
                      <a:pt x="48" y="72"/>
                    </a:lnTo>
                    <a:lnTo>
                      <a:pt x="46" y="73"/>
                    </a:lnTo>
                    <a:lnTo>
                      <a:pt x="46" y="75"/>
                    </a:lnTo>
                    <a:lnTo>
                      <a:pt x="44" y="75"/>
                    </a:lnTo>
                    <a:lnTo>
                      <a:pt x="39" y="76"/>
                    </a:lnTo>
                    <a:close/>
                    <a:moveTo>
                      <a:pt x="16" y="72"/>
                    </a:moveTo>
                    <a:lnTo>
                      <a:pt x="16" y="72"/>
                    </a:lnTo>
                    <a:lnTo>
                      <a:pt x="18" y="73"/>
                    </a:lnTo>
                    <a:lnTo>
                      <a:pt x="18" y="72"/>
                    </a:lnTo>
                    <a:lnTo>
                      <a:pt x="18" y="72"/>
                    </a:lnTo>
                    <a:lnTo>
                      <a:pt x="18" y="72"/>
                    </a:lnTo>
                    <a:lnTo>
                      <a:pt x="16" y="72"/>
                    </a:lnTo>
                    <a:close/>
                    <a:moveTo>
                      <a:pt x="13" y="60"/>
                    </a:moveTo>
                    <a:lnTo>
                      <a:pt x="12" y="60"/>
                    </a:lnTo>
                    <a:lnTo>
                      <a:pt x="12" y="62"/>
                    </a:lnTo>
                    <a:lnTo>
                      <a:pt x="13" y="62"/>
                    </a:lnTo>
                    <a:lnTo>
                      <a:pt x="13" y="60"/>
                    </a:lnTo>
                    <a:lnTo>
                      <a:pt x="13" y="60"/>
                    </a:lnTo>
                    <a:lnTo>
                      <a:pt x="13" y="6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8" name="Freeform 124">
                <a:extLst>
                  <a:ext uri="{FF2B5EF4-FFF2-40B4-BE49-F238E27FC236}">
                    <a16:creationId xmlns:a16="http://schemas.microsoft.com/office/drawing/2014/main" id="{290AB991-12D0-477B-0572-7F40244494CF}"/>
                  </a:ext>
                </a:extLst>
              </p:cNvPr>
              <p:cNvSpPr>
                <a:spLocks noEditPoints="1"/>
              </p:cNvSpPr>
              <p:nvPr/>
            </p:nvSpPr>
            <p:spPr bwMode="auto">
              <a:xfrm>
                <a:off x="7340573" y="2990363"/>
                <a:ext cx="196651" cy="133028"/>
              </a:xfrm>
              <a:custGeom>
                <a:avLst/>
                <a:gdLst>
                  <a:gd name="T0" fmla="*/ 110 w 136"/>
                  <a:gd name="T1" fmla="*/ 39 h 92"/>
                  <a:gd name="T2" fmla="*/ 112 w 136"/>
                  <a:gd name="T3" fmla="*/ 46 h 92"/>
                  <a:gd name="T4" fmla="*/ 118 w 136"/>
                  <a:gd name="T5" fmla="*/ 53 h 92"/>
                  <a:gd name="T6" fmla="*/ 123 w 136"/>
                  <a:gd name="T7" fmla="*/ 52 h 92"/>
                  <a:gd name="T8" fmla="*/ 130 w 136"/>
                  <a:gd name="T9" fmla="*/ 57 h 92"/>
                  <a:gd name="T10" fmla="*/ 133 w 136"/>
                  <a:gd name="T11" fmla="*/ 69 h 92"/>
                  <a:gd name="T12" fmla="*/ 135 w 136"/>
                  <a:gd name="T13" fmla="*/ 73 h 92"/>
                  <a:gd name="T14" fmla="*/ 132 w 136"/>
                  <a:gd name="T15" fmla="*/ 80 h 92"/>
                  <a:gd name="T16" fmla="*/ 113 w 136"/>
                  <a:gd name="T17" fmla="*/ 80 h 92"/>
                  <a:gd name="T18" fmla="*/ 112 w 136"/>
                  <a:gd name="T19" fmla="*/ 79 h 92"/>
                  <a:gd name="T20" fmla="*/ 110 w 136"/>
                  <a:gd name="T21" fmla="*/ 76 h 92"/>
                  <a:gd name="T22" fmla="*/ 100 w 136"/>
                  <a:gd name="T23" fmla="*/ 77 h 92"/>
                  <a:gd name="T24" fmla="*/ 93 w 136"/>
                  <a:gd name="T25" fmla="*/ 85 h 92"/>
                  <a:gd name="T26" fmla="*/ 82 w 136"/>
                  <a:gd name="T27" fmla="*/ 89 h 92"/>
                  <a:gd name="T28" fmla="*/ 72 w 136"/>
                  <a:gd name="T29" fmla="*/ 85 h 92"/>
                  <a:gd name="T30" fmla="*/ 74 w 136"/>
                  <a:gd name="T31" fmla="*/ 67 h 92"/>
                  <a:gd name="T32" fmla="*/ 72 w 136"/>
                  <a:gd name="T33" fmla="*/ 66 h 92"/>
                  <a:gd name="T34" fmla="*/ 69 w 136"/>
                  <a:gd name="T35" fmla="*/ 63 h 92"/>
                  <a:gd name="T36" fmla="*/ 63 w 136"/>
                  <a:gd name="T37" fmla="*/ 56 h 92"/>
                  <a:gd name="T38" fmla="*/ 51 w 136"/>
                  <a:gd name="T39" fmla="*/ 65 h 92"/>
                  <a:gd name="T40" fmla="*/ 50 w 136"/>
                  <a:gd name="T41" fmla="*/ 70 h 92"/>
                  <a:gd name="T42" fmla="*/ 44 w 136"/>
                  <a:gd name="T43" fmla="*/ 73 h 92"/>
                  <a:gd name="T44" fmla="*/ 36 w 136"/>
                  <a:gd name="T45" fmla="*/ 82 h 92"/>
                  <a:gd name="T46" fmla="*/ 26 w 136"/>
                  <a:gd name="T47" fmla="*/ 79 h 92"/>
                  <a:gd name="T48" fmla="*/ 7 w 136"/>
                  <a:gd name="T49" fmla="*/ 82 h 92"/>
                  <a:gd name="T50" fmla="*/ 14 w 136"/>
                  <a:gd name="T51" fmla="*/ 66 h 92"/>
                  <a:gd name="T52" fmla="*/ 14 w 136"/>
                  <a:gd name="T53" fmla="*/ 46 h 92"/>
                  <a:gd name="T54" fmla="*/ 5 w 136"/>
                  <a:gd name="T55" fmla="*/ 43 h 92"/>
                  <a:gd name="T56" fmla="*/ 0 w 136"/>
                  <a:gd name="T57" fmla="*/ 39 h 92"/>
                  <a:gd name="T58" fmla="*/ 3 w 136"/>
                  <a:gd name="T59" fmla="*/ 33 h 92"/>
                  <a:gd name="T60" fmla="*/ 21 w 136"/>
                  <a:gd name="T61" fmla="*/ 30 h 92"/>
                  <a:gd name="T62" fmla="*/ 26 w 136"/>
                  <a:gd name="T63" fmla="*/ 26 h 92"/>
                  <a:gd name="T64" fmla="*/ 27 w 136"/>
                  <a:gd name="T65" fmla="*/ 24 h 92"/>
                  <a:gd name="T66" fmla="*/ 28 w 136"/>
                  <a:gd name="T67" fmla="*/ 20 h 92"/>
                  <a:gd name="T68" fmla="*/ 23 w 136"/>
                  <a:gd name="T69" fmla="*/ 19 h 92"/>
                  <a:gd name="T70" fmla="*/ 34 w 136"/>
                  <a:gd name="T71" fmla="*/ 16 h 92"/>
                  <a:gd name="T72" fmla="*/ 33 w 136"/>
                  <a:gd name="T73" fmla="*/ 10 h 92"/>
                  <a:gd name="T74" fmla="*/ 37 w 136"/>
                  <a:gd name="T75" fmla="*/ 7 h 92"/>
                  <a:gd name="T76" fmla="*/ 49 w 136"/>
                  <a:gd name="T77" fmla="*/ 4 h 92"/>
                  <a:gd name="T78" fmla="*/ 59 w 136"/>
                  <a:gd name="T79" fmla="*/ 8 h 92"/>
                  <a:gd name="T80" fmla="*/ 54 w 136"/>
                  <a:gd name="T81" fmla="*/ 14 h 92"/>
                  <a:gd name="T82" fmla="*/ 57 w 136"/>
                  <a:gd name="T83" fmla="*/ 19 h 92"/>
                  <a:gd name="T84" fmla="*/ 59 w 136"/>
                  <a:gd name="T85" fmla="*/ 20 h 92"/>
                  <a:gd name="T86" fmla="*/ 57 w 136"/>
                  <a:gd name="T87" fmla="*/ 23 h 92"/>
                  <a:gd name="T88" fmla="*/ 47 w 136"/>
                  <a:gd name="T89" fmla="*/ 19 h 92"/>
                  <a:gd name="T90" fmla="*/ 37 w 136"/>
                  <a:gd name="T91" fmla="*/ 24 h 92"/>
                  <a:gd name="T92" fmla="*/ 33 w 136"/>
                  <a:gd name="T93" fmla="*/ 29 h 92"/>
                  <a:gd name="T94" fmla="*/ 49 w 136"/>
                  <a:gd name="T95" fmla="*/ 31 h 92"/>
                  <a:gd name="T96" fmla="*/ 57 w 136"/>
                  <a:gd name="T97" fmla="*/ 33 h 92"/>
                  <a:gd name="T98" fmla="*/ 63 w 136"/>
                  <a:gd name="T99" fmla="*/ 34 h 92"/>
                  <a:gd name="T100" fmla="*/ 72 w 136"/>
                  <a:gd name="T101" fmla="*/ 31 h 92"/>
                  <a:gd name="T102" fmla="*/ 77 w 136"/>
                  <a:gd name="T103" fmla="*/ 36 h 92"/>
                  <a:gd name="T104" fmla="*/ 79 w 136"/>
                  <a:gd name="T105" fmla="*/ 37 h 92"/>
                  <a:gd name="T106" fmla="*/ 86 w 136"/>
                  <a:gd name="T107" fmla="*/ 39 h 92"/>
                  <a:gd name="T108" fmla="*/ 92 w 136"/>
                  <a:gd name="T109" fmla="*/ 36 h 92"/>
                  <a:gd name="T110" fmla="*/ 105 w 136"/>
                  <a:gd name="T111" fmla="*/ 36 h 92"/>
                  <a:gd name="T112" fmla="*/ 57 w 136"/>
                  <a:gd name="T113" fmla="*/ 1 h 92"/>
                  <a:gd name="T114" fmla="*/ 57 w 136"/>
                  <a:gd name="T115" fmla="*/ 26 h 92"/>
                  <a:gd name="T116" fmla="*/ 57 w 136"/>
                  <a:gd name="T117" fmla="*/ 2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6" h="92">
                    <a:moveTo>
                      <a:pt x="107" y="34"/>
                    </a:moveTo>
                    <a:lnTo>
                      <a:pt x="110" y="34"/>
                    </a:lnTo>
                    <a:lnTo>
                      <a:pt x="110" y="36"/>
                    </a:lnTo>
                    <a:lnTo>
                      <a:pt x="110" y="39"/>
                    </a:lnTo>
                    <a:lnTo>
                      <a:pt x="110" y="39"/>
                    </a:lnTo>
                    <a:lnTo>
                      <a:pt x="110" y="40"/>
                    </a:lnTo>
                    <a:lnTo>
                      <a:pt x="112" y="43"/>
                    </a:lnTo>
                    <a:lnTo>
                      <a:pt x="113" y="43"/>
                    </a:lnTo>
                    <a:lnTo>
                      <a:pt x="113" y="44"/>
                    </a:lnTo>
                    <a:lnTo>
                      <a:pt x="112" y="46"/>
                    </a:lnTo>
                    <a:lnTo>
                      <a:pt x="112" y="47"/>
                    </a:lnTo>
                    <a:lnTo>
                      <a:pt x="112" y="50"/>
                    </a:lnTo>
                    <a:lnTo>
                      <a:pt x="113" y="52"/>
                    </a:lnTo>
                    <a:lnTo>
                      <a:pt x="115" y="53"/>
                    </a:lnTo>
                    <a:lnTo>
                      <a:pt x="118" y="53"/>
                    </a:lnTo>
                    <a:lnTo>
                      <a:pt x="118" y="53"/>
                    </a:lnTo>
                    <a:lnTo>
                      <a:pt x="119" y="52"/>
                    </a:lnTo>
                    <a:lnTo>
                      <a:pt x="120" y="52"/>
                    </a:lnTo>
                    <a:lnTo>
                      <a:pt x="122" y="52"/>
                    </a:lnTo>
                    <a:lnTo>
                      <a:pt x="123" y="52"/>
                    </a:lnTo>
                    <a:lnTo>
                      <a:pt x="128" y="53"/>
                    </a:lnTo>
                    <a:lnTo>
                      <a:pt x="129" y="54"/>
                    </a:lnTo>
                    <a:lnTo>
                      <a:pt x="130" y="54"/>
                    </a:lnTo>
                    <a:lnTo>
                      <a:pt x="130" y="56"/>
                    </a:lnTo>
                    <a:lnTo>
                      <a:pt x="130" y="57"/>
                    </a:lnTo>
                    <a:lnTo>
                      <a:pt x="130" y="57"/>
                    </a:lnTo>
                    <a:lnTo>
                      <a:pt x="130" y="59"/>
                    </a:lnTo>
                    <a:lnTo>
                      <a:pt x="130" y="62"/>
                    </a:lnTo>
                    <a:lnTo>
                      <a:pt x="132" y="66"/>
                    </a:lnTo>
                    <a:lnTo>
                      <a:pt x="133" y="69"/>
                    </a:lnTo>
                    <a:lnTo>
                      <a:pt x="133" y="69"/>
                    </a:lnTo>
                    <a:lnTo>
                      <a:pt x="132" y="72"/>
                    </a:lnTo>
                    <a:lnTo>
                      <a:pt x="133" y="72"/>
                    </a:lnTo>
                    <a:lnTo>
                      <a:pt x="133" y="73"/>
                    </a:lnTo>
                    <a:lnTo>
                      <a:pt x="135" y="73"/>
                    </a:lnTo>
                    <a:lnTo>
                      <a:pt x="135" y="75"/>
                    </a:lnTo>
                    <a:lnTo>
                      <a:pt x="135" y="76"/>
                    </a:lnTo>
                    <a:lnTo>
                      <a:pt x="136" y="77"/>
                    </a:lnTo>
                    <a:lnTo>
                      <a:pt x="135" y="79"/>
                    </a:lnTo>
                    <a:lnTo>
                      <a:pt x="132" y="80"/>
                    </a:lnTo>
                    <a:lnTo>
                      <a:pt x="129" y="77"/>
                    </a:lnTo>
                    <a:lnTo>
                      <a:pt x="125" y="77"/>
                    </a:lnTo>
                    <a:lnTo>
                      <a:pt x="120" y="77"/>
                    </a:lnTo>
                    <a:lnTo>
                      <a:pt x="115" y="80"/>
                    </a:lnTo>
                    <a:lnTo>
                      <a:pt x="113" y="80"/>
                    </a:lnTo>
                    <a:lnTo>
                      <a:pt x="112" y="80"/>
                    </a:lnTo>
                    <a:lnTo>
                      <a:pt x="110" y="79"/>
                    </a:lnTo>
                    <a:lnTo>
                      <a:pt x="110" y="79"/>
                    </a:lnTo>
                    <a:lnTo>
                      <a:pt x="112" y="79"/>
                    </a:lnTo>
                    <a:lnTo>
                      <a:pt x="112" y="79"/>
                    </a:lnTo>
                    <a:lnTo>
                      <a:pt x="112" y="79"/>
                    </a:lnTo>
                    <a:lnTo>
                      <a:pt x="112" y="77"/>
                    </a:lnTo>
                    <a:lnTo>
                      <a:pt x="112" y="77"/>
                    </a:lnTo>
                    <a:lnTo>
                      <a:pt x="112" y="76"/>
                    </a:lnTo>
                    <a:lnTo>
                      <a:pt x="110" y="76"/>
                    </a:lnTo>
                    <a:lnTo>
                      <a:pt x="109" y="76"/>
                    </a:lnTo>
                    <a:lnTo>
                      <a:pt x="107" y="76"/>
                    </a:lnTo>
                    <a:lnTo>
                      <a:pt x="106" y="76"/>
                    </a:lnTo>
                    <a:lnTo>
                      <a:pt x="103" y="76"/>
                    </a:lnTo>
                    <a:lnTo>
                      <a:pt x="100" y="77"/>
                    </a:lnTo>
                    <a:lnTo>
                      <a:pt x="97" y="79"/>
                    </a:lnTo>
                    <a:lnTo>
                      <a:pt x="96" y="80"/>
                    </a:lnTo>
                    <a:lnTo>
                      <a:pt x="95" y="82"/>
                    </a:lnTo>
                    <a:lnTo>
                      <a:pt x="93" y="83"/>
                    </a:lnTo>
                    <a:lnTo>
                      <a:pt x="93" y="85"/>
                    </a:lnTo>
                    <a:lnTo>
                      <a:pt x="92" y="85"/>
                    </a:lnTo>
                    <a:lnTo>
                      <a:pt x="87" y="86"/>
                    </a:lnTo>
                    <a:lnTo>
                      <a:pt x="86" y="86"/>
                    </a:lnTo>
                    <a:lnTo>
                      <a:pt x="84" y="88"/>
                    </a:lnTo>
                    <a:lnTo>
                      <a:pt x="82" y="89"/>
                    </a:lnTo>
                    <a:lnTo>
                      <a:pt x="79" y="90"/>
                    </a:lnTo>
                    <a:lnTo>
                      <a:pt x="77" y="92"/>
                    </a:lnTo>
                    <a:lnTo>
                      <a:pt x="74" y="90"/>
                    </a:lnTo>
                    <a:lnTo>
                      <a:pt x="73" y="88"/>
                    </a:lnTo>
                    <a:lnTo>
                      <a:pt x="72" y="85"/>
                    </a:lnTo>
                    <a:lnTo>
                      <a:pt x="72" y="83"/>
                    </a:lnTo>
                    <a:lnTo>
                      <a:pt x="72" y="80"/>
                    </a:lnTo>
                    <a:lnTo>
                      <a:pt x="73" y="73"/>
                    </a:lnTo>
                    <a:lnTo>
                      <a:pt x="74" y="69"/>
                    </a:lnTo>
                    <a:lnTo>
                      <a:pt x="74" y="67"/>
                    </a:lnTo>
                    <a:lnTo>
                      <a:pt x="73" y="66"/>
                    </a:lnTo>
                    <a:lnTo>
                      <a:pt x="73" y="66"/>
                    </a:lnTo>
                    <a:lnTo>
                      <a:pt x="73" y="66"/>
                    </a:lnTo>
                    <a:lnTo>
                      <a:pt x="72" y="66"/>
                    </a:lnTo>
                    <a:lnTo>
                      <a:pt x="72" y="66"/>
                    </a:lnTo>
                    <a:lnTo>
                      <a:pt x="70" y="66"/>
                    </a:lnTo>
                    <a:lnTo>
                      <a:pt x="70" y="66"/>
                    </a:lnTo>
                    <a:lnTo>
                      <a:pt x="69" y="66"/>
                    </a:lnTo>
                    <a:lnTo>
                      <a:pt x="69" y="65"/>
                    </a:lnTo>
                    <a:lnTo>
                      <a:pt x="69" y="63"/>
                    </a:lnTo>
                    <a:lnTo>
                      <a:pt x="70" y="62"/>
                    </a:lnTo>
                    <a:lnTo>
                      <a:pt x="70" y="62"/>
                    </a:lnTo>
                    <a:lnTo>
                      <a:pt x="69" y="59"/>
                    </a:lnTo>
                    <a:lnTo>
                      <a:pt x="66" y="56"/>
                    </a:lnTo>
                    <a:lnTo>
                      <a:pt x="63" y="56"/>
                    </a:lnTo>
                    <a:lnTo>
                      <a:pt x="59" y="56"/>
                    </a:lnTo>
                    <a:lnTo>
                      <a:pt x="57" y="57"/>
                    </a:lnTo>
                    <a:lnTo>
                      <a:pt x="56" y="60"/>
                    </a:lnTo>
                    <a:lnTo>
                      <a:pt x="53" y="65"/>
                    </a:lnTo>
                    <a:lnTo>
                      <a:pt x="51" y="65"/>
                    </a:lnTo>
                    <a:lnTo>
                      <a:pt x="51" y="66"/>
                    </a:lnTo>
                    <a:lnTo>
                      <a:pt x="50" y="66"/>
                    </a:lnTo>
                    <a:lnTo>
                      <a:pt x="50" y="67"/>
                    </a:lnTo>
                    <a:lnTo>
                      <a:pt x="50" y="69"/>
                    </a:lnTo>
                    <a:lnTo>
                      <a:pt x="50" y="70"/>
                    </a:lnTo>
                    <a:lnTo>
                      <a:pt x="51" y="72"/>
                    </a:lnTo>
                    <a:lnTo>
                      <a:pt x="50" y="73"/>
                    </a:lnTo>
                    <a:lnTo>
                      <a:pt x="49" y="73"/>
                    </a:lnTo>
                    <a:lnTo>
                      <a:pt x="46" y="73"/>
                    </a:lnTo>
                    <a:lnTo>
                      <a:pt x="44" y="73"/>
                    </a:lnTo>
                    <a:lnTo>
                      <a:pt x="41" y="73"/>
                    </a:lnTo>
                    <a:lnTo>
                      <a:pt x="39" y="73"/>
                    </a:lnTo>
                    <a:lnTo>
                      <a:pt x="37" y="75"/>
                    </a:lnTo>
                    <a:lnTo>
                      <a:pt x="36" y="79"/>
                    </a:lnTo>
                    <a:lnTo>
                      <a:pt x="36" y="82"/>
                    </a:lnTo>
                    <a:lnTo>
                      <a:pt x="33" y="82"/>
                    </a:lnTo>
                    <a:lnTo>
                      <a:pt x="31" y="80"/>
                    </a:lnTo>
                    <a:lnTo>
                      <a:pt x="28" y="79"/>
                    </a:lnTo>
                    <a:lnTo>
                      <a:pt x="27" y="79"/>
                    </a:lnTo>
                    <a:lnTo>
                      <a:pt x="26" y="79"/>
                    </a:lnTo>
                    <a:lnTo>
                      <a:pt x="24" y="79"/>
                    </a:lnTo>
                    <a:lnTo>
                      <a:pt x="24" y="79"/>
                    </a:lnTo>
                    <a:lnTo>
                      <a:pt x="14" y="85"/>
                    </a:lnTo>
                    <a:lnTo>
                      <a:pt x="10" y="85"/>
                    </a:lnTo>
                    <a:lnTo>
                      <a:pt x="7" y="82"/>
                    </a:lnTo>
                    <a:lnTo>
                      <a:pt x="8" y="79"/>
                    </a:lnTo>
                    <a:lnTo>
                      <a:pt x="8" y="75"/>
                    </a:lnTo>
                    <a:lnTo>
                      <a:pt x="8" y="73"/>
                    </a:lnTo>
                    <a:lnTo>
                      <a:pt x="10" y="72"/>
                    </a:lnTo>
                    <a:lnTo>
                      <a:pt x="14" y="66"/>
                    </a:lnTo>
                    <a:lnTo>
                      <a:pt x="17" y="63"/>
                    </a:lnTo>
                    <a:lnTo>
                      <a:pt x="17" y="60"/>
                    </a:lnTo>
                    <a:lnTo>
                      <a:pt x="13" y="56"/>
                    </a:lnTo>
                    <a:lnTo>
                      <a:pt x="13" y="53"/>
                    </a:lnTo>
                    <a:lnTo>
                      <a:pt x="14" y="46"/>
                    </a:lnTo>
                    <a:lnTo>
                      <a:pt x="13" y="44"/>
                    </a:lnTo>
                    <a:lnTo>
                      <a:pt x="11" y="44"/>
                    </a:lnTo>
                    <a:lnTo>
                      <a:pt x="8" y="44"/>
                    </a:lnTo>
                    <a:lnTo>
                      <a:pt x="5" y="44"/>
                    </a:lnTo>
                    <a:lnTo>
                      <a:pt x="5" y="43"/>
                    </a:lnTo>
                    <a:lnTo>
                      <a:pt x="5" y="42"/>
                    </a:lnTo>
                    <a:lnTo>
                      <a:pt x="4" y="40"/>
                    </a:lnTo>
                    <a:lnTo>
                      <a:pt x="3" y="40"/>
                    </a:lnTo>
                    <a:lnTo>
                      <a:pt x="1" y="40"/>
                    </a:lnTo>
                    <a:lnTo>
                      <a:pt x="0" y="39"/>
                    </a:lnTo>
                    <a:lnTo>
                      <a:pt x="0" y="37"/>
                    </a:lnTo>
                    <a:lnTo>
                      <a:pt x="0" y="36"/>
                    </a:lnTo>
                    <a:lnTo>
                      <a:pt x="1" y="34"/>
                    </a:lnTo>
                    <a:lnTo>
                      <a:pt x="1" y="33"/>
                    </a:lnTo>
                    <a:lnTo>
                      <a:pt x="3" y="33"/>
                    </a:lnTo>
                    <a:lnTo>
                      <a:pt x="5" y="31"/>
                    </a:lnTo>
                    <a:lnTo>
                      <a:pt x="8" y="31"/>
                    </a:lnTo>
                    <a:lnTo>
                      <a:pt x="16" y="33"/>
                    </a:lnTo>
                    <a:lnTo>
                      <a:pt x="20" y="31"/>
                    </a:lnTo>
                    <a:lnTo>
                      <a:pt x="21" y="30"/>
                    </a:lnTo>
                    <a:lnTo>
                      <a:pt x="21" y="29"/>
                    </a:lnTo>
                    <a:lnTo>
                      <a:pt x="23" y="26"/>
                    </a:lnTo>
                    <a:lnTo>
                      <a:pt x="24" y="26"/>
                    </a:lnTo>
                    <a:lnTo>
                      <a:pt x="24" y="26"/>
                    </a:lnTo>
                    <a:lnTo>
                      <a:pt x="26" y="26"/>
                    </a:lnTo>
                    <a:lnTo>
                      <a:pt x="26" y="24"/>
                    </a:lnTo>
                    <a:lnTo>
                      <a:pt x="26" y="24"/>
                    </a:lnTo>
                    <a:lnTo>
                      <a:pt x="26" y="24"/>
                    </a:lnTo>
                    <a:lnTo>
                      <a:pt x="26" y="24"/>
                    </a:lnTo>
                    <a:lnTo>
                      <a:pt x="27" y="24"/>
                    </a:lnTo>
                    <a:lnTo>
                      <a:pt x="26" y="24"/>
                    </a:lnTo>
                    <a:lnTo>
                      <a:pt x="26" y="23"/>
                    </a:lnTo>
                    <a:lnTo>
                      <a:pt x="26" y="23"/>
                    </a:lnTo>
                    <a:lnTo>
                      <a:pt x="28" y="21"/>
                    </a:lnTo>
                    <a:lnTo>
                      <a:pt x="28" y="20"/>
                    </a:lnTo>
                    <a:lnTo>
                      <a:pt x="27" y="20"/>
                    </a:lnTo>
                    <a:lnTo>
                      <a:pt x="26" y="20"/>
                    </a:lnTo>
                    <a:lnTo>
                      <a:pt x="24" y="20"/>
                    </a:lnTo>
                    <a:lnTo>
                      <a:pt x="24" y="20"/>
                    </a:lnTo>
                    <a:lnTo>
                      <a:pt x="23" y="19"/>
                    </a:lnTo>
                    <a:lnTo>
                      <a:pt x="26" y="19"/>
                    </a:lnTo>
                    <a:lnTo>
                      <a:pt x="34" y="19"/>
                    </a:lnTo>
                    <a:lnTo>
                      <a:pt x="33" y="17"/>
                    </a:lnTo>
                    <a:lnTo>
                      <a:pt x="34" y="16"/>
                    </a:lnTo>
                    <a:lnTo>
                      <a:pt x="34" y="16"/>
                    </a:lnTo>
                    <a:lnTo>
                      <a:pt x="34" y="14"/>
                    </a:lnTo>
                    <a:lnTo>
                      <a:pt x="33" y="13"/>
                    </a:lnTo>
                    <a:lnTo>
                      <a:pt x="33" y="11"/>
                    </a:lnTo>
                    <a:lnTo>
                      <a:pt x="33" y="10"/>
                    </a:lnTo>
                    <a:lnTo>
                      <a:pt x="33" y="10"/>
                    </a:lnTo>
                    <a:lnTo>
                      <a:pt x="34" y="10"/>
                    </a:lnTo>
                    <a:lnTo>
                      <a:pt x="34" y="10"/>
                    </a:lnTo>
                    <a:lnTo>
                      <a:pt x="36" y="7"/>
                    </a:lnTo>
                    <a:lnTo>
                      <a:pt x="36" y="6"/>
                    </a:lnTo>
                    <a:lnTo>
                      <a:pt x="37" y="7"/>
                    </a:lnTo>
                    <a:lnTo>
                      <a:pt x="40" y="8"/>
                    </a:lnTo>
                    <a:lnTo>
                      <a:pt x="41" y="8"/>
                    </a:lnTo>
                    <a:lnTo>
                      <a:pt x="44" y="7"/>
                    </a:lnTo>
                    <a:lnTo>
                      <a:pt x="47" y="6"/>
                    </a:lnTo>
                    <a:lnTo>
                      <a:pt x="49" y="4"/>
                    </a:lnTo>
                    <a:lnTo>
                      <a:pt x="53" y="1"/>
                    </a:lnTo>
                    <a:lnTo>
                      <a:pt x="54" y="0"/>
                    </a:lnTo>
                    <a:lnTo>
                      <a:pt x="56" y="1"/>
                    </a:lnTo>
                    <a:lnTo>
                      <a:pt x="60" y="7"/>
                    </a:lnTo>
                    <a:lnTo>
                      <a:pt x="59" y="8"/>
                    </a:lnTo>
                    <a:lnTo>
                      <a:pt x="54" y="11"/>
                    </a:lnTo>
                    <a:lnTo>
                      <a:pt x="53" y="13"/>
                    </a:lnTo>
                    <a:lnTo>
                      <a:pt x="53" y="14"/>
                    </a:lnTo>
                    <a:lnTo>
                      <a:pt x="53" y="14"/>
                    </a:lnTo>
                    <a:lnTo>
                      <a:pt x="54" y="14"/>
                    </a:lnTo>
                    <a:lnTo>
                      <a:pt x="56" y="16"/>
                    </a:lnTo>
                    <a:lnTo>
                      <a:pt x="56" y="16"/>
                    </a:lnTo>
                    <a:lnTo>
                      <a:pt x="57" y="17"/>
                    </a:lnTo>
                    <a:lnTo>
                      <a:pt x="57" y="17"/>
                    </a:lnTo>
                    <a:lnTo>
                      <a:pt x="57" y="19"/>
                    </a:lnTo>
                    <a:lnTo>
                      <a:pt x="59" y="19"/>
                    </a:lnTo>
                    <a:lnTo>
                      <a:pt x="63" y="17"/>
                    </a:lnTo>
                    <a:lnTo>
                      <a:pt x="63" y="19"/>
                    </a:lnTo>
                    <a:lnTo>
                      <a:pt x="62" y="20"/>
                    </a:lnTo>
                    <a:lnTo>
                      <a:pt x="59" y="20"/>
                    </a:lnTo>
                    <a:lnTo>
                      <a:pt x="57" y="21"/>
                    </a:lnTo>
                    <a:lnTo>
                      <a:pt x="57" y="21"/>
                    </a:lnTo>
                    <a:lnTo>
                      <a:pt x="57" y="23"/>
                    </a:lnTo>
                    <a:lnTo>
                      <a:pt x="57" y="23"/>
                    </a:lnTo>
                    <a:lnTo>
                      <a:pt x="57" y="23"/>
                    </a:lnTo>
                    <a:lnTo>
                      <a:pt x="56" y="23"/>
                    </a:lnTo>
                    <a:lnTo>
                      <a:pt x="56" y="23"/>
                    </a:lnTo>
                    <a:lnTo>
                      <a:pt x="56" y="23"/>
                    </a:lnTo>
                    <a:lnTo>
                      <a:pt x="54" y="21"/>
                    </a:lnTo>
                    <a:lnTo>
                      <a:pt x="47" y="19"/>
                    </a:lnTo>
                    <a:lnTo>
                      <a:pt x="43" y="19"/>
                    </a:lnTo>
                    <a:lnTo>
                      <a:pt x="39" y="20"/>
                    </a:lnTo>
                    <a:lnTo>
                      <a:pt x="39" y="21"/>
                    </a:lnTo>
                    <a:lnTo>
                      <a:pt x="37" y="23"/>
                    </a:lnTo>
                    <a:lnTo>
                      <a:pt x="37" y="24"/>
                    </a:lnTo>
                    <a:lnTo>
                      <a:pt x="36" y="24"/>
                    </a:lnTo>
                    <a:lnTo>
                      <a:pt x="34" y="24"/>
                    </a:lnTo>
                    <a:lnTo>
                      <a:pt x="34" y="24"/>
                    </a:lnTo>
                    <a:lnTo>
                      <a:pt x="33" y="26"/>
                    </a:lnTo>
                    <a:lnTo>
                      <a:pt x="33" y="29"/>
                    </a:lnTo>
                    <a:lnTo>
                      <a:pt x="33" y="31"/>
                    </a:lnTo>
                    <a:lnTo>
                      <a:pt x="34" y="33"/>
                    </a:lnTo>
                    <a:lnTo>
                      <a:pt x="36" y="33"/>
                    </a:lnTo>
                    <a:lnTo>
                      <a:pt x="41" y="31"/>
                    </a:lnTo>
                    <a:lnTo>
                      <a:pt x="49" y="31"/>
                    </a:lnTo>
                    <a:lnTo>
                      <a:pt x="53" y="31"/>
                    </a:lnTo>
                    <a:lnTo>
                      <a:pt x="54" y="31"/>
                    </a:lnTo>
                    <a:lnTo>
                      <a:pt x="56" y="31"/>
                    </a:lnTo>
                    <a:lnTo>
                      <a:pt x="57" y="33"/>
                    </a:lnTo>
                    <a:lnTo>
                      <a:pt x="57" y="33"/>
                    </a:lnTo>
                    <a:lnTo>
                      <a:pt x="60" y="34"/>
                    </a:lnTo>
                    <a:lnTo>
                      <a:pt x="60" y="36"/>
                    </a:lnTo>
                    <a:lnTo>
                      <a:pt x="62" y="36"/>
                    </a:lnTo>
                    <a:lnTo>
                      <a:pt x="63" y="36"/>
                    </a:lnTo>
                    <a:lnTo>
                      <a:pt x="63" y="34"/>
                    </a:lnTo>
                    <a:lnTo>
                      <a:pt x="64" y="34"/>
                    </a:lnTo>
                    <a:lnTo>
                      <a:pt x="66" y="33"/>
                    </a:lnTo>
                    <a:lnTo>
                      <a:pt x="69" y="31"/>
                    </a:lnTo>
                    <a:lnTo>
                      <a:pt x="70" y="31"/>
                    </a:lnTo>
                    <a:lnTo>
                      <a:pt x="72" y="31"/>
                    </a:lnTo>
                    <a:lnTo>
                      <a:pt x="73" y="31"/>
                    </a:lnTo>
                    <a:lnTo>
                      <a:pt x="73" y="33"/>
                    </a:lnTo>
                    <a:lnTo>
                      <a:pt x="73" y="33"/>
                    </a:lnTo>
                    <a:lnTo>
                      <a:pt x="76" y="34"/>
                    </a:lnTo>
                    <a:lnTo>
                      <a:pt x="77" y="36"/>
                    </a:lnTo>
                    <a:lnTo>
                      <a:pt x="77" y="36"/>
                    </a:lnTo>
                    <a:lnTo>
                      <a:pt x="77" y="37"/>
                    </a:lnTo>
                    <a:lnTo>
                      <a:pt x="77" y="37"/>
                    </a:lnTo>
                    <a:lnTo>
                      <a:pt x="77" y="37"/>
                    </a:lnTo>
                    <a:lnTo>
                      <a:pt x="79" y="37"/>
                    </a:lnTo>
                    <a:lnTo>
                      <a:pt x="80" y="37"/>
                    </a:lnTo>
                    <a:lnTo>
                      <a:pt x="82" y="36"/>
                    </a:lnTo>
                    <a:lnTo>
                      <a:pt x="83" y="37"/>
                    </a:lnTo>
                    <a:lnTo>
                      <a:pt x="84" y="39"/>
                    </a:lnTo>
                    <a:lnTo>
                      <a:pt x="86" y="39"/>
                    </a:lnTo>
                    <a:lnTo>
                      <a:pt x="87" y="39"/>
                    </a:lnTo>
                    <a:lnTo>
                      <a:pt x="89" y="37"/>
                    </a:lnTo>
                    <a:lnTo>
                      <a:pt x="90" y="36"/>
                    </a:lnTo>
                    <a:lnTo>
                      <a:pt x="90" y="36"/>
                    </a:lnTo>
                    <a:lnTo>
                      <a:pt x="92" y="36"/>
                    </a:lnTo>
                    <a:lnTo>
                      <a:pt x="92" y="36"/>
                    </a:lnTo>
                    <a:lnTo>
                      <a:pt x="93" y="36"/>
                    </a:lnTo>
                    <a:lnTo>
                      <a:pt x="100" y="36"/>
                    </a:lnTo>
                    <a:lnTo>
                      <a:pt x="103" y="36"/>
                    </a:lnTo>
                    <a:lnTo>
                      <a:pt x="105" y="36"/>
                    </a:lnTo>
                    <a:lnTo>
                      <a:pt x="106" y="34"/>
                    </a:lnTo>
                    <a:lnTo>
                      <a:pt x="107" y="34"/>
                    </a:lnTo>
                    <a:close/>
                    <a:moveTo>
                      <a:pt x="57" y="3"/>
                    </a:moveTo>
                    <a:lnTo>
                      <a:pt x="57" y="3"/>
                    </a:lnTo>
                    <a:lnTo>
                      <a:pt x="57" y="1"/>
                    </a:lnTo>
                    <a:lnTo>
                      <a:pt x="57" y="1"/>
                    </a:lnTo>
                    <a:lnTo>
                      <a:pt x="56" y="1"/>
                    </a:lnTo>
                    <a:lnTo>
                      <a:pt x="57" y="1"/>
                    </a:lnTo>
                    <a:lnTo>
                      <a:pt x="57" y="3"/>
                    </a:lnTo>
                    <a:close/>
                    <a:moveTo>
                      <a:pt x="57" y="26"/>
                    </a:moveTo>
                    <a:lnTo>
                      <a:pt x="56" y="26"/>
                    </a:lnTo>
                    <a:lnTo>
                      <a:pt x="54" y="26"/>
                    </a:lnTo>
                    <a:lnTo>
                      <a:pt x="56" y="26"/>
                    </a:lnTo>
                    <a:lnTo>
                      <a:pt x="56" y="27"/>
                    </a:lnTo>
                    <a:lnTo>
                      <a:pt x="57" y="27"/>
                    </a:lnTo>
                    <a:lnTo>
                      <a:pt x="59" y="26"/>
                    </a:lnTo>
                    <a:lnTo>
                      <a:pt x="59" y="26"/>
                    </a:lnTo>
                    <a:lnTo>
                      <a:pt x="57" y="2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9" name="Freeform 125">
                <a:extLst>
                  <a:ext uri="{FF2B5EF4-FFF2-40B4-BE49-F238E27FC236}">
                    <a16:creationId xmlns:a16="http://schemas.microsoft.com/office/drawing/2014/main" id="{44644F6F-FBD2-C6A9-CF88-0E19C96EBF9A}"/>
                  </a:ext>
                </a:extLst>
              </p:cNvPr>
              <p:cNvSpPr>
                <a:spLocks noEditPoints="1"/>
              </p:cNvSpPr>
              <p:nvPr/>
            </p:nvSpPr>
            <p:spPr bwMode="auto">
              <a:xfrm>
                <a:off x="6731824" y="2981687"/>
                <a:ext cx="80974" cy="75190"/>
              </a:xfrm>
              <a:custGeom>
                <a:avLst/>
                <a:gdLst>
                  <a:gd name="T0" fmla="*/ 53 w 56"/>
                  <a:gd name="T1" fmla="*/ 46 h 52"/>
                  <a:gd name="T2" fmla="*/ 55 w 56"/>
                  <a:gd name="T3" fmla="*/ 43 h 52"/>
                  <a:gd name="T4" fmla="*/ 53 w 56"/>
                  <a:gd name="T5" fmla="*/ 42 h 52"/>
                  <a:gd name="T6" fmla="*/ 53 w 56"/>
                  <a:gd name="T7" fmla="*/ 39 h 52"/>
                  <a:gd name="T8" fmla="*/ 53 w 56"/>
                  <a:gd name="T9" fmla="*/ 37 h 52"/>
                  <a:gd name="T10" fmla="*/ 50 w 56"/>
                  <a:gd name="T11" fmla="*/ 36 h 52"/>
                  <a:gd name="T12" fmla="*/ 47 w 56"/>
                  <a:gd name="T13" fmla="*/ 36 h 52"/>
                  <a:gd name="T14" fmla="*/ 42 w 56"/>
                  <a:gd name="T15" fmla="*/ 32 h 52"/>
                  <a:gd name="T16" fmla="*/ 37 w 56"/>
                  <a:gd name="T17" fmla="*/ 29 h 52"/>
                  <a:gd name="T18" fmla="*/ 42 w 56"/>
                  <a:gd name="T19" fmla="*/ 29 h 52"/>
                  <a:gd name="T20" fmla="*/ 44 w 56"/>
                  <a:gd name="T21" fmla="*/ 26 h 52"/>
                  <a:gd name="T22" fmla="*/ 42 w 56"/>
                  <a:gd name="T23" fmla="*/ 22 h 52"/>
                  <a:gd name="T24" fmla="*/ 36 w 56"/>
                  <a:gd name="T25" fmla="*/ 17 h 52"/>
                  <a:gd name="T26" fmla="*/ 36 w 56"/>
                  <a:gd name="T27" fmla="*/ 13 h 52"/>
                  <a:gd name="T28" fmla="*/ 37 w 56"/>
                  <a:gd name="T29" fmla="*/ 10 h 52"/>
                  <a:gd name="T30" fmla="*/ 33 w 56"/>
                  <a:gd name="T31" fmla="*/ 7 h 52"/>
                  <a:gd name="T32" fmla="*/ 30 w 56"/>
                  <a:gd name="T33" fmla="*/ 4 h 52"/>
                  <a:gd name="T34" fmla="*/ 30 w 56"/>
                  <a:gd name="T35" fmla="*/ 3 h 52"/>
                  <a:gd name="T36" fmla="*/ 29 w 56"/>
                  <a:gd name="T37" fmla="*/ 2 h 52"/>
                  <a:gd name="T38" fmla="*/ 27 w 56"/>
                  <a:gd name="T39" fmla="*/ 2 h 52"/>
                  <a:gd name="T40" fmla="*/ 24 w 56"/>
                  <a:gd name="T41" fmla="*/ 2 h 52"/>
                  <a:gd name="T42" fmla="*/ 26 w 56"/>
                  <a:gd name="T43" fmla="*/ 3 h 52"/>
                  <a:gd name="T44" fmla="*/ 13 w 56"/>
                  <a:gd name="T45" fmla="*/ 3 h 52"/>
                  <a:gd name="T46" fmla="*/ 1 w 56"/>
                  <a:gd name="T47" fmla="*/ 6 h 52"/>
                  <a:gd name="T48" fmla="*/ 3 w 56"/>
                  <a:gd name="T49" fmla="*/ 7 h 52"/>
                  <a:gd name="T50" fmla="*/ 4 w 56"/>
                  <a:gd name="T51" fmla="*/ 12 h 52"/>
                  <a:gd name="T52" fmla="*/ 4 w 56"/>
                  <a:gd name="T53" fmla="*/ 14 h 52"/>
                  <a:gd name="T54" fmla="*/ 3 w 56"/>
                  <a:gd name="T55" fmla="*/ 19 h 52"/>
                  <a:gd name="T56" fmla="*/ 3 w 56"/>
                  <a:gd name="T57" fmla="*/ 22 h 52"/>
                  <a:gd name="T58" fmla="*/ 4 w 56"/>
                  <a:gd name="T59" fmla="*/ 23 h 52"/>
                  <a:gd name="T60" fmla="*/ 4 w 56"/>
                  <a:gd name="T61" fmla="*/ 26 h 52"/>
                  <a:gd name="T62" fmla="*/ 10 w 56"/>
                  <a:gd name="T63" fmla="*/ 27 h 52"/>
                  <a:gd name="T64" fmla="*/ 14 w 56"/>
                  <a:gd name="T65" fmla="*/ 27 h 52"/>
                  <a:gd name="T66" fmla="*/ 20 w 56"/>
                  <a:gd name="T67" fmla="*/ 30 h 52"/>
                  <a:gd name="T68" fmla="*/ 24 w 56"/>
                  <a:gd name="T69" fmla="*/ 35 h 52"/>
                  <a:gd name="T70" fmla="*/ 27 w 56"/>
                  <a:gd name="T71" fmla="*/ 33 h 52"/>
                  <a:gd name="T72" fmla="*/ 30 w 56"/>
                  <a:gd name="T73" fmla="*/ 35 h 52"/>
                  <a:gd name="T74" fmla="*/ 30 w 56"/>
                  <a:gd name="T75" fmla="*/ 37 h 52"/>
                  <a:gd name="T76" fmla="*/ 32 w 56"/>
                  <a:gd name="T77" fmla="*/ 37 h 52"/>
                  <a:gd name="T78" fmla="*/ 34 w 56"/>
                  <a:gd name="T79" fmla="*/ 39 h 52"/>
                  <a:gd name="T80" fmla="*/ 39 w 56"/>
                  <a:gd name="T81" fmla="*/ 37 h 52"/>
                  <a:gd name="T82" fmla="*/ 42 w 56"/>
                  <a:gd name="T83" fmla="*/ 39 h 52"/>
                  <a:gd name="T84" fmla="*/ 43 w 56"/>
                  <a:gd name="T85" fmla="*/ 43 h 52"/>
                  <a:gd name="T86" fmla="*/ 44 w 56"/>
                  <a:gd name="T87" fmla="*/ 45 h 52"/>
                  <a:gd name="T88" fmla="*/ 44 w 56"/>
                  <a:gd name="T89" fmla="*/ 45 h 52"/>
                  <a:gd name="T90" fmla="*/ 44 w 56"/>
                  <a:gd name="T91" fmla="*/ 46 h 52"/>
                  <a:gd name="T92" fmla="*/ 52 w 56"/>
                  <a:gd name="T93" fmla="*/ 52 h 52"/>
                  <a:gd name="T94" fmla="*/ 53 w 56"/>
                  <a:gd name="T95" fmla="*/ 49 h 52"/>
                  <a:gd name="T96" fmla="*/ 29 w 56"/>
                  <a:gd name="T97" fmla="*/ 7 h 52"/>
                  <a:gd name="T98" fmla="*/ 27 w 56"/>
                  <a:gd name="T99" fmla="*/ 6 h 52"/>
                  <a:gd name="T100" fmla="*/ 29 w 56"/>
                  <a:gd name="T101" fmla="*/ 7 h 52"/>
                  <a:gd name="T102" fmla="*/ 37 w 56"/>
                  <a:gd name="T103" fmla="*/ 14 h 52"/>
                  <a:gd name="T104" fmla="*/ 36 w 56"/>
                  <a:gd name="T105"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6" h="52">
                    <a:moveTo>
                      <a:pt x="53" y="48"/>
                    </a:moveTo>
                    <a:lnTo>
                      <a:pt x="53" y="46"/>
                    </a:lnTo>
                    <a:lnTo>
                      <a:pt x="56" y="45"/>
                    </a:lnTo>
                    <a:lnTo>
                      <a:pt x="55" y="43"/>
                    </a:lnTo>
                    <a:lnTo>
                      <a:pt x="53" y="43"/>
                    </a:lnTo>
                    <a:lnTo>
                      <a:pt x="53" y="42"/>
                    </a:lnTo>
                    <a:lnTo>
                      <a:pt x="52" y="40"/>
                    </a:lnTo>
                    <a:lnTo>
                      <a:pt x="53" y="39"/>
                    </a:lnTo>
                    <a:lnTo>
                      <a:pt x="53" y="39"/>
                    </a:lnTo>
                    <a:lnTo>
                      <a:pt x="53" y="37"/>
                    </a:lnTo>
                    <a:lnTo>
                      <a:pt x="52" y="36"/>
                    </a:lnTo>
                    <a:lnTo>
                      <a:pt x="50" y="36"/>
                    </a:lnTo>
                    <a:lnTo>
                      <a:pt x="49" y="36"/>
                    </a:lnTo>
                    <a:lnTo>
                      <a:pt x="47" y="36"/>
                    </a:lnTo>
                    <a:lnTo>
                      <a:pt x="47" y="36"/>
                    </a:lnTo>
                    <a:lnTo>
                      <a:pt x="42" y="32"/>
                    </a:lnTo>
                    <a:lnTo>
                      <a:pt x="40" y="30"/>
                    </a:lnTo>
                    <a:lnTo>
                      <a:pt x="37" y="29"/>
                    </a:lnTo>
                    <a:lnTo>
                      <a:pt x="40" y="29"/>
                    </a:lnTo>
                    <a:lnTo>
                      <a:pt x="42" y="29"/>
                    </a:lnTo>
                    <a:lnTo>
                      <a:pt x="43" y="27"/>
                    </a:lnTo>
                    <a:lnTo>
                      <a:pt x="44" y="26"/>
                    </a:lnTo>
                    <a:lnTo>
                      <a:pt x="43" y="23"/>
                    </a:lnTo>
                    <a:lnTo>
                      <a:pt x="42" y="22"/>
                    </a:lnTo>
                    <a:lnTo>
                      <a:pt x="39" y="19"/>
                    </a:lnTo>
                    <a:lnTo>
                      <a:pt x="36" y="17"/>
                    </a:lnTo>
                    <a:lnTo>
                      <a:pt x="34" y="14"/>
                    </a:lnTo>
                    <a:lnTo>
                      <a:pt x="36" y="13"/>
                    </a:lnTo>
                    <a:lnTo>
                      <a:pt x="37" y="12"/>
                    </a:lnTo>
                    <a:lnTo>
                      <a:pt x="37" y="10"/>
                    </a:lnTo>
                    <a:lnTo>
                      <a:pt x="36" y="9"/>
                    </a:lnTo>
                    <a:lnTo>
                      <a:pt x="33" y="7"/>
                    </a:lnTo>
                    <a:lnTo>
                      <a:pt x="29" y="6"/>
                    </a:lnTo>
                    <a:lnTo>
                      <a:pt x="30" y="4"/>
                    </a:lnTo>
                    <a:lnTo>
                      <a:pt x="32" y="4"/>
                    </a:lnTo>
                    <a:lnTo>
                      <a:pt x="30" y="3"/>
                    </a:lnTo>
                    <a:lnTo>
                      <a:pt x="29" y="3"/>
                    </a:lnTo>
                    <a:lnTo>
                      <a:pt x="29" y="2"/>
                    </a:lnTo>
                    <a:lnTo>
                      <a:pt x="27" y="0"/>
                    </a:lnTo>
                    <a:lnTo>
                      <a:pt x="27" y="2"/>
                    </a:lnTo>
                    <a:lnTo>
                      <a:pt x="26" y="2"/>
                    </a:lnTo>
                    <a:lnTo>
                      <a:pt x="24" y="2"/>
                    </a:lnTo>
                    <a:lnTo>
                      <a:pt x="24" y="2"/>
                    </a:lnTo>
                    <a:lnTo>
                      <a:pt x="26" y="3"/>
                    </a:lnTo>
                    <a:lnTo>
                      <a:pt x="22" y="3"/>
                    </a:lnTo>
                    <a:lnTo>
                      <a:pt x="13" y="3"/>
                    </a:lnTo>
                    <a:lnTo>
                      <a:pt x="0" y="4"/>
                    </a:lnTo>
                    <a:lnTo>
                      <a:pt x="1" y="6"/>
                    </a:lnTo>
                    <a:lnTo>
                      <a:pt x="1" y="7"/>
                    </a:lnTo>
                    <a:lnTo>
                      <a:pt x="3" y="7"/>
                    </a:lnTo>
                    <a:lnTo>
                      <a:pt x="4" y="9"/>
                    </a:lnTo>
                    <a:lnTo>
                      <a:pt x="4" y="12"/>
                    </a:lnTo>
                    <a:lnTo>
                      <a:pt x="6" y="13"/>
                    </a:lnTo>
                    <a:lnTo>
                      <a:pt x="4" y="14"/>
                    </a:lnTo>
                    <a:lnTo>
                      <a:pt x="4" y="17"/>
                    </a:lnTo>
                    <a:lnTo>
                      <a:pt x="3" y="19"/>
                    </a:lnTo>
                    <a:lnTo>
                      <a:pt x="3" y="19"/>
                    </a:lnTo>
                    <a:lnTo>
                      <a:pt x="3" y="22"/>
                    </a:lnTo>
                    <a:lnTo>
                      <a:pt x="4" y="22"/>
                    </a:lnTo>
                    <a:lnTo>
                      <a:pt x="4" y="23"/>
                    </a:lnTo>
                    <a:lnTo>
                      <a:pt x="4" y="25"/>
                    </a:lnTo>
                    <a:lnTo>
                      <a:pt x="4" y="26"/>
                    </a:lnTo>
                    <a:lnTo>
                      <a:pt x="7" y="27"/>
                    </a:lnTo>
                    <a:lnTo>
                      <a:pt x="10" y="27"/>
                    </a:lnTo>
                    <a:lnTo>
                      <a:pt x="11" y="27"/>
                    </a:lnTo>
                    <a:lnTo>
                      <a:pt x="14" y="27"/>
                    </a:lnTo>
                    <a:lnTo>
                      <a:pt x="17" y="29"/>
                    </a:lnTo>
                    <a:lnTo>
                      <a:pt x="20" y="30"/>
                    </a:lnTo>
                    <a:lnTo>
                      <a:pt x="22" y="33"/>
                    </a:lnTo>
                    <a:lnTo>
                      <a:pt x="24" y="35"/>
                    </a:lnTo>
                    <a:lnTo>
                      <a:pt x="26" y="35"/>
                    </a:lnTo>
                    <a:lnTo>
                      <a:pt x="27" y="33"/>
                    </a:lnTo>
                    <a:lnTo>
                      <a:pt x="29" y="35"/>
                    </a:lnTo>
                    <a:lnTo>
                      <a:pt x="30" y="35"/>
                    </a:lnTo>
                    <a:lnTo>
                      <a:pt x="30" y="36"/>
                    </a:lnTo>
                    <a:lnTo>
                      <a:pt x="30" y="37"/>
                    </a:lnTo>
                    <a:lnTo>
                      <a:pt x="30" y="37"/>
                    </a:lnTo>
                    <a:lnTo>
                      <a:pt x="32" y="37"/>
                    </a:lnTo>
                    <a:lnTo>
                      <a:pt x="34" y="39"/>
                    </a:lnTo>
                    <a:lnTo>
                      <a:pt x="34" y="39"/>
                    </a:lnTo>
                    <a:lnTo>
                      <a:pt x="36" y="39"/>
                    </a:lnTo>
                    <a:lnTo>
                      <a:pt x="39" y="37"/>
                    </a:lnTo>
                    <a:lnTo>
                      <a:pt x="40" y="37"/>
                    </a:lnTo>
                    <a:lnTo>
                      <a:pt x="42" y="39"/>
                    </a:lnTo>
                    <a:lnTo>
                      <a:pt x="42" y="40"/>
                    </a:lnTo>
                    <a:lnTo>
                      <a:pt x="43" y="43"/>
                    </a:lnTo>
                    <a:lnTo>
                      <a:pt x="43" y="43"/>
                    </a:lnTo>
                    <a:lnTo>
                      <a:pt x="44" y="45"/>
                    </a:lnTo>
                    <a:lnTo>
                      <a:pt x="44" y="45"/>
                    </a:lnTo>
                    <a:lnTo>
                      <a:pt x="44" y="45"/>
                    </a:lnTo>
                    <a:lnTo>
                      <a:pt x="44" y="46"/>
                    </a:lnTo>
                    <a:lnTo>
                      <a:pt x="44" y="46"/>
                    </a:lnTo>
                    <a:lnTo>
                      <a:pt x="47" y="52"/>
                    </a:lnTo>
                    <a:lnTo>
                      <a:pt x="52" y="52"/>
                    </a:lnTo>
                    <a:lnTo>
                      <a:pt x="55" y="52"/>
                    </a:lnTo>
                    <a:lnTo>
                      <a:pt x="53" y="49"/>
                    </a:lnTo>
                    <a:lnTo>
                      <a:pt x="53" y="48"/>
                    </a:lnTo>
                    <a:close/>
                    <a:moveTo>
                      <a:pt x="29" y="7"/>
                    </a:moveTo>
                    <a:lnTo>
                      <a:pt x="27" y="6"/>
                    </a:lnTo>
                    <a:lnTo>
                      <a:pt x="27" y="6"/>
                    </a:lnTo>
                    <a:lnTo>
                      <a:pt x="29" y="6"/>
                    </a:lnTo>
                    <a:lnTo>
                      <a:pt x="29" y="7"/>
                    </a:lnTo>
                    <a:close/>
                    <a:moveTo>
                      <a:pt x="37" y="14"/>
                    </a:moveTo>
                    <a:lnTo>
                      <a:pt x="37" y="14"/>
                    </a:lnTo>
                    <a:lnTo>
                      <a:pt x="37" y="16"/>
                    </a:lnTo>
                    <a:lnTo>
                      <a:pt x="36" y="16"/>
                    </a:lnTo>
                    <a:lnTo>
                      <a:pt x="37" y="1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0" name="Freeform 126">
                <a:extLst>
                  <a:ext uri="{FF2B5EF4-FFF2-40B4-BE49-F238E27FC236}">
                    <a16:creationId xmlns:a16="http://schemas.microsoft.com/office/drawing/2014/main" id="{2B27DCAA-C880-BBDC-3319-D070EE58B95E}"/>
                  </a:ext>
                </a:extLst>
              </p:cNvPr>
              <p:cNvSpPr>
                <a:spLocks noEditPoints="1"/>
              </p:cNvSpPr>
              <p:nvPr/>
            </p:nvSpPr>
            <p:spPr bwMode="auto">
              <a:xfrm>
                <a:off x="7051381" y="2844321"/>
                <a:ext cx="433788" cy="264611"/>
              </a:xfrm>
              <a:custGeom>
                <a:avLst/>
                <a:gdLst>
                  <a:gd name="T0" fmla="*/ 19 w 300"/>
                  <a:gd name="T1" fmla="*/ 94 h 183"/>
                  <a:gd name="T2" fmla="*/ 23 w 300"/>
                  <a:gd name="T3" fmla="*/ 78 h 183"/>
                  <a:gd name="T4" fmla="*/ 35 w 300"/>
                  <a:gd name="T5" fmla="*/ 71 h 183"/>
                  <a:gd name="T6" fmla="*/ 42 w 300"/>
                  <a:gd name="T7" fmla="*/ 71 h 183"/>
                  <a:gd name="T8" fmla="*/ 50 w 300"/>
                  <a:gd name="T9" fmla="*/ 68 h 183"/>
                  <a:gd name="T10" fmla="*/ 60 w 300"/>
                  <a:gd name="T11" fmla="*/ 74 h 183"/>
                  <a:gd name="T12" fmla="*/ 71 w 300"/>
                  <a:gd name="T13" fmla="*/ 79 h 183"/>
                  <a:gd name="T14" fmla="*/ 73 w 300"/>
                  <a:gd name="T15" fmla="*/ 85 h 183"/>
                  <a:gd name="T16" fmla="*/ 72 w 300"/>
                  <a:gd name="T17" fmla="*/ 91 h 183"/>
                  <a:gd name="T18" fmla="*/ 88 w 300"/>
                  <a:gd name="T19" fmla="*/ 97 h 183"/>
                  <a:gd name="T20" fmla="*/ 104 w 300"/>
                  <a:gd name="T21" fmla="*/ 101 h 183"/>
                  <a:gd name="T22" fmla="*/ 115 w 300"/>
                  <a:gd name="T23" fmla="*/ 125 h 183"/>
                  <a:gd name="T24" fmla="*/ 148 w 300"/>
                  <a:gd name="T25" fmla="*/ 147 h 183"/>
                  <a:gd name="T26" fmla="*/ 175 w 300"/>
                  <a:gd name="T27" fmla="*/ 161 h 183"/>
                  <a:gd name="T28" fmla="*/ 185 w 300"/>
                  <a:gd name="T29" fmla="*/ 173 h 183"/>
                  <a:gd name="T30" fmla="*/ 195 w 300"/>
                  <a:gd name="T31" fmla="*/ 180 h 183"/>
                  <a:gd name="T32" fmla="*/ 207 w 300"/>
                  <a:gd name="T33" fmla="*/ 183 h 183"/>
                  <a:gd name="T34" fmla="*/ 217 w 300"/>
                  <a:gd name="T35" fmla="*/ 161 h 183"/>
                  <a:gd name="T36" fmla="*/ 205 w 300"/>
                  <a:gd name="T37" fmla="*/ 145 h 183"/>
                  <a:gd name="T38" fmla="*/ 200 w 300"/>
                  <a:gd name="T39" fmla="*/ 138 h 183"/>
                  <a:gd name="T40" fmla="*/ 216 w 300"/>
                  <a:gd name="T41" fmla="*/ 134 h 183"/>
                  <a:gd name="T42" fmla="*/ 226 w 300"/>
                  <a:gd name="T43" fmla="*/ 127 h 183"/>
                  <a:gd name="T44" fmla="*/ 226 w 300"/>
                  <a:gd name="T45" fmla="*/ 124 h 183"/>
                  <a:gd name="T46" fmla="*/ 224 w 300"/>
                  <a:gd name="T47" fmla="*/ 121 h 183"/>
                  <a:gd name="T48" fmla="*/ 234 w 300"/>
                  <a:gd name="T49" fmla="*/ 115 h 183"/>
                  <a:gd name="T50" fmla="*/ 236 w 300"/>
                  <a:gd name="T51" fmla="*/ 108 h 183"/>
                  <a:gd name="T52" fmla="*/ 249 w 300"/>
                  <a:gd name="T53" fmla="*/ 105 h 183"/>
                  <a:gd name="T54" fmla="*/ 253 w 300"/>
                  <a:gd name="T55" fmla="*/ 114 h 183"/>
                  <a:gd name="T56" fmla="*/ 257 w 300"/>
                  <a:gd name="T57" fmla="*/ 118 h 183"/>
                  <a:gd name="T58" fmla="*/ 284 w 300"/>
                  <a:gd name="T59" fmla="*/ 115 h 183"/>
                  <a:gd name="T60" fmla="*/ 289 w 300"/>
                  <a:gd name="T61" fmla="*/ 114 h 183"/>
                  <a:gd name="T62" fmla="*/ 295 w 300"/>
                  <a:gd name="T63" fmla="*/ 111 h 183"/>
                  <a:gd name="T64" fmla="*/ 293 w 300"/>
                  <a:gd name="T65" fmla="*/ 104 h 183"/>
                  <a:gd name="T66" fmla="*/ 284 w 300"/>
                  <a:gd name="T67" fmla="*/ 99 h 183"/>
                  <a:gd name="T68" fmla="*/ 279 w 300"/>
                  <a:gd name="T69" fmla="*/ 94 h 183"/>
                  <a:gd name="T70" fmla="*/ 272 w 300"/>
                  <a:gd name="T71" fmla="*/ 97 h 183"/>
                  <a:gd name="T72" fmla="*/ 260 w 300"/>
                  <a:gd name="T73" fmla="*/ 97 h 183"/>
                  <a:gd name="T74" fmla="*/ 256 w 300"/>
                  <a:gd name="T75" fmla="*/ 94 h 183"/>
                  <a:gd name="T76" fmla="*/ 256 w 300"/>
                  <a:gd name="T77" fmla="*/ 84 h 183"/>
                  <a:gd name="T78" fmla="*/ 263 w 300"/>
                  <a:gd name="T79" fmla="*/ 79 h 183"/>
                  <a:gd name="T80" fmla="*/ 263 w 300"/>
                  <a:gd name="T81" fmla="*/ 75 h 183"/>
                  <a:gd name="T82" fmla="*/ 250 w 300"/>
                  <a:gd name="T83" fmla="*/ 81 h 183"/>
                  <a:gd name="T84" fmla="*/ 233 w 300"/>
                  <a:gd name="T85" fmla="*/ 92 h 183"/>
                  <a:gd name="T86" fmla="*/ 224 w 300"/>
                  <a:gd name="T87" fmla="*/ 101 h 183"/>
                  <a:gd name="T88" fmla="*/ 220 w 300"/>
                  <a:gd name="T89" fmla="*/ 111 h 183"/>
                  <a:gd name="T90" fmla="*/ 211 w 300"/>
                  <a:gd name="T91" fmla="*/ 105 h 183"/>
                  <a:gd name="T92" fmla="*/ 193 w 300"/>
                  <a:gd name="T93" fmla="*/ 99 h 183"/>
                  <a:gd name="T94" fmla="*/ 184 w 300"/>
                  <a:gd name="T95" fmla="*/ 81 h 183"/>
                  <a:gd name="T96" fmla="*/ 174 w 300"/>
                  <a:gd name="T97" fmla="*/ 61 h 183"/>
                  <a:gd name="T98" fmla="*/ 155 w 300"/>
                  <a:gd name="T99" fmla="*/ 43 h 183"/>
                  <a:gd name="T100" fmla="*/ 109 w 300"/>
                  <a:gd name="T101" fmla="*/ 48 h 183"/>
                  <a:gd name="T102" fmla="*/ 88 w 300"/>
                  <a:gd name="T103" fmla="*/ 26 h 183"/>
                  <a:gd name="T104" fmla="*/ 257 w 300"/>
                  <a:gd name="T105" fmla="*/ 102 h 183"/>
                  <a:gd name="T106" fmla="*/ 267 w 300"/>
                  <a:gd name="T107" fmla="*/ 122 h 183"/>
                  <a:gd name="T108" fmla="*/ 264 w 300"/>
                  <a:gd name="T109" fmla="*/ 124 h 183"/>
                  <a:gd name="T110" fmla="*/ 277 w 300"/>
                  <a:gd name="T111" fmla="*/ 124 h 183"/>
                  <a:gd name="T112" fmla="*/ 277 w 300"/>
                  <a:gd name="T113" fmla="*/ 12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183">
                    <a:moveTo>
                      <a:pt x="17" y="97"/>
                    </a:moveTo>
                    <a:lnTo>
                      <a:pt x="17" y="97"/>
                    </a:lnTo>
                    <a:lnTo>
                      <a:pt x="19" y="95"/>
                    </a:lnTo>
                    <a:lnTo>
                      <a:pt x="20" y="95"/>
                    </a:lnTo>
                    <a:lnTo>
                      <a:pt x="19" y="94"/>
                    </a:lnTo>
                    <a:lnTo>
                      <a:pt x="19" y="94"/>
                    </a:lnTo>
                    <a:lnTo>
                      <a:pt x="19" y="94"/>
                    </a:lnTo>
                    <a:lnTo>
                      <a:pt x="19" y="92"/>
                    </a:lnTo>
                    <a:lnTo>
                      <a:pt x="17" y="88"/>
                    </a:lnTo>
                    <a:lnTo>
                      <a:pt x="17" y="86"/>
                    </a:lnTo>
                    <a:lnTo>
                      <a:pt x="17" y="85"/>
                    </a:lnTo>
                    <a:lnTo>
                      <a:pt x="17" y="84"/>
                    </a:lnTo>
                    <a:lnTo>
                      <a:pt x="22" y="79"/>
                    </a:lnTo>
                    <a:lnTo>
                      <a:pt x="23" y="78"/>
                    </a:lnTo>
                    <a:lnTo>
                      <a:pt x="25" y="76"/>
                    </a:lnTo>
                    <a:lnTo>
                      <a:pt x="26" y="76"/>
                    </a:lnTo>
                    <a:lnTo>
                      <a:pt x="30" y="76"/>
                    </a:lnTo>
                    <a:lnTo>
                      <a:pt x="32" y="76"/>
                    </a:lnTo>
                    <a:lnTo>
                      <a:pt x="33" y="75"/>
                    </a:lnTo>
                    <a:lnTo>
                      <a:pt x="35" y="72"/>
                    </a:lnTo>
                    <a:lnTo>
                      <a:pt x="35" y="71"/>
                    </a:lnTo>
                    <a:lnTo>
                      <a:pt x="37" y="69"/>
                    </a:lnTo>
                    <a:lnTo>
                      <a:pt x="39" y="71"/>
                    </a:lnTo>
                    <a:lnTo>
                      <a:pt x="40" y="72"/>
                    </a:lnTo>
                    <a:lnTo>
                      <a:pt x="42" y="74"/>
                    </a:lnTo>
                    <a:lnTo>
                      <a:pt x="43" y="74"/>
                    </a:lnTo>
                    <a:lnTo>
                      <a:pt x="43" y="74"/>
                    </a:lnTo>
                    <a:lnTo>
                      <a:pt x="42" y="71"/>
                    </a:lnTo>
                    <a:lnTo>
                      <a:pt x="39" y="68"/>
                    </a:lnTo>
                    <a:lnTo>
                      <a:pt x="39" y="66"/>
                    </a:lnTo>
                    <a:lnTo>
                      <a:pt x="39" y="65"/>
                    </a:lnTo>
                    <a:lnTo>
                      <a:pt x="45" y="65"/>
                    </a:lnTo>
                    <a:lnTo>
                      <a:pt x="46" y="63"/>
                    </a:lnTo>
                    <a:lnTo>
                      <a:pt x="49" y="66"/>
                    </a:lnTo>
                    <a:lnTo>
                      <a:pt x="50" y="68"/>
                    </a:lnTo>
                    <a:lnTo>
                      <a:pt x="52" y="68"/>
                    </a:lnTo>
                    <a:lnTo>
                      <a:pt x="55" y="68"/>
                    </a:lnTo>
                    <a:lnTo>
                      <a:pt x="56" y="69"/>
                    </a:lnTo>
                    <a:lnTo>
                      <a:pt x="56" y="69"/>
                    </a:lnTo>
                    <a:lnTo>
                      <a:pt x="58" y="72"/>
                    </a:lnTo>
                    <a:lnTo>
                      <a:pt x="59" y="72"/>
                    </a:lnTo>
                    <a:lnTo>
                      <a:pt x="60" y="74"/>
                    </a:lnTo>
                    <a:lnTo>
                      <a:pt x="62" y="74"/>
                    </a:lnTo>
                    <a:lnTo>
                      <a:pt x="65" y="74"/>
                    </a:lnTo>
                    <a:lnTo>
                      <a:pt x="66" y="74"/>
                    </a:lnTo>
                    <a:lnTo>
                      <a:pt x="69" y="75"/>
                    </a:lnTo>
                    <a:lnTo>
                      <a:pt x="69" y="75"/>
                    </a:lnTo>
                    <a:lnTo>
                      <a:pt x="71" y="79"/>
                    </a:lnTo>
                    <a:lnTo>
                      <a:pt x="71" y="79"/>
                    </a:lnTo>
                    <a:lnTo>
                      <a:pt x="69" y="81"/>
                    </a:lnTo>
                    <a:lnTo>
                      <a:pt x="71" y="81"/>
                    </a:lnTo>
                    <a:lnTo>
                      <a:pt x="71" y="82"/>
                    </a:lnTo>
                    <a:lnTo>
                      <a:pt x="72" y="82"/>
                    </a:lnTo>
                    <a:lnTo>
                      <a:pt x="73" y="84"/>
                    </a:lnTo>
                    <a:lnTo>
                      <a:pt x="73" y="84"/>
                    </a:lnTo>
                    <a:lnTo>
                      <a:pt x="73" y="85"/>
                    </a:lnTo>
                    <a:lnTo>
                      <a:pt x="73" y="85"/>
                    </a:lnTo>
                    <a:lnTo>
                      <a:pt x="72" y="85"/>
                    </a:lnTo>
                    <a:lnTo>
                      <a:pt x="72" y="85"/>
                    </a:lnTo>
                    <a:lnTo>
                      <a:pt x="72" y="86"/>
                    </a:lnTo>
                    <a:lnTo>
                      <a:pt x="73" y="88"/>
                    </a:lnTo>
                    <a:lnTo>
                      <a:pt x="73" y="89"/>
                    </a:lnTo>
                    <a:lnTo>
                      <a:pt x="72" y="91"/>
                    </a:lnTo>
                    <a:lnTo>
                      <a:pt x="72" y="92"/>
                    </a:lnTo>
                    <a:lnTo>
                      <a:pt x="73" y="94"/>
                    </a:lnTo>
                    <a:lnTo>
                      <a:pt x="75" y="95"/>
                    </a:lnTo>
                    <a:lnTo>
                      <a:pt x="78" y="97"/>
                    </a:lnTo>
                    <a:lnTo>
                      <a:pt x="81" y="97"/>
                    </a:lnTo>
                    <a:lnTo>
                      <a:pt x="86" y="97"/>
                    </a:lnTo>
                    <a:lnTo>
                      <a:pt x="88" y="97"/>
                    </a:lnTo>
                    <a:lnTo>
                      <a:pt x="91" y="98"/>
                    </a:lnTo>
                    <a:lnTo>
                      <a:pt x="92" y="98"/>
                    </a:lnTo>
                    <a:lnTo>
                      <a:pt x="93" y="98"/>
                    </a:lnTo>
                    <a:lnTo>
                      <a:pt x="95" y="97"/>
                    </a:lnTo>
                    <a:lnTo>
                      <a:pt x="95" y="97"/>
                    </a:lnTo>
                    <a:lnTo>
                      <a:pt x="101" y="98"/>
                    </a:lnTo>
                    <a:lnTo>
                      <a:pt x="104" y="101"/>
                    </a:lnTo>
                    <a:lnTo>
                      <a:pt x="109" y="111"/>
                    </a:lnTo>
                    <a:lnTo>
                      <a:pt x="111" y="115"/>
                    </a:lnTo>
                    <a:lnTo>
                      <a:pt x="112" y="117"/>
                    </a:lnTo>
                    <a:lnTo>
                      <a:pt x="112" y="118"/>
                    </a:lnTo>
                    <a:lnTo>
                      <a:pt x="114" y="121"/>
                    </a:lnTo>
                    <a:lnTo>
                      <a:pt x="114" y="122"/>
                    </a:lnTo>
                    <a:lnTo>
                      <a:pt x="115" y="125"/>
                    </a:lnTo>
                    <a:lnTo>
                      <a:pt x="118" y="127"/>
                    </a:lnTo>
                    <a:lnTo>
                      <a:pt x="132" y="137"/>
                    </a:lnTo>
                    <a:lnTo>
                      <a:pt x="137" y="141"/>
                    </a:lnTo>
                    <a:lnTo>
                      <a:pt x="139" y="144"/>
                    </a:lnTo>
                    <a:lnTo>
                      <a:pt x="142" y="145"/>
                    </a:lnTo>
                    <a:lnTo>
                      <a:pt x="147" y="145"/>
                    </a:lnTo>
                    <a:lnTo>
                      <a:pt x="148" y="147"/>
                    </a:lnTo>
                    <a:lnTo>
                      <a:pt x="149" y="147"/>
                    </a:lnTo>
                    <a:lnTo>
                      <a:pt x="151" y="150"/>
                    </a:lnTo>
                    <a:lnTo>
                      <a:pt x="152" y="150"/>
                    </a:lnTo>
                    <a:lnTo>
                      <a:pt x="167" y="158"/>
                    </a:lnTo>
                    <a:lnTo>
                      <a:pt x="168" y="160"/>
                    </a:lnTo>
                    <a:lnTo>
                      <a:pt x="170" y="160"/>
                    </a:lnTo>
                    <a:lnTo>
                      <a:pt x="175" y="161"/>
                    </a:lnTo>
                    <a:lnTo>
                      <a:pt x="177" y="161"/>
                    </a:lnTo>
                    <a:lnTo>
                      <a:pt x="183" y="164"/>
                    </a:lnTo>
                    <a:lnTo>
                      <a:pt x="185" y="166"/>
                    </a:lnTo>
                    <a:lnTo>
                      <a:pt x="187" y="166"/>
                    </a:lnTo>
                    <a:lnTo>
                      <a:pt x="187" y="167"/>
                    </a:lnTo>
                    <a:lnTo>
                      <a:pt x="187" y="168"/>
                    </a:lnTo>
                    <a:lnTo>
                      <a:pt x="185" y="173"/>
                    </a:lnTo>
                    <a:lnTo>
                      <a:pt x="185" y="174"/>
                    </a:lnTo>
                    <a:lnTo>
                      <a:pt x="185" y="176"/>
                    </a:lnTo>
                    <a:lnTo>
                      <a:pt x="185" y="178"/>
                    </a:lnTo>
                    <a:lnTo>
                      <a:pt x="190" y="178"/>
                    </a:lnTo>
                    <a:lnTo>
                      <a:pt x="193" y="178"/>
                    </a:lnTo>
                    <a:lnTo>
                      <a:pt x="194" y="178"/>
                    </a:lnTo>
                    <a:lnTo>
                      <a:pt x="195" y="180"/>
                    </a:lnTo>
                    <a:lnTo>
                      <a:pt x="197" y="180"/>
                    </a:lnTo>
                    <a:lnTo>
                      <a:pt x="198" y="181"/>
                    </a:lnTo>
                    <a:lnTo>
                      <a:pt x="200" y="181"/>
                    </a:lnTo>
                    <a:lnTo>
                      <a:pt x="201" y="181"/>
                    </a:lnTo>
                    <a:lnTo>
                      <a:pt x="203" y="181"/>
                    </a:lnTo>
                    <a:lnTo>
                      <a:pt x="205" y="181"/>
                    </a:lnTo>
                    <a:lnTo>
                      <a:pt x="207" y="183"/>
                    </a:lnTo>
                    <a:lnTo>
                      <a:pt x="208" y="180"/>
                    </a:lnTo>
                    <a:lnTo>
                      <a:pt x="208" y="176"/>
                    </a:lnTo>
                    <a:lnTo>
                      <a:pt x="208" y="174"/>
                    </a:lnTo>
                    <a:lnTo>
                      <a:pt x="210" y="173"/>
                    </a:lnTo>
                    <a:lnTo>
                      <a:pt x="214" y="167"/>
                    </a:lnTo>
                    <a:lnTo>
                      <a:pt x="217" y="164"/>
                    </a:lnTo>
                    <a:lnTo>
                      <a:pt x="217" y="161"/>
                    </a:lnTo>
                    <a:lnTo>
                      <a:pt x="213" y="157"/>
                    </a:lnTo>
                    <a:lnTo>
                      <a:pt x="213" y="154"/>
                    </a:lnTo>
                    <a:lnTo>
                      <a:pt x="214" y="147"/>
                    </a:lnTo>
                    <a:lnTo>
                      <a:pt x="213" y="145"/>
                    </a:lnTo>
                    <a:lnTo>
                      <a:pt x="211" y="145"/>
                    </a:lnTo>
                    <a:lnTo>
                      <a:pt x="208" y="145"/>
                    </a:lnTo>
                    <a:lnTo>
                      <a:pt x="205" y="145"/>
                    </a:lnTo>
                    <a:lnTo>
                      <a:pt x="205" y="144"/>
                    </a:lnTo>
                    <a:lnTo>
                      <a:pt x="205" y="143"/>
                    </a:lnTo>
                    <a:lnTo>
                      <a:pt x="204" y="141"/>
                    </a:lnTo>
                    <a:lnTo>
                      <a:pt x="203" y="141"/>
                    </a:lnTo>
                    <a:lnTo>
                      <a:pt x="201" y="141"/>
                    </a:lnTo>
                    <a:lnTo>
                      <a:pt x="200" y="140"/>
                    </a:lnTo>
                    <a:lnTo>
                      <a:pt x="200" y="138"/>
                    </a:lnTo>
                    <a:lnTo>
                      <a:pt x="200" y="137"/>
                    </a:lnTo>
                    <a:lnTo>
                      <a:pt x="201" y="135"/>
                    </a:lnTo>
                    <a:lnTo>
                      <a:pt x="201" y="134"/>
                    </a:lnTo>
                    <a:lnTo>
                      <a:pt x="203" y="134"/>
                    </a:lnTo>
                    <a:lnTo>
                      <a:pt x="205" y="132"/>
                    </a:lnTo>
                    <a:lnTo>
                      <a:pt x="208" y="132"/>
                    </a:lnTo>
                    <a:lnTo>
                      <a:pt x="216" y="134"/>
                    </a:lnTo>
                    <a:lnTo>
                      <a:pt x="220" y="132"/>
                    </a:lnTo>
                    <a:lnTo>
                      <a:pt x="221" y="131"/>
                    </a:lnTo>
                    <a:lnTo>
                      <a:pt x="221" y="130"/>
                    </a:lnTo>
                    <a:lnTo>
                      <a:pt x="223" y="127"/>
                    </a:lnTo>
                    <a:lnTo>
                      <a:pt x="224" y="127"/>
                    </a:lnTo>
                    <a:lnTo>
                      <a:pt x="224" y="127"/>
                    </a:lnTo>
                    <a:lnTo>
                      <a:pt x="226" y="127"/>
                    </a:lnTo>
                    <a:lnTo>
                      <a:pt x="226" y="125"/>
                    </a:lnTo>
                    <a:lnTo>
                      <a:pt x="226" y="125"/>
                    </a:lnTo>
                    <a:lnTo>
                      <a:pt x="226" y="125"/>
                    </a:lnTo>
                    <a:lnTo>
                      <a:pt x="226" y="125"/>
                    </a:lnTo>
                    <a:lnTo>
                      <a:pt x="227" y="125"/>
                    </a:lnTo>
                    <a:lnTo>
                      <a:pt x="226" y="125"/>
                    </a:lnTo>
                    <a:lnTo>
                      <a:pt x="226" y="124"/>
                    </a:lnTo>
                    <a:lnTo>
                      <a:pt x="226" y="124"/>
                    </a:lnTo>
                    <a:lnTo>
                      <a:pt x="228" y="122"/>
                    </a:lnTo>
                    <a:lnTo>
                      <a:pt x="228" y="121"/>
                    </a:lnTo>
                    <a:lnTo>
                      <a:pt x="227" y="121"/>
                    </a:lnTo>
                    <a:lnTo>
                      <a:pt x="226" y="121"/>
                    </a:lnTo>
                    <a:lnTo>
                      <a:pt x="224" y="121"/>
                    </a:lnTo>
                    <a:lnTo>
                      <a:pt x="224" y="121"/>
                    </a:lnTo>
                    <a:lnTo>
                      <a:pt x="223" y="120"/>
                    </a:lnTo>
                    <a:lnTo>
                      <a:pt x="226" y="120"/>
                    </a:lnTo>
                    <a:lnTo>
                      <a:pt x="234" y="120"/>
                    </a:lnTo>
                    <a:lnTo>
                      <a:pt x="233" y="118"/>
                    </a:lnTo>
                    <a:lnTo>
                      <a:pt x="234" y="117"/>
                    </a:lnTo>
                    <a:lnTo>
                      <a:pt x="234" y="117"/>
                    </a:lnTo>
                    <a:lnTo>
                      <a:pt x="234" y="115"/>
                    </a:lnTo>
                    <a:lnTo>
                      <a:pt x="233" y="114"/>
                    </a:lnTo>
                    <a:lnTo>
                      <a:pt x="233" y="112"/>
                    </a:lnTo>
                    <a:lnTo>
                      <a:pt x="233" y="111"/>
                    </a:lnTo>
                    <a:lnTo>
                      <a:pt x="233" y="111"/>
                    </a:lnTo>
                    <a:lnTo>
                      <a:pt x="234" y="111"/>
                    </a:lnTo>
                    <a:lnTo>
                      <a:pt x="234" y="111"/>
                    </a:lnTo>
                    <a:lnTo>
                      <a:pt x="236" y="108"/>
                    </a:lnTo>
                    <a:lnTo>
                      <a:pt x="236" y="107"/>
                    </a:lnTo>
                    <a:lnTo>
                      <a:pt x="237" y="108"/>
                    </a:lnTo>
                    <a:lnTo>
                      <a:pt x="240" y="109"/>
                    </a:lnTo>
                    <a:lnTo>
                      <a:pt x="241" y="109"/>
                    </a:lnTo>
                    <a:lnTo>
                      <a:pt x="244" y="108"/>
                    </a:lnTo>
                    <a:lnTo>
                      <a:pt x="247" y="107"/>
                    </a:lnTo>
                    <a:lnTo>
                      <a:pt x="249" y="105"/>
                    </a:lnTo>
                    <a:lnTo>
                      <a:pt x="253" y="102"/>
                    </a:lnTo>
                    <a:lnTo>
                      <a:pt x="254" y="101"/>
                    </a:lnTo>
                    <a:lnTo>
                      <a:pt x="256" y="102"/>
                    </a:lnTo>
                    <a:lnTo>
                      <a:pt x="260" y="108"/>
                    </a:lnTo>
                    <a:lnTo>
                      <a:pt x="259" y="109"/>
                    </a:lnTo>
                    <a:lnTo>
                      <a:pt x="254" y="112"/>
                    </a:lnTo>
                    <a:lnTo>
                      <a:pt x="253" y="114"/>
                    </a:lnTo>
                    <a:lnTo>
                      <a:pt x="253" y="115"/>
                    </a:lnTo>
                    <a:lnTo>
                      <a:pt x="253" y="115"/>
                    </a:lnTo>
                    <a:lnTo>
                      <a:pt x="254" y="115"/>
                    </a:lnTo>
                    <a:lnTo>
                      <a:pt x="256" y="117"/>
                    </a:lnTo>
                    <a:lnTo>
                      <a:pt x="256" y="117"/>
                    </a:lnTo>
                    <a:lnTo>
                      <a:pt x="257" y="118"/>
                    </a:lnTo>
                    <a:lnTo>
                      <a:pt x="257" y="118"/>
                    </a:lnTo>
                    <a:lnTo>
                      <a:pt x="257" y="120"/>
                    </a:lnTo>
                    <a:lnTo>
                      <a:pt x="259" y="120"/>
                    </a:lnTo>
                    <a:lnTo>
                      <a:pt x="263" y="118"/>
                    </a:lnTo>
                    <a:lnTo>
                      <a:pt x="267" y="118"/>
                    </a:lnTo>
                    <a:lnTo>
                      <a:pt x="276" y="120"/>
                    </a:lnTo>
                    <a:lnTo>
                      <a:pt x="279" y="118"/>
                    </a:lnTo>
                    <a:lnTo>
                      <a:pt x="284" y="115"/>
                    </a:lnTo>
                    <a:lnTo>
                      <a:pt x="286" y="114"/>
                    </a:lnTo>
                    <a:lnTo>
                      <a:pt x="286" y="114"/>
                    </a:lnTo>
                    <a:lnTo>
                      <a:pt x="287" y="114"/>
                    </a:lnTo>
                    <a:lnTo>
                      <a:pt x="287" y="114"/>
                    </a:lnTo>
                    <a:lnTo>
                      <a:pt x="289" y="114"/>
                    </a:lnTo>
                    <a:lnTo>
                      <a:pt x="289" y="114"/>
                    </a:lnTo>
                    <a:lnTo>
                      <a:pt x="289" y="114"/>
                    </a:lnTo>
                    <a:lnTo>
                      <a:pt x="287" y="112"/>
                    </a:lnTo>
                    <a:lnTo>
                      <a:pt x="287" y="112"/>
                    </a:lnTo>
                    <a:lnTo>
                      <a:pt x="289" y="112"/>
                    </a:lnTo>
                    <a:lnTo>
                      <a:pt x="290" y="112"/>
                    </a:lnTo>
                    <a:lnTo>
                      <a:pt x="290" y="111"/>
                    </a:lnTo>
                    <a:lnTo>
                      <a:pt x="293" y="111"/>
                    </a:lnTo>
                    <a:lnTo>
                      <a:pt x="295" y="111"/>
                    </a:lnTo>
                    <a:lnTo>
                      <a:pt x="299" y="108"/>
                    </a:lnTo>
                    <a:lnTo>
                      <a:pt x="300" y="107"/>
                    </a:lnTo>
                    <a:lnTo>
                      <a:pt x="300" y="105"/>
                    </a:lnTo>
                    <a:lnTo>
                      <a:pt x="300" y="105"/>
                    </a:lnTo>
                    <a:lnTo>
                      <a:pt x="296" y="105"/>
                    </a:lnTo>
                    <a:lnTo>
                      <a:pt x="295" y="105"/>
                    </a:lnTo>
                    <a:lnTo>
                      <a:pt x="293" y="104"/>
                    </a:lnTo>
                    <a:lnTo>
                      <a:pt x="292" y="104"/>
                    </a:lnTo>
                    <a:lnTo>
                      <a:pt x="290" y="102"/>
                    </a:lnTo>
                    <a:lnTo>
                      <a:pt x="290" y="102"/>
                    </a:lnTo>
                    <a:lnTo>
                      <a:pt x="287" y="102"/>
                    </a:lnTo>
                    <a:lnTo>
                      <a:pt x="286" y="101"/>
                    </a:lnTo>
                    <a:lnTo>
                      <a:pt x="286" y="101"/>
                    </a:lnTo>
                    <a:lnTo>
                      <a:pt x="284" y="99"/>
                    </a:lnTo>
                    <a:lnTo>
                      <a:pt x="284" y="99"/>
                    </a:lnTo>
                    <a:lnTo>
                      <a:pt x="284" y="99"/>
                    </a:lnTo>
                    <a:lnTo>
                      <a:pt x="282" y="98"/>
                    </a:lnTo>
                    <a:lnTo>
                      <a:pt x="280" y="98"/>
                    </a:lnTo>
                    <a:lnTo>
                      <a:pt x="280" y="97"/>
                    </a:lnTo>
                    <a:lnTo>
                      <a:pt x="279" y="97"/>
                    </a:lnTo>
                    <a:lnTo>
                      <a:pt x="279" y="94"/>
                    </a:lnTo>
                    <a:lnTo>
                      <a:pt x="276" y="91"/>
                    </a:lnTo>
                    <a:lnTo>
                      <a:pt x="276" y="91"/>
                    </a:lnTo>
                    <a:lnTo>
                      <a:pt x="274" y="92"/>
                    </a:lnTo>
                    <a:lnTo>
                      <a:pt x="274" y="94"/>
                    </a:lnTo>
                    <a:lnTo>
                      <a:pt x="273" y="95"/>
                    </a:lnTo>
                    <a:lnTo>
                      <a:pt x="272" y="95"/>
                    </a:lnTo>
                    <a:lnTo>
                      <a:pt x="272" y="97"/>
                    </a:lnTo>
                    <a:lnTo>
                      <a:pt x="272" y="98"/>
                    </a:lnTo>
                    <a:lnTo>
                      <a:pt x="270" y="99"/>
                    </a:lnTo>
                    <a:lnTo>
                      <a:pt x="267" y="99"/>
                    </a:lnTo>
                    <a:lnTo>
                      <a:pt x="266" y="99"/>
                    </a:lnTo>
                    <a:lnTo>
                      <a:pt x="264" y="98"/>
                    </a:lnTo>
                    <a:lnTo>
                      <a:pt x="262" y="98"/>
                    </a:lnTo>
                    <a:lnTo>
                      <a:pt x="260" y="97"/>
                    </a:lnTo>
                    <a:lnTo>
                      <a:pt x="260" y="95"/>
                    </a:lnTo>
                    <a:lnTo>
                      <a:pt x="260" y="94"/>
                    </a:lnTo>
                    <a:lnTo>
                      <a:pt x="259" y="94"/>
                    </a:lnTo>
                    <a:lnTo>
                      <a:pt x="259" y="92"/>
                    </a:lnTo>
                    <a:lnTo>
                      <a:pt x="257" y="92"/>
                    </a:lnTo>
                    <a:lnTo>
                      <a:pt x="257" y="92"/>
                    </a:lnTo>
                    <a:lnTo>
                      <a:pt x="256" y="94"/>
                    </a:lnTo>
                    <a:lnTo>
                      <a:pt x="254" y="94"/>
                    </a:lnTo>
                    <a:lnTo>
                      <a:pt x="253" y="92"/>
                    </a:lnTo>
                    <a:lnTo>
                      <a:pt x="251" y="92"/>
                    </a:lnTo>
                    <a:lnTo>
                      <a:pt x="250" y="91"/>
                    </a:lnTo>
                    <a:lnTo>
                      <a:pt x="250" y="89"/>
                    </a:lnTo>
                    <a:lnTo>
                      <a:pt x="250" y="89"/>
                    </a:lnTo>
                    <a:lnTo>
                      <a:pt x="256" y="84"/>
                    </a:lnTo>
                    <a:lnTo>
                      <a:pt x="257" y="84"/>
                    </a:lnTo>
                    <a:lnTo>
                      <a:pt x="259" y="82"/>
                    </a:lnTo>
                    <a:lnTo>
                      <a:pt x="260" y="82"/>
                    </a:lnTo>
                    <a:lnTo>
                      <a:pt x="260" y="82"/>
                    </a:lnTo>
                    <a:lnTo>
                      <a:pt x="262" y="81"/>
                    </a:lnTo>
                    <a:lnTo>
                      <a:pt x="262" y="79"/>
                    </a:lnTo>
                    <a:lnTo>
                      <a:pt x="263" y="79"/>
                    </a:lnTo>
                    <a:lnTo>
                      <a:pt x="264" y="78"/>
                    </a:lnTo>
                    <a:lnTo>
                      <a:pt x="267" y="78"/>
                    </a:lnTo>
                    <a:lnTo>
                      <a:pt x="269" y="76"/>
                    </a:lnTo>
                    <a:lnTo>
                      <a:pt x="267" y="75"/>
                    </a:lnTo>
                    <a:lnTo>
                      <a:pt x="266" y="75"/>
                    </a:lnTo>
                    <a:lnTo>
                      <a:pt x="264" y="75"/>
                    </a:lnTo>
                    <a:lnTo>
                      <a:pt x="263" y="75"/>
                    </a:lnTo>
                    <a:lnTo>
                      <a:pt x="259" y="78"/>
                    </a:lnTo>
                    <a:lnTo>
                      <a:pt x="257" y="78"/>
                    </a:lnTo>
                    <a:lnTo>
                      <a:pt x="256" y="79"/>
                    </a:lnTo>
                    <a:lnTo>
                      <a:pt x="254" y="78"/>
                    </a:lnTo>
                    <a:lnTo>
                      <a:pt x="254" y="78"/>
                    </a:lnTo>
                    <a:lnTo>
                      <a:pt x="251" y="79"/>
                    </a:lnTo>
                    <a:lnTo>
                      <a:pt x="250" y="81"/>
                    </a:lnTo>
                    <a:lnTo>
                      <a:pt x="250" y="82"/>
                    </a:lnTo>
                    <a:lnTo>
                      <a:pt x="249" y="84"/>
                    </a:lnTo>
                    <a:lnTo>
                      <a:pt x="246" y="85"/>
                    </a:lnTo>
                    <a:lnTo>
                      <a:pt x="240" y="88"/>
                    </a:lnTo>
                    <a:lnTo>
                      <a:pt x="239" y="88"/>
                    </a:lnTo>
                    <a:lnTo>
                      <a:pt x="234" y="92"/>
                    </a:lnTo>
                    <a:lnTo>
                      <a:pt x="233" y="92"/>
                    </a:lnTo>
                    <a:lnTo>
                      <a:pt x="231" y="92"/>
                    </a:lnTo>
                    <a:lnTo>
                      <a:pt x="231" y="94"/>
                    </a:lnTo>
                    <a:lnTo>
                      <a:pt x="230" y="94"/>
                    </a:lnTo>
                    <a:lnTo>
                      <a:pt x="230" y="97"/>
                    </a:lnTo>
                    <a:lnTo>
                      <a:pt x="228" y="97"/>
                    </a:lnTo>
                    <a:lnTo>
                      <a:pt x="227" y="98"/>
                    </a:lnTo>
                    <a:lnTo>
                      <a:pt x="224" y="101"/>
                    </a:lnTo>
                    <a:lnTo>
                      <a:pt x="223" y="102"/>
                    </a:lnTo>
                    <a:lnTo>
                      <a:pt x="223" y="105"/>
                    </a:lnTo>
                    <a:lnTo>
                      <a:pt x="221" y="107"/>
                    </a:lnTo>
                    <a:lnTo>
                      <a:pt x="221" y="107"/>
                    </a:lnTo>
                    <a:lnTo>
                      <a:pt x="221" y="108"/>
                    </a:lnTo>
                    <a:lnTo>
                      <a:pt x="221" y="109"/>
                    </a:lnTo>
                    <a:lnTo>
                      <a:pt x="220" y="111"/>
                    </a:lnTo>
                    <a:lnTo>
                      <a:pt x="220" y="111"/>
                    </a:lnTo>
                    <a:lnTo>
                      <a:pt x="218" y="109"/>
                    </a:lnTo>
                    <a:lnTo>
                      <a:pt x="217" y="109"/>
                    </a:lnTo>
                    <a:lnTo>
                      <a:pt x="214" y="108"/>
                    </a:lnTo>
                    <a:lnTo>
                      <a:pt x="213" y="108"/>
                    </a:lnTo>
                    <a:lnTo>
                      <a:pt x="213" y="107"/>
                    </a:lnTo>
                    <a:lnTo>
                      <a:pt x="211" y="105"/>
                    </a:lnTo>
                    <a:lnTo>
                      <a:pt x="213" y="102"/>
                    </a:lnTo>
                    <a:lnTo>
                      <a:pt x="213" y="101"/>
                    </a:lnTo>
                    <a:lnTo>
                      <a:pt x="211" y="99"/>
                    </a:lnTo>
                    <a:lnTo>
                      <a:pt x="211" y="99"/>
                    </a:lnTo>
                    <a:lnTo>
                      <a:pt x="208" y="98"/>
                    </a:lnTo>
                    <a:lnTo>
                      <a:pt x="204" y="98"/>
                    </a:lnTo>
                    <a:lnTo>
                      <a:pt x="193" y="99"/>
                    </a:lnTo>
                    <a:lnTo>
                      <a:pt x="188" y="98"/>
                    </a:lnTo>
                    <a:lnTo>
                      <a:pt x="187" y="95"/>
                    </a:lnTo>
                    <a:lnTo>
                      <a:pt x="187" y="91"/>
                    </a:lnTo>
                    <a:lnTo>
                      <a:pt x="185" y="84"/>
                    </a:lnTo>
                    <a:lnTo>
                      <a:pt x="185" y="82"/>
                    </a:lnTo>
                    <a:lnTo>
                      <a:pt x="184" y="81"/>
                    </a:lnTo>
                    <a:lnTo>
                      <a:pt x="184" y="81"/>
                    </a:lnTo>
                    <a:lnTo>
                      <a:pt x="178" y="79"/>
                    </a:lnTo>
                    <a:lnTo>
                      <a:pt x="177" y="79"/>
                    </a:lnTo>
                    <a:lnTo>
                      <a:pt x="177" y="76"/>
                    </a:lnTo>
                    <a:lnTo>
                      <a:pt x="177" y="72"/>
                    </a:lnTo>
                    <a:lnTo>
                      <a:pt x="178" y="58"/>
                    </a:lnTo>
                    <a:lnTo>
                      <a:pt x="175" y="59"/>
                    </a:lnTo>
                    <a:lnTo>
                      <a:pt x="174" y="61"/>
                    </a:lnTo>
                    <a:lnTo>
                      <a:pt x="172" y="61"/>
                    </a:lnTo>
                    <a:lnTo>
                      <a:pt x="171" y="59"/>
                    </a:lnTo>
                    <a:lnTo>
                      <a:pt x="168" y="53"/>
                    </a:lnTo>
                    <a:lnTo>
                      <a:pt x="167" y="52"/>
                    </a:lnTo>
                    <a:lnTo>
                      <a:pt x="160" y="45"/>
                    </a:lnTo>
                    <a:lnTo>
                      <a:pt x="157" y="43"/>
                    </a:lnTo>
                    <a:lnTo>
                      <a:pt x="155" y="43"/>
                    </a:lnTo>
                    <a:lnTo>
                      <a:pt x="152" y="45"/>
                    </a:lnTo>
                    <a:lnTo>
                      <a:pt x="149" y="46"/>
                    </a:lnTo>
                    <a:lnTo>
                      <a:pt x="145" y="46"/>
                    </a:lnTo>
                    <a:lnTo>
                      <a:pt x="131" y="45"/>
                    </a:lnTo>
                    <a:lnTo>
                      <a:pt x="124" y="45"/>
                    </a:lnTo>
                    <a:lnTo>
                      <a:pt x="121" y="45"/>
                    </a:lnTo>
                    <a:lnTo>
                      <a:pt x="109" y="48"/>
                    </a:lnTo>
                    <a:lnTo>
                      <a:pt x="106" y="48"/>
                    </a:lnTo>
                    <a:lnTo>
                      <a:pt x="104" y="46"/>
                    </a:lnTo>
                    <a:lnTo>
                      <a:pt x="92" y="33"/>
                    </a:lnTo>
                    <a:lnTo>
                      <a:pt x="92" y="32"/>
                    </a:lnTo>
                    <a:lnTo>
                      <a:pt x="91" y="30"/>
                    </a:lnTo>
                    <a:lnTo>
                      <a:pt x="89" y="28"/>
                    </a:lnTo>
                    <a:lnTo>
                      <a:pt x="88" y="26"/>
                    </a:lnTo>
                    <a:lnTo>
                      <a:pt x="45" y="0"/>
                    </a:lnTo>
                    <a:lnTo>
                      <a:pt x="43" y="0"/>
                    </a:lnTo>
                    <a:lnTo>
                      <a:pt x="0" y="13"/>
                    </a:lnTo>
                    <a:lnTo>
                      <a:pt x="0" y="95"/>
                    </a:lnTo>
                    <a:lnTo>
                      <a:pt x="14" y="97"/>
                    </a:lnTo>
                    <a:lnTo>
                      <a:pt x="17" y="97"/>
                    </a:lnTo>
                    <a:close/>
                    <a:moveTo>
                      <a:pt x="257" y="102"/>
                    </a:moveTo>
                    <a:lnTo>
                      <a:pt x="257" y="102"/>
                    </a:lnTo>
                    <a:lnTo>
                      <a:pt x="257" y="104"/>
                    </a:lnTo>
                    <a:lnTo>
                      <a:pt x="257" y="104"/>
                    </a:lnTo>
                    <a:lnTo>
                      <a:pt x="257" y="102"/>
                    </a:lnTo>
                    <a:lnTo>
                      <a:pt x="256" y="102"/>
                    </a:lnTo>
                    <a:lnTo>
                      <a:pt x="257" y="102"/>
                    </a:lnTo>
                    <a:close/>
                    <a:moveTo>
                      <a:pt x="267" y="122"/>
                    </a:moveTo>
                    <a:lnTo>
                      <a:pt x="269" y="122"/>
                    </a:lnTo>
                    <a:lnTo>
                      <a:pt x="267" y="124"/>
                    </a:lnTo>
                    <a:lnTo>
                      <a:pt x="267" y="125"/>
                    </a:lnTo>
                    <a:lnTo>
                      <a:pt x="266" y="127"/>
                    </a:lnTo>
                    <a:lnTo>
                      <a:pt x="264" y="125"/>
                    </a:lnTo>
                    <a:lnTo>
                      <a:pt x="264" y="124"/>
                    </a:lnTo>
                    <a:lnTo>
                      <a:pt x="264" y="124"/>
                    </a:lnTo>
                    <a:lnTo>
                      <a:pt x="263" y="122"/>
                    </a:lnTo>
                    <a:lnTo>
                      <a:pt x="263" y="121"/>
                    </a:lnTo>
                    <a:lnTo>
                      <a:pt x="264" y="121"/>
                    </a:lnTo>
                    <a:lnTo>
                      <a:pt x="266" y="122"/>
                    </a:lnTo>
                    <a:lnTo>
                      <a:pt x="267" y="122"/>
                    </a:lnTo>
                    <a:close/>
                    <a:moveTo>
                      <a:pt x="277" y="124"/>
                    </a:moveTo>
                    <a:lnTo>
                      <a:pt x="277" y="124"/>
                    </a:lnTo>
                    <a:lnTo>
                      <a:pt x="277" y="125"/>
                    </a:lnTo>
                    <a:lnTo>
                      <a:pt x="277" y="125"/>
                    </a:lnTo>
                    <a:lnTo>
                      <a:pt x="277" y="125"/>
                    </a:lnTo>
                    <a:lnTo>
                      <a:pt x="276" y="125"/>
                    </a:lnTo>
                    <a:lnTo>
                      <a:pt x="276" y="124"/>
                    </a:lnTo>
                    <a:lnTo>
                      <a:pt x="277" y="124"/>
                    </a:lnTo>
                    <a:lnTo>
                      <a:pt x="277" y="12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1" name="Freeform 127">
                <a:extLst>
                  <a:ext uri="{FF2B5EF4-FFF2-40B4-BE49-F238E27FC236}">
                    <a16:creationId xmlns:a16="http://schemas.microsoft.com/office/drawing/2014/main" id="{A9FB6BDA-E768-3A1F-F6C7-D5346F0037F0}"/>
                  </a:ext>
                </a:extLst>
              </p:cNvPr>
              <p:cNvSpPr>
                <a:spLocks noEditPoints="1"/>
              </p:cNvSpPr>
              <p:nvPr/>
            </p:nvSpPr>
            <p:spPr bwMode="auto">
              <a:xfrm>
                <a:off x="6961732" y="2935416"/>
                <a:ext cx="360044" cy="231354"/>
              </a:xfrm>
              <a:custGeom>
                <a:avLst/>
                <a:gdLst>
                  <a:gd name="T0" fmla="*/ 153 w 249"/>
                  <a:gd name="T1" fmla="*/ 134 h 160"/>
                  <a:gd name="T2" fmla="*/ 140 w 249"/>
                  <a:gd name="T3" fmla="*/ 130 h 160"/>
                  <a:gd name="T4" fmla="*/ 133 w 249"/>
                  <a:gd name="T5" fmla="*/ 123 h 160"/>
                  <a:gd name="T6" fmla="*/ 114 w 249"/>
                  <a:gd name="T7" fmla="*/ 110 h 160"/>
                  <a:gd name="T8" fmla="*/ 102 w 249"/>
                  <a:gd name="T9" fmla="*/ 110 h 160"/>
                  <a:gd name="T10" fmla="*/ 87 w 249"/>
                  <a:gd name="T11" fmla="*/ 103 h 160"/>
                  <a:gd name="T12" fmla="*/ 82 w 249"/>
                  <a:gd name="T13" fmla="*/ 98 h 160"/>
                  <a:gd name="T14" fmla="*/ 66 w 249"/>
                  <a:gd name="T15" fmla="*/ 100 h 160"/>
                  <a:gd name="T16" fmla="*/ 46 w 249"/>
                  <a:gd name="T17" fmla="*/ 104 h 160"/>
                  <a:gd name="T18" fmla="*/ 35 w 249"/>
                  <a:gd name="T19" fmla="*/ 115 h 160"/>
                  <a:gd name="T20" fmla="*/ 25 w 249"/>
                  <a:gd name="T21" fmla="*/ 85 h 160"/>
                  <a:gd name="T22" fmla="*/ 18 w 249"/>
                  <a:gd name="T23" fmla="*/ 75 h 160"/>
                  <a:gd name="T24" fmla="*/ 13 w 249"/>
                  <a:gd name="T25" fmla="*/ 71 h 160"/>
                  <a:gd name="T26" fmla="*/ 20 w 249"/>
                  <a:gd name="T27" fmla="*/ 71 h 160"/>
                  <a:gd name="T28" fmla="*/ 18 w 249"/>
                  <a:gd name="T29" fmla="*/ 64 h 160"/>
                  <a:gd name="T30" fmla="*/ 9 w 249"/>
                  <a:gd name="T31" fmla="*/ 62 h 160"/>
                  <a:gd name="T32" fmla="*/ 9 w 249"/>
                  <a:gd name="T33" fmla="*/ 38 h 160"/>
                  <a:gd name="T34" fmla="*/ 15 w 249"/>
                  <a:gd name="T35" fmla="*/ 44 h 160"/>
                  <a:gd name="T36" fmla="*/ 23 w 249"/>
                  <a:gd name="T37" fmla="*/ 46 h 160"/>
                  <a:gd name="T38" fmla="*/ 33 w 249"/>
                  <a:gd name="T39" fmla="*/ 45 h 160"/>
                  <a:gd name="T40" fmla="*/ 38 w 249"/>
                  <a:gd name="T41" fmla="*/ 35 h 160"/>
                  <a:gd name="T42" fmla="*/ 25 w 249"/>
                  <a:gd name="T43" fmla="*/ 18 h 160"/>
                  <a:gd name="T44" fmla="*/ 16 w 249"/>
                  <a:gd name="T45" fmla="*/ 15 h 160"/>
                  <a:gd name="T46" fmla="*/ 6 w 249"/>
                  <a:gd name="T47" fmla="*/ 29 h 160"/>
                  <a:gd name="T48" fmla="*/ 9 w 249"/>
                  <a:gd name="T49" fmla="*/ 16 h 160"/>
                  <a:gd name="T50" fmla="*/ 31 w 249"/>
                  <a:gd name="T51" fmla="*/ 11 h 160"/>
                  <a:gd name="T52" fmla="*/ 52 w 249"/>
                  <a:gd name="T53" fmla="*/ 32 h 160"/>
                  <a:gd name="T54" fmla="*/ 76 w 249"/>
                  <a:gd name="T55" fmla="*/ 34 h 160"/>
                  <a:gd name="T56" fmla="*/ 81 w 249"/>
                  <a:gd name="T57" fmla="*/ 31 h 160"/>
                  <a:gd name="T58" fmla="*/ 79 w 249"/>
                  <a:gd name="T59" fmla="*/ 23 h 160"/>
                  <a:gd name="T60" fmla="*/ 87 w 249"/>
                  <a:gd name="T61" fmla="*/ 13 h 160"/>
                  <a:gd name="T62" fmla="*/ 97 w 249"/>
                  <a:gd name="T63" fmla="*/ 9 h 160"/>
                  <a:gd name="T64" fmla="*/ 104 w 249"/>
                  <a:gd name="T65" fmla="*/ 11 h 160"/>
                  <a:gd name="T66" fmla="*/ 101 w 249"/>
                  <a:gd name="T67" fmla="*/ 3 h 160"/>
                  <a:gd name="T68" fmla="*/ 112 w 249"/>
                  <a:gd name="T69" fmla="*/ 5 h 160"/>
                  <a:gd name="T70" fmla="*/ 120 w 249"/>
                  <a:gd name="T71" fmla="*/ 9 h 160"/>
                  <a:gd name="T72" fmla="*/ 128 w 249"/>
                  <a:gd name="T73" fmla="*/ 11 h 160"/>
                  <a:gd name="T74" fmla="*/ 131 w 249"/>
                  <a:gd name="T75" fmla="*/ 18 h 160"/>
                  <a:gd name="T76" fmla="*/ 135 w 249"/>
                  <a:gd name="T77" fmla="*/ 21 h 160"/>
                  <a:gd name="T78" fmla="*/ 134 w 249"/>
                  <a:gd name="T79" fmla="*/ 23 h 160"/>
                  <a:gd name="T80" fmla="*/ 135 w 249"/>
                  <a:gd name="T81" fmla="*/ 31 h 160"/>
                  <a:gd name="T82" fmla="*/ 150 w 249"/>
                  <a:gd name="T83" fmla="*/ 34 h 160"/>
                  <a:gd name="T84" fmla="*/ 157 w 249"/>
                  <a:gd name="T85" fmla="*/ 34 h 160"/>
                  <a:gd name="T86" fmla="*/ 174 w 249"/>
                  <a:gd name="T87" fmla="*/ 54 h 160"/>
                  <a:gd name="T88" fmla="*/ 180 w 249"/>
                  <a:gd name="T89" fmla="*/ 64 h 160"/>
                  <a:gd name="T90" fmla="*/ 209 w 249"/>
                  <a:gd name="T91" fmla="*/ 82 h 160"/>
                  <a:gd name="T92" fmla="*/ 229 w 249"/>
                  <a:gd name="T93" fmla="*/ 95 h 160"/>
                  <a:gd name="T94" fmla="*/ 245 w 249"/>
                  <a:gd name="T95" fmla="*/ 101 h 160"/>
                  <a:gd name="T96" fmla="*/ 247 w 249"/>
                  <a:gd name="T97" fmla="*/ 110 h 160"/>
                  <a:gd name="T98" fmla="*/ 236 w 249"/>
                  <a:gd name="T99" fmla="*/ 113 h 160"/>
                  <a:gd name="T100" fmla="*/ 229 w 249"/>
                  <a:gd name="T101" fmla="*/ 118 h 160"/>
                  <a:gd name="T102" fmla="*/ 216 w 249"/>
                  <a:gd name="T103" fmla="*/ 123 h 160"/>
                  <a:gd name="T104" fmla="*/ 204 w 249"/>
                  <a:gd name="T105" fmla="*/ 141 h 160"/>
                  <a:gd name="T106" fmla="*/ 189 w 249"/>
                  <a:gd name="T107" fmla="*/ 147 h 160"/>
                  <a:gd name="T108" fmla="*/ 187 w 249"/>
                  <a:gd name="T109" fmla="*/ 151 h 160"/>
                  <a:gd name="T110" fmla="*/ 180 w 249"/>
                  <a:gd name="T111" fmla="*/ 157 h 160"/>
                  <a:gd name="T112" fmla="*/ 171 w 249"/>
                  <a:gd name="T113" fmla="*/ 157 h 160"/>
                  <a:gd name="T114" fmla="*/ 161 w 249"/>
                  <a:gd name="T115" fmla="*/ 154 h 160"/>
                  <a:gd name="T116" fmla="*/ 155 w 249"/>
                  <a:gd name="T117" fmla="*/ 151 h 160"/>
                  <a:gd name="T118" fmla="*/ 10 w 249"/>
                  <a:gd name="T119" fmla="*/ 81 h 160"/>
                  <a:gd name="T120" fmla="*/ 10 w 249"/>
                  <a:gd name="T121" fmla="*/ 8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9" h="160">
                    <a:moveTo>
                      <a:pt x="155" y="151"/>
                    </a:moveTo>
                    <a:lnTo>
                      <a:pt x="154" y="151"/>
                    </a:lnTo>
                    <a:lnTo>
                      <a:pt x="154" y="147"/>
                    </a:lnTo>
                    <a:lnTo>
                      <a:pt x="154" y="144"/>
                    </a:lnTo>
                    <a:lnTo>
                      <a:pt x="153" y="134"/>
                    </a:lnTo>
                    <a:lnTo>
                      <a:pt x="153" y="131"/>
                    </a:lnTo>
                    <a:lnTo>
                      <a:pt x="151" y="130"/>
                    </a:lnTo>
                    <a:lnTo>
                      <a:pt x="150" y="130"/>
                    </a:lnTo>
                    <a:lnTo>
                      <a:pt x="143" y="130"/>
                    </a:lnTo>
                    <a:lnTo>
                      <a:pt x="140" y="130"/>
                    </a:lnTo>
                    <a:lnTo>
                      <a:pt x="137" y="128"/>
                    </a:lnTo>
                    <a:lnTo>
                      <a:pt x="137" y="127"/>
                    </a:lnTo>
                    <a:lnTo>
                      <a:pt x="135" y="126"/>
                    </a:lnTo>
                    <a:lnTo>
                      <a:pt x="134" y="124"/>
                    </a:lnTo>
                    <a:lnTo>
                      <a:pt x="133" y="123"/>
                    </a:lnTo>
                    <a:lnTo>
                      <a:pt x="125" y="120"/>
                    </a:lnTo>
                    <a:lnTo>
                      <a:pt x="122" y="117"/>
                    </a:lnTo>
                    <a:lnTo>
                      <a:pt x="120" y="113"/>
                    </a:lnTo>
                    <a:lnTo>
                      <a:pt x="117" y="111"/>
                    </a:lnTo>
                    <a:lnTo>
                      <a:pt x="114" y="110"/>
                    </a:lnTo>
                    <a:lnTo>
                      <a:pt x="112" y="110"/>
                    </a:lnTo>
                    <a:lnTo>
                      <a:pt x="111" y="110"/>
                    </a:lnTo>
                    <a:lnTo>
                      <a:pt x="105" y="110"/>
                    </a:lnTo>
                    <a:lnTo>
                      <a:pt x="104" y="110"/>
                    </a:lnTo>
                    <a:lnTo>
                      <a:pt x="102" y="110"/>
                    </a:lnTo>
                    <a:lnTo>
                      <a:pt x="101" y="108"/>
                    </a:lnTo>
                    <a:lnTo>
                      <a:pt x="97" y="107"/>
                    </a:lnTo>
                    <a:lnTo>
                      <a:pt x="95" y="105"/>
                    </a:lnTo>
                    <a:lnTo>
                      <a:pt x="88" y="104"/>
                    </a:lnTo>
                    <a:lnTo>
                      <a:pt x="87" y="103"/>
                    </a:lnTo>
                    <a:lnTo>
                      <a:pt x="85" y="103"/>
                    </a:lnTo>
                    <a:lnTo>
                      <a:pt x="85" y="101"/>
                    </a:lnTo>
                    <a:lnTo>
                      <a:pt x="85" y="100"/>
                    </a:lnTo>
                    <a:lnTo>
                      <a:pt x="84" y="98"/>
                    </a:lnTo>
                    <a:lnTo>
                      <a:pt x="82" y="98"/>
                    </a:lnTo>
                    <a:lnTo>
                      <a:pt x="75" y="97"/>
                    </a:lnTo>
                    <a:lnTo>
                      <a:pt x="72" y="97"/>
                    </a:lnTo>
                    <a:lnTo>
                      <a:pt x="71" y="98"/>
                    </a:lnTo>
                    <a:lnTo>
                      <a:pt x="68" y="100"/>
                    </a:lnTo>
                    <a:lnTo>
                      <a:pt x="66" y="100"/>
                    </a:lnTo>
                    <a:lnTo>
                      <a:pt x="65" y="101"/>
                    </a:lnTo>
                    <a:lnTo>
                      <a:pt x="64" y="101"/>
                    </a:lnTo>
                    <a:lnTo>
                      <a:pt x="56" y="101"/>
                    </a:lnTo>
                    <a:lnTo>
                      <a:pt x="51" y="103"/>
                    </a:lnTo>
                    <a:lnTo>
                      <a:pt x="46" y="104"/>
                    </a:lnTo>
                    <a:lnTo>
                      <a:pt x="42" y="108"/>
                    </a:lnTo>
                    <a:lnTo>
                      <a:pt x="41" y="111"/>
                    </a:lnTo>
                    <a:lnTo>
                      <a:pt x="39" y="113"/>
                    </a:lnTo>
                    <a:lnTo>
                      <a:pt x="38" y="114"/>
                    </a:lnTo>
                    <a:lnTo>
                      <a:pt x="35" y="115"/>
                    </a:lnTo>
                    <a:lnTo>
                      <a:pt x="32" y="115"/>
                    </a:lnTo>
                    <a:lnTo>
                      <a:pt x="29" y="115"/>
                    </a:lnTo>
                    <a:lnTo>
                      <a:pt x="26" y="115"/>
                    </a:lnTo>
                    <a:lnTo>
                      <a:pt x="25" y="110"/>
                    </a:lnTo>
                    <a:lnTo>
                      <a:pt x="25" y="85"/>
                    </a:lnTo>
                    <a:lnTo>
                      <a:pt x="25" y="82"/>
                    </a:lnTo>
                    <a:lnTo>
                      <a:pt x="23" y="80"/>
                    </a:lnTo>
                    <a:lnTo>
                      <a:pt x="22" y="78"/>
                    </a:lnTo>
                    <a:lnTo>
                      <a:pt x="20" y="77"/>
                    </a:lnTo>
                    <a:lnTo>
                      <a:pt x="18" y="75"/>
                    </a:lnTo>
                    <a:lnTo>
                      <a:pt x="15" y="75"/>
                    </a:lnTo>
                    <a:lnTo>
                      <a:pt x="12" y="77"/>
                    </a:lnTo>
                    <a:lnTo>
                      <a:pt x="12" y="74"/>
                    </a:lnTo>
                    <a:lnTo>
                      <a:pt x="12" y="72"/>
                    </a:lnTo>
                    <a:lnTo>
                      <a:pt x="13" y="71"/>
                    </a:lnTo>
                    <a:lnTo>
                      <a:pt x="13" y="69"/>
                    </a:lnTo>
                    <a:lnTo>
                      <a:pt x="15" y="69"/>
                    </a:lnTo>
                    <a:lnTo>
                      <a:pt x="16" y="71"/>
                    </a:lnTo>
                    <a:lnTo>
                      <a:pt x="19" y="71"/>
                    </a:lnTo>
                    <a:lnTo>
                      <a:pt x="20" y="71"/>
                    </a:lnTo>
                    <a:lnTo>
                      <a:pt x="19" y="69"/>
                    </a:lnTo>
                    <a:lnTo>
                      <a:pt x="18" y="68"/>
                    </a:lnTo>
                    <a:lnTo>
                      <a:pt x="18" y="67"/>
                    </a:lnTo>
                    <a:lnTo>
                      <a:pt x="18" y="65"/>
                    </a:lnTo>
                    <a:lnTo>
                      <a:pt x="18" y="64"/>
                    </a:lnTo>
                    <a:lnTo>
                      <a:pt x="18" y="62"/>
                    </a:lnTo>
                    <a:lnTo>
                      <a:pt x="18" y="62"/>
                    </a:lnTo>
                    <a:lnTo>
                      <a:pt x="15" y="61"/>
                    </a:lnTo>
                    <a:lnTo>
                      <a:pt x="10" y="61"/>
                    </a:lnTo>
                    <a:lnTo>
                      <a:pt x="9" y="62"/>
                    </a:lnTo>
                    <a:lnTo>
                      <a:pt x="10" y="65"/>
                    </a:lnTo>
                    <a:lnTo>
                      <a:pt x="6" y="59"/>
                    </a:lnTo>
                    <a:lnTo>
                      <a:pt x="5" y="52"/>
                    </a:lnTo>
                    <a:lnTo>
                      <a:pt x="6" y="45"/>
                    </a:lnTo>
                    <a:lnTo>
                      <a:pt x="9" y="38"/>
                    </a:lnTo>
                    <a:lnTo>
                      <a:pt x="9" y="39"/>
                    </a:lnTo>
                    <a:lnTo>
                      <a:pt x="10" y="41"/>
                    </a:lnTo>
                    <a:lnTo>
                      <a:pt x="12" y="42"/>
                    </a:lnTo>
                    <a:lnTo>
                      <a:pt x="13" y="44"/>
                    </a:lnTo>
                    <a:lnTo>
                      <a:pt x="15" y="44"/>
                    </a:lnTo>
                    <a:lnTo>
                      <a:pt x="19" y="44"/>
                    </a:lnTo>
                    <a:lnTo>
                      <a:pt x="20" y="44"/>
                    </a:lnTo>
                    <a:lnTo>
                      <a:pt x="22" y="44"/>
                    </a:lnTo>
                    <a:lnTo>
                      <a:pt x="22" y="46"/>
                    </a:lnTo>
                    <a:lnTo>
                      <a:pt x="23" y="46"/>
                    </a:lnTo>
                    <a:lnTo>
                      <a:pt x="25" y="46"/>
                    </a:lnTo>
                    <a:lnTo>
                      <a:pt x="26" y="46"/>
                    </a:lnTo>
                    <a:lnTo>
                      <a:pt x="26" y="46"/>
                    </a:lnTo>
                    <a:lnTo>
                      <a:pt x="28" y="45"/>
                    </a:lnTo>
                    <a:lnTo>
                      <a:pt x="33" y="45"/>
                    </a:lnTo>
                    <a:lnTo>
                      <a:pt x="33" y="44"/>
                    </a:lnTo>
                    <a:lnTo>
                      <a:pt x="36" y="42"/>
                    </a:lnTo>
                    <a:lnTo>
                      <a:pt x="39" y="41"/>
                    </a:lnTo>
                    <a:lnTo>
                      <a:pt x="39" y="36"/>
                    </a:lnTo>
                    <a:lnTo>
                      <a:pt x="38" y="35"/>
                    </a:lnTo>
                    <a:lnTo>
                      <a:pt x="32" y="31"/>
                    </a:lnTo>
                    <a:lnTo>
                      <a:pt x="31" y="29"/>
                    </a:lnTo>
                    <a:lnTo>
                      <a:pt x="29" y="28"/>
                    </a:lnTo>
                    <a:lnTo>
                      <a:pt x="28" y="25"/>
                    </a:lnTo>
                    <a:lnTo>
                      <a:pt x="25" y="18"/>
                    </a:lnTo>
                    <a:lnTo>
                      <a:pt x="25" y="16"/>
                    </a:lnTo>
                    <a:lnTo>
                      <a:pt x="23" y="15"/>
                    </a:lnTo>
                    <a:lnTo>
                      <a:pt x="20" y="15"/>
                    </a:lnTo>
                    <a:lnTo>
                      <a:pt x="19" y="15"/>
                    </a:lnTo>
                    <a:lnTo>
                      <a:pt x="16" y="15"/>
                    </a:lnTo>
                    <a:lnTo>
                      <a:pt x="13" y="15"/>
                    </a:lnTo>
                    <a:lnTo>
                      <a:pt x="12" y="16"/>
                    </a:lnTo>
                    <a:lnTo>
                      <a:pt x="8" y="19"/>
                    </a:lnTo>
                    <a:lnTo>
                      <a:pt x="6" y="25"/>
                    </a:lnTo>
                    <a:lnTo>
                      <a:pt x="6" y="29"/>
                    </a:lnTo>
                    <a:lnTo>
                      <a:pt x="6" y="35"/>
                    </a:lnTo>
                    <a:lnTo>
                      <a:pt x="3" y="29"/>
                    </a:lnTo>
                    <a:lnTo>
                      <a:pt x="0" y="22"/>
                    </a:lnTo>
                    <a:lnTo>
                      <a:pt x="5" y="19"/>
                    </a:lnTo>
                    <a:lnTo>
                      <a:pt x="9" y="16"/>
                    </a:lnTo>
                    <a:lnTo>
                      <a:pt x="13" y="13"/>
                    </a:lnTo>
                    <a:lnTo>
                      <a:pt x="18" y="12"/>
                    </a:lnTo>
                    <a:lnTo>
                      <a:pt x="23" y="11"/>
                    </a:lnTo>
                    <a:lnTo>
                      <a:pt x="28" y="11"/>
                    </a:lnTo>
                    <a:lnTo>
                      <a:pt x="31" y="11"/>
                    </a:lnTo>
                    <a:lnTo>
                      <a:pt x="36" y="13"/>
                    </a:lnTo>
                    <a:lnTo>
                      <a:pt x="39" y="16"/>
                    </a:lnTo>
                    <a:lnTo>
                      <a:pt x="42" y="19"/>
                    </a:lnTo>
                    <a:lnTo>
                      <a:pt x="51" y="31"/>
                    </a:lnTo>
                    <a:lnTo>
                      <a:pt x="52" y="32"/>
                    </a:lnTo>
                    <a:lnTo>
                      <a:pt x="54" y="34"/>
                    </a:lnTo>
                    <a:lnTo>
                      <a:pt x="55" y="34"/>
                    </a:lnTo>
                    <a:lnTo>
                      <a:pt x="59" y="32"/>
                    </a:lnTo>
                    <a:lnTo>
                      <a:pt x="62" y="32"/>
                    </a:lnTo>
                    <a:lnTo>
                      <a:pt x="76" y="34"/>
                    </a:lnTo>
                    <a:lnTo>
                      <a:pt x="79" y="34"/>
                    </a:lnTo>
                    <a:lnTo>
                      <a:pt x="79" y="34"/>
                    </a:lnTo>
                    <a:lnTo>
                      <a:pt x="81" y="32"/>
                    </a:lnTo>
                    <a:lnTo>
                      <a:pt x="82" y="32"/>
                    </a:lnTo>
                    <a:lnTo>
                      <a:pt x="81" y="31"/>
                    </a:lnTo>
                    <a:lnTo>
                      <a:pt x="81" y="31"/>
                    </a:lnTo>
                    <a:lnTo>
                      <a:pt x="81" y="31"/>
                    </a:lnTo>
                    <a:lnTo>
                      <a:pt x="81" y="29"/>
                    </a:lnTo>
                    <a:lnTo>
                      <a:pt x="79" y="25"/>
                    </a:lnTo>
                    <a:lnTo>
                      <a:pt x="79" y="23"/>
                    </a:lnTo>
                    <a:lnTo>
                      <a:pt x="79" y="22"/>
                    </a:lnTo>
                    <a:lnTo>
                      <a:pt x="79" y="21"/>
                    </a:lnTo>
                    <a:lnTo>
                      <a:pt x="84" y="16"/>
                    </a:lnTo>
                    <a:lnTo>
                      <a:pt x="85" y="15"/>
                    </a:lnTo>
                    <a:lnTo>
                      <a:pt x="87" y="13"/>
                    </a:lnTo>
                    <a:lnTo>
                      <a:pt x="88" y="13"/>
                    </a:lnTo>
                    <a:lnTo>
                      <a:pt x="92" y="13"/>
                    </a:lnTo>
                    <a:lnTo>
                      <a:pt x="94" y="13"/>
                    </a:lnTo>
                    <a:lnTo>
                      <a:pt x="95" y="12"/>
                    </a:lnTo>
                    <a:lnTo>
                      <a:pt x="97" y="9"/>
                    </a:lnTo>
                    <a:lnTo>
                      <a:pt x="97" y="8"/>
                    </a:lnTo>
                    <a:lnTo>
                      <a:pt x="99" y="6"/>
                    </a:lnTo>
                    <a:lnTo>
                      <a:pt x="101" y="8"/>
                    </a:lnTo>
                    <a:lnTo>
                      <a:pt x="102" y="9"/>
                    </a:lnTo>
                    <a:lnTo>
                      <a:pt x="104" y="11"/>
                    </a:lnTo>
                    <a:lnTo>
                      <a:pt x="105" y="11"/>
                    </a:lnTo>
                    <a:lnTo>
                      <a:pt x="105" y="11"/>
                    </a:lnTo>
                    <a:lnTo>
                      <a:pt x="104" y="8"/>
                    </a:lnTo>
                    <a:lnTo>
                      <a:pt x="101" y="5"/>
                    </a:lnTo>
                    <a:lnTo>
                      <a:pt x="101" y="3"/>
                    </a:lnTo>
                    <a:lnTo>
                      <a:pt x="101" y="2"/>
                    </a:lnTo>
                    <a:lnTo>
                      <a:pt x="107" y="2"/>
                    </a:lnTo>
                    <a:lnTo>
                      <a:pt x="108" y="0"/>
                    </a:lnTo>
                    <a:lnTo>
                      <a:pt x="111" y="3"/>
                    </a:lnTo>
                    <a:lnTo>
                      <a:pt x="112" y="5"/>
                    </a:lnTo>
                    <a:lnTo>
                      <a:pt x="114" y="5"/>
                    </a:lnTo>
                    <a:lnTo>
                      <a:pt x="117" y="5"/>
                    </a:lnTo>
                    <a:lnTo>
                      <a:pt x="118" y="6"/>
                    </a:lnTo>
                    <a:lnTo>
                      <a:pt x="118" y="6"/>
                    </a:lnTo>
                    <a:lnTo>
                      <a:pt x="120" y="9"/>
                    </a:lnTo>
                    <a:lnTo>
                      <a:pt x="121" y="9"/>
                    </a:lnTo>
                    <a:lnTo>
                      <a:pt x="122" y="11"/>
                    </a:lnTo>
                    <a:lnTo>
                      <a:pt x="124" y="11"/>
                    </a:lnTo>
                    <a:lnTo>
                      <a:pt x="127" y="11"/>
                    </a:lnTo>
                    <a:lnTo>
                      <a:pt x="128" y="11"/>
                    </a:lnTo>
                    <a:lnTo>
                      <a:pt x="131" y="12"/>
                    </a:lnTo>
                    <a:lnTo>
                      <a:pt x="131" y="12"/>
                    </a:lnTo>
                    <a:lnTo>
                      <a:pt x="133" y="16"/>
                    </a:lnTo>
                    <a:lnTo>
                      <a:pt x="133" y="16"/>
                    </a:lnTo>
                    <a:lnTo>
                      <a:pt x="131" y="18"/>
                    </a:lnTo>
                    <a:lnTo>
                      <a:pt x="133" y="18"/>
                    </a:lnTo>
                    <a:lnTo>
                      <a:pt x="133" y="19"/>
                    </a:lnTo>
                    <a:lnTo>
                      <a:pt x="134" y="19"/>
                    </a:lnTo>
                    <a:lnTo>
                      <a:pt x="135" y="21"/>
                    </a:lnTo>
                    <a:lnTo>
                      <a:pt x="135" y="21"/>
                    </a:lnTo>
                    <a:lnTo>
                      <a:pt x="135" y="22"/>
                    </a:lnTo>
                    <a:lnTo>
                      <a:pt x="135" y="22"/>
                    </a:lnTo>
                    <a:lnTo>
                      <a:pt x="134" y="22"/>
                    </a:lnTo>
                    <a:lnTo>
                      <a:pt x="134" y="22"/>
                    </a:lnTo>
                    <a:lnTo>
                      <a:pt x="134" y="23"/>
                    </a:lnTo>
                    <a:lnTo>
                      <a:pt x="135" y="25"/>
                    </a:lnTo>
                    <a:lnTo>
                      <a:pt x="135" y="26"/>
                    </a:lnTo>
                    <a:lnTo>
                      <a:pt x="134" y="28"/>
                    </a:lnTo>
                    <a:lnTo>
                      <a:pt x="134" y="29"/>
                    </a:lnTo>
                    <a:lnTo>
                      <a:pt x="135" y="31"/>
                    </a:lnTo>
                    <a:lnTo>
                      <a:pt x="137" y="32"/>
                    </a:lnTo>
                    <a:lnTo>
                      <a:pt x="140" y="34"/>
                    </a:lnTo>
                    <a:lnTo>
                      <a:pt x="143" y="34"/>
                    </a:lnTo>
                    <a:lnTo>
                      <a:pt x="148" y="34"/>
                    </a:lnTo>
                    <a:lnTo>
                      <a:pt x="150" y="34"/>
                    </a:lnTo>
                    <a:lnTo>
                      <a:pt x="153" y="35"/>
                    </a:lnTo>
                    <a:lnTo>
                      <a:pt x="154" y="35"/>
                    </a:lnTo>
                    <a:lnTo>
                      <a:pt x="155" y="35"/>
                    </a:lnTo>
                    <a:lnTo>
                      <a:pt x="157" y="34"/>
                    </a:lnTo>
                    <a:lnTo>
                      <a:pt x="157" y="34"/>
                    </a:lnTo>
                    <a:lnTo>
                      <a:pt x="163" y="35"/>
                    </a:lnTo>
                    <a:lnTo>
                      <a:pt x="166" y="38"/>
                    </a:lnTo>
                    <a:lnTo>
                      <a:pt x="171" y="48"/>
                    </a:lnTo>
                    <a:lnTo>
                      <a:pt x="173" y="52"/>
                    </a:lnTo>
                    <a:lnTo>
                      <a:pt x="174" y="54"/>
                    </a:lnTo>
                    <a:lnTo>
                      <a:pt x="174" y="55"/>
                    </a:lnTo>
                    <a:lnTo>
                      <a:pt x="176" y="58"/>
                    </a:lnTo>
                    <a:lnTo>
                      <a:pt x="176" y="59"/>
                    </a:lnTo>
                    <a:lnTo>
                      <a:pt x="177" y="62"/>
                    </a:lnTo>
                    <a:lnTo>
                      <a:pt x="180" y="64"/>
                    </a:lnTo>
                    <a:lnTo>
                      <a:pt x="194" y="74"/>
                    </a:lnTo>
                    <a:lnTo>
                      <a:pt x="199" y="78"/>
                    </a:lnTo>
                    <a:lnTo>
                      <a:pt x="201" y="81"/>
                    </a:lnTo>
                    <a:lnTo>
                      <a:pt x="204" y="82"/>
                    </a:lnTo>
                    <a:lnTo>
                      <a:pt x="209" y="82"/>
                    </a:lnTo>
                    <a:lnTo>
                      <a:pt x="210" y="84"/>
                    </a:lnTo>
                    <a:lnTo>
                      <a:pt x="211" y="84"/>
                    </a:lnTo>
                    <a:lnTo>
                      <a:pt x="213" y="87"/>
                    </a:lnTo>
                    <a:lnTo>
                      <a:pt x="214" y="87"/>
                    </a:lnTo>
                    <a:lnTo>
                      <a:pt x="229" y="95"/>
                    </a:lnTo>
                    <a:lnTo>
                      <a:pt x="230" y="97"/>
                    </a:lnTo>
                    <a:lnTo>
                      <a:pt x="232" y="97"/>
                    </a:lnTo>
                    <a:lnTo>
                      <a:pt x="237" y="98"/>
                    </a:lnTo>
                    <a:lnTo>
                      <a:pt x="239" y="98"/>
                    </a:lnTo>
                    <a:lnTo>
                      <a:pt x="245" y="101"/>
                    </a:lnTo>
                    <a:lnTo>
                      <a:pt x="247" y="103"/>
                    </a:lnTo>
                    <a:lnTo>
                      <a:pt x="249" y="103"/>
                    </a:lnTo>
                    <a:lnTo>
                      <a:pt x="249" y="104"/>
                    </a:lnTo>
                    <a:lnTo>
                      <a:pt x="249" y="105"/>
                    </a:lnTo>
                    <a:lnTo>
                      <a:pt x="247" y="110"/>
                    </a:lnTo>
                    <a:lnTo>
                      <a:pt x="247" y="111"/>
                    </a:lnTo>
                    <a:lnTo>
                      <a:pt x="247" y="113"/>
                    </a:lnTo>
                    <a:lnTo>
                      <a:pt x="247" y="115"/>
                    </a:lnTo>
                    <a:lnTo>
                      <a:pt x="243" y="115"/>
                    </a:lnTo>
                    <a:lnTo>
                      <a:pt x="236" y="113"/>
                    </a:lnTo>
                    <a:lnTo>
                      <a:pt x="233" y="113"/>
                    </a:lnTo>
                    <a:lnTo>
                      <a:pt x="232" y="114"/>
                    </a:lnTo>
                    <a:lnTo>
                      <a:pt x="230" y="115"/>
                    </a:lnTo>
                    <a:lnTo>
                      <a:pt x="230" y="117"/>
                    </a:lnTo>
                    <a:lnTo>
                      <a:pt x="229" y="118"/>
                    </a:lnTo>
                    <a:lnTo>
                      <a:pt x="227" y="118"/>
                    </a:lnTo>
                    <a:lnTo>
                      <a:pt x="223" y="118"/>
                    </a:lnTo>
                    <a:lnTo>
                      <a:pt x="220" y="118"/>
                    </a:lnTo>
                    <a:lnTo>
                      <a:pt x="217" y="121"/>
                    </a:lnTo>
                    <a:lnTo>
                      <a:pt x="216" y="123"/>
                    </a:lnTo>
                    <a:lnTo>
                      <a:pt x="214" y="130"/>
                    </a:lnTo>
                    <a:lnTo>
                      <a:pt x="213" y="134"/>
                    </a:lnTo>
                    <a:lnTo>
                      <a:pt x="211" y="136"/>
                    </a:lnTo>
                    <a:lnTo>
                      <a:pt x="209" y="138"/>
                    </a:lnTo>
                    <a:lnTo>
                      <a:pt x="204" y="141"/>
                    </a:lnTo>
                    <a:lnTo>
                      <a:pt x="201" y="143"/>
                    </a:lnTo>
                    <a:lnTo>
                      <a:pt x="200" y="143"/>
                    </a:lnTo>
                    <a:lnTo>
                      <a:pt x="191" y="146"/>
                    </a:lnTo>
                    <a:lnTo>
                      <a:pt x="190" y="146"/>
                    </a:lnTo>
                    <a:lnTo>
                      <a:pt x="189" y="147"/>
                    </a:lnTo>
                    <a:lnTo>
                      <a:pt x="189" y="147"/>
                    </a:lnTo>
                    <a:lnTo>
                      <a:pt x="187" y="149"/>
                    </a:lnTo>
                    <a:lnTo>
                      <a:pt x="187" y="149"/>
                    </a:lnTo>
                    <a:lnTo>
                      <a:pt x="187" y="151"/>
                    </a:lnTo>
                    <a:lnTo>
                      <a:pt x="187" y="151"/>
                    </a:lnTo>
                    <a:lnTo>
                      <a:pt x="186" y="153"/>
                    </a:lnTo>
                    <a:lnTo>
                      <a:pt x="186" y="154"/>
                    </a:lnTo>
                    <a:lnTo>
                      <a:pt x="184" y="156"/>
                    </a:lnTo>
                    <a:lnTo>
                      <a:pt x="181" y="157"/>
                    </a:lnTo>
                    <a:lnTo>
                      <a:pt x="180" y="157"/>
                    </a:lnTo>
                    <a:lnTo>
                      <a:pt x="178" y="159"/>
                    </a:lnTo>
                    <a:lnTo>
                      <a:pt x="174" y="160"/>
                    </a:lnTo>
                    <a:lnTo>
                      <a:pt x="173" y="160"/>
                    </a:lnTo>
                    <a:lnTo>
                      <a:pt x="173" y="159"/>
                    </a:lnTo>
                    <a:lnTo>
                      <a:pt x="171" y="157"/>
                    </a:lnTo>
                    <a:lnTo>
                      <a:pt x="170" y="156"/>
                    </a:lnTo>
                    <a:lnTo>
                      <a:pt x="168" y="156"/>
                    </a:lnTo>
                    <a:lnTo>
                      <a:pt x="167" y="154"/>
                    </a:lnTo>
                    <a:lnTo>
                      <a:pt x="167" y="154"/>
                    </a:lnTo>
                    <a:lnTo>
                      <a:pt x="161" y="154"/>
                    </a:lnTo>
                    <a:lnTo>
                      <a:pt x="160" y="154"/>
                    </a:lnTo>
                    <a:lnTo>
                      <a:pt x="158" y="153"/>
                    </a:lnTo>
                    <a:lnTo>
                      <a:pt x="157" y="153"/>
                    </a:lnTo>
                    <a:lnTo>
                      <a:pt x="157" y="151"/>
                    </a:lnTo>
                    <a:lnTo>
                      <a:pt x="155" y="151"/>
                    </a:lnTo>
                    <a:close/>
                    <a:moveTo>
                      <a:pt x="10" y="85"/>
                    </a:moveTo>
                    <a:lnTo>
                      <a:pt x="12" y="87"/>
                    </a:lnTo>
                    <a:lnTo>
                      <a:pt x="12" y="85"/>
                    </a:lnTo>
                    <a:lnTo>
                      <a:pt x="10" y="84"/>
                    </a:lnTo>
                    <a:lnTo>
                      <a:pt x="10" y="81"/>
                    </a:lnTo>
                    <a:lnTo>
                      <a:pt x="10" y="80"/>
                    </a:lnTo>
                    <a:lnTo>
                      <a:pt x="10" y="80"/>
                    </a:lnTo>
                    <a:lnTo>
                      <a:pt x="10" y="80"/>
                    </a:lnTo>
                    <a:lnTo>
                      <a:pt x="10" y="81"/>
                    </a:lnTo>
                    <a:lnTo>
                      <a:pt x="10" y="84"/>
                    </a:lnTo>
                    <a:lnTo>
                      <a:pt x="10" y="8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2" name="Freeform 128">
                <a:extLst>
                  <a:ext uri="{FF2B5EF4-FFF2-40B4-BE49-F238E27FC236}">
                    <a16:creationId xmlns:a16="http://schemas.microsoft.com/office/drawing/2014/main" id="{FCB85840-EC91-3359-9DB4-EAD976EC27FC}"/>
                  </a:ext>
                </a:extLst>
              </p:cNvPr>
              <p:cNvSpPr>
                <a:spLocks/>
              </p:cNvSpPr>
              <p:nvPr/>
            </p:nvSpPr>
            <p:spPr bwMode="auto">
              <a:xfrm>
                <a:off x="6909677" y="3418367"/>
                <a:ext cx="4338" cy="13014"/>
              </a:xfrm>
              <a:custGeom>
                <a:avLst/>
                <a:gdLst>
                  <a:gd name="T0" fmla="*/ 3 w 3"/>
                  <a:gd name="T1" fmla="*/ 0 h 9"/>
                  <a:gd name="T2" fmla="*/ 0 w 3"/>
                  <a:gd name="T3" fmla="*/ 1 h 9"/>
                  <a:gd name="T4" fmla="*/ 0 w 3"/>
                  <a:gd name="T5" fmla="*/ 3 h 9"/>
                  <a:gd name="T6" fmla="*/ 2 w 3"/>
                  <a:gd name="T7" fmla="*/ 6 h 9"/>
                  <a:gd name="T8" fmla="*/ 3 w 3"/>
                  <a:gd name="T9" fmla="*/ 9 h 9"/>
                  <a:gd name="T10" fmla="*/ 3 w 3"/>
                  <a:gd name="T11" fmla="*/ 7 h 9"/>
                  <a:gd name="T12" fmla="*/ 3 w 3"/>
                  <a:gd name="T13" fmla="*/ 6 h 9"/>
                  <a:gd name="T14" fmla="*/ 3 w 3"/>
                  <a:gd name="T15" fmla="*/ 6 h 9"/>
                  <a:gd name="T16" fmla="*/ 3 w 3"/>
                  <a:gd name="T17" fmla="*/ 4 h 9"/>
                  <a:gd name="T18" fmla="*/ 3 w 3"/>
                  <a:gd name="T19" fmla="*/ 3 h 9"/>
                  <a:gd name="T20" fmla="*/ 3 w 3"/>
                  <a:gd name="T21" fmla="*/ 1 h 9"/>
                  <a:gd name="T22" fmla="*/ 3 w 3"/>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3" y="0"/>
                    </a:moveTo>
                    <a:lnTo>
                      <a:pt x="0" y="1"/>
                    </a:lnTo>
                    <a:lnTo>
                      <a:pt x="0" y="3"/>
                    </a:lnTo>
                    <a:lnTo>
                      <a:pt x="2" y="6"/>
                    </a:lnTo>
                    <a:lnTo>
                      <a:pt x="3" y="9"/>
                    </a:lnTo>
                    <a:lnTo>
                      <a:pt x="3" y="7"/>
                    </a:lnTo>
                    <a:lnTo>
                      <a:pt x="3" y="6"/>
                    </a:lnTo>
                    <a:lnTo>
                      <a:pt x="3" y="6"/>
                    </a:lnTo>
                    <a:lnTo>
                      <a:pt x="3" y="4"/>
                    </a:lnTo>
                    <a:lnTo>
                      <a:pt x="3" y="3"/>
                    </a:lnTo>
                    <a:lnTo>
                      <a:pt x="3" y="1"/>
                    </a:lnTo>
                    <a:lnTo>
                      <a:pt x="3"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3" name="Freeform 129">
                <a:extLst>
                  <a:ext uri="{FF2B5EF4-FFF2-40B4-BE49-F238E27FC236}">
                    <a16:creationId xmlns:a16="http://schemas.microsoft.com/office/drawing/2014/main" id="{9E959ABD-8A31-EE08-685E-D3A0824766EE}"/>
                  </a:ext>
                </a:extLst>
              </p:cNvPr>
              <p:cNvSpPr>
                <a:spLocks noEditPoints="1"/>
              </p:cNvSpPr>
              <p:nvPr/>
            </p:nvSpPr>
            <p:spPr bwMode="auto">
              <a:xfrm>
                <a:off x="6811352" y="3308474"/>
                <a:ext cx="49163" cy="43379"/>
              </a:xfrm>
              <a:custGeom>
                <a:avLst/>
                <a:gdLst>
                  <a:gd name="T0" fmla="*/ 21 w 34"/>
                  <a:gd name="T1" fmla="*/ 1 h 30"/>
                  <a:gd name="T2" fmla="*/ 25 w 34"/>
                  <a:gd name="T3" fmla="*/ 3 h 30"/>
                  <a:gd name="T4" fmla="*/ 25 w 34"/>
                  <a:gd name="T5" fmla="*/ 4 h 30"/>
                  <a:gd name="T6" fmla="*/ 27 w 34"/>
                  <a:gd name="T7" fmla="*/ 7 h 30"/>
                  <a:gd name="T8" fmla="*/ 27 w 34"/>
                  <a:gd name="T9" fmla="*/ 8 h 30"/>
                  <a:gd name="T10" fmla="*/ 28 w 34"/>
                  <a:gd name="T11" fmla="*/ 10 h 30"/>
                  <a:gd name="T12" fmla="*/ 25 w 34"/>
                  <a:gd name="T13" fmla="*/ 10 h 30"/>
                  <a:gd name="T14" fmla="*/ 24 w 34"/>
                  <a:gd name="T15" fmla="*/ 11 h 30"/>
                  <a:gd name="T16" fmla="*/ 23 w 34"/>
                  <a:gd name="T17" fmla="*/ 13 h 30"/>
                  <a:gd name="T18" fmla="*/ 21 w 34"/>
                  <a:gd name="T19" fmla="*/ 14 h 30"/>
                  <a:gd name="T20" fmla="*/ 24 w 34"/>
                  <a:gd name="T21" fmla="*/ 14 h 30"/>
                  <a:gd name="T22" fmla="*/ 25 w 34"/>
                  <a:gd name="T23" fmla="*/ 16 h 30"/>
                  <a:gd name="T24" fmla="*/ 27 w 34"/>
                  <a:gd name="T25" fmla="*/ 16 h 30"/>
                  <a:gd name="T26" fmla="*/ 34 w 34"/>
                  <a:gd name="T27" fmla="*/ 30 h 30"/>
                  <a:gd name="T28" fmla="*/ 23 w 34"/>
                  <a:gd name="T29" fmla="*/ 30 h 30"/>
                  <a:gd name="T30" fmla="*/ 20 w 34"/>
                  <a:gd name="T31" fmla="*/ 30 h 30"/>
                  <a:gd name="T32" fmla="*/ 20 w 34"/>
                  <a:gd name="T33" fmla="*/ 29 h 30"/>
                  <a:gd name="T34" fmla="*/ 18 w 34"/>
                  <a:gd name="T35" fmla="*/ 27 h 30"/>
                  <a:gd name="T36" fmla="*/ 17 w 34"/>
                  <a:gd name="T37" fmla="*/ 26 h 30"/>
                  <a:gd name="T38" fmla="*/ 14 w 34"/>
                  <a:gd name="T39" fmla="*/ 21 h 30"/>
                  <a:gd name="T40" fmla="*/ 10 w 34"/>
                  <a:gd name="T41" fmla="*/ 20 h 30"/>
                  <a:gd name="T42" fmla="*/ 0 w 34"/>
                  <a:gd name="T43" fmla="*/ 20 h 30"/>
                  <a:gd name="T44" fmla="*/ 5 w 34"/>
                  <a:gd name="T45" fmla="*/ 13 h 30"/>
                  <a:gd name="T46" fmla="*/ 7 w 34"/>
                  <a:gd name="T47" fmla="*/ 11 h 30"/>
                  <a:gd name="T48" fmla="*/ 8 w 34"/>
                  <a:gd name="T49" fmla="*/ 6 h 30"/>
                  <a:gd name="T50" fmla="*/ 10 w 34"/>
                  <a:gd name="T51" fmla="*/ 3 h 30"/>
                  <a:gd name="T52" fmla="*/ 14 w 34"/>
                  <a:gd name="T53" fmla="*/ 1 h 30"/>
                  <a:gd name="T54" fmla="*/ 17 w 34"/>
                  <a:gd name="T55" fmla="*/ 0 h 30"/>
                  <a:gd name="T56" fmla="*/ 21 w 34"/>
                  <a:gd name="T57" fmla="*/ 1 h 30"/>
                  <a:gd name="T58" fmla="*/ 28 w 34"/>
                  <a:gd name="T59" fmla="*/ 4 h 30"/>
                  <a:gd name="T60" fmla="*/ 27 w 34"/>
                  <a:gd name="T61" fmla="*/ 6 h 30"/>
                  <a:gd name="T62" fmla="*/ 27 w 34"/>
                  <a:gd name="T63" fmla="*/ 7 h 30"/>
                  <a:gd name="T64" fmla="*/ 28 w 34"/>
                  <a:gd name="T65" fmla="*/ 8 h 30"/>
                  <a:gd name="T66" fmla="*/ 30 w 34"/>
                  <a:gd name="T67" fmla="*/ 10 h 30"/>
                  <a:gd name="T68" fmla="*/ 31 w 34"/>
                  <a:gd name="T69" fmla="*/ 10 h 30"/>
                  <a:gd name="T70" fmla="*/ 31 w 34"/>
                  <a:gd name="T71" fmla="*/ 8 h 30"/>
                  <a:gd name="T72" fmla="*/ 31 w 34"/>
                  <a:gd name="T73" fmla="*/ 7 h 30"/>
                  <a:gd name="T74" fmla="*/ 30 w 34"/>
                  <a:gd name="T75" fmla="*/ 4 h 30"/>
                  <a:gd name="T76" fmla="*/ 28 w 34"/>
                  <a:gd name="T77" fmla="*/ 3 h 30"/>
                  <a:gd name="T78" fmla="*/ 28 w 34"/>
                  <a:gd name="T7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 h="30">
                    <a:moveTo>
                      <a:pt x="21" y="1"/>
                    </a:moveTo>
                    <a:lnTo>
                      <a:pt x="25" y="3"/>
                    </a:lnTo>
                    <a:lnTo>
                      <a:pt x="25" y="4"/>
                    </a:lnTo>
                    <a:lnTo>
                      <a:pt x="27" y="7"/>
                    </a:lnTo>
                    <a:lnTo>
                      <a:pt x="27" y="8"/>
                    </a:lnTo>
                    <a:lnTo>
                      <a:pt x="28" y="10"/>
                    </a:lnTo>
                    <a:lnTo>
                      <a:pt x="25" y="10"/>
                    </a:lnTo>
                    <a:lnTo>
                      <a:pt x="24" y="11"/>
                    </a:lnTo>
                    <a:lnTo>
                      <a:pt x="23" y="13"/>
                    </a:lnTo>
                    <a:lnTo>
                      <a:pt x="21" y="14"/>
                    </a:lnTo>
                    <a:lnTo>
                      <a:pt x="24" y="14"/>
                    </a:lnTo>
                    <a:lnTo>
                      <a:pt x="25" y="16"/>
                    </a:lnTo>
                    <a:lnTo>
                      <a:pt x="27" y="16"/>
                    </a:lnTo>
                    <a:lnTo>
                      <a:pt x="34" y="30"/>
                    </a:lnTo>
                    <a:lnTo>
                      <a:pt x="23" y="30"/>
                    </a:lnTo>
                    <a:lnTo>
                      <a:pt x="20" y="30"/>
                    </a:lnTo>
                    <a:lnTo>
                      <a:pt x="20" y="29"/>
                    </a:lnTo>
                    <a:lnTo>
                      <a:pt x="18" y="27"/>
                    </a:lnTo>
                    <a:lnTo>
                      <a:pt x="17" y="26"/>
                    </a:lnTo>
                    <a:lnTo>
                      <a:pt x="14" y="21"/>
                    </a:lnTo>
                    <a:lnTo>
                      <a:pt x="10" y="20"/>
                    </a:lnTo>
                    <a:lnTo>
                      <a:pt x="0" y="20"/>
                    </a:lnTo>
                    <a:lnTo>
                      <a:pt x="5" y="13"/>
                    </a:lnTo>
                    <a:lnTo>
                      <a:pt x="7" y="11"/>
                    </a:lnTo>
                    <a:lnTo>
                      <a:pt x="8" y="6"/>
                    </a:lnTo>
                    <a:lnTo>
                      <a:pt x="10" y="3"/>
                    </a:lnTo>
                    <a:lnTo>
                      <a:pt x="14" y="1"/>
                    </a:lnTo>
                    <a:lnTo>
                      <a:pt x="17" y="0"/>
                    </a:lnTo>
                    <a:lnTo>
                      <a:pt x="21" y="1"/>
                    </a:lnTo>
                    <a:close/>
                    <a:moveTo>
                      <a:pt x="28" y="4"/>
                    </a:moveTo>
                    <a:lnTo>
                      <a:pt x="27" y="6"/>
                    </a:lnTo>
                    <a:lnTo>
                      <a:pt x="27" y="7"/>
                    </a:lnTo>
                    <a:lnTo>
                      <a:pt x="28" y="8"/>
                    </a:lnTo>
                    <a:lnTo>
                      <a:pt x="30" y="10"/>
                    </a:lnTo>
                    <a:lnTo>
                      <a:pt x="31" y="10"/>
                    </a:lnTo>
                    <a:lnTo>
                      <a:pt x="31" y="8"/>
                    </a:lnTo>
                    <a:lnTo>
                      <a:pt x="31" y="7"/>
                    </a:lnTo>
                    <a:lnTo>
                      <a:pt x="30" y="4"/>
                    </a:lnTo>
                    <a:lnTo>
                      <a:pt x="28" y="3"/>
                    </a:lnTo>
                    <a:lnTo>
                      <a:pt x="28" y="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4" name="Freeform 130">
                <a:extLst>
                  <a:ext uri="{FF2B5EF4-FFF2-40B4-BE49-F238E27FC236}">
                    <a16:creationId xmlns:a16="http://schemas.microsoft.com/office/drawing/2014/main" id="{E62F740E-7400-8FD5-AE62-371853CB78ED}"/>
                  </a:ext>
                </a:extLst>
              </p:cNvPr>
              <p:cNvSpPr>
                <a:spLocks noEditPoints="1"/>
              </p:cNvSpPr>
              <p:nvPr/>
            </p:nvSpPr>
            <p:spPr bwMode="auto">
              <a:xfrm>
                <a:off x="6507700" y="3253527"/>
                <a:ext cx="533559" cy="435234"/>
              </a:xfrm>
              <a:custGeom>
                <a:avLst/>
                <a:gdLst>
                  <a:gd name="T0" fmla="*/ 250 w 369"/>
                  <a:gd name="T1" fmla="*/ 82 h 301"/>
                  <a:gd name="T2" fmla="*/ 251 w 369"/>
                  <a:gd name="T3" fmla="*/ 87 h 301"/>
                  <a:gd name="T4" fmla="*/ 263 w 369"/>
                  <a:gd name="T5" fmla="*/ 97 h 301"/>
                  <a:gd name="T6" fmla="*/ 274 w 369"/>
                  <a:gd name="T7" fmla="*/ 111 h 301"/>
                  <a:gd name="T8" fmla="*/ 273 w 369"/>
                  <a:gd name="T9" fmla="*/ 117 h 301"/>
                  <a:gd name="T10" fmla="*/ 273 w 369"/>
                  <a:gd name="T11" fmla="*/ 123 h 301"/>
                  <a:gd name="T12" fmla="*/ 283 w 369"/>
                  <a:gd name="T13" fmla="*/ 138 h 301"/>
                  <a:gd name="T14" fmla="*/ 290 w 369"/>
                  <a:gd name="T15" fmla="*/ 146 h 301"/>
                  <a:gd name="T16" fmla="*/ 294 w 369"/>
                  <a:gd name="T17" fmla="*/ 147 h 301"/>
                  <a:gd name="T18" fmla="*/ 294 w 369"/>
                  <a:gd name="T19" fmla="*/ 151 h 301"/>
                  <a:gd name="T20" fmla="*/ 313 w 369"/>
                  <a:gd name="T21" fmla="*/ 174 h 301"/>
                  <a:gd name="T22" fmla="*/ 359 w 369"/>
                  <a:gd name="T23" fmla="*/ 183 h 301"/>
                  <a:gd name="T24" fmla="*/ 369 w 369"/>
                  <a:gd name="T25" fmla="*/ 197 h 301"/>
                  <a:gd name="T26" fmla="*/ 356 w 369"/>
                  <a:gd name="T27" fmla="*/ 235 h 301"/>
                  <a:gd name="T28" fmla="*/ 241 w 369"/>
                  <a:gd name="T29" fmla="*/ 266 h 301"/>
                  <a:gd name="T30" fmla="*/ 224 w 369"/>
                  <a:gd name="T31" fmla="*/ 288 h 301"/>
                  <a:gd name="T32" fmla="*/ 215 w 369"/>
                  <a:gd name="T33" fmla="*/ 288 h 301"/>
                  <a:gd name="T34" fmla="*/ 202 w 369"/>
                  <a:gd name="T35" fmla="*/ 285 h 301"/>
                  <a:gd name="T36" fmla="*/ 187 w 369"/>
                  <a:gd name="T37" fmla="*/ 282 h 301"/>
                  <a:gd name="T38" fmla="*/ 161 w 369"/>
                  <a:gd name="T39" fmla="*/ 282 h 301"/>
                  <a:gd name="T40" fmla="*/ 154 w 369"/>
                  <a:gd name="T41" fmla="*/ 281 h 301"/>
                  <a:gd name="T42" fmla="*/ 151 w 369"/>
                  <a:gd name="T43" fmla="*/ 284 h 301"/>
                  <a:gd name="T44" fmla="*/ 151 w 369"/>
                  <a:gd name="T45" fmla="*/ 285 h 301"/>
                  <a:gd name="T46" fmla="*/ 149 w 369"/>
                  <a:gd name="T47" fmla="*/ 295 h 301"/>
                  <a:gd name="T48" fmla="*/ 142 w 369"/>
                  <a:gd name="T49" fmla="*/ 294 h 301"/>
                  <a:gd name="T50" fmla="*/ 135 w 369"/>
                  <a:gd name="T51" fmla="*/ 281 h 301"/>
                  <a:gd name="T52" fmla="*/ 123 w 369"/>
                  <a:gd name="T53" fmla="*/ 269 h 301"/>
                  <a:gd name="T54" fmla="*/ 100 w 369"/>
                  <a:gd name="T55" fmla="*/ 232 h 301"/>
                  <a:gd name="T56" fmla="*/ 80 w 369"/>
                  <a:gd name="T57" fmla="*/ 213 h 301"/>
                  <a:gd name="T58" fmla="*/ 80 w 369"/>
                  <a:gd name="T59" fmla="*/ 206 h 301"/>
                  <a:gd name="T60" fmla="*/ 77 w 369"/>
                  <a:gd name="T61" fmla="*/ 197 h 301"/>
                  <a:gd name="T62" fmla="*/ 79 w 369"/>
                  <a:gd name="T63" fmla="*/ 184 h 301"/>
                  <a:gd name="T64" fmla="*/ 75 w 369"/>
                  <a:gd name="T65" fmla="*/ 176 h 301"/>
                  <a:gd name="T66" fmla="*/ 63 w 369"/>
                  <a:gd name="T67" fmla="*/ 157 h 301"/>
                  <a:gd name="T68" fmla="*/ 50 w 369"/>
                  <a:gd name="T69" fmla="*/ 148 h 301"/>
                  <a:gd name="T70" fmla="*/ 46 w 369"/>
                  <a:gd name="T71" fmla="*/ 141 h 301"/>
                  <a:gd name="T72" fmla="*/ 43 w 369"/>
                  <a:gd name="T73" fmla="*/ 130 h 301"/>
                  <a:gd name="T74" fmla="*/ 37 w 369"/>
                  <a:gd name="T75" fmla="*/ 123 h 301"/>
                  <a:gd name="T76" fmla="*/ 10 w 369"/>
                  <a:gd name="T77" fmla="*/ 79 h 301"/>
                  <a:gd name="T78" fmla="*/ 0 w 369"/>
                  <a:gd name="T79" fmla="*/ 75 h 301"/>
                  <a:gd name="T80" fmla="*/ 23 w 369"/>
                  <a:gd name="T81" fmla="*/ 55 h 301"/>
                  <a:gd name="T82" fmla="*/ 36 w 369"/>
                  <a:gd name="T83" fmla="*/ 46 h 301"/>
                  <a:gd name="T84" fmla="*/ 50 w 369"/>
                  <a:gd name="T85" fmla="*/ 41 h 301"/>
                  <a:gd name="T86" fmla="*/ 54 w 369"/>
                  <a:gd name="T87" fmla="*/ 33 h 301"/>
                  <a:gd name="T88" fmla="*/ 72 w 369"/>
                  <a:gd name="T89" fmla="*/ 5 h 301"/>
                  <a:gd name="T90" fmla="*/ 100 w 369"/>
                  <a:gd name="T91" fmla="*/ 3 h 301"/>
                  <a:gd name="T92" fmla="*/ 178 w 369"/>
                  <a:gd name="T93" fmla="*/ 55 h 301"/>
                  <a:gd name="T94" fmla="*/ 205 w 369"/>
                  <a:gd name="T95" fmla="*/ 58 h 301"/>
                  <a:gd name="T96" fmla="*/ 227 w 369"/>
                  <a:gd name="T97" fmla="*/ 64 h 301"/>
                  <a:gd name="T98" fmla="*/ 233 w 369"/>
                  <a:gd name="T99" fmla="*/ 68 h 301"/>
                  <a:gd name="T100" fmla="*/ 129 w 369"/>
                  <a:gd name="T101" fmla="*/ 295 h 301"/>
                  <a:gd name="T102" fmla="*/ 133 w 369"/>
                  <a:gd name="T103" fmla="*/ 295 h 301"/>
                  <a:gd name="T104" fmla="*/ 131 w 369"/>
                  <a:gd name="T105" fmla="*/ 294 h 301"/>
                  <a:gd name="T106" fmla="*/ 129 w 369"/>
                  <a:gd name="T107" fmla="*/ 292 h 301"/>
                  <a:gd name="T108" fmla="*/ 128 w 369"/>
                  <a:gd name="T109" fmla="*/ 291 h 301"/>
                  <a:gd name="T110" fmla="*/ 34 w 369"/>
                  <a:gd name="T111" fmla="*/ 124 h 301"/>
                  <a:gd name="T112" fmla="*/ 34 w 369"/>
                  <a:gd name="T113" fmla="*/ 123 h 301"/>
                  <a:gd name="T114" fmla="*/ 42 w 369"/>
                  <a:gd name="T115" fmla="*/ 130 h 301"/>
                  <a:gd name="T116" fmla="*/ 34 w 369"/>
                  <a:gd name="T117" fmla="*/ 127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9" h="301">
                    <a:moveTo>
                      <a:pt x="233" y="68"/>
                    </a:moveTo>
                    <a:lnTo>
                      <a:pt x="244" y="68"/>
                    </a:lnTo>
                    <a:lnTo>
                      <a:pt x="247" y="75"/>
                    </a:lnTo>
                    <a:lnTo>
                      <a:pt x="250" y="82"/>
                    </a:lnTo>
                    <a:lnTo>
                      <a:pt x="250" y="84"/>
                    </a:lnTo>
                    <a:lnTo>
                      <a:pt x="250" y="84"/>
                    </a:lnTo>
                    <a:lnTo>
                      <a:pt x="250" y="85"/>
                    </a:lnTo>
                    <a:lnTo>
                      <a:pt x="251" y="87"/>
                    </a:lnTo>
                    <a:lnTo>
                      <a:pt x="253" y="87"/>
                    </a:lnTo>
                    <a:lnTo>
                      <a:pt x="257" y="90"/>
                    </a:lnTo>
                    <a:lnTo>
                      <a:pt x="258" y="92"/>
                    </a:lnTo>
                    <a:lnTo>
                      <a:pt x="263" y="97"/>
                    </a:lnTo>
                    <a:lnTo>
                      <a:pt x="273" y="105"/>
                    </a:lnTo>
                    <a:lnTo>
                      <a:pt x="271" y="105"/>
                    </a:lnTo>
                    <a:lnTo>
                      <a:pt x="271" y="107"/>
                    </a:lnTo>
                    <a:lnTo>
                      <a:pt x="274" y="111"/>
                    </a:lnTo>
                    <a:lnTo>
                      <a:pt x="274" y="113"/>
                    </a:lnTo>
                    <a:lnTo>
                      <a:pt x="274" y="114"/>
                    </a:lnTo>
                    <a:lnTo>
                      <a:pt x="273" y="117"/>
                    </a:lnTo>
                    <a:lnTo>
                      <a:pt x="273" y="117"/>
                    </a:lnTo>
                    <a:lnTo>
                      <a:pt x="273" y="117"/>
                    </a:lnTo>
                    <a:lnTo>
                      <a:pt x="271" y="117"/>
                    </a:lnTo>
                    <a:lnTo>
                      <a:pt x="273" y="118"/>
                    </a:lnTo>
                    <a:lnTo>
                      <a:pt x="273" y="123"/>
                    </a:lnTo>
                    <a:lnTo>
                      <a:pt x="274" y="125"/>
                    </a:lnTo>
                    <a:lnTo>
                      <a:pt x="278" y="130"/>
                    </a:lnTo>
                    <a:lnTo>
                      <a:pt x="280" y="133"/>
                    </a:lnTo>
                    <a:lnTo>
                      <a:pt x="283" y="138"/>
                    </a:lnTo>
                    <a:lnTo>
                      <a:pt x="284" y="143"/>
                    </a:lnTo>
                    <a:lnTo>
                      <a:pt x="286" y="144"/>
                    </a:lnTo>
                    <a:lnTo>
                      <a:pt x="289" y="146"/>
                    </a:lnTo>
                    <a:lnTo>
                      <a:pt x="290" y="146"/>
                    </a:lnTo>
                    <a:lnTo>
                      <a:pt x="293" y="146"/>
                    </a:lnTo>
                    <a:lnTo>
                      <a:pt x="294" y="146"/>
                    </a:lnTo>
                    <a:lnTo>
                      <a:pt x="294" y="146"/>
                    </a:lnTo>
                    <a:lnTo>
                      <a:pt x="294" y="147"/>
                    </a:lnTo>
                    <a:lnTo>
                      <a:pt x="296" y="147"/>
                    </a:lnTo>
                    <a:lnTo>
                      <a:pt x="296" y="147"/>
                    </a:lnTo>
                    <a:lnTo>
                      <a:pt x="294" y="150"/>
                    </a:lnTo>
                    <a:lnTo>
                      <a:pt x="294" y="151"/>
                    </a:lnTo>
                    <a:lnTo>
                      <a:pt x="299" y="151"/>
                    </a:lnTo>
                    <a:lnTo>
                      <a:pt x="299" y="156"/>
                    </a:lnTo>
                    <a:lnTo>
                      <a:pt x="301" y="160"/>
                    </a:lnTo>
                    <a:lnTo>
                      <a:pt x="313" y="174"/>
                    </a:lnTo>
                    <a:lnTo>
                      <a:pt x="316" y="177"/>
                    </a:lnTo>
                    <a:lnTo>
                      <a:pt x="320" y="179"/>
                    </a:lnTo>
                    <a:lnTo>
                      <a:pt x="353" y="183"/>
                    </a:lnTo>
                    <a:lnTo>
                      <a:pt x="359" y="183"/>
                    </a:lnTo>
                    <a:lnTo>
                      <a:pt x="362" y="181"/>
                    </a:lnTo>
                    <a:lnTo>
                      <a:pt x="368" y="190"/>
                    </a:lnTo>
                    <a:lnTo>
                      <a:pt x="369" y="193"/>
                    </a:lnTo>
                    <a:lnTo>
                      <a:pt x="369" y="197"/>
                    </a:lnTo>
                    <a:lnTo>
                      <a:pt x="369" y="200"/>
                    </a:lnTo>
                    <a:lnTo>
                      <a:pt x="360" y="230"/>
                    </a:lnTo>
                    <a:lnTo>
                      <a:pt x="359" y="233"/>
                    </a:lnTo>
                    <a:lnTo>
                      <a:pt x="356" y="235"/>
                    </a:lnTo>
                    <a:lnTo>
                      <a:pt x="306" y="252"/>
                    </a:lnTo>
                    <a:lnTo>
                      <a:pt x="260" y="259"/>
                    </a:lnTo>
                    <a:lnTo>
                      <a:pt x="250" y="262"/>
                    </a:lnTo>
                    <a:lnTo>
                      <a:pt x="241" y="266"/>
                    </a:lnTo>
                    <a:lnTo>
                      <a:pt x="233" y="275"/>
                    </a:lnTo>
                    <a:lnTo>
                      <a:pt x="227" y="284"/>
                    </a:lnTo>
                    <a:lnTo>
                      <a:pt x="225" y="286"/>
                    </a:lnTo>
                    <a:lnTo>
                      <a:pt x="224" y="288"/>
                    </a:lnTo>
                    <a:lnTo>
                      <a:pt x="222" y="289"/>
                    </a:lnTo>
                    <a:lnTo>
                      <a:pt x="220" y="289"/>
                    </a:lnTo>
                    <a:lnTo>
                      <a:pt x="217" y="289"/>
                    </a:lnTo>
                    <a:lnTo>
                      <a:pt x="215" y="288"/>
                    </a:lnTo>
                    <a:lnTo>
                      <a:pt x="215" y="285"/>
                    </a:lnTo>
                    <a:lnTo>
                      <a:pt x="212" y="284"/>
                    </a:lnTo>
                    <a:lnTo>
                      <a:pt x="211" y="284"/>
                    </a:lnTo>
                    <a:lnTo>
                      <a:pt x="202" y="285"/>
                    </a:lnTo>
                    <a:lnTo>
                      <a:pt x="194" y="284"/>
                    </a:lnTo>
                    <a:lnTo>
                      <a:pt x="192" y="284"/>
                    </a:lnTo>
                    <a:lnTo>
                      <a:pt x="189" y="282"/>
                    </a:lnTo>
                    <a:lnTo>
                      <a:pt x="187" y="282"/>
                    </a:lnTo>
                    <a:lnTo>
                      <a:pt x="185" y="281"/>
                    </a:lnTo>
                    <a:lnTo>
                      <a:pt x="182" y="281"/>
                    </a:lnTo>
                    <a:lnTo>
                      <a:pt x="164" y="282"/>
                    </a:lnTo>
                    <a:lnTo>
                      <a:pt x="161" y="282"/>
                    </a:lnTo>
                    <a:lnTo>
                      <a:pt x="158" y="281"/>
                    </a:lnTo>
                    <a:lnTo>
                      <a:pt x="156" y="281"/>
                    </a:lnTo>
                    <a:lnTo>
                      <a:pt x="155" y="279"/>
                    </a:lnTo>
                    <a:lnTo>
                      <a:pt x="154" y="281"/>
                    </a:lnTo>
                    <a:lnTo>
                      <a:pt x="152" y="281"/>
                    </a:lnTo>
                    <a:lnTo>
                      <a:pt x="152" y="282"/>
                    </a:lnTo>
                    <a:lnTo>
                      <a:pt x="151" y="282"/>
                    </a:lnTo>
                    <a:lnTo>
                      <a:pt x="151" y="284"/>
                    </a:lnTo>
                    <a:lnTo>
                      <a:pt x="151" y="284"/>
                    </a:lnTo>
                    <a:lnTo>
                      <a:pt x="151" y="284"/>
                    </a:lnTo>
                    <a:lnTo>
                      <a:pt x="151" y="285"/>
                    </a:lnTo>
                    <a:lnTo>
                      <a:pt x="151" y="285"/>
                    </a:lnTo>
                    <a:lnTo>
                      <a:pt x="151" y="288"/>
                    </a:lnTo>
                    <a:lnTo>
                      <a:pt x="151" y="292"/>
                    </a:lnTo>
                    <a:lnTo>
                      <a:pt x="151" y="294"/>
                    </a:lnTo>
                    <a:lnTo>
                      <a:pt x="149" y="295"/>
                    </a:lnTo>
                    <a:lnTo>
                      <a:pt x="148" y="298"/>
                    </a:lnTo>
                    <a:lnTo>
                      <a:pt x="143" y="301"/>
                    </a:lnTo>
                    <a:lnTo>
                      <a:pt x="143" y="296"/>
                    </a:lnTo>
                    <a:lnTo>
                      <a:pt x="142" y="294"/>
                    </a:lnTo>
                    <a:lnTo>
                      <a:pt x="138" y="288"/>
                    </a:lnTo>
                    <a:lnTo>
                      <a:pt x="136" y="286"/>
                    </a:lnTo>
                    <a:lnTo>
                      <a:pt x="136" y="282"/>
                    </a:lnTo>
                    <a:lnTo>
                      <a:pt x="135" y="281"/>
                    </a:lnTo>
                    <a:lnTo>
                      <a:pt x="133" y="279"/>
                    </a:lnTo>
                    <a:lnTo>
                      <a:pt x="132" y="278"/>
                    </a:lnTo>
                    <a:lnTo>
                      <a:pt x="128" y="275"/>
                    </a:lnTo>
                    <a:lnTo>
                      <a:pt x="123" y="269"/>
                    </a:lnTo>
                    <a:lnTo>
                      <a:pt x="119" y="263"/>
                    </a:lnTo>
                    <a:lnTo>
                      <a:pt x="110" y="242"/>
                    </a:lnTo>
                    <a:lnTo>
                      <a:pt x="106" y="236"/>
                    </a:lnTo>
                    <a:lnTo>
                      <a:pt x="100" y="232"/>
                    </a:lnTo>
                    <a:lnTo>
                      <a:pt x="92" y="226"/>
                    </a:lnTo>
                    <a:lnTo>
                      <a:pt x="89" y="223"/>
                    </a:lnTo>
                    <a:lnTo>
                      <a:pt x="82" y="215"/>
                    </a:lnTo>
                    <a:lnTo>
                      <a:pt x="80" y="213"/>
                    </a:lnTo>
                    <a:lnTo>
                      <a:pt x="80" y="210"/>
                    </a:lnTo>
                    <a:lnTo>
                      <a:pt x="80" y="209"/>
                    </a:lnTo>
                    <a:lnTo>
                      <a:pt x="80" y="207"/>
                    </a:lnTo>
                    <a:lnTo>
                      <a:pt x="80" y="206"/>
                    </a:lnTo>
                    <a:lnTo>
                      <a:pt x="80" y="204"/>
                    </a:lnTo>
                    <a:lnTo>
                      <a:pt x="79" y="203"/>
                    </a:lnTo>
                    <a:lnTo>
                      <a:pt x="77" y="200"/>
                    </a:lnTo>
                    <a:lnTo>
                      <a:pt x="77" y="197"/>
                    </a:lnTo>
                    <a:lnTo>
                      <a:pt x="77" y="196"/>
                    </a:lnTo>
                    <a:lnTo>
                      <a:pt x="79" y="190"/>
                    </a:lnTo>
                    <a:lnTo>
                      <a:pt x="79" y="187"/>
                    </a:lnTo>
                    <a:lnTo>
                      <a:pt x="79" y="184"/>
                    </a:lnTo>
                    <a:lnTo>
                      <a:pt x="77" y="181"/>
                    </a:lnTo>
                    <a:lnTo>
                      <a:pt x="75" y="179"/>
                    </a:lnTo>
                    <a:lnTo>
                      <a:pt x="76" y="179"/>
                    </a:lnTo>
                    <a:lnTo>
                      <a:pt x="75" y="176"/>
                    </a:lnTo>
                    <a:lnTo>
                      <a:pt x="69" y="166"/>
                    </a:lnTo>
                    <a:lnTo>
                      <a:pt x="67" y="163"/>
                    </a:lnTo>
                    <a:lnTo>
                      <a:pt x="66" y="160"/>
                    </a:lnTo>
                    <a:lnTo>
                      <a:pt x="63" y="157"/>
                    </a:lnTo>
                    <a:lnTo>
                      <a:pt x="60" y="156"/>
                    </a:lnTo>
                    <a:lnTo>
                      <a:pt x="53" y="151"/>
                    </a:lnTo>
                    <a:lnTo>
                      <a:pt x="50" y="150"/>
                    </a:lnTo>
                    <a:lnTo>
                      <a:pt x="50" y="148"/>
                    </a:lnTo>
                    <a:lnTo>
                      <a:pt x="47" y="146"/>
                    </a:lnTo>
                    <a:lnTo>
                      <a:pt x="46" y="143"/>
                    </a:lnTo>
                    <a:lnTo>
                      <a:pt x="46" y="141"/>
                    </a:lnTo>
                    <a:lnTo>
                      <a:pt x="46" y="141"/>
                    </a:lnTo>
                    <a:lnTo>
                      <a:pt x="47" y="140"/>
                    </a:lnTo>
                    <a:lnTo>
                      <a:pt x="46" y="136"/>
                    </a:lnTo>
                    <a:lnTo>
                      <a:pt x="44" y="133"/>
                    </a:lnTo>
                    <a:lnTo>
                      <a:pt x="43" y="130"/>
                    </a:lnTo>
                    <a:lnTo>
                      <a:pt x="42" y="127"/>
                    </a:lnTo>
                    <a:lnTo>
                      <a:pt x="40" y="125"/>
                    </a:lnTo>
                    <a:lnTo>
                      <a:pt x="39" y="124"/>
                    </a:lnTo>
                    <a:lnTo>
                      <a:pt x="37" y="123"/>
                    </a:lnTo>
                    <a:lnTo>
                      <a:pt x="37" y="121"/>
                    </a:lnTo>
                    <a:lnTo>
                      <a:pt x="36" y="118"/>
                    </a:lnTo>
                    <a:lnTo>
                      <a:pt x="13" y="82"/>
                    </a:lnTo>
                    <a:lnTo>
                      <a:pt x="10" y="79"/>
                    </a:lnTo>
                    <a:lnTo>
                      <a:pt x="7" y="77"/>
                    </a:lnTo>
                    <a:lnTo>
                      <a:pt x="4" y="77"/>
                    </a:lnTo>
                    <a:lnTo>
                      <a:pt x="0" y="78"/>
                    </a:lnTo>
                    <a:lnTo>
                      <a:pt x="0" y="75"/>
                    </a:lnTo>
                    <a:lnTo>
                      <a:pt x="3" y="65"/>
                    </a:lnTo>
                    <a:lnTo>
                      <a:pt x="6" y="52"/>
                    </a:lnTo>
                    <a:lnTo>
                      <a:pt x="19" y="55"/>
                    </a:lnTo>
                    <a:lnTo>
                      <a:pt x="23" y="55"/>
                    </a:lnTo>
                    <a:lnTo>
                      <a:pt x="26" y="55"/>
                    </a:lnTo>
                    <a:lnTo>
                      <a:pt x="30" y="52"/>
                    </a:lnTo>
                    <a:lnTo>
                      <a:pt x="33" y="49"/>
                    </a:lnTo>
                    <a:lnTo>
                      <a:pt x="36" y="46"/>
                    </a:lnTo>
                    <a:lnTo>
                      <a:pt x="39" y="44"/>
                    </a:lnTo>
                    <a:lnTo>
                      <a:pt x="42" y="42"/>
                    </a:lnTo>
                    <a:lnTo>
                      <a:pt x="46" y="42"/>
                    </a:lnTo>
                    <a:lnTo>
                      <a:pt x="50" y="41"/>
                    </a:lnTo>
                    <a:lnTo>
                      <a:pt x="52" y="39"/>
                    </a:lnTo>
                    <a:lnTo>
                      <a:pt x="52" y="36"/>
                    </a:lnTo>
                    <a:lnTo>
                      <a:pt x="53" y="35"/>
                    </a:lnTo>
                    <a:lnTo>
                      <a:pt x="54" y="33"/>
                    </a:lnTo>
                    <a:lnTo>
                      <a:pt x="56" y="32"/>
                    </a:lnTo>
                    <a:lnTo>
                      <a:pt x="59" y="31"/>
                    </a:lnTo>
                    <a:lnTo>
                      <a:pt x="42" y="12"/>
                    </a:lnTo>
                    <a:lnTo>
                      <a:pt x="72" y="5"/>
                    </a:lnTo>
                    <a:lnTo>
                      <a:pt x="76" y="2"/>
                    </a:lnTo>
                    <a:lnTo>
                      <a:pt x="80" y="0"/>
                    </a:lnTo>
                    <a:lnTo>
                      <a:pt x="95" y="2"/>
                    </a:lnTo>
                    <a:lnTo>
                      <a:pt x="100" y="3"/>
                    </a:lnTo>
                    <a:lnTo>
                      <a:pt x="108" y="6"/>
                    </a:lnTo>
                    <a:lnTo>
                      <a:pt x="132" y="21"/>
                    </a:lnTo>
                    <a:lnTo>
                      <a:pt x="175" y="54"/>
                    </a:lnTo>
                    <a:lnTo>
                      <a:pt x="178" y="55"/>
                    </a:lnTo>
                    <a:lnTo>
                      <a:pt x="181" y="56"/>
                    </a:lnTo>
                    <a:lnTo>
                      <a:pt x="192" y="56"/>
                    </a:lnTo>
                    <a:lnTo>
                      <a:pt x="201" y="58"/>
                    </a:lnTo>
                    <a:lnTo>
                      <a:pt x="205" y="58"/>
                    </a:lnTo>
                    <a:lnTo>
                      <a:pt x="210" y="58"/>
                    </a:lnTo>
                    <a:lnTo>
                      <a:pt x="220" y="58"/>
                    </a:lnTo>
                    <a:lnTo>
                      <a:pt x="224" y="59"/>
                    </a:lnTo>
                    <a:lnTo>
                      <a:pt x="227" y="64"/>
                    </a:lnTo>
                    <a:lnTo>
                      <a:pt x="228" y="65"/>
                    </a:lnTo>
                    <a:lnTo>
                      <a:pt x="230" y="67"/>
                    </a:lnTo>
                    <a:lnTo>
                      <a:pt x="230" y="68"/>
                    </a:lnTo>
                    <a:lnTo>
                      <a:pt x="233" y="68"/>
                    </a:lnTo>
                    <a:close/>
                    <a:moveTo>
                      <a:pt x="128" y="291"/>
                    </a:moveTo>
                    <a:lnTo>
                      <a:pt x="126" y="292"/>
                    </a:lnTo>
                    <a:lnTo>
                      <a:pt x="128" y="294"/>
                    </a:lnTo>
                    <a:lnTo>
                      <a:pt x="129" y="295"/>
                    </a:lnTo>
                    <a:lnTo>
                      <a:pt x="132" y="295"/>
                    </a:lnTo>
                    <a:lnTo>
                      <a:pt x="133" y="296"/>
                    </a:lnTo>
                    <a:lnTo>
                      <a:pt x="133" y="295"/>
                    </a:lnTo>
                    <a:lnTo>
                      <a:pt x="133" y="295"/>
                    </a:lnTo>
                    <a:lnTo>
                      <a:pt x="132" y="294"/>
                    </a:lnTo>
                    <a:lnTo>
                      <a:pt x="131" y="292"/>
                    </a:lnTo>
                    <a:lnTo>
                      <a:pt x="131" y="294"/>
                    </a:lnTo>
                    <a:lnTo>
                      <a:pt x="131" y="294"/>
                    </a:lnTo>
                    <a:lnTo>
                      <a:pt x="131" y="294"/>
                    </a:lnTo>
                    <a:lnTo>
                      <a:pt x="131" y="294"/>
                    </a:lnTo>
                    <a:lnTo>
                      <a:pt x="129" y="294"/>
                    </a:lnTo>
                    <a:lnTo>
                      <a:pt x="129" y="292"/>
                    </a:lnTo>
                    <a:lnTo>
                      <a:pt x="129" y="291"/>
                    </a:lnTo>
                    <a:lnTo>
                      <a:pt x="128" y="289"/>
                    </a:lnTo>
                    <a:lnTo>
                      <a:pt x="128" y="289"/>
                    </a:lnTo>
                    <a:lnTo>
                      <a:pt x="128" y="291"/>
                    </a:lnTo>
                    <a:lnTo>
                      <a:pt x="128" y="291"/>
                    </a:lnTo>
                    <a:close/>
                    <a:moveTo>
                      <a:pt x="34" y="123"/>
                    </a:moveTo>
                    <a:lnTo>
                      <a:pt x="34" y="123"/>
                    </a:lnTo>
                    <a:lnTo>
                      <a:pt x="34" y="124"/>
                    </a:lnTo>
                    <a:lnTo>
                      <a:pt x="34" y="124"/>
                    </a:lnTo>
                    <a:lnTo>
                      <a:pt x="34" y="123"/>
                    </a:lnTo>
                    <a:lnTo>
                      <a:pt x="34" y="121"/>
                    </a:lnTo>
                    <a:lnTo>
                      <a:pt x="34" y="123"/>
                    </a:lnTo>
                    <a:close/>
                    <a:moveTo>
                      <a:pt x="34" y="127"/>
                    </a:moveTo>
                    <a:lnTo>
                      <a:pt x="37" y="128"/>
                    </a:lnTo>
                    <a:lnTo>
                      <a:pt x="40" y="130"/>
                    </a:lnTo>
                    <a:lnTo>
                      <a:pt x="42" y="130"/>
                    </a:lnTo>
                    <a:lnTo>
                      <a:pt x="37" y="127"/>
                    </a:lnTo>
                    <a:lnTo>
                      <a:pt x="36" y="125"/>
                    </a:lnTo>
                    <a:lnTo>
                      <a:pt x="34" y="124"/>
                    </a:lnTo>
                    <a:lnTo>
                      <a:pt x="34" y="12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5" name="Freeform 131">
                <a:extLst>
                  <a:ext uri="{FF2B5EF4-FFF2-40B4-BE49-F238E27FC236}">
                    <a16:creationId xmlns:a16="http://schemas.microsoft.com/office/drawing/2014/main" id="{B7C13DCD-BA17-C5D4-F54C-E1E69A8377F8}"/>
                  </a:ext>
                </a:extLst>
              </p:cNvPr>
              <p:cNvSpPr>
                <a:spLocks noEditPoints="1"/>
              </p:cNvSpPr>
              <p:nvPr/>
            </p:nvSpPr>
            <p:spPr bwMode="auto">
              <a:xfrm>
                <a:off x="6940042" y="3422705"/>
                <a:ext cx="121461" cy="95433"/>
              </a:xfrm>
              <a:custGeom>
                <a:avLst/>
                <a:gdLst>
                  <a:gd name="T0" fmla="*/ 14 w 84"/>
                  <a:gd name="T1" fmla="*/ 57 h 66"/>
                  <a:gd name="T2" fmla="*/ 21 w 84"/>
                  <a:gd name="T3" fmla="*/ 62 h 66"/>
                  <a:gd name="T4" fmla="*/ 60 w 84"/>
                  <a:gd name="T5" fmla="*/ 66 h 66"/>
                  <a:gd name="T6" fmla="*/ 63 w 84"/>
                  <a:gd name="T7" fmla="*/ 62 h 66"/>
                  <a:gd name="T8" fmla="*/ 64 w 84"/>
                  <a:gd name="T9" fmla="*/ 54 h 66"/>
                  <a:gd name="T10" fmla="*/ 69 w 84"/>
                  <a:gd name="T11" fmla="*/ 46 h 66"/>
                  <a:gd name="T12" fmla="*/ 69 w 84"/>
                  <a:gd name="T13" fmla="*/ 41 h 66"/>
                  <a:gd name="T14" fmla="*/ 74 w 84"/>
                  <a:gd name="T15" fmla="*/ 40 h 66"/>
                  <a:gd name="T16" fmla="*/ 77 w 84"/>
                  <a:gd name="T17" fmla="*/ 39 h 66"/>
                  <a:gd name="T18" fmla="*/ 76 w 84"/>
                  <a:gd name="T19" fmla="*/ 37 h 66"/>
                  <a:gd name="T20" fmla="*/ 74 w 84"/>
                  <a:gd name="T21" fmla="*/ 36 h 66"/>
                  <a:gd name="T22" fmla="*/ 73 w 84"/>
                  <a:gd name="T23" fmla="*/ 33 h 66"/>
                  <a:gd name="T24" fmla="*/ 74 w 84"/>
                  <a:gd name="T25" fmla="*/ 23 h 66"/>
                  <a:gd name="T26" fmla="*/ 76 w 84"/>
                  <a:gd name="T27" fmla="*/ 21 h 66"/>
                  <a:gd name="T28" fmla="*/ 77 w 84"/>
                  <a:gd name="T29" fmla="*/ 23 h 66"/>
                  <a:gd name="T30" fmla="*/ 77 w 84"/>
                  <a:gd name="T31" fmla="*/ 24 h 66"/>
                  <a:gd name="T32" fmla="*/ 79 w 84"/>
                  <a:gd name="T33" fmla="*/ 26 h 66"/>
                  <a:gd name="T34" fmla="*/ 81 w 84"/>
                  <a:gd name="T35" fmla="*/ 24 h 66"/>
                  <a:gd name="T36" fmla="*/ 84 w 84"/>
                  <a:gd name="T37" fmla="*/ 21 h 66"/>
                  <a:gd name="T38" fmla="*/ 84 w 84"/>
                  <a:gd name="T39" fmla="*/ 14 h 66"/>
                  <a:gd name="T40" fmla="*/ 83 w 84"/>
                  <a:gd name="T41" fmla="*/ 8 h 66"/>
                  <a:gd name="T42" fmla="*/ 80 w 84"/>
                  <a:gd name="T43" fmla="*/ 6 h 66"/>
                  <a:gd name="T44" fmla="*/ 79 w 84"/>
                  <a:gd name="T45" fmla="*/ 0 h 66"/>
                  <a:gd name="T46" fmla="*/ 74 w 84"/>
                  <a:gd name="T47" fmla="*/ 6 h 66"/>
                  <a:gd name="T48" fmla="*/ 67 w 84"/>
                  <a:gd name="T49" fmla="*/ 13 h 66"/>
                  <a:gd name="T50" fmla="*/ 61 w 84"/>
                  <a:gd name="T51" fmla="*/ 20 h 66"/>
                  <a:gd name="T52" fmla="*/ 54 w 84"/>
                  <a:gd name="T53" fmla="*/ 26 h 66"/>
                  <a:gd name="T54" fmla="*/ 50 w 84"/>
                  <a:gd name="T55" fmla="*/ 34 h 66"/>
                  <a:gd name="T56" fmla="*/ 44 w 84"/>
                  <a:gd name="T57" fmla="*/ 37 h 66"/>
                  <a:gd name="T58" fmla="*/ 23 w 84"/>
                  <a:gd name="T59" fmla="*/ 37 h 66"/>
                  <a:gd name="T60" fmla="*/ 10 w 84"/>
                  <a:gd name="T61" fmla="*/ 40 h 66"/>
                  <a:gd name="T62" fmla="*/ 4 w 84"/>
                  <a:gd name="T63" fmla="*/ 40 h 66"/>
                  <a:gd name="T64" fmla="*/ 2 w 84"/>
                  <a:gd name="T65" fmla="*/ 36 h 66"/>
                  <a:gd name="T66" fmla="*/ 2 w 84"/>
                  <a:gd name="T67" fmla="*/ 36 h 66"/>
                  <a:gd name="T68" fmla="*/ 1 w 84"/>
                  <a:gd name="T69" fmla="*/ 34 h 66"/>
                  <a:gd name="T70" fmla="*/ 0 w 84"/>
                  <a:gd name="T71" fmla="*/ 34 h 66"/>
                  <a:gd name="T72" fmla="*/ 2 w 84"/>
                  <a:gd name="T73" fmla="*/ 43 h 66"/>
                  <a:gd name="T74" fmla="*/ 81 w 84"/>
                  <a:gd name="T75" fmla="*/ 16 h 66"/>
                  <a:gd name="T76" fmla="*/ 81 w 84"/>
                  <a:gd name="T77" fmla="*/ 17 h 66"/>
                  <a:gd name="T78" fmla="*/ 48 w 84"/>
                  <a:gd name="T79" fmla="*/ 30 h 66"/>
                  <a:gd name="T80" fmla="*/ 50 w 84"/>
                  <a:gd name="T81" fmla="*/ 31 h 66"/>
                  <a:gd name="T82" fmla="*/ 48 w 84"/>
                  <a:gd name="T83" fmla="*/ 31 h 66"/>
                  <a:gd name="T84" fmla="*/ 48 w 84"/>
                  <a:gd name="T85" fmla="*/ 31 h 66"/>
                  <a:gd name="T86" fmla="*/ 30 w 84"/>
                  <a:gd name="T87" fmla="*/ 33 h 66"/>
                  <a:gd name="T88" fmla="*/ 33 w 84"/>
                  <a:gd name="T89" fmla="*/ 33 h 66"/>
                  <a:gd name="T90" fmla="*/ 30 w 84"/>
                  <a:gd name="T91" fmla="*/ 36 h 66"/>
                  <a:gd name="T92" fmla="*/ 28 w 84"/>
                  <a:gd name="T93" fmla="*/ 34 h 66"/>
                  <a:gd name="T94" fmla="*/ 30 w 84"/>
                  <a:gd name="T95" fmla="*/ 33 h 66"/>
                  <a:gd name="T96" fmla="*/ 18 w 84"/>
                  <a:gd name="T97" fmla="*/ 34 h 66"/>
                  <a:gd name="T98" fmla="*/ 18 w 84"/>
                  <a:gd name="T99" fmla="*/ 34 h 66"/>
                  <a:gd name="T100" fmla="*/ 17 w 84"/>
                  <a:gd name="T101" fmla="*/ 34 h 66"/>
                  <a:gd name="T102" fmla="*/ 38 w 84"/>
                  <a:gd name="T103" fmla="*/ 36 h 66"/>
                  <a:gd name="T104" fmla="*/ 41 w 84"/>
                  <a:gd name="T105" fmla="*/ 37 h 66"/>
                  <a:gd name="T106" fmla="*/ 37 w 84"/>
                  <a:gd name="T107" fmla="*/ 37 h 66"/>
                  <a:gd name="T108" fmla="*/ 37 w 84"/>
                  <a:gd name="T109" fmla="*/ 3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 h="66">
                    <a:moveTo>
                      <a:pt x="2" y="43"/>
                    </a:moveTo>
                    <a:lnTo>
                      <a:pt x="14" y="57"/>
                    </a:lnTo>
                    <a:lnTo>
                      <a:pt x="17" y="60"/>
                    </a:lnTo>
                    <a:lnTo>
                      <a:pt x="21" y="62"/>
                    </a:lnTo>
                    <a:lnTo>
                      <a:pt x="54" y="66"/>
                    </a:lnTo>
                    <a:lnTo>
                      <a:pt x="60" y="66"/>
                    </a:lnTo>
                    <a:lnTo>
                      <a:pt x="63" y="64"/>
                    </a:lnTo>
                    <a:lnTo>
                      <a:pt x="63" y="62"/>
                    </a:lnTo>
                    <a:lnTo>
                      <a:pt x="64" y="59"/>
                    </a:lnTo>
                    <a:lnTo>
                      <a:pt x="64" y="54"/>
                    </a:lnTo>
                    <a:lnTo>
                      <a:pt x="66" y="52"/>
                    </a:lnTo>
                    <a:lnTo>
                      <a:pt x="69" y="46"/>
                    </a:lnTo>
                    <a:lnTo>
                      <a:pt x="69" y="44"/>
                    </a:lnTo>
                    <a:lnTo>
                      <a:pt x="69" y="41"/>
                    </a:lnTo>
                    <a:lnTo>
                      <a:pt x="70" y="40"/>
                    </a:lnTo>
                    <a:lnTo>
                      <a:pt x="74" y="40"/>
                    </a:lnTo>
                    <a:lnTo>
                      <a:pt x="76" y="40"/>
                    </a:lnTo>
                    <a:lnTo>
                      <a:pt x="77" y="39"/>
                    </a:lnTo>
                    <a:lnTo>
                      <a:pt x="76" y="37"/>
                    </a:lnTo>
                    <a:lnTo>
                      <a:pt x="76" y="37"/>
                    </a:lnTo>
                    <a:lnTo>
                      <a:pt x="74" y="36"/>
                    </a:lnTo>
                    <a:lnTo>
                      <a:pt x="74" y="36"/>
                    </a:lnTo>
                    <a:lnTo>
                      <a:pt x="74" y="34"/>
                    </a:lnTo>
                    <a:lnTo>
                      <a:pt x="73" y="33"/>
                    </a:lnTo>
                    <a:lnTo>
                      <a:pt x="73" y="27"/>
                    </a:lnTo>
                    <a:lnTo>
                      <a:pt x="74" y="23"/>
                    </a:lnTo>
                    <a:lnTo>
                      <a:pt x="74" y="23"/>
                    </a:lnTo>
                    <a:lnTo>
                      <a:pt x="76" y="21"/>
                    </a:lnTo>
                    <a:lnTo>
                      <a:pt x="77" y="21"/>
                    </a:lnTo>
                    <a:lnTo>
                      <a:pt x="77" y="23"/>
                    </a:lnTo>
                    <a:lnTo>
                      <a:pt x="77" y="23"/>
                    </a:lnTo>
                    <a:lnTo>
                      <a:pt x="77" y="24"/>
                    </a:lnTo>
                    <a:lnTo>
                      <a:pt x="79" y="26"/>
                    </a:lnTo>
                    <a:lnTo>
                      <a:pt x="79" y="26"/>
                    </a:lnTo>
                    <a:lnTo>
                      <a:pt x="80" y="24"/>
                    </a:lnTo>
                    <a:lnTo>
                      <a:pt x="81" y="24"/>
                    </a:lnTo>
                    <a:lnTo>
                      <a:pt x="83" y="23"/>
                    </a:lnTo>
                    <a:lnTo>
                      <a:pt x="84" y="21"/>
                    </a:lnTo>
                    <a:lnTo>
                      <a:pt x="84" y="19"/>
                    </a:lnTo>
                    <a:lnTo>
                      <a:pt x="84" y="14"/>
                    </a:lnTo>
                    <a:lnTo>
                      <a:pt x="84" y="11"/>
                    </a:lnTo>
                    <a:lnTo>
                      <a:pt x="83" y="8"/>
                    </a:lnTo>
                    <a:lnTo>
                      <a:pt x="80" y="8"/>
                    </a:lnTo>
                    <a:lnTo>
                      <a:pt x="80" y="6"/>
                    </a:lnTo>
                    <a:lnTo>
                      <a:pt x="80" y="1"/>
                    </a:lnTo>
                    <a:lnTo>
                      <a:pt x="79" y="0"/>
                    </a:lnTo>
                    <a:lnTo>
                      <a:pt x="77" y="4"/>
                    </a:lnTo>
                    <a:lnTo>
                      <a:pt x="74" y="6"/>
                    </a:lnTo>
                    <a:lnTo>
                      <a:pt x="70" y="11"/>
                    </a:lnTo>
                    <a:lnTo>
                      <a:pt x="67" y="13"/>
                    </a:lnTo>
                    <a:lnTo>
                      <a:pt x="64" y="17"/>
                    </a:lnTo>
                    <a:lnTo>
                      <a:pt x="61" y="20"/>
                    </a:lnTo>
                    <a:lnTo>
                      <a:pt x="57" y="24"/>
                    </a:lnTo>
                    <a:lnTo>
                      <a:pt x="54" y="26"/>
                    </a:lnTo>
                    <a:lnTo>
                      <a:pt x="51" y="31"/>
                    </a:lnTo>
                    <a:lnTo>
                      <a:pt x="50" y="34"/>
                    </a:lnTo>
                    <a:lnTo>
                      <a:pt x="47" y="36"/>
                    </a:lnTo>
                    <a:lnTo>
                      <a:pt x="44" y="37"/>
                    </a:lnTo>
                    <a:lnTo>
                      <a:pt x="37" y="39"/>
                    </a:lnTo>
                    <a:lnTo>
                      <a:pt x="23" y="37"/>
                    </a:lnTo>
                    <a:lnTo>
                      <a:pt x="15" y="39"/>
                    </a:lnTo>
                    <a:lnTo>
                      <a:pt x="10" y="40"/>
                    </a:lnTo>
                    <a:lnTo>
                      <a:pt x="7" y="41"/>
                    </a:lnTo>
                    <a:lnTo>
                      <a:pt x="4" y="40"/>
                    </a:lnTo>
                    <a:lnTo>
                      <a:pt x="4" y="39"/>
                    </a:lnTo>
                    <a:lnTo>
                      <a:pt x="2" y="36"/>
                    </a:lnTo>
                    <a:lnTo>
                      <a:pt x="2" y="36"/>
                    </a:lnTo>
                    <a:lnTo>
                      <a:pt x="2" y="36"/>
                    </a:lnTo>
                    <a:lnTo>
                      <a:pt x="1" y="34"/>
                    </a:lnTo>
                    <a:lnTo>
                      <a:pt x="1" y="34"/>
                    </a:lnTo>
                    <a:lnTo>
                      <a:pt x="0" y="34"/>
                    </a:lnTo>
                    <a:lnTo>
                      <a:pt x="0" y="34"/>
                    </a:lnTo>
                    <a:lnTo>
                      <a:pt x="0" y="39"/>
                    </a:lnTo>
                    <a:lnTo>
                      <a:pt x="2" y="43"/>
                    </a:lnTo>
                    <a:close/>
                    <a:moveTo>
                      <a:pt x="81" y="16"/>
                    </a:moveTo>
                    <a:lnTo>
                      <a:pt x="81" y="16"/>
                    </a:lnTo>
                    <a:lnTo>
                      <a:pt x="81" y="17"/>
                    </a:lnTo>
                    <a:lnTo>
                      <a:pt x="81" y="17"/>
                    </a:lnTo>
                    <a:lnTo>
                      <a:pt x="81" y="16"/>
                    </a:lnTo>
                    <a:close/>
                    <a:moveTo>
                      <a:pt x="48" y="30"/>
                    </a:moveTo>
                    <a:lnTo>
                      <a:pt x="50" y="31"/>
                    </a:lnTo>
                    <a:lnTo>
                      <a:pt x="50" y="31"/>
                    </a:lnTo>
                    <a:lnTo>
                      <a:pt x="50" y="31"/>
                    </a:lnTo>
                    <a:lnTo>
                      <a:pt x="48" y="31"/>
                    </a:lnTo>
                    <a:lnTo>
                      <a:pt x="48" y="31"/>
                    </a:lnTo>
                    <a:lnTo>
                      <a:pt x="48" y="31"/>
                    </a:lnTo>
                    <a:lnTo>
                      <a:pt x="48" y="30"/>
                    </a:lnTo>
                    <a:close/>
                    <a:moveTo>
                      <a:pt x="30" y="33"/>
                    </a:moveTo>
                    <a:lnTo>
                      <a:pt x="31" y="33"/>
                    </a:lnTo>
                    <a:lnTo>
                      <a:pt x="33" y="33"/>
                    </a:lnTo>
                    <a:lnTo>
                      <a:pt x="31" y="34"/>
                    </a:lnTo>
                    <a:lnTo>
                      <a:pt x="30" y="36"/>
                    </a:lnTo>
                    <a:lnTo>
                      <a:pt x="30" y="36"/>
                    </a:lnTo>
                    <a:lnTo>
                      <a:pt x="28" y="34"/>
                    </a:lnTo>
                    <a:lnTo>
                      <a:pt x="30" y="34"/>
                    </a:lnTo>
                    <a:lnTo>
                      <a:pt x="30" y="33"/>
                    </a:lnTo>
                    <a:close/>
                    <a:moveTo>
                      <a:pt x="17" y="33"/>
                    </a:moveTo>
                    <a:lnTo>
                      <a:pt x="18" y="34"/>
                    </a:lnTo>
                    <a:lnTo>
                      <a:pt x="18" y="34"/>
                    </a:lnTo>
                    <a:lnTo>
                      <a:pt x="18" y="34"/>
                    </a:lnTo>
                    <a:lnTo>
                      <a:pt x="17" y="34"/>
                    </a:lnTo>
                    <a:lnTo>
                      <a:pt x="17" y="34"/>
                    </a:lnTo>
                    <a:lnTo>
                      <a:pt x="17" y="33"/>
                    </a:lnTo>
                    <a:close/>
                    <a:moveTo>
                      <a:pt x="38" y="36"/>
                    </a:moveTo>
                    <a:lnTo>
                      <a:pt x="40" y="36"/>
                    </a:lnTo>
                    <a:lnTo>
                      <a:pt x="41" y="37"/>
                    </a:lnTo>
                    <a:lnTo>
                      <a:pt x="38" y="37"/>
                    </a:lnTo>
                    <a:lnTo>
                      <a:pt x="37" y="37"/>
                    </a:lnTo>
                    <a:lnTo>
                      <a:pt x="35" y="37"/>
                    </a:lnTo>
                    <a:lnTo>
                      <a:pt x="37" y="36"/>
                    </a:lnTo>
                    <a:lnTo>
                      <a:pt x="38" y="3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6" name="Freeform 132">
                <a:extLst>
                  <a:ext uri="{FF2B5EF4-FFF2-40B4-BE49-F238E27FC236}">
                    <a16:creationId xmlns:a16="http://schemas.microsoft.com/office/drawing/2014/main" id="{9688F83C-80E4-B204-2CB5-8B3763832D98}"/>
                  </a:ext>
                </a:extLst>
              </p:cNvPr>
              <p:cNvSpPr>
                <a:spLocks/>
              </p:cNvSpPr>
              <p:nvPr/>
            </p:nvSpPr>
            <p:spPr bwMode="auto">
              <a:xfrm>
                <a:off x="8261650" y="4073387"/>
                <a:ext cx="11568" cy="4338"/>
              </a:xfrm>
              <a:custGeom>
                <a:avLst/>
                <a:gdLst>
                  <a:gd name="T0" fmla="*/ 3 w 8"/>
                  <a:gd name="T1" fmla="*/ 0 h 3"/>
                  <a:gd name="T2" fmla="*/ 2 w 8"/>
                  <a:gd name="T3" fmla="*/ 1 h 3"/>
                  <a:gd name="T4" fmla="*/ 0 w 8"/>
                  <a:gd name="T5" fmla="*/ 3 h 3"/>
                  <a:gd name="T6" fmla="*/ 3 w 8"/>
                  <a:gd name="T7" fmla="*/ 3 h 3"/>
                  <a:gd name="T8" fmla="*/ 5 w 8"/>
                  <a:gd name="T9" fmla="*/ 3 h 3"/>
                  <a:gd name="T10" fmla="*/ 6 w 8"/>
                  <a:gd name="T11" fmla="*/ 3 h 3"/>
                  <a:gd name="T12" fmla="*/ 8 w 8"/>
                  <a:gd name="T13" fmla="*/ 1 h 3"/>
                  <a:gd name="T14" fmla="*/ 6 w 8"/>
                  <a:gd name="T15" fmla="*/ 1 h 3"/>
                  <a:gd name="T16" fmla="*/ 3 w 8"/>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3">
                    <a:moveTo>
                      <a:pt x="3" y="0"/>
                    </a:moveTo>
                    <a:lnTo>
                      <a:pt x="2" y="1"/>
                    </a:lnTo>
                    <a:lnTo>
                      <a:pt x="0" y="3"/>
                    </a:lnTo>
                    <a:lnTo>
                      <a:pt x="3" y="3"/>
                    </a:lnTo>
                    <a:lnTo>
                      <a:pt x="5" y="3"/>
                    </a:lnTo>
                    <a:lnTo>
                      <a:pt x="6" y="3"/>
                    </a:lnTo>
                    <a:lnTo>
                      <a:pt x="8" y="1"/>
                    </a:lnTo>
                    <a:lnTo>
                      <a:pt x="6" y="1"/>
                    </a:lnTo>
                    <a:lnTo>
                      <a:pt x="3"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7" name="Freeform 133">
                <a:extLst>
                  <a:ext uri="{FF2B5EF4-FFF2-40B4-BE49-F238E27FC236}">
                    <a16:creationId xmlns:a16="http://schemas.microsoft.com/office/drawing/2014/main" id="{DD73B495-143B-A373-2C8D-FC79C387190A}"/>
                  </a:ext>
                </a:extLst>
              </p:cNvPr>
              <p:cNvSpPr>
                <a:spLocks noEditPoints="1"/>
              </p:cNvSpPr>
              <p:nvPr/>
            </p:nvSpPr>
            <p:spPr bwMode="auto">
              <a:xfrm>
                <a:off x="8961494" y="3912885"/>
                <a:ext cx="89650" cy="120015"/>
              </a:xfrm>
              <a:custGeom>
                <a:avLst/>
                <a:gdLst>
                  <a:gd name="T0" fmla="*/ 59 w 62"/>
                  <a:gd name="T1" fmla="*/ 4 h 83"/>
                  <a:gd name="T2" fmla="*/ 61 w 62"/>
                  <a:gd name="T3" fmla="*/ 3 h 83"/>
                  <a:gd name="T4" fmla="*/ 62 w 62"/>
                  <a:gd name="T5" fmla="*/ 0 h 83"/>
                  <a:gd name="T6" fmla="*/ 62 w 62"/>
                  <a:gd name="T7" fmla="*/ 3 h 83"/>
                  <a:gd name="T8" fmla="*/ 62 w 62"/>
                  <a:gd name="T9" fmla="*/ 4 h 83"/>
                  <a:gd name="T10" fmla="*/ 61 w 62"/>
                  <a:gd name="T11" fmla="*/ 6 h 83"/>
                  <a:gd name="T12" fmla="*/ 59 w 62"/>
                  <a:gd name="T13" fmla="*/ 6 h 83"/>
                  <a:gd name="T14" fmla="*/ 59 w 62"/>
                  <a:gd name="T15" fmla="*/ 4 h 83"/>
                  <a:gd name="T16" fmla="*/ 2 w 62"/>
                  <a:gd name="T17" fmla="*/ 83 h 83"/>
                  <a:gd name="T18" fmla="*/ 2 w 62"/>
                  <a:gd name="T19" fmla="*/ 83 h 83"/>
                  <a:gd name="T20" fmla="*/ 0 w 62"/>
                  <a:gd name="T21" fmla="*/ 83 h 83"/>
                  <a:gd name="T22" fmla="*/ 0 w 62"/>
                  <a:gd name="T23" fmla="*/ 83 h 83"/>
                  <a:gd name="T24" fmla="*/ 0 w 62"/>
                  <a:gd name="T25" fmla="*/ 83 h 83"/>
                  <a:gd name="T26" fmla="*/ 0 w 62"/>
                  <a:gd name="T27" fmla="*/ 83 h 83"/>
                  <a:gd name="T28" fmla="*/ 0 w 62"/>
                  <a:gd name="T29" fmla="*/ 83 h 83"/>
                  <a:gd name="T30" fmla="*/ 0 w 62"/>
                  <a:gd name="T31" fmla="*/ 83 h 83"/>
                  <a:gd name="T32" fmla="*/ 2 w 62"/>
                  <a:gd name="T33"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83">
                    <a:moveTo>
                      <a:pt x="59" y="4"/>
                    </a:moveTo>
                    <a:lnTo>
                      <a:pt x="61" y="3"/>
                    </a:lnTo>
                    <a:lnTo>
                      <a:pt x="62" y="0"/>
                    </a:lnTo>
                    <a:lnTo>
                      <a:pt x="62" y="3"/>
                    </a:lnTo>
                    <a:lnTo>
                      <a:pt x="62" y="4"/>
                    </a:lnTo>
                    <a:lnTo>
                      <a:pt x="61" y="6"/>
                    </a:lnTo>
                    <a:lnTo>
                      <a:pt x="59" y="6"/>
                    </a:lnTo>
                    <a:lnTo>
                      <a:pt x="59" y="4"/>
                    </a:lnTo>
                    <a:close/>
                    <a:moveTo>
                      <a:pt x="2" y="83"/>
                    </a:moveTo>
                    <a:lnTo>
                      <a:pt x="2" y="83"/>
                    </a:lnTo>
                    <a:lnTo>
                      <a:pt x="0" y="83"/>
                    </a:lnTo>
                    <a:lnTo>
                      <a:pt x="0" y="83"/>
                    </a:lnTo>
                    <a:lnTo>
                      <a:pt x="0" y="83"/>
                    </a:lnTo>
                    <a:lnTo>
                      <a:pt x="0" y="83"/>
                    </a:lnTo>
                    <a:lnTo>
                      <a:pt x="0" y="83"/>
                    </a:lnTo>
                    <a:lnTo>
                      <a:pt x="0" y="83"/>
                    </a:lnTo>
                    <a:lnTo>
                      <a:pt x="2" y="8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8" name="Freeform 134">
                <a:extLst>
                  <a:ext uri="{FF2B5EF4-FFF2-40B4-BE49-F238E27FC236}">
                    <a16:creationId xmlns:a16="http://schemas.microsoft.com/office/drawing/2014/main" id="{CCBC453B-3BF9-69AF-5CA8-B56A2E391136}"/>
                  </a:ext>
                </a:extLst>
              </p:cNvPr>
              <p:cNvSpPr>
                <a:spLocks noEditPoints="1"/>
              </p:cNvSpPr>
              <p:nvPr/>
            </p:nvSpPr>
            <p:spPr bwMode="auto">
              <a:xfrm>
                <a:off x="8225501" y="3499340"/>
                <a:ext cx="183637" cy="390409"/>
              </a:xfrm>
              <a:custGeom>
                <a:avLst/>
                <a:gdLst>
                  <a:gd name="T0" fmla="*/ 81 w 127"/>
                  <a:gd name="T1" fmla="*/ 46 h 270"/>
                  <a:gd name="T2" fmla="*/ 91 w 127"/>
                  <a:gd name="T3" fmla="*/ 43 h 270"/>
                  <a:gd name="T4" fmla="*/ 94 w 127"/>
                  <a:gd name="T5" fmla="*/ 43 h 270"/>
                  <a:gd name="T6" fmla="*/ 84 w 127"/>
                  <a:gd name="T7" fmla="*/ 49 h 270"/>
                  <a:gd name="T8" fmla="*/ 30 w 127"/>
                  <a:gd name="T9" fmla="*/ 239 h 270"/>
                  <a:gd name="T10" fmla="*/ 91 w 127"/>
                  <a:gd name="T11" fmla="*/ 40 h 270"/>
                  <a:gd name="T12" fmla="*/ 80 w 127"/>
                  <a:gd name="T13" fmla="*/ 45 h 270"/>
                  <a:gd name="T14" fmla="*/ 80 w 127"/>
                  <a:gd name="T15" fmla="*/ 50 h 270"/>
                  <a:gd name="T16" fmla="*/ 64 w 127"/>
                  <a:gd name="T17" fmla="*/ 69 h 270"/>
                  <a:gd name="T18" fmla="*/ 67 w 127"/>
                  <a:gd name="T19" fmla="*/ 93 h 270"/>
                  <a:gd name="T20" fmla="*/ 74 w 127"/>
                  <a:gd name="T21" fmla="*/ 105 h 270"/>
                  <a:gd name="T22" fmla="*/ 100 w 127"/>
                  <a:gd name="T23" fmla="*/ 132 h 270"/>
                  <a:gd name="T24" fmla="*/ 124 w 127"/>
                  <a:gd name="T25" fmla="*/ 177 h 270"/>
                  <a:gd name="T26" fmla="*/ 127 w 127"/>
                  <a:gd name="T27" fmla="*/ 198 h 270"/>
                  <a:gd name="T28" fmla="*/ 124 w 127"/>
                  <a:gd name="T29" fmla="*/ 203 h 270"/>
                  <a:gd name="T30" fmla="*/ 122 w 127"/>
                  <a:gd name="T31" fmla="*/ 217 h 270"/>
                  <a:gd name="T32" fmla="*/ 104 w 127"/>
                  <a:gd name="T33" fmla="*/ 230 h 270"/>
                  <a:gd name="T34" fmla="*/ 86 w 127"/>
                  <a:gd name="T35" fmla="*/ 237 h 270"/>
                  <a:gd name="T36" fmla="*/ 80 w 127"/>
                  <a:gd name="T37" fmla="*/ 236 h 270"/>
                  <a:gd name="T38" fmla="*/ 76 w 127"/>
                  <a:gd name="T39" fmla="*/ 240 h 270"/>
                  <a:gd name="T40" fmla="*/ 70 w 127"/>
                  <a:gd name="T41" fmla="*/ 241 h 270"/>
                  <a:gd name="T42" fmla="*/ 64 w 127"/>
                  <a:gd name="T43" fmla="*/ 246 h 270"/>
                  <a:gd name="T44" fmla="*/ 56 w 127"/>
                  <a:gd name="T45" fmla="*/ 267 h 270"/>
                  <a:gd name="T46" fmla="*/ 47 w 127"/>
                  <a:gd name="T47" fmla="*/ 253 h 270"/>
                  <a:gd name="T48" fmla="*/ 46 w 127"/>
                  <a:gd name="T49" fmla="*/ 241 h 270"/>
                  <a:gd name="T50" fmla="*/ 46 w 127"/>
                  <a:gd name="T51" fmla="*/ 236 h 270"/>
                  <a:gd name="T52" fmla="*/ 50 w 127"/>
                  <a:gd name="T53" fmla="*/ 230 h 270"/>
                  <a:gd name="T54" fmla="*/ 57 w 127"/>
                  <a:gd name="T55" fmla="*/ 229 h 270"/>
                  <a:gd name="T56" fmla="*/ 70 w 127"/>
                  <a:gd name="T57" fmla="*/ 231 h 270"/>
                  <a:gd name="T58" fmla="*/ 64 w 127"/>
                  <a:gd name="T59" fmla="*/ 220 h 270"/>
                  <a:gd name="T60" fmla="*/ 74 w 127"/>
                  <a:gd name="T61" fmla="*/ 213 h 270"/>
                  <a:gd name="T62" fmla="*/ 87 w 127"/>
                  <a:gd name="T63" fmla="*/ 206 h 270"/>
                  <a:gd name="T64" fmla="*/ 94 w 127"/>
                  <a:gd name="T65" fmla="*/ 200 h 270"/>
                  <a:gd name="T66" fmla="*/ 91 w 127"/>
                  <a:gd name="T67" fmla="*/ 170 h 270"/>
                  <a:gd name="T68" fmla="*/ 96 w 127"/>
                  <a:gd name="T69" fmla="*/ 152 h 270"/>
                  <a:gd name="T70" fmla="*/ 91 w 127"/>
                  <a:gd name="T71" fmla="*/ 137 h 270"/>
                  <a:gd name="T72" fmla="*/ 74 w 127"/>
                  <a:gd name="T73" fmla="*/ 118 h 270"/>
                  <a:gd name="T74" fmla="*/ 56 w 127"/>
                  <a:gd name="T75" fmla="*/ 96 h 270"/>
                  <a:gd name="T76" fmla="*/ 48 w 127"/>
                  <a:gd name="T77" fmla="*/ 86 h 270"/>
                  <a:gd name="T78" fmla="*/ 33 w 127"/>
                  <a:gd name="T79" fmla="*/ 70 h 270"/>
                  <a:gd name="T80" fmla="*/ 47 w 127"/>
                  <a:gd name="T81" fmla="*/ 66 h 270"/>
                  <a:gd name="T82" fmla="*/ 44 w 127"/>
                  <a:gd name="T83" fmla="*/ 57 h 270"/>
                  <a:gd name="T84" fmla="*/ 40 w 127"/>
                  <a:gd name="T85" fmla="*/ 49 h 270"/>
                  <a:gd name="T86" fmla="*/ 24 w 127"/>
                  <a:gd name="T87" fmla="*/ 49 h 270"/>
                  <a:gd name="T88" fmla="*/ 14 w 127"/>
                  <a:gd name="T89" fmla="*/ 32 h 270"/>
                  <a:gd name="T90" fmla="*/ 1 w 127"/>
                  <a:gd name="T91" fmla="*/ 22 h 270"/>
                  <a:gd name="T92" fmla="*/ 15 w 127"/>
                  <a:gd name="T93" fmla="*/ 16 h 270"/>
                  <a:gd name="T94" fmla="*/ 23 w 127"/>
                  <a:gd name="T95" fmla="*/ 14 h 270"/>
                  <a:gd name="T96" fmla="*/ 31 w 127"/>
                  <a:gd name="T97" fmla="*/ 14 h 270"/>
                  <a:gd name="T98" fmla="*/ 37 w 127"/>
                  <a:gd name="T99" fmla="*/ 11 h 270"/>
                  <a:gd name="T100" fmla="*/ 46 w 127"/>
                  <a:gd name="T101" fmla="*/ 7 h 270"/>
                  <a:gd name="T102" fmla="*/ 64 w 127"/>
                  <a:gd name="T103" fmla="*/ 7 h 270"/>
                  <a:gd name="T104" fmla="*/ 77 w 127"/>
                  <a:gd name="T105" fmla="*/ 9 h 270"/>
                  <a:gd name="T106" fmla="*/ 77 w 127"/>
                  <a:gd name="T107" fmla="*/ 19 h 270"/>
                  <a:gd name="T108" fmla="*/ 91 w 127"/>
                  <a:gd name="T109" fmla="*/ 33 h 270"/>
                  <a:gd name="T110" fmla="*/ 87 w 127"/>
                  <a:gd name="T111" fmla="*/ 23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7" h="270">
                    <a:moveTo>
                      <a:pt x="81" y="46"/>
                    </a:moveTo>
                    <a:lnTo>
                      <a:pt x="83" y="47"/>
                    </a:lnTo>
                    <a:lnTo>
                      <a:pt x="83" y="47"/>
                    </a:lnTo>
                    <a:lnTo>
                      <a:pt x="81" y="47"/>
                    </a:lnTo>
                    <a:lnTo>
                      <a:pt x="81" y="47"/>
                    </a:lnTo>
                    <a:lnTo>
                      <a:pt x="81" y="47"/>
                    </a:lnTo>
                    <a:lnTo>
                      <a:pt x="81" y="46"/>
                    </a:lnTo>
                    <a:lnTo>
                      <a:pt x="81" y="46"/>
                    </a:lnTo>
                    <a:close/>
                    <a:moveTo>
                      <a:pt x="96" y="40"/>
                    </a:moveTo>
                    <a:lnTo>
                      <a:pt x="96" y="40"/>
                    </a:lnTo>
                    <a:lnTo>
                      <a:pt x="94" y="40"/>
                    </a:lnTo>
                    <a:lnTo>
                      <a:pt x="93" y="39"/>
                    </a:lnTo>
                    <a:lnTo>
                      <a:pt x="93" y="40"/>
                    </a:lnTo>
                    <a:lnTo>
                      <a:pt x="93" y="42"/>
                    </a:lnTo>
                    <a:lnTo>
                      <a:pt x="93" y="42"/>
                    </a:lnTo>
                    <a:lnTo>
                      <a:pt x="91" y="43"/>
                    </a:lnTo>
                    <a:lnTo>
                      <a:pt x="93" y="43"/>
                    </a:lnTo>
                    <a:lnTo>
                      <a:pt x="94" y="42"/>
                    </a:lnTo>
                    <a:lnTo>
                      <a:pt x="94" y="42"/>
                    </a:lnTo>
                    <a:lnTo>
                      <a:pt x="96" y="40"/>
                    </a:lnTo>
                    <a:close/>
                    <a:moveTo>
                      <a:pt x="93" y="46"/>
                    </a:moveTo>
                    <a:lnTo>
                      <a:pt x="94" y="46"/>
                    </a:lnTo>
                    <a:lnTo>
                      <a:pt x="94" y="45"/>
                    </a:lnTo>
                    <a:lnTo>
                      <a:pt x="94" y="43"/>
                    </a:lnTo>
                    <a:lnTo>
                      <a:pt x="94" y="45"/>
                    </a:lnTo>
                    <a:lnTo>
                      <a:pt x="91" y="46"/>
                    </a:lnTo>
                    <a:lnTo>
                      <a:pt x="93" y="46"/>
                    </a:lnTo>
                    <a:close/>
                    <a:moveTo>
                      <a:pt x="84" y="49"/>
                    </a:moveTo>
                    <a:lnTo>
                      <a:pt x="86" y="49"/>
                    </a:lnTo>
                    <a:lnTo>
                      <a:pt x="86" y="47"/>
                    </a:lnTo>
                    <a:lnTo>
                      <a:pt x="84" y="47"/>
                    </a:lnTo>
                    <a:lnTo>
                      <a:pt x="84" y="49"/>
                    </a:lnTo>
                    <a:close/>
                    <a:moveTo>
                      <a:pt x="31" y="240"/>
                    </a:moveTo>
                    <a:lnTo>
                      <a:pt x="31" y="241"/>
                    </a:lnTo>
                    <a:lnTo>
                      <a:pt x="33" y="243"/>
                    </a:lnTo>
                    <a:lnTo>
                      <a:pt x="33" y="246"/>
                    </a:lnTo>
                    <a:lnTo>
                      <a:pt x="34" y="243"/>
                    </a:lnTo>
                    <a:lnTo>
                      <a:pt x="34" y="240"/>
                    </a:lnTo>
                    <a:lnTo>
                      <a:pt x="33" y="239"/>
                    </a:lnTo>
                    <a:lnTo>
                      <a:pt x="30" y="239"/>
                    </a:lnTo>
                    <a:lnTo>
                      <a:pt x="31" y="240"/>
                    </a:lnTo>
                    <a:close/>
                    <a:moveTo>
                      <a:pt x="99" y="33"/>
                    </a:moveTo>
                    <a:lnTo>
                      <a:pt x="102" y="34"/>
                    </a:lnTo>
                    <a:lnTo>
                      <a:pt x="100" y="36"/>
                    </a:lnTo>
                    <a:lnTo>
                      <a:pt x="97" y="36"/>
                    </a:lnTo>
                    <a:lnTo>
                      <a:pt x="94" y="37"/>
                    </a:lnTo>
                    <a:lnTo>
                      <a:pt x="91" y="40"/>
                    </a:lnTo>
                    <a:lnTo>
                      <a:pt x="91" y="40"/>
                    </a:lnTo>
                    <a:lnTo>
                      <a:pt x="91" y="42"/>
                    </a:lnTo>
                    <a:lnTo>
                      <a:pt x="91" y="43"/>
                    </a:lnTo>
                    <a:lnTo>
                      <a:pt x="90" y="45"/>
                    </a:lnTo>
                    <a:lnTo>
                      <a:pt x="89" y="45"/>
                    </a:lnTo>
                    <a:lnTo>
                      <a:pt x="87" y="45"/>
                    </a:lnTo>
                    <a:lnTo>
                      <a:pt x="87" y="45"/>
                    </a:lnTo>
                    <a:lnTo>
                      <a:pt x="86" y="45"/>
                    </a:lnTo>
                    <a:lnTo>
                      <a:pt x="80" y="45"/>
                    </a:lnTo>
                    <a:lnTo>
                      <a:pt x="80" y="45"/>
                    </a:lnTo>
                    <a:lnTo>
                      <a:pt x="80" y="45"/>
                    </a:lnTo>
                    <a:lnTo>
                      <a:pt x="80" y="46"/>
                    </a:lnTo>
                    <a:lnTo>
                      <a:pt x="80" y="46"/>
                    </a:lnTo>
                    <a:lnTo>
                      <a:pt x="80" y="47"/>
                    </a:lnTo>
                    <a:lnTo>
                      <a:pt x="80" y="49"/>
                    </a:lnTo>
                    <a:lnTo>
                      <a:pt x="80" y="49"/>
                    </a:lnTo>
                    <a:lnTo>
                      <a:pt x="80" y="50"/>
                    </a:lnTo>
                    <a:lnTo>
                      <a:pt x="80" y="50"/>
                    </a:lnTo>
                    <a:lnTo>
                      <a:pt x="79" y="52"/>
                    </a:lnTo>
                    <a:lnTo>
                      <a:pt x="77" y="56"/>
                    </a:lnTo>
                    <a:lnTo>
                      <a:pt x="76" y="59"/>
                    </a:lnTo>
                    <a:lnTo>
                      <a:pt x="73" y="60"/>
                    </a:lnTo>
                    <a:lnTo>
                      <a:pt x="68" y="65"/>
                    </a:lnTo>
                    <a:lnTo>
                      <a:pt x="66" y="66"/>
                    </a:lnTo>
                    <a:lnTo>
                      <a:pt x="64" y="69"/>
                    </a:lnTo>
                    <a:lnTo>
                      <a:pt x="63" y="76"/>
                    </a:lnTo>
                    <a:lnTo>
                      <a:pt x="63" y="79"/>
                    </a:lnTo>
                    <a:lnTo>
                      <a:pt x="61" y="82"/>
                    </a:lnTo>
                    <a:lnTo>
                      <a:pt x="61" y="82"/>
                    </a:lnTo>
                    <a:lnTo>
                      <a:pt x="61" y="85"/>
                    </a:lnTo>
                    <a:lnTo>
                      <a:pt x="63" y="85"/>
                    </a:lnTo>
                    <a:lnTo>
                      <a:pt x="66" y="91"/>
                    </a:lnTo>
                    <a:lnTo>
                      <a:pt x="67" y="93"/>
                    </a:lnTo>
                    <a:lnTo>
                      <a:pt x="74" y="98"/>
                    </a:lnTo>
                    <a:lnTo>
                      <a:pt x="76" y="99"/>
                    </a:lnTo>
                    <a:lnTo>
                      <a:pt x="76" y="101"/>
                    </a:lnTo>
                    <a:lnTo>
                      <a:pt x="76" y="102"/>
                    </a:lnTo>
                    <a:lnTo>
                      <a:pt x="76" y="105"/>
                    </a:lnTo>
                    <a:lnTo>
                      <a:pt x="76" y="106"/>
                    </a:lnTo>
                    <a:lnTo>
                      <a:pt x="74" y="105"/>
                    </a:lnTo>
                    <a:lnTo>
                      <a:pt x="74" y="105"/>
                    </a:lnTo>
                    <a:lnTo>
                      <a:pt x="77" y="106"/>
                    </a:lnTo>
                    <a:lnTo>
                      <a:pt x="84" y="116"/>
                    </a:lnTo>
                    <a:lnTo>
                      <a:pt x="89" y="121"/>
                    </a:lnTo>
                    <a:lnTo>
                      <a:pt x="89" y="121"/>
                    </a:lnTo>
                    <a:lnTo>
                      <a:pt x="93" y="124"/>
                    </a:lnTo>
                    <a:lnTo>
                      <a:pt x="99" y="129"/>
                    </a:lnTo>
                    <a:lnTo>
                      <a:pt x="100" y="131"/>
                    </a:lnTo>
                    <a:lnTo>
                      <a:pt x="100" y="132"/>
                    </a:lnTo>
                    <a:lnTo>
                      <a:pt x="103" y="131"/>
                    </a:lnTo>
                    <a:lnTo>
                      <a:pt x="103" y="131"/>
                    </a:lnTo>
                    <a:lnTo>
                      <a:pt x="104" y="132"/>
                    </a:lnTo>
                    <a:lnTo>
                      <a:pt x="116" y="149"/>
                    </a:lnTo>
                    <a:lnTo>
                      <a:pt x="119" y="154"/>
                    </a:lnTo>
                    <a:lnTo>
                      <a:pt x="126" y="175"/>
                    </a:lnTo>
                    <a:lnTo>
                      <a:pt x="126" y="178"/>
                    </a:lnTo>
                    <a:lnTo>
                      <a:pt x="124" y="177"/>
                    </a:lnTo>
                    <a:lnTo>
                      <a:pt x="124" y="183"/>
                    </a:lnTo>
                    <a:lnTo>
                      <a:pt x="126" y="188"/>
                    </a:lnTo>
                    <a:lnTo>
                      <a:pt x="126" y="188"/>
                    </a:lnTo>
                    <a:lnTo>
                      <a:pt x="127" y="191"/>
                    </a:lnTo>
                    <a:lnTo>
                      <a:pt x="127" y="193"/>
                    </a:lnTo>
                    <a:lnTo>
                      <a:pt x="127" y="194"/>
                    </a:lnTo>
                    <a:lnTo>
                      <a:pt x="127" y="197"/>
                    </a:lnTo>
                    <a:lnTo>
                      <a:pt x="127" y="198"/>
                    </a:lnTo>
                    <a:lnTo>
                      <a:pt x="127" y="198"/>
                    </a:lnTo>
                    <a:lnTo>
                      <a:pt x="126" y="197"/>
                    </a:lnTo>
                    <a:lnTo>
                      <a:pt x="126" y="197"/>
                    </a:lnTo>
                    <a:lnTo>
                      <a:pt x="124" y="197"/>
                    </a:lnTo>
                    <a:lnTo>
                      <a:pt x="124" y="200"/>
                    </a:lnTo>
                    <a:lnTo>
                      <a:pt x="124" y="201"/>
                    </a:lnTo>
                    <a:lnTo>
                      <a:pt x="126" y="203"/>
                    </a:lnTo>
                    <a:lnTo>
                      <a:pt x="124" y="203"/>
                    </a:lnTo>
                    <a:lnTo>
                      <a:pt x="124" y="211"/>
                    </a:lnTo>
                    <a:lnTo>
                      <a:pt x="124" y="210"/>
                    </a:lnTo>
                    <a:lnTo>
                      <a:pt x="123" y="211"/>
                    </a:lnTo>
                    <a:lnTo>
                      <a:pt x="123" y="213"/>
                    </a:lnTo>
                    <a:lnTo>
                      <a:pt x="123" y="214"/>
                    </a:lnTo>
                    <a:lnTo>
                      <a:pt x="123" y="214"/>
                    </a:lnTo>
                    <a:lnTo>
                      <a:pt x="123" y="217"/>
                    </a:lnTo>
                    <a:lnTo>
                      <a:pt x="122" y="217"/>
                    </a:lnTo>
                    <a:lnTo>
                      <a:pt x="120" y="218"/>
                    </a:lnTo>
                    <a:lnTo>
                      <a:pt x="120" y="220"/>
                    </a:lnTo>
                    <a:lnTo>
                      <a:pt x="120" y="221"/>
                    </a:lnTo>
                    <a:lnTo>
                      <a:pt x="119" y="221"/>
                    </a:lnTo>
                    <a:lnTo>
                      <a:pt x="116" y="224"/>
                    </a:lnTo>
                    <a:lnTo>
                      <a:pt x="107" y="229"/>
                    </a:lnTo>
                    <a:lnTo>
                      <a:pt x="107" y="229"/>
                    </a:lnTo>
                    <a:lnTo>
                      <a:pt x="104" y="230"/>
                    </a:lnTo>
                    <a:lnTo>
                      <a:pt x="104" y="230"/>
                    </a:lnTo>
                    <a:lnTo>
                      <a:pt x="103" y="230"/>
                    </a:lnTo>
                    <a:lnTo>
                      <a:pt x="103" y="233"/>
                    </a:lnTo>
                    <a:lnTo>
                      <a:pt x="102" y="233"/>
                    </a:lnTo>
                    <a:lnTo>
                      <a:pt x="100" y="234"/>
                    </a:lnTo>
                    <a:lnTo>
                      <a:pt x="91" y="237"/>
                    </a:lnTo>
                    <a:lnTo>
                      <a:pt x="89" y="237"/>
                    </a:lnTo>
                    <a:lnTo>
                      <a:pt x="86" y="237"/>
                    </a:lnTo>
                    <a:lnTo>
                      <a:pt x="86" y="234"/>
                    </a:lnTo>
                    <a:lnTo>
                      <a:pt x="84" y="236"/>
                    </a:lnTo>
                    <a:lnTo>
                      <a:pt x="84" y="237"/>
                    </a:lnTo>
                    <a:lnTo>
                      <a:pt x="84" y="239"/>
                    </a:lnTo>
                    <a:lnTo>
                      <a:pt x="83" y="239"/>
                    </a:lnTo>
                    <a:lnTo>
                      <a:pt x="81" y="239"/>
                    </a:lnTo>
                    <a:lnTo>
                      <a:pt x="81" y="237"/>
                    </a:lnTo>
                    <a:lnTo>
                      <a:pt x="80" y="236"/>
                    </a:lnTo>
                    <a:lnTo>
                      <a:pt x="79" y="237"/>
                    </a:lnTo>
                    <a:lnTo>
                      <a:pt x="79" y="237"/>
                    </a:lnTo>
                    <a:lnTo>
                      <a:pt x="80" y="237"/>
                    </a:lnTo>
                    <a:lnTo>
                      <a:pt x="81" y="239"/>
                    </a:lnTo>
                    <a:lnTo>
                      <a:pt x="81" y="240"/>
                    </a:lnTo>
                    <a:lnTo>
                      <a:pt x="80" y="240"/>
                    </a:lnTo>
                    <a:lnTo>
                      <a:pt x="79" y="240"/>
                    </a:lnTo>
                    <a:lnTo>
                      <a:pt x="76" y="240"/>
                    </a:lnTo>
                    <a:lnTo>
                      <a:pt x="80" y="243"/>
                    </a:lnTo>
                    <a:lnTo>
                      <a:pt x="81" y="244"/>
                    </a:lnTo>
                    <a:lnTo>
                      <a:pt x="79" y="247"/>
                    </a:lnTo>
                    <a:lnTo>
                      <a:pt x="77" y="247"/>
                    </a:lnTo>
                    <a:lnTo>
                      <a:pt x="77" y="247"/>
                    </a:lnTo>
                    <a:lnTo>
                      <a:pt x="76" y="247"/>
                    </a:lnTo>
                    <a:lnTo>
                      <a:pt x="74" y="246"/>
                    </a:lnTo>
                    <a:lnTo>
                      <a:pt x="70" y="241"/>
                    </a:lnTo>
                    <a:lnTo>
                      <a:pt x="71" y="244"/>
                    </a:lnTo>
                    <a:lnTo>
                      <a:pt x="76" y="247"/>
                    </a:lnTo>
                    <a:lnTo>
                      <a:pt x="77" y="250"/>
                    </a:lnTo>
                    <a:lnTo>
                      <a:pt x="77" y="253"/>
                    </a:lnTo>
                    <a:lnTo>
                      <a:pt x="74" y="253"/>
                    </a:lnTo>
                    <a:lnTo>
                      <a:pt x="70" y="252"/>
                    </a:lnTo>
                    <a:lnTo>
                      <a:pt x="67" y="247"/>
                    </a:lnTo>
                    <a:lnTo>
                      <a:pt x="64" y="246"/>
                    </a:lnTo>
                    <a:lnTo>
                      <a:pt x="68" y="250"/>
                    </a:lnTo>
                    <a:lnTo>
                      <a:pt x="70" y="253"/>
                    </a:lnTo>
                    <a:lnTo>
                      <a:pt x="71" y="254"/>
                    </a:lnTo>
                    <a:lnTo>
                      <a:pt x="70" y="257"/>
                    </a:lnTo>
                    <a:lnTo>
                      <a:pt x="68" y="259"/>
                    </a:lnTo>
                    <a:lnTo>
                      <a:pt x="63" y="260"/>
                    </a:lnTo>
                    <a:lnTo>
                      <a:pt x="58" y="263"/>
                    </a:lnTo>
                    <a:lnTo>
                      <a:pt x="56" y="267"/>
                    </a:lnTo>
                    <a:lnTo>
                      <a:pt x="51" y="270"/>
                    </a:lnTo>
                    <a:lnTo>
                      <a:pt x="46" y="270"/>
                    </a:lnTo>
                    <a:lnTo>
                      <a:pt x="47" y="270"/>
                    </a:lnTo>
                    <a:lnTo>
                      <a:pt x="47" y="269"/>
                    </a:lnTo>
                    <a:lnTo>
                      <a:pt x="48" y="269"/>
                    </a:lnTo>
                    <a:lnTo>
                      <a:pt x="47" y="266"/>
                    </a:lnTo>
                    <a:lnTo>
                      <a:pt x="47" y="263"/>
                    </a:lnTo>
                    <a:lnTo>
                      <a:pt x="47" y="253"/>
                    </a:lnTo>
                    <a:lnTo>
                      <a:pt x="47" y="252"/>
                    </a:lnTo>
                    <a:lnTo>
                      <a:pt x="48" y="250"/>
                    </a:lnTo>
                    <a:lnTo>
                      <a:pt x="51" y="247"/>
                    </a:lnTo>
                    <a:lnTo>
                      <a:pt x="51" y="246"/>
                    </a:lnTo>
                    <a:lnTo>
                      <a:pt x="50" y="244"/>
                    </a:lnTo>
                    <a:lnTo>
                      <a:pt x="48" y="243"/>
                    </a:lnTo>
                    <a:lnTo>
                      <a:pt x="47" y="241"/>
                    </a:lnTo>
                    <a:lnTo>
                      <a:pt x="46" y="241"/>
                    </a:lnTo>
                    <a:lnTo>
                      <a:pt x="44" y="243"/>
                    </a:lnTo>
                    <a:lnTo>
                      <a:pt x="44" y="243"/>
                    </a:lnTo>
                    <a:lnTo>
                      <a:pt x="43" y="241"/>
                    </a:lnTo>
                    <a:lnTo>
                      <a:pt x="43" y="241"/>
                    </a:lnTo>
                    <a:lnTo>
                      <a:pt x="41" y="239"/>
                    </a:lnTo>
                    <a:lnTo>
                      <a:pt x="40" y="239"/>
                    </a:lnTo>
                    <a:lnTo>
                      <a:pt x="41" y="237"/>
                    </a:lnTo>
                    <a:lnTo>
                      <a:pt x="46" y="236"/>
                    </a:lnTo>
                    <a:lnTo>
                      <a:pt x="48" y="236"/>
                    </a:lnTo>
                    <a:lnTo>
                      <a:pt x="48" y="234"/>
                    </a:lnTo>
                    <a:lnTo>
                      <a:pt x="50" y="233"/>
                    </a:lnTo>
                    <a:lnTo>
                      <a:pt x="51" y="231"/>
                    </a:lnTo>
                    <a:lnTo>
                      <a:pt x="51" y="231"/>
                    </a:lnTo>
                    <a:lnTo>
                      <a:pt x="50" y="231"/>
                    </a:lnTo>
                    <a:lnTo>
                      <a:pt x="50" y="230"/>
                    </a:lnTo>
                    <a:lnTo>
                      <a:pt x="50" y="230"/>
                    </a:lnTo>
                    <a:lnTo>
                      <a:pt x="51" y="230"/>
                    </a:lnTo>
                    <a:lnTo>
                      <a:pt x="53" y="230"/>
                    </a:lnTo>
                    <a:lnTo>
                      <a:pt x="53" y="230"/>
                    </a:lnTo>
                    <a:lnTo>
                      <a:pt x="54" y="230"/>
                    </a:lnTo>
                    <a:lnTo>
                      <a:pt x="54" y="230"/>
                    </a:lnTo>
                    <a:lnTo>
                      <a:pt x="56" y="230"/>
                    </a:lnTo>
                    <a:lnTo>
                      <a:pt x="56" y="230"/>
                    </a:lnTo>
                    <a:lnTo>
                      <a:pt x="57" y="229"/>
                    </a:lnTo>
                    <a:lnTo>
                      <a:pt x="57" y="229"/>
                    </a:lnTo>
                    <a:lnTo>
                      <a:pt x="60" y="229"/>
                    </a:lnTo>
                    <a:lnTo>
                      <a:pt x="61" y="229"/>
                    </a:lnTo>
                    <a:lnTo>
                      <a:pt x="63" y="229"/>
                    </a:lnTo>
                    <a:lnTo>
                      <a:pt x="64" y="229"/>
                    </a:lnTo>
                    <a:lnTo>
                      <a:pt x="66" y="230"/>
                    </a:lnTo>
                    <a:lnTo>
                      <a:pt x="68" y="231"/>
                    </a:lnTo>
                    <a:lnTo>
                      <a:pt x="70" y="231"/>
                    </a:lnTo>
                    <a:lnTo>
                      <a:pt x="70" y="230"/>
                    </a:lnTo>
                    <a:lnTo>
                      <a:pt x="70" y="229"/>
                    </a:lnTo>
                    <a:lnTo>
                      <a:pt x="70" y="227"/>
                    </a:lnTo>
                    <a:lnTo>
                      <a:pt x="70" y="226"/>
                    </a:lnTo>
                    <a:lnTo>
                      <a:pt x="67" y="224"/>
                    </a:lnTo>
                    <a:lnTo>
                      <a:pt x="66" y="223"/>
                    </a:lnTo>
                    <a:lnTo>
                      <a:pt x="66" y="221"/>
                    </a:lnTo>
                    <a:lnTo>
                      <a:pt x="64" y="220"/>
                    </a:lnTo>
                    <a:lnTo>
                      <a:pt x="64" y="218"/>
                    </a:lnTo>
                    <a:lnTo>
                      <a:pt x="66" y="216"/>
                    </a:lnTo>
                    <a:lnTo>
                      <a:pt x="67" y="216"/>
                    </a:lnTo>
                    <a:lnTo>
                      <a:pt x="68" y="214"/>
                    </a:lnTo>
                    <a:lnTo>
                      <a:pt x="70" y="216"/>
                    </a:lnTo>
                    <a:lnTo>
                      <a:pt x="73" y="216"/>
                    </a:lnTo>
                    <a:lnTo>
                      <a:pt x="74" y="214"/>
                    </a:lnTo>
                    <a:lnTo>
                      <a:pt x="74" y="213"/>
                    </a:lnTo>
                    <a:lnTo>
                      <a:pt x="76" y="211"/>
                    </a:lnTo>
                    <a:lnTo>
                      <a:pt x="76" y="210"/>
                    </a:lnTo>
                    <a:lnTo>
                      <a:pt x="77" y="210"/>
                    </a:lnTo>
                    <a:lnTo>
                      <a:pt x="80" y="210"/>
                    </a:lnTo>
                    <a:lnTo>
                      <a:pt x="81" y="208"/>
                    </a:lnTo>
                    <a:lnTo>
                      <a:pt x="83" y="208"/>
                    </a:lnTo>
                    <a:lnTo>
                      <a:pt x="86" y="207"/>
                    </a:lnTo>
                    <a:lnTo>
                      <a:pt x="87" y="206"/>
                    </a:lnTo>
                    <a:lnTo>
                      <a:pt x="87" y="206"/>
                    </a:lnTo>
                    <a:lnTo>
                      <a:pt x="89" y="204"/>
                    </a:lnTo>
                    <a:lnTo>
                      <a:pt x="90" y="204"/>
                    </a:lnTo>
                    <a:lnTo>
                      <a:pt x="90" y="204"/>
                    </a:lnTo>
                    <a:lnTo>
                      <a:pt x="91" y="206"/>
                    </a:lnTo>
                    <a:lnTo>
                      <a:pt x="93" y="204"/>
                    </a:lnTo>
                    <a:lnTo>
                      <a:pt x="94" y="203"/>
                    </a:lnTo>
                    <a:lnTo>
                      <a:pt x="94" y="200"/>
                    </a:lnTo>
                    <a:lnTo>
                      <a:pt x="94" y="194"/>
                    </a:lnTo>
                    <a:lnTo>
                      <a:pt x="94" y="191"/>
                    </a:lnTo>
                    <a:lnTo>
                      <a:pt x="96" y="185"/>
                    </a:lnTo>
                    <a:lnTo>
                      <a:pt x="96" y="183"/>
                    </a:lnTo>
                    <a:lnTo>
                      <a:pt x="94" y="180"/>
                    </a:lnTo>
                    <a:lnTo>
                      <a:pt x="91" y="175"/>
                    </a:lnTo>
                    <a:lnTo>
                      <a:pt x="91" y="172"/>
                    </a:lnTo>
                    <a:lnTo>
                      <a:pt x="91" y="170"/>
                    </a:lnTo>
                    <a:lnTo>
                      <a:pt x="94" y="164"/>
                    </a:lnTo>
                    <a:lnTo>
                      <a:pt x="94" y="161"/>
                    </a:lnTo>
                    <a:lnTo>
                      <a:pt x="94" y="160"/>
                    </a:lnTo>
                    <a:lnTo>
                      <a:pt x="93" y="157"/>
                    </a:lnTo>
                    <a:lnTo>
                      <a:pt x="93" y="155"/>
                    </a:lnTo>
                    <a:lnTo>
                      <a:pt x="94" y="155"/>
                    </a:lnTo>
                    <a:lnTo>
                      <a:pt x="94" y="154"/>
                    </a:lnTo>
                    <a:lnTo>
                      <a:pt x="96" y="152"/>
                    </a:lnTo>
                    <a:lnTo>
                      <a:pt x="96" y="151"/>
                    </a:lnTo>
                    <a:lnTo>
                      <a:pt x="96" y="148"/>
                    </a:lnTo>
                    <a:lnTo>
                      <a:pt x="90" y="145"/>
                    </a:lnTo>
                    <a:lnTo>
                      <a:pt x="89" y="142"/>
                    </a:lnTo>
                    <a:lnTo>
                      <a:pt x="89" y="139"/>
                    </a:lnTo>
                    <a:lnTo>
                      <a:pt x="90" y="139"/>
                    </a:lnTo>
                    <a:lnTo>
                      <a:pt x="91" y="138"/>
                    </a:lnTo>
                    <a:lnTo>
                      <a:pt x="91" y="137"/>
                    </a:lnTo>
                    <a:lnTo>
                      <a:pt x="89" y="134"/>
                    </a:lnTo>
                    <a:lnTo>
                      <a:pt x="84" y="131"/>
                    </a:lnTo>
                    <a:lnTo>
                      <a:pt x="81" y="128"/>
                    </a:lnTo>
                    <a:lnTo>
                      <a:pt x="80" y="129"/>
                    </a:lnTo>
                    <a:lnTo>
                      <a:pt x="79" y="128"/>
                    </a:lnTo>
                    <a:lnTo>
                      <a:pt x="77" y="122"/>
                    </a:lnTo>
                    <a:lnTo>
                      <a:pt x="76" y="119"/>
                    </a:lnTo>
                    <a:lnTo>
                      <a:pt x="74" y="118"/>
                    </a:lnTo>
                    <a:lnTo>
                      <a:pt x="73" y="115"/>
                    </a:lnTo>
                    <a:lnTo>
                      <a:pt x="64" y="108"/>
                    </a:lnTo>
                    <a:lnTo>
                      <a:pt x="63" y="106"/>
                    </a:lnTo>
                    <a:lnTo>
                      <a:pt x="61" y="103"/>
                    </a:lnTo>
                    <a:lnTo>
                      <a:pt x="60" y="101"/>
                    </a:lnTo>
                    <a:lnTo>
                      <a:pt x="58" y="99"/>
                    </a:lnTo>
                    <a:lnTo>
                      <a:pt x="57" y="98"/>
                    </a:lnTo>
                    <a:lnTo>
                      <a:pt x="56" y="96"/>
                    </a:lnTo>
                    <a:lnTo>
                      <a:pt x="54" y="96"/>
                    </a:lnTo>
                    <a:lnTo>
                      <a:pt x="54" y="95"/>
                    </a:lnTo>
                    <a:lnTo>
                      <a:pt x="53" y="93"/>
                    </a:lnTo>
                    <a:lnTo>
                      <a:pt x="51" y="92"/>
                    </a:lnTo>
                    <a:lnTo>
                      <a:pt x="51" y="91"/>
                    </a:lnTo>
                    <a:lnTo>
                      <a:pt x="51" y="89"/>
                    </a:lnTo>
                    <a:lnTo>
                      <a:pt x="50" y="88"/>
                    </a:lnTo>
                    <a:lnTo>
                      <a:pt x="48" y="86"/>
                    </a:lnTo>
                    <a:lnTo>
                      <a:pt x="44" y="85"/>
                    </a:lnTo>
                    <a:lnTo>
                      <a:pt x="43" y="83"/>
                    </a:lnTo>
                    <a:lnTo>
                      <a:pt x="35" y="79"/>
                    </a:lnTo>
                    <a:lnTo>
                      <a:pt x="33" y="78"/>
                    </a:lnTo>
                    <a:lnTo>
                      <a:pt x="31" y="76"/>
                    </a:lnTo>
                    <a:lnTo>
                      <a:pt x="34" y="72"/>
                    </a:lnTo>
                    <a:lnTo>
                      <a:pt x="34" y="70"/>
                    </a:lnTo>
                    <a:lnTo>
                      <a:pt x="33" y="70"/>
                    </a:lnTo>
                    <a:lnTo>
                      <a:pt x="33" y="70"/>
                    </a:lnTo>
                    <a:lnTo>
                      <a:pt x="34" y="69"/>
                    </a:lnTo>
                    <a:lnTo>
                      <a:pt x="35" y="69"/>
                    </a:lnTo>
                    <a:lnTo>
                      <a:pt x="38" y="69"/>
                    </a:lnTo>
                    <a:lnTo>
                      <a:pt x="40" y="70"/>
                    </a:lnTo>
                    <a:lnTo>
                      <a:pt x="41" y="70"/>
                    </a:lnTo>
                    <a:lnTo>
                      <a:pt x="44" y="69"/>
                    </a:lnTo>
                    <a:lnTo>
                      <a:pt x="47" y="66"/>
                    </a:lnTo>
                    <a:lnTo>
                      <a:pt x="48" y="63"/>
                    </a:lnTo>
                    <a:lnTo>
                      <a:pt x="48" y="60"/>
                    </a:lnTo>
                    <a:lnTo>
                      <a:pt x="47" y="60"/>
                    </a:lnTo>
                    <a:lnTo>
                      <a:pt x="47" y="59"/>
                    </a:lnTo>
                    <a:lnTo>
                      <a:pt x="46" y="59"/>
                    </a:lnTo>
                    <a:lnTo>
                      <a:pt x="46" y="59"/>
                    </a:lnTo>
                    <a:lnTo>
                      <a:pt x="44" y="57"/>
                    </a:lnTo>
                    <a:lnTo>
                      <a:pt x="44" y="57"/>
                    </a:lnTo>
                    <a:lnTo>
                      <a:pt x="41" y="56"/>
                    </a:lnTo>
                    <a:lnTo>
                      <a:pt x="40" y="56"/>
                    </a:lnTo>
                    <a:lnTo>
                      <a:pt x="38" y="55"/>
                    </a:lnTo>
                    <a:lnTo>
                      <a:pt x="41" y="53"/>
                    </a:lnTo>
                    <a:lnTo>
                      <a:pt x="43" y="53"/>
                    </a:lnTo>
                    <a:lnTo>
                      <a:pt x="43" y="52"/>
                    </a:lnTo>
                    <a:lnTo>
                      <a:pt x="41" y="50"/>
                    </a:lnTo>
                    <a:lnTo>
                      <a:pt x="40" y="49"/>
                    </a:lnTo>
                    <a:lnTo>
                      <a:pt x="37" y="47"/>
                    </a:lnTo>
                    <a:lnTo>
                      <a:pt x="35" y="46"/>
                    </a:lnTo>
                    <a:lnTo>
                      <a:pt x="34" y="46"/>
                    </a:lnTo>
                    <a:lnTo>
                      <a:pt x="33" y="46"/>
                    </a:lnTo>
                    <a:lnTo>
                      <a:pt x="30" y="47"/>
                    </a:lnTo>
                    <a:lnTo>
                      <a:pt x="27" y="49"/>
                    </a:lnTo>
                    <a:lnTo>
                      <a:pt x="25" y="49"/>
                    </a:lnTo>
                    <a:lnTo>
                      <a:pt x="24" y="49"/>
                    </a:lnTo>
                    <a:lnTo>
                      <a:pt x="20" y="47"/>
                    </a:lnTo>
                    <a:lnTo>
                      <a:pt x="17" y="46"/>
                    </a:lnTo>
                    <a:lnTo>
                      <a:pt x="14" y="43"/>
                    </a:lnTo>
                    <a:lnTo>
                      <a:pt x="12" y="39"/>
                    </a:lnTo>
                    <a:lnTo>
                      <a:pt x="12" y="37"/>
                    </a:lnTo>
                    <a:lnTo>
                      <a:pt x="14" y="34"/>
                    </a:lnTo>
                    <a:lnTo>
                      <a:pt x="14" y="33"/>
                    </a:lnTo>
                    <a:lnTo>
                      <a:pt x="14" y="32"/>
                    </a:lnTo>
                    <a:lnTo>
                      <a:pt x="12" y="30"/>
                    </a:lnTo>
                    <a:lnTo>
                      <a:pt x="12" y="30"/>
                    </a:lnTo>
                    <a:lnTo>
                      <a:pt x="11" y="29"/>
                    </a:lnTo>
                    <a:lnTo>
                      <a:pt x="11" y="32"/>
                    </a:lnTo>
                    <a:lnTo>
                      <a:pt x="10" y="32"/>
                    </a:lnTo>
                    <a:lnTo>
                      <a:pt x="8" y="29"/>
                    </a:lnTo>
                    <a:lnTo>
                      <a:pt x="5" y="26"/>
                    </a:lnTo>
                    <a:lnTo>
                      <a:pt x="1" y="22"/>
                    </a:lnTo>
                    <a:lnTo>
                      <a:pt x="0" y="19"/>
                    </a:lnTo>
                    <a:lnTo>
                      <a:pt x="2" y="16"/>
                    </a:lnTo>
                    <a:lnTo>
                      <a:pt x="4" y="13"/>
                    </a:lnTo>
                    <a:lnTo>
                      <a:pt x="5" y="11"/>
                    </a:lnTo>
                    <a:lnTo>
                      <a:pt x="10" y="13"/>
                    </a:lnTo>
                    <a:lnTo>
                      <a:pt x="12" y="16"/>
                    </a:lnTo>
                    <a:lnTo>
                      <a:pt x="14" y="17"/>
                    </a:lnTo>
                    <a:lnTo>
                      <a:pt x="15" y="16"/>
                    </a:lnTo>
                    <a:lnTo>
                      <a:pt x="17" y="16"/>
                    </a:lnTo>
                    <a:lnTo>
                      <a:pt x="18" y="14"/>
                    </a:lnTo>
                    <a:lnTo>
                      <a:pt x="20" y="11"/>
                    </a:lnTo>
                    <a:lnTo>
                      <a:pt x="20" y="11"/>
                    </a:lnTo>
                    <a:lnTo>
                      <a:pt x="20" y="11"/>
                    </a:lnTo>
                    <a:lnTo>
                      <a:pt x="21" y="11"/>
                    </a:lnTo>
                    <a:lnTo>
                      <a:pt x="21" y="11"/>
                    </a:lnTo>
                    <a:lnTo>
                      <a:pt x="23" y="14"/>
                    </a:lnTo>
                    <a:lnTo>
                      <a:pt x="23" y="14"/>
                    </a:lnTo>
                    <a:lnTo>
                      <a:pt x="24" y="14"/>
                    </a:lnTo>
                    <a:lnTo>
                      <a:pt x="25" y="11"/>
                    </a:lnTo>
                    <a:lnTo>
                      <a:pt x="25" y="11"/>
                    </a:lnTo>
                    <a:lnTo>
                      <a:pt x="27" y="11"/>
                    </a:lnTo>
                    <a:lnTo>
                      <a:pt x="28" y="13"/>
                    </a:lnTo>
                    <a:lnTo>
                      <a:pt x="30" y="14"/>
                    </a:lnTo>
                    <a:lnTo>
                      <a:pt x="31" y="14"/>
                    </a:lnTo>
                    <a:lnTo>
                      <a:pt x="33" y="14"/>
                    </a:lnTo>
                    <a:lnTo>
                      <a:pt x="33" y="13"/>
                    </a:lnTo>
                    <a:lnTo>
                      <a:pt x="34" y="11"/>
                    </a:lnTo>
                    <a:lnTo>
                      <a:pt x="35" y="10"/>
                    </a:lnTo>
                    <a:lnTo>
                      <a:pt x="35" y="10"/>
                    </a:lnTo>
                    <a:lnTo>
                      <a:pt x="37" y="11"/>
                    </a:lnTo>
                    <a:lnTo>
                      <a:pt x="37" y="11"/>
                    </a:lnTo>
                    <a:lnTo>
                      <a:pt x="37" y="11"/>
                    </a:lnTo>
                    <a:lnTo>
                      <a:pt x="38" y="11"/>
                    </a:lnTo>
                    <a:lnTo>
                      <a:pt x="40" y="11"/>
                    </a:lnTo>
                    <a:lnTo>
                      <a:pt x="40" y="11"/>
                    </a:lnTo>
                    <a:lnTo>
                      <a:pt x="41" y="10"/>
                    </a:lnTo>
                    <a:lnTo>
                      <a:pt x="43" y="10"/>
                    </a:lnTo>
                    <a:lnTo>
                      <a:pt x="44" y="10"/>
                    </a:lnTo>
                    <a:lnTo>
                      <a:pt x="46" y="9"/>
                    </a:lnTo>
                    <a:lnTo>
                      <a:pt x="46" y="7"/>
                    </a:lnTo>
                    <a:lnTo>
                      <a:pt x="47" y="4"/>
                    </a:lnTo>
                    <a:lnTo>
                      <a:pt x="48" y="4"/>
                    </a:lnTo>
                    <a:lnTo>
                      <a:pt x="48" y="3"/>
                    </a:lnTo>
                    <a:lnTo>
                      <a:pt x="53" y="1"/>
                    </a:lnTo>
                    <a:lnTo>
                      <a:pt x="54" y="0"/>
                    </a:lnTo>
                    <a:lnTo>
                      <a:pt x="57" y="1"/>
                    </a:lnTo>
                    <a:lnTo>
                      <a:pt x="61" y="6"/>
                    </a:lnTo>
                    <a:lnTo>
                      <a:pt x="64" y="7"/>
                    </a:lnTo>
                    <a:lnTo>
                      <a:pt x="66" y="7"/>
                    </a:lnTo>
                    <a:lnTo>
                      <a:pt x="68" y="7"/>
                    </a:lnTo>
                    <a:lnTo>
                      <a:pt x="70" y="7"/>
                    </a:lnTo>
                    <a:lnTo>
                      <a:pt x="70" y="7"/>
                    </a:lnTo>
                    <a:lnTo>
                      <a:pt x="71" y="9"/>
                    </a:lnTo>
                    <a:lnTo>
                      <a:pt x="73" y="9"/>
                    </a:lnTo>
                    <a:lnTo>
                      <a:pt x="76" y="9"/>
                    </a:lnTo>
                    <a:lnTo>
                      <a:pt x="77" y="9"/>
                    </a:lnTo>
                    <a:lnTo>
                      <a:pt x="80" y="9"/>
                    </a:lnTo>
                    <a:lnTo>
                      <a:pt x="81" y="10"/>
                    </a:lnTo>
                    <a:lnTo>
                      <a:pt x="81" y="11"/>
                    </a:lnTo>
                    <a:lnTo>
                      <a:pt x="80" y="13"/>
                    </a:lnTo>
                    <a:lnTo>
                      <a:pt x="79" y="14"/>
                    </a:lnTo>
                    <a:lnTo>
                      <a:pt x="77" y="14"/>
                    </a:lnTo>
                    <a:lnTo>
                      <a:pt x="77" y="17"/>
                    </a:lnTo>
                    <a:lnTo>
                      <a:pt x="77" y="19"/>
                    </a:lnTo>
                    <a:lnTo>
                      <a:pt x="79" y="19"/>
                    </a:lnTo>
                    <a:lnTo>
                      <a:pt x="79" y="20"/>
                    </a:lnTo>
                    <a:lnTo>
                      <a:pt x="79" y="22"/>
                    </a:lnTo>
                    <a:lnTo>
                      <a:pt x="79" y="26"/>
                    </a:lnTo>
                    <a:lnTo>
                      <a:pt x="81" y="26"/>
                    </a:lnTo>
                    <a:lnTo>
                      <a:pt x="84" y="27"/>
                    </a:lnTo>
                    <a:lnTo>
                      <a:pt x="89" y="32"/>
                    </a:lnTo>
                    <a:lnTo>
                      <a:pt x="91" y="33"/>
                    </a:lnTo>
                    <a:lnTo>
                      <a:pt x="99" y="33"/>
                    </a:lnTo>
                    <a:close/>
                    <a:moveTo>
                      <a:pt x="79" y="269"/>
                    </a:moveTo>
                    <a:lnTo>
                      <a:pt x="79" y="267"/>
                    </a:lnTo>
                    <a:lnTo>
                      <a:pt x="77" y="269"/>
                    </a:lnTo>
                    <a:lnTo>
                      <a:pt x="79" y="269"/>
                    </a:lnTo>
                    <a:lnTo>
                      <a:pt x="79" y="269"/>
                    </a:lnTo>
                    <a:lnTo>
                      <a:pt x="79" y="269"/>
                    </a:lnTo>
                    <a:close/>
                    <a:moveTo>
                      <a:pt x="87" y="239"/>
                    </a:moveTo>
                    <a:lnTo>
                      <a:pt x="89" y="237"/>
                    </a:lnTo>
                    <a:lnTo>
                      <a:pt x="86" y="239"/>
                    </a:lnTo>
                    <a:lnTo>
                      <a:pt x="87" y="239"/>
                    </a:lnTo>
                    <a:lnTo>
                      <a:pt x="87" y="239"/>
                    </a:lnTo>
                    <a:lnTo>
                      <a:pt x="87" y="23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39" name="Freeform 135">
                <a:extLst>
                  <a:ext uri="{FF2B5EF4-FFF2-40B4-BE49-F238E27FC236}">
                    <a16:creationId xmlns:a16="http://schemas.microsoft.com/office/drawing/2014/main" id="{C392BAC6-2B01-C457-9246-1CC238E83F3D}"/>
                  </a:ext>
                </a:extLst>
              </p:cNvPr>
              <p:cNvSpPr>
                <a:spLocks noEditPoints="1"/>
              </p:cNvSpPr>
              <p:nvPr/>
            </p:nvSpPr>
            <p:spPr bwMode="auto">
              <a:xfrm>
                <a:off x="6950164" y="3416921"/>
                <a:ext cx="199543" cy="263165"/>
              </a:xfrm>
              <a:custGeom>
                <a:avLst/>
                <a:gdLst>
                  <a:gd name="T0" fmla="*/ 72 w 138"/>
                  <a:gd name="T1" fmla="*/ 4 h 182"/>
                  <a:gd name="T2" fmla="*/ 74 w 138"/>
                  <a:gd name="T3" fmla="*/ 1 h 182"/>
                  <a:gd name="T4" fmla="*/ 77 w 138"/>
                  <a:gd name="T5" fmla="*/ 0 h 182"/>
                  <a:gd name="T6" fmla="*/ 77 w 138"/>
                  <a:gd name="T7" fmla="*/ 5 h 182"/>
                  <a:gd name="T8" fmla="*/ 73 w 138"/>
                  <a:gd name="T9" fmla="*/ 12 h 182"/>
                  <a:gd name="T10" fmla="*/ 73 w 138"/>
                  <a:gd name="T11" fmla="*/ 5 h 182"/>
                  <a:gd name="T12" fmla="*/ 74 w 138"/>
                  <a:gd name="T13" fmla="*/ 20 h 182"/>
                  <a:gd name="T14" fmla="*/ 74 w 138"/>
                  <a:gd name="T15" fmla="*/ 21 h 182"/>
                  <a:gd name="T16" fmla="*/ 76 w 138"/>
                  <a:gd name="T17" fmla="*/ 27 h 182"/>
                  <a:gd name="T18" fmla="*/ 80 w 138"/>
                  <a:gd name="T19" fmla="*/ 33 h 182"/>
                  <a:gd name="T20" fmla="*/ 90 w 138"/>
                  <a:gd name="T21" fmla="*/ 44 h 182"/>
                  <a:gd name="T22" fmla="*/ 112 w 138"/>
                  <a:gd name="T23" fmla="*/ 51 h 182"/>
                  <a:gd name="T24" fmla="*/ 122 w 138"/>
                  <a:gd name="T25" fmla="*/ 57 h 182"/>
                  <a:gd name="T26" fmla="*/ 129 w 138"/>
                  <a:gd name="T27" fmla="*/ 68 h 182"/>
                  <a:gd name="T28" fmla="*/ 135 w 138"/>
                  <a:gd name="T29" fmla="*/ 71 h 182"/>
                  <a:gd name="T30" fmla="*/ 138 w 138"/>
                  <a:gd name="T31" fmla="*/ 76 h 182"/>
                  <a:gd name="T32" fmla="*/ 135 w 138"/>
                  <a:gd name="T33" fmla="*/ 81 h 182"/>
                  <a:gd name="T34" fmla="*/ 122 w 138"/>
                  <a:gd name="T35" fmla="*/ 99 h 182"/>
                  <a:gd name="T36" fmla="*/ 118 w 138"/>
                  <a:gd name="T37" fmla="*/ 107 h 182"/>
                  <a:gd name="T38" fmla="*/ 113 w 138"/>
                  <a:gd name="T39" fmla="*/ 112 h 182"/>
                  <a:gd name="T40" fmla="*/ 109 w 138"/>
                  <a:gd name="T41" fmla="*/ 112 h 182"/>
                  <a:gd name="T42" fmla="*/ 105 w 138"/>
                  <a:gd name="T43" fmla="*/ 112 h 182"/>
                  <a:gd name="T44" fmla="*/ 100 w 138"/>
                  <a:gd name="T45" fmla="*/ 127 h 182"/>
                  <a:gd name="T46" fmla="*/ 100 w 138"/>
                  <a:gd name="T47" fmla="*/ 139 h 182"/>
                  <a:gd name="T48" fmla="*/ 92 w 138"/>
                  <a:gd name="T49" fmla="*/ 140 h 182"/>
                  <a:gd name="T50" fmla="*/ 84 w 138"/>
                  <a:gd name="T51" fmla="*/ 143 h 182"/>
                  <a:gd name="T52" fmla="*/ 80 w 138"/>
                  <a:gd name="T53" fmla="*/ 150 h 182"/>
                  <a:gd name="T54" fmla="*/ 79 w 138"/>
                  <a:gd name="T55" fmla="*/ 156 h 182"/>
                  <a:gd name="T56" fmla="*/ 72 w 138"/>
                  <a:gd name="T57" fmla="*/ 159 h 182"/>
                  <a:gd name="T58" fmla="*/ 62 w 138"/>
                  <a:gd name="T59" fmla="*/ 160 h 182"/>
                  <a:gd name="T60" fmla="*/ 57 w 138"/>
                  <a:gd name="T61" fmla="*/ 165 h 182"/>
                  <a:gd name="T62" fmla="*/ 56 w 138"/>
                  <a:gd name="T63" fmla="*/ 173 h 182"/>
                  <a:gd name="T64" fmla="*/ 49 w 138"/>
                  <a:gd name="T65" fmla="*/ 176 h 182"/>
                  <a:gd name="T66" fmla="*/ 39 w 138"/>
                  <a:gd name="T67" fmla="*/ 176 h 182"/>
                  <a:gd name="T68" fmla="*/ 30 w 138"/>
                  <a:gd name="T69" fmla="*/ 179 h 182"/>
                  <a:gd name="T70" fmla="*/ 18 w 138"/>
                  <a:gd name="T71" fmla="*/ 182 h 182"/>
                  <a:gd name="T72" fmla="*/ 50 w 138"/>
                  <a:gd name="T73" fmla="*/ 122 h 182"/>
                  <a:gd name="T74" fmla="*/ 54 w 138"/>
                  <a:gd name="T75" fmla="*/ 117 h 182"/>
                  <a:gd name="T76" fmla="*/ 63 w 138"/>
                  <a:gd name="T77" fmla="*/ 84 h 182"/>
                  <a:gd name="T78" fmla="*/ 62 w 138"/>
                  <a:gd name="T79" fmla="*/ 77 h 182"/>
                  <a:gd name="T80" fmla="*/ 56 w 138"/>
                  <a:gd name="T81" fmla="*/ 66 h 182"/>
                  <a:gd name="T82" fmla="*/ 57 w 138"/>
                  <a:gd name="T83" fmla="*/ 58 h 182"/>
                  <a:gd name="T84" fmla="*/ 62 w 138"/>
                  <a:gd name="T85" fmla="*/ 50 h 182"/>
                  <a:gd name="T86" fmla="*/ 62 w 138"/>
                  <a:gd name="T87" fmla="*/ 45 h 182"/>
                  <a:gd name="T88" fmla="*/ 67 w 138"/>
                  <a:gd name="T89" fmla="*/ 44 h 182"/>
                  <a:gd name="T90" fmla="*/ 70 w 138"/>
                  <a:gd name="T91" fmla="*/ 43 h 182"/>
                  <a:gd name="T92" fmla="*/ 69 w 138"/>
                  <a:gd name="T93" fmla="*/ 41 h 182"/>
                  <a:gd name="T94" fmla="*/ 67 w 138"/>
                  <a:gd name="T95" fmla="*/ 40 h 182"/>
                  <a:gd name="T96" fmla="*/ 66 w 138"/>
                  <a:gd name="T97" fmla="*/ 37 h 182"/>
                  <a:gd name="T98" fmla="*/ 67 w 138"/>
                  <a:gd name="T99" fmla="*/ 27 h 182"/>
                  <a:gd name="T100" fmla="*/ 69 w 138"/>
                  <a:gd name="T101" fmla="*/ 25 h 182"/>
                  <a:gd name="T102" fmla="*/ 70 w 138"/>
                  <a:gd name="T103" fmla="*/ 27 h 182"/>
                  <a:gd name="T104" fmla="*/ 70 w 138"/>
                  <a:gd name="T105" fmla="*/ 28 h 182"/>
                  <a:gd name="T106" fmla="*/ 72 w 138"/>
                  <a:gd name="T107" fmla="*/ 30 h 182"/>
                  <a:gd name="T108" fmla="*/ 74 w 138"/>
                  <a:gd name="T109" fmla="*/ 28 h 182"/>
                  <a:gd name="T110" fmla="*/ 119 w 138"/>
                  <a:gd name="T111" fmla="*/ 110 h 182"/>
                  <a:gd name="T112" fmla="*/ 118 w 138"/>
                  <a:gd name="T113" fmla="*/ 114 h 182"/>
                  <a:gd name="T114" fmla="*/ 119 w 138"/>
                  <a:gd name="T115" fmla="*/ 114 h 182"/>
                  <a:gd name="T116" fmla="*/ 122 w 138"/>
                  <a:gd name="T117" fmla="*/ 110 h 182"/>
                  <a:gd name="T118" fmla="*/ 119 w 138"/>
                  <a:gd name="T119" fmla="*/ 11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8" h="182">
                    <a:moveTo>
                      <a:pt x="73" y="5"/>
                    </a:moveTo>
                    <a:lnTo>
                      <a:pt x="72" y="4"/>
                    </a:lnTo>
                    <a:lnTo>
                      <a:pt x="73" y="2"/>
                    </a:lnTo>
                    <a:lnTo>
                      <a:pt x="74" y="1"/>
                    </a:lnTo>
                    <a:lnTo>
                      <a:pt x="76" y="0"/>
                    </a:lnTo>
                    <a:lnTo>
                      <a:pt x="77" y="0"/>
                    </a:lnTo>
                    <a:lnTo>
                      <a:pt x="79" y="2"/>
                    </a:lnTo>
                    <a:lnTo>
                      <a:pt x="77" y="5"/>
                    </a:lnTo>
                    <a:lnTo>
                      <a:pt x="76" y="12"/>
                    </a:lnTo>
                    <a:lnTo>
                      <a:pt x="73" y="12"/>
                    </a:lnTo>
                    <a:lnTo>
                      <a:pt x="73" y="10"/>
                    </a:lnTo>
                    <a:lnTo>
                      <a:pt x="73" y="5"/>
                    </a:lnTo>
                    <a:close/>
                    <a:moveTo>
                      <a:pt x="74" y="20"/>
                    </a:moveTo>
                    <a:lnTo>
                      <a:pt x="74" y="20"/>
                    </a:lnTo>
                    <a:lnTo>
                      <a:pt x="74" y="21"/>
                    </a:lnTo>
                    <a:lnTo>
                      <a:pt x="74" y="21"/>
                    </a:lnTo>
                    <a:lnTo>
                      <a:pt x="74" y="20"/>
                    </a:lnTo>
                    <a:close/>
                    <a:moveTo>
                      <a:pt x="76" y="27"/>
                    </a:moveTo>
                    <a:lnTo>
                      <a:pt x="77" y="25"/>
                    </a:lnTo>
                    <a:lnTo>
                      <a:pt x="80" y="33"/>
                    </a:lnTo>
                    <a:lnTo>
                      <a:pt x="84" y="40"/>
                    </a:lnTo>
                    <a:lnTo>
                      <a:pt x="90" y="44"/>
                    </a:lnTo>
                    <a:lnTo>
                      <a:pt x="99" y="48"/>
                    </a:lnTo>
                    <a:lnTo>
                      <a:pt x="112" y="51"/>
                    </a:lnTo>
                    <a:lnTo>
                      <a:pt x="118" y="53"/>
                    </a:lnTo>
                    <a:lnTo>
                      <a:pt x="122" y="57"/>
                    </a:lnTo>
                    <a:lnTo>
                      <a:pt x="125" y="63"/>
                    </a:lnTo>
                    <a:lnTo>
                      <a:pt x="129" y="68"/>
                    </a:lnTo>
                    <a:lnTo>
                      <a:pt x="132" y="71"/>
                    </a:lnTo>
                    <a:lnTo>
                      <a:pt x="135" y="71"/>
                    </a:lnTo>
                    <a:lnTo>
                      <a:pt x="136" y="73"/>
                    </a:lnTo>
                    <a:lnTo>
                      <a:pt x="138" y="76"/>
                    </a:lnTo>
                    <a:lnTo>
                      <a:pt x="136" y="79"/>
                    </a:lnTo>
                    <a:lnTo>
                      <a:pt x="135" y="81"/>
                    </a:lnTo>
                    <a:lnTo>
                      <a:pt x="129" y="90"/>
                    </a:lnTo>
                    <a:lnTo>
                      <a:pt x="122" y="99"/>
                    </a:lnTo>
                    <a:lnTo>
                      <a:pt x="120" y="102"/>
                    </a:lnTo>
                    <a:lnTo>
                      <a:pt x="118" y="107"/>
                    </a:lnTo>
                    <a:lnTo>
                      <a:pt x="115" y="110"/>
                    </a:lnTo>
                    <a:lnTo>
                      <a:pt x="113" y="112"/>
                    </a:lnTo>
                    <a:lnTo>
                      <a:pt x="110" y="113"/>
                    </a:lnTo>
                    <a:lnTo>
                      <a:pt x="109" y="112"/>
                    </a:lnTo>
                    <a:lnTo>
                      <a:pt x="110" y="109"/>
                    </a:lnTo>
                    <a:lnTo>
                      <a:pt x="105" y="112"/>
                    </a:lnTo>
                    <a:lnTo>
                      <a:pt x="102" y="119"/>
                    </a:lnTo>
                    <a:lnTo>
                      <a:pt x="100" y="127"/>
                    </a:lnTo>
                    <a:lnTo>
                      <a:pt x="102" y="137"/>
                    </a:lnTo>
                    <a:lnTo>
                      <a:pt x="100" y="139"/>
                    </a:lnTo>
                    <a:lnTo>
                      <a:pt x="99" y="140"/>
                    </a:lnTo>
                    <a:lnTo>
                      <a:pt x="92" y="140"/>
                    </a:lnTo>
                    <a:lnTo>
                      <a:pt x="87" y="142"/>
                    </a:lnTo>
                    <a:lnTo>
                      <a:pt x="84" y="143"/>
                    </a:lnTo>
                    <a:lnTo>
                      <a:pt x="82" y="146"/>
                    </a:lnTo>
                    <a:lnTo>
                      <a:pt x="80" y="150"/>
                    </a:lnTo>
                    <a:lnTo>
                      <a:pt x="80" y="153"/>
                    </a:lnTo>
                    <a:lnTo>
                      <a:pt x="79" y="156"/>
                    </a:lnTo>
                    <a:lnTo>
                      <a:pt x="74" y="159"/>
                    </a:lnTo>
                    <a:lnTo>
                      <a:pt x="72" y="159"/>
                    </a:lnTo>
                    <a:lnTo>
                      <a:pt x="64" y="159"/>
                    </a:lnTo>
                    <a:lnTo>
                      <a:pt x="62" y="160"/>
                    </a:lnTo>
                    <a:lnTo>
                      <a:pt x="59" y="163"/>
                    </a:lnTo>
                    <a:lnTo>
                      <a:pt x="57" y="165"/>
                    </a:lnTo>
                    <a:lnTo>
                      <a:pt x="57" y="171"/>
                    </a:lnTo>
                    <a:lnTo>
                      <a:pt x="56" y="173"/>
                    </a:lnTo>
                    <a:lnTo>
                      <a:pt x="53" y="175"/>
                    </a:lnTo>
                    <a:lnTo>
                      <a:pt x="49" y="176"/>
                    </a:lnTo>
                    <a:lnTo>
                      <a:pt x="41" y="175"/>
                    </a:lnTo>
                    <a:lnTo>
                      <a:pt x="39" y="176"/>
                    </a:lnTo>
                    <a:lnTo>
                      <a:pt x="36" y="176"/>
                    </a:lnTo>
                    <a:lnTo>
                      <a:pt x="30" y="179"/>
                    </a:lnTo>
                    <a:lnTo>
                      <a:pt x="23" y="181"/>
                    </a:lnTo>
                    <a:lnTo>
                      <a:pt x="18" y="182"/>
                    </a:lnTo>
                    <a:lnTo>
                      <a:pt x="0" y="139"/>
                    </a:lnTo>
                    <a:lnTo>
                      <a:pt x="50" y="122"/>
                    </a:lnTo>
                    <a:lnTo>
                      <a:pt x="53" y="120"/>
                    </a:lnTo>
                    <a:lnTo>
                      <a:pt x="54" y="117"/>
                    </a:lnTo>
                    <a:lnTo>
                      <a:pt x="63" y="87"/>
                    </a:lnTo>
                    <a:lnTo>
                      <a:pt x="63" y="84"/>
                    </a:lnTo>
                    <a:lnTo>
                      <a:pt x="63" y="80"/>
                    </a:lnTo>
                    <a:lnTo>
                      <a:pt x="62" y="77"/>
                    </a:lnTo>
                    <a:lnTo>
                      <a:pt x="56" y="68"/>
                    </a:lnTo>
                    <a:lnTo>
                      <a:pt x="56" y="66"/>
                    </a:lnTo>
                    <a:lnTo>
                      <a:pt x="57" y="63"/>
                    </a:lnTo>
                    <a:lnTo>
                      <a:pt x="57" y="58"/>
                    </a:lnTo>
                    <a:lnTo>
                      <a:pt x="59" y="56"/>
                    </a:lnTo>
                    <a:lnTo>
                      <a:pt x="62" y="50"/>
                    </a:lnTo>
                    <a:lnTo>
                      <a:pt x="62" y="48"/>
                    </a:lnTo>
                    <a:lnTo>
                      <a:pt x="62" y="45"/>
                    </a:lnTo>
                    <a:lnTo>
                      <a:pt x="63" y="44"/>
                    </a:lnTo>
                    <a:lnTo>
                      <a:pt x="67" y="44"/>
                    </a:lnTo>
                    <a:lnTo>
                      <a:pt x="69" y="44"/>
                    </a:lnTo>
                    <a:lnTo>
                      <a:pt x="70" y="43"/>
                    </a:lnTo>
                    <a:lnTo>
                      <a:pt x="69" y="41"/>
                    </a:lnTo>
                    <a:lnTo>
                      <a:pt x="69" y="41"/>
                    </a:lnTo>
                    <a:lnTo>
                      <a:pt x="67" y="40"/>
                    </a:lnTo>
                    <a:lnTo>
                      <a:pt x="67" y="40"/>
                    </a:lnTo>
                    <a:lnTo>
                      <a:pt x="67" y="38"/>
                    </a:lnTo>
                    <a:lnTo>
                      <a:pt x="66" y="37"/>
                    </a:lnTo>
                    <a:lnTo>
                      <a:pt x="66" y="31"/>
                    </a:lnTo>
                    <a:lnTo>
                      <a:pt x="67" y="27"/>
                    </a:lnTo>
                    <a:lnTo>
                      <a:pt x="67" y="27"/>
                    </a:lnTo>
                    <a:lnTo>
                      <a:pt x="69" y="25"/>
                    </a:lnTo>
                    <a:lnTo>
                      <a:pt x="70" y="25"/>
                    </a:lnTo>
                    <a:lnTo>
                      <a:pt x="70" y="27"/>
                    </a:lnTo>
                    <a:lnTo>
                      <a:pt x="70" y="27"/>
                    </a:lnTo>
                    <a:lnTo>
                      <a:pt x="70" y="28"/>
                    </a:lnTo>
                    <a:lnTo>
                      <a:pt x="72" y="30"/>
                    </a:lnTo>
                    <a:lnTo>
                      <a:pt x="72" y="30"/>
                    </a:lnTo>
                    <a:lnTo>
                      <a:pt x="73" y="28"/>
                    </a:lnTo>
                    <a:lnTo>
                      <a:pt x="74" y="28"/>
                    </a:lnTo>
                    <a:lnTo>
                      <a:pt x="76" y="27"/>
                    </a:lnTo>
                    <a:close/>
                    <a:moveTo>
                      <a:pt x="119" y="110"/>
                    </a:moveTo>
                    <a:lnTo>
                      <a:pt x="118" y="112"/>
                    </a:lnTo>
                    <a:lnTo>
                      <a:pt x="118" y="114"/>
                    </a:lnTo>
                    <a:lnTo>
                      <a:pt x="116" y="116"/>
                    </a:lnTo>
                    <a:lnTo>
                      <a:pt x="119" y="114"/>
                    </a:lnTo>
                    <a:lnTo>
                      <a:pt x="120" y="113"/>
                    </a:lnTo>
                    <a:lnTo>
                      <a:pt x="122" y="110"/>
                    </a:lnTo>
                    <a:lnTo>
                      <a:pt x="120" y="107"/>
                    </a:lnTo>
                    <a:lnTo>
                      <a:pt x="119" y="11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0" name="Freeform 136">
                <a:extLst>
                  <a:ext uri="{FF2B5EF4-FFF2-40B4-BE49-F238E27FC236}">
                    <a16:creationId xmlns:a16="http://schemas.microsoft.com/office/drawing/2014/main" id="{4C19E877-8838-267E-77B8-ADE656F81741}"/>
                  </a:ext>
                </a:extLst>
              </p:cNvPr>
              <p:cNvSpPr>
                <a:spLocks noEditPoints="1"/>
              </p:cNvSpPr>
              <p:nvPr/>
            </p:nvSpPr>
            <p:spPr bwMode="auto">
              <a:xfrm>
                <a:off x="6708689" y="3617909"/>
                <a:ext cx="305098" cy="176407"/>
              </a:xfrm>
              <a:custGeom>
                <a:avLst/>
                <a:gdLst>
                  <a:gd name="T0" fmla="*/ 2 w 211"/>
                  <a:gd name="T1" fmla="*/ 67 h 122"/>
                  <a:gd name="T2" fmla="*/ 0 w 211"/>
                  <a:gd name="T3" fmla="*/ 67 h 122"/>
                  <a:gd name="T4" fmla="*/ 4 w 211"/>
                  <a:gd name="T5" fmla="*/ 96 h 122"/>
                  <a:gd name="T6" fmla="*/ 4 w 211"/>
                  <a:gd name="T7" fmla="*/ 96 h 122"/>
                  <a:gd name="T8" fmla="*/ 4 w 211"/>
                  <a:gd name="T9" fmla="*/ 96 h 122"/>
                  <a:gd name="T10" fmla="*/ 4 w 211"/>
                  <a:gd name="T11" fmla="*/ 92 h 122"/>
                  <a:gd name="T12" fmla="*/ 4 w 211"/>
                  <a:gd name="T13" fmla="*/ 90 h 122"/>
                  <a:gd name="T14" fmla="*/ 181 w 211"/>
                  <a:gd name="T15" fmla="*/ 46 h 122"/>
                  <a:gd name="T16" fmla="*/ 170 w 211"/>
                  <a:gd name="T17" fmla="*/ 56 h 122"/>
                  <a:gd name="T18" fmla="*/ 168 w 211"/>
                  <a:gd name="T19" fmla="*/ 63 h 122"/>
                  <a:gd name="T20" fmla="*/ 118 w 211"/>
                  <a:gd name="T21" fmla="*/ 82 h 122"/>
                  <a:gd name="T22" fmla="*/ 109 w 211"/>
                  <a:gd name="T23" fmla="*/ 90 h 122"/>
                  <a:gd name="T24" fmla="*/ 95 w 211"/>
                  <a:gd name="T25" fmla="*/ 92 h 122"/>
                  <a:gd name="T26" fmla="*/ 82 w 211"/>
                  <a:gd name="T27" fmla="*/ 99 h 122"/>
                  <a:gd name="T28" fmla="*/ 60 w 211"/>
                  <a:gd name="T29" fmla="*/ 102 h 122"/>
                  <a:gd name="T30" fmla="*/ 55 w 211"/>
                  <a:gd name="T31" fmla="*/ 105 h 122"/>
                  <a:gd name="T32" fmla="*/ 49 w 211"/>
                  <a:gd name="T33" fmla="*/ 109 h 122"/>
                  <a:gd name="T34" fmla="*/ 45 w 211"/>
                  <a:gd name="T35" fmla="*/ 112 h 122"/>
                  <a:gd name="T36" fmla="*/ 42 w 211"/>
                  <a:gd name="T37" fmla="*/ 113 h 122"/>
                  <a:gd name="T38" fmla="*/ 36 w 211"/>
                  <a:gd name="T39" fmla="*/ 113 h 122"/>
                  <a:gd name="T40" fmla="*/ 26 w 211"/>
                  <a:gd name="T41" fmla="*/ 116 h 122"/>
                  <a:gd name="T42" fmla="*/ 19 w 211"/>
                  <a:gd name="T43" fmla="*/ 115 h 122"/>
                  <a:gd name="T44" fmla="*/ 16 w 211"/>
                  <a:gd name="T45" fmla="*/ 111 h 122"/>
                  <a:gd name="T46" fmla="*/ 13 w 211"/>
                  <a:gd name="T47" fmla="*/ 103 h 122"/>
                  <a:gd name="T48" fmla="*/ 13 w 211"/>
                  <a:gd name="T49" fmla="*/ 95 h 122"/>
                  <a:gd name="T50" fmla="*/ 10 w 211"/>
                  <a:gd name="T51" fmla="*/ 92 h 122"/>
                  <a:gd name="T52" fmla="*/ 10 w 211"/>
                  <a:gd name="T53" fmla="*/ 88 h 122"/>
                  <a:gd name="T54" fmla="*/ 7 w 211"/>
                  <a:gd name="T55" fmla="*/ 75 h 122"/>
                  <a:gd name="T56" fmla="*/ 6 w 211"/>
                  <a:gd name="T57" fmla="*/ 72 h 122"/>
                  <a:gd name="T58" fmla="*/ 3 w 211"/>
                  <a:gd name="T59" fmla="*/ 67 h 122"/>
                  <a:gd name="T60" fmla="*/ 4 w 211"/>
                  <a:gd name="T61" fmla="*/ 66 h 122"/>
                  <a:gd name="T62" fmla="*/ 6 w 211"/>
                  <a:gd name="T63" fmla="*/ 52 h 122"/>
                  <a:gd name="T64" fmla="*/ 10 w 211"/>
                  <a:gd name="T65" fmla="*/ 43 h 122"/>
                  <a:gd name="T66" fmla="*/ 12 w 211"/>
                  <a:gd name="T67" fmla="*/ 36 h 122"/>
                  <a:gd name="T68" fmla="*/ 12 w 211"/>
                  <a:gd name="T69" fmla="*/ 32 h 122"/>
                  <a:gd name="T70" fmla="*/ 12 w 211"/>
                  <a:gd name="T71" fmla="*/ 30 h 122"/>
                  <a:gd name="T72" fmla="*/ 15 w 211"/>
                  <a:gd name="T73" fmla="*/ 29 h 122"/>
                  <a:gd name="T74" fmla="*/ 19 w 211"/>
                  <a:gd name="T75" fmla="*/ 29 h 122"/>
                  <a:gd name="T76" fmla="*/ 43 w 211"/>
                  <a:gd name="T77" fmla="*/ 29 h 122"/>
                  <a:gd name="T78" fmla="*/ 50 w 211"/>
                  <a:gd name="T79" fmla="*/ 30 h 122"/>
                  <a:gd name="T80" fmla="*/ 63 w 211"/>
                  <a:gd name="T81" fmla="*/ 33 h 122"/>
                  <a:gd name="T82" fmla="*/ 76 w 211"/>
                  <a:gd name="T83" fmla="*/ 33 h 122"/>
                  <a:gd name="T84" fmla="*/ 81 w 211"/>
                  <a:gd name="T85" fmla="*/ 37 h 122"/>
                  <a:gd name="T86" fmla="*/ 86 w 211"/>
                  <a:gd name="T87" fmla="*/ 34 h 122"/>
                  <a:gd name="T88" fmla="*/ 102 w 211"/>
                  <a:gd name="T89" fmla="*/ 14 h 122"/>
                  <a:gd name="T90" fmla="*/ 167 w 211"/>
                  <a:gd name="T91" fmla="*/ 0 h 122"/>
                  <a:gd name="T92" fmla="*/ 193 w 211"/>
                  <a:gd name="T93" fmla="*/ 116 h 122"/>
                  <a:gd name="T94" fmla="*/ 198 w 211"/>
                  <a:gd name="T95" fmla="*/ 122 h 122"/>
                  <a:gd name="T96" fmla="*/ 207 w 211"/>
                  <a:gd name="T97" fmla="*/ 121 h 122"/>
                  <a:gd name="T98" fmla="*/ 207 w 211"/>
                  <a:gd name="T99" fmla="*/ 11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1" h="122">
                    <a:moveTo>
                      <a:pt x="2" y="66"/>
                    </a:moveTo>
                    <a:lnTo>
                      <a:pt x="2" y="66"/>
                    </a:lnTo>
                    <a:lnTo>
                      <a:pt x="2" y="67"/>
                    </a:lnTo>
                    <a:lnTo>
                      <a:pt x="2" y="67"/>
                    </a:lnTo>
                    <a:lnTo>
                      <a:pt x="2" y="67"/>
                    </a:lnTo>
                    <a:lnTo>
                      <a:pt x="0" y="67"/>
                    </a:lnTo>
                    <a:lnTo>
                      <a:pt x="2" y="66"/>
                    </a:lnTo>
                    <a:lnTo>
                      <a:pt x="2" y="66"/>
                    </a:lnTo>
                    <a:close/>
                    <a:moveTo>
                      <a:pt x="4" y="96"/>
                    </a:moveTo>
                    <a:lnTo>
                      <a:pt x="3" y="98"/>
                    </a:lnTo>
                    <a:lnTo>
                      <a:pt x="4" y="98"/>
                    </a:lnTo>
                    <a:lnTo>
                      <a:pt x="4" y="96"/>
                    </a:lnTo>
                    <a:lnTo>
                      <a:pt x="4" y="96"/>
                    </a:lnTo>
                    <a:lnTo>
                      <a:pt x="4" y="96"/>
                    </a:lnTo>
                    <a:lnTo>
                      <a:pt x="4" y="96"/>
                    </a:lnTo>
                    <a:close/>
                    <a:moveTo>
                      <a:pt x="4" y="90"/>
                    </a:moveTo>
                    <a:lnTo>
                      <a:pt x="3" y="92"/>
                    </a:lnTo>
                    <a:lnTo>
                      <a:pt x="4" y="92"/>
                    </a:lnTo>
                    <a:lnTo>
                      <a:pt x="4" y="92"/>
                    </a:lnTo>
                    <a:lnTo>
                      <a:pt x="4" y="92"/>
                    </a:lnTo>
                    <a:lnTo>
                      <a:pt x="4" y="90"/>
                    </a:lnTo>
                    <a:close/>
                    <a:moveTo>
                      <a:pt x="167" y="0"/>
                    </a:moveTo>
                    <a:lnTo>
                      <a:pt x="185" y="43"/>
                    </a:lnTo>
                    <a:lnTo>
                      <a:pt x="181" y="46"/>
                    </a:lnTo>
                    <a:lnTo>
                      <a:pt x="175" y="47"/>
                    </a:lnTo>
                    <a:lnTo>
                      <a:pt x="171" y="52"/>
                    </a:lnTo>
                    <a:lnTo>
                      <a:pt x="170" y="56"/>
                    </a:lnTo>
                    <a:lnTo>
                      <a:pt x="170" y="60"/>
                    </a:lnTo>
                    <a:lnTo>
                      <a:pt x="170" y="62"/>
                    </a:lnTo>
                    <a:lnTo>
                      <a:pt x="168" y="63"/>
                    </a:lnTo>
                    <a:lnTo>
                      <a:pt x="157" y="69"/>
                    </a:lnTo>
                    <a:lnTo>
                      <a:pt x="122" y="79"/>
                    </a:lnTo>
                    <a:lnTo>
                      <a:pt x="118" y="82"/>
                    </a:lnTo>
                    <a:lnTo>
                      <a:pt x="115" y="85"/>
                    </a:lnTo>
                    <a:lnTo>
                      <a:pt x="112" y="88"/>
                    </a:lnTo>
                    <a:lnTo>
                      <a:pt x="109" y="90"/>
                    </a:lnTo>
                    <a:lnTo>
                      <a:pt x="105" y="92"/>
                    </a:lnTo>
                    <a:lnTo>
                      <a:pt x="96" y="92"/>
                    </a:lnTo>
                    <a:lnTo>
                      <a:pt x="95" y="92"/>
                    </a:lnTo>
                    <a:lnTo>
                      <a:pt x="92" y="93"/>
                    </a:lnTo>
                    <a:lnTo>
                      <a:pt x="86" y="98"/>
                    </a:lnTo>
                    <a:lnTo>
                      <a:pt x="82" y="99"/>
                    </a:lnTo>
                    <a:lnTo>
                      <a:pt x="78" y="101"/>
                    </a:lnTo>
                    <a:lnTo>
                      <a:pt x="73" y="102"/>
                    </a:lnTo>
                    <a:lnTo>
                      <a:pt x="60" y="102"/>
                    </a:lnTo>
                    <a:lnTo>
                      <a:pt x="58" y="103"/>
                    </a:lnTo>
                    <a:lnTo>
                      <a:pt x="56" y="103"/>
                    </a:lnTo>
                    <a:lnTo>
                      <a:pt x="55" y="105"/>
                    </a:lnTo>
                    <a:lnTo>
                      <a:pt x="53" y="108"/>
                    </a:lnTo>
                    <a:lnTo>
                      <a:pt x="50" y="109"/>
                    </a:lnTo>
                    <a:lnTo>
                      <a:pt x="49" y="109"/>
                    </a:lnTo>
                    <a:lnTo>
                      <a:pt x="48" y="111"/>
                    </a:lnTo>
                    <a:lnTo>
                      <a:pt x="46" y="111"/>
                    </a:lnTo>
                    <a:lnTo>
                      <a:pt x="45" y="112"/>
                    </a:lnTo>
                    <a:lnTo>
                      <a:pt x="45" y="112"/>
                    </a:lnTo>
                    <a:lnTo>
                      <a:pt x="43" y="113"/>
                    </a:lnTo>
                    <a:lnTo>
                      <a:pt x="42" y="113"/>
                    </a:lnTo>
                    <a:lnTo>
                      <a:pt x="40" y="113"/>
                    </a:lnTo>
                    <a:lnTo>
                      <a:pt x="38" y="113"/>
                    </a:lnTo>
                    <a:lnTo>
                      <a:pt x="36" y="113"/>
                    </a:lnTo>
                    <a:lnTo>
                      <a:pt x="30" y="116"/>
                    </a:lnTo>
                    <a:lnTo>
                      <a:pt x="29" y="116"/>
                    </a:lnTo>
                    <a:lnTo>
                      <a:pt x="26" y="116"/>
                    </a:lnTo>
                    <a:lnTo>
                      <a:pt x="23" y="116"/>
                    </a:lnTo>
                    <a:lnTo>
                      <a:pt x="22" y="115"/>
                    </a:lnTo>
                    <a:lnTo>
                      <a:pt x="19" y="115"/>
                    </a:lnTo>
                    <a:lnTo>
                      <a:pt x="17" y="115"/>
                    </a:lnTo>
                    <a:lnTo>
                      <a:pt x="17" y="113"/>
                    </a:lnTo>
                    <a:lnTo>
                      <a:pt x="16" y="111"/>
                    </a:lnTo>
                    <a:lnTo>
                      <a:pt x="15" y="108"/>
                    </a:lnTo>
                    <a:lnTo>
                      <a:pt x="13" y="105"/>
                    </a:lnTo>
                    <a:lnTo>
                      <a:pt x="13" y="103"/>
                    </a:lnTo>
                    <a:lnTo>
                      <a:pt x="13" y="98"/>
                    </a:lnTo>
                    <a:lnTo>
                      <a:pt x="13" y="96"/>
                    </a:lnTo>
                    <a:lnTo>
                      <a:pt x="13" y="95"/>
                    </a:lnTo>
                    <a:lnTo>
                      <a:pt x="12" y="93"/>
                    </a:lnTo>
                    <a:lnTo>
                      <a:pt x="12" y="93"/>
                    </a:lnTo>
                    <a:lnTo>
                      <a:pt x="10" y="92"/>
                    </a:lnTo>
                    <a:lnTo>
                      <a:pt x="10" y="90"/>
                    </a:lnTo>
                    <a:lnTo>
                      <a:pt x="10" y="90"/>
                    </a:lnTo>
                    <a:lnTo>
                      <a:pt x="10" y="88"/>
                    </a:lnTo>
                    <a:lnTo>
                      <a:pt x="7" y="76"/>
                    </a:lnTo>
                    <a:lnTo>
                      <a:pt x="7" y="76"/>
                    </a:lnTo>
                    <a:lnTo>
                      <a:pt x="7" y="75"/>
                    </a:lnTo>
                    <a:lnTo>
                      <a:pt x="7" y="73"/>
                    </a:lnTo>
                    <a:lnTo>
                      <a:pt x="6" y="73"/>
                    </a:lnTo>
                    <a:lnTo>
                      <a:pt x="6" y="72"/>
                    </a:lnTo>
                    <a:lnTo>
                      <a:pt x="4" y="70"/>
                    </a:lnTo>
                    <a:lnTo>
                      <a:pt x="3" y="69"/>
                    </a:lnTo>
                    <a:lnTo>
                      <a:pt x="3" y="67"/>
                    </a:lnTo>
                    <a:lnTo>
                      <a:pt x="3" y="67"/>
                    </a:lnTo>
                    <a:lnTo>
                      <a:pt x="4" y="69"/>
                    </a:lnTo>
                    <a:lnTo>
                      <a:pt x="4" y="66"/>
                    </a:lnTo>
                    <a:lnTo>
                      <a:pt x="4" y="62"/>
                    </a:lnTo>
                    <a:lnTo>
                      <a:pt x="4" y="60"/>
                    </a:lnTo>
                    <a:lnTo>
                      <a:pt x="6" y="52"/>
                    </a:lnTo>
                    <a:lnTo>
                      <a:pt x="4" y="49"/>
                    </a:lnTo>
                    <a:lnTo>
                      <a:pt x="9" y="46"/>
                    </a:lnTo>
                    <a:lnTo>
                      <a:pt x="10" y="43"/>
                    </a:lnTo>
                    <a:lnTo>
                      <a:pt x="12" y="42"/>
                    </a:lnTo>
                    <a:lnTo>
                      <a:pt x="12" y="40"/>
                    </a:lnTo>
                    <a:lnTo>
                      <a:pt x="12" y="36"/>
                    </a:lnTo>
                    <a:lnTo>
                      <a:pt x="12" y="33"/>
                    </a:lnTo>
                    <a:lnTo>
                      <a:pt x="12" y="33"/>
                    </a:lnTo>
                    <a:lnTo>
                      <a:pt x="12" y="32"/>
                    </a:lnTo>
                    <a:lnTo>
                      <a:pt x="12" y="32"/>
                    </a:lnTo>
                    <a:lnTo>
                      <a:pt x="12" y="32"/>
                    </a:lnTo>
                    <a:lnTo>
                      <a:pt x="12" y="30"/>
                    </a:lnTo>
                    <a:lnTo>
                      <a:pt x="13" y="30"/>
                    </a:lnTo>
                    <a:lnTo>
                      <a:pt x="13" y="29"/>
                    </a:lnTo>
                    <a:lnTo>
                      <a:pt x="15" y="29"/>
                    </a:lnTo>
                    <a:lnTo>
                      <a:pt x="16" y="27"/>
                    </a:lnTo>
                    <a:lnTo>
                      <a:pt x="17" y="29"/>
                    </a:lnTo>
                    <a:lnTo>
                      <a:pt x="19" y="29"/>
                    </a:lnTo>
                    <a:lnTo>
                      <a:pt x="22" y="30"/>
                    </a:lnTo>
                    <a:lnTo>
                      <a:pt x="25" y="30"/>
                    </a:lnTo>
                    <a:lnTo>
                      <a:pt x="43" y="29"/>
                    </a:lnTo>
                    <a:lnTo>
                      <a:pt x="46" y="29"/>
                    </a:lnTo>
                    <a:lnTo>
                      <a:pt x="48" y="30"/>
                    </a:lnTo>
                    <a:lnTo>
                      <a:pt x="50" y="30"/>
                    </a:lnTo>
                    <a:lnTo>
                      <a:pt x="53" y="32"/>
                    </a:lnTo>
                    <a:lnTo>
                      <a:pt x="55" y="32"/>
                    </a:lnTo>
                    <a:lnTo>
                      <a:pt x="63" y="33"/>
                    </a:lnTo>
                    <a:lnTo>
                      <a:pt x="72" y="32"/>
                    </a:lnTo>
                    <a:lnTo>
                      <a:pt x="73" y="32"/>
                    </a:lnTo>
                    <a:lnTo>
                      <a:pt x="76" y="33"/>
                    </a:lnTo>
                    <a:lnTo>
                      <a:pt x="76" y="36"/>
                    </a:lnTo>
                    <a:lnTo>
                      <a:pt x="78" y="37"/>
                    </a:lnTo>
                    <a:lnTo>
                      <a:pt x="81" y="37"/>
                    </a:lnTo>
                    <a:lnTo>
                      <a:pt x="83" y="37"/>
                    </a:lnTo>
                    <a:lnTo>
                      <a:pt x="85" y="36"/>
                    </a:lnTo>
                    <a:lnTo>
                      <a:pt x="86" y="34"/>
                    </a:lnTo>
                    <a:lnTo>
                      <a:pt x="88" y="32"/>
                    </a:lnTo>
                    <a:lnTo>
                      <a:pt x="94" y="23"/>
                    </a:lnTo>
                    <a:lnTo>
                      <a:pt x="102" y="14"/>
                    </a:lnTo>
                    <a:lnTo>
                      <a:pt x="111" y="10"/>
                    </a:lnTo>
                    <a:lnTo>
                      <a:pt x="121" y="7"/>
                    </a:lnTo>
                    <a:lnTo>
                      <a:pt x="167" y="0"/>
                    </a:lnTo>
                    <a:close/>
                    <a:moveTo>
                      <a:pt x="198" y="116"/>
                    </a:moveTo>
                    <a:lnTo>
                      <a:pt x="194" y="116"/>
                    </a:lnTo>
                    <a:lnTo>
                      <a:pt x="193" y="116"/>
                    </a:lnTo>
                    <a:lnTo>
                      <a:pt x="190" y="118"/>
                    </a:lnTo>
                    <a:lnTo>
                      <a:pt x="195" y="121"/>
                    </a:lnTo>
                    <a:lnTo>
                      <a:pt x="198" y="122"/>
                    </a:lnTo>
                    <a:lnTo>
                      <a:pt x="201" y="122"/>
                    </a:lnTo>
                    <a:lnTo>
                      <a:pt x="204" y="121"/>
                    </a:lnTo>
                    <a:lnTo>
                      <a:pt x="207" y="121"/>
                    </a:lnTo>
                    <a:lnTo>
                      <a:pt x="208" y="119"/>
                    </a:lnTo>
                    <a:lnTo>
                      <a:pt x="211" y="118"/>
                    </a:lnTo>
                    <a:lnTo>
                      <a:pt x="207" y="116"/>
                    </a:lnTo>
                    <a:lnTo>
                      <a:pt x="198" y="11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1" name="Freeform 137">
                <a:extLst>
                  <a:ext uri="{FF2B5EF4-FFF2-40B4-BE49-F238E27FC236}">
                    <a16:creationId xmlns:a16="http://schemas.microsoft.com/office/drawing/2014/main" id="{AF42C5EB-23D7-7B46-A5C7-3C83F4F423CC}"/>
                  </a:ext>
                </a:extLst>
              </p:cNvPr>
              <p:cNvSpPr>
                <a:spLocks noEditPoints="1"/>
              </p:cNvSpPr>
              <p:nvPr/>
            </p:nvSpPr>
            <p:spPr bwMode="auto">
              <a:xfrm>
                <a:off x="7971012" y="3353299"/>
                <a:ext cx="228462" cy="503194"/>
              </a:xfrm>
              <a:custGeom>
                <a:avLst/>
                <a:gdLst>
                  <a:gd name="T0" fmla="*/ 41 w 158"/>
                  <a:gd name="T1" fmla="*/ 238 h 348"/>
                  <a:gd name="T2" fmla="*/ 108 w 158"/>
                  <a:gd name="T3" fmla="*/ 304 h 348"/>
                  <a:gd name="T4" fmla="*/ 109 w 158"/>
                  <a:gd name="T5" fmla="*/ 317 h 348"/>
                  <a:gd name="T6" fmla="*/ 108 w 158"/>
                  <a:gd name="T7" fmla="*/ 345 h 348"/>
                  <a:gd name="T8" fmla="*/ 112 w 158"/>
                  <a:gd name="T9" fmla="*/ 312 h 348"/>
                  <a:gd name="T10" fmla="*/ 108 w 158"/>
                  <a:gd name="T11" fmla="*/ 294 h 348"/>
                  <a:gd name="T12" fmla="*/ 104 w 158"/>
                  <a:gd name="T13" fmla="*/ 305 h 348"/>
                  <a:gd name="T14" fmla="*/ 108 w 158"/>
                  <a:gd name="T15" fmla="*/ 315 h 348"/>
                  <a:gd name="T16" fmla="*/ 107 w 158"/>
                  <a:gd name="T17" fmla="*/ 331 h 348"/>
                  <a:gd name="T18" fmla="*/ 104 w 158"/>
                  <a:gd name="T19" fmla="*/ 318 h 348"/>
                  <a:gd name="T20" fmla="*/ 112 w 158"/>
                  <a:gd name="T21" fmla="*/ 347 h 348"/>
                  <a:gd name="T22" fmla="*/ 115 w 158"/>
                  <a:gd name="T23" fmla="*/ 315 h 348"/>
                  <a:gd name="T24" fmla="*/ 114 w 158"/>
                  <a:gd name="T25" fmla="*/ 305 h 348"/>
                  <a:gd name="T26" fmla="*/ 108 w 158"/>
                  <a:gd name="T27" fmla="*/ 281 h 348"/>
                  <a:gd name="T28" fmla="*/ 102 w 158"/>
                  <a:gd name="T29" fmla="*/ 266 h 348"/>
                  <a:gd name="T30" fmla="*/ 98 w 158"/>
                  <a:gd name="T31" fmla="*/ 227 h 348"/>
                  <a:gd name="T32" fmla="*/ 82 w 158"/>
                  <a:gd name="T33" fmla="*/ 213 h 348"/>
                  <a:gd name="T34" fmla="*/ 75 w 158"/>
                  <a:gd name="T35" fmla="*/ 229 h 348"/>
                  <a:gd name="T36" fmla="*/ 66 w 158"/>
                  <a:gd name="T37" fmla="*/ 233 h 348"/>
                  <a:gd name="T38" fmla="*/ 52 w 158"/>
                  <a:gd name="T39" fmla="*/ 242 h 348"/>
                  <a:gd name="T40" fmla="*/ 45 w 158"/>
                  <a:gd name="T41" fmla="*/ 229 h 348"/>
                  <a:gd name="T42" fmla="*/ 38 w 158"/>
                  <a:gd name="T43" fmla="*/ 192 h 348"/>
                  <a:gd name="T44" fmla="*/ 25 w 158"/>
                  <a:gd name="T45" fmla="*/ 179 h 348"/>
                  <a:gd name="T46" fmla="*/ 26 w 158"/>
                  <a:gd name="T47" fmla="*/ 169 h 348"/>
                  <a:gd name="T48" fmla="*/ 16 w 158"/>
                  <a:gd name="T49" fmla="*/ 160 h 348"/>
                  <a:gd name="T50" fmla="*/ 12 w 158"/>
                  <a:gd name="T51" fmla="*/ 156 h 348"/>
                  <a:gd name="T52" fmla="*/ 6 w 158"/>
                  <a:gd name="T53" fmla="*/ 138 h 348"/>
                  <a:gd name="T54" fmla="*/ 12 w 158"/>
                  <a:gd name="T55" fmla="*/ 125 h 348"/>
                  <a:gd name="T56" fmla="*/ 18 w 158"/>
                  <a:gd name="T57" fmla="*/ 121 h 348"/>
                  <a:gd name="T58" fmla="*/ 18 w 158"/>
                  <a:gd name="T59" fmla="*/ 107 h 348"/>
                  <a:gd name="T60" fmla="*/ 20 w 158"/>
                  <a:gd name="T61" fmla="*/ 88 h 348"/>
                  <a:gd name="T62" fmla="*/ 26 w 158"/>
                  <a:gd name="T63" fmla="*/ 88 h 348"/>
                  <a:gd name="T64" fmla="*/ 36 w 158"/>
                  <a:gd name="T65" fmla="*/ 87 h 348"/>
                  <a:gd name="T66" fmla="*/ 45 w 158"/>
                  <a:gd name="T67" fmla="*/ 67 h 348"/>
                  <a:gd name="T68" fmla="*/ 42 w 158"/>
                  <a:gd name="T69" fmla="*/ 64 h 348"/>
                  <a:gd name="T70" fmla="*/ 51 w 158"/>
                  <a:gd name="T71" fmla="*/ 54 h 348"/>
                  <a:gd name="T72" fmla="*/ 52 w 158"/>
                  <a:gd name="T73" fmla="*/ 46 h 348"/>
                  <a:gd name="T74" fmla="*/ 53 w 158"/>
                  <a:gd name="T75" fmla="*/ 38 h 348"/>
                  <a:gd name="T76" fmla="*/ 68 w 158"/>
                  <a:gd name="T77" fmla="*/ 28 h 348"/>
                  <a:gd name="T78" fmla="*/ 82 w 158"/>
                  <a:gd name="T79" fmla="*/ 26 h 348"/>
                  <a:gd name="T80" fmla="*/ 84 w 158"/>
                  <a:gd name="T81" fmla="*/ 19 h 348"/>
                  <a:gd name="T82" fmla="*/ 91 w 158"/>
                  <a:gd name="T83" fmla="*/ 12 h 348"/>
                  <a:gd name="T84" fmla="*/ 99 w 158"/>
                  <a:gd name="T85" fmla="*/ 3 h 348"/>
                  <a:gd name="T86" fmla="*/ 114 w 158"/>
                  <a:gd name="T87" fmla="*/ 18 h 348"/>
                  <a:gd name="T88" fmla="*/ 114 w 158"/>
                  <a:gd name="T89" fmla="*/ 54 h 348"/>
                  <a:gd name="T90" fmla="*/ 101 w 158"/>
                  <a:gd name="T91" fmla="*/ 64 h 348"/>
                  <a:gd name="T92" fmla="*/ 95 w 158"/>
                  <a:gd name="T93" fmla="*/ 74 h 348"/>
                  <a:gd name="T94" fmla="*/ 98 w 158"/>
                  <a:gd name="T95" fmla="*/ 89 h 348"/>
                  <a:gd name="T96" fmla="*/ 118 w 158"/>
                  <a:gd name="T97" fmla="*/ 100 h 348"/>
                  <a:gd name="T98" fmla="*/ 127 w 158"/>
                  <a:gd name="T99" fmla="*/ 112 h 348"/>
                  <a:gd name="T100" fmla="*/ 137 w 158"/>
                  <a:gd name="T101" fmla="*/ 133 h 348"/>
                  <a:gd name="T102" fmla="*/ 154 w 158"/>
                  <a:gd name="T103" fmla="*/ 133 h 348"/>
                  <a:gd name="T104" fmla="*/ 148 w 158"/>
                  <a:gd name="T105" fmla="*/ 148 h 348"/>
                  <a:gd name="T106" fmla="*/ 127 w 158"/>
                  <a:gd name="T107" fmla="*/ 163 h 348"/>
                  <a:gd name="T108" fmla="*/ 105 w 158"/>
                  <a:gd name="T109" fmla="*/ 169 h 348"/>
                  <a:gd name="T110" fmla="*/ 98 w 158"/>
                  <a:gd name="T111" fmla="*/ 189 h 348"/>
                  <a:gd name="T112" fmla="*/ 98 w 158"/>
                  <a:gd name="T113" fmla="*/ 203 h 348"/>
                  <a:gd name="T114" fmla="*/ 118 w 158"/>
                  <a:gd name="T115" fmla="*/ 233 h 348"/>
                  <a:gd name="T116" fmla="*/ 107 w 158"/>
                  <a:gd name="T117" fmla="*/ 256 h 348"/>
                  <a:gd name="T118" fmla="*/ 131 w 158"/>
                  <a:gd name="T119" fmla="*/ 312 h 348"/>
                  <a:gd name="T120" fmla="*/ 30 w 158"/>
                  <a:gd name="T121" fmla="*/ 174 h 348"/>
                  <a:gd name="T122" fmla="*/ 13 w 158"/>
                  <a:gd name="T123" fmla="*/ 163 h 348"/>
                  <a:gd name="T124" fmla="*/ 23 w 158"/>
                  <a:gd name="T125" fmla="*/ 16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8" h="348">
                    <a:moveTo>
                      <a:pt x="95" y="233"/>
                    </a:moveTo>
                    <a:lnTo>
                      <a:pt x="94" y="232"/>
                    </a:lnTo>
                    <a:lnTo>
                      <a:pt x="94" y="230"/>
                    </a:lnTo>
                    <a:lnTo>
                      <a:pt x="95" y="230"/>
                    </a:lnTo>
                    <a:lnTo>
                      <a:pt x="95" y="233"/>
                    </a:lnTo>
                    <a:close/>
                    <a:moveTo>
                      <a:pt x="45" y="242"/>
                    </a:moveTo>
                    <a:lnTo>
                      <a:pt x="46" y="242"/>
                    </a:lnTo>
                    <a:lnTo>
                      <a:pt x="46" y="242"/>
                    </a:lnTo>
                    <a:lnTo>
                      <a:pt x="46" y="240"/>
                    </a:lnTo>
                    <a:lnTo>
                      <a:pt x="46" y="239"/>
                    </a:lnTo>
                    <a:lnTo>
                      <a:pt x="45" y="242"/>
                    </a:lnTo>
                    <a:close/>
                    <a:moveTo>
                      <a:pt x="41" y="238"/>
                    </a:moveTo>
                    <a:lnTo>
                      <a:pt x="39" y="239"/>
                    </a:lnTo>
                    <a:lnTo>
                      <a:pt x="39" y="239"/>
                    </a:lnTo>
                    <a:lnTo>
                      <a:pt x="39" y="240"/>
                    </a:lnTo>
                    <a:lnTo>
                      <a:pt x="41" y="239"/>
                    </a:lnTo>
                    <a:lnTo>
                      <a:pt x="42" y="238"/>
                    </a:lnTo>
                    <a:lnTo>
                      <a:pt x="43" y="236"/>
                    </a:lnTo>
                    <a:lnTo>
                      <a:pt x="43" y="235"/>
                    </a:lnTo>
                    <a:lnTo>
                      <a:pt x="42" y="236"/>
                    </a:lnTo>
                    <a:lnTo>
                      <a:pt x="41" y="238"/>
                    </a:lnTo>
                    <a:close/>
                    <a:moveTo>
                      <a:pt x="108" y="299"/>
                    </a:moveTo>
                    <a:lnTo>
                      <a:pt x="108" y="302"/>
                    </a:lnTo>
                    <a:lnTo>
                      <a:pt x="108" y="304"/>
                    </a:lnTo>
                    <a:lnTo>
                      <a:pt x="108" y="305"/>
                    </a:lnTo>
                    <a:lnTo>
                      <a:pt x="109" y="304"/>
                    </a:lnTo>
                    <a:lnTo>
                      <a:pt x="111" y="304"/>
                    </a:lnTo>
                    <a:lnTo>
                      <a:pt x="111" y="302"/>
                    </a:lnTo>
                    <a:lnTo>
                      <a:pt x="111" y="301"/>
                    </a:lnTo>
                    <a:lnTo>
                      <a:pt x="111" y="301"/>
                    </a:lnTo>
                    <a:lnTo>
                      <a:pt x="108" y="299"/>
                    </a:lnTo>
                    <a:close/>
                    <a:moveTo>
                      <a:pt x="112" y="317"/>
                    </a:moveTo>
                    <a:lnTo>
                      <a:pt x="112" y="319"/>
                    </a:lnTo>
                    <a:lnTo>
                      <a:pt x="111" y="318"/>
                    </a:lnTo>
                    <a:lnTo>
                      <a:pt x="111" y="318"/>
                    </a:lnTo>
                    <a:lnTo>
                      <a:pt x="109" y="317"/>
                    </a:lnTo>
                    <a:lnTo>
                      <a:pt x="109" y="315"/>
                    </a:lnTo>
                    <a:lnTo>
                      <a:pt x="111" y="314"/>
                    </a:lnTo>
                    <a:lnTo>
                      <a:pt x="112" y="315"/>
                    </a:lnTo>
                    <a:lnTo>
                      <a:pt x="112" y="317"/>
                    </a:lnTo>
                    <a:close/>
                    <a:moveTo>
                      <a:pt x="107" y="347"/>
                    </a:moveTo>
                    <a:lnTo>
                      <a:pt x="107" y="348"/>
                    </a:lnTo>
                    <a:lnTo>
                      <a:pt x="105" y="348"/>
                    </a:lnTo>
                    <a:lnTo>
                      <a:pt x="105" y="348"/>
                    </a:lnTo>
                    <a:lnTo>
                      <a:pt x="105" y="348"/>
                    </a:lnTo>
                    <a:lnTo>
                      <a:pt x="105" y="347"/>
                    </a:lnTo>
                    <a:lnTo>
                      <a:pt x="107" y="345"/>
                    </a:lnTo>
                    <a:lnTo>
                      <a:pt x="108" y="345"/>
                    </a:lnTo>
                    <a:lnTo>
                      <a:pt x="107" y="347"/>
                    </a:lnTo>
                    <a:close/>
                    <a:moveTo>
                      <a:pt x="112" y="312"/>
                    </a:moveTo>
                    <a:lnTo>
                      <a:pt x="112" y="312"/>
                    </a:lnTo>
                    <a:lnTo>
                      <a:pt x="111" y="312"/>
                    </a:lnTo>
                    <a:lnTo>
                      <a:pt x="111" y="312"/>
                    </a:lnTo>
                    <a:lnTo>
                      <a:pt x="111" y="311"/>
                    </a:lnTo>
                    <a:lnTo>
                      <a:pt x="111" y="311"/>
                    </a:lnTo>
                    <a:lnTo>
                      <a:pt x="111" y="309"/>
                    </a:lnTo>
                    <a:lnTo>
                      <a:pt x="112" y="309"/>
                    </a:lnTo>
                    <a:lnTo>
                      <a:pt x="112" y="311"/>
                    </a:lnTo>
                    <a:lnTo>
                      <a:pt x="112" y="311"/>
                    </a:lnTo>
                    <a:lnTo>
                      <a:pt x="112" y="312"/>
                    </a:lnTo>
                    <a:lnTo>
                      <a:pt x="112" y="312"/>
                    </a:lnTo>
                    <a:close/>
                    <a:moveTo>
                      <a:pt x="112" y="328"/>
                    </a:moveTo>
                    <a:lnTo>
                      <a:pt x="112" y="328"/>
                    </a:lnTo>
                    <a:lnTo>
                      <a:pt x="112" y="330"/>
                    </a:lnTo>
                    <a:lnTo>
                      <a:pt x="112" y="330"/>
                    </a:lnTo>
                    <a:lnTo>
                      <a:pt x="111" y="330"/>
                    </a:lnTo>
                    <a:lnTo>
                      <a:pt x="111" y="330"/>
                    </a:lnTo>
                    <a:lnTo>
                      <a:pt x="112" y="327"/>
                    </a:lnTo>
                    <a:lnTo>
                      <a:pt x="112" y="328"/>
                    </a:lnTo>
                    <a:close/>
                    <a:moveTo>
                      <a:pt x="108" y="291"/>
                    </a:moveTo>
                    <a:lnTo>
                      <a:pt x="108" y="292"/>
                    </a:lnTo>
                    <a:lnTo>
                      <a:pt x="108" y="294"/>
                    </a:lnTo>
                    <a:lnTo>
                      <a:pt x="108" y="294"/>
                    </a:lnTo>
                    <a:lnTo>
                      <a:pt x="107" y="292"/>
                    </a:lnTo>
                    <a:lnTo>
                      <a:pt x="107" y="291"/>
                    </a:lnTo>
                    <a:lnTo>
                      <a:pt x="108" y="289"/>
                    </a:lnTo>
                    <a:lnTo>
                      <a:pt x="108" y="289"/>
                    </a:lnTo>
                    <a:lnTo>
                      <a:pt x="108" y="291"/>
                    </a:lnTo>
                    <a:lnTo>
                      <a:pt x="108" y="291"/>
                    </a:lnTo>
                    <a:close/>
                    <a:moveTo>
                      <a:pt x="102" y="304"/>
                    </a:moveTo>
                    <a:lnTo>
                      <a:pt x="104" y="304"/>
                    </a:lnTo>
                    <a:lnTo>
                      <a:pt x="104" y="305"/>
                    </a:lnTo>
                    <a:lnTo>
                      <a:pt x="104" y="305"/>
                    </a:lnTo>
                    <a:lnTo>
                      <a:pt x="104" y="305"/>
                    </a:lnTo>
                    <a:lnTo>
                      <a:pt x="102" y="307"/>
                    </a:lnTo>
                    <a:lnTo>
                      <a:pt x="102" y="305"/>
                    </a:lnTo>
                    <a:lnTo>
                      <a:pt x="102" y="304"/>
                    </a:lnTo>
                    <a:lnTo>
                      <a:pt x="102" y="304"/>
                    </a:lnTo>
                    <a:close/>
                    <a:moveTo>
                      <a:pt x="105" y="307"/>
                    </a:moveTo>
                    <a:lnTo>
                      <a:pt x="105" y="308"/>
                    </a:lnTo>
                    <a:lnTo>
                      <a:pt x="104" y="307"/>
                    </a:lnTo>
                    <a:lnTo>
                      <a:pt x="104" y="307"/>
                    </a:lnTo>
                    <a:lnTo>
                      <a:pt x="105" y="307"/>
                    </a:lnTo>
                    <a:close/>
                    <a:moveTo>
                      <a:pt x="107" y="317"/>
                    </a:moveTo>
                    <a:lnTo>
                      <a:pt x="108" y="317"/>
                    </a:lnTo>
                    <a:lnTo>
                      <a:pt x="108" y="315"/>
                    </a:lnTo>
                    <a:lnTo>
                      <a:pt x="108" y="315"/>
                    </a:lnTo>
                    <a:lnTo>
                      <a:pt x="108" y="317"/>
                    </a:lnTo>
                    <a:lnTo>
                      <a:pt x="108" y="318"/>
                    </a:lnTo>
                    <a:lnTo>
                      <a:pt x="107" y="319"/>
                    </a:lnTo>
                    <a:lnTo>
                      <a:pt x="107" y="321"/>
                    </a:lnTo>
                    <a:lnTo>
                      <a:pt x="107" y="319"/>
                    </a:lnTo>
                    <a:lnTo>
                      <a:pt x="107" y="319"/>
                    </a:lnTo>
                    <a:lnTo>
                      <a:pt x="107" y="318"/>
                    </a:lnTo>
                    <a:lnTo>
                      <a:pt x="107" y="317"/>
                    </a:lnTo>
                    <a:close/>
                    <a:moveTo>
                      <a:pt x="105" y="330"/>
                    </a:moveTo>
                    <a:lnTo>
                      <a:pt x="107" y="330"/>
                    </a:lnTo>
                    <a:lnTo>
                      <a:pt x="107" y="331"/>
                    </a:lnTo>
                    <a:lnTo>
                      <a:pt x="108" y="332"/>
                    </a:lnTo>
                    <a:lnTo>
                      <a:pt x="108" y="334"/>
                    </a:lnTo>
                    <a:lnTo>
                      <a:pt x="107" y="332"/>
                    </a:lnTo>
                    <a:lnTo>
                      <a:pt x="107" y="331"/>
                    </a:lnTo>
                    <a:lnTo>
                      <a:pt x="105" y="331"/>
                    </a:lnTo>
                    <a:lnTo>
                      <a:pt x="104" y="331"/>
                    </a:lnTo>
                    <a:lnTo>
                      <a:pt x="105" y="331"/>
                    </a:lnTo>
                    <a:lnTo>
                      <a:pt x="105" y="330"/>
                    </a:lnTo>
                    <a:lnTo>
                      <a:pt x="105" y="330"/>
                    </a:lnTo>
                    <a:lnTo>
                      <a:pt x="105" y="330"/>
                    </a:lnTo>
                    <a:close/>
                    <a:moveTo>
                      <a:pt x="104" y="317"/>
                    </a:moveTo>
                    <a:lnTo>
                      <a:pt x="104" y="318"/>
                    </a:lnTo>
                    <a:lnTo>
                      <a:pt x="104" y="317"/>
                    </a:lnTo>
                    <a:lnTo>
                      <a:pt x="102" y="315"/>
                    </a:lnTo>
                    <a:lnTo>
                      <a:pt x="102" y="315"/>
                    </a:lnTo>
                    <a:lnTo>
                      <a:pt x="102" y="314"/>
                    </a:lnTo>
                    <a:lnTo>
                      <a:pt x="104" y="314"/>
                    </a:lnTo>
                    <a:lnTo>
                      <a:pt x="104" y="315"/>
                    </a:lnTo>
                    <a:lnTo>
                      <a:pt x="104" y="317"/>
                    </a:lnTo>
                    <a:close/>
                    <a:moveTo>
                      <a:pt x="115" y="341"/>
                    </a:moveTo>
                    <a:lnTo>
                      <a:pt x="115" y="344"/>
                    </a:lnTo>
                    <a:lnTo>
                      <a:pt x="114" y="344"/>
                    </a:lnTo>
                    <a:lnTo>
                      <a:pt x="114" y="345"/>
                    </a:lnTo>
                    <a:lnTo>
                      <a:pt x="112" y="347"/>
                    </a:lnTo>
                    <a:lnTo>
                      <a:pt x="112" y="344"/>
                    </a:lnTo>
                    <a:lnTo>
                      <a:pt x="111" y="342"/>
                    </a:lnTo>
                    <a:lnTo>
                      <a:pt x="111" y="335"/>
                    </a:lnTo>
                    <a:lnTo>
                      <a:pt x="112" y="334"/>
                    </a:lnTo>
                    <a:lnTo>
                      <a:pt x="114" y="330"/>
                    </a:lnTo>
                    <a:lnTo>
                      <a:pt x="115" y="327"/>
                    </a:lnTo>
                    <a:lnTo>
                      <a:pt x="115" y="324"/>
                    </a:lnTo>
                    <a:lnTo>
                      <a:pt x="115" y="319"/>
                    </a:lnTo>
                    <a:lnTo>
                      <a:pt x="117" y="317"/>
                    </a:lnTo>
                    <a:lnTo>
                      <a:pt x="118" y="317"/>
                    </a:lnTo>
                    <a:lnTo>
                      <a:pt x="117" y="315"/>
                    </a:lnTo>
                    <a:lnTo>
                      <a:pt x="115" y="315"/>
                    </a:lnTo>
                    <a:lnTo>
                      <a:pt x="115" y="315"/>
                    </a:lnTo>
                    <a:lnTo>
                      <a:pt x="114" y="314"/>
                    </a:lnTo>
                    <a:lnTo>
                      <a:pt x="114" y="312"/>
                    </a:lnTo>
                    <a:lnTo>
                      <a:pt x="115" y="308"/>
                    </a:lnTo>
                    <a:lnTo>
                      <a:pt x="115" y="307"/>
                    </a:lnTo>
                    <a:lnTo>
                      <a:pt x="114" y="307"/>
                    </a:lnTo>
                    <a:lnTo>
                      <a:pt x="114" y="307"/>
                    </a:lnTo>
                    <a:lnTo>
                      <a:pt x="114" y="307"/>
                    </a:lnTo>
                    <a:lnTo>
                      <a:pt x="114" y="307"/>
                    </a:lnTo>
                    <a:lnTo>
                      <a:pt x="114" y="305"/>
                    </a:lnTo>
                    <a:lnTo>
                      <a:pt x="114" y="305"/>
                    </a:lnTo>
                    <a:lnTo>
                      <a:pt x="114" y="305"/>
                    </a:lnTo>
                    <a:lnTo>
                      <a:pt x="115" y="305"/>
                    </a:lnTo>
                    <a:lnTo>
                      <a:pt x="114" y="304"/>
                    </a:lnTo>
                    <a:lnTo>
                      <a:pt x="114" y="304"/>
                    </a:lnTo>
                    <a:lnTo>
                      <a:pt x="114" y="304"/>
                    </a:lnTo>
                    <a:lnTo>
                      <a:pt x="114" y="302"/>
                    </a:lnTo>
                    <a:lnTo>
                      <a:pt x="114" y="299"/>
                    </a:lnTo>
                    <a:lnTo>
                      <a:pt x="114" y="298"/>
                    </a:lnTo>
                    <a:lnTo>
                      <a:pt x="114" y="294"/>
                    </a:lnTo>
                    <a:lnTo>
                      <a:pt x="112" y="288"/>
                    </a:lnTo>
                    <a:lnTo>
                      <a:pt x="111" y="286"/>
                    </a:lnTo>
                    <a:lnTo>
                      <a:pt x="109" y="284"/>
                    </a:lnTo>
                    <a:lnTo>
                      <a:pt x="108" y="281"/>
                    </a:lnTo>
                    <a:lnTo>
                      <a:pt x="107" y="279"/>
                    </a:lnTo>
                    <a:lnTo>
                      <a:pt x="107" y="278"/>
                    </a:lnTo>
                    <a:lnTo>
                      <a:pt x="107" y="278"/>
                    </a:lnTo>
                    <a:lnTo>
                      <a:pt x="107" y="276"/>
                    </a:lnTo>
                    <a:lnTo>
                      <a:pt x="107" y="275"/>
                    </a:lnTo>
                    <a:lnTo>
                      <a:pt x="105" y="281"/>
                    </a:lnTo>
                    <a:lnTo>
                      <a:pt x="105" y="279"/>
                    </a:lnTo>
                    <a:lnTo>
                      <a:pt x="104" y="276"/>
                    </a:lnTo>
                    <a:lnTo>
                      <a:pt x="104" y="273"/>
                    </a:lnTo>
                    <a:lnTo>
                      <a:pt x="104" y="271"/>
                    </a:lnTo>
                    <a:lnTo>
                      <a:pt x="104" y="269"/>
                    </a:lnTo>
                    <a:lnTo>
                      <a:pt x="102" y="266"/>
                    </a:lnTo>
                    <a:lnTo>
                      <a:pt x="101" y="265"/>
                    </a:lnTo>
                    <a:lnTo>
                      <a:pt x="101" y="262"/>
                    </a:lnTo>
                    <a:lnTo>
                      <a:pt x="104" y="263"/>
                    </a:lnTo>
                    <a:lnTo>
                      <a:pt x="102" y="262"/>
                    </a:lnTo>
                    <a:lnTo>
                      <a:pt x="101" y="262"/>
                    </a:lnTo>
                    <a:lnTo>
                      <a:pt x="101" y="261"/>
                    </a:lnTo>
                    <a:lnTo>
                      <a:pt x="101" y="261"/>
                    </a:lnTo>
                    <a:lnTo>
                      <a:pt x="99" y="259"/>
                    </a:lnTo>
                    <a:lnTo>
                      <a:pt x="98" y="246"/>
                    </a:lnTo>
                    <a:lnTo>
                      <a:pt x="97" y="238"/>
                    </a:lnTo>
                    <a:lnTo>
                      <a:pt x="95" y="232"/>
                    </a:lnTo>
                    <a:lnTo>
                      <a:pt x="98" y="227"/>
                    </a:lnTo>
                    <a:lnTo>
                      <a:pt x="95" y="229"/>
                    </a:lnTo>
                    <a:lnTo>
                      <a:pt x="92" y="227"/>
                    </a:lnTo>
                    <a:lnTo>
                      <a:pt x="91" y="226"/>
                    </a:lnTo>
                    <a:lnTo>
                      <a:pt x="89" y="223"/>
                    </a:lnTo>
                    <a:lnTo>
                      <a:pt x="88" y="219"/>
                    </a:lnTo>
                    <a:lnTo>
                      <a:pt x="88" y="219"/>
                    </a:lnTo>
                    <a:lnTo>
                      <a:pt x="87" y="217"/>
                    </a:lnTo>
                    <a:lnTo>
                      <a:pt x="87" y="216"/>
                    </a:lnTo>
                    <a:lnTo>
                      <a:pt x="85" y="215"/>
                    </a:lnTo>
                    <a:lnTo>
                      <a:pt x="84" y="213"/>
                    </a:lnTo>
                    <a:lnTo>
                      <a:pt x="82" y="213"/>
                    </a:lnTo>
                    <a:lnTo>
                      <a:pt x="82" y="213"/>
                    </a:lnTo>
                    <a:lnTo>
                      <a:pt x="84" y="213"/>
                    </a:lnTo>
                    <a:lnTo>
                      <a:pt x="84" y="215"/>
                    </a:lnTo>
                    <a:lnTo>
                      <a:pt x="84" y="216"/>
                    </a:lnTo>
                    <a:lnTo>
                      <a:pt x="84" y="219"/>
                    </a:lnTo>
                    <a:lnTo>
                      <a:pt x="84" y="219"/>
                    </a:lnTo>
                    <a:lnTo>
                      <a:pt x="84" y="222"/>
                    </a:lnTo>
                    <a:lnTo>
                      <a:pt x="82" y="223"/>
                    </a:lnTo>
                    <a:lnTo>
                      <a:pt x="81" y="226"/>
                    </a:lnTo>
                    <a:lnTo>
                      <a:pt x="79" y="227"/>
                    </a:lnTo>
                    <a:lnTo>
                      <a:pt x="78" y="227"/>
                    </a:lnTo>
                    <a:lnTo>
                      <a:pt x="76" y="229"/>
                    </a:lnTo>
                    <a:lnTo>
                      <a:pt x="75" y="229"/>
                    </a:lnTo>
                    <a:lnTo>
                      <a:pt x="74" y="229"/>
                    </a:lnTo>
                    <a:lnTo>
                      <a:pt x="72" y="227"/>
                    </a:lnTo>
                    <a:lnTo>
                      <a:pt x="72" y="225"/>
                    </a:lnTo>
                    <a:lnTo>
                      <a:pt x="71" y="225"/>
                    </a:lnTo>
                    <a:lnTo>
                      <a:pt x="72" y="226"/>
                    </a:lnTo>
                    <a:lnTo>
                      <a:pt x="72" y="227"/>
                    </a:lnTo>
                    <a:lnTo>
                      <a:pt x="72" y="230"/>
                    </a:lnTo>
                    <a:lnTo>
                      <a:pt x="72" y="230"/>
                    </a:lnTo>
                    <a:lnTo>
                      <a:pt x="72" y="230"/>
                    </a:lnTo>
                    <a:lnTo>
                      <a:pt x="71" y="232"/>
                    </a:lnTo>
                    <a:lnTo>
                      <a:pt x="69" y="233"/>
                    </a:lnTo>
                    <a:lnTo>
                      <a:pt x="66" y="233"/>
                    </a:lnTo>
                    <a:lnTo>
                      <a:pt x="65" y="235"/>
                    </a:lnTo>
                    <a:lnTo>
                      <a:pt x="64" y="236"/>
                    </a:lnTo>
                    <a:lnTo>
                      <a:pt x="62" y="239"/>
                    </a:lnTo>
                    <a:lnTo>
                      <a:pt x="61" y="242"/>
                    </a:lnTo>
                    <a:lnTo>
                      <a:pt x="58" y="243"/>
                    </a:lnTo>
                    <a:lnTo>
                      <a:pt x="56" y="243"/>
                    </a:lnTo>
                    <a:lnTo>
                      <a:pt x="55" y="242"/>
                    </a:lnTo>
                    <a:lnTo>
                      <a:pt x="56" y="239"/>
                    </a:lnTo>
                    <a:lnTo>
                      <a:pt x="56" y="236"/>
                    </a:lnTo>
                    <a:lnTo>
                      <a:pt x="55" y="239"/>
                    </a:lnTo>
                    <a:lnTo>
                      <a:pt x="53" y="240"/>
                    </a:lnTo>
                    <a:lnTo>
                      <a:pt x="52" y="242"/>
                    </a:lnTo>
                    <a:lnTo>
                      <a:pt x="49" y="242"/>
                    </a:lnTo>
                    <a:lnTo>
                      <a:pt x="49" y="240"/>
                    </a:lnTo>
                    <a:lnTo>
                      <a:pt x="48" y="239"/>
                    </a:lnTo>
                    <a:lnTo>
                      <a:pt x="48" y="236"/>
                    </a:lnTo>
                    <a:lnTo>
                      <a:pt x="48" y="235"/>
                    </a:lnTo>
                    <a:lnTo>
                      <a:pt x="48" y="236"/>
                    </a:lnTo>
                    <a:lnTo>
                      <a:pt x="46" y="238"/>
                    </a:lnTo>
                    <a:lnTo>
                      <a:pt x="46" y="239"/>
                    </a:lnTo>
                    <a:lnTo>
                      <a:pt x="43" y="240"/>
                    </a:lnTo>
                    <a:lnTo>
                      <a:pt x="43" y="238"/>
                    </a:lnTo>
                    <a:lnTo>
                      <a:pt x="45" y="232"/>
                    </a:lnTo>
                    <a:lnTo>
                      <a:pt x="45" y="229"/>
                    </a:lnTo>
                    <a:lnTo>
                      <a:pt x="43" y="232"/>
                    </a:lnTo>
                    <a:lnTo>
                      <a:pt x="42" y="235"/>
                    </a:lnTo>
                    <a:lnTo>
                      <a:pt x="39" y="238"/>
                    </a:lnTo>
                    <a:lnTo>
                      <a:pt x="36" y="238"/>
                    </a:lnTo>
                    <a:lnTo>
                      <a:pt x="36" y="235"/>
                    </a:lnTo>
                    <a:lnTo>
                      <a:pt x="38" y="229"/>
                    </a:lnTo>
                    <a:lnTo>
                      <a:pt x="41" y="220"/>
                    </a:lnTo>
                    <a:lnTo>
                      <a:pt x="42" y="216"/>
                    </a:lnTo>
                    <a:lnTo>
                      <a:pt x="42" y="213"/>
                    </a:lnTo>
                    <a:lnTo>
                      <a:pt x="42" y="209"/>
                    </a:lnTo>
                    <a:lnTo>
                      <a:pt x="39" y="196"/>
                    </a:lnTo>
                    <a:lnTo>
                      <a:pt x="38" y="192"/>
                    </a:lnTo>
                    <a:lnTo>
                      <a:pt x="35" y="187"/>
                    </a:lnTo>
                    <a:lnTo>
                      <a:pt x="36" y="187"/>
                    </a:lnTo>
                    <a:lnTo>
                      <a:pt x="35" y="186"/>
                    </a:lnTo>
                    <a:lnTo>
                      <a:pt x="33" y="183"/>
                    </a:lnTo>
                    <a:lnTo>
                      <a:pt x="33" y="180"/>
                    </a:lnTo>
                    <a:lnTo>
                      <a:pt x="33" y="177"/>
                    </a:lnTo>
                    <a:lnTo>
                      <a:pt x="32" y="180"/>
                    </a:lnTo>
                    <a:lnTo>
                      <a:pt x="32" y="183"/>
                    </a:lnTo>
                    <a:lnTo>
                      <a:pt x="30" y="184"/>
                    </a:lnTo>
                    <a:lnTo>
                      <a:pt x="29" y="184"/>
                    </a:lnTo>
                    <a:lnTo>
                      <a:pt x="26" y="181"/>
                    </a:lnTo>
                    <a:lnTo>
                      <a:pt x="25" y="179"/>
                    </a:lnTo>
                    <a:lnTo>
                      <a:pt x="23" y="177"/>
                    </a:lnTo>
                    <a:lnTo>
                      <a:pt x="26" y="176"/>
                    </a:lnTo>
                    <a:lnTo>
                      <a:pt x="28" y="177"/>
                    </a:lnTo>
                    <a:lnTo>
                      <a:pt x="28" y="179"/>
                    </a:lnTo>
                    <a:lnTo>
                      <a:pt x="29" y="179"/>
                    </a:lnTo>
                    <a:lnTo>
                      <a:pt x="30" y="177"/>
                    </a:lnTo>
                    <a:lnTo>
                      <a:pt x="32" y="176"/>
                    </a:lnTo>
                    <a:lnTo>
                      <a:pt x="32" y="174"/>
                    </a:lnTo>
                    <a:lnTo>
                      <a:pt x="30" y="174"/>
                    </a:lnTo>
                    <a:lnTo>
                      <a:pt x="30" y="173"/>
                    </a:lnTo>
                    <a:lnTo>
                      <a:pt x="28" y="170"/>
                    </a:lnTo>
                    <a:lnTo>
                      <a:pt x="26" y="169"/>
                    </a:lnTo>
                    <a:lnTo>
                      <a:pt x="28" y="166"/>
                    </a:lnTo>
                    <a:lnTo>
                      <a:pt x="23" y="166"/>
                    </a:lnTo>
                    <a:lnTo>
                      <a:pt x="20" y="163"/>
                    </a:lnTo>
                    <a:lnTo>
                      <a:pt x="19" y="163"/>
                    </a:lnTo>
                    <a:lnTo>
                      <a:pt x="18" y="167"/>
                    </a:lnTo>
                    <a:lnTo>
                      <a:pt x="16" y="166"/>
                    </a:lnTo>
                    <a:lnTo>
                      <a:pt x="15" y="164"/>
                    </a:lnTo>
                    <a:lnTo>
                      <a:pt x="15" y="163"/>
                    </a:lnTo>
                    <a:lnTo>
                      <a:pt x="16" y="161"/>
                    </a:lnTo>
                    <a:lnTo>
                      <a:pt x="16" y="161"/>
                    </a:lnTo>
                    <a:lnTo>
                      <a:pt x="15" y="161"/>
                    </a:lnTo>
                    <a:lnTo>
                      <a:pt x="16" y="160"/>
                    </a:lnTo>
                    <a:lnTo>
                      <a:pt x="16" y="158"/>
                    </a:lnTo>
                    <a:lnTo>
                      <a:pt x="16" y="157"/>
                    </a:lnTo>
                    <a:lnTo>
                      <a:pt x="16" y="157"/>
                    </a:lnTo>
                    <a:lnTo>
                      <a:pt x="15" y="158"/>
                    </a:lnTo>
                    <a:lnTo>
                      <a:pt x="13" y="160"/>
                    </a:lnTo>
                    <a:lnTo>
                      <a:pt x="13" y="161"/>
                    </a:lnTo>
                    <a:lnTo>
                      <a:pt x="12" y="160"/>
                    </a:lnTo>
                    <a:lnTo>
                      <a:pt x="12" y="160"/>
                    </a:lnTo>
                    <a:lnTo>
                      <a:pt x="12" y="158"/>
                    </a:lnTo>
                    <a:lnTo>
                      <a:pt x="13" y="157"/>
                    </a:lnTo>
                    <a:lnTo>
                      <a:pt x="12" y="156"/>
                    </a:lnTo>
                    <a:lnTo>
                      <a:pt x="12" y="156"/>
                    </a:lnTo>
                    <a:lnTo>
                      <a:pt x="10" y="154"/>
                    </a:lnTo>
                    <a:lnTo>
                      <a:pt x="10" y="156"/>
                    </a:lnTo>
                    <a:lnTo>
                      <a:pt x="10" y="156"/>
                    </a:lnTo>
                    <a:lnTo>
                      <a:pt x="10" y="157"/>
                    </a:lnTo>
                    <a:lnTo>
                      <a:pt x="10" y="158"/>
                    </a:lnTo>
                    <a:lnTo>
                      <a:pt x="3" y="150"/>
                    </a:lnTo>
                    <a:lnTo>
                      <a:pt x="0" y="144"/>
                    </a:lnTo>
                    <a:lnTo>
                      <a:pt x="0" y="141"/>
                    </a:lnTo>
                    <a:lnTo>
                      <a:pt x="0" y="138"/>
                    </a:lnTo>
                    <a:lnTo>
                      <a:pt x="2" y="138"/>
                    </a:lnTo>
                    <a:lnTo>
                      <a:pt x="3" y="138"/>
                    </a:lnTo>
                    <a:lnTo>
                      <a:pt x="6" y="138"/>
                    </a:lnTo>
                    <a:lnTo>
                      <a:pt x="8" y="140"/>
                    </a:lnTo>
                    <a:lnTo>
                      <a:pt x="8" y="140"/>
                    </a:lnTo>
                    <a:lnTo>
                      <a:pt x="8" y="133"/>
                    </a:lnTo>
                    <a:lnTo>
                      <a:pt x="8" y="127"/>
                    </a:lnTo>
                    <a:lnTo>
                      <a:pt x="9" y="127"/>
                    </a:lnTo>
                    <a:lnTo>
                      <a:pt x="9" y="125"/>
                    </a:lnTo>
                    <a:lnTo>
                      <a:pt x="9" y="124"/>
                    </a:lnTo>
                    <a:lnTo>
                      <a:pt x="10" y="124"/>
                    </a:lnTo>
                    <a:lnTo>
                      <a:pt x="10" y="124"/>
                    </a:lnTo>
                    <a:lnTo>
                      <a:pt x="10" y="124"/>
                    </a:lnTo>
                    <a:lnTo>
                      <a:pt x="12" y="125"/>
                    </a:lnTo>
                    <a:lnTo>
                      <a:pt x="12" y="125"/>
                    </a:lnTo>
                    <a:lnTo>
                      <a:pt x="13" y="127"/>
                    </a:lnTo>
                    <a:lnTo>
                      <a:pt x="13" y="127"/>
                    </a:lnTo>
                    <a:lnTo>
                      <a:pt x="15" y="127"/>
                    </a:lnTo>
                    <a:lnTo>
                      <a:pt x="15" y="125"/>
                    </a:lnTo>
                    <a:lnTo>
                      <a:pt x="15" y="124"/>
                    </a:lnTo>
                    <a:lnTo>
                      <a:pt x="16" y="123"/>
                    </a:lnTo>
                    <a:lnTo>
                      <a:pt x="16" y="123"/>
                    </a:lnTo>
                    <a:lnTo>
                      <a:pt x="16" y="123"/>
                    </a:lnTo>
                    <a:lnTo>
                      <a:pt x="16" y="123"/>
                    </a:lnTo>
                    <a:lnTo>
                      <a:pt x="18" y="123"/>
                    </a:lnTo>
                    <a:lnTo>
                      <a:pt x="18" y="123"/>
                    </a:lnTo>
                    <a:lnTo>
                      <a:pt x="18" y="121"/>
                    </a:lnTo>
                    <a:lnTo>
                      <a:pt x="18" y="120"/>
                    </a:lnTo>
                    <a:lnTo>
                      <a:pt x="18" y="120"/>
                    </a:lnTo>
                    <a:lnTo>
                      <a:pt x="18" y="118"/>
                    </a:lnTo>
                    <a:lnTo>
                      <a:pt x="16" y="117"/>
                    </a:lnTo>
                    <a:lnTo>
                      <a:pt x="16" y="115"/>
                    </a:lnTo>
                    <a:lnTo>
                      <a:pt x="16" y="112"/>
                    </a:lnTo>
                    <a:lnTo>
                      <a:pt x="16" y="111"/>
                    </a:lnTo>
                    <a:lnTo>
                      <a:pt x="18" y="110"/>
                    </a:lnTo>
                    <a:lnTo>
                      <a:pt x="18" y="110"/>
                    </a:lnTo>
                    <a:lnTo>
                      <a:pt x="18" y="108"/>
                    </a:lnTo>
                    <a:lnTo>
                      <a:pt x="18" y="107"/>
                    </a:lnTo>
                    <a:lnTo>
                      <a:pt x="18" y="107"/>
                    </a:lnTo>
                    <a:lnTo>
                      <a:pt x="19" y="107"/>
                    </a:lnTo>
                    <a:lnTo>
                      <a:pt x="19" y="107"/>
                    </a:lnTo>
                    <a:lnTo>
                      <a:pt x="19" y="107"/>
                    </a:lnTo>
                    <a:lnTo>
                      <a:pt x="20" y="105"/>
                    </a:lnTo>
                    <a:lnTo>
                      <a:pt x="22" y="102"/>
                    </a:lnTo>
                    <a:lnTo>
                      <a:pt x="22" y="97"/>
                    </a:lnTo>
                    <a:lnTo>
                      <a:pt x="22" y="95"/>
                    </a:lnTo>
                    <a:lnTo>
                      <a:pt x="22" y="95"/>
                    </a:lnTo>
                    <a:lnTo>
                      <a:pt x="22" y="95"/>
                    </a:lnTo>
                    <a:lnTo>
                      <a:pt x="22" y="94"/>
                    </a:lnTo>
                    <a:lnTo>
                      <a:pt x="22" y="94"/>
                    </a:lnTo>
                    <a:lnTo>
                      <a:pt x="20" y="88"/>
                    </a:lnTo>
                    <a:lnTo>
                      <a:pt x="20" y="88"/>
                    </a:lnTo>
                    <a:lnTo>
                      <a:pt x="20" y="88"/>
                    </a:lnTo>
                    <a:lnTo>
                      <a:pt x="20" y="87"/>
                    </a:lnTo>
                    <a:lnTo>
                      <a:pt x="20" y="87"/>
                    </a:lnTo>
                    <a:lnTo>
                      <a:pt x="20" y="87"/>
                    </a:lnTo>
                    <a:lnTo>
                      <a:pt x="22" y="88"/>
                    </a:lnTo>
                    <a:lnTo>
                      <a:pt x="23" y="88"/>
                    </a:lnTo>
                    <a:lnTo>
                      <a:pt x="23" y="89"/>
                    </a:lnTo>
                    <a:lnTo>
                      <a:pt x="25" y="88"/>
                    </a:lnTo>
                    <a:lnTo>
                      <a:pt x="25" y="88"/>
                    </a:lnTo>
                    <a:lnTo>
                      <a:pt x="26" y="88"/>
                    </a:lnTo>
                    <a:lnTo>
                      <a:pt x="26" y="88"/>
                    </a:lnTo>
                    <a:lnTo>
                      <a:pt x="26" y="88"/>
                    </a:lnTo>
                    <a:lnTo>
                      <a:pt x="29" y="89"/>
                    </a:lnTo>
                    <a:lnTo>
                      <a:pt x="32" y="89"/>
                    </a:lnTo>
                    <a:lnTo>
                      <a:pt x="32" y="89"/>
                    </a:lnTo>
                    <a:lnTo>
                      <a:pt x="32" y="89"/>
                    </a:lnTo>
                    <a:lnTo>
                      <a:pt x="33" y="91"/>
                    </a:lnTo>
                    <a:lnTo>
                      <a:pt x="33" y="91"/>
                    </a:lnTo>
                    <a:lnTo>
                      <a:pt x="35" y="91"/>
                    </a:lnTo>
                    <a:lnTo>
                      <a:pt x="35" y="91"/>
                    </a:lnTo>
                    <a:lnTo>
                      <a:pt x="35" y="89"/>
                    </a:lnTo>
                    <a:lnTo>
                      <a:pt x="35" y="89"/>
                    </a:lnTo>
                    <a:lnTo>
                      <a:pt x="36" y="87"/>
                    </a:lnTo>
                    <a:lnTo>
                      <a:pt x="38" y="84"/>
                    </a:lnTo>
                    <a:lnTo>
                      <a:pt x="38" y="81"/>
                    </a:lnTo>
                    <a:lnTo>
                      <a:pt x="39" y="79"/>
                    </a:lnTo>
                    <a:lnTo>
                      <a:pt x="39" y="78"/>
                    </a:lnTo>
                    <a:lnTo>
                      <a:pt x="41" y="77"/>
                    </a:lnTo>
                    <a:lnTo>
                      <a:pt x="42" y="75"/>
                    </a:lnTo>
                    <a:lnTo>
                      <a:pt x="42" y="74"/>
                    </a:lnTo>
                    <a:lnTo>
                      <a:pt x="43" y="71"/>
                    </a:lnTo>
                    <a:lnTo>
                      <a:pt x="45" y="68"/>
                    </a:lnTo>
                    <a:lnTo>
                      <a:pt x="45" y="68"/>
                    </a:lnTo>
                    <a:lnTo>
                      <a:pt x="45" y="68"/>
                    </a:lnTo>
                    <a:lnTo>
                      <a:pt x="45" y="67"/>
                    </a:lnTo>
                    <a:lnTo>
                      <a:pt x="45" y="67"/>
                    </a:lnTo>
                    <a:lnTo>
                      <a:pt x="45" y="67"/>
                    </a:lnTo>
                    <a:lnTo>
                      <a:pt x="43" y="67"/>
                    </a:lnTo>
                    <a:lnTo>
                      <a:pt x="43" y="67"/>
                    </a:lnTo>
                    <a:lnTo>
                      <a:pt x="43" y="65"/>
                    </a:lnTo>
                    <a:lnTo>
                      <a:pt x="43" y="65"/>
                    </a:lnTo>
                    <a:lnTo>
                      <a:pt x="42" y="65"/>
                    </a:lnTo>
                    <a:lnTo>
                      <a:pt x="42" y="65"/>
                    </a:lnTo>
                    <a:lnTo>
                      <a:pt x="42" y="65"/>
                    </a:lnTo>
                    <a:lnTo>
                      <a:pt x="42" y="64"/>
                    </a:lnTo>
                    <a:lnTo>
                      <a:pt x="42" y="64"/>
                    </a:lnTo>
                    <a:lnTo>
                      <a:pt x="42" y="64"/>
                    </a:lnTo>
                    <a:lnTo>
                      <a:pt x="42" y="62"/>
                    </a:lnTo>
                    <a:lnTo>
                      <a:pt x="43" y="62"/>
                    </a:lnTo>
                    <a:lnTo>
                      <a:pt x="43" y="61"/>
                    </a:lnTo>
                    <a:lnTo>
                      <a:pt x="45" y="61"/>
                    </a:lnTo>
                    <a:lnTo>
                      <a:pt x="45" y="59"/>
                    </a:lnTo>
                    <a:lnTo>
                      <a:pt x="46" y="59"/>
                    </a:lnTo>
                    <a:lnTo>
                      <a:pt x="46" y="58"/>
                    </a:lnTo>
                    <a:lnTo>
                      <a:pt x="48" y="58"/>
                    </a:lnTo>
                    <a:lnTo>
                      <a:pt x="48" y="56"/>
                    </a:lnTo>
                    <a:lnTo>
                      <a:pt x="49" y="55"/>
                    </a:lnTo>
                    <a:lnTo>
                      <a:pt x="49" y="54"/>
                    </a:lnTo>
                    <a:lnTo>
                      <a:pt x="51" y="54"/>
                    </a:lnTo>
                    <a:lnTo>
                      <a:pt x="51" y="52"/>
                    </a:lnTo>
                    <a:lnTo>
                      <a:pt x="51" y="51"/>
                    </a:lnTo>
                    <a:lnTo>
                      <a:pt x="51" y="51"/>
                    </a:lnTo>
                    <a:lnTo>
                      <a:pt x="52" y="49"/>
                    </a:lnTo>
                    <a:lnTo>
                      <a:pt x="52" y="49"/>
                    </a:lnTo>
                    <a:lnTo>
                      <a:pt x="52" y="49"/>
                    </a:lnTo>
                    <a:lnTo>
                      <a:pt x="52" y="48"/>
                    </a:lnTo>
                    <a:lnTo>
                      <a:pt x="52" y="48"/>
                    </a:lnTo>
                    <a:lnTo>
                      <a:pt x="52" y="48"/>
                    </a:lnTo>
                    <a:lnTo>
                      <a:pt x="52" y="48"/>
                    </a:lnTo>
                    <a:lnTo>
                      <a:pt x="52" y="46"/>
                    </a:lnTo>
                    <a:lnTo>
                      <a:pt x="52" y="46"/>
                    </a:lnTo>
                    <a:lnTo>
                      <a:pt x="51" y="45"/>
                    </a:lnTo>
                    <a:lnTo>
                      <a:pt x="51" y="45"/>
                    </a:lnTo>
                    <a:lnTo>
                      <a:pt x="51" y="44"/>
                    </a:lnTo>
                    <a:lnTo>
                      <a:pt x="51" y="44"/>
                    </a:lnTo>
                    <a:lnTo>
                      <a:pt x="51" y="42"/>
                    </a:lnTo>
                    <a:lnTo>
                      <a:pt x="51" y="41"/>
                    </a:lnTo>
                    <a:lnTo>
                      <a:pt x="51" y="41"/>
                    </a:lnTo>
                    <a:lnTo>
                      <a:pt x="51" y="39"/>
                    </a:lnTo>
                    <a:lnTo>
                      <a:pt x="52" y="39"/>
                    </a:lnTo>
                    <a:lnTo>
                      <a:pt x="52" y="38"/>
                    </a:lnTo>
                    <a:lnTo>
                      <a:pt x="52" y="38"/>
                    </a:lnTo>
                    <a:lnTo>
                      <a:pt x="53" y="38"/>
                    </a:lnTo>
                    <a:lnTo>
                      <a:pt x="53" y="36"/>
                    </a:lnTo>
                    <a:lnTo>
                      <a:pt x="55" y="36"/>
                    </a:lnTo>
                    <a:lnTo>
                      <a:pt x="55" y="36"/>
                    </a:lnTo>
                    <a:lnTo>
                      <a:pt x="58" y="35"/>
                    </a:lnTo>
                    <a:lnTo>
                      <a:pt x="61" y="32"/>
                    </a:lnTo>
                    <a:lnTo>
                      <a:pt x="64" y="31"/>
                    </a:lnTo>
                    <a:lnTo>
                      <a:pt x="65" y="29"/>
                    </a:lnTo>
                    <a:lnTo>
                      <a:pt x="65" y="29"/>
                    </a:lnTo>
                    <a:lnTo>
                      <a:pt x="66" y="29"/>
                    </a:lnTo>
                    <a:lnTo>
                      <a:pt x="66" y="29"/>
                    </a:lnTo>
                    <a:lnTo>
                      <a:pt x="66" y="28"/>
                    </a:lnTo>
                    <a:lnTo>
                      <a:pt x="68" y="28"/>
                    </a:lnTo>
                    <a:lnTo>
                      <a:pt x="68" y="26"/>
                    </a:lnTo>
                    <a:lnTo>
                      <a:pt x="68" y="26"/>
                    </a:lnTo>
                    <a:lnTo>
                      <a:pt x="69" y="26"/>
                    </a:lnTo>
                    <a:lnTo>
                      <a:pt x="69" y="25"/>
                    </a:lnTo>
                    <a:lnTo>
                      <a:pt x="69" y="25"/>
                    </a:lnTo>
                    <a:lnTo>
                      <a:pt x="71" y="25"/>
                    </a:lnTo>
                    <a:lnTo>
                      <a:pt x="74" y="23"/>
                    </a:lnTo>
                    <a:lnTo>
                      <a:pt x="78" y="23"/>
                    </a:lnTo>
                    <a:lnTo>
                      <a:pt x="79" y="23"/>
                    </a:lnTo>
                    <a:lnTo>
                      <a:pt x="82" y="23"/>
                    </a:lnTo>
                    <a:lnTo>
                      <a:pt x="82" y="25"/>
                    </a:lnTo>
                    <a:lnTo>
                      <a:pt x="82" y="26"/>
                    </a:lnTo>
                    <a:lnTo>
                      <a:pt x="84" y="26"/>
                    </a:lnTo>
                    <a:lnTo>
                      <a:pt x="84" y="28"/>
                    </a:lnTo>
                    <a:lnTo>
                      <a:pt x="85" y="28"/>
                    </a:lnTo>
                    <a:lnTo>
                      <a:pt x="87" y="28"/>
                    </a:lnTo>
                    <a:lnTo>
                      <a:pt x="87" y="28"/>
                    </a:lnTo>
                    <a:lnTo>
                      <a:pt x="87" y="26"/>
                    </a:lnTo>
                    <a:lnTo>
                      <a:pt x="84" y="22"/>
                    </a:lnTo>
                    <a:lnTo>
                      <a:pt x="84" y="22"/>
                    </a:lnTo>
                    <a:lnTo>
                      <a:pt x="84" y="21"/>
                    </a:lnTo>
                    <a:lnTo>
                      <a:pt x="84" y="21"/>
                    </a:lnTo>
                    <a:lnTo>
                      <a:pt x="84" y="19"/>
                    </a:lnTo>
                    <a:lnTo>
                      <a:pt x="84" y="19"/>
                    </a:lnTo>
                    <a:lnTo>
                      <a:pt x="84" y="19"/>
                    </a:lnTo>
                    <a:lnTo>
                      <a:pt x="84" y="18"/>
                    </a:lnTo>
                    <a:lnTo>
                      <a:pt x="84" y="18"/>
                    </a:lnTo>
                    <a:lnTo>
                      <a:pt x="84" y="18"/>
                    </a:lnTo>
                    <a:lnTo>
                      <a:pt x="84" y="16"/>
                    </a:lnTo>
                    <a:lnTo>
                      <a:pt x="84" y="16"/>
                    </a:lnTo>
                    <a:lnTo>
                      <a:pt x="84" y="16"/>
                    </a:lnTo>
                    <a:lnTo>
                      <a:pt x="87" y="15"/>
                    </a:lnTo>
                    <a:lnTo>
                      <a:pt x="87" y="13"/>
                    </a:lnTo>
                    <a:lnTo>
                      <a:pt x="88" y="13"/>
                    </a:lnTo>
                    <a:lnTo>
                      <a:pt x="89" y="12"/>
                    </a:lnTo>
                    <a:lnTo>
                      <a:pt x="91" y="12"/>
                    </a:lnTo>
                    <a:lnTo>
                      <a:pt x="91" y="8"/>
                    </a:lnTo>
                    <a:lnTo>
                      <a:pt x="91" y="6"/>
                    </a:lnTo>
                    <a:lnTo>
                      <a:pt x="91" y="6"/>
                    </a:lnTo>
                    <a:lnTo>
                      <a:pt x="91" y="6"/>
                    </a:lnTo>
                    <a:lnTo>
                      <a:pt x="91" y="6"/>
                    </a:lnTo>
                    <a:lnTo>
                      <a:pt x="94" y="2"/>
                    </a:lnTo>
                    <a:lnTo>
                      <a:pt x="94" y="0"/>
                    </a:lnTo>
                    <a:lnTo>
                      <a:pt x="97" y="0"/>
                    </a:lnTo>
                    <a:lnTo>
                      <a:pt x="97" y="0"/>
                    </a:lnTo>
                    <a:lnTo>
                      <a:pt x="98" y="2"/>
                    </a:lnTo>
                    <a:lnTo>
                      <a:pt x="98" y="3"/>
                    </a:lnTo>
                    <a:lnTo>
                      <a:pt x="99" y="3"/>
                    </a:lnTo>
                    <a:lnTo>
                      <a:pt x="101" y="3"/>
                    </a:lnTo>
                    <a:lnTo>
                      <a:pt x="101" y="5"/>
                    </a:lnTo>
                    <a:lnTo>
                      <a:pt x="102" y="5"/>
                    </a:lnTo>
                    <a:lnTo>
                      <a:pt x="104" y="6"/>
                    </a:lnTo>
                    <a:lnTo>
                      <a:pt x="105" y="9"/>
                    </a:lnTo>
                    <a:lnTo>
                      <a:pt x="107" y="16"/>
                    </a:lnTo>
                    <a:lnTo>
                      <a:pt x="108" y="18"/>
                    </a:lnTo>
                    <a:lnTo>
                      <a:pt x="108" y="19"/>
                    </a:lnTo>
                    <a:lnTo>
                      <a:pt x="109" y="19"/>
                    </a:lnTo>
                    <a:lnTo>
                      <a:pt x="111" y="18"/>
                    </a:lnTo>
                    <a:lnTo>
                      <a:pt x="111" y="16"/>
                    </a:lnTo>
                    <a:lnTo>
                      <a:pt x="114" y="18"/>
                    </a:lnTo>
                    <a:lnTo>
                      <a:pt x="115" y="21"/>
                    </a:lnTo>
                    <a:lnTo>
                      <a:pt x="115" y="26"/>
                    </a:lnTo>
                    <a:lnTo>
                      <a:pt x="115" y="35"/>
                    </a:lnTo>
                    <a:lnTo>
                      <a:pt x="115" y="39"/>
                    </a:lnTo>
                    <a:lnTo>
                      <a:pt x="115" y="44"/>
                    </a:lnTo>
                    <a:lnTo>
                      <a:pt x="114" y="46"/>
                    </a:lnTo>
                    <a:lnTo>
                      <a:pt x="114" y="49"/>
                    </a:lnTo>
                    <a:lnTo>
                      <a:pt x="114" y="51"/>
                    </a:lnTo>
                    <a:lnTo>
                      <a:pt x="114" y="51"/>
                    </a:lnTo>
                    <a:lnTo>
                      <a:pt x="114" y="52"/>
                    </a:lnTo>
                    <a:lnTo>
                      <a:pt x="114" y="52"/>
                    </a:lnTo>
                    <a:lnTo>
                      <a:pt x="114" y="54"/>
                    </a:lnTo>
                    <a:lnTo>
                      <a:pt x="112" y="54"/>
                    </a:lnTo>
                    <a:lnTo>
                      <a:pt x="111" y="54"/>
                    </a:lnTo>
                    <a:lnTo>
                      <a:pt x="111" y="55"/>
                    </a:lnTo>
                    <a:lnTo>
                      <a:pt x="109" y="56"/>
                    </a:lnTo>
                    <a:lnTo>
                      <a:pt x="108" y="58"/>
                    </a:lnTo>
                    <a:lnTo>
                      <a:pt x="108" y="58"/>
                    </a:lnTo>
                    <a:lnTo>
                      <a:pt x="107" y="58"/>
                    </a:lnTo>
                    <a:lnTo>
                      <a:pt x="105" y="58"/>
                    </a:lnTo>
                    <a:lnTo>
                      <a:pt x="105" y="59"/>
                    </a:lnTo>
                    <a:lnTo>
                      <a:pt x="104" y="62"/>
                    </a:lnTo>
                    <a:lnTo>
                      <a:pt x="102" y="64"/>
                    </a:lnTo>
                    <a:lnTo>
                      <a:pt x="101" y="64"/>
                    </a:lnTo>
                    <a:lnTo>
                      <a:pt x="101" y="64"/>
                    </a:lnTo>
                    <a:lnTo>
                      <a:pt x="99" y="64"/>
                    </a:lnTo>
                    <a:lnTo>
                      <a:pt x="99" y="64"/>
                    </a:lnTo>
                    <a:lnTo>
                      <a:pt x="99" y="65"/>
                    </a:lnTo>
                    <a:lnTo>
                      <a:pt x="98" y="67"/>
                    </a:lnTo>
                    <a:lnTo>
                      <a:pt x="98" y="69"/>
                    </a:lnTo>
                    <a:lnTo>
                      <a:pt x="98" y="69"/>
                    </a:lnTo>
                    <a:lnTo>
                      <a:pt x="98" y="71"/>
                    </a:lnTo>
                    <a:lnTo>
                      <a:pt x="98" y="72"/>
                    </a:lnTo>
                    <a:lnTo>
                      <a:pt x="98" y="72"/>
                    </a:lnTo>
                    <a:lnTo>
                      <a:pt x="95" y="74"/>
                    </a:lnTo>
                    <a:lnTo>
                      <a:pt x="95" y="74"/>
                    </a:lnTo>
                    <a:lnTo>
                      <a:pt x="94" y="77"/>
                    </a:lnTo>
                    <a:lnTo>
                      <a:pt x="95" y="78"/>
                    </a:lnTo>
                    <a:lnTo>
                      <a:pt x="95" y="79"/>
                    </a:lnTo>
                    <a:lnTo>
                      <a:pt x="97" y="81"/>
                    </a:lnTo>
                    <a:lnTo>
                      <a:pt x="97" y="82"/>
                    </a:lnTo>
                    <a:lnTo>
                      <a:pt x="98" y="84"/>
                    </a:lnTo>
                    <a:lnTo>
                      <a:pt x="98" y="85"/>
                    </a:lnTo>
                    <a:lnTo>
                      <a:pt x="97" y="85"/>
                    </a:lnTo>
                    <a:lnTo>
                      <a:pt x="95" y="88"/>
                    </a:lnTo>
                    <a:lnTo>
                      <a:pt x="95" y="89"/>
                    </a:lnTo>
                    <a:lnTo>
                      <a:pt x="97" y="91"/>
                    </a:lnTo>
                    <a:lnTo>
                      <a:pt x="98" y="89"/>
                    </a:lnTo>
                    <a:lnTo>
                      <a:pt x="101" y="88"/>
                    </a:lnTo>
                    <a:lnTo>
                      <a:pt x="105" y="87"/>
                    </a:lnTo>
                    <a:lnTo>
                      <a:pt x="109" y="87"/>
                    </a:lnTo>
                    <a:lnTo>
                      <a:pt x="118" y="87"/>
                    </a:lnTo>
                    <a:lnTo>
                      <a:pt x="117" y="87"/>
                    </a:lnTo>
                    <a:lnTo>
                      <a:pt x="115" y="88"/>
                    </a:lnTo>
                    <a:lnTo>
                      <a:pt x="115" y="89"/>
                    </a:lnTo>
                    <a:lnTo>
                      <a:pt x="115" y="91"/>
                    </a:lnTo>
                    <a:lnTo>
                      <a:pt x="115" y="91"/>
                    </a:lnTo>
                    <a:lnTo>
                      <a:pt x="115" y="92"/>
                    </a:lnTo>
                    <a:lnTo>
                      <a:pt x="117" y="94"/>
                    </a:lnTo>
                    <a:lnTo>
                      <a:pt x="118" y="100"/>
                    </a:lnTo>
                    <a:lnTo>
                      <a:pt x="118" y="104"/>
                    </a:lnTo>
                    <a:lnTo>
                      <a:pt x="118" y="104"/>
                    </a:lnTo>
                    <a:lnTo>
                      <a:pt x="120" y="104"/>
                    </a:lnTo>
                    <a:lnTo>
                      <a:pt x="121" y="105"/>
                    </a:lnTo>
                    <a:lnTo>
                      <a:pt x="122" y="105"/>
                    </a:lnTo>
                    <a:lnTo>
                      <a:pt x="125" y="105"/>
                    </a:lnTo>
                    <a:lnTo>
                      <a:pt x="127" y="105"/>
                    </a:lnTo>
                    <a:lnTo>
                      <a:pt x="128" y="107"/>
                    </a:lnTo>
                    <a:lnTo>
                      <a:pt x="128" y="108"/>
                    </a:lnTo>
                    <a:lnTo>
                      <a:pt x="128" y="110"/>
                    </a:lnTo>
                    <a:lnTo>
                      <a:pt x="127" y="111"/>
                    </a:lnTo>
                    <a:lnTo>
                      <a:pt x="127" y="112"/>
                    </a:lnTo>
                    <a:lnTo>
                      <a:pt x="125" y="117"/>
                    </a:lnTo>
                    <a:lnTo>
                      <a:pt x="125" y="118"/>
                    </a:lnTo>
                    <a:lnTo>
                      <a:pt x="124" y="121"/>
                    </a:lnTo>
                    <a:lnTo>
                      <a:pt x="124" y="123"/>
                    </a:lnTo>
                    <a:lnTo>
                      <a:pt x="124" y="124"/>
                    </a:lnTo>
                    <a:lnTo>
                      <a:pt x="125" y="124"/>
                    </a:lnTo>
                    <a:lnTo>
                      <a:pt x="128" y="125"/>
                    </a:lnTo>
                    <a:lnTo>
                      <a:pt x="132" y="125"/>
                    </a:lnTo>
                    <a:lnTo>
                      <a:pt x="135" y="127"/>
                    </a:lnTo>
                    <a:lnTo>
                      <a:pt x="137" y="127"/>
                    </a:lnTo>
                    <a:lnTo>
                      <a:pt x="137" y="130"/>
                    </a:lnTo>
                    <a:lnTo>
                      <a:pt x="137" y="133"/>
                    </a:lnTo>
                    <a:lnTo>
                      <a:pt x="138" y="133"/>
                    </a:lnTo>
                    <a:lnTo>
                      <a:pt x="140" y="134"/>
                    </a:lnTo>
                    <a:lnTo>
                      <a:pt x="140" y="134"/>
                    </a:lnTo>
                    <a:lnTo>
                      <a:pt x="140" y="135"/>
                    </a:lnTo>
                    <a:lnTo>
                      <a:pt x="140" y="135"/>
                    </a:lnTo>
                    <a:lnTo>
                      <a:pt x="141" y="137"/>
                    </a:lnTo>
                    <a:lnTo>
                      <a:pt x="143" y="137"/>
                    </a:lnTo>
                    <a:lnTo>
                      <a:pt x="147" y="137"/>
                    </a:lnTo>
                    <a:lnTo>
                      <a:pt x="148" y="137"/>
                    </a:lnTo>
                    <a:lnTo>
                      <a:pt x="150" y="135"/>
                    </a:lnTo>
                    <a:lnTo>
                      <a:pt x="153" y="134"/>
                    </a:lnTo>
                    <a:lnTo>
                      <a:pt x="154" y="133"/>
                    </a:lnTo>
                    <a:lnTo>
                      <a:pt x="157" y="131"/>
                    </a:lnTo>
                    <a:lnTo>
                      <a:pt x="158" y="133"/>
                    </a:lnTo>
                    <a:lnTo>
                      <a:pt x="158" y="134"/>
                    </a:lnTo>
                    <a:lnTo>
                      <a:pt x="157" y="137"/>
                    </a:lnTo>
                    <a:lnTo>
                      <a:pt x="155" y="137"/>
                    </a:lnTo>
                    <a:lnTo>
                      <a:pt x="153" y="140"/>
                    </a:lnTo>
                    <a:lnTo>
                      <a:pt x="151" y="140"/>
                    </a:lnTo>
                    <a:lnTo>
                      <a:pt x="151" y="141"/>
                    </a:lnTo>
                    <a:lnTo>
                      <a:pt x="148" y="144"/>
                    </a:lnTo>
                    <a:lnTo>
                      <a:pt x="147" y="146"/>
                    </a:lnTo>
                    <a:lnTo>
                      <a:pt x="147" y="147"/>
                    </a:lnTo>
                    <a:lnTo>
                      <a:pt x="148" y="148"/>
                    </a:lnTo>
                    <a:lnTo>
                      <a:pt x="148" y="148"/>
                    </a:lnTo>
                    <a:lnTo>
                      <a:pt x="144" y="150"/>
                    </a:lnTo>
                    <a:lnTo>
                      <a:pt x="143" y="150"/>
                    </a:lnTo>
                    <a:lnTo>
                      <a:pt x="141" y="151"/>
                    </a:lnTo>
                    <a:lnTo>
                      <a:pt x="141" y="154"/>
                    </a:lnTo>
                    <a:lnTo>
                      <a:pt x="140" y="158"/>
                    </a:lnTo>
                    <a:lnTo>
                      <a:pt x="137" y="157"/>
                    </a:lnTo>
                    <a:lnTo>
                      <a:pt x="134" y="157"/>
                    </a:lnTo>
                    <a:lnTo>
                      <a:pt x="131" y="157"/>
                    </a:lnTo>
                    <a:lnTo>
                      <a:pt x="128" y="157"/>
                    </a:lnTo>
                    <a:lnTo>
                      <a:pt x="130" y="161"/>
                    </a:lnTo>
                    <a:lnTo>
                      <a:pt x="127" y="163"/>
                    </a:lnTo>
                    <a:lnTo>
                      <a:pt x="124" y="163"/>
                    </a:lnTo>
                    <a:lnTo>
                      <a:pt x="121" y="163"/>
                    </a:lnTo>
                    <a:lnTo>
                      <a:pt x="120" y="166"/>
                    </a:lnTo>
                    <a:lnTo>
                      <a:pt x="120" y="167"/>
                    </a:lnTo>
                    <a:lnTo>
                      <a:pt x="120" y="167"/>
                    </a:lnTo>
                    <a:lnTo>
                      <a:pt x="117" y="169"/>
                    </a:lnTo>
                    <a:lnTo>
                      <a:pt x="115" y="169"/>
                    </a:lnTo>
                    <a:lnTo>
                      <a:pt x="112" y="170"/>
                    </a:lnTo>
                    <a:lnTo>
                      <a:pt x="111" y="170"/>
                    </a:lnTo>
                    <a:lnTo>
                      <a:pt x="108" y="170"/>
                    </a:lnTo>
                    <a:lnTo>
                      <a:pt x="108" y="170"/>
                    </a:lnTo>
                    <a:lnTo>
                      <a:pt x="105" y="169"/>
                    </a:lnTo>
                    <a:lnTo>
                      <a:pt x="105" y="169"/>
                    </a:lnTo>
                    <a:lnTo>
                      <a:pt x="104" y="169"/>
                    </a:lnTo>
                    <a:lnTo>
                      <a:pt x="104" y="170"/>
                    </a:lnTo>
                    <a:lnTo>
                      <a:pt x="104" y="170"/>
                    </a:lnTo>
                    <a:lnTo>
                      <a:pt x="101" y="173"/>
                    </a:lnTo>
                    <a:lnTo>
                      <a:pt x="99" y="176"/>
                    </a:lnTo>
                    <a:lnTo>
                      <a:pt x="99" y="180"/>
                    </a:lnTo>
                    <a:lnTo>
                      <a:pt x="99" y="181"/>
                    </a:lnTo>
                    <a:lnTo>
                      <a:pt x="98" y="183"/>
                    </a:lnTo>
                    <a:lnTo>
                      <a:pt x="98" y="184"/>
                    </a:lnTo>
                    <a:lnTo>
                      <a:pt x="98" y="186"/>
                    </a:lnTo>
                    <a:lnTo>
                      <a:pt x="98" y="189"/>
                    </a:lnTo>
                    <a:lnTo>
                      <a:pt x="98" y="190"/>
                    </a:lnTo>
                    <a:lnTo>
                      <a:pt x="97" y="192"/>
                    </a:lnTo>
                    <a:lnTo>
                      <a:pt x="95" y="192"/>
                    </a:lnTo>
                    <a:lnTo>
                      <a:pt x="94" y="192"/>
                    </a:lnTo>
                    <a:lnTo>
                      <a:pt x="92" y="192"/>
                    </a:lnTo>
                    <a:lnTo>
                      <a:pt x="92" y="194"/>
                    </a:lnTo>
                    <a:lnTo>
                      <a:pt x="94" y="194"/>
                    </a:lnTo>
                    <a:lnTo>
                      <a:pt x="95" y="196"/>
                    </a:lnTo>
                    <a:lnTo>
                      <a:pt x="97" y="196"/>
                    </a:lnTo>
                    <a:lnTo>
                      <a:pt x="97" y="199"/>
                    </a:lnTo>
                    <a:lnTo>
                      <a:pt x="98" y="202"/>
                    </a:lnTo>
                    <a:lnTo>
                      <a:pt x="98" y="203"/>
                    </a:lnTo>
                    <a:lnTo>
                      <a:pt x="98" y="206"/>
                    </a:lnTo>
                    <a:lnTo>
                      <a:pt x="99" y="209"/>
                    </a:lnTo>
                    <a:lnTo>
                      <a:pt x="108" y="216"/>
                    </a:lnTo>
                    <a:lnTo>
                      <a:pt x="111" y="220"/>
                    </a:lnTo>
                    <a:lnTo>
                      <a:pt x="111" y="222"/>
                    </a:lnTo>
                    <a:lnTo>
                      <a:pt x="112" y="226"/>
                    </a:lnTo>
                    <a:lnTo>
                      <a:pt x="114" y="229"/>
                    </a:lnTo>
                    <a:lnTo>
                      <a:pt x="115" y="232"/>
                    </a:lnTo>
                    <a:lnTo>
                      <a:pt x="115" y="232"/>
                    </a:lnTo>
                    <a:lnTo>
                      <a:pt x="117" y="230"/>
                    </a:lnTo>
                    <a:lnTo>
                      <a:pt x="118" y="230"/>
                    </a:lnTo>
                    <a:lnTo>
                      <a:pt x="118" y="233"/>
                    </a:lnTo>
                    <a:lnTo>
                      <a:pt x="118" y="235"/>
                    </a:lnTo>
                    <a:lnTo>
                      <a:pt x="115" y="236"/>
                    </a:lnTo>
                    <a:lnTo>
                      <a:pt x="114" y="239"/>
                    </a:lnTo>
                    <a:lnTo>
                      <a:pt x="112" y="242"/>
                    </a:lnTo>
                    <a:lnTo>
                      <a:pt x="112" y="248"/>
                    </a:lnTo>
                    <a:lnTo>
                      <a:pt x="112" y="249"/>
                    </a:lnTo>
                    <a:lnTo>
                      <a:pt x="111" y="250"/>
                    </a:lnTo>
                    <a:lnTo>
                      <a:pt x="111" y="250"/>
                    </a:lnTo>
                    <a:lnTo>
                      <a:pt x="108" y="252"/>
                    </a:lnTo>
                    <a:lnTo>
                      <a:pt x="107" y="253"/>
                    </a:lnTo>
                    <a:lnTo>
                      <a:pt x="107" y="255"/>
                    </a:lnTo>
                    <a:lnTo>
                      <a:pt x="107" y="256"/>
                    </a:lnTo>
                    <a:lnTo>
                      <a:pt x="107" y="259"/>
                    </a:lnTo>
                    <a:lnTo>
                      <a:pt x="109" y="263"/>
                    </a:lnTo>
                    <a:lnTo>
                      <a:pt x="120" y="275"/>
                    </a:lnTo>
                    <a:lnTo>
                      <a:pt x="122" y="279"/>
                    </a:lnTo>
                    <a:lnTo>
                      <a:pt x="122" y="284"/>
                    </a:lnTo>
                    <a:lnTo>
                      <a:pt x="122" y="292"/>
                    </a:lnTo>
                    <a:lnTo>
                      <a:pt x="122" y="295"/>
                    </a:lnTo>
                    <a:lnTo>
                      <a:pt x="124" y="296"/>
                    </a:lnTo>
                    <a:lnTo>
                      <a:pt x="125" y="298"/>
                    </a:lnTo>
                    <a:lnTo>
                      <a:pt x="127" y="301"/>
                    </a:lnTo>
                    <a:lnTo>
                      <a:pt x="128" y="302"/>
                    </a:lnTo>
                    <a:lnTo>
                      <a:pt x="131" y="312"/>
                    </a:lnTo>
                    <a:lnTo>
                      <a:pt x="131" y="314"/>
                    </a:lnTo>
                    <a:lnTo>
                      <a:pt x="131" y="315"/>
                    </a:lnTo>
                    <a:lnTo>
                      <a:pt x="130" y="318"/>
                    </a:lnTo>
                    <a:lnTo>
                      <a:pt x="124" y="327"/>
                    </a:lnTo>
                    <a:lnTo>
                      <a:pt x="122" y="330"/>
                    </a:lnTo>
                    <a:lnTo>
                      <a:pt x="118" y="332"/>
                    </a:lnTo>
                    <a:lnTo>
                      <a:pt x="117" y="335"/>
                    </a:lnTo>
                    <a:lnTo>
                      <a:pt x="115" y="337"/>
                    </a:lnTo>
                    <a:lnTo>
                      <a:pt x="115" y="341"/>
                    </a:lnTo>
                    <a:close/>
                    <a:moveTo>
                      <a:pt x="30" y="177"/>
                    </a:moveTo>
                    <a:lnTo>
                      <a:pt x="32" y="176"/>
                    </a:lnTo>
                    <a:lnTo>
                      <a:pt x="30" y="174"/>
                    </a:lnTo>
                    <a:lnTo>
                      <a:pt x="29" y="173"/>
                    </a:lnTo>
                    <a:lnTo>
                      <a:pt x="28" y="173"/>
                    </a:lnTo>
                    <a:lnTo>
                      <a:pt x="26" y="174"/>
                    </a:lnTo>
                    <a:lnTo>
                      <a:pt x="28" y="174"/>
                    </a:lnTo>
                    <a:lnTo>
                      <a:pt x="29" y="177"/>
                    </a:lnTo>
                    <a:lnTo>
                      <a:pt x="30" y="177"/>
                    </a:lnTo>
                    <a:close/>
                    <a:moveTo>
                      <a:pt x="15" y="167"/>
                    </a:moveTo>
                    <a:lnTo>
                      <a:pt x="15" y="167"/>
                    </a:lnTo>
                    <a:lnTo>
                      <a:pt x="15" y="166"/>
                    </a:lnTo>
                    <a:lnTo>
                      <a:pt x="15" y="164"/>
                    </a:lnTo>
                    <a:lnTo>
                      <a:pt x="15" y="164"/>
                    </a:lnTo>
                    <a:lnTo>
                      <a:pt x="13" y="163"/>
                    </a:lnTo>
                    <a:lnTo>
                      <a:pt x="13" y="164"/>
                    </a:lnTo>
                    <a:lnTo>
                      <a:pt x="13" y="166"/>
                    </a:lnTo>
                    <a:lnTo>
                      <a:pt x="15" y="166"/>
                    </a:lnTo>
                    <a:lnTo>
                      <a:pt x="15" y="167"/>
                    </a:lnTo>
                    <a:close/>
                    <a:moveTo>
                      <a:pt x="23" y="169"/>
                    </a:moveTo>
                    <a:lnTo>
                      <a:pt x="23" y="167"/>
                    </a:lnTo>
                    <a:lnTo>
                      <a:pt x="23" y="167"/>
                    </a:lnTo>
                    <a:lnTo>
                      <a:pt x="23" y="166"/>
                    </a:lnTo>
                    <a:lnTo>
                      <a:pt x="22" y="166"/>
                    </a:lnTo>
                    <a:lnTo>
                      <a:pt x="22" y="166"/>
                    </a:lnTo>
                    <a:lnTo>
                      <a:pt x="22" y="167"/>
                    </a:lnTo>
                    <a:lnTo>
                      <a:pt x="23" y="169"/>
                    </a:lnTo>
                    <a:lnTo>
                      <a:pt x="23" y="169"/>
                    </a:lnTo>
                    <a:close/>
                    <a:moveTo>
                      <a:pt x="28" y="187"/>
                    </a:moveTo>
                    <a:lnTo>
                      <a:pt x="26" y="186"/>
                    </a:lnTo>
                    <a:lnTo>
                      <a:pt x="23" y="186"/>
                    </a:lnTo>
                    <a:lnTo>
                      <a:pt x="25" y="187"/>
                    </a:lnTo>
                    <a:lnTo>
                      <a:pt x="25" y="187"/>
                    </a:lnTo>
                    <a:lnTo>
                      <a:pt x="26" y="189"/>
                    </a:lnTo>
                    <a:lnTo>
                      <a:pt x="28" y="18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2" name="Freeform 138">
                <a:extLst>
                  <a:ext uri="{FF2B5EF4-FFF2-40B4-BE49-F238E27FC236}">
                    <a16:creationId xmlns:a16="http://schemas.microsoft.com/office/drawing/2014/main" id="{3C153C7E-EEEB-D8BD-7E43-B2B6C6F4B841}"/>
                  </a:ext>
                </a:extLst>
              </p:cNvPr>
              <p:cNvSpPr>
                <a:spLocks noEditPoints="1"/>
              </p:cNvSpPr>
              <p:nvPr/>
            </p:nvSpPr>
            <p:spPr bwMode="auto">
              <a:xfrm>
                <a:off x="7493845" y="4002535"/>
                <a:ext cx="4338" cy="24581"/>
              </a:xfrm>
              <a:custGeom>
                <a:avLst/>
                <a:gdLst>
                  <a:gd name="T0" fmla="*/ 0 w 3"/>
                  <a:gd name="T1" fmla="*/ 17 h 17"/>
                  <a:gd name="T2" fmla="*/ 0 w 3"/>
                  <a:gd name="T3" fmla="*/ 17 h 17"/>
                  <a:gd name="T4" fmla="*/ 0 w 3"/>
                  <a:gd name="T5" fmla="*/ 17 h 17"/>
                  <a:gd name="T6" fmla="*/ 0 w 3"/>
                  <a:gd name="T7" fmla="*/ 17 h 17"/>
                  <a:gd name="T8" fmla="*/ 0 w 3"/>
                  <a:gd name="T9" fmla="*/ 17 h 17"/>
                  <a:gd name="T10" fmla="*/ 1 w 3"/>
                  <a:gd name="T11" fmla="*/ 17 h 17"/>
                  <a:gd name="T12" fmla="*/ 0 w 3"/>
                  <a:gd name="T13" fmla="*/ 17 h 17"/>
                  <a:gd name="T14" fmla="*/ 0 w 3"/>
                  <a:gd name="T15" fmla="*/ 17 h 17"/>
                  <a:gd name="T16" fmla="*/ 0 w 3"/>
                  <a:gd name="T17" fmla="*/ 17 h 17"/>
                  <a:gd name="T18" fmla="*/ 3 w 3"/>
                  <a:gd name="T19" fmla="*/ 1 h 17"/>
                  <a:gd name="T20" fmla="*/ 3 w 3"/>
                  <a:gd name="T21" fmla="*/ 0 h 17"/>
                  <a:gd name="T22" fmla="*/ 3 w 3"/>
                  <a:gd name="T23" fmla="*/ 0 h 17"/>
                  <a:gd name="T24" fmla="*/ 1 w 3"/>
                  <a:gd name="T25" fmla="*/ 0 h 17"/>
                  <a:gd name="T26" fmla="*/ 1 w 3"/>
                  <a:gd name="T27" fmla="*/ 1 h 17"/>
                  <a:gd name="T28" fmla="*/ 1 w 3"/>
                  <a:gd name="T29" fmla="*/ 1 h 17"/>
                  <a:gd name="T30" fmla="*/ 1 w 3"/>
                  <a:gd name="T31" fmla="*/ 1 h 17"/>
                  <a:gd name="T32" fmla="*/ 1 w 3"/>
                  <a:gd name="T33" fmla="*/ 1 h 17"/>
                  <a:gd name="T34" fmla="*/ 3 w 3"/>
                  <a:gd name="T35"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17">
                    <a:moveTo>
                      <a:pt x="0" y="17"/>
                    </a:moveTo>
                    <a:lnTo>
                      <a:pt x="0" y="17"/>
                    </a:lnTo>
                    <a:lnTo>
                      <a:pt x="0" y="17"/>
                    </a:lnTo>
                    <a:lnTo>
                      <a:pt x="0" y="17"/>
                    </a:lnTo>
                    <a:lnTo>
                      <a:pt x="0" y="17"/>
                    </a:lnTo>
                    <a:lnTo>
                      <a:pt x="1" y="17"/>
                    </a:lnTo>
                    <a:lnTo>
                      <a:pt x="0" y="17"/>
                    </a:lnTo>
                    <a:lnTo>
                      <a:pt x="0" y="17"/>
                    </a:lnTo>
                    <a:lnTo>
                      <a:pt x="0" y="17"/>
                    </a:lnTo>
                    <a:close/>
                    <a:moveTo>
                      <a:pt x="3" y="1"/>
                    </a:moveTo>
                    <a:lnTo>
                      <a:pt x="3" y="0"/>
                    </a:lnTo>
                    <a:lnTo>
                      <a:pt x="3" y="0"/>
                    </a:lnTo>
                    <a:lnTo>
                      <a:pt x="1" y="0"/>
                    </a:lnTo>
                    <a:lnTo>
                      <a:pt x="1" y="1"/>
                    </a:lnTo>
                    <a:lnTo>
                      <a:pt x="1" y="1"/>
                    </a:lnTo>
                    <a:lnTo>
                      <a:pt x="1" y="1"/>
                    </a:lnTo>
                    <a:lnTo>
                      <a:pt x="1" y="1"/>
                    </a:lnTo>
                    <a:lnTo>
                      <a:pt x="3" y="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3" name="Freeform 139">
                <a:extLst>
                  <a:ext uri="{FF2B5EF4-FFF2-40B4-BE49-F238E27FC236}">
                    <a16:creationId xmlns:a16="http://schemas.microsoft.com/office/drawing/2014/main" id="{41F17CD0-075F-5257-381E-DB6B6B5E6C70}"/>
                  </a:ext>
                </a:extLst>
              </p:cNvPr>
              <p:cNvSpPr>
                <a:spLocks noEditPoints="1"/>
              </p:cNvSpPr>
              <p:nvPr/>
            </p:nvSpPr>
            <p:spPr bwMode="auto">
              <a:xfrm>
                <a:off x="8104040" y="3580314"/>
                <a:ext cx="209664" cy="386071"/>
              </a:xfrm>
              <a:custGeom>
                <a:avLst/>
                <a:gdLst>
                  <a:gd name="T0" fmla="*/ 86 w 145"/>
                  <a:gd name="T1" fmla="*/ 152 h 267"/>
                  <a:gd name="T2" fmla="*/ 91 w 145"/>
                  <a:gd name="T3" fmla="*/ 160 h 267"/>
                  <a:gd name="T4" fmla="*/ 91 w 145"/>
                  <a:gd name="T5" fmla="*/ 144 h 267"/>
                  <a:gd name="T6" fmla="*/ 88 w 145"/>
                  <a:gd name="T7" fmla="*/ 125 h 267"/>
                  <a:gd name="T8" fmla="*/ 91 w 145"/>
                  <a:gd name="T9" fmla="*/ 124 h 267"/>
                  <a:gd name="T10" fmla="*/ 115 w 145"/>
                  <a:gd name="T11" fmla="*/ 111 h 267"/>
                  <a:gd name="T12" fmla="*/ 137 w 145"/>
                  <a:gd name="T13" fmla="*/ 112 h 267"/>
                  <a:gd name="T14" fmla="*/ 145 w 145"/>
                  <a:gd name="T15" fmla="*/ 89 h 267"/>
                  <a:gd name="T16" fmla="*/ 140 w 145"/>
                  <a:gd name="T17" fmla="*/ 82 h 267"/>
                  <a:gd name="T18" fmla="*/ 130 w 145"/>
                  <a:gd name="T19" fmla="*/ 70 h 267"/>
                  <a:gd name="T20" fmla="*/ 124 w 145"/>
                  <a:gd name="T21" fmla="*/ 50 h 267"/>
                  <a:gd name="T22" fmla="*/ 105 w 145"/>
                  <a:gd name="T23" fmla="*/ 37 h 267"/>
                  <a:gd name="T24" fmla="*/ 101 w 145"/>
                  <a:gd name="T25" fmla="*/ 40 h 267"/>
                  <a:gd name="T26" fmla="*/ 94 w 145"/>
                  <a:gd name="T27" fmla="*/ 46 h 267"/>
                  <a:gd name="T28" fmla="*/ 92 w 145"/>
                  <a:gd name="T29" fmla="*/ 46 h 267"/>
                  <a:gd name="T30" fmla="*/ 82 w 145"/>
                  <a:gd name="T31" fmla="*/ 42 h 267"/>
                  <a:gd name="T32" fmla="*/ 66 w 145"/>
                  <a:gd name="T33" fmla="*/ 42 h 267"/>
                  <a:gd name="T34" fmla="*/ 66 w 145"/>
                  <a:gd name="T35" fmla="*/ 33 h 267"/>
                  <a:gd name="T36" fmla="*/ 63 w 145"/>
                  <a:gd name="T37" fmla="*/ 14 h 267"/>
                  <a:gd name="T38" fmla="*/ 55 w 145"/>
                  <a:gd name="T39" fmla="*/ 4 h 267"/>
                  <a:gd name="T40" fmla="*/ 48 w 145"/>
                  <a:gd name="T41" fmla="*/ 1 h 267"/>
                  <a:gd name="T42" fmla="*/ 32 w 145"/>
                  <a:gd name="T43" fmla="*/ 6 h 267"/>
                  <a:gd name="T44" fmla="*/ 20 w 145"/>
                  <a:gd name="T45" fmla="*/ 13 h 267"/>
                  <a:gd name="T46" fmla="*/ 12 w 145"/>
                  <a:gd name="T47" fmla="*/ 13 h 267"/>
                  <a:gd name="T48" fmla="*/ 6 w 145"/>
                  <a:gd name="T49" fmla="*/ 27 h 267"/>
                  <a:gd name="T50" fmla="*/ 0 w 145"/>
                  <a:gd name="T51" fmla="*/ 35 h 267"/>
                  <a:gd name="T52" fmla="*/ 6 w 145"/>
                  <a:gd name="T53" fmla="*/ 46 h 267"/>
                  <a:gd name="T54" fmla="*/ 22 w 145"/>
                  <a:gd name="T55" fmla="*/ 72 h 267"/>
                  <a:gd name="T56" fmla="*/ 23 w 145"/>
                  <a:gd name="T57" fmla="*/ 79 h 267"/>
                  <a:gd name="T58" fmla="*/ 16 w 145"/>
                  <a:gd name="T59" fmla="*/ 95 h 267"/>
                  <a:gd name="T60" fmla="*/ 30 w 145"/>
                  <a:gd name="T61" fmla="*/ 122 h 267"/>
                  <a:gd name="T62" fmla="*/ 36 w 145"/>
                  <a:gd name="T63" fmla="*/ 145 h 267"/>
                  <a:gd name="T64" fmla="*/ 26 w 145"/>
                  <a:gd name="T65" fmla="*/ 175 h 267"/>
                  <a:gd name="T66" fmla="*/ 17 w 145"/>
                  <a:gd name="T67" fmla="*/ 223 h 267"/>
                  <a:gd name="T68" fmla="*/ 25 w 145"/>
                  <a:gd name="T69" fmla="*/ 224 h 267"/>
                  <a:gd name="T70" fmla="*/ 29 w 145"/>
                  <a:gd name="T71" fmla="*/ 230 h 267"/>
                  <a:gd name="T72" fmla="*/ 35 w 145"/>
                  <a:gd name="T73" fmla="*/ 236 h 267"/>
                  <a:gd name="T74" fmla="*/ 39 w 145"/>
                  <a:gd name="T75" fmla="*/ 240 h 267"/>
                  <a:gd name="T76" fmla="*/ 42 w 145"/>
                  <a:gd name="T77" fmla="*/ 247 h 267"/>
                  <a:gd name="T78" fmla="*/ 56 w 145"/>
                  <a:gd name="T79" fmla="*/ 253 h 267"/>
                  <a:gd name="T80" fmla="*/ 63 w 145"/>
                  <a:gd name="T81" fmla="*/ 256 h 267"/>
                  <a:gd name="T82" fmla="*/ 68 w 145"/>
                  <a:gd name="T83" fmla="*/ 266 h 267"/>
                  <a:gd name="T84" fmla="*/ 79 w 145"/>
                  <a:gd name="T85" fmla="*/ 263 h 267"/>
                  <a:gd name="T86" fmla="*/ 75 w 145"/>
                  <a:gd name="T87" fmla="*/ 249 h 267"/>
                  <a:gd name="T88" fmla="*/ 52 w 145"/>
                  <a:gd name="T89" fmla="*/ 237 h 267"/>
                  <a:gd name="T90" fmla="*/ 53 w 145"/>
                  <a:gd name="T91" fmla="*/ 237 h 267"/>
                  <a:gd name="T92" fmla="*/ 45 w 145"/>
                  <a:gd name="T93" fmla="*/ 208 h 267"/>
                  <a:gd name="T94" fmla="*/ 33 w 145"/>
                  <a:gd name="T95" fmla="*/ 198 h 267"/>
                  <a:gd name="T96" fmla="*/ 33 w 145"/>
                  <a:gd name="T97" fmla="*/ 180 h 267"/>
                  <a:gd name="T98" fmla="*/ 45 w 145"/>
                  <a:gd name="T99" fmla="*/ 142 h 267"/>
                  <a:gd name="T100" fmla="*/ 46 w 145"/>
                  <a:gd name="T101" fmla="*/ 132 h 267"/>
                  <a:gd name="T102" fmla="*/ 56 w 145"/>
                  <a:gd name="T103" fmla="*/ 127 h 267"/>
                  <a:gd name="T104" fmla="*/ 62 w 145"/>
                  <a:gd name="T105" fmla="*/ 141 h 267"/>
                  <a:gd name="T106" fmla="*/ 79 w 145"/>
                  <a:gd name="T107" fmla="*/ 144 h 267"/>
                  <a:gd name="T108" fmla="*/ 91 w 145"/>
                  <a:gd name="T109" fmla="*/ 151 h 267"/>
                  <a:gd name="T110" fmla="*/ 45 w 145"/>
                  <a:gd name="T111" fmla="*/ 197 h 267"/>
                  <a:gd name="T112" fmla="*/ 48 w 145"/>
                  <a:gd name="T113" fmla="*/ 196 h 267"/>
                  <a:gd name="T114" fmla="*/ 16 w 145"/>
                  <a:gd name="T115" fmla="*/ 207 h 267"/>
                  <a:gd name="T116" fmla="*/ 16 w 145"/>
                  <a:gd name="T117" fmla="*/ 206 h 267"/>
                  <a:gd name="T118" fmla="*/ 22 w 145"/>
                  <a:gd name="T119" fmla="*/ 226 h 267"/>
                  <a:gd name="T120" fmla="*/ 17 w 145"/>
                  <a:gd name="T121" fmla="*/ 224 h 267"/>
                  <a:gd name="T122" fmla="*/ 29 w 145"/>
                  <a:gd name="T123" fmla="*/ 233 h 267"/>
                  <a:gd name="T124" fmla="*/ 40 w 145"/>
                  <a:gd name="T125" fmla="*/ 25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 h="267">
                    <a:moveTo>
                      <a:pt x="88" y="154"/>
                    </a:moveTo>
                    <a:lnTo>
                      <a:pt x="89" y="154"/>
                    </a:lnTo>
                    <a:lnTo>
                      <a:pt x="88" y="154"/>
                    </a:lnTo>
                    <a:lnTo>
                      <a:pt x="86" y="154"/>
                    </a:lnTo>
                    <a:lnTo>
                      <a:pt x="86" y="152"/>
                    </a:lnTo>
                    <a:lnTo>
                      <a:pt x="86" y="151"/>
                    </a:lnTo>
                    <a:lnTo>
                      <a:pt x="86" y="152"/>
                    </a:lnTo>
                    <a:lnTo>
                      <a:pt x="88" y="152"/>
                    </a:lnTo>
                    <a:lnTo>
                      <a:pt x="88" y="154"/>
                    </a:lnTo>
                    <a:close/>
                    <a:moveTo>
                      <a:pt x="91" y="160"/>
                    </a:moveTo>
                    <a:lnTo>
                      <a:pt x="91" y="161"/>
                    </a:lnTo>
                    <a:lnTo>
                      <a:pt x="92" y="161"/>
                    </a:lnTo>
                    <a:lnTo>
                      <a:pt x="92" y="160"/>
                    </a:lnTo>
                    <a:lnTo>
                      <a:pt x="91" y="160"/>
                    </a:lnTo>
                    <a:lnTo>
                      <a:pt x="91" y="160"/>
                    </a:lnTo>
                    <a:close/>
                    <a:moveTo>
                      <a:pt x="94" y="152"/>
                    </a:moveTo>
                    <a:lnTo>
                      <a:pt x="94" y="151"/>
                    </a:lnTo>
                    <a:lnTo>
                      <a:pt x="94" y="148"/>
                    </a:lnTo>
                    <a:lnTo>
                      <a:pt x="94" y="147"/>
                    </a:lnTo>
                    <a:lnTo>
                      <a:pt x="94" y="145"/>
                    </a:lnTo>
                    <a:lnTo>
                      <a:pt x="91" y="144"/>
                    </a:lnTo>
                    <a:lnTo>
                      <a:pt x="91" y="142"/>
                    </a:lnTo>
                    <a:lnTo>
                      <a:pt x="89" y="141"/>
                    </a:lnTo>
                    <a:lnTo>
                      <a:pt x="89" y="137"/>
                    </a:lnTo>
                    <a:lnTo>
                      <a:pt x="89" y="135"/>
                    </a:lnTo>
                    <a:lnTo>
                      <a:pt x="86" y="131"/>
                    </a:lnTo>
                    <a:lnTo>
                      <a:pt x="86" y="128"/>
                    </a:lnTo>
                    <a:lnTo>
                      <a:pt x="88" y="125"/>
                    </a:lnTo>
                    <a:lnTo>
                      <a:pt x="88" y="125"/>
                    </a:lnTo>
                    <a:lnTo>
                      <a:pt x="91" y="125"/>
                    </a:lnTo>
                    <a:lnTo>
                      <a:pt x="91" y="125"/>
                    </a:lnTo>
                    <a:lnTo>
                      <a:pt x="91" y="125"/>
                    </a:lnTo>
                    <a:lnTo>
                      <a:pt x="91" y="124"/>
                    </a:lnTo>
                    <a:lnTo>
                      <a:pt x="91" y="124"/>
                    </a:lnTo>
                    <a:lnTo>
                      <a:pt x="91" y="124"/>
                    </a:lnTo>
                    <a:lnTo>
                      <a:pt x="92" y="122"/>
                    </a:lnTo>
                    <a:lnTo>
                      <a:pt x="98" y="115"/>
                    </a:lnTo>
                    <a:lnTo>
                      <a:pt x="101" y="112"/>
                    </a:lnTo>
                    <a:lnTo>
                      <a:pt x="104" y="111"/>
                    </a:lnTo>
                    <a:lnTo>
                      <a:pt x="108" y="111"/>
                    </a:lnTo>
                    <a:lnTo>
                      <a:pt x="109" y="111"/>
                    </a:lnTo>
                    <a:lnTo>
                      <a:pt x="115" y="111"/>
                    </a:lnTo>
                    <a:lnTo>
                      <a:pt x="117" y="111"/>
                    </a:lnTo>
                    <a:lnTo>
                      <a:pt x="128" y="109"/>
                    </a:lnTo>
                    <a:lnTo>
                      <a:pt x="132" y="111"/>
                    </a:lnTo>
                    <a:lnTo>
                      <a:pt x="132" y="112"/>
                    </a:lnTo>
                    <a:lnTo>
                      <a:pt x="134" y="114"/>
                    </a:lnTo>
                    <a:lnTo>
                      <a:pt x="135" y="114"/>
                    </a:lnTo>
                    <a:lnTo>
                      <a:pt x="137" y="112"/>
                    </a:lnTo>
                    <a:lnTo>
                      <a:pt x="141" y="108"/>
                    </a:lnTo>
                    <a:lnTo>
                      <a:pt x="142" y="104"/>
                    </a:lnTo>
                    <a:lnTo>
                      <a:pt x="142" y="99"/>
                    </a:lnTo>
                    <a:lnTo>
                      <a:pt x="142" y="93"/>
                    </a:lnTo>
                    <a:lnTo>
                      <a:pt x="144" y="92"/>
                    </a:lnTo>
                    <a:lnTo>
                      <a:pt x="144" y="91"/>
                    </a:lnTo>
                    <a:lnTo>
                      <a:pt x="145" y="89"/>
                    </a:lnTo>
                    <a:lnTo>
                      <a:pt x="144" y="86"/>
                    </a:lnTo>
                    <a:lnTo>
                      <a:pt x="144" y="86"/>
                    </a:lnTo>
                    <a:lnTo>
                      <a:pt x="141" y="85"/>
                    </a:lnTo>
                    <a:lnTo>
                      <a:pt x="141" y="83"/>
                    </a:lnTo>
                    <a:lnTo>
                      <a:pt x="140" y="83"/>
                    </a:lnTo>
                    <a:lnTo>
                      <a:pt x="140" y="82"/>
                    </a:lnTo>
                    <a:lnTo>
                      <a:pt x="140" y="82"/>
                    </a:lnTo>
                    <a:lnTo>
                      <a:pt x="140" y="81"/>
                    </a:lnTo>
                    <a:lnTo>
                      <a:pt x="138" y="79"/>
                    </a:lnTo>
                    <a:lnTo>
                      <a:pt x="135" y="79"/>
                    </a:lnTo>
                    <a:lnTo>
                      <a:pt x="134" y="78"/>
                    </a:lnTo>
                    <a:lnTo>
                      <a:pt x="132" y="75"/>
                    </a:lnTo>
                    <a:lnTo>
                      <a:pt x="131" y="73"/>
                    </a:lnTo>
                    <a:lnTo>
                      <a:pt x="130" y="70"/>
                    </a:lnTo>
                    <a:lnTo>
                      <a:pt x="130" y="68"/>
                    </a:lnTo>
                    <a:lnTo>
                      <a:pt x="130" y="63"/>
                    </a:lnTo>
                    <a:lnTo>
                      <a:pt x="130" y="60"/>
                    </a:lnTo>
                    <a:lnTo>
                      <a:pt x="130" y="58"/>
                    </a:lnTo>
                    <a:lnTo>
                      <a:pt x="128" y="55"/>
                    </a:lnTo>
                    <a:lnTo>
                      <a:pt x="127" y="53"/>
                    </a:lnTo>
                    <a:lnTo>
                      <a:pt x="124" y="50"/>
                    </a:lnTo>
                    <a:lnTo>
                      <a:pt x="122" y="47"/>
                    </a:lnTo>
                    <a:lnTo>
                      <a:pt x="119" y="43"/>
                    </a:lnTo>
                    <a:lnTo>
                      <a:pt x="117" y="40"/>
                    </a:lnTo>
                    <a:lnTo>
                      <a:pt x="115" y="39"/>
                    </a:lnTo>
                    <a:lnTo>
                      <a:pt x="111" y="37"/>
                    </a:lnTo>
                    <a:lnTo>
                      <a:pt x="108" y="36"/>
                    </a:lnTo>
                    <a:lnTo>
                      <a:pt x="105" y="37"/>
                    </a:lnTo>
                    <a:lnTo>
                      <a:pt x="104" y="37"/>
                    </a:lnTo>
                    <a:lnTo>
                      <a:pt x="104" y="37"/>
                    </a:lnTo>
                    <a:lnTo>
                      <a:pt x="104" y="39"/>
                    </a:lnTo>
                    <a:lnTo>
                      <a:pt x="104" y="39"/>
                    </a:lnTo>
                    <a:lnTo>
                      <a:pt x="102" y="39"/>
                    </a:lnTo>
                    <a:lnTo>
                      <a:pt x="102" y="40"/>
                    </a:lnTo>
                    <a:lnTo>
                      <a:pt x="101" y="40"/>
                    </a:lnTo>
                    <a:lnTo>
                      <a:pt x="101" y="42"/>
                    </a:lnTo>
                    <a:lnTo>
                      <a:pt x="101" y="42"/>
                    </a:lnTo>
                    <a:lnTo>
                      <a:pt x="101" y="42"/>
                    </a:lnTo>
                    <a:lnTo>
                      <a:pt x="99" y="43"/>
                    </a:lnTo>
                    <a:lnTo>
                      <a:pt x="98" y="45"/>
                    </a:lnTo>
                    <a:lnTo>
                      <a:pt x="96" y="46"/>
                    </a:lnTo>
                    <a:lnTo>
                      <a:pt x="94" y="46"/>
                    </a:lnTo>
                    <a:lnTo>
                      <a:pt x="94" y="46"/>
                    </a:lnTo>
                    <a:lnTo>
                      <a:pt x="94" y="47"/>
                    </a:lnTo>
                    <a:lnTo>
                      <a:pt x="94" y="47"/>
                    </a:lnTo>
                    <a:lnTo>
                      <a:pt x="92" y="47"/>
                    </a:lnTo>
                    <a:lnTo>
                      <a:pt x="92" y="47"/>
                    </a:lnTo>
                    <a:lnTo>
                      <a:pt x="92" y="47"/>
                    </a:lnTo>
                    <a:lnTo>
                      <a:pt x="92" y="46"/>
                    </a:lnTo>
                    <a:lnTo>
                      <a:pt x="92" y="46"/>
                    </a:lnTo>
                    <a:lnTo>
                      <a:pt x="91" y="46"/>
                    </a:lnTo>
                    <a:lnTo>
                      <a:pt x="88" y="43"/>
                    </a:lnTo>
                    <a:lnTo>
                      <a:pt x="85" y="42"/>
                    </a:lnTo>
                    <a:lnTo>
                      <a:pt x="84" y="42"/>
                    </a:lnTo>
                    <a:lnTo>
                      <a:pt x="84" y="42"/>
                    </a:lnTo>
                    <a:lnTo>
                      <a:pt x="82" y="42"/>
                    </a:lnTo>
                    <a:lnTo>
                      <a:pt x="78" y="43"/>
                    </a:lnTo>
                    <a:lnTo>
                      <a:pt x="68" y="53"/>
                    </a:lnTo>
                    <a:lnTo>
                      <a:pt x="63" y="53"/>
                    </a:lnTo>
                    <a:lnTo>
                      <a:pt x="62" y="52"/>
                    </a:lnTo>
                    <a:lnTo>
                      <a:pt x="62" y="50"/>
                    </a:lnTo>
                    <a:lnTo>
                      <a:pt x="65" y="43"/>
                    </a:lnTo>
                    <a:lnTo>
                      <a:pt x="66" y="42"/>
                    </a:lnTo>
                    <a:lnTo>
                      <a:pt x="66" y="40"/>
                    </a:lnTo>
                    <a:lnTo>
                      <a:pt x="65" y="40"/>
                    </a:lnTo>
                    <a:lnTo>
                      <a:pt x="65" y="37"/>
                    </a:lnTo>
                    <a:lnTo>
                      <a:pt x="65" y="36"/>
                    </a:lnTo>
                    <a:lnTo>
                      <a:pt x="65" y="36"/>
                    </a:lnTo>
                    <a:lnTo>
                      <a:pt x="65" y="35"/>
                    </a:lnTo>
                    <a:lnTo>
                      <a:pt x="66" y="33"/>
                    </a:lnTo>
                    <a:lnTo>
                      <a:pt x="68" y="30"/>
                    </a:lnTo>
                    <a:lnTo>
                      <a:pt x="68" y="27"/>
                    </a:lnTo>
                    <a:lnTo>
                      <a:pt x="68" y="26"/>
                    </a:lnTo>
                    <a:lnTo>
                      <a:pt x="68" y="22"/>
                    </a:lnTo>
                    <a:lnTo>
                      <a:pt x="68" y="17"/>
                    </a:lnTo>
                    <a:lnTo>
                      <a:pt x="66" y="16"/>
                    </a:lnTo>
                    <a:lnTo>
                      <a:pt x="63" y="14"/>
                    </a:lnTo>
                    <a:lnTo>
                      <a:pt x="61" y="14"/>
                    </a:lnTo>
                    <a:lnTo>
                      <a:pt x="58" y="16"/>
                    </a:lnTo>
                    <a:lnTo>
                      <a:pt x="55" y="16"/>
                    </a:lnTo>
                    <a:lnTo>
                      <a:pt x="53" y="13"/>
                    </a:lnTo>
                    <a:lnTo>
                      <a:pt x="53" y="10"/>
                    </a:lnTo>
                    <a:lnTo>
                      <a:pt x="55" y="7"/>
                    </a:lnTo>
                    <a:lnTo>
                      <a:pt x="55" y="4"/>
                    </a:lnTo>
                    <a:lnTo>
                      <a:pt x="55" y="3"/>
                    </a:lnTo>
                    <a:lnTo>
                      <a:pt x="53" y="1"/>
                    </a:lnTo>
                    <a:lnTo>
                      <a:pt x="52" y="0"/>
                    </a:lnTo>
                    <a:lnTo>
                      <a:pt x="51" y="0"/>
                    </a:lnTo>
                    <a:lnTo>
                      <a:pt x="51" y="0"/>
                    </a:lnTo>
                    <a:lnTo>
                      <a:pt x="48" y="3"/>
                    </a:lnTo>
                    <a:lnTo>
                      <a:pt x="48" y="1"/>
                    </a:lnTo>
                    <a:lnTo>
                      <a:pt x="45" y="0"/>
                    </a:lnTo>
                    <a:lnTo>
                      <a:pt x="42" y="0"/>
                    </a:lnTo>
                    <a:lnTo>
                      <a:pt x="39" y="0"/>
                    </a:lnTo>
                    <a:lnTo>
                      <a:pt x="36" y="0"/>
                    </a:lnTo>
                    <a:lnTo>
                      <a:pt x="38" y="4"/>
                    </a:lnTo>
                    <a:lnTo>
                      <a:pt x="35" y="6"/>
                    </a:lnTo>
                    <a:lnTo>
                      <a:pt x="32" y="6"/>
                    </a:lnTo>
                    <a:lnTo>
                      <a:pt x="29" y="6"/>
                    </a:lnTo>
                    <a:lnTo>
                      <a:pt x="28" y="9"/>
                    </a:lnTo>
                    <a:lnTo>
                      <a:pt x="28" y="10"/>
                    </a:lnTo>
                    <a:lnTo>
                      <a:pt x="28" y="10"/>
                    </a:lnTo>
                    <a:lnTo>
                      <a:pt x="25" y="12"/>
                    </a:lnTo>
                    <a:lnTo>
                      <a:pt x="23" y="12"/>
                    </a:lnTo>
                    <a:lnTo>
                      <a:pt x="20" y="13"/>
                    </a:lnTo>
                    <a:lnTo>
                      <a:pt x="19" y="13"/>
                    </a:lnTo>
                    <a:lnTo>
                      <a:pt x="16" y="13"/>
                    </a:lnTo>
                    <a:lnTo>
                      <a:pt x="16" y="13"/>
                    </a:lnTo>
                    <a:lnTo>
                      <a:pt x="13" y="12"/>
                    </a:lnTo>
                    <a:lnTo>
                      <a:pt x="13" y="12"/>
                    </a:lnTo>
                    <a:lnTo>
                      <a:pt x="12" y="12"/>
                    </a:lnTo>
                    <a:lnTo>
                      <a:pt x="12" y="13"/>
                    </a:lnTo>
                    <a:lnTo>
                      <a:pt x="12" y="13"/>
                    </a:lnTo>
                    <a:lnTo>
                      <a:pt x="9" y="16"/>
                    </a:lnTo>
                    <a:lnTo>
                      <a:pt x="7" y="19"/>
                    </a:lnTo>
                    <a:lnTo>
                      <a:pt x="7" y="23"/>
                    </a:lnTo>
                    <a:lnTo>
                      <a:pt x="7" y="24"/>
                    </a:lnTo>
                    <a:lnTo>
                      <a:pt x="6" y="26"/>
                    </a:lnTo>
                    <a:lnTo>
                      <a:pt x="6" y="27"/>
                    </a:lnTo>
                    <a:lnTo>
                      <a:pt x="6" y="29"/>
                    </a:lnTo>
                    <a:lnTo>
                      <a:pt x="6" y="32"/>
                    </a:lnTo>
                    <a:lnTo>
                      <a:pt x="6" y="33"/>
                    </a:lnTo>
                    <a:lnTo>
                      <a:pt x="5" y="35"/>
                    </a:lnTo>
                    <a:lnTo>
                      <a:pt x="3" y="35"/>
                    </a:lnTo>
                    <a:lnTo>
                      <a:pt x="2" y="35"/>
                    </a:lnTo>
                    <a:lnTo>
                      <a:pt x="0" y="35"/>
                    </a:lnTo>
                    <a:lnTo>
                      <a:pt x="0" y="37"/>
                    </a:lnTo>
                    <a:lnTo>
                      <a:pt x="2" y="37"/>
                    </a:lnTo>
                    <a:lnTo>
                      <a:pt x="3" y="39"/>
                    </a:lnTo>
                    <a:lnTo>
                      <a:pt x="5" y="39"/>
                    </a:lnTo>
                    <a:lnTo>
                      <a:pt x="5" y="42"/>
                    </a:lnTo>
                    <a:lnTo>
                      <a:pt x="6" y="45"/>
                    </a:lnTo>
                    <a:lnTo>
                      <a:pt x="6" y="46"/>
                    </a:lnTo>
                    <a:lnTo>
                      <a:pt x="6" y="49"/>
                    </a:lnTo>
                    <a:lnTo>
                      <a:pt x="7" y="52"/>
                    </a:lnTo>
                    <a:lnTo>
                      <a:pt x="16" y="59"/>
                    </a:lnTo>
                    <a:lnTo>
                      <a:pt x="19" y="63"/>
                    </a:lnTo>
                    <a:lnTo>
                      <a:pt x="19" y="65"/>
                    </a:lnTo>
                    <a:lnTo>
                      <a:pt x="20" y="69"/>
                    </a:lnTo>
                    <a:lnTo>
                      <a:pt x="22" y="72"/>
                    </a:lnTo>
                    <a:lnTo>
                      <a:pt x="23" y="75"/>
                    </a:lnTo>
                    <a:lnTo>
                      <a:pt x="23" y="75"/>
                    </a:lnTo>
                    <a:lnTo>
                      <a:pt x="25" y="73"/>
                    </a:lnTo>
                    <a:lnTo>
                      <a:pt x="26" y="73"/>
                    </a:lnTo>
                    <a:lnTo>
                      <a:pt x="26" y="76"/>
                    </a:lnTo>
                    <a:lnTo>
                      <a:pt x="26" y="78"/>
                    </a:lnTo>
                    <a:lnTo>
                      <a:pt x="23" y="79"/>
                    </a:lnTo>
                    <a:lnTo>
                      <a:pt x="22" y="82"/>
                    </a:lnTo>
                    <a:lnTo>
                      <a:pt x="20" y="85"/>
                    </a:lnTo>
                    <a:lnTo>
                      <a:pt x="20" y="91"/>
                    </a:lnTo>
                    <a:lnTo>
                      <a:pt x="20" y="92"/>
                    </a:lnTo>
                    <a:lnTo>
                      <a:pt x="19" y="93"/>
                    </a:lnTo>
                    <a:lnTo>
                      <a:pt x="19" y="93"/>
                    </a:lnTo>
                    <a:lnTo>
                      <a:pt x="16" y="95"/>
                    </a:lnTo>
                    <a:lnTo>
                      <a:pt x="15" y="96"/>
                    </a:lnTo>
                    <a:lnTo>
                      <a:pt x="15" y="98"/>
                    </a:lnTo>
                    <a:lnTo>
                      <a:pt x="15" y="99"/>
                    </a:lnTo>
                    <a:lnTo>
                      <a:pt x="15" y="102"/>
                    </a:lnTo>
                    <a:lnTo>
                      <a:pt x="17" y="106"/>
                    </a:lnTo>
                    <a:lnTo>
                      <a:pt x="28" y="118"/>
                    </a:lnTo>
                    <a:lnTo>
                      <a:pt x="30" y="122"/>
                    </a:lnTo>
                    <a:lnTo>
                      <a:pt x="30" y="127"/>
                    </a:lnTo>
                    <a:lnTo>
                      <a:pt x="30" y="135"/>
                    </a:lnTo>
                    <a:lnTo>
                      <a:pt x="30" y="138"/>
                    </a:lnTo>
                    <a:lnTo>
                      <a:pt x="32" y="139"/>
                    </a:lnTo>
                    <a:lnTo>
                      <a:pt x="33" y="141"/>
                    </a:lnTo>
                    <a:lnTo>
                      <a:pt x="35" y="144"/>
                    </a:lnTo>
                    <a:lnTo>
                      <a:pt x="36" y="145"/>
                    </a:lnTo>
                    <a:lnTo>
                      <a:pt x="39" y="155"/>
                    </a:lnTo>
                    <a:lnTo>
                      <a:pt x="39" y="157"/>
                    </a:lnTo>
                    <a:lnTo>
                      <a:pt x="39" y="158"/>
                    </a:lnTo>
                    <a:lnTo>
                      <a:pt x="38" y="161"/>
                    </a:lnTo>
                    <a:lnTo>
                      <a:pt x="32" y="170"/>
                    </a:lnTo>
                    <a:lnTo>
                      <a:pt x="30" y="173"/>
                    </a:lnTo>
                    <a:lnTo>
                      <a:pt x="26" y="175"/>
                    </a:lnTo>
                    <a:lnTo>
                      <a:pt x="25" y="178"/>
                    </a:lnTo>
                    <a:lnTo>
                      <a:pt x="23" y="180"/>
                    </a:lnTo>
                    <a:lnTo>
                      <a:pt x="23" y="184"/>
                    </a:lnTo>
                    <a:lnTo>
                      <a:pt x="23" y="187"/>
                    </a:lnTo>
                    <a:lnTo>
                      <a:pt x="16" y="206"/>
                    </a:lnTo>
                    <a:lnTo>
                      <a:pt x="15" y="217"/>
                    </a:lnTo>
                    <a:lnTo>
                      <a:pt x="17" y="223"/>
                    </a:lnTo>
                    <a:lnTo>
                      <a:pt x="19" y="221"/>
                    </a:lnTo>
                    <a:lnTo>
                      <a:pt x="20" y="220"/>
                    </a:lnTo>
                    <a:lnTo>
                      <a:pt x="20" y="220"/>
                    </a:lnTo>
                    <a:lnTo>
                      <a:pt x="23" y="220"/>
                    </a:lnTo>
                    <a:lnTo>
                      <a:pt x="23" y="221"/>
                    </a:lnTo>
                    <a:lnTo>
                      <a:pt x="25" y="224"/>
                    </a:lnTo>
                    <a:lnTo>
                      <a:pt x="25" y="224"/>
                    </a:lnTo>
                    <a:lnTo>
                      <a:pt x="26" y="226"/>
                    </a:lnTo>
                    <a:lnTo>
                      <a:pt x="29" y="227"/>
                    </a:lnTo>
                    <a:lnTo>
                      <a:pt x="29" y="227"/>
                    </a:lnTo>
                    <a:lnTo>
                      <a:pt x="29" y="227"/>
                    </a:lnTo>
                    <a:lnTo>
                      <a:pt x="29" y="229"/>
                    </a:lnTo>
                    <a:lnTo>
                      <a:pt x="29" y="230"/>
                    </a:lnTo>
                    <a:lnTo>
                      <a:pt x="29" y="230"/>
                    </a:lnTo>
                    <a:lnTo>
                      <a:pt x="30" y="230"/>
                    </a:lnTo>
                    <a:lnTo>
                      <a:pt x="30" y="230"/>
                    </a:lnTo>
                    <a:lnTo>
                      <a:pt x="30" y="230"/>
                    </a:lnTo>
                    <a:lnTo>
                      <a:pt x="30" y="231"/>
                    </a:lnTo>
                    <a:lnTo>
                      <a:pt x="33" y="231"/>
                    </a:lnTo>
                    <a:lnTo>
                      <a:pt x="33" y="233"/>
                    </a:lnTo>
                    <a:lnTo>
                      <a:pt x="35" y="236"/>
                    </a:lnTo>
                    <a:lnTo>
                      <a:pt x="36" y="237"/>
                    </a:lnTo>
                    <a:lnTo>
                      <a:pt x="39" y="237"/>
                    </a:lnTo>
                    <a:lnTo>
                      <a:pt x="38" y="239"/>
                    </a:lnTo>
                    <a:lnTo>
                      <a:pt x="39" y="239"/>
                    </a:lnTo>
                    <a:lnTo>
                      <a:pt x="39" y="240"/>
                    </a:lnTo>
                    <a:lnTo>
                      <a:pt x="39" y="240"/>
                    </a:lnTo>
                    <a:lnTo>
                      <a:pt x="39" y="240"/>
                    </a:lnTo>
                    <a:lnTo>
                      <a:pt x="40" y="240"/>
                    </a:lnTo>
                    <a:lnTo>
                      <a:pt x="40" y="242"/>
                    </a:lnTo>
                    <a:lnTo>
                      <a:pt x="40" y="242"/>
                    </a:lnTo>
                    <a:lnTo>
                      <a:pt x="40" y="242"/>
                    </a:lnTo>
                    <a:lnTo>
                      <a:pt x="40" y="244"/>
                    </a:lnTo>
                    <a:lnTo>
                      <a:pt x="40" y="244"/>
                    </a:lnTo>
                    <a:lnTo>
                      <a:pt x="42" y="247"/>
                    </a:lnTo>
                    <a:lnTo>
                      <a:pt x="48" y="253"/>
                    </a:lnTo>
                    <a:lnTo>
                      <a:pt x="49" y="250"/>
                    </a:lnTo>
                    <a:lnTo>
                      <a:pt x="49" y="249"/>
                    </a:lnTo>
                    <a:lnTo>
                      <a:pt x="51" y="249"/>
                    </a:lnTo>
                    <a:lnTo>
                      <a:pt x="53" y="252"/>
                    </a:lnTo>
                    <a:lnTo>
                      <a:pt x="55" y="253"/>
                    </a:lnTo>
                    <a:lnTo>
                      <a:pt x="56" y="253"/>
                    </a:lnTo>
                    <a:lnTo>
                      <a:pt x="58" y="253"/>
                    </a:lnTo>
                    <a:lnTo>
                      <a:pt x="59" y="253"/>
                    </a:lnTo>
                    <a:lnTo>
                      <a:pt x="59" y="253"/>
                    </a:lnTo>
                    <a:lnTo>
                      <a:pt x="61" y="254"/>
                    </a:lnTo>
                    <a:lnTo>
                      <a:pt x="61" y="256"/>
                    </a:lnTo>
                    <a:lnTo>
                      <a:pt x="62" y="256"/>
                    </a:lnTo>
                    <a:lnTo>
                      <a:pt x="63" y="256"/>
                    </a:lnTo>
                    <a:lnTo>
                      <a:pt x="63" y="256"/>
                    </a:lnTo>
                    <a:lnTo>
                      <a:pt x="65" y="259"/>
                    </a:lnTo>
                    <a:lnTo>
                      <a:pt x="65" y="260"/>
                    </a:lnTo>
                    <a:lnTo>
                      <a:pt x="63" y="262"/>
                    </a:lnTo>
                    <a:lnTo>
                      <a:pt x="63" y="265"/>
                    </a:lnTo>
                    <a:lnTo>
                      <a:pt x="65" y="267"/>
                    </a:lnTo>
                    <a:lnTo>
                      <a:pt x="68" y="266"/>
                    </a:lnTo>
                    <a:lnTo>
                      <a:pt x="71" y="263"/>
                    </a:lnTo>
                    <a:lnTo>
                      <a:pt x="73" y="263"/>
                    </a:lnTo>
                    <a:lnTo>
                      <a:pt x="75" y="263"/>
                    </a:lnTo>
                    <a:lnTo>
                      <a:pt x="75" y="265"/>
                    </a:lnTo>
                    <a:lnTo>
                      <a:pt x="76" y="265"/>
                    </a:lnTo>
                    <a:lnTo>
                      <a:pt x="78" y="265"/>
                    </a:lnTo>
                    <a:lnTo>
                      <a:pt x="79" y="263"/>
                    </a:lnTo>
                    <a:lnTo>
                      <a:pt x="81" y="260"/>
                    </a:lnTo>
                    <a:lnTo>
                      <a:pt x="82" y="259"/>
                    </a:lnTo>
                    <a:lnTo>
                      <a:pt x="84" y="256"/>
                    </a:lnTo>
                    <a:lnTo>
                      <a:pt x="79" y="253"/>
                    </a:lnTo>
                    <a:lnTo>
                      <a:pt x="78" y="252"/>
                    </a:lnTo>
                    <a:lnTo>
                      <a:pt x="76" y="250"/>
                    </a:lnTo>
                    <a:lnTo>
                      <a:pt x="75" y="249"/>
                    </a:lnTo>
                    <a:lnTo>
                      <a:pt x="73" y="247"/>
                    </a:lnTo>
                    <a:lnTo>
                      <a:pt x="72" y="246"/>
                    </a:lnTo>
                    <a:lnTo>
                      <a:pt x="69" y="244"/>
                    </a:lnTo>
                    <a:lnTo>
                      <a:pt x="63" y="244"/>
                    </a:lnTo>
                    <a:lnTo>
                      <a:pt x="59" y="243"/>
                    </a:lnTo>
                    <a:lnTo>
                      <a:pt x="55" y="240"/>
                    </a:lnTo>
                    <a:lnTo>
                      <a:pt x="52" y="237"/>
                    </a:lnTo>
                    <a:lnTo>
                      <a:pt x="51" y="234"/>
                    </a:lnTo>
                    <a:lnTo>
                      <a:pt x="49" y="231"/>
                    </a:lnTo>
                    <a:lnTo>
                      <a:pt x="51" y="230"/>
                    </a:lnTo>
                    <a:lnTo>
                      <a:pt x="52" y="231"/>
                    </a:lnTo>
                    <a:lnTo>
                      <a:pt x="51" y="233"/>
                    </a:lnTo>
                    <a:lnTo>
                      <a:pt x="53" y="234"/>
                    </a:lnTo>
                    <a:lnTo>
                      <a:pt x="53" y="237"/>
                    </a:lnTo>
                    <a:lnTo>
                      <a:pt x="55" y="239"/>
                    </a:lnTo>
                    <a:lnTo>
                      <a:pt x="52" y="221"/>
                    </a:lnTo>
                    <a:lnTo>
                      <a:pt x="49" y="216"/>
                    </a:lnTo>
                    <a:lnTo>
                      <a:pt x="49" y="217"/>
                    </a:lnTo>
                    <a:lnTo>
                      <a:pt x="48" y="217"/>
                    </a:lnTo>
                    <a:lnTo>
                      <a:pt x="46" y="214"/>
                    </a:lnTo>
                    <a:lnTo>
                      <a:pt x="45" y="208"/>
                    </a:lnTo>
                    <a:lnTo>
                      <a:pt x="43" y="204"/>
                    </a:lnTo>
                    <a:lnTo>
                      <a:pt x="40" y="203"/>
                    </a:lnTo>
                    <a:lnTo>
                      <a:pt x="39" y="203"/>
                    </a:lnTo>
                    <a:lnTo>
                      <a:pt x="36" y="203"/>
                    </a:lnTo>
                    <a:lnTo>
                      <a:pt x="35" y="204"/>
                    </a:lnTo>
                    <a:lnTo>
                      <a:pt x="33" y="203"/>
                    </a:lnTo>
                    <a:lnTo>
                      <a:pt x="33" y="198"/>
                    </a:lnTo>
                    <a:lnTo>
                      <a:pt x="32" y="198"/>
                    </a:lnTo>
                    <a:lnTo>
                      <a:pt x="32" y="196"/>
                    </a:lnTo>
                    <a:lnTo>
                      <a:pt x="32" y="194"/>
                    </a:lnTo>
                    <a:lnTo>
                      <a:pt x="30" y="190"/>
                    </a:lnTo>
                    <a:lnTo>
                      <a:pt x="32" y="187"/>
                    </a:lnTo>
                    <a:lnTo>
                      <a:pt x="32" y="183"/>
                    </a:lnTo>
                    <a:lnTo>
                      <a:pt x="33" y="180"/>
                    </a:lnTo>
                    <a:lnTo>
                      <a:pt x="36" y="174"/>
                    </a:lnTo>
                    <a:lnTo>
                      <a:pt x="38" y="171"/>
                    </a:lnTo>
                    <a:lnTo>
                      <a:pt x="39" y="164"/>
                    </a:lnTo>
                    <a:lnTo>
                      <a:pt x="45" y="152"/>
                    </a:lnTo>
                    <a:lnTo>
                      <a:pt x="46" y="148"/>
                    </a:lnTo>
                    <a:lnTo>
                      <a:pt x="46" y="147"/>
                    </a:lnTo>
                    <a:lnTo>
                      <a:pt x="45" y="142"/>
                    </a:lnTo>
                    <a:lnTo>
                      <a:pt x="46" y="139"/>
                    </a:lnTo>
                    <a:lnTo>
                      <a:pt x="46" y="139"/>
                    </a:lnTo>
                    <a:lnTo>
                      <a:pt x="48" y="137"/>
                    </a:lnTo>
                    <a:lnTo>
                      <a:pt x="48" y="135"/>
                    </a:lnTo>
                    <a:lnTo>
                      <a:pt x="48" y="135"/>
                    </a:lnTo>
                    <a:lnTo>
                      <a:pt x="46" y="134"/>
                    </a:lnTo>
                    <a:lnTo>
                      <a:pt x="46" y="132"/>
                    </a:lnTo>
                    <a:lnTo>
                      <a:pt x="46" y="131"/>
                    </a:lnTo>
                    <a:lnTo>
                      <a:pt x="48" y="129"/>
                    </a:lnTo>
                    <a:lnTo>
                      <a:pt x="48" y="128"/>
                    </a:lnTo>
                    <a:lnTo>
                      <a:pt x="51" y="127"/>
                    </a:lnTo>
                    <a:lnTo>
                      <a:pt x="52" y="127"/>
                    </a:lnTo>
                    <a:lnTo>
                      <a:pt x="55" y="127"/>
                    </a:lnTo>
                    <a:lnTo>
                      <a:pt x="56" y="127"/>
                    </a:lnTo>
                    <a:lnTo>
                      <a:pt x="58" y="127"/>
                    </a:lnTo>
                    <a:lnTo>
                      <a:pt x="62" y="128"/>
                    </a:lnTo>
                    <a:lnTo>
                      <a:pt x="62" y="129"/>
                    </a:lnTo>
                    <a:lnTo>
                      <a:pt x="62" y="134"/>
                    </a:lnTo>
                    <a:lnTo>
                      <a:pt x="62" y="139"/>
                    </a:lnTo>
                    <a:lnTo>
                      <a:pt x="62" y="141"/>
                    </a:lnTo>
                    <a:lnTo>
                      <a:pt x="62" y="141"/>
                    </a:lnTo>
                    <a:lnTo>
                      <a:pt x="63" y="142"/>
                    </a:lnTo>
                    <a:lnTo>
                      <a:pt x="65" y="142"/>
                    </a:lnTo>
                    <a:lnTo>
                      <a:pt x="68" y="142"/>
                    </a:lnTo>
                    <a:lnTo>
                      <a:pt x="72" y="142"/>
                    </a:lnTo>
                    <a:lnTo>
                      <a:pt x="76" y="142"/>
                    </a:lnTo>
                    <a:lnTo>
                      <a:pt x="78" y="142"/>
                    </a:lnTo>
                    <a:lnTo>
                      <a:pt x="79" y="144"/>
                    </a:lnTo>
                    <a:lnTo>
                      <a:pt x="82" y="145"/>
                    </a:lnTo>
                    <a:lnTo>
                      <a:pt x="84" y="147"/>
                    </a:lnTo>
                    <a:lnTo>
                      <a:pt x="85" y="148"/>
                    </a:lnTo>
                    <a:lnTo>
                      <a:pt x="85" y="147"/>
                    </a:lnTo>
                    <a:lnTo>
                      <a:pt x="86" y="148"/>
                    </a:lnTo>
                    <a:lnTo>
                      <a:pt x="88" y="151"/>
                    </a:lnTo>
                    <a:lnTo>
                      <a:pt x="91" y="151"/>
                    </a:lnTo>
                    <a:lnTo>
                      <a:pt x="92" y="150"/>
                    </a:lnTo>
                    <a:lnTo>
                      <a:pt x="94" y="152"/>
                    </a:lnTo>
                    <a:lnTo>
                      <a:pt x="96" y="157"/>
                    </a:lnTo>
                    <a:lnTo>
                      <a:pt x="98" y="160"/>
                    </a:lnTo>
                    <a:lnTo>
                      <a:pt x="95" y="154"/>
                    </a:lnTo>
                    <a:lnTo>
                      <a:pt x="94" y="152"/>
                    </a:lnTo>
                    <a:close/>
                    <a:moveTo>
                      <a:pt x="45" y="197"/>
                    </a:moveTo>
                    <a:lnTo>
                      <a:pt x="48" y="197"/>
                    </a:lnTo>
                    <a:lnTo>
                      <a:pt x="48" y="198"/>
                    </a:lnTo>
                    <a:lnTo>
                      <a:pt x="46" y="200"/>
                    </a:lnTo>
                    <a:lnTo>
                      <a:pt x="45" y="198"/>
                    </a:lnTo>
                    <a:lnTo>
                      <a:pt x="45" y="197"/>
                    </a:lnTo>
                    <a:close/>
                    <a:moveTo>
                      <a:pt x="46" y="196"/>
                    </a:moveTo>
                    <a:lnTo>
                      <a:pt x="48" y="196"/>
                    </a:lnTo>
                    <a:lnTo>
                      <a:pt x="46" y="194"/>
                    </a:lnTo>
                    <a:lnTo>
                      <a:pt x="46" y="194"/>
                    </a:lnTo>
                    <a:lnTo>
                      <a:pt x="46" y="194"/>
                    </a:lnTo>
                    <a:lnTo>
                      <a:pt x="46" y="194"/>
                    </a:lnTo>
                    <a:lnTo>
                      <a:pt x="46" y="194"/>
                    </a:lnTo>
                    <a:lnTo>
                      <a:pt x="46" y="196"/>
                    </a:lnTo>
                    <a:close/>
                    <a:moveTo>
                      <a:pt x="16" y="207"/>
                    </a:moveTo>
                    <a:lnTo>
                      <a:pt x="15" y="207"/>
                    </a:lnTo>
                    <a:lnTo>
                      <a:pt x="15" y="206"/>
                    </a:lnTo>
                    <a:lnTo>
                      <a:pt x="16" y="206"/>
                    </a:lnTo>
                    <a:lnTo>
                      <a:pt x="16" y="206"/>
                    </a:lnTo>
                    <a:lnTo>
                      <a:pt x="16" y="206"/>
                    </a:lnTo>
                    <a:lnTo>
                      <a:pt x="16" y="206"/>
                    </a:lnTo>
                    <a:lnTo>
                      <a:pt x="16" y="206"/>
                    </a:lnTo>
                    <a:lnTo>
                      <a:pt x="16" y="207"/>
                    </a:lnTo>
                    <a:close/>
                    <a:moveTo>
                      <a:pt x="22" y="226"/>
                    </a:moveTo>
                    <a:lnTo>
                      <a:pt x="20" y="227"/>
                    </a:lnTo>
                    <a:lnTo>
                      <a:pt x="20" y="223"/>
                    </a:lnTo>
                    <a:lnTo>
                      <a:pt x="20" y="224"/>
                    </a:lnTo>
                    <a:lnTo>
                      <a:pt x="22" y="224"/>
                    </a:lnTo>
                    <a:lnTo>
                      <a:pt x="22" y="226"/>
                    </a:lnTo>
                    <a:close/>
                    <a:moveTo>
                      <a:pt x="16" y="230"/>
                    </a:moveTo>
                    <a:lnTo>
                      <a:pt x="16" y="227"/>
                    </a:lnTo>
                    <a:lnTo>
                      <a:pt x="16" y="227"/>
                    </a:lnTo>
                    <a:lnTo>
                      <a:pt x="16" y="224"/>
                    </a:lnTo>
                    <a:lnTo>
                      <a:pt x="16" y="223"/>
                    </a:lnTo>
                    <a:lnTo>
                      <a:pt x="16" y="223"/>
                    </a:lnTo>
                    <a:lnTo>
                      <a:pt x="17" y="224"/>
                    </a:lnTo>
                    <a:lnTo>
                      <a:pt x="17" y="226"/>
                    </a:lnTo>
                    <a:lnTo>
                      <a:pt x="17" y="229"/>
                    </a:lnTo>
                    <a:lnTo>
                      <a:pt x="16" y="230"/>
                    </a:lnTo>
                    <a:close/>
                    <a:moveTo>
                      <a:pt x="30" y="234"/>
                    </a:moveTo>
                    <a:lnTo>
                      <a:pt x="29" y="234"/>
                    </a:lnTo>
                    <a:lnTo>
                      <a:pt x="29" y="233"/>
                    </a:lnTo>
                    <a:lnTo>
                      <a:pt x="29" y="233"/>
                    </a:lnTo>
                    <a:lnTo>
                      <a:pt x="29" y="231"/>
                    </a:lnTo>
                    <a:lnTo>
                      <a:pt x="30" y="233"/>
                    </a:lnTo>
                    <a:lnTo>
                      <a:pt x="30" y="234"/>
                    </a:lnTo>
                    <a:lnTo>
                      <a:pt x="30" y="234"/>
                    </a:lnTo>
                    <a:lnTo>
                      <a:pt x="30" y="234"/>
                    </a:lnTo>
                    <a:close/>
                    <a:moveTo>
                      <a:pt x="40" y="249"/>
                    </a:moveTo>
                    <a:lnTo>
                      <a:pt x="40" y="250"/>
                    </a:lnTo>
                    <a:lnTo>
                      <a:pt x="40" y="252"/>
                    </a:lnTo>
                    <a:lnTo>
                      <a:pt x="39" y="252"/>
                    </a:lnTo>
                    <a:lnTo>
                      <a:pt x="39" y="250"/>
                    </a:lnTo>
                    <a:lnTo>
                      <a:pt x="39" y="250"/>
                    </a:lnTo>
                    <a:lnTo>
                      <a:pt x="40" y="249"/>
                    </a:lnTo>
                    <a:lnTo>
                      <a:pt x="40" y="24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4" name="Freeform 140">
                <a:extLst>
                  <a:ext uri="{FF2B5EF4-FFF2-40B4-BE49-F238E27FC236}">
                    <a16:creationId xmlns:a16="http://schemas.microsoft.com/office/drawing/2014/main" id="{8DFA678A-414D-6E56-E954-C1A8A7C8787D}"/>
                  </a:ext>
                </a:extLst>
              </p:cNvPr>
              <p:cNvSpPr>
                <a:spLocks noEditPoints="1"/>
              </p:cNvSpPr>
              <p:nvPr/>
            </p:nvSpPr>
            <p:spPr bwMode="auto">
              <a:xfrm>
                <a:off x="8160433" y="3923007"/>
                <a:ext cx="500302" cy="164839"/>
              </a:xfrm>
              <a:custGeom>
                <a:avLst/>
                <a:gdLst>
                  <a:gd name="T0" fmla="*/ 30 w 346"/>
                  <a:gd name="T1" fmla="*/ 75 h 114"/>
                  <a:gd name="T2" fmla="*/ 12 w 346"/>
                  <a:gd name="T3" fmla="*/ 35 h 114"/>
                  <a:gd name="T4" fmla="*/ 4 w 346"/>
                  <a:gd name="T5" fmla="*/ 17 h 114"/>
                  <a:gd name="T6" fmla="*/ 319 w 346"/>
                  <a:gd name="T7" fmla="*/ 56 h 114"/>
                  <a:gd name="T8" fmla="*/ 177 w 346"/>
                  <a:gd name="T9" fmla="*/ 101 h 114"/>
                  <a:gd name="T10" fmla="*/ 200 w 346"/>
                  <a:gd name="T11" fmla="*/ 112 h 114"/>
                  <a:gd name="T12" fmla="*/ 218 w 346"/>
                  <a:gd name="T13" fmla="*/ 109 h 114"/>
                  <a:gd name="T14" fmla="*/ 236 w 346"/>
                  <a:gd name="T15" fmla="*/ 104 h 114"/>
                  <a:gd name="T16" fmla="*/ 251 w 346"/>
                  <a:gd name="T17" fmla="*/ 105 h 114"/>
                  <a:gd name="T18" fmla="*/ 264 w 346"/>
                  <a:gd name="T19" fmla="*/ 101 h 114"/>
                  <a:gd name="T20" fmla="*/ 267 w 346"/>
                  <a:gd name="T21" fmla="*/ 94 h 114"/>
                  <a:gd name="T22" fmla="*/ 273 w 346"/>
                  <a:gd name="T23" fmla="*/ 86 h 114"/>
                  <a:gd name="T24" fmla="*/ 274 w 346"/>
                  <a:gd name="T25" fmla="*/ 78 h 114"/>
                  <a:gd name="T26" fmla="*/ 283 w 346"/>
                  <a:gd name="T27" fmla="*/ 56 h 114"/>
                  <a:gd name="T28" fmla="*/ 310 w 346"/>
                  <a:gd name="T29" fmla="*/ 53 h 114"/>
                  <a:gd name="T30" fmla="*/ 319 w 346"/>
                  <a:gd name="T31" fmla="*/ 53 h 114"/>
                  <a:gd name="T32" fmla="*/ 333 w 346"/>
                  <a:gd name="T33" fmla="*/ 51 h 114"/>
                  <a:gd name="T34" fmla="*/ 330 w 346"/>
                  <a:gd name="T35" fmla="*/ 42 h 114"/>
                  <a:gd name="T36" fmla="*/ 346 w 346"/>
                  <a:gd name="T37" fmla="*/ 36 h 114"/>
                  <a:gd name="T38" fmla="*/ 329 w 346"/>
                  <a:gd name="T39" fmla="*/ 28 h 114"/>
                  <a:gd name="T40" fmla="*/ 323 w 346"/>
                  <a:gd name="T41" fmla="*/ 28 h 114"/>
                  <a:gd name="T42" fmla="*/ 316 w 346"/>
                  <a:gd name="T43" fmla="*/ 26 h 114"/>
                  <a:gd name="T44" fmla="*/ 317 w 346"/>
                  <a:gd name="T45" fmla="*/ 16 h 114"/>
                  <a:gd name="T46" fmla="*/ 310 w 346"/>
                  <a:gd name="T47" fmla="*/ 7 h 114"/>
                  <a:gd name="T48" fmla="*/ 303 w 346"/>
                  <a:gd name="T49" fmla="*/ 9 h 114"/>
                  <a:gd name="T50" fmla="*/ 280 w 346"/>
                  <a:gd name="T51" fmla="*/ 32 h 114"/>
                  <a:gd name="T52" fmla="*/ 280 w 346"/>
                  <a:gd name="T53" fmla="*/ 38 h 114"/>
                  <a:gd name="T54" fmla="*/ 276 w 346"/>
                  <a:gd name="T55" fmla="*/ 49 h 114"/>
                  <a:gd name="T56" fmla="*/ 271 w 346"/>
                  <a:gd name="T57" fmla="*/ 43 h 114"/>
                  <a:gd name="T58" fmla="*/ 266 w 346"/>
                  <a:gd name="T59" fmla="*/ 58 h 114"/>
                  <a:gd name="T60" fmla="*/ 253 w 346"/>
                  <a:gd name="T61" fmla="*/ 51 h 114"/>
                  <a:gd name="T62" fmla="*/ 237 w 346"/>
                  <a:gd name="T63" fmla="*/ 72 h 114"/>
                  <a:gd name="T64" fmla="*/ 210 w 346"/>
                  <a:gd name="T65" fmla="*/ 81 h 114"/>
                  <a:gd name="T66" fmla="*/ 208 w 346"/>
                  <a:gd name="T67" fmla="*/ 88 h 114"/>
                  <a:gd name="T68" fmla="*/ 204 w 346"/>
                  <a:gd name="T69" fmla="*/ 91 h 114"/>
                  <a:gd name="T70" fmla="*/ 201 w 346"/>
                  <a:gd name="T71" fmla="*/ 104 h 114"/>
                  <a:gd name="T72" fmla="*/ 178 w 346"/>
                  <a:gd name="T73" fmla="*/ 98 h 114"/>
                  <a:gd name="T74" fmla="*/ 47 w 346"/>
                  <a:gd name="T75" fmla="*/ 20 h 114"/>
                  <a:gd name="T76" fmla="*/ 63 w 346"/>
                  <a:gd name="T77" fmla="*/ 38 h 114"/>
                  <a:gd name="T78" fmla="*/ 66 w 346"/>
                  <a:gd name="T79" fmla="*/ 63 h 114"/>
                  <a:gd name="T80" fmla="*/ 68 w 346"/>
                  <a:gd name="T81" fmla="*/ 78 h 114"/>
                  <a:gd name="T82" fmla="*/ 80 w 346"/>
                  <a:gd name="T83" fmla="*/ 98 h 114"/>
                  <a:gd name="T84" fmla="*/ 78 w 346"/>
                  <a:gd name="T85" fmla="*/ 101 h 114"/>
                  <a:gd name="T86" fmla="*/ 69 w 346"/>
                  <a:gd name="T87" fmla="*/ 105 h 114"/>
                  <a:gd name="T88" fmla="*/ 57 w 346"/>
                  <a:gd name="T89" fmla="*/ 98 h 114"/>
                  <a:gd name="T90" fmla="*/ 29 w 346"/>
                  <a:gd name="T91" fmla="*/ 72 h 114"/>
                  <a:gd name="T92" fmla="*/ 19 w 346"/>
                  <a:gd name="T93" fmla="*/ 55 h 114"/>
                  <a:gd name="T94" fmla="*/ 9 w 346"/>
                  <a:gd name="T95" fmla="*/ 16 h 114"/>
                  <a:gd name="T96" fmla="*/ 17 w 346"/>
                  <a:gd name="T97" fmla="*/ 16 h 114"/>
                  <a:gd name="T98" fmla="*/ 23 w 346"/>
                  <a:gd name="T99" fmla="*/ 19 h 114"/>
                  <a:gd name="T100" fmla="*/ 24 w 346"/>
                  <a:gd name="T101" fmla="*/ 28 h 114"/>
                  <a:gd name="T102" fmla="*/ 36 w 346"/>
                  <a:gd name="T103" fmla="*/ 28 h 114"/>
                  <a:gd name="T104" fmla="*/ 80 w 346"/>
                  <a:gd name="T105" fmla="*/ 79 h 114"/>
                  <a:gd name="T106" fmla="*/ 79 w 346"/>
                  <a:gd name="T107" fmla="*/ 81 h 114"/>
                  <a:gd name="T108" fmla="*/ 205 w 346"/>
                  <a:gd name="T109" fmla="*/ 81 h 114"/>
                  <a:gd name="T110" fmla="*/ 310 w 346"/>
                  <a:gd name="T111" fmla="*/ 0 h 114"/>
                  <a:gd name="T112" fmla="*/ 307 w 346"/>
                  <a:gd name="T11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6" h="114">
                    <a:moveTo>
                      <a:pt x="30" y="76"/>
                    </a:moveTo>
                    <a:lnTo>
                      <a:pt x="29" y="76"/>
                    </a:lnTo>
                    <a:lnTo>
                      <a:pt x="29" y="76"/>
                    </a:lnTo>
                    <a:lnTo>
                      <a:pt x="30" y="76"/>
                    </a:lnTo>
                    <a:lnTo>
                      <a:pt x="30" y="76"/>
                    </a:lnTo>
                    <a:lnTo>
                      <a:pt x="30" y="75"/>
                    </a:lnTo>
                    <a:lnTo>
                      <a:pt x="30" y="76"/>
                    </a:lnTo>
                    <a:lnTo>
                      <a:pt x="30" y="76"/>
                    </a:lnTo>
                    <a:close/>
                    <a:moveTo>
                      <a:pt x="10" y="33"/>
                    </a:moveTo>
                    <a:lnTo>
                      <a:pt x="10" y="36"/>
                    </a:lnTo>
                    <a:lnTo>
                      <a:pt x="13" y="36"/>
                    </a:lnTo>
                    <a:lnTo>
                      <a:pt x="12" y="35"/>
                    </a:lnTo>
                    <a:lnTo>
                      <a:pt x="10" y="33"/>
                    </a:lnTo>
                    <a:close/>
                    <a:moveTo>
                      <a:pt x="0" y="16"/>
                    </a:moveTo>
                    <a:lnTo>
                      <a:pt x="3" y="16"/>
                    </a:lnTo>
                    <a:lnTo>
                      <a:pt x="3" y="16"/>
                    </a:lnTo>
                    <a:lnTo>
                      <a:pt x="4" y="16"/>
                    </a:lnTo>
                    <a:lnTo>
                      <a:pt x="4" y="17"/>
                    </a:lnTo>
                    <a:lnTo>
                      <a:pt x="4" y="19"/>
                    </a:lnTo>
                    <a:lnTo>
                      <a:pt x="1" y="19"/>
                    </a:lnTo>
                    <a:lnTo>
                      <a:pt x="0" y="16"/>
                    </a:lnTo>
                    <a:close/>
                    <a:moveTo>
                      <a:pt x="320" y="55"/>
                    </a:moveTo>
                    <a:lnTo>
                      <a:pt x="322" y="56"/>
                    </a:lnTo>
                    <a:lnTo>
                      <a:pt x="319" y="56"/>
                    </a:lnTo>
                    <a:lnTo>
                      <a:pt x="317" y="56"/>
                    </a:lnTo>
                    <a:lnTo>
                      <a:pt x="317" y="55"/>
                    </a:lnTo>
                    <a:lnTo>
                      <a:pt x="319" y="55"/>
                    </a:lnTo>
                    <a:lnTo>
                      <a:pt x="320" y="55"/>
                    </a:lnTo>
                    <a:close/>
                    <a:moveTo>
                      <a:pt x="175" y="98"/>
                    </a:moveTo>
                    <a:lnTo>
                      <a:pt x="177" y="101"/>
                    </a:lnTo>
                    <a:lnTo>
                      <a:pt x="178" y="102"/>
                    </a:lnTo>
                    <a:lnTo>
                      <a:pt x="180" y="105"/>
                    </a:lnTo>
                    <a:lnTo>
                      <a:pt x="188" y="112"/>
                    </a:lnTo>
                    <a:lnTo>
                      <a:pt x="191" y="114"/>
                    </a:lnTo>
                    <a:lnTo>
                      <a:pt x="192" y="114"/>
                    </a:lnTo>
                    <a:lnTo>
                      <a:pt x="200" y="112"/>
                    </a:lnTo>
                    <a:lnTo>
                      <a:pt x="203" y="112"/>
                    </a:lnTo>
                    <a:lnTo>
                      <a:pt x="211" y="112"/>
                    </a:lnTo>
                    <a:lnTo>
                      <a:pt x="213" y="112"/>
                    </a:lnTo>
                    <a:lnTo>
                      <a:pt x="215" y="111"/>
                    </a:lnTo>
                    <a:lnTo>
                      <a:pt x="217" y="109"/>
                    </a:lnTo>
                    <a:lnTo>
                      <a:pt x="218" y="109"/>
                    </a:lnTo>
                    <a:lnTo>
                      <a:pt x="220" y="108"/>
                    </a:lnTo>
                    <a:lnTo>
                      <a:pt x="223" y="104"/>
                    </a:lnTo>
                    <a:lnTo>
                      <a:pt x="224" y="104"/>
                    </a:lnTo>
                    <a:lnTo>
                      <a:pt x="225" y="102"/>
                    </a:lnTo>
                    <a:lnTo>
                      <a:pt x="231" y="102"/>
                    </a:lnTo>
                    <a:lnTo>
                      <a:pt x="236" y="104"/>
                    </a:lnTo>
                    <a:lnTo>
                      <a:pt x="238" y="105"/>
                    </a:lnTo>
                    <a:lnTo>
                      <a:pt x="246" y="107"/>
                    </a:lnTo>
                    <a:lnTo>
                      <a:pt x="247" y="108"/>
                    </a:lnTo>
                    <a:lnTo>
                      <a:pt x="248" y="107"/>
                    </a:lnTo>
                    <a:lnTo>
                      <a:pt x="250" y="107"/>
                    </a:lnTo>
                    <a:lnTo>
                      <a:pt x="251" y="105"/>
                    </a:lnTo>
                    <a:lnTo>
                      <a:pt x="253" y="104"/>
                    </a:lnTo>
                    <a:lnTo>
                      <a:pt x="256" y="104"/>
                    </a:lnTo>
                    <a:lnTo>
                      <a:pt x="261" y="104"/>
                    </a:lnTo>
                    <a:lnTo>
                      <a:pt x="263" y="102"/>
                    </a:lnTo>
                    <a:lnTo>
                      <a:pt x="264" y="102"/>
                    </a:lnTo>
                    <a:lnTo>
                      <a:pt x="264" y="101"/>
                    </a:lnTo>
                    <a:lnTo>
                      <a:pt x="264" y="99"/>
                    </a:lnTo>
                    <a:lnTo>
                      <a:pt x="266" y="98"/>
                    </a:lnTo>
                    <a:lnTo>
                      <a:pt x="266" y="98"/>
                    </a:lnTo>
                    <a:lnTo>
                      <a:pt x="267" y="96"/>
                    </a:lnTo>
                    <a:lnTo>
                      <a:pt x="267" y="96"/>
                    </a:lnTo>
                    <a:lnTo>
                      <a:pt x="267" y="94"/>
                    </a:lnTo>
                    <a:lnTo>
                      <a:pt x="267" y="92"/>
                    </a:lnTo>
                    <a:lnTo>
                      <a:pt x="267" y="91"/>
                    </a:lnTo>
                    <a:lnTo>
                      <a:pt x="267" y="89"/>
                    </a:lnTo>
                    <a:lnTo>
                      <a:pt x="269" y="88"/>
                    </a:lnTo>
                    <a:lnTo>
                      <a:pt x="271" y="88"/>
                    </a:lnTo>
                    <a:lnTo>
                      <a:pt x="273" y="86"/>
                    </a:lnTo>
                    <a:lnTo>
                      <a:pt x="274" y="84"/>
                    </a:lnTo>
                    <a:lnTo>
                      <a:pt x="273" y="84"/>
                    </a:lnTo>
                    <a:lnTo>
                      <a:pt x="273" y="82"/>
                    </a:lnTo>
                    <a:lnTo>
                      <a:pt x="271" y="81"/>
                    </a:lnTo>
                    <a:lnTo>
                      <a:pt x="273" y="79"/>
                    </a:lnTo>
                    <a:lnTo>
                      <a:pt x="274" y="78"/>
                    </a:lnTo>
                    <a:lnTo>
                      <a:pt x="277" y="76"/>
                    </a:lnTo>
                    <a:lnTo>
                      <a:pt x="280" y="75"/>
                    </a:lnTo>
                    <a:lnTo>
                      <a:pt x="280" y="72"/>
                    </a:lnTo>
                    <a:lnTo>
                      <a:pt x="280" y="62"/>
                    </a:lnTo>
                    <a:lnTo>
                      <a:pt x="282" y="59"/>
                    </a:lnTo>
                    <a:lnTo>
                      <a:pt x="283" y="56"/>
                    </a:lnTo>
                    <a:lnTo>
                      <a:pt x="284" y="53"/>
                    </a:lnTo>
                    <a:lnTo>
                      <a:pt x="287" y="53"/>
                    </a:lnTo>
                    <a:lnTo>
                      <a:pt x="290" y="53"/>
                    </a:lnTo>
                    <a:lnTo>
                      <a:pt x="307" y="53"/>
                    </a:lnTo>
                    <a:lnTo>
                      <a:pt x="309" y="53"/>
                    </a:lnTo>
                    <a:lnTo>
                      <a:pt x="310" y="53"/>
                    </a:lnTo>
                    <a:lnTo>
                      <a:pt x="312" y="55"/>
                    </a:lnTo>
                    <a:lnTo>
                      <a:pt x="313" y="55"/>
                    </a:lnTo>
                    <a:lnTo>
                      <a:pt x="315" y="56"/>
                    </a:lnTo>
                    <a:lnTo>
                      <a:pt x="316" y="56"/>
                    </a:lnTo>
                    <a:lnTo>
                      <a:pt x="317" y="53"/>
                    </a:lnTo>
                    <a:lnTo>
                      <a:pt x="319" y="53"/>
                    </a:lnTo>
                    <a:lnTo>
                      <a:pt x="320" y="55"/>
                    </a:lnTo>
                    <a:lnTo>
                      <a:pt x="323" y="55"/>
                    </a:lnTo>
                    <a:lnTo>
                      <a:pt x="325" y="55"/>
                    </a:lnTo>
                    <a:lnTo>
                      <a:pt x="332" y="53"/>
                    </a:lnTo>
                    <a:lnTo>
                      <a:pt x="333" y="52"/>
                    </a:lnTo>
                    <a:lnTo>
                      <a:pt x="333" y="51"/>
                    </a:lnTo>
                    <a:lnTo>
                      <a:pt x="332" y="49"/>
                    </a:lnTo>
                    <a:lnTo>
                      <a:pt x="329" y="48"/>
                    </a:lnTo>
                    <a:lnTo>
                      <a:pt x="327" y="46"/>
                    </a:lnTo>
                    <a:lnTo>
                      <a:pt x="327" y="43"/>
                    </a:lnTo>
                    <a:lnTo>
                      <a:pt x="329" y="42"/>
                    </a:lnTo>
                    <a:lnTo>
                      <a:pt x="330" y="42"/>
                    </a:lnTo>
                    <a:lnTo>
                      <a:pt x="333" y="42"/>
                    </a:lnTo>
                    <a:lnTo>
                      <a:pt x="336" y="42"/>
                    </a:lnTo>
                    <a:lnTo>
                      <a:pt x="340" y="42"/>
                    </a:lnTo>
                    <a:lnTo>
                      <a:pt x="343" y="40"/>
                    </a:lnTo>
                    <a:lnTo>
                      <a:pt x="345" y="39"/>
                    </a:lnTo>
                    <a:lnTo>
                      <a:pt x="346" y="36"/>
                    </a:lnTo>
                    <a:lnTo>
                      <a:pt x="345" y="35"/>
                    </a:lnTo>
                    <a:lnTo>
                      <a:pt x="345" y="35"/>
                    </a:lnTo>
                    <a:lnTo>
                      <a:pt x="336" y="32"/>
                    </a:lnTo>
                    <a:lnTo>
                      <a:pt x="333" y="30"/>
                    </a:lnTo>
                    <a:lnTo>
                      <a:pt x="330" y="28"/>
                    </a:lnTo>
                    <a:lnTo>
                      <a:pt x="329" y="28"/>
                    </a:lnTo>
                    <a:lnTo>
                      <a:pt x="327" y="28"/>
                    </a:lnTo>
                    <a:lnTo>
                      <a:pt x="325" y="29"/>
                    </a:lnTo>
                    <a:lnTo>
                      <a:pt x="323" y="29"/>
                    </a:lnTo>
                    <a:lnTo>
                      <a:pt x="322" y="28"/>
                    </a:lnTo>
                    <a:lnTo>
                      <a:pt x="323" y="28"/>
                    </a:lnTo>
                    <a:lnTo>
                      <a:pt x="323" y="28"/>
                    </a:lnTo>
                    <a:lnTo>
                      <a:pt x="325" y="26"/>
                    </a:lnTo>
                    <a:lnTo>
                      <a:pt x="325" y="25"/>
                    </a:lnTo>
                    <a:lnTo>
                      <a:pt x="323" y="23"/>
                    </a:lnTo>
                    <a:lnTo>
                      <a:pt x="320" y="25"/>
                    </a:lnTo>
                    <a:lnTo>
                      <a:pt x="315" y="26"/>
                    </a:lnTo>
                    <a:lnTo>
                      <a:pt x="316" y="26"/>
                    </a:lnTo>
                    <a:lnTo>
                      <a:pt x="316" y="25"/>
                    </a:lnTo>
                    <a:lnTo>
                      <a:pt x="317" y="25"/>
                    </a:lnTo>
                    <a:lnTo>
                      <a:pt x="317" y="23"/>
                    </a:lnTo>
                    <a:lnTo>
                      <a:pt x="317" y="19"/>
                    </a:lnTo>
                    <a:lnTo>
                      <a:pt x="317" y="17"/>
                    </a:lnTo>
                    <a:lnTo>
                      <a:pt x="317" y="16"/>
                    </a:lnTo>
                    <a:lnTo>
                      <a:pt x="313" y="13"/>
                    </a:lnTo>
                    <a:lnTo>
                      <a:pt x="312" y="12"/>
                    </a:lnTo>
                    <a:lnTo>
                      <a:pt x="310" y="10"/>
                    </a:lnTo>
                    <a:lnTo>
                      <a:pt x="310" y="9"/>
                    </a:lnTo>
                    <a:lnTo>
                      <a:pt x="310" y="7"/>
                    </a:lnTo>
                    <a:lnTo>
                      <a:pt x="310" y="7"/>
                    </a:lnTo>
                    <a:lnTo>
                      <a:pt x="309" y="7"/>
                    </a:lnTo>
                    <a:lnTo>
                      <a:pt x="307" y="7"/>
                    </a:lnTo>
                    <a:lnTo>
                      <a:pt x="304" y="12"/>
                    </a:lnTo>
                    <a:lnTo>
                      <a:pt x="302" y="13"/>
                    </a:lnTo>
                    <a:lnTo>
                      <a:pt x="303" y="12"/>
                    </a:lnTo>
                    <a:lnTo>
                      <a:pt x="303" y="9"/>
                    </a:lnTo>
                    <a:lnTo>
                      <a:pt x="303" y="7"/>
                    </a:lnTo>
                    <a:lnTo>
                      <a:pt x="302" y="7"/>
                    </a:lnTo>
                    <a:lnTo>
                      <a:pt x="289" y="28"/>
                    </a:lnTo>
                    <a:lnTo>
                      <a:pt x="284" y="32"/>
                    </a:lnTo>
                    <a:lnTo>
                      <a:pt x="282" y="30"/>
                    </a:lnTo>
                    <a:lnTo>
                      <a:pt x="280" y="32"/>
                    </a:lnTo>
                    <a:lnTo>
                      <a:pt x="279" y="33"/>
                    </a:lnTo>
                    <a:lnTo>
                      <a:pt x="279" y="35"/>
                    </a:lnTo>
                    <a:lnTo>
                      <a:pt x="279" y="36"/>
                    </a:lnTo>
                    <a:lnTo>
                      <a:pt x="279" y="36"/>
                    </a:lnTo>
                    <a:lnTo>
                      <a:pt x="280" y="38"/>
                    </a:lnTo>
                    <a:lnTo>
                      <a:pt x="280" y="38"/>
                    </a:lnTo>
                    <a:lnTo>
                      <a:pt x="280" y="40"/>
                    </a:lnTo>
                    <a:lnTo>
                      <a:pt x="279" y="42"/>
                    </a:lnTo>
                    <a:lnTo>
                      <a:pt x="276" y="43"/>
                    </a:lnTo>
                    <a:lnTo>
                      <a:pt x="273" y="43"/>
                    </a:lnTo>
                    <a:lnTo>
                      <a:pt x="274" y="46"/>
                    </a:lnTo>
                    <a:lnTo>
                      <a:pt x="276" y="49"/>
                    </a:lnTo>
                    <a:lnTo>
                      <a:pt x="276" y="52"/>
                    </a:lnTo>
                    <a:lnTo>
                      <a:pt x="276" y="53"/>
                    </a:lnTo>
                    <a:lnTo>
                      <a:pt x="273" y="52"/>
                    </a:lnTo>
                    <a:lnTo>
                      <a:pt x="271" y="49"/>
                    </a:lnTo>
                    <a:lnTo>
                      <a:pt x="271" y="46"/>
                    </a:lnTo>
                    <a:lnTo>
                      <a:pt x="271" y="43"/>
                    </a:lnTo>
                    <a:lnTo>
                      <a:pt x="269" y="45"/>
                    </a:lnTo>
                    <a:lnTo>
                      <a:pt x="267" y="46"/>
                    </a:lnTo>
                    <a:lnTo>
                      <a:pt x="267" y="48"/>
                    </a:lnTo>
                    <a:lnTo>
                      <a:pt x="267" y="55"/>
                    </a:lnTo>
                    <a:lnTo>
                      <a:pt x="267" y="56"/>
                    </a:lnTo>
                    <a:lnTo>
                      <a:pt x="266" y="58"/>
                    </a:lnTo>
                    <a:lnTo>
                      <a:pt x="263" y="58"/>
                    </a:lnTo>
                    <a:lnTo>
                      <a:pt x="260" y="55"/>
                    </a:lnTo>
                    <a:lnTo>
                      <a:pt x="257" y="52"/>
                    </a:lnTo>
                    <a:lnTo>
                      <a:pt x="254" y="49"/>
                    </a:lnTo>
                    <a:lnTo>
                      <a:pt x="253" y="49"/>
                    </a:lnTo>
                    <a:lnTo>
                      <a:pt x="253" y="51"/>
                    </a:lnTo>
                    <a:lnTo>
                      <a:pt x="253" y="52"/>
                    </a:lnTo>
                    <a:lnTo>
                      <a:pt x="253" y="53"/>
                    </a:lnTo>
                    <a:lnTo>
                      <a:pt x="251" y="55"/>
                    </a:lnTo>
                    <a:lnTo>
                      <a:pt x="250" y="58"/>
                    </a:lnTo>
                    <a:lnTo>
                      <a:pt x="247" y="61"/>
                    </a:lnTo>
                    <a:lnTo>
                      <a:pt x="237" y="72"/>
                    </a:lnTo>
                    <a:lnTo>
                      <a:pt x="233" y="75"/>
                    </a:lnTo>
                    <a:lnTo>
                      <a:pt x="228" y="76"/>
                    </a:lnTo>
                    <a:lnTo>
                      <a:pt x="217" y="78"/>
                    </a:lnTo>
                    <a:lnTo>
                      <a:pt x="213" y="79"/>
                    </a:lnTo>
                    <a:lnTo>
                      <a:pt x="211" y="81"/>
                    </a:lnTo>
                    <a:lnTo>
                      <a:pt x="210" y="81"/>
                    </a:lnTo>
                    <a:lnTo>
                      <a:pt x="210" y="81"/>
                    </a:lnTo>
                    <a:lnTo>
                      <a:pt x="208" y="82"/>
                    </a:lnTo>
                    <a:lnTo>
                      <a:pt x="208" y="84"/>
                    </a:lnTo>
                    <a:lnTo>
                      <a:pt x="208" y="85"/>
                    </a:lnTo>
                    <a:lnTo>
                      <a:pt x="208" y="86"/>
                    </a:lnTo>
                    <a:lnTo>
                      <a:pt x="208" y="88"/>
                    </a:lnTo>
                    <a:lnTo>
                      <a:pt x="207" y="88"/>
                    </a:lnTo>
                    <a:lnTo>
                      <a:pt x="205" y="88"/>
                    </a:lnTo>
                    <a:lnTo>
                      <a:pt x="204" y="86"/>
                    </a:lnTo>
                    <a:lnTo>
                      <a:pt x="204" y="88"/>
                    </a:lnTo>
                    <a:lnTo>
                      <a:pt x="204" y="89"/>
                    </a:lnTo>
                    <a:lnTo>
                      <a:pt x="204" y="91"/>
                    </a:lnTo>
                    <a:lnTo>
                      <a:pt x="205" y="92"/>
                    </a:lnTo>
                    <a:lnTo>
                      <a:pt x="204" y="92"/>
                    </a:lnTo>
                    <a:lnTo>
                      <a:pt x="204" y="94"/>
                    </a:lnTo>
                    <a:lnTo>
                      <a:pt x="203" y="99"/>
                    </a:lnTo>
                    <a:lnTo>
                      <a:pt x="201" y="101"/>
                    </a:lnTo>
                    <a:lnTo>
                      <a:pt x="201" y="104"/>
                    </a:lnTo>
                    <a:lnTo>
                      <a:pt x="204" y="105"/>
                    </a:lnTo>
                    <a:lnTo>
                      <a:pt x="203" y="105"/>
                    </a:lnTo>
                    <a:lnTo>
                      <a:pt x="191" y="99"/>
                    </a:lnTo>
                    <a:lnTo>
                      <a:pt x="190" y="99"/>
                    </a:lnTo>
                    <a:lnTo>
                      <a:pt x="181" y="99"/>
                    </a:lnTo>
                    <a:lnTo>
                      <a:pt x="178" y="98"/>
                    </a:lnTo>
                    <a:lnTo>
                      <a:pt x="177" y="94"/>
                    </a:lnTo>
                    <a:lnTo>
                      <a:pt x="175" y="96"/>
                    </a:lnTo>
                    <a:lnTo>
                      <a:pt x="175" y="98"/>
                    </a:lnTo>
                    <a:close/>
                    <a:moveTo>
                      <a:pt x="43" y="22"/>
                    </a:moveTo>
                    <a:lnTo>
                      <a:pt x="45" y="19"/>
                    </a:lnTo>
                    <a:lnTo>
                      <a:pt x="47" y="20"/>
                    </a:lnTo>
                    <a:lnTo>
                      <a:pt x="50" y="23"/>
                    </a:lnTo>
                    <a:lnTo>
                      <a:pt x="52" y="26"/>
                    </a:lnTo>
                    <a:lnTo>
                      <a:pt x="55" y="29"/>
                    </a:lnTo>
                    <a:lnTo>
                      <a:pt x="60" y="33"/>
                    </a:lnTo>
                    <a:lnTo>
                      <a:pt x="62" y="35"/>
                    </a:lnTo>
                    <a:lnTo>
                      <a:pt x="63" y="38"/>
                    </a:lnTo>
                    <a:lnTo>
                      <a:pt x="66" y="42"/>
                    </a:lnTo>
                    <a:lnTo>
                      <a:pt x="68" y="45"/>
                    </a:lnTo>
                    <a:lnTo>
                      <a:pt x="68" y="49"/>
                    </a:lnTo>
                    <a:lnTo>
                      <a:pt x="68" y="52"/>
                    </a:lnTo>
                    <a:lnTo>
                      <a:pt x="66" y="62"/>
                    </a:lnTo>
                    <a:lnTo>
                      <a:pt x="66" y="63"/>
                    </a:lnTo>
                    <a:lnTo>
                      <a:pt x="68" y="65"/>
                    </a:lnTo>
                    <a:lnTo>
                      <a:pt x="68" y="66"/>
                    </a:lnTo>
                    <a:lnTo>
                      <a:pt x="68" y="68"/>
                    </a:lnTo>
                    <a:lnTo>
                      <a:pt x="68" y="71"/>
                    </a:lnTo>
                    <a:lnTo>
                      <a:pt x="68" y="75"/>
                    </a:lnTo>
                    <a:lnTo>
                      <a:pt x="68" y="78"/>
                    </a:lnTo>
                    <a:lnTo>
                      <a:pt x="69" y="81"/>
                    </a:lnTo>
                    <a:lnTo>
                      <a:pt x="70" y="82"/>
                    </a:lnTo>
                    <a:lnTo>
                      <a:pt x="73" y="84"/>
                    </a:lnTo>
                    <a:lnTo>
                      <a:pt x="75" y="85"/>
                    </a:lnTo>
                    <a:lnTo>
                      <a:pt x="75" y="86"/>
                    </a:lnTo>
                    <a:lnTo>
                      <a:pt x="80" y="98"/>
                    </a:lnTo>
                    <a:lnTo>
                      <a:pt x="82" y="102"/>
                    </a:lnTo>
                    <a:lnTo>
                      <a:pt x="82" y="105"/>
                    </a:lnTo>
                    <a:lnTo>
                      <a:pt x="80" y="105"/>
                    </a:lnTo>
                    <a:lnTo>
                      <a:pt x="79" y="104"/>
                    </a:lnTo>
                    <a:lnTo>
                      <a:pt x="78" y="102"/>
                    </a:lnTo>
                    <a:lnTo>
                      <a:pt x="78" y="101"/>
                    </a:lnTo>
                    <a:lnTo>
                      <a:pt x="78" y="104"/>
                    </a:lnTo>
                    <a:lnTo>
                      <a:pt x="76" y="104"/>
                    </a:lnTo>
                    <a:lnTo>
                      <a:pt x="75" y="104"/>
                    </a:lnTo>
                    <a:lnTo>
                      <a:pt x="75" y="104"/>
                    </a:lnTo>
                    <a:lnTo>
                      <a:pt x="70" y="105"/>
                    </a:lnTo>
                    <a:lnTo>
                      <a:pt x="69" y="105"/>
                    </a:lnTo>
                    <a:lnTo>
                      <a:pt x="68" y="105"/>
                    </a:lnTo>
                    <a:lnTo>
                      <a:pt x="68" y="105"/>
                    </a:lnTo>
                    <a:lnTo>
                      <a:pt x="65" y="102"/>
                    </a:lnTo>
                    <a:lnTo>
                      <a:pt x="65" y="102"/>
                    </a:lnTo>
                    <a:lnTo>
                      <a:pt x="63" y="101"/>
                    </a:lnTo>
                    <a:lnTo>
                      <a:pt x="57" y="98"/>
                    </a:lnTo>
                    <a:lnTo>
                      <a:pt x="32" y="81"/>
                    </a:lnTo>
                    <a:lnTo>
                      <a:pt x="30" y="79"/>
                    </a:lnTo>
                    <a:lnTo>
                      <a:pt x="30" y="78"/>
                    </a:lnTo>
                    <a:lnTo>
                      <a:pt x="30" y="76"/>
                    </a:lnTo>
                    <a:lnTo>
                      <a:pt x="30" y="75"/>
                    </a:lnTo>
                    <a:lnTo>
                      <a:pt x="29" y="72"/>
                    </a:lnTo>
                    <a:lnTo>
                      <a:pt x="27" y="69"/>
                    </a:lnTo>
                    <a:lnTo>
                      <a:pt x="23" y="63"/>
                    </a:lnTo>
                    <a:lnTo>
                      <a:pt x="22" y="62"/>
                    </a:lnTo>
                    <a:lnTo>
                      <a:pt x="20" y="61"/>
                    </a:lnTo>
                    <a:lnTo>
                      <a:pt x="20" y="59"/>
                    </a:lnTo>
                    <a:lnTo>
                      <a:pt x="19" y="55"/>
                    </a:lnTo>
                    <a:lnTo>
                      <a:pt x="17" y="52"/>
                    </a:lnTo>
                    <a:lnTo>
                      <a:pt x="14" y="35"/>
                    </a:lnTo>
                    <a:lnTo>
                      <a:pt x="13" y="29"/>
                    </a:lnTo>
                    <a:lnTo>
                      <a:pt x="13" y="25"/>
                    </a:lnTo>
                    <a:lnTo>
                      <a:pt x="10" y="19"/>
                    </a:lnTo>
                    <a:lnTo>
                      <a:pt x="9" y="16"/>
                    </a:lnTo>
                    <a:lnTo>
                      <a:pt x="10" y="13"/>
                    </a:lnTo>
                    <a:lnTo>
                      <a:pt x="10" y="12"/>
                    </a:lnTo>
                    <a:lnTo>
                      <a:pt x="12" y="12"/>
                    </a:lnTo>
                    <a:lnTo>
                      <a:pt x="14" y="15"/>
                    </a:lnTo>
                    <a:lnTo>
                      <a:pt x="16" y="16"/>
                    </a:lnTo>
                    <a:lnTo>
                      <a:pt x="17" y="16"/>
                    </a:lnTo>
                    <a:lnTo>
                      <a:pt x="19" y="16"/>
                    </a:lnTo>
                    <a:lnTo>
                      <a:pt x="20" y="16"/>
                    </a:lnTo>
                    <a:lnTo>
                      <a:pt x="20" y="16"/>
                    </a:lnTo>
                    <a:lnTo>
                      <a:pt x="22" y="17"/>
                    </a:lnTo>
                    <a:lnTo>
                      <a:pt x="22" y="19"/>
                    </a:lnTo>
                    <a:lnTo>
                      <a:pt x="23" y="19"/>
                    </a:lnTo>
                    <a:lnTo>
                      <a:pt x="24" y="19"/>
                    </a:lnTo>
                    <a:lnTo>
                      <a:pt x="24" y="19"/>
                    </a:lnTo>
                    <a:lnTo>
                      <a:pt x="26" y="22"/>
                    </a:lnTo>
                    <a:lnTo>
                      <a:pt x="26" y="23"/>
                    </a:lnTo>
                    <a:lnTo>
                      <a:pt x="24" y="25"/>
                    </a:lnTo>
                    <a:lnTo>
                      <a:pt x="24" y="28"/>
                    </a:lnTo>
                    <a:lnTo>
                      <a:pt x="26" y="30"/>
                    </a:lnTo>
                    <a:lnTo>
                      <a:pt x="29" y="29"/>
                    </a:lnTo>
                    <a:lnTo>
                      <a:pt x="32" y="26"/>
                    </a:lnTo>
                    <a:lnTo>
                      <a:pt x="34" y="26"/>
                    </a:lnTo>
                    <a:lnTo>
                      <a:pt x="36" y="26"/>
                    </a:lnTo>
                    <a:lnTo>
                      <a:pt x="36" y="28"/>
                    </a:lnTo>
                    <a:lnTo>
                      <a:pt x="37" y="28"/>
                    </a:lnTo>
                    <a:lnTo>
                      <a:pt x="39" y="28"/>
                    </a:lnTo>
                    <a:lnTo>
                      <a:pt x="40" y="26"/>
                    </a:lnTo>
                    <a:lnTo>
                      <a:pt x="42" y="23"/>
                    </a:lnTo>
                    <a:lnTo>
                      <a:pt x="43" y="22"/>
                    </a:lnTo>
                    <a:close/>
                    <a:moveTo>
                      <a:pt x="80" y="79"/>
                    </a:moveTo>
                    <a:lnTo>
                      <a:pt x="80" y="79"/>
                    </a:lnTo>
                    <a:lnTo>
                      <a:pt x="80" y="81"/>
                    </a:lnTo>
                    <a:lnTo>
                      <a:pt x="80" y="81"/>
                    </a:lnTo>
                    <a:lnTo>
                      <a:pt x="80" y="81"/>
                    </a:lnTo>
                    <a:lnTo>
                      <a:pt x="79" y="81"/>
                    </a:lnTo>
                    <a:lnTo>
                      <a:pt x="79" y="81"/>
                    </a:lnTo>
                    <a:lnTo>
                      <a:pt x="80" y="79"/>
                    </a:lnTo>
                    <a:lnTo>
                      <a:pt x="80" y="79"/>
                    </a:lnTo>
                    <a:close/>
                    <a:moveTo>
                      <a:pt x="205" y="86"/>
                    </a:moveTo>
                    <a:lnTo>
                      <a:pt x="205" y="85"/>
                    </a:lnTo>
                    <a:lnTo>
                      <a:pt x="205" y="82"/>
                    </a:lnTo>
                    <a:lnTo>
                      <a:pt x="205" y="81"/>
                    </a:lnTo>
                    <a:lnTo>
                      <a:pt x="207" y="82"/>
                    </a:lnTo>
                    <a:lnTo>
                      <a:pt x="207" y="84"/>
                    </a:lnTo>
                    <a:lnTo>
                      <a:pt x="207" y="86"/>
                    </a:lnTo>
                    <a:lnTo>
                      <a:pt x="205" y="86"/>
                    </a:lnTo>
                    <a:close/>
                    <a:moveTo>
                      <a:pt x="309" y="0"/>
                    </a:moveTo>
                    <a:lnTo>
                      <a:pt x="310" y="0"/>
                    </a:lnTo>
                    <a:lnTo>
                      <a:pt x="310" y="2"/>
                    </a:lnTo>
                    <a:lnTo>
                      <a:pt x="309" y="3"/>
                    </a:lnTo>
                    <a:lnTo>
                      <a:pt x="307" y="5"/>
                    </a:lnTo>
                    <a:lnTo>
                      <a:pt x="307" y="3"/>
                    </a:lnTo>
                    <a:lnTo>
                      <a:pt x="307" y="2"/>
                    </a:lnTo>
                    <a:lnTo>
                      <a:pt x="307" y="0"/>
                    </a:lnTo>
                    <a:lnTo>
                      <a:pt x="309"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5" name="Freeform 141">
                <a:extLst>
                  <a:ext uri="{FF2B5EF4-FFF2-40B4-BE49-F238E27FC236}">
                    <a16:creationId xmlns:a16="http://schemas.microsoft.com/office/drawing/2014/main" id="{8F4B9FC9-928B-2287-99C5-DAEA80676159}"/>
                  </a:ext>
                </a:extLst>
              </p:cNvPr>
              <p:cNvSpPr>
                <a:spLocks noEditPoints="1"/>
              </p:cNvSpPr>
              <p:nvPr/>
            </p:nvSpPr>
            <p:spPr bwMode="auto">
              <a:xfrm>
                <a:off x="8602896" y="3567301"/>
                <a:ext cx="242921" cy="413545"/>
              </a:xfrm>
              <a:custGeom>
                <a:avLst/>
                <a:gdLst>
                  <a:gd name="T0" fmla="*/ 102 w 168"/>
                  <a:gd name="T1" fmla="*/ 245 h 286"/>
                  <a:gd name="T2" fmla="*/ 77 w 168"/>
                  <a:gd name="T3" fmla="*/ 269 h 286"/>
                  <a:gd name="T4" fmla="*/ 93 w 168"/>
                  <a:gd name="T5" fmla="*/ 259 h 286"/>
                  <a:gd name="T6" fmla="*/ 0 w 168"/>
                  <a:gd name="T7" fmla="*/ 235 h 286"/>
                  <a:gd name="T8" fmla="*/ 88 w 168"/>
                  <a:gd name="T9" fmla="*/ 8 h 286"/>
                  <a:gd name="T10" fmla="*/ 85 w 168"/>
                  <a:gd name="T11" fmla="*/ 2 h 286"/>
                  <a:gd name="T12" fmla="*/ 123 w 168"/>
                  <a:gd name="T13" fmla="*/ 134 h 286"/>
                  <a:gd name="T14" fmla="*/ 123 w 168"/>
                  <a:gd name="T15" fmla="*/ 133 h 286"/>
                  <a:gd name="T16" fmla="*/ 63 w 168"/>
                  <a:gd name="T17" fmla="*/ 117 h 286"/>
                  <a:gd name="T18" fmla="*/ 69 w 168"/>
                  <a:gd name="T19" fmla="*/ 130 h 286"/>
                  <a:gd name="T20" fmla="*/ 96 w 168"/>
                  <a:gd name="T21" fmla="*/ 130 h 286"/>
                  <a:gd name="T22" fmla="*/ 112 w 168"/>
                  <a:gd name="T23" fmla="*/ 144 h 286"/>
                  <a:gd name="T24" fmla="*/ 125 w 168"/>
                  <a:gd name="T25" fmla="*/ 144 h 286"/>
                  <a:gd name="T26" fmla="*/ 119 w 168"/>
                  <a:gd name="T27" fmla="*/ 130 h 286"/>
                  <a:gd name="T28" fmla="*/ 103 w 168"/>
                  <a:gd name="T29" fmla="*/ 123 h 286"/>
                  <a:gd name="T30" fmla="*/ 82 w 168"/>
                  <a:gd name="T31" fmla="*/ 114 h 286"/>
                  <a:gd name="T32" fmla="*/ 92 w 168"/>
                  <a:gd name="T33" fmla="*/ 85 h 286"/>
                  <a:gd name="T34" fmla="*/ 89 w 168"/>
                  <a:gd name="T35" fmla="*/ 46 h 286"/>
                  <a:gd name="T36" fmla="*/ 65 w 168"/>
                  <a:gd name="T37" fmla="*/ 44 h 286"/>
                  <a:gd name="T38" fmla="*/ 142 w 168"/>
                  <a:gd name="T39" fmla="*/ 153 h 286"/>
                  <a:gd name="T40" fmla="*/ 141 w 168"/>
                  <a:gd name="T41" fmla="*/ 173 h 286"/>
                  <a:gd name="T42" fmla="*/ 149 w 168"/>
                  <a:gd name="T43" fmla="*/ 169 h 286"/>
                  <a:gd name="T44" fmla="*/ 75 w 168"/>
                  <a:gd name="T45" fmla="*/ 35 h 286"/>
                  <a:gd name="T46" fmla="*/ 149 w 168"/>
                  <a:gd name="T47" fmla="*/ 215 h 286"/>
                  <a:gd name="T48" fmla="*/ 136 w 168"/>
                  <a:gd name="T49" fmla="*/ 220 h 286"/>
                  <a:gd name="T50" fmla="*/ 121 w 168"/>
                  <a:gd name="T51" fmla="*/ 232 h 286"/>
                  <a:gd name="T52" fmla="*/ 90 w 168"/>
                  <a:gd name="T53" fmla="*/ 236 h 286"/>
                  <a:gd name="T54" fmla="*/ 98 w 168"/>
                  <a:gd name="T55" fmla="*/ 239 h 286"/>
                  <a:gd name="T56" fmla="*/ 119 w 168"/>
                  <a:gd name="T57" fmla="*/ 239 h 286"/>
                  <a:gd name="T58" fmla="*/ 145 w 168"/>
                  <a:gd name="T59" fmla="*/ 269 h 286"/>
                  <a:gd name="T60" fmla="*/ 155 w 168"/>
                  <a:gd name="T61" fmla="*/ 246 h 286"/>
                  <a:gd name="T62" fmla="*/ 168 w 168"/>
                  <a:gd name="T63" fmla="*/ 246 h 286"/>
                  <a:gd name="T64" fmla="*/ 161 w 168"/>
                  <a:gd name="T65" fmla="*/ 223 h 286"/>
                  <a:gd name="T66" fmla="*/ 156 w 168"/>
                  <a:gd name="T67" fmla="*/ 205 h 286"/>
                  <a:gd name="T68" fmla="*/ 86 w 168"/>
                  <a:gd name="T69" fmla="*/ 35 h 286"/>
                  <a:gd name="T70" fmla="*/ 27 w 168"/>
                  <a:gd name="T71" fmla="*/ 210 h 286"/>
                  <a:gd name="T72" fmla="*/ 44 w 168"/>
                  <a:gd name="T73" fmla="*/ 182 h 286"/>
                  <a:gd name="T74" fmla="*/ 9 w 168"/>
                  <a:gd name="T75" fmla="*/ 219 h 286"/>
                  <a:gd name="T76" fmla="*/ 113 w 168"/>
                  <a:gd name="T77" fmla="*/ 154 h 286"/>
                  <a:gd name="T78" fmla="*/ 118 w 168"/>
                  <a:gd name="T79" fmla="*/ 151 h 286"/>
                  <a:gd name="T80" fmla="*/ 92 w 168"/>
                  <a:gd name="T81" fmla="*/ 153 h 286"/>
                  <a:gd name="T82" fmla="*/ 141 w 168"/>
                  <a:gd name="T83" fmla="*/ 199 h 286"/>
                  <a:gd name="T84" fmla="*/ 141 w 168"/>
                  <a:gd name="T85" fmla="*/ 177 h 286"/>
                  <a:gd name="T86" fmla="*/ 161 w 168"/>
                  <a:gd name="T87" fmla="*/ 202 h 286"/>
                  <a:gd name="T88" fmla="*/ 88 w 168"/>
                  <a:gd name="T89" fmla="*/ 166 h 286"/>
                  <a:gd name="T90" fmla="*/ 100 w 168"/>
                  <a:gd name="T91" fmla="*/ 183 h 286"/>
                  <a:gd name="T92" fmla="*/ 99 w 168"/>
                  <a:gd name="T93" fmla="*/ 170 h 286"/>
                  <a:gd name="T94" fmla="*/ 56 w 168"/>
                  <a:gd name="T95" fmla="*/ 130 h 286"/>
                  <a:gd name="T96" fmla="*/ 113 w 168"/>
                  <a:gd name="T97" fmla="*/ 182 h 286"/>
                  <a:gd name="T98" fmla="*/ 98 w 168"/>
                  <a:gd name="T99" fmla="*/ 207 h 286"/>
                  <a:gd name="T100" fmla="*/ 116 w 168"/>
                  <a:gd name="T101" fmla="*/ 212 h 286"/>
                  <a:gd name="T102" fmla="*/ 123 w 168"/>
                  <a:gd name="T103" fmla="*/ 190 h 286"/>
                  <a:gd name="T104" fmla="*/ 108 w 168"/>
                  <a:gd name="T105" fmla="*/ 146 h 286"/>
                  <a:gd name="T106" fmla="*/ 98 w 168"/>
                  <a:gd name="T107" fmla="*/ 192 h 286"/>
                  <a:gd name="T108" fmla="*/ 136 w 168"/>
                  <a:gd name="T109" fmla="*/ 213 h 286"/>
                  <a:gd name="T110" fmla="*/ 128 w 168"/>
                  <a:gd name="T111" fmla="*/ 206 h 286"/>
                  <a:gd name="T112" fmla="*/ 53 w 168"/>
                  <a:gd name="T113" fmla="*/ 169 h 286"/>
                  <a:gd name="T114" fmla="*/ 49 w 168"/>
                  <a:gd name="T115" fmla="*/ 173 h 286"/>
                  <a:gd name="T116" fmla="*/ 88 w 168"/>
                  <a:gd name="T117" fmla="*/ 156 h 286"/>
                  <a:gd name="T118" fmla="*/ 76 w 168"/>
                  <a:gd name="T119" fmla="*/ 138 h 286"/>
                  <a:gd name="T120" fmla="*/ 66 w 168"/>
                  <a:gd name="T121" fmla="*/ 144 h 286"/>
                  <a:gd name="T122" fmla="*/ 85 w 168"/>
                  <a:gd name="T123" fmla="*/ 138 h 286"/>
                  <a:gd name="T124" fmla="*/ 151 w 168"/>
                  <a:gd name="T125" fmla="*/ 19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8" h="286">
                    <a:moveTo>
                      <a:pt x="154" y="252"/>
                    </a:moveTo>
                    <a:lnTo>
                      <a:pt x="152" y="252"/>
                    </a:lnTo>
                    <a:lnTo>
                      <a:pt x="152" y="251"/>
                    </a:lnTo>
                    <a:lnTo>
                      <a:pt x="154" y="249"/>
                    </a:lnTo>
                    <a:lnTo>
                      <a:pt x="154" y="249"/>
                    </a:lnTo>
                    <a:lnTo>
                      <a:pt x="155" y="251"/>
                    </a:lnTo>
                    <a:lnTo>
                      <a:pt x="155" y="252"/>
                    </a:lnTo>
                    <a:lnTo>
                      <a:pt x="154" y="253"/>
                    </a:lnTo>
                    <a:lnTo>
                      <a:pt x="154" y="253"/>
                    </a:lnTo>
                    <a:lnTo>
                      <a:pt x="154" y="252"/>
                    </a:lnTo>
                    <a:close/>
                    <a:moveTo>
                      <a:pt x="102" y="246"/>
                    </a:moveTo>
                    <a:lnTo>
                      <a:pt x="103" y="246"/>
                    </a:lnTo>
                    <a:lnTo>
                      <a:pt x="103" y="245"/>
                    </a:lnTo>
                    <a:lnTo>
                      <a:pt x="102" y="245"/>
                    </a:lnTo>
                    <a:lnTo>
                      <a:pt x="102" y="246"/>
                    </a:lnTo>
                    <a:close/>
                    <a:moveTo>
                      <a:pt x="52" y="286"/>
                    </a:moveTo>
                    <a:lnTo>
                      <a:pt x="49" y="286"/>
                    </a:lnTo>
                    <a:lnTo>
                      <a:pt x="50" y="285"/>
                    </a:lnTo>
                    <a:lnTo>
                      <a:pt x="53" y="284"/>
                    </a:lnTo>
                    <a:lnTo>
                      <a:pt x="54" y="282"/>
                    </a:lnTo>
                    <a:lnTo>
                      <a:pt x="56" y="282"/>
                    </a:lnTo>
                    <a:lnTo>
                      <a:pt x="57" y="282"/>
                    </a:lnTo>
                    <a:lnTo>
                      <a:pt x="57" y="284"/>
                    </a:lnTo>
                    <a:lnTo>
                      <a:pt x="56" y="284"/>
                    </a:lnTo>
                    <a:lnTo>
                      <a:pt x="54" y="284"/>
                    </a:lnTo>
                    <a:lnTo>
                      <a:pt x="53" y="285"/>
                    </a:lnTo>
                    <a:lnTo>
                      <a:pt x="52" y="286"/>
                    </a:lnTo>
                    <a:close/>
                    <a:moveTo>
                      <a:pt x="77" y="269"/>
                    </a:moveTo>
                    <a:lnTo>
                      <a:pt x="77" y="271"/>
                    </a:lnTo>
                    <a:lnTo>
                      <a:pt x="76" y="272"/>
                    </a:lnTo>
                    <a:lnTo>
                      <a:pt x="73" y="272"/>
                    </a:lnTo>
                    <a:lnTo>
                      <a:pt x="70" y="271"/>
                    </a:lnTo>
                    <a:lnTo>
                      <a:pt x="67" y="271"/>
                    </a:lnTo>
                    <a:lnTo>
                      <a:pt x="69" y="269"/>
                    </a:lnTo>
                    <a:lnTo>
                      <a:pt x="70" y="269"/>
                    </a:lnTo>
                    <a:lnTo>
                      <a:pt x="76" y="269"/>
                    </a:lnTo>
                    <a:lnTo>
                      <a:pt x="77" y="269"/>
                    </a:lnTo>
                    <a:close/>
                    <a:moveTo>
                      <a:pt x="85" y="259"/>
                    </a:moveTo>
                    <a:lnTo>
                      <a:pt x="86" y="258"/>
                    </a:lnTo>
                    <a:lnTo>
                      <a:pt x="89" y="258"/>
                    </a:lnTo>
                    <a:lnTo>
                      <a:pt x="92" y="258"/>
                    </a:lnTo>
                    <a:lnTo>
                      <a:pt x="93" y="259"/>
                    </a:lnTo>
                    <a:lnTo>
                      <a:pt x="92" y="261"/>
                    </a:lnTo>
                    <a:lnTo>
                      <a:pt x="90" y="262"/>
                    </a:lnTo>
                    <a:lnTo>
                      <a:pt x="89" y="262"/>
                    </a:lnTo>
                    <a:lnTo>
                      <a:pt x="88" y="262"/>
                    </a:lnTo>
                    <a:lnTo>
                      <a:pt x="86" y="262"/>
                    </a:lnTo>
                    <a:lnTo>
                      <a:pt x="86" y="261"/>
                    </a:lnTo>
                    <a:lnTo>
                      <a:pt x="85" y="259"/>
                    </a:lnTo>
                    <a:lnTo>
                      <a:pt x="85" y="259"/>
                    </a:lnTo>
                    <a:close/>
                    <a:moveTo>
                      <a:pt x="1" y="233"/>
                    </a:moveTo>
                    <a:lnTo>
                      <a:pt x="1" y="236"/>
                    </a:lnTo>
                    <a:lnTo>
                      <a:pt x="1" y="236"/>
                    </a:lnTo>
                    <a:lnTo>
                      <a:pt x="0" y="238"/>
                    </a:lnTo>
                    <a:lnTo>
                      <a:pt x="0" y="236"/>
                    </a:lnTo>
                    <a:lnTo>
                      <a:pt x="0" y="235"/>
                    </a:lnTo>
                    <a:lnTo>
                      <a:pt x="0" y="233"/>
                    </a:lnTo>
                    <a:lnTo>
                      <a:pt x="1" y="233"/>
                    </a:lnTo>
                    <a:close/>
                    <a:moveTo>
                      <a:pt x="4" y="229"/>
                    </a:moveTo>
                    <a:lnTo>
                      <a:pt x="4" y="229"/>
                    </a:lnTo>
                    <a:lnTo>
                      <a:pt x="4" y="230"/>
                    </a:lnTo>
                    <a:lnTo>
                      <a:pt x="4" y="230"/>
                    </a:lnTo>
                    <a:lnTo>
                      <a:pt x="6" y="230"/>
                    </a:lnTo>
                    <a:lnTo>
                      <a:pt x="6" y="229"/>
                    </a:lnTo>
                    <a:lnTo>
                      <a:pt x="6" y="229"/>
                    </a:lnTo>
                    <a:lnTo>
                      <a:pt x="4" y="229"/>
                    </a:lnTo>
                    <a:close/>
                    <a:moveTo>
                      <a:pt x="88" y="9"/>
                    </a:moveTo>
                    <a:lnTo>
                      <a:pt x="88" y="8"/>
                    </a:lnTo>
                    <a:lnTo>
                      <a:pt x="89" y="8"/>
                    </a:lnTo>
                    <a:lnTo>
                      <a:pt x="88" y="8"/>
                    </a:lnTo>
                    <a:lnTo>
                      <a:pt x="86" y="8"/>
                    </a:lnTo>
                    <a:lnTo>
                      <a:pt x="86" y="9"/>
                    </a:lnTo>
                    <a:lnTo>
                      <a:pt x="86" y="9"/>
                    </a:lnTo>
                    <a:lnTo>
                      <a:pt x="88" y="9"/>
                    </a:lnTo>
                    <a:lnTo>
                      <a:pt x="88" y="9"/>
                    </a:lnTo>
                    <a:close/>
                    <a:moveTo>
                      <a:pt x="85" y="2"/>
                    </a:moveTo>
                    <a:lnTo>
                      <a:pt x="85" y="2"/>
                    </a:lnTo>
                    <a:lnTo>
                      <a:pt x="85" y="3"/>
                    </a:lnTo>
                    <a:lnTo>
                      <a:pt x="85" y="2"/>
                    </a:lnTo>
                    <a:lnTo>
                      <a:pt x="85" y="2"/>
                    </a:lnTo>
                    <a:lnTo>
                      <a:pt x="85" y="0"/>
                    </a:lnTo>
                    <a:lnTo>
                      <a:pt x="85" y="0"/>
                    </a:lnTo>
                    <a:lnTo>
                      <a:pt x="86" y="2"/>
                    </a:lnTo>
                    <a:lnTo>
                      <a:pt x="85" y="2"/>
                    </a:lnTo>
                    <a:close/>
                    <a:moveTo>
                      <a:pt x="86" y="114"/>
                    </a:moveTo>
                    <a:lnTo>
                      <a:pt x="86" y="113"/>
                    </a:lnTo>
                    <a:lnTo>
                      <a:pt x="86" y="113"/>
                    </a:lnTo>
                    <a:lnTo>
                      <a:pt x="85" y="111"/>
                    </a:lnTo>
                    <a:lnTo>
                      <a:pt x="85" y="110"/>
                    </a:lnTo>
                    <a:lnTo>
                      <a:pt x="86" y="108"/>
                    </a:lnTo>
                    <a:lnTo>
                      <a:pt x="86" y="108"/>
                    </a:lnTo>
                    <a:lnTo>
                      <a:pt x="88" y="108"/>
                    </a:lnTo>
                    <a:lnTo>
                      <a:pt x="89" y="110"/>
                    </a:lnTo>
                    <a:lnTo>
                      <a:pt x="88" y="111"/>
                    </a:lnTo>
                    <a:lnTo>
                      <a:pt x="88" y="113"/>
                    </a:lnTo>
                    <a:lnTo>
                      <a:pt x="88" y="114"/>
                    </a:lnTo>
                    <a:lnTo>
                      <a:pt x="86" y="114"/>
                    </a:lnTo>
                    <a:close/>
                    <a:moveTo>
                      <a:pt x="123" y="134"/>
                    </a:moveTo>
                    <a:lnTo>
                      <a:pt x="125" y="134"/>
                    </a:lnTo>
                    <a:lnTo>
                      <a:pt x="126" y="136"/>
                    </a:lnTo>
                    <a:lnTo>
                      <a:pt x="126" y="136"/>
                    </a:lnTo>
                    <a:lnTo>
                      <a:pt x="129" y="134"/>
                    </a:lnTo>
                    <a:lnTo>
                      <a:pt x="129" y="133"/>
                    </a:lnTo>
                    <a:lnTo>
                      <a:pt x="131" y="131"/>
                    </a:lnTo>
                    <a:lnTo>
                      <a:pt x="131" y="130"/>
                    </a:lnTo>
                    <a:lnTo>
                      <a:pt x="129" y="128"/>
                    </a:lnTo>
                    <a:lnTo>
                      <a:pt x="128" y="125"/>
                    </a:lnTo>
                    <a:lnTo>
                      <a:pt x="126" y="125"/>
                    </a:lnTo>
                    <a:lnTo>
                      <a:pt x="125" y="128"/>
                    </a:lnTo>
                    <a:lnTo>
                      <a:pt x="125" y="130"/>
                    </a:lnTo>
                    <a:lnTo>
                      <a:pt x="125" y="131"/>
                    </a:lnTo>
                    <a:lnTo>
                      <a:pt x="123" y="133"/>
                    </a:lnTo>
                    <a:lnTo>
                      <a:pt x="123" y="134"/>
                    </a:lnTo>
                    <a:close/>
                    <a:moveTo>
                      <a:pt x="49" y="85"/>
                    </a:moveTo>
                    <a:lnTo>
                      <a:pt x="49" y="87"/>
                    </a:lnTo>
                    <a:lnTo>
                      <a:pt x="54" y="110"/>
                    </a:lnTo>
                    <a:lnTo>
                      <a:pt x="54" y="111"/>
                    </a:lnTo>
                    <a:lnTo>
                      <a:pt x="54" y="113"/>
                    </a:lnTo>
                    <a:lnTo>
                      <a:pt x="56" y="113"/>
                    </a:lnTo>
                    <a:lnTo>
                      <a:pt x="56" y="113"/>
                    </a:lnTo>
                    <a:lnTo>
                      <a:pt x="57" y="113"/>
                    </a:lnTo>
                    <a:lnTo>
                      <a:pt x="57" y="113"/>
                    </a:lnTo>
                    <a:lnTo>
                      <a:pt x="60" y="118"/>
                    </a:lnTo>
                    <a:lnTo>
                      <a:pt x="60" y="118"/>
                    </a:lnTo>
                    <a:lnTo>
                      <a:pt x="62" y="118"/>
                    </a:lnTo>
                    <a:lnTo>
                      <a:pt x="63" y="117"/>
                    </a:lnTo>
                    <a:lnTo>
                      <a:pt x="63" y="113"/>
                    </a:lnTo>
                    <a:lnTo>
                      <a:pt x="63" y="111"/>
                    </a:lnTo>
                    <a:lnTo>
                      <a:pt x="65" y="113"/>
                    </a:lnTo>
                    <a:lnTo>
                      <a:pt x="67" y="114"/>
                    </a:lnTo>
                    <a:lnTo>
                      <a:pt x="69" y="115"/>
                    </a:lnTo>
                    <a:lnTo>
                      <a:pt x="67" y="118"/>
                    </a:lnTo>
                    <a:lnTo>
                      <a:pt x="67" y="120"/>
                    </a:lnTo>
                    <a:lnTo>
                      <a:pt x="65" y="123"/>
                    </a:lnTo>
                    <a:lnTo>
                      <a:pt x="63" y="124"/>
                    </a:lnTo>
                    <a:lnTo>
                      <a:pt x="63" y="125"/>
                    </a:lnTo>
                    <a:lnTo>
                      <a:pt x="63" y="127"/>
                    </a:lnTo>
                    <a:lnTo>
                      <a:pt x="63" y="130"/>
                    </a:lnTo>
                    <a:lnTo>
                      <a:pt x="66" y="128"/>
                    </a:lnTo>
                    <a:lnTo>
                      <a:pt x="69" y="130"/>
                    </a:lnTo>
                    <a:lnTo>
                      <a:pt x="72" y="133"/>
                    </a:lnTo>
                    <a:lnTo>
                      <a:pt x="73" y="133"/>
                    </a:lnTo>
                    <a:lnTo>
                      <a:pt x="76" y="133"/>
                    </a:lnTo>
                    <a:lnTo>
                      <a:pt x="77" y="131"/>
                    </a:lnTo>
                    <a:lnTo>
                      <a:pt x="80" y="130"/>
                    </a:lnTo>
                    <a:lnTo>
                      <a:pt x="82" y="128"/>
                    </a:lnTo>
                    <a:lnTo>
                      <a:pt x="85" y="128"/>
                    </a:lnTo>
                    <a:lnTo>
                      <a:pt x="88" y="130"/>
                    </a:lnTo>
                    <a:lnTo>
                      <a:pt x="95" y="136"/>
                    </a:lnTo>
                    <a:lnTo>
                      <a:pt x="95" y="137"/>
                    </a:lnTo>
                    <a:lnTo>
                      <a:pt x="98" y="140"/>
                    </a:lnTo>
                    <a:lnTo>
                      <a:pt x="98" y="141"/>
                    </a:lnTo>
                    <a:lnTo>
                      <a:pt x="99" y="140"/>
                    </a:lnTo>
                    <a:lnTo>
                      <a:pt x="96" y="130"/>
                    </a:lnTo>
                    <a:lnTo>
                      <a:pt x="98" y="128"/>
                    </a:lnTo>
                    <a:lnTo>
                      <a:pt x="99" y="130"/>
                    </a:lnTo>
                    <a:lnTo>
                      <a:pt x="100" y="130"/>
                    </a:lnTo>
                    <a:lnTo>
                      <a:pt x="102" y="133"/>
                    </a:lnTo>
                    <a:lnTo>
                      <a:pt x="102" y="133"/>
                    </a:lnTo>
                    <a:lnTo>
                      <a:pt x="103" y="134"/>
                    </a:lnTo>
                    <a:lnTo>
                      <a:pt x="106" y="136"/>
                    </a:lnTo>
                    <a:lnTo>
                      <a:pt x="108" y="137"/>
                    </a:lnTo>
                    <a:lnTo>
                      <a:pt x="109" y="137"/>
                    </a:lnTo>
                    <a:lnTo>
                      <a:pt x="109" y="138"/>
                    </a:lnTo>
                    <a:lnTo>
                      <a:pt x="111" y="140"/>
                    </a:lnTo>
                    <a:lnTo>
                      <a:pt x="111" y="143"/>
                    </a:lnTo>
                    <a:lnTo>
                      <a:pt x="112" y="143"/>
                    </a:lnTo>
                    <a:lnTo>
                      <a:pt x="112" y="144"/>
                    </a:lnTo>
                    <a:lnTo>
                      <a:pt x="113" y="146"/>
                    </a:lnTo>
                    <a:lnTo>
                      <a:pt x="116" y="146"/>
                    </a:lnTo>
                    <a:lnTo>
                      <a:pt x="119" y="147"/>
                    </a:lnTo>
                    <a:lnTo>
                      <a:pt x="121" y="147"/>
                    </a:lnTo>
                    <a:lnTo>
                      <a:pt x="121" y="147"/>
                    </a:lnTo>
                    <a:lnTo>
                      <a:pt x="121" y="146"/>
                    </a:lnTo>
                    <a:lnTo>
                      <a:pt x="122" y="147"/>
                    </a:lnTo>
                    <a:lnTo>
                      <a:pt x="122" y="150"/>
                    </a:lnTo>
                    <a:lnTo>
                      <a:pt x="122" y="153"/>
                    </a:lnTo>
                    <a:lnTo>
                      <a:pt x="123" y="153"/>
                    </a:lnTo>
                    <a:lnTo>
                      <a:pt x="125" y="151"/>
                    </a:lnTo>
                    <a:lnTo>
                      <a:pt x="125" y="148"/>
                    </a:lnTo>
                    <a:lnTo>
                      <a:pt x="125" y="144"/>
                    </a:lnTo>
                    <a:lnTo>
                      <a:pt x="125" y="144"/>
                    </a:lnTo>
                    <a:lnTo>
                      <a:pt x="123" y="144"/>
                    </a:lnTo>
                    <a:lnTo>
                      <a:pt x="122" y="143"/>
                    </a:lnTo>
                    <a:lnTo>
                      <a:pt x="122" y="143"/>
                    </a:lnTo>
                    <a:lnTo>
                      <a:pt x="121" y="143"/>
                    </a:lnTo>
                    <a:lnTo>
                      <a:pt x="119" y="143"/>
                    </a:lnTo>
                    <a:lnTo>
                      <a:pt x="119" y="140"/>
                    </a:lnTo>
                    <a:lnTo>
                      <a:pt x="119" y="138"/>
                    </a:lnTo>
                    <a:lnTo>
                      <a:pt x="118" y="137"/>
                    </a:lnTo>
                    <a:lnTo>
                      <a:pt x="116" y="136"/>
                    </a:lnTo>
                    <a:lnTo>
                      <a:pt x="116" y="133"/>
                    </a:lnTo>
                    <a:lnTo>
                      <a:pt x="118" y="133"/>
                    </a:lnTo>
                    <a:lnTo>
                      <a:pt x="119" y="131"/>
                    </a:lnTo>
                    <a:lnTo>
                      <a:pt x="121" y="130"/>
                    </a:lnTo>
                    <a:lnTo>
                      <a:pt x="119" y="130"/>
                    </a:lnTo>
                    <a:lnTo>
                      <a:pt x="118" y="128"/>
                    </a:lnTo>
                    <a:lnTo>
                      <a:pt x="113" y="127"/>
                    </a:lnTo>
                    <a:lnTo>
                      <a:pt x="113" y="127"/>
                    </a:lnTo>
                    <a:lnTo>
                      <a:pt x="112" y="127"/>
                    </a:lnTo>
                    <a:lnTo>
                      <a:pt x="112" y="125"/>
                    </a:lnTo>
                    <a:lnTo>
                      <a:pt x="111" y="125"/>
                    </a:lnTo>
                    <a:lnTo>
                      <a:pt x="111" y="127"/>
                    </a:lnTo>
                    <a:lnTo>
                      <a:pt x="111" y="127"/>
                    </a:lnTo>
                    <a:lnTo>
                      <a:pt x="111" y="128"/>
                    </a:lnTo>
                    <a:lnTo>
                      <a:pt x="111" y="128"/>
                    </a:lnTo>
                    <a:lnTo>
                      <a:pt x="108" y="131"/>
                    </a:lnTo>
                    <a:lnTo>
                      <a:pt x="106" y="130"/>
                    </a:lnTo>
                    <a:lnTo>
                      <a:pt x="105" y="125"/>
                    </a:lnTo>
                    <a:lnTo>
                      <a:pt x="103" y="123"/>
                    </a:lnTo>
                    <a:lnTo>
                      <a:pt x="99" y="121"/>
                    </a:lnTo>
                    <a:lnTo>
                      <a:pt x="95" y="123"/>
                    </a:lnTo>
                    <a:lnTo>
                      <a:pt x="92" y="124"/>
                    </a:lnTo>
                    <a:lnTo>
                      <a:pt x="93" y="127"/>
                    </a:lnTo>
                    <a:lnTo>
                      <a:pt x="90" y="128"/>
                    </a:lnTo>
                    <a:lnTo>
                      <a:pt x="89" y="127"/>
                    </a:lnTo>
                    <a:lnTo>
                      <a:pt x="86" y="127"/>
                    </a:lnTo>
                    <a:lnTo>
                      <a:pt x="85" y="124"/>
                    </a:lnTo>
                    <a:lnTo>
                      <a:pt x="83" y="124"/>
                    </a:lnTo>
                    <a:lnTo>
                      <a:pt x="83" y="123"/>
                    </a:lnTo>
                    <a:lnTo>
                      <a:pt x="82" y="117"/>
                    </a:lnTo>
                    <a:lnTo>
                      <a:pt x="82" y="117"/>
                    </a:lnTo>
                    <a:lnTo>
                      <a:pt x="82" y="115"/>
                    </a:lnTo>
                    <a:lnTo>
                      <a:pt x="82" y="114"/>
                    </a:lnTo>
                    <a:lnTo>
                      <a:pt x="82" y="111"/>
                    </a:lnTo>
                    <a:lnTo>
                      <a:pt x="77" y="105"/>
                    </a:lnTo>
                    <a:lnTo>
                      <a:pt x="77" y="102"/>
                    </a:lnTo>
                    <a:lnTo>
                      <a:pt x="77" y="101"/>
                    </a:lnTo>
                    <a:lnTo>
                      <a:pt x="79" y="98"/>
                    </a:lnTo>
                    <a:lnTo>
                      <a:pt x="80" y="97"/>
                    </a:lnTo>
                    <a:lnTo>
                      <a:pt x="80" y="92"/>
                    </a:lnTo>
                    <a:lnTo>
                      <a:pt x="82" y="91"/>
                    </a:lnTo>
                    <a:lnTo>
                      <a:pt x="82" y="91"/>
                    </a:lnTo>
                    <a:lnTo>
                      <a:pt x="83" y="90"/>
                    </a:lnTo>
                    <a:lnTo>
                      <a:pt x="85" y="88"/>
                    </a:lnTo>
                    <a:lnTo>
                      <a:pt x="89" y="88"/>
                    </a:lnTo>
                    <a:lnTo>
                      <a:pt x="90" y="87"/>
                    </a:lnTo>
                    <a:lnTo>
                      <a:pt x="92" y="85"/>
                    </a:lnTo>
                    <a:lnTo>
                      <a:pt x="96" y="72"/>
                    </a:lnTo>
                    <a:lnTo>
                      <a:pt x="96" y="69"/>
                    </a:lnTo>
                    <a:lnTo>
                      <a:pt x="96" y="68"/>
                    </a:lnTo>
                    <a:lnTo>
                      <a:pt x="95" y="67"/>
                    </a:lnTo>
                    <a:lnTo>
                      <a:pt x="92" y="64"/>
                    </a:lnTo>
                    <a:lnTo>
                      <a:pt x="92" y="61"/>
                    </a:lnTo>
                    <a:lnTo>
                      <a:pt x="90" y="58"/>
                    </a:lnTo>
                    <a:lnTo>
                      <a:pt x="90" y="55"/>
                    </a:lnTo>
                    <a:lnTo>
                      <a:pt x="93" y="49"/>
                    </a:lnTo>
                    <a:lnTo>
                      <a:pt x="93" y="46"/>
                    </a:lnTo>
                    <a:lnTo>
                      <a:pt x="92" y="44"/>
                    </a:lnTo>
                    <a:lnTo>
                      <a:pt x="90" y="45"/>
                    </a:lnTo>
                    <a:lnTo>
                      <a:pt x="89" y="45"/>
                    </a:lnTo>
                    <a:lnTo>
                      <a:pt x="89" y="46"/>
                    </a:lnTo>
                    <a:lnTo>
                      <a:pt x="88" y="48"/>
                    </a:lnTo>
                    <a:lnTo>
                      <a:pt x="86" y="48"/>
                    </a:lnTo>
                    <a:lnTo>
                      <a:pt x="85" y="48"/>
                    </a:lnTo>
                    <a:lnTo>
                      <a:pt x="83" y="48"/>
                    </a:lnTo>
                    <a:lnTo>
                      <a:pt x="82" y="48"/>
                    </a:lnTo>
                    <a:lnTo>
                      <a:pt x="79" y="46"/>
                    </a:lnTo>
                    <a:lnTo>
                      <a:pt x="76" y="44"/>
                    </a:lnTo>
                    <a:lnTo>
                      <a:pt x="73" y="44"/>
                    </a:lnTo>
                    <a:lnTo>
                      <a:pt x="70" y="42"/>
                    </a:lnTo>
                    <a:lnTo>
                      <a:pt x="69" y="42"/>
                    </a:lnTo>
                    <a:lnTo>
                      <a:pt x="67" y="42"/>
                    </a:lnTo>
                    <a:lnTo>
                      <a:pt x="66" y="42"/>
                    </a:lnTo>
                    <a:lnTo>
                      <a:pt x="66" y="44"/>
                    </a:lnTo>
                    <a:lnTo>
                      <a:pt x="65" y="44"/>
                    </a:lnTo>
                    <a:lnTo>
                      <a:pt x="63" y="45"/>
                    </a:lnTo>
                    <a:lnTo>
                      <a:pt x="60" y="56"/>
                    </a:lnTo>
                    <a:lnTo>
                      <a:pt x="60" y="59"/>
                    </a:lnTo>
                    <a:lnTo>
                      <a:pt x="59" y="69"/>
                    </a:lnTo>
                    <a:lnTo>
                      <a:pt x="59" y="77"/>
                    </a:lnTo>
                    <a:lnTo>
                      <a:pt x="59" y="79"/>
                    </a:lnTo>
                    <a:lnTo>
                      <a:pt x="59" y="85"/>
                    </a:lnTo>
                    <a:lnTo>
                      <a:pt x="59" y="88"/>
                    </a:lnTo>
                    <a:lnTo>
                      <a:pt x="57" y="90"/>
                    </a:lnTo>
                    <a:lnTo>
                      <a:pt x="54" y="90"/>
                    </a:lnTo>
                    <a:lnTo>
                      <a:pt x="52" y="85"/>
                    </a:lnTo>
                    <a:lnTo>
                      <a:pt x="49" y="85"/>
                    </a:lnTo>
                    <a:close/>
                    <a:moveTo>
                      <a:pt x="144" y="153"/>
                    </a:moveTo>
                    <a:lnTo>
                      <a:pt x="142" y="153"/>
                    </a:lnTo>
                    <a:lnTo>
                      <a:pt x="136" y="153"/>
                    </a:lnTo>
                    <a:lnTo>
                      <a:pt x="132" y="153"/>
                    </a:lnTo>
                    <a:lnTo>
                      <a:pt x="128" y="153"/>
                    </a:lnTo>
                    <a:lnTo>
                      <a:pt x="129" y="156"/>
                    </a:lnTo>
                    <a:lnTo>
                      <a:pt x="131" y="159"/>
                    </a:lnTo>
                    <a:lnTo>
                      <a:pt x="132" y="160"/>
                    </a:lnTo>
                    <a:lnTo>
                      <a:pt x="135" y="164"/>
                    </a:lnTo>
                    <a:lnTo>
                      <a:pt x="136" y="166"/>
                    </a:lnTo>
                    <a:lnTo>
                      <a:pt x="139" y="167"/>
                    </a:lnTo>
                    <a:lnTo>
                      <a:pt x="141" y="167"/>
                    </a:lnTo>
                    <a:lnTo>
                      <a:pt x="141" y="169"/>
                    </a:lnTo>
                    <a:lnTo>
                      <a:pt x="139" y="171"/>
                    </a:lnTo>
                    <a:lnTo>
                      <a:pt x="139" y="173"/>
                    </a:lnTo>
                    <a:lnTo>
                      <a:pt x="141" y="173"/>
                    </a:lnTo>
                    <a:lnTo>
                      <a:pt x="141" y="174"/>
                    </a:lnTo>
                    <a:lnTo>
                      <a:pt x="145" y="179"/>
                    </a:lnTo>
                    <a:lnTo>
                      <a:pt x="146" y="179"/>
                    </a:lnTo>
                    <a:lnTo>
                      <a:pt x="149" y="179"/>
                    </a:lnTo>
                    <a:lnTo>
                      <a:pt x="152" y="179"/>
                    </a:lnTo>
                    <a:lnTo>
                      <a:pt x="152" y="179"/>
                    </a:lnTo>
                    <a:lnTo>
                      <a:pt x="154" y="180"/>
                    </a:lnTo>
                    <a:lnTo>
                      <a:pt x="154" y="179"/>
                    </a:lnTo>
                    <a:lnTo>
                      <a:pt x="152" y="177"/>
                    </a:lnTo>
                    <a:lnTo>
                      <a:pt x="152" y="177"/>
                    </a:lnTo>
                    <a:lnTo>
                      <a:pt x="151" y="177"/>
                    </a:lnTo>
                    <a:lnTo>
                      <a:pt x="151" y="174"/>
                    </a:lnTo>
                    <a:lnTo>
                      <a:pt x="151" y="173"/>
                    </a:lnTo>
                    <a:lnTo>
                      <a:pt x="149" y="169"/>
                    </a:lnTo>
                    <a:lnTo>
                      <a:pt x="149" y="166"/>
                    </a:lnTo>
                    <a:lnTo>
                      <a:pt x="149" y="160"/>
                    </a:lnTo>
                    <a:lnTo>
                      <a:pt x="149" y="159"/>
                    </a:lnTo>
                    <a:lnTo>
                      <a:pt x="146" y="157"/>
                    </a:lnTo>
                    <a:lnTo>
                      <a:pt x="145" y="156"/>
                    </a:lnTo>
                    <a:lnTo>
                      <a:pt x="145" y="154"/>
                    </a:lnTo>
                    <a:lnTo>
                      <a:pt x="145" y="153"/>
                    </a:lnTo>
                    <a:lnTo>
                      <a:pt x="144" y="153"/>
                    </a:lnTo>
                    <a:close/>
                    <a:moveTo>
                      <a:pt x="75" y="32"/>
                    </a:moveTo>
                    <a:lnTo>
                      <a:pt x="73" y="32"/>
                    </a:lnTo>
                    <a:lnTo>
                      <a:pt x="73" y="33"/>
                    </a:lnTo>
                    <a:lnTo>
                      <a:pt x="73" y="33"/>
                    </a:lnTo>
                    <a:lnTo>
                      <a:pt x="75" y="35"/>
                    </a:lnTo>
                    <a:lnTo>
                      <a:pt x="75" y="35"/>
                    </a:lnTo>
                    <a:lnTo>
                      <a:pt x="75" y="33"/>
                    </a:lnTo>
                    <a:lnTo>
                      <a:pt x="75" y="33"/>
                    </a:lnTo>
                    <a:lnTo>
                      <a:pt x="75" y="32"/>
                    </a:lnTo>
                    <a:lnTo>
                      <a:pt x="75" y="32"/>
                    </a:lnTo>
                    <a:close/>
                    <a:moveTo>
                      <a:pt x="89" y="125"/>
                    </a:moveTo>
                    <a:lnTo>
                      <a:pt x="90" y="125"/>
                    </a:lnTo>
                    <a:lnTo>
                      <a:pt x="90" y="125"/>
                    </a:lnTo>
                    <a:lnTo>
                      <a:pt x="88" y="123"/>
                    </a:lnTo>
                    <a:lnTo>
                      <a:pt x="88" y="124"/>
                    </a:lnTo>
                    <a:lnTo>
                      <a:pt x="89" y="125"/>
                    </a:lnTo>
                    <a:close/>
                    <a:moveTo>
                      <a:pt x="149" y="203"/>
                    </a:moveTo>
                    <a:lnTo>
                      <a:pt x="148" y="207"/>
                    </a:lnTo>
                    <a:lnTo>
                      <a:pt x="149" y="213"/>
                    </a:lnTo>
                    <a:lnTo>
                      <a:pt x="149" y="215"/>
                    </a:lnTo>
                    <a:lnTo>
                      <a:pt x="148" y="216"/>
                    </a:lnTo>
                    <a:lnTo>
                      <a:pt x="146" y="216"/>
                    </a:lnTo>
                    <a:lnTo>
                      <a:pt x="145" y="216"/>
                    </a:lnTo>
                    <a:lnTo>
                      <a:pt x="144" y="216"/>
                    </a:lnTo>
                    <a:lnTo>
                      <a:pt x="144" y="216"/>
                    </a:lnTo>
                    <a:lnTo>
                      <a:pt x="144" y="217"/>
                    </a:lnTo>
                    <a:lnTo>
                      <a:pt x="144" y="219"/>
                    </a:lnTo>
                    <a:lnTo>
                      <a:pt x="141" y="219"/>
                    </a:lnTo>
                    <a:lnTo>
                      <a:pt x="141" y="219"/>
                    </a:lnTo>
                    <a:lnTo>
                      <a:pt x="139" y="217"/>
                    </a:lnTo>
                    <a:lnTo>
                      <a:pt x="139" y="217"/>
                    </a:lnTo>
                    <a:lnTo>
                      <a:pt x="138" y="217"/>
                    </a:lnTo>
                    <a:lnTo>
                      <a:pt x="136" y="219"/>
                    </a:lnTo>
                    <a:lnTo>
                      <a:pt x="136" y="220"/>
                    </a:lnTo>
                    <a:lnTo>
                      <a:pt x="136" y="220"/>
                    </a:lnTo>
                    <a:lnTo>
                      <a:pt x="136" y="222"/>
                    </a:lnTo>
                    <a:lnTo>
                      <a:pt x="135" y="225"/>
                    </a:lnTo>
                    <a:lnTo>
                      <a:pt x="133" y="225"/>
                    </a:lnTo>
                    <a:lnTo>
                      <a:pt x="132" y="223"/>
                    </a:lnTo>
                    <a:lnTo>
                      <a:pt x="129" y="225"/>
                    </a:lnTo>
                    <a:lnTo>
                      <a:pt x="129" y="225"/>
                    </a:lnTo>
                    <a:lnTo>
                      <a:pt x="128" y="229"/>
                    </a:lnTo>
                    <a:lnTo>
                      <a:pt x="126" y="230"/>
                    </a:lnTo>
                    <a:lnTo>
                      <a:pt x="125" y="232"/>
                    </a:lnTo>
                    <a:lnTo>
                      <a:pt x="122" y="232"/>
                    </a:lnTo>
                    <a:lnTo>
                      <a:pt x="121" y="233"/>
                    </a:lnTo>
                    <a:lnTo>
                      <a:pt x="119" y="233"/>
                    </a:lnTo>
                    <a:lnTo>
                      <a:pt x="121" y="232"/>
                    </a:lnTo>
                    <a:lnTo>
                      <a:pt x="121" y="229"/>
                    </a:lnTo>
                    <a:lnTo>
                      <a:pt x="119" y="226"/>
                    </a:lnTo>
                    <a:lnTo>
                      <a:pt x="118" y="223"/>
                    </a:lnTo>
                    <a:lnTo>
                      <a:pt x="115" y="223"/>
                    </a:lnTo>
                    <a:lnTo>
                      <a:pt x="113" y="223"/>
                    </a:lnTo>
                    <a:lnTo>
                      <a:pt x="111" y="223"/>
                    </a:lnTo>
                    <a:lnTo>
                      <a:pt x="109" y="225"/>
                    </a:lnTo>
                    <a:lnTo>
                      <a:pt x="106" y="228"/>
                    </a:lnTo>
                    <a:lnTo>
                      <a:pt x="105" y="230"/>
                    </a:lnTo>
                    <a:lnTo>
                      <a:pt x="103" y="232"/>
                    </a:lnTo>
                    <a:lnTo>
                      <a:pt x="99" y="233"/>
                    </a:lnTo>
                    <a:lnTo>
                      <a:pt x="96" y="233"/>
                    </a:lnTo>
                    <a:lnTo>
                      <a:pt x="93" y="235"/>
                    </a:lnTo>
                    <a:lnTo>
                      <a:pt x="90" y="236"/>
                    </a:lnTo>
                    <a:lnTo>
                      <a:pt x="90" y="238"/>
                    </a:lnTo>
                    <a:lnTo>
                      <a:pt x="90" y="239"/>
                    </a:lnTo>
                    <a:lnTo>
                      <a:pt x="89" y="242"/>
                    </a:lnTo>
                    <a:lnTo>
                      <a:pt x="89" y="245"/>
                    </a:lnTo>
                    <a:lnTo>
                      <a:pt x="88" y="248"/>
                    </a:lnTo>
                    <a:lnTo>
                      <a:pt x="86" y="249"/>
                    </a:lnTo>
                    <a:lnTo>
                      <a:pt x="86" y="251"/>
                    </a:lnTo>
                    <a:lnTo>
                      <a:pt x="88" y="252"/>
                    </a:lnTo>
                    <a:lnTo>
                      <a:pt x="88" y="253"/>
                    </a:lnTo>
                    <a:lnTo>
                      <a:pt x="89" y="253"/>
                    </a:lnTo>
                    <a:lnTo>
                      <a:pt x="90" y="253"/>
                    </a:lnTo>
                    <a:lnTo>
                      <a:pt x="92" y="252"/>
                    </a:lnTo>
                    <a:lnTo>
                      <a:pt x="95" y="242"/>
                    </a:lnTo>
                    <a:lnTo>
                      <a:pt x="98" y="239"/>
                    </a:lnTo>
                    <a:lnTo>
                      <a:pt x="99" y="239"/>
                    </a:lnTo>
                    <a:lnTo>
                      <a:pt x="102" y="240"/>
                    </a:lnTo>
                    <a:lnTo>
                      <a:pt x="103" y="242"/>
                    </a:lnTo>
                    <a:lnTo>
                      <a:pt x="105" y="243"/>
                    </a:lnTo>
                    <a:lnTo>
                      <a:pt x="108" y="239"/>
                    </a:lnTo>
                    <a:lnTo>
                      <a:pt x="108" y="242"/>
                    </a:lnTo>
                    <a:lnTo>
                      <a:pt x="109" y="243"/>
                    </a:lnTo>
                    <a:lnTo>
                      <a:pt x="111" y="243"/>
                    </a:lnTo>
                    <a:lnTo>
                      <a:pt x="112" y="245"/>
                    </a:lnTo>
                    <a:lnTo>
                      <a:pt x="113" y="240"/>
                    </a:lnTo>
                    <a:lnTo>
                      <a:pt x="113" y="239"/>
                    </a:lnTo>
                    <a:lnTo>
                      <a:pt x="115" y="238"/>
                    </a:lnTo>
                    <a:lnTo>
                      <a:pt x="116" y="238"/>
                    </a:lnTo>
                    <a:lnTo>
                      <a:pt x="119" y="239"/>
                    </a:lnTo>
                    <a:lnTo>
                      <a:pt x="123" y="240"/>
                    </a:lnTo>
                    <a:lnTo>
                      <a:pt x="126" y="245"/>
                    </a:lnTo>
                    <a:lnTo>
                      <a:pt x="125" y="248"/>
                    </a:lnTo>
                    <a:lnTo>
                      <a:pt x="123" y="252"/>
                    </a:lnTo>
                    <a:lnTo>
                      <a:pt x="123" y="256"/>
                    </a:lnTo>
                    <a:lnTo>
                      <a:pt x="125" y="262"/>
                    </a:lnTo>
                    <a:lnTo>
                      <a:pt x="128" y="266"/>
                    </a:lnTo>
                    <a:lnTo>
                      <a:pt x="133" y="271"/>
                    </a:lnTo>
                    <a:lnTo>
                      <a:pt x="139" y="272"/>
                    </a:lnTo>
                    <a:lnTo>
                      <a:pt x="141" y="272"/>
                    </a:lnTo>
                    <a:lnTo>
                      <a:pt x="142" y="271"/>
                    </a:lnTo>
                    <a:lnTo>
                      <a:pt x="144" y="269"/>
                    </a:lnTo>
                    <a:lnTo>
                      <a:pt x="145" y="269"/>
                    </a:lnTo>
                    <a:lnTo>
                      <a:pt x="145" y="269"/>
                    </a:lnTo>
                    <a:lnTo>
                      <a:pt x="145" y="272"/>
                    </a:lnTo>
                    <a:lnTo>
                      <a:pt x="145" y="275"/>
                    </a:lnTo>
                    <a:lnTo>
                      <a:pt x="146" y="276"/>
                    </a:lnTo>
                    <a:lnTo>
                      <a:pt x="149" y="275"/>
                    </a:lnTo>
                    <a:lnTo>
                      <a:pt x="152" y="271"/>
                    </a:lnTo>
                    <a:lnTo>
                      <a:pt x="152" y="266"/>
                    </a:lnTo>
                    <a:lnTo>
                      <a:pt x="151" y="263"/>
                    </a:lnTo>
                    <a:lnTo>
                      <a:pt x="148" y="258"/>
                    </a:lnTo>
                    <a:lnTo>
                      <a:pt x="148" y="256"/>
                    </a:lnTo>
                    <a:lnTo>
                      <a:pt x="149" y="252"/>
                    </a:lnTo>
                    <a:lnTo>
                      <a:pt x="152" y="249"/>
                    </a:lnTo>
                    <a:lnTo>
                      <a:pt x="152" y="248"/>
                    </a:lnTo>
                    <a:lnTo>
                      <a:pt x="154" y="246"/>
                    </a:lnTo>
                    <a:lnTo>
                      <a:pt x="155" y="246"/>
                    </a:lnTo>
                    <a:lnTo>
                      <a:pt x="155" y="248"/>
                    </a:lnTo>
                    <a:lnTo>
                      <a:pt x="156" y="249"/>
                    </a:lnTo>
                    <a:lnTo>
                      <a:pt x="158" y="252"/>
                    </a:lnTo>
                    <a:lnTo>
                      <a:pt x="159" y="261"/>
                    </a:lnTo>
                    <a:lnTo>
                      <a:pt x="161" y="265"/>
                    </a:lnTo>
                    <a:lnTo>
                      <a:pt x="162" y="262"/>
                    </a:lnTo>
                    <a:lnTo>
                      <a:pt x="161" y="258"/>
                    </a:lnTo>
                    <a:lnTo>
                      <a:pt x="162" y="255"/>
                    </a:lnTo>
                    <a:lnTo>
                      <a:pt x="162" y="255"/>
                    </a:lnTo>
                    <a:lnTo>
                      <a:pt x="165" y="253"/>
                    </a:lnTo>
                    <a:lnTo>
                      <a:pt x="167" y="252"/>
                    </a:lnTo>
                    <a:lnTo>
                      <a:pt x="167" y="251"/>
                    </a:lnTo>
                    <a:lnTo>
                      <a:pt x="168" y="248"/>
                    </a:lnTo>
                    <a:lnTo>
                      <a:pt x="168" y="246"/>
                    </a:lnTo>
                    <a:lnTo>
                      <a:pt x="168" y="245"/>
                    </a:lnTo>
                    <a:lnTo>
                      <a:pt x="168" y="242"/>
                    </a:lnTo>
                    <a:lnTo>
                      <a:pt x="168" y="240"/>
                    </a:lnTo>
                    <a:lnTo>
                      <a:pt x="167" y="239"/>
                    </a:lnTo>
                    <a:lnTo>
                      <a:pt x="167" y="238"/>
                    </a:lnTo>
                    <a:lnTo>
                      <a:pt x="167" y="236"/>
                    </a:lnTo>
                    <a:lnTo>
                      <a:pt x="167" y="232"/>
                    </a:lnTo>
                    <a:lnTo>
                      <a:pt x="167" y="230"/>
                    </a:lnTo>
                    <a:lnTo>
                      <a:pt x="165" y="226"/>
                    </a:lnTo>
                    <a:lnTo>
                      <a:pt x="165" y="226"/>
                    </a:lnTo>
                    <a:lnTo>
                      <a:pt x="164" y="226"/>
                    </a:lnTo>
                    <a:lnTo>
                      <a:pt x="162" y="225"/>
                    </a:lnTo>
                    <a:lnTo>
                      <a:pt x="161" y="225"/>
                    </a:lnTo>
                    <a:lnTo>
                      <a:pt x="161" y="223"/>
                    </a:lnTo>
                    <a:lnTo>
                      <a:pt x="162" y="222"/>
                    </a:lnTo>
                    <a:lnTo>
                      <a:pt x="164" y="220"/>
                    </a:lnTo>
                    <a:lnTo>
                      <a:pt x="164" y="219"/>
                    </a:lnTo>
                    <a:lnTo>
                      <a:pt x="164" y="217"/>
                    </a:lnTo>
                    <a:lnTo>
                      <a:pt x="162" y="213"/>
                    </a:lnTo>
                    <a:lnTo>
                      <a:pt x="162" y="212"/>
                    </a:lnTo>
                    <a:lnTo>
                      <a:pt x="158" y="210"/>
                    </a:lnTo>
                    <a:lnTo>
                      <a:pt x="154" y="206"/>
                    </a:lnTo>
                    <a:lnTo>
                      <a:pt x="149" y="203"/>
                    </a:lnTo>
                    <a:close/>
                    <a:moveTo>
                      <a:pt x="158" y="206"/>
                    </a:moveTo>
                    <a:lnTo>
                      <a:pt x="158" y="205"/>
                    </a:lnTo>
                    <a:lnTo>
                      <a:pt x="158" y="205"/>
                    </a:lnTo>
                    <a:lnTo>
                      <a:pt x="158" y="203"/>
                    </a:lnTo>
                    <a:lnTo>
                      <a:pt x="156" y="205"/>
                    </a:lnTo>
                    <a:lnTo>
                      <a:pt x="156" y="205"/>
                    </a:lnTo>
                    <a:lnTo>
                      <a:pt x="156" y="206"/>
                    </a:lnTo>
                    <a:lnTo>
                      <a:pt x="158" y="206"/>
                    </a:lnTo>
                    <a:lnTo>
                      <a:pt x="158" y="206"/>
                    </a:lnTo>
                    <a:close/>
                    <a:moveTo>
                      <a:pt x="77" y="28"/>
                    </a:moveTo>
                    <a:lnTo>
                      <a:pt x="77" y="28"/>
                    </a:lnTo>
                    <a:lnTo>
                      <a:pt x="77" y="29"/>
                    </a:lnTo>
                    <a:lnTo>
                      <a:pt x="77" y="29"/>
                    </a:lnTo>
                    <a:lnTo>
                      <a:pt x="79" y="29"/>
                    </a:lnTo>
                    <a:lnTo>
                      <a:pt x="79" y="29"/>
                    </a:lnTo>
                    <a:lnTo>
                      <a:pt x="79" y="29"/>
                    </a:lnTo>
                    <a:lnTo>
                      <a:pt x="79" y="28"/>
                    </a:lnTo>
                    <a:lnTo>
                      <a:pt x="77" y="28"/>
                    </a:lnTo>
                    <a:close/>
                    <a:moveTo>
                      <a:pt x="86" y="35"/>
                    </a:moveTo>
                    <a:lnTo>
                      <a:pt x="86" y="35"/>
                    </a:lnTo>
                    <a:lnTo>
                      <a:pt x="85" y="38"/>
                    </a:lnTo>
                    <a:lnTo>
                      <a:pt x="86" y="36"/>
                    </a:lnTo>
                    <a:lnTo>
                      <a:pt x="86" y="35"/>
                    </a:lnTo>
                    <a:close/>
                    <a:moveTo>
                      <a:pt x="6" y="223"/>
                    </a:moveTo>
                    <a:lnTo>
                      <a:pt x="4" y="228"/>
                    </a:lnTo>
                    <a:lnTo>
                      <a:pt x="7" y="226"/>
                    </a:lnTo>
                    <a:lnTo>
                      <a:pt x="16" y="220"/>
                    </a:lnTo>
                    <a:lnTo>
                      <a:pt x="17" y="219"/>
                    </a:lnTo>
                    <a:lnTo>
                      <a:pt x="19" y="216"/>
                    </a:lnTo>
                    <a:lnTo>
                      <a:pt x="20" y="215"/>
                    </a:lnTo>
                    <a:lnTo>
                      <a:pt x="21" y="213"/>
                    </a:lnTo>
                    <a:lnTo>
                      <a:pt x="26" y="212"/>
                    </a:lnTo>
                    <a:lnTo>
                      <a:pt x="27" y="210"/>
                    </a:lnTo>
                    <a:lnTo>
                      <a:pt x="29" y="207"/>
                    </a:lnTo>
                    <a:lnTo>
                      <a:pt x="32" y="202"/>
                    </a:lnTo>
                    <a:lnTo>
                      <a:pt x="32" y="200"/>
                    </a:lnTo>
                    <a:lnTo>
                      <a:pt x="33" y="200"/>
                    </a:lnTo>
                    <a:lnTo>
                      <a:pt x="36" y="199"/>
                    </a:lnTo>
                    <a:lnTo>
                      <a:pt x="37" y="197"/>
                    </a:lnTo>
                    <a:lnTo>
                      <a:pt x="39" y="196"/>
                    </a:lnTo>
                    <a:lnTo>
                      <a:pt x="40" y="194"/>
                    </a:lnTo>
                    <a:lnTo>
                      <a:pt x="42" y="193"/>
                    </a:lnTo>
                    <a:lnTo>
                      <a:pt x="43" y="193"/>
                    </a:lnTo>
                    <a:lnTo>
                      <a:pt x="44" y="192"/>
                    </a:lnTo>
                    <a:lnTo>
                      <a:pt x="46" y="192"/>
                    </a:lnTo>
                    <a:lnTo>
                      <a:pt x="47" y="190"/>
                    </a:lnTo>
                    <a:lnTo>
                      <a:pt x="44" y="182"/>
                    </a:lnTo>
                    <a:lnTo>
                      <a:pt x="44" y="179"/>
                    </a:lnTo>
                    <a:lnTo>
                      <a:pt x="44" y="177"/>
                    </a:lnTo>
                    <a:lnTo>
                      <a:pt x="44" y="176"/>
                    </a:lnTo>
                    <a:lnTo>
                      <a:pt x="43" y="176"/>
                    </a:lnTo>
                    <a:lnTo>
                      <a:pt x="40" y="182"/>
                    </a:lnTo>
                    <a:lnTo>
                      <a:pt x="40" y="183"/>
                    </a:lnTo>
                    <a:lnTo>
                      <a:pt x="40" y="184"/>
                    </a:lnTo>
                    <a:lnTo>
                      <a:pt x="40" y="186"/>
                    </a:lnTo>
                    <a:lnTo>
                      <a:pt x="40" y="187"/>
                    </a:lnTo>
                    <a:lnTo>
                      <a:pt x="40" y="189"/>
                    </a:lnTo>
                    <a:lnTo>
                      <a:pt x="39" y="190"/>
                    </a:lnTo>
                    <a:lnTo>
                      <a:pt x="33" y="194"/>
                    </a:lnTo>
                    <a:lnTo>
                      <a:pt x="21" y="209"/>
                    </a:lnTo>
                    <a:lnTo>
                      <a:pt x="9" y="219"/>
                    </a:lnTo>
                    <a:lnTo>
                      <a:pt x="6" y="223"/>
                    </a:lnTo>
                    <a:close/>
                    <a:moveTo>
                      <a:pt x="109" y="153"/>
                    </a:moveTo>
                    <a:lnTo>
                      <a:pt x="109" y="156"/>
                    </a:lnTo>
                    <a:lnTo>
                      <a:pt x="108" y="164"/>
                    </a:lnTo>
                    <a:lnTo>
                      <a:pt x="111" y="161"/>
                    </a:lnTo>
                    <a:lnTo>
                      <a:pt x="112" y="160"/>
                    </a:lnTo>
                    <a:lnTo>
                      <a:pt x="113" y="160"/>
                    </a:lnTo>
                    <a:lnTo>
                      <a:pt x="116" y="161"/>
                    </a:lnTo>
                    <a:lnTo>
                      <a:pt x="122" y="166"/>
                    </a:lnTo>
                    <a:lnTo>
                      <a:pt x="123" y="167"/>
                    </a:lnTo>
                    <a:lnTo>
                      <a:pt x="123" y="166"/>
                    </a:lnTo>
                    <a:lnTo>
                      <a:pt x="122" y="161"/>
                    </a:lnTo>
                    <a:lnTo>
                      <a:pt x="119" y="157"/>
                    </a:lnTo>
                    <a:lnTo>
                      <a:pt x="113" y="154"/>
                    </a:lnTo>
                    <a:lnTo>
                      <a:pt x="109" y="153"/>
                    </a:lnTo>
                    <a:close/>
                    <a:moveTo>
                      <a:pt x="98" y="157"/>
                    </a:moveTo>
                    <a:lnTo>
                      <a:pt x="99" y="157"/>
                    </a:lnTo>
                    <a:lnTo>
                      <a:pt x="100" y="156"/>
                    </a:lnTo>
                    <a:lnTo>
                      <a:pt x="99" y="154"/>
                    </a:lnTo>
                    <a:lnTo>
                      <a:pt x="98" y="154"/>
                    </a:lnTo>
                    <a:lnTo>
                      <a:pt x="96" y="154"/>
                    </a:lnTo>
                    <a:lnTo>
                      <a:pt x="95" y="154"/>
                    </a:lnTo>
                    <a:lnTo>
                      <a:pt x="96" y="156"/>
                    </a:lnTo>
                    <a:lnTo>
                      <a:pt x="98" y="157"/>
                    </a:lnTo>
                    <a:close/>
                    <a:moveTo>
                      <a:pt x="119" y="156"/>
                    </a:moveTo>
                    <a:lnTo>
                      <a:pt x="119" y="154"/>
                    </a:lnTo>
                    <a:lnTo>
                      <a:pt x="118" y="153"/>
                    </a:lnTo>
                    <a:lnTo>
                      <a:pt x="118" y="151"/>
                    </a:lnTo>
                    <a:lnTo>
                      <a:pt x="116" y="151"/>
                    </a:lnTo>
                    <a:lnTo>
                      <a:pt x="116" y="153"/>
                    </a:lnTo>
                    <a:lnTo>
                      <a:pt x="116" y="154"/>
                    </a:lnTo>
                    <a:lnTo>
                      <a:pt x="118" y="156"/>
                    </a:lnTo>
                    <a:lnTo>
                      <a:pt x="119" y="156"/>
                    </a:lnTo>
                    <a:close/>
                    <a:moveTo>
                      <a:pt x="93" y="154"/>
                    </a:moveTo>
                    <a:lnTo>
                      <a:pt x="93" y="153"/>
                    </a:lnTo>
                    <a:lnTo>
                      <a:pt x="93" y="153"/>
                    </a:lnTo>
                    <a:lnTo>
                      <a:pt x="93" y="153"/>
                    </a:lnTo>
                    <a:lnTo>
                      <a:pt x="93" y="153"/>
                    </a:lnTo>
                    <a:lnTo>
                      <a:pt x="93" y="153"/>
                    </a:lnTo>
                    <a:lnTo>
                      <a:pt x="92" y="153"/>
                    </a:lnTo>
                    <a:lnTo>
                      <a:pt x="92" y="153"/>
                    </a:lnTo>
                    <a:lnTo>
                      <a:pt x="92" y="153"/>
                    </a:lnTo>
                    <a:lnTo>
                      <a:pt x="92" y="154"/>
                    </a:lnTo>
                    <a:lnTo>
                      <a:pt x="93" y="154"/>
                    </a:lnTo>
                    <a:lnTo>
                      <a:pt x="93" y="154"/>
                    </a:lnTo>
                    <a:close/>
                    <a:moveTo>
                      <a:pt x="129" y="174"/>
                    </a:moveTo>
                    <a:lnTo>
                      <a:pt x="129" y="179"/>
                    </a:lnTo>
                    <a:lnTo>
                      <a:pt x="131" y="182"/>
                    </a:lnTo>
                    <a:lnTo>
                      <a:pt x="133" y="182"/>
                    </a:lnTo>
                    <a:lnTo>
                      <a:pt x="136" y="183"/>
                    </a:lnTo>
                    <a:lnTo>
                      <a:pt x="136" y="184"/>
                    </a:lnTo>
                    <a:lnTo>
                      <a:pt x="136" y="190"/>
                    </a:lnTo>
                    <a:lnTo>
                      <a:pt x="136" y="193"/>
                    </a:lnTo>
                    <a:lnTo>
                      <a:pt x="138" y="194"/>
                    </a:lnTo>
                    <a:lnTo>
                      <a:pt x="139" y="196"/>
                    </a:lnTo>
                    <a:lnTo>
                      <a:pt x="141" y="199"/>
                    </a:lnTo>
                    <a:lnTo>
                      <a:pt x="141" y="192"/>
                    </a:lnTo>
                    <a:lnTo>
                      <a:pt x="144" y="196"/>
                    </a:lnTo>
                    <a:lnTo>
                      <a:pt x="144" y="194"/>
                    </a:lnTo>
                    <a:lnTo>
                      <a:pt x="144" y="194"/>
                    </a:lnTo>
                    <a:lnTo>
                      <a:pt x="145" y="194"/>
                    </a:lnTo>
                    <a:lnTo>
                      <a:pt x="145" y="193"/>
                    </a:lnTo>
                    <a:lnTo>
                      <a:pt x="145" y="193"/>
                    </a:lnTo>
                    <a:lnTo>
                      <a:pt x="145" y="192"/>
                    </a:lnTo>
                    <a:lnTo>
                      <a:pt x="144" y="189"/>
                    </a:lnTo>
                    <a:lnTo>
                      <a:pt x="142" y="186"/>
                    </a:lnTo>
                    <a:lnTo>
                      <a:pt x="142" y="184"/>
                    </a:lnTo>
                    <a:lnTo>
                      <a:pt x="141" y="182"/>
                    </a:lnTo>
                    <a:lnTo>
                      <a:pt x="141" y="179"/>
                    </a:lnTo>
                    <a:lnTo>
                      <a:pt x="141" y="177"/>
                    </a:lnTo>
                    <a:lnTo>
                      <a:pt x="139" y="174"/>
                    </a:lnTo>
                    <a:lnTo>
                      <a:pt x="139" y="174"/>
                    </a:lnTo>
                    <a:lnTo>
                      <a:pt x="138" y="174"/>
                    </a:lnTo>
                    <a:lnTo>
                      <a:pt x="138" y="174"/>
                    </a:lnTo>
                    <a:lnTo>
                      <a:pt x="136" y="174"/>
                    </a:lnTo>
                    <a:lnTo>
                      <a:pt x="136" y="174"/>
                    </a:lnTo>
                    <a:lnTo>
                      <a:pt x="133" y="174"/>
                    </a:lnTo>
                    <a:lnTo>
                      <a:pt x="132" y="174"/>
                    </a:lnTo>
                    <a:lnTo>
                      <a:pt x="129" y="171"/>
                    </a:lnTo>
                    <a:lnTo>
                      <a:pt x="129" y="174"/>
                    </a:lnTo>
                    <a:close/>
                    <a:moveTo>
                      <a:pt x="158" y="202"/>
                    </a:moveTo>
                    <a:lnTo>
                      <a:pt x="159" y="203"/>
                    </a:lnTo>
                    <a:lnTo>
                      <a:pt x="159" y="203"/>
                    </a:lnTo>
                    <a:lnTo>
                      <a:pt x="161" y="202"/>
                    </a:lnTo>
                    <a:lnTo>
                      <a:pt x="159" y="197"/>
                    </a:lnTo>
                    <a:lnTo>
                      <a:pt x="158" y="199"/>
                    </a:lnTo>
                    <a:lnTo>
                      <a:pt x="158" y="200"/>
                    </a:lnTo>
                    <a:lnTo>
                      <a:pt x="158" y="202"/>
                    </a:lnTo>
                    <a:close/>
                    <a:moveTo>
                      <a:pt x="132" y="171"/>
                    </a:moveTo>
                    <a:lnTo>
                      <a:pt x="133" y="171"/>
                    </a:lnTo>
                    <a:lnTo>
                      <a:pt x="133" y="170"/>
                    </a:lnTo>
                    <a:lnTo>
                      <a:pt x="132" y="169"/>
                    </a:lnTo>
                    <a:lnTo>
                      <a:pt x="131" y="169"/>
                    </a:lnTo>
                    <a:lnTo>
                      <a:pt x="129" y="169"/>
                    </a:lnTo>
                    <a:lnTo>
                      <a:pt x="131" y="170"/>
                    </a:lnTo>
                    <a:lnTo>
                      <a:pt x="131" y="171"/>
                    </a:lnTo>
                    <a:lnTo>
                      <a:pt x="132" y="171"/>
                    </a:lnTo>
                    <a:close/>
                    <a:moveTo>
                      <a:pt x="88" y="166"/>
                    </a:moveTo>
                    <a:lnTo>
                      <a:pt x="86" y="167"/>
                    </a:lnTo>
                    <a:lnTo>
                      <a:pt x="88" y="167"/>
                    </a:lnTo>
                    <a:lnTo>
                      <a:pt x="88" y="169"/>
                    </a:lnTo>
                    <a:lnTo>
                      <a:pt x="89" y="169"/>
                    </a:lnTo>
                    <a:lnTo>
                      <a:pt x="89" y="170"/>
                    </a:lnTo>
                    <a:lnTo>
                      <a:pt x="89" y="171"/>
                    </a:lnTo>
                    <a:lnTo>
                      <a:pt x="88" y="187"/>
                    </a:lnTo>
                    <a:lnTo>
                      <a:pt x="88" y="190"/>
                    </a:lnTo>
                    <a:lnTo>
                      <a:pt x="89" y="189"/>
                    </a:lnTo>
                    <a:lnTo>
                      <a:pt x="90" y="189"/>
                    </a:lnTo>
                    <a:lnTo>
                      <a:pt x="98" y="186"/>
                    </a:lnTo>
                    <a:lnTo>
                      <a:pt x="99" y="184"/>
                    </a:lnTo>
                    <a:lnTo>
                      <a:pt x="100" y="184"/>
                    </a:lnTo>
                    <a:lnTo>
                      <a:pt x="100" y="183"/>
                    </a:lnTo>
                    <a:lnTo>
                      <a:pt x="102" y="182"/>
                    </a:lnTo>
                    <a:lnTo>
                      <a:pt x="102" y="182"/>
                    </a:lnTo>
                    <a:lnTo>
                      <a:pt x="105" y="179"/>
                    </a:lnTo>
                    <a:lnTo>
                      <a:pt x="106" y="177"/>
                    </a:lnTo>
                    <a:lnTo>
                      <a:pt x="108" y="176"/>
                    </a:lnTo>
                    <a:lnTo>
                      <a:pt x="108" y="173"/>
                    </a:lnTo>
                    <a:lnTo>
                      <a:pt x="108" y="171"/>
                    </a:lnTo>
                    <a:lnTo>
                      <a:pt x="106" y="171"/>
                    </a:lnTo>
                    <a:lnTo>
                      <a:pt x="103" y="173"/>
                    </a:lnTo>
                    <a:lnTo>
                      <a:pt x="103" y="171"/>
                    </a:lnTo>
                    <a:lnTo>
                      <a:pt x="103" y="170"/>
                    </a:lnTo>
                    <a:lnTo>
                      <a:pt x="102" y="170"/>
                    </a:lnTo>
                    <a:lnTo>
                      <a:pt x="100" y="170"/>
                    </a:lnTo>
                    <a:lnTo>
                      <a:pt x="99" y="170"/>
                    </a:lnTo>
                    <a:lnTo>
                      <a:pt x="99" y="170"/>
                    </a:lnTo>
                    <a:lnTo>
                      <a:pt x="98" y="170"/>
                    </a:lnTo>
                    <a:lnTo>
                      <a:pt x="98" y="170"/>
                    </a:lnTo>
                    <a:lnTo>
                      <a:pt x="96" y="170"/>
                    </a:lnTo>
                    <a:lnTo>
                      <a:pt x="95" y="169"/>
                    </a:lnTo>
                    <a:lnTo>
                      <a:pt x="95" y="169"/>
                    </a:lnTo>
                    <a:lnTo>
                      <a:pt x="92" y="167"/>
                    </a:lnTo>
                    <a:lnTo>
                      <a:pt x="89" y="166"/>
                    </a:lnTo>
                    <a:lnTo>
                      <a:pt x="88" y="166"/>
                    </a:lnTo>
                    <a:close/>
                    <a:moveTo>
                      <a:pt x="56" y="130"/>
                    </a:moveTo>
                    <a:lnTo>
                      <a:pt x="54" y="130"/>
                    </a:lnTo>
                    <a:lnTo>
                      <a:pt x="54" y="131"/>
                    </a:lnTo>
                    <a:lnTo>
                      <a:pt x="57" y="133"/>
                    </a:lnTo>
                    <a:lnTo>
                      <a:pt x="56" y="130"/>
                    </a:lnTo>
                    <a:close/>
                    <a:moveTo>
                      <a:pt x="138" y="170"/>
                    </a:moveTo>
                    <a:lnTo>
                      <a:pt x="138" y="170"/>
                    </a:lnTo>
                    <a:lnTo>
                      <a:pt x="138" y="170"/>
                    </a:lnTo>
                    <a:lnTo>
                      <a:pt x="136" y="169"/>
                    </a:lnTo>
                    <a:lnTo>
                      <a:pt x="136" y="169"/>
                    </a:lnTo>
                    <a:lnTo>
                      <a:pt x="136" y="169"/>
                    </a:lnTo>
                    <a:lnTo>
                      <a:pt x="136" y="169"/>
                    </a:lnTo>
                    <a:lnTo>
                      <a:pt x="136" y="170"/>
                    </a:lnTo>
                    <a:lnTo>
                      <a:pt x="138" y="170"/>
                    </a:lnTo>
                    <a:close/>
                    <a:moveTo>
                      <a:pt x="109" y="199"/>
                    </a:moveTo>
                    <a:lnTo>
                      <a:pt x="112" y="193"/>
                    </a:lnTo>
                    <a:lnTo>
                      <a:pt x="115" y="187"/>
                    </a:lnTo>
                    <a:lnTo>
                      <a:pt x="115" y="184"/>
                    </a:lnTo>
                    <a:lnTo>
                      <a:pt x="113" y="182"/>
                    </a:lnTo>
                    <a:lnTo>
                      <a:pt x="112" y="182"/>
                    </a:lnTo>
                    <a:lnTo>
                      <a:pt x="109" y="182"/>
                    </a:lnTo>
                    <a:lnTo>
                      <a:pt x="106" y="183"/>
                    </a:lnTo>
                    <a:lnTo>
                      <a:pt x="105" y="184"/>
                    </a:lnTo>
                    <a:lnTo>
                      <a:pt x="103" y="189"/>
                    </a:lnTo>
                    <a:lnTo>
                      <a:pt x="102" y="189"/>
                    </a:lnTo>
                    <a:lnTo>
                      <a:pt x="102" y="190"/>
                    </a:lnTo>
                    <a:lnTo>
                      <a:pt x="103" y="194"/>
                    </a:lnTo>
                    <a:lnTo>
                      <a:pt x="103" y="196"/>
                    </a:lnTo>
                    <a:lnTo>
                      <a:pt x="102" y="197"/>
                    </a:lnTo>
                    <a:lnTo>
                      <a:pt x="96" y="200"/>
                    </a:lnTo>
                    <a:lnTo>
                      <a:pt x="95" y="202"/>
                    </a:lnTo>
                    <a:lnTo>
                      <a:pt x="96" y="206"/>
                    </a:lnTo>
                    <a:lnTo>
                      <a:pt x="98" y="207"/>
                    </a:lnTo>
                    <a:lnTo>
                      <a:pt x="100" y="209"/>
                    </a:lnTo>
                    <a:lnTo>
                      <a:pt x="103" y="210"/>
                    </a:lnTo>
                    <a:lnTo>
                      <a:pt x="106" y="215"/>
                    </a:lnTo>
                    <a:lnTo>
                      <a:pt x="108" y="216"/>
                    </a:lnTo>
                    <a:lnTo>
                      <a:pt x="111" y="213"/>
                    </a:lnTo>
                    <a:lnTo>
                      <a:pt x="111" y="212"/>
                    </a:lnTo>
                    <a:lnTo>
                      <a:pt x="111" y="209"/>
                    </a:lnTo>
                    <a:lnTo>
                      <a:pt x="109" y="207"/>
                    </a:lnTo>
                    <a:lnTo>
                      <a:pt x="108" y="205"/>
                    </a:lnTo>
                    <a:lnTo>
                      <a:pt x="108" y="202"/>
                    </a:lnTo>
                    <a:lnTo>
                      <a:pt x="109" y="199"/>
                    </a:lnTo>
                    <a:close/>
                    <a:moveTo>
                      <a:pt x="116" y="215"/>
                    </a:moveTo>
                    <a:lnTo>
                      <a:pt x="118" y="213"/>
                    </a:lnTo>
                    <a:lnTo>
                      <a:pt x="116" y="212"/>
                    </a:lnTo>
                    <a:lnTo>
                      <a:pt x="113" y="213"/>
                    </a:lnTo>
                    <a:lnTo>
                      <a:pt x="116" y="215"/>
                    </a:lnTo>
                    <a:close/>
                    <a:moveTo>
                      <a:pt x="123" y="176"/>
                    </a:moveTo>
                    <a:lnTo>
                      <a:pt x="122" y="179"/>
                    </a:lnTo>
                    <a:lnTo>
                      <a:pt x="118" y="190"/>
                    </a:lnTo>
                    <a:lnTo>
                      <a:pt x="113" y="199"/>
                    </a:lnTo>
                    <a:lnTo>
                      <a:pt x="111" y="205"/>
                    </a:lnTo>
                    <a:lnTo>
                      <a:pt x="111" y="209"/>
                    </a:lnTo>
                    <a:lnTo>
                      <a:pt x="113" y="207"/>
                    </a:lnTo>
                    <a:lnTo>
                      <a:pt x="115" y="205"/>
                    </a:lnTo>
                    <a:lnTo>
                      <a:pt x="118" y="199"/>
                    </a:lnTo>
                    <a:lnTo>
                      <a:pt x="118" y="197"/>
                    </a:lnTo>
                    <a:lnTo>
                      <a:pt x="121" y="194"/>
                    </a:lnTo>
                    <a:lnTo>
                      <a:pt x="123" y="190"/>
                    </a:lnTo>
                    <a:lnTo>
                      <a:pt x="123" y="186"/>
                    </a:lnTo>
                    <a:lnTo>
                      <a:pt x="123" y="182"/>
                    </a:lnTo>
                    <a:lnTo>
                      <a:pt x="123" y="177"/>
                    </a:lnTo>
                    <a:lnTo>
                      <a:pt x="123" y="176"/>
                    </a:lnTo>
                    <a:close/>
                    <a:moveTo>
                      <a:pt x="119" y="179"/>
                    </a:moveTo>
                    <a:lnTo>
                      <a:pt x="119" y="177"/>
                    </a:lnTo>
                    <a:lnTo>
                      <a:pt x="119" y="176"/>
                    </a:lnTo>
                    <a:lnTo>
                      <a:pt x="119" y="176"/>
                    </a:lnTo>
                    <a:lnTo>
                      <a:pt x="118" y="176"/>
                    </a:lnTo>
                    <a:lnTo>
                      <a:pt x="118" y="176"/>
                    </a:lnTo>
                    <a:lnTo>
                      <a:pt x="118" y="177"/>
                    </a:lnTo>
                    <a:lnTo>
                      <a:pt x="119" y="179"/>
                    </a:lnTo>
                    <a:lnTo>
                      <a:pt x="119" y="179"/>
                    </a:lnTo>
                    <a:close/>
                    <a:moveTo>
                      <a:pt x="108" y="146"/>
                    </a:moveTo>
                    <a:lnTo>
                      <a:pt x="106" y="143"/>
                    </a:lnTo>
                    <a:lnTo>
                      <a:pt x="105" y="143"/>
                    </a:lnTo>
                    <a:lnTo>
                      <a:pt x="106" y="146"/>
                    </a:lnTo>
                    <a:lnTo>
                      <a:pt x="111" y="148"/>
                    </a:lnTo>
                    <a:lnTo>
                      <a:pt x="112" y="150"/>
                    </a:lnTo>
                    <a:lnTo>
                      <a:pt x="111" y="148"/>
                    </a:lnTo>
                    <a:lnTo>
                      <a:pt x="108" y="146"/>
                    </a:lnTo>
                    <a:close/>
                    <a:moveTo>
                      <a:pt x="99" y="190"/>
                    </a:moveTo>
                    <a:lnTo>
                      <a:pt x="100" y="189"/>
                    </a:lnTo>
                    <a:lnTo>
                      <a:pt x="100" y="187"/>
                    </a:lnTo>
                    <a:lnTo>
                      <a:pt x="99" y="186"/>
                    </a:lnTo>
                    <a:lnTo>
                      <a:pt x="98" y="187"/>
                    </a:lnTo>
                    <a:lnTo>
                      <a:pt x="98" y="189"/>
                    </a:lnTo>
                    <a:lnTo>
                      <a:pt x="98" y="192"/>
                    </a:lnTo>
                    <a:lnTo>
                      <a:pt x="99" y="190"/>
                    </a:lnTo>
                    <a:lnTo>
                      <a:pt x="99" y="190"/>
                    </a:lnTo>
                    <a:close/>
                    <a:moveTo>
                      <a:pt x="144" y="196"/>
                    </a:moveTo>
                    <a:lnTo>
                      <a:pt x="144" y="197"/>
                    </a:lnTo>
                    <a:lnTo>
                      <a:pt x="144" y="199"/>
                    </a:lnTo>
                    <a:lnTo>
                      <a:pt x="145" y="199"/>
                    </a:lnTo>
                    <a:lnTo>
                      <a:pt x="145" y="200"/>
                    </a:lnTo>
                    <a:lnTo>
                      <a:pt x="145" y="199"/>
                    </a:lnTo>
                    <a:lnTo>
                      <a:pt x="145" y="197"/>
                    </a:lnTo>
                    <a:lnTo>
                      <a:pt x="144" y="196"/>
                    </a:lnTo>
                    <a:lnTo>
                      <a:pt x="144" y="196"/>
                    </a:lnTo>
                    <a:close/>
                    <a:moveTo>
                      <a:pt x="133" y="213"/>
                    </a:moveTo>
                    <a:lnTo>
                      <a:pt x="136" y="215"/>
                    </a:lnTo>
                    <a:lnTo>
                      <a:pt x="136" y="213"/>
                    </a:lnTo>
                    <a:lnTo>
                      <a:pt x="136" y="212"/>
                    </a:lnTo>
                    <a:lnTo>
                      <a:pt x="133" y="213"/>
                    </a:lnTo>
                    <a:close/>
                    <a:moveTo>
                      <a:pt x="129" y="187"/>
                    </a:moveTo>
                    <a:lnTo>
                      <a:pt x="129" y="187"/>
                    </a:lnTo>
                    <a:lnTo>
                      <a:pt x="129" y="186"/>
                    </a:lnTo>
                    <a:lnTo>
                      <a:pt x="128" y="187"/>
                    </a:lnTo>
                    <a:lnTo>
                      <a:pt x="129" y="187"/>
                    </a:lnTo>
                    <a:close/>
                    <a:moveTo>
                      <a:pt x="125" y="197"/>
                    </a:moveTo>
                    <a:lnTo>
                      <a:pt x="122" y="199"/>
                    </a:lnTo>
                    <a:lnTo>
                      <a:pt x="121" y="202"/>
                    </a:lnTo>
                    <a:lnTo>
                      <a:pt x="121" y="203"/>
                    </a:lnTo>
                    <a:lnTo>
                      <a:pt x="122" y="205"/>
                    </a:lnTo>
                    <a:lnTo>
                      <a:pt x="125" y="206"/>
                    </a:lnTo>
                    <a:lnTo>
                      <a:pt x="128" y="206"/>
                    </a:lnTo>
                    <a:lnTo>
                      <a:pt x="129" y="205"/>
                    </a:lnTo>
                    <a:lnTo>
                      <a:pt x="133" y="203"/>
                    </a:lnTo>
                    <a:lnTo>
                      <a:pt x="132" y="199"/>
                    </a:lnTo>
                    <a:lnTo>
                      <a:pt x="131" y="196"/>
                    </a:lnTo>
                    <a:lnTo>
                      <a:pt x="126" y="196"/>
                    </a:lnTo>
                    <a:lnTo>
                      <a:pt x="125" y="197"/>
                    </a:lnTo>
                    <a:close/>
                    <a:moveTo>
                      <a:pt x="53" y="169"/>
                    </a:moveTo>
                    <a:lnTo>
                      <a:pt x="54" y="167"/>
                    </a:lnTo>
                    <a:lnTo>
                      <a:pt x="53" y="166"/>
                    </a:lnTo>
                    <a:lnTo>
                      <a:pt x="53" y="164"/>
                    </a:lnTo>
                    <a:lnTo>
                      <a:pt x="52" y="163"/>
                    </a:lnTo>
                    <a:lnTo>
                      <a:pt x="50" y="164"/>
                    </a:lnTo>
                    <a:lnTo>
                      <a:pt x="52" y="167"/>
                    </a:lnTo>
                    <a:lnTo>
                      <a:pt x="53" y="169"/>
                    </a:lnTo>
                    <a:close/>
                    <a:moveTo>
                      <a:pt x="57" y="160"/>
                    </a:moveTo>
                    <a:lnTo>
                      <a:pt x="56" y="159"/>
                    </a:lnTo>
                    <a:lnTo>
                      <a:pt x="54" y="160"/>
                    </a:lnTo>
                    <a:lnTo>
                      <a:pt x="52" y="157"/>
                    </a:lnTo>
                    <a:lnTo>
                      <a:pt x="50" y="159"/>
                    </a:lnTo>
                    <a:lnTo>
                      <a:pt x="52" y="161"/>
                    </a:lnTo>
                    <a:lnTo>
                      <a:pt x="54" y="163"/>
                    </a:lnTo>
                    <a:lnTo>
                      <a:pt x="57" y="161"/>
                    </a:lnTo>
                    <a:lnTo>
                      <a:pt x="57" y="160"/>
                    </a:lnTo>
                    <a:close/>
                    <a:moveTo>
                      <a:pt x="49" y="171"/>
                    </a:moveTo>
                    <a:lnTo>
                      <a:pt x="49" y="171"/>
                    </a:lnTo>
                    <a:lnTo>
                      <a:pt x="49" y="173"/>
                    </a:lnTo>
                    <a:lnTo>
                      <a:pt x="47" y="173"/>
                    </a:lnTo>
                    <a:lnTo>
                      <a:pt x="49" y="173"/>
                    </a:lnTo>
                    <a:lnTo>
                      <a:pt x="50" y="173"/>
                    </a:lnTo>
                    <a:lnTo>
                      <a:pt x="50" y="173"/>
                    </a:lnTo>
                    <a:lnTo>
                      <a:pt x="50" y="171"/>
                    </a:lnTo>
                    <a:lnTo>
                      <a:pt x="49" y="171"/>
                    </a:lnTo>
                    <a:close/>
                    <a:moveTo>
                      <a:pt x="50" y="190"/>
                    </a:moveTo>
                    <a:lnTo>
                      <a:pt x="52" y="190"/>
                    </a:lnTo>
                    <a:lnTo>
                      <a:pt x="53" y="189"/>
                    </a:lnTo>
                    <a:lnTo>
                      <a:pt x="52" y="187"/>
                    </a:lnTo>
                    <a:lnTo>
                      <a:pt x="50" y="187"/>
                    </a:lnTo>
                    <a:lnTo>
                      <a:pt x="49" y="187"/>
                    </a:lnTo>
                    <a:lnTo>
                      <a:pt x="49" y="189"/>
                    </a:lnTo>
                    <a:lnTo>
                      <a:pt x="49" y="190"/>
                    </a:lnTo>
                    <a:lnTo>
                      <a:pt x="50" y="190"/>
                    </a:lnTo>
                    <a:close/>
                    <a:moveTo>
                      <a:pt x="88" y="156"/>
                    </a:moveTo>
                    <a:lnTo>
                      <a:pt x="88" y="159"/>
                    </a:lnTo>
                    <a:lnTo>
                      <a:pt x="88" y="161"/>
                    </a:lnTo>
                    <a:lnTo>
                      <a:pt x="89" y="156"/>
                    </a:lnTo>
                    <a:lnTo>
                      <a:pt x="90" y="151"/>
                    </a:lnTo>
                    <a:lnTo>
                      <a:pt x="88" y="153"/>
                    </a:lnTo>
                    <a:lnTo>
                      <a:pt x="88" y="156"/>
                    </a:lnTo>
                    <a:close/>
                    <a:moveTo>
                      <a:pt x="80" y="151"/>
                    </a:moveTo>
                    <a:lnTo>
                      <a:pt x="79" y="148"/>
                    </a:lnTo>
                    <a:lnTo>
                      <a:pt x="79" y="144"/>
                    </a:lnTo>
                    <a:lnTo>
                      <a:pt x="79" y="143"/>
                    </a:lnTo>
                    <a:lnTo>
                      <a:pt x="79" y="141"/>
                    </a:lnTo>
                    <a:lnTo>
                      <a:pt x="76" y="140"/>
                    </a:lnTo>
                    <a:lnTo>
                      <a:pt x="76" y="138"/>
                    </a:lnTo>
                    <a:lnTo>
                      <a:pt x="76" y="138"/>
                    </a:lnTo>
                    <a:lnTo>
                      <a:pt x="75" y="137"/>
                    </a:lnTo>
                    <a:lnTo>
                      <a:pt x="75" y="137"/>
                    </a:lnTo>
                    <a:lnTo>
                      <a:pt x="73" y="137"/>
                    </a:lnTo>
                    <a:lnTo>
                      <a:pt x="73" y="138"/>
                    </a:lnTo>
                    <a:lnTo>
                      <a:pt x="72" y="138"/>
                    </a:lnTo>
                    <a:lnTo>
                      <a:pt x="69" y="137"/>
                    </a:lnTo>
                    <a:lnTo>
                      <a:pt x="65" y="136"/>
                    </a:lnTo>
                    <a:lnTo>
                      <a:pt x="60" y="136"/>
                    </a:lnTo>
                    <a:lnTo>
                      <a:pt x="59" y="137"/>
                    </a:lnTo>
                    <a:lnTo>
                      <a:pt x="60" y="138"/>
                    </a:lnTo>
                    <a:lnTo>
                      <a:pt x="62" y="140"/>
                    </a:lnTo>
                    <a:lnTo>
                      <a:pt x="63" y="141"/>
                    </a:lnTo>
                    <a:lnTo>
                      <a:pt x="65" y="143"/>
                    </a:lnTo>
                    <a:lnTo>
                      <a:pt x="66" y="144"/>
                    </a:lnTo>
                    <a:lnTo>
                      <a:pt x="69" y="154"/>
                    </a:lnTo>
                    <a:lnTo>
                      <a:pt x="70" y="156"/>
                    </a:lnTo>
                    <a:lnTo>
                      <a:pt x="72" y="157"/>
                    </a:lnTo>
                    <a:lnTo>
                      <a:pt x="73" y="159"/>
                    </a:lnTo>
                    <a:lnTo>
                      <a:pt x="75" y="159"/>
                    </a:lnTo>
                    <a:lnTo>
                      <a:pt x="76" y="157"/>
                    </a:lnTo>
                    <a:lnTo>
                      <a:pt x="77" y="157"/>
                    </a:lnTo>
                    <a:lnTo>
                      <a:pt x="77" y="156"/>
                    </a:lnTo>
                    <a:lnTo>
                      <a:pt x="77" y="154"/>
                    </a:lnTo>
                    <a:lnTo>
                      <a:pt x="80" y="151"/>
                    </a:lnTo>
                    <a:close/>
                    <a:moveTo>
                      <a:pt x="89" y="136"/>
                    </a:moveTo>
                    <a:lnTo>
                      <a:pt x="88" y="136"/>
                    </a:lnTo>
                    <a:lnTo>
                      <a:pt x="86" y="134"/>
                    </a:lnTo>
                    <a:lnTo>
                      <a:pt x="85" y="138"/>
                    </a:lnTo>
                    <a:lnTo>
                      <a:pt x="86" y="140"/>
                    </a:lnTo>
                    <a:lnTo>
                      <a:pt x="88" y="140"/>
                    </a:lnTo>
                    <a:lnTo>
                      <a:pt x="90" y="138"/>
                    </a:lnTo>
                    <a:lnTo>
                      <a:pt x="89" y="137"/>
                    </a:lnTo>
                    <a:lnTo>
                      <a:pt x="89" y="136"/>
                    </a:lnTo>
                    <a:close/>
                    <a:moveTo>
                      <a:pt x="152" y="200"/>
                    </a:moveTo>
                    <a:lnTo>
                      <a:pt x="152" y="199"/>
                    </a:lnTo>
                    <a:lnTo>
                      <a:pt x="152" y="196"/>
                    </a:lnTo>
                    <a:lnTo>
                      <a:pt x="152" y="190"/>
                    </a:lnTo>
                    <a:lnTo>
                      <a:pt x="151" y="192"/>
                    </a:lnTo>
                    <a:lnTo>
                      <a:pt x="151" y="193"/>
                    </a:lnTo>
                    <a:lnTo>
                      <a:pt x="149" y="194"/>
                    </a:lnTo>
                    <a:lnTo>
                      <a:pt x="149" y="196"/>
                    </a:lnTo>
                    <a:lnTo>
                      <a:pt x="151" y="199"/>
                    </a:lnTo>
                    <a:lnTo>
                      <a:pt x="152" y="20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6" name="Freeform 142">
                <a:extLst>
                  <a:ext uri="{FF2B5EF4-FFF2-40B4-BE49-F238E27FC236}">
                    <a16:creationId xmlns:a16="http://schemas.microsoft.com/office/drawing/2014/main" id="{069DFC0A-1A18-333C-4E18-F07DD0372C30}"/>
                  </a:ext>
                </a:extLst>
              </p:cNvPr>
              <p:cNvSpPr>
                <a:spLocks noEditPoints="1"/>
              </p:cNvSpPr>
              <p:nvPr/>
            </p:nvSpPr>
            <p:spPr bwMode="auto">
              <a:xfrm>
                <a:off x="8831358" y="3065552"/>
                <a:ext cx="127244" cy="157610"/>
              </a:xfrm>
              <a:custGeom>
                <a:avLst/>
                <a:gdLst>
                  <a:gd name="T0" fmla="*/ 47 w 88"/>
                  <a:gd name="T1" fmla="*/ 11 h 109"/>
                  <a:gd name="T2" fmla="*/ 60 w 88"/>
                  <a:gd name="T3" fmla="*/ 31 h 109"/>
                  <a:gd name="T4" fmla="*/ 60 w 88"/>
                  <a:gd name="T5" fmla="*/ 51 h 109"/>
                  <a:gd name="T6" fmla="*/ 62 w 88"/>
                  <a:gd name="T7" fmla="*/ 57 h 109"/>
                  <a:gd name="T8" fmla="*/ 56 w 88"/>
                  <a:gd name="T9" fmla="*/ 70 h 109"/>
                  <a:gd name="T10" fmla="*/ 43 w 88"/>
                  <a:gd name="T11" fmla="*/ 71 h 109"/>
                  <a:gd name="T12" fmla="*/ 34 w 88"/>
                  <a:gd name="T13" fmla="*/ 73 h 109"/>
                  <a:gd name="T14" fmla="*/ 30 w 88"/>
                  <a:gd name="T15" fmla="*/ 74 h 109"/>
                  <a:gd name="T16" fmla="*/ 30 w 88"/>
                  <a:gd name="T17" fmla="*/ 77 h 109"/>
                  <a:gd name="T18" fmla="*/ 29 w 88"/>
                  <a:gd name="T19" fmla="*/ 79 h 109"/>
                  <a:gd name="T20" fmla="*/ 26 w 88"/>
                  <a:gd name="T21" fmla="*/ 76 h 109"/>
                  <a:gd name="T22" fmla="*/ 26 w 88"/>
                  <a:gd name="T23" fmla="*/ 80 h 109"/>
                  <a:gd name="T24" fmla="*/ 23 w 88"/>
                  <a:gd name="T25" fmla="*/ 84 h 109"/>
                  <a:gd name="T26" fmla="*/ 21 w 88"/>
                  <a:gd name="T27" fmla="*/ 82 h 109"/>
                  <a:gd name="T28" fmla="*/ 21 w 88"/>
                  <a:gd name="T29" fmla="*/ 79 h 109"/>
                  <a:gd name="T30" fmla="*/ 14 w 88"/>
                  <a:gd name="T31" fmla="*/ 84 h 109"/>
                  <a:gd name="T32" fmla="*/ 13 w 88"/>
                  <a:gd name="T33" fmla="*/ 83 h 109"/>
                  <a:gd name="T34" fmla="*/ 10 w 88"/>
                  <a:gd name="T35" fmla="*/ 86 h 109"/>
                  <a:gd name="T36" fmla="*/ 6 w 88"/>
                  <a:gd name="T37" fmla="*/ 80 h 109"/>
                  <a:gd name="T38" fmla="*/ 10 w 88"/>
                  <a:gd name="T39" fmla="*/ 79 h 109"/>
                  <a:gd name="T40" fmla="*/ 10 w 88"/>
                  <a:gd name="T41" fmla="*/ 77 h 109"/>
                  <a:gd name="T42" fmla="*/ 7 w 88"/>
                  <a:gd name="T43" fmla="*/ 76 h 109"/>
                  <a:gd name="T44" fmla="*/ 6 w 88"/>
                  <a:gd name="T45" fmla="*/ 69 h 109"/>
                  <a:gd name="T46" fmla="*/ 11 w 88"/>
                  <a:gd name="T47" fmla="*/ 61 h 109"/>
                  <a:gd name="T48" fmla="*/ 11 w 88"/>
                  <a:gd name="T49" fmla="*/ 59 h 109"/>
                  <a:gd name="T50" fmla="*/ 13 w 88"/>
                  <a:gd name="T51" fmla="*/ 56 h 109"/>
                  <a:gd name="T52" fmla="*/ 10 w 88"/>
                  <a:gd name="T53" fmla="*/ 47 h 109"/>
                  <a:gd name="T54" fmla="*/ 4 w 88"/>
                  <a:gd name="T55" fmla="*/ 38 h 109"/>
                  <a:gd name="T56" fmla="*/ 9 w 88"/>
                  <a:gd name="T57" fmla="*/ 33 h 109"/>
                  <a:gd name="T58" fmla="*/ 16 w 88"/>
                  <a:gd name="T59" fmla="*/ 37 h 109"/>
                  <a:gd name="T60" fmla="*/ 16 w 88"/>
                  <a:gd name="T61" fmla="*/ 34 h 109"/>
                  <a:gd name="T62" fmla="*/ 14 w 88"/>
                  <a:gd name="T63" fmla="*/ 30 h 109"/>
                  <a:gd name="T64" fmla="*/ 11 w 88"/>
                  <a:gd name="T65" fmla="*/ 21 h 109"/>
                  <a:gd name="T66" fmla="*/ 14 w 88"/>
                  <a:gd name="T67" fmla="*/ 13 h 109"/>
                  <a:gd name="T68" fmla="*/ 27 w 88"/>
                  <a:gd name="T69" fmla="*/ 7 h 109"/>
                  <a:gd name="T70" fmla="*/ 39 w 88"/>
                  <a:gd name="T71" fmla="*/ 5 h 109"/>
                  <a:gd name="T72" fmla="*/ 44 w 88"/>
                  <a:gd name="T73" fmla="*/ 74 h 109"/>
                  <a:gd name="T74" fmla="*/ 49 w 88"/>
                  <a:gd name="T75" fmla="*/ 77 h 109"/>
                  <a:gd name="T76" fmla="*/ 9 w 88"/>
                  <a:gd name="T77" fmla="*/ 20 h 109"/>
                  <a:gd name="T78" fmla="*/ 9 w 88"/>
                  <a:gd name="T79" fmla="*/ 17 h 109"/>
                  <a:gd name="T80" fmla="*/ 7 w 88"/>
                  <a:gd name="T81" fmla="*/ 18 h 109"/>
                  <a:gd name="T82" fmla="*/ 7 w 88"/>
                  <a:gd name="T83" fmla="*/ 44 h 109"/>
                  <a:gd name="T84" fmla="*/ 7 w 88"/>
                  <a:gd name="T85" fmla="*/ 41 h 109"/>
                  <a:gd name="T86" fmla="*/ 6 w 88"/>
                  <a:gd name="T87" fmla="*/ 43 h 109"/>
                  <a:gd name="T88" fmla="*/ 13 w 88"/>
                  <a:gd name="T89" fmla="*/ 87 h 109"/>
                  <a:gd name="T90" fmla="*/ 13 w 88"/>
                  <a:gd name="T91" fmla="*/ 86 h 109"/>
                  <a:gd name="T92" fmla="*/ 11 w 88"/>
                  <a:gd name="T93" fmla="*/ 86 h 109"/>
                  <a:gd name="T94" fmla="*/ 4 w 88"/>
                  <a:gd name="T95" fmla="*/ 105 h 109"/>
                  <a:gd name="T96" fmla="*/ 10 w 88"/>
                  <a:gd name="T97" fmla="*/ 109 h 109"/>
                  <a:gd name="T98" fmla="*/ 13 w 88"/>
                  <a:gd name="T99" fmla="*/ 102 h 109"/>
                  <a:gd name="T100" fmla="*/ 36 w 88"/>
                  <a:gd name="T101" fmla="*/ 79 h 109"/>
                  <a:gd name="T102" fmla="*/ 36 w 88"/>
                  <a:gd name="T103" fmla="*/ 77 h 109"/>
                  <a:gd name="T104" fmla="*/ 33 w 88"/>
                  <a:gd name="T105" fmla="*/ 77 h 109"/>
                  <a:gd name="T106" fmla="*/ 31 w 88"/>
                  <a:gd name="T107" fmla="*/ 80 h 109"/>
                  <a:gd name="T108" fmla="*/ 31 w 88"/>
                  <a:gd name="T109" fmla="*/ 82 h 109"/>
                  <a:gd name="T110" fmla="*/ 1 w 88"/>
                  <a:gd name="T111" fmla="*/ 76 h 109"/>
                  <a:gd name="T112" fmla="*/ 3 w 88"/>
                  <a:gd name="T113" fmla="*/ 79 h 109"/>
                  <a:gd name="T114" fmla="*/ 3 w 88"/>
                  <a:gd name="T115" fmla="*/ 76 h 109"/>
                  <a:gd name="T116" fmla="*/ 3 w 88"/>
                  <a:gd name="T117" fmla="*/ 84 h 109"/>
                  <a:gd name="T118" fmla="*/ 6 w 88"/>
                  <a:gd name="T119" fmla="*/ 84 h 109"/>
                  <a:gd name="T120" fmla="*/ 4 w 88"/>
                  <a:gd name="T121" fmla="*/ 83 h 109"/>
                  <a:gd name="T122" fmla="*/ 88 w 88"/>
                  <a:gd name="T123"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8" h="109">
                    <a:moveTo>
                      <a:pt x="40" y="1"/>
                    </a:moveTo>
                    <a:lnTo>
                      <a:pt x="42" y="0"/>
                    </a:lnTo>
                    <a:lnTo>
                      <a:pt x="47" y="11"/>
                    </a:lnTo>
                    <a:lnTo>
                      <a:pt x="56" y="23"/>
                    </a:lnTo>
                    <a:lnTo>
                      <a:pt x="59" y="27"/>
                    </a:lnTo>
                    <a:lnTo>
                      <a:pt x="60" y="31"/>
                    </a:lnTo>
                    <a:lnTo>
                      <a:pt x="60" y="34"/>
                    </a:lnTo>
                    <a:lnTo>
                      <a:pt x="60" y="38"/>
                    </a:lnTo>
                    <a:lnTo>
                      <a:pt x="60" y="51"/>
                    </a:lnTo>
                    <a:lnTo>
                      <a:pt x="60" y="53"/>
                    </a:lnTo>
                    <a:lnTo>
                      <a:pt x="63" y="51"/>
                    </a:lnTo>
                    <a:lnTo>
                      <a:pt x="62" y="57"/>
                    </a:lnTo>
                    <a:lnTo>
                      <a:pt x="60" y="61"/>
                    </a:lnTo>
                    <a:lnTo>
                      <a:pt x="59" y="67"/>
                    </a:lnTo>
                    <a:lnTo>
                      <a:pt x="56" y="70"/>
                    </a:lnTo>
                    <a:lnTo>
                      <a:pt x="52" y="71"/>
                    </a:lnTo>
                    <a:lnTo>
                      <a:pt x="47" y="71"/>
                    </a:lnTo>
                    <a:lnTo>
                      <a:pt x="43" y="71"/>
                    </a:lnTo>
                    <a:lnTo>
                      <a:pt x="43" y="76"/>
                    </a:lnTo>
                    <a:lnTo>
                      <a:pt x="37" y="74"/>
                    </a:lnTo>
                    <a:lnTo>
                      <a:pt x="34" y="73"/>
                    </a:lnTo>
                    <a:lnTo>
                      <a:pt x="33" y="74"/>
                    </a:lnTo>
                    <a:lnTo>
                      <a:pt x="30" y="74"/>
                    </a:lnTo>
                    <a:lnTo>
                      <a:pt x="30" y="74"/>
                    </a:lnTo>
                    <a:lnTo>
                      <a:pt x="30" y="76"/>
                    </a:lnTo>
                    <a:lnTo>
                      <a:pt x="29" y="76"/>
                    </a:lnTo>
                    <a:lnTo>
                      <a:pt x="30" y="77"/>
                    </a:lnTo>
                    <a:lnTo>
                      <a:pt x="30" y="79"/>
                    </a:lnTo>
                    <a:lnTo>
                      <a:pt x="30" y="79"/>
                    </a:lnTo>
                    <a:lnTo>
                      <a:pt x="29" y="79"/>
                    </a:lnTo>
                    <a:lnTo>
                      <a:pt x="27" y="79"/>
                    </a:lnTo>
                    <a:lnTo>
                      <a:pt x="27" y="77"/>
                    </a:lnTo>
                    <a:lnTo>
                      <a:pt x="26" y="76"/>
                    </a:lnTo>
                    <a:lnTo>
                      <a:pt x="24" y="77"/>
                    </a:lnTo>
                    <a:lnTo>
                      <a:pt x="24" y="79"/>
                    </a:lnTo>
                    <a:lnTo>
                      <a:pt x="26" y="80"/>
                    </a:lnTo>
                    <a:lnTo>
                      <a:pt x="24" y="82"/>
                    </a:lnTo>
                    <a:lnTo>
                      <a:pt x="24" y="83"/>
                    </a:lnTo>
                    <a:lnTo>
                      <a:pt x="23" y="84"/>
                    </a:lnTo>
                    <a:lnTo>
                      <a:pt x="21" y="84"/>
                    </a:lnTo>
                    <a:lnTo>
                      <a:pt x="21" y="83"/>
                    </a:lnTo>
                    <a:lnTo>
                      <a:pt x="21" y="82"/>
                    </a:lnTo>
                    <a:lnTo>
                      <a:pt x="21" y="80"/>
                    </a:lnTo>
                    <a:lnTo>
                      <a:pt x="21" y="79"/>
                    </a:lnTo>
                    <a:lnTo>
                      <a:pt x="21" y="79"/>
                    </a:lnTo>
                    <a:lnTo>
                      <a:pt x="17" y="83"/>
                    </a:lnTo>
                    <a:lnTo>
                      <a:pt x="14" y="84"/>
                    </a:lnTo>
                    <a:lnTo>
                      <a:pt x="14" y="84"/>
                    </a:lnTo>
                    <a:lnTo>
                      <a:pt x="14" y="83"/>
                    </a:lnTo>
                    <a:lnTo>
                      <a:pt x="14" y="83"/>
                    </a:lnTo>
                    <a:lnTo>
                      <a:pt x="13" y="83"/>
                    </a:lnTo>
                    <a:lnTo>
                      <a:pt x="13" y="84"/>
                    </a:lnTo>
                    <a:lnTo>
                      <a:pt x="10" y="86"/>
                    </a:lnTo>
                    <a:lnTo>
                      <a:pt x="10" y="86"/>
                    </a:lnTo>
                    <a:lnTo>
                      <a:pt x="9" y="84"/>
                    </a:lnTo>
                    <a:lnTo>
                      <a:pt x="7" y="83"/>
                    </a:lnTo>
                    <a:lnTo>
                      <a:pt x="6" y="80"/>
                    </a:lnTo>
                    <a:lnTo>
                      <a:pt x="6" y="79"/>
                    </a:lnTo>
                    <a:lnTo>
                      <a:pt x="7" y="79"/>
                    </a:lnTo>
                    <a:lnTo>
                      <a:pt x="10" y="79"/>
                    </a:lnTo>
                    <a:lnTo>
                      <a:pt x="9" y="79"/>
                    </a:lnTo>
                    <a:lnTo>
                      <a:pt x="9" y="77"/>
                    </a:lnTo>
                    <a:lnTo>
                      <a:pt x="10" y="77"/>
                    </a:lnTo>
                    <a:lnTo>
                      <a:pt x="10" y="77"/>
                    </a:lnTo>
                    <a:lnTo>
                      <a:pt x="9" y="77"/>
                    </a:lnTo>
                    <a:lnTo>
                      <a:pt x="7" y="76"/>
                    </a:lnTo>
                    <a:lnTo>
                      <a:pt x="6" y="73"/>
                    </a:lnTo>
                    <a:lnTo>
                      <a:pt x="6" y="70"/>
                    </a:lnTo>
                    <a:lnTo>
                      <a:pt x="6" y="69"/>
                    </a:lnTo>
                    <a:lnTo>
                      <a:pt x="7" y="66"/>
                    </a:lnTo>
                    <a:lnTo>
                      <a:pt x="9" y="63"/>
                    </a:lnTo>
                    <a:lnTo>
                      <a:pt x="11" y="61"/>
                    </a:lnTo>
                    <a:lnTo>
                      <a:pt x="9" y="61"/>
                    </a:lnTo>
                    <a:lnTo>
                      <a:pt x="9" y="60"/>
                    </a:lnTo>
                    <a:lnTo>
                      <a:pt x="11" y="59"/>
                    </a:lnTo>
                    <a:lnTo>
                      <a:pt x="13" y="57"/>
                    </a:lnTo>
                    <a:lnTo>
                      <a:pt x="13" y="56"/>
                    </a:lnTo>
                    <a:lnTo>
                      <a:pt x="13" y="56"/>
                    </a:lnTo>
                    <a:lnTo>
                      <a:pt x="11" y="54"/>
                    </a:lnTo>
                    <a:lnTo>
                      <a:pt x="10" y="51"/>
                    </a:lnTo>
                    <a:lnTo>
                      <a:pt x="10" y="47"/>
                    </a:lnTo>
                    <a:lnTo>
                      <a:pt x="9" y="38"/>
                    </a:lnTo>
                    <a:lnTo>
                      <a:pt x="6" y="40"/>
                    </a:lnTo>
                    <a:lnTo>
                      <a:pt x="4" y="38"/>
                    </a:lnTo>
                    <a:lnTo>
                      <a:pt x="4" y="37"/>
                    </a:lnTo>
                    <a:lnTo>
                      <a:pt x="6" y="34"/>
                    </a:lnTo>
                    <a:lnTo>
                      <a:pt x="9" y="33"/>
                    </a:lnTo>
                    <a:lnTo>
                      <a:pt x="11" y="33"/>
                    </a:lnTo>
                    <a:lnTo>
                      <a:pt x="14" y="34"/>
                    </a:lnTo>
                    <a:lnTo>
                      <a:pt x="16" y="37"/>
                    </a:lnTo>
                    <a:lnTo>
                      <a:pt x="17" y="36"/>
                    </a:lnTo>
                    <a:lnTo>
                      <a:pt x="17" y="34"/>
                    </a:lnTo>
                    <a:lnTo>
                      <a:pt x="16" y="34"/>
                    </a:lnTo>
                    <a:lnTo>
                      <a:pt x="16" y="33"/>
                    </a:lnTo>
                    <a:lnTo>
                      <a:pt x="14" y="31"/>
                    </a:lnTo>
                    <a:lnTo>
                      <a:pt x="14" y="30"/>
                    </a:lnTo>
                    <a:lnTo>
                      <a:pt x="14" y="28"/>
                    </a:lnTo>
                    <a:lnTo>
                      <a:pt x="14" y="27"/>
                    </a:lnTo>
                    <a:lnTo>
                      <a:pt x="11" y="21"/>
                    </a:lnTo>
                    <a:lnTo>
                      <a:pt x="10" y="20"/>
                    </a:lnTo>
                    <a:lnTo>
                      <a:pt x="11" y="17"/>
                    </a:lnTo>
                    <a:lnTo>
                      <a:pt x="14" y="13"/>
                    </a:lnTo>
                    <a:lnTo>
                      <a:pt x="17" y="8"/>
                    </a:lnTo>
                    <a:lnTo>
                      <a:pt x="21" y="7"/>
                    </a:lnTo>
                    <a:lnTo>
                      <a:pt x="27" y="7"/>
                    </a:lnTo>
                    <a:lnTo>
                      <a:pt x="34" y="7"/>
                    </a:lnTo>
                    <a:lnTo>
                      <a:pt x="36" y="7"/>
                    </a:lnTo>
                    <a:lnTo>
                      <a:pt x="39" y="5"/>
                    </a:lnTo>
                    <a:lnTo>
                      <a:pt x="39" y="4"/>
                    </a:lnTo>
                    <a:lnTo>
                      <a:pt x="40" y="1"/>
                    </a:lnTo>
                    <a:close/>
                    <a:moveTo>
                      <a:pt x="44" y="74"/>
                    </a:moveTo>
                    <a:lnTo>
                      <a:pt x="44" y="77"/>
                    </a:lnTo>
                    <a:lnTo>
                      <a:pt x="46" y="79"/>
                    </a:lnTo>
                    <a:lnTo>
                      <a:pt x="49" y="77"/>
                    </a:lnTo>
                    <a:lnTo>
                      <a:pt x="47" y="73"/>
                    </a:lnTo>
                    <a:lnTo>
                      <a:pt x="44" y="74"/>
                    </a:lnTo>
                    <a:close/>
                    <a:moveTo>
                      <a:pt x="9" y="20"/>
                    </a:moveTo>
                    <a:lnTo>
                      <a:pt x="9" y="21"/>
                    </a:lnTo>
                    <a:lnTo>
                      <a:pt x="10" y="18"/>
                    </a:lnTo>
                    <a:lnTo>
                      <a:pt x="9" y="17"/>
                    </a:lnTo>
                    <a:lnTo>
                      <a:pt x="9" y="17"/>
                    </a:lnTo>
                    <a:lnTo>
                      <a:pt x="7" y="17"/>
                    </a:lnTo>
                    <a:lnTo>
                      <a:pt x="7" y="18"/>
                    </a:lnTo>
                    <a:lnTo>
                      <a:pt x="7" y="20"/>
                    </a:lnTo>
                    <a:lnTo>
                      <a:pt x="9" y="20"/>
                    </a:lnTo>
                    <a:close/>
                    <a:moveTo>
                      <a:pt x="7" y="44"/>
                    </a:moveTo>
                    <a:lnTo>
                      <a:pt x="7" y="43"/>
                    </a:lnTo>
                    <a:lnTo>
                      <a:pt x="7" y="43"/>
                    </a:lnTo>
                    <a:lnTo>
                      <a:pt x="7" y="41"/>
                    </a:lnTo>
                    <a:lnTo>
                      <a:pt x="6" y="41"/>
                    </a:lnTo>
                    <a:lnTo>
                      <a:pt x="6" y="41"/>
                    </a:lnTo>
                    <a:lnTo>
                      <a:pt x="6" y="43"/>
                    </a:lnTo>
                    <a:lnTo>
                      <a:pt x="7" y="44"/>
                    </a:lnTo>
                    <a:lnTo>
                      <a:pt x="7" y="44"/>
                    </a:lnTo>
                    <a:close/>
                    <a:moveTo>
                      <a:pt x="13" y="87"/>
                    </a:moveTo>
                    <a:lnTo>
                      <a:pt x="14" y="87"/>
                    </a:lnTo>
                    <a:lnTo>
                      <a:pt x="13" y="86"/>
                    </a:lnTo>
                    <a:lnTo>
                      <a:pt x="13" y="86"/>
                    </a:lnTo>
                    <a:lnTo>
                      <a:pt x="13" y="86"/>
                    </a:lnTo>
                    <a:lnTo>
                      <a:pt x="11" y="86"/>
                    </a:lnTo>
                    <a:lnTo>
                      <a:pt x="11" y="86"/>
                    </a:lnTo>
                    <a:lnTo>
                      <a:pt x="11" y="87"/>
                    </a:lnTo>
                    <a:lnTo>
                      <a:pt x="13" y="87"/>
                    </a:lnTo>
                    <a:close/>
                    <a:moveTo>
                      <a:pt x="4" y="105"/>
                    </a:moveTo>
                    <a:lnTo>
                      <a:pt x="4" y="109"/>
                    </a:lnTo>
                    <a:lnTo>
                      <a:pt x="6" y="109"/>
                    </a:lnTo>
                    <a:lnTo>
                      <a:pt x="10" y="109"/>
                    </a:lnTo>
                    <a:lnTo>
                      <a:pt x="14" y="107"/>
                    </a:lnTo>
                    <a:lnTo>
                      <a:pt x="17" y="105"/>
                    </a:lnTo>
                    <a:lnTo>
                      <a:pt x="13" y="102"/>
                    </a:lnTo>
                    <a:lnTo>
                      <a:pt x="9" y="103"/>
                    </a:lnTo>
                    <a:lnTo>
                      <a:pt x="4" y="105"/>
                    </a:lnTo>
                    <a:close/>
                    <a:moveTo>
                      <a:pt x="36" y="79"/>
                    </a:moveTo>
                    <a:lnTo>
                      <a:pt x="36" y="79"/>
                    </a:lnTo>
                    <a:lnTo>
                      <a:pt x="36" y="79"/>
                    </a:lnTo>
                    <a:lnTo>
                      <a:pt x="36" y="77"/>
                    </a:lnTo>
                    <a:lnTo>
                      <a:pt x="34" y="74"/>
                    </a:lnTo>
                    <a:lnTo>
                      <a:pt x="33" y="76"/>
                    </a:lnTo>
                    <a:lnTo>
                      <a:pt x="33" y="77"/>
                    </a:lnTo>
                    <a:lnTo>
                      <a:pt x="34" y="77"/>
                    </a:lnTo>
                    <a:lnTo>
                      <a:pt x="36" y="79"/>
                    </a:lnTo>
                    <a:close/>
                    <a:moveTo>
                      <a:pt x="31" y="80"/>
                    </a:moveTo>
                    <a:lnTo>
                      <a:pt x="31" y="80"/>
                    </a:lnTo>
                    <a:lnTo>
                      <a:pt x="31" y="82"/>
                    </a:lnTo>
                    <a:lnTo>
                      <a:pt x="31" y="82"/>
                    </a:lnTo>
                    <a:lnTo>
                      <a:pt x="31" y="80"/>
                    </a:lnTo>
                    <a:close/>
                    <a:moveTo>
                      <a:pt x="3" y="76"/>
                    </a:moveTo>
                    <a:lnTo>
                      <a:pt x="1" y="76"/>
                    </a:lnTo>
                    <a:lnTo>
                      <a:pt x="0" y="76"/>
                    </a:lnTo>
                    <a:lnTo>
                      <a:pt x="1" y="79"/>
                    </a:lnTo>
                    <a:lnTo>
                      <a:pt x="3" y="79"/>
                    </a:lnTo>
                    <a:lnTo>
                      <a:pt x="3" y="79"/>
                    </a:lnTo>
                    <a:lnTo>
                      <a:pt x="3" y="77"/>
                    </a:lnTo>
                    <a:lnTo>
                      <a:pt x="3" y="76"/>
                    </a:lnTo>
                    <a:close/>
                    <a:moveTo>
                      <a:pt x="4" y="83"/>
                    </a:moveTo>
                    <a:lnTo>
                      <a:pt x="3" y="83"/>
                    </a:lnTo>
                    <a:lnTo>
                      <a:pt x="3" y="84"/>
                    </a:lnTo>
                    <a:lnTo>
                      <a:pt x="3" y="86"/>
                    </a:lnTo>
                    <a:lnTo>
                      <a:pt x="4" y="86"/>
                    </a:lnTo>
                    <a:lnTo>
                      <a:pt x="6" y="84"/>
                    </a:lnTo>
                    <a:lnTo>
                      <a:pt x="7" y="83"/>
                    </a:lnTo>
                    <a:lnTo>
                      <a:pt x="6" y="83"/>
                    </a:lnTo>
                    <a:lnTo>
                      <a:pt x="4" y="83"/>
                    </a:lnTo>
                    <a:close/>
                    <a:moveTo>
                      <a:pt x="85" y="23"/>
                    </a:moveTo>
                    <a:lnTo>
                      <a:pt x="86" y="23"/>
                    </a:lnTo>
                    <a:lnTo>
                      <a:pt x="88" y="23"/>
                    </a:lnTo>
                    <a:lnTo>
                      <a:pt x="85" y="23"/>
                    </a:lnTo>
                    <a:lnTo>
                      <a:pt x="85" y="2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7" name="Freeform 143">
                <a:extLst>
                  <a:ext uri="{FF2B5EF4-FFF2-40B4-BE49-F238E27FC236}">
                    <a16:creationId xmlns:a16="http://schemas.microsoft.com/office/drawing/2014/main" id="{CA809D54-B264-EB8F-6102-002E1AB8EBE0}"/>
                  </a:ext>
                </a:extLst>
              </p:cNvPr>
              <p:cNvSpPr>
                <a:spLocks noEditPoints="1"/>
              </p:cNvSpPr>
              <p:nvPr/>
            </p:nvSpPr>
            <p:spPr bwMode="auto">
              <a:xfrm>
                <a:off x="8773520" y="2847212"/>
                <a:ext cx="562478" cy="627547"/>
              </a:xfrm>
              <a:custGeom>
                <a:avLst/>
                <a:gdLst>
                  <a:gd name="T0" fmla="*/ 288 w 389"/>
                  <a:gd name="T1" fmla="*/ 90 h 434"/>
                  <a:gd name="T2" fmla="*/ 293 w 389"/>
                  <a:gd name="T3" fmla="*/ 70 h 434"/>
                  <a:gd name="T4" fmla="*/ 324 w 389"/>
                  <a:gd name="T5" fmla="*/ 69 h 434"/>
                  <a:gd name="T6" fmla="*/ 360 w 389"/>
                  <a:gd name="T7" fmla="*/ 57 h 434"/>
                  <a:gd name="T8" fmla="*/ 383 w 389"/>
                  <a:gd name="T9" fmla="*/ 50 h 434"/>
                  <a:gd name="T10" fmla="*/ 350 w 389"/>
                  <a:gd name="T11" fmla="*/ 28 h 434"/>
                  <a:gd name="T12" fmla="*/ 317 w 389"/>
                  <a:gd name="T13" fmla="*/ 20 h 434"/>
                  <a:gd name="T14" fmla="*/ 294 w 389"/>
                  <a:gd name="T15" fmla="*/ 49 h 434"/>
                  <a:gd name="T16" fmla="*/ 303 w 389"/>
                  <a:gd name="T17" fmla="*/ 0 h 434"/>
                  <a:gd name="T18" fmla="*/ 261 w 389"/>
                  <a:gd name="T19" fmla="*/ 165 h 434"/>
                  <a:gd name="T20" fmla="*/ 96 w 389"/>
                  <a:gd name="T21" fmla="*/ 356 h 434"/>
                  <a:gd name="T22" fmla="*/ 117 w 389"/>
                  <a:gd name="T23" fmla="*/ 276 h 434"/>
                  <a:gd name="T24" fmla="*/ 186 w 389"/>
                  <a:gd name="T25" fmla="*/ 234 h 434"/>
                  <a:gd name="T26" fmla="*/ 198 w 389"/>
                  <a:gd name="T27" fmla="*/ 234 h 434"/>
                  <a:gd name="T28" fmla="*/ 156 w 389"/>
                  <a:gd name="T29" fmla="*/ 251 h 434"/>
                  <a:gd name="T30" fmla="*/ 176 w 389"/>
                  <a:gd name="T31" fmla="*/ 240 h 434"/>
                  <a:gd name="T32" fmla="*/ 191 w 389"/>
                  <a:gd name="T33" fmla="*/ 250 h 434"/>
                  <a:gd name="T34" fmla="*/ 158 w 389"/>
                  <a:gd name="T35" fmla="*/ 268 h 434"/>
                  <a:gd name="T36" fmla="*/ 153 w 389"/>
                  <a:gd name="T37" fmla="*/ 257 h 434"/>
                  <a:gd name="T38" fmla="*/ 93 w 389"/>
                  <a:gd name="T39" fmla="*/ 363 h 434"/>
                  <a:gd name="T40" fmla="*/ 1 w 389"/>
                  <a:gd name="T41" fmla="*/ 431 h 434"/>
                  <a:gd name="T42" fmla="*/ 27 w 389"/>
                  <a:gd name="T43" fmla="*/ 424 h 434"/>
                  <a:gd name="T44" fmla="*/ 102 w 389"/>
                  <a:gd name="T45" fmla="*/ 355 h 434"/>
                  <a:gd name="T46" fmla="*/ 106 w 389"/>
                  <a:gd name="T47" fmla="*/ 248 h 434"/>
                  <a:gd name="T48" fmla="*/ 123 w 389"/>
                  <a:gd name="T49" fmla="*/ 245 h 434"/>
                  <a:gd name="T50" fmla="*/ 143 w 389"/>
                  <a:gd name="T51" fmla="*/ 263 h 434"/>
                  <a:gd name="T52" fmla="*/ 133 w 389"/>
                  <a:gd name="T53" fmla="*/ 294 h 434"/>
                  <a:gd name="T54" fmla="*/ 123 w 389"/>
                  <a:gd name="T55" fmla="*/ 300 h 434"/>
                  <a:gd name="T56" fmla="*/ 115 w 389"/>
                  <a:gd name="T57" fmla="*/ 296 h 434"/>
                  <a:gd name="T58" fmla="*/ 117 w 389"/>
                  <a:gd name="T59" fmla="*/ 263 h 434"/>
                  <a:gd name="T60" fmla="*/ 110 w 389"/>
                  <a:gd name="T61" fmla="*/ 270 h 434"/>
                  <a:gd name="T62" fmla="*/ 106 w 389"/>
                  <a:gd name="T63" fmla="*/ 263 h 434"/>
                  <a:gd name="T64" fmla="*/ 204 w 389"/>
                  <a:gd name="T65" fmla="*/ 212 h 434"/>
                  <a:gd name="T66" fmla="*/ 217 w 389"/>
                  <a:gd name="T67" fmla="*/ 204 h 434"/>
                  <a:gd name="T68" fmla="*/ 234 w 389"/>
                  <a:gd name="T69" fmla="*/ 179 h 434"/>
                  <a:gd name="T70" fmla="*/ 257 w 389"/>
                  <a:gd name="T71" fmla="*/ 179 h 434"/>
                  <a:gd name="T72" fmla="*/ 287 w 389"/>
                  <a:gd name="T73" fmla="*/ 135 h 434"/>
                  <a:gd name="T74" fmla="*/ 287 w 389"/>
                  <a:gd name="T75" fmla="*/ 106 h 434"/>
                  <a:gd name="T76" fmla="*/ 301 w 389"/>
                  <a:gd name="T77" fmla="*/ 103 h 434"/>
                  <a:gd name="T78" fmla="*/ 300 w 389"/>
                  <a:gd name="T79" fmla="*/ 95 h 434"/>
                  <a:gd name="T80" fmla="*/ 316 w 389"/>
                  <a:gd name="T81" fmla="*/ 113 h 434"/>
                  <a:gd name="T82" fmla="*/ 313 w 389"/>
                  <a:gd name="T83" fmla="*/ 153 h 434"/>
                  <a:gd name="T84" fmla="*/ 297 w 389"/>
                  <a:gd name="T85" fmla="*/ 198 h 434"/>
                  <a:gd name="T86" fmla="*/ 285 w 389"/>
                  <a:gd name="T87" fmla="*/ 227 h 434"/>
                  <a:gd name="T88" fmla="*/ 283 w 389"/>
                  <a:gd name="T89" fmla="*/ 212 h 434"/>
                  <a:gd name="T90" fmla="*/ 264 w 389"/>
                  <a:gd name="T91" fmla="*/ 230 h 434"/>
                  <a:gd name="T92" fmla="*/ 238 w 389"/>
                  <a:gd name="T93" fmla="*/ 230 h 434"/>
                  <a:gd name="T94" fmla="*/ 228 w 389"/>
                  <a:gd name="T95" fmla="*/ 225 h 434"/>
                  <a:gd name="T96" fmla="*/ 209 w 389"/>
                  <a:gd name="T97" fmla="*/ 254 h 434"/>
                  <a:gd name="T98" fmla="*/ 204 w 389"/>
                  <a:gd name="T99" fmla="*/ 231 h 434"/>
                  <a:gd name="T100" fmla="*/ 148 w 389"/>
                  <a:gd name="T101" fmla="*/ 245 h 434"/>
                  <a:gd name="T102" fmla="*/ 129 w 389"/>
                  <a:gd name="T103" fmla="*/ 237 h 434"/>
                  <a:gd name="T104" fmla="*/ 171 w 389"/>
                  <a:gd name="T105" fmla="*/ 199 h 434"/>
                  <a:gd name="T106" fmla="*/ 93 w 389"/>
                  <a:gd name="T107" fmla="*/ 266 h 434"/>
                  <a:gd name="T108" fmla="*/ 99 w 389"/>
                  <a:gd name="T109" fmla="*/ 261 h 434"/>
                  <a:gd name="T110" fmla="*/ 74 w 389"/>
                  <a:gd name="T111" fmla="*/ 388 h 434"/>
                  <a:gd name="T112" fmla="*/ 80 w 389"/>
                  <a:gd name="T113" fmla="*/ 382 h 434"/>
                  <a:gd name="T114" fmla="*/ 105 w 389"/>
                  <a:gd name="T115" fmla="*/ 290 h 434"/>
                  <a:gd name="T116" fmla="*/ 115 w 389"/>
                  <a:gd name="T117" fmla="*/ 277 h 434"/>
                  <a:gd name="T118" fmla="*/ 129 w 389"/>
                  <a:gd name="T119" fmla="*/ 309 h 434"/>
                  <a:gd name="T120" fmla="*/ 284 w 389"/>
                  <a:gd name="T121" fmla="*/ 263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9" h="434">
                    <a:moveTo>
                      <a:pt x="278" y="76"/>
                    </a:moveTo>
                    <a:lnTo>
                      <a:pt x="277" y="76"/>
                    </a:lnTo>
                    <a:lnTo>
                      <a:pt x="277" y="74"/>
                    </a:lnTo>
                    <a:lnTo>
                      <a:pt x="278" y="73"/>
                    </a:lnTo>
                    <a:lnTo>
                      <a:pt x="278" y="76"/>
                    </a:lnTo>
                    <a:close/>
                    <a:moveTo>
                      <a:pt x="284" y="64"/>
                    </a:moveTo>
                    <a:lnTo>
                      <a:pt x="283" y="70"/>
                    </a:lnTo>
                    <a:lnTo>
                      <a:pt x="284" y="73"/>
                    </a:lnTo>
                    <a:lnTo>
                      <a:pt x="287" y="77"/>
                    </a:lnTo>
                    <a:lnTo>
                      <a:pt x="288" y="80"/>
                    </a:lnTo>
                    <a:lnTo>
                      <a:pt x="287" y="83"/>
                    </a:lnTo>
                    <a:lnTo>
                      <a:pt x="287" y="86"/>
                    </a:lnTo>
                    <a:lnTo>
                      <a:pt x="287" y="89"/>
                    </a:lnTo>
                    <a:lnTo>
                      <a:pt x="288" y="90"/>
                    </a:lnTo>
                    <a:lnTo>
                      <a:pt x="290" y="90"/>
                    </a:lnTo>
                    <a:lnTo>
                      <a:pt x="293" y="89"/>
                    </a:lnTo>
                    <a:lnTo>
                      <a:pt x="296" y="84"/>
                    </a:lnTo>
                    <a:lnTo>
                      <a:pt x="298" y="83"/>
                    </a:lnTo>
                    <a:lnTo>
                      <a:pt x="304" y="84"/>
                    </a:lnTo>
                    <a:lnTo>
                      <a:pt x="307" y="83"/>
                    </a:lnTo>
                    <a:lnTo>
                      <a:pt x="306" y="82"/>
                    </a:lnTo>
                    <a:lnTo>
                      <a:pt x="300" y="77"/>
                    </a:lnTo>
                    <a:lnTo>
                      <a:pt x="298" y="77"/>
                    </a:lnTo>
                    <a:lnTo>
                      <a:pt x="298" y="76"/>
                    </a:lnTo>
                    <a:lnTo>
                      <a:pt x="296" y="76"/>
                    </a:lnTo>
                    <a:lnTo>
                      <a:pt x="294" y="74"/>
                    </a:lnTo>
                    <a:lnTo>
                      <a:pt x="293" y="72"/>
                    </a:lnTo>
                    <a:lnTo>
                      <a:pt x="293" y="70"/>
                    </a:lnTo>
                    <a:lnTo>
                      <a:pt x="293" y="67"/>
                    </a:lnTo>
                    <a:lnTo>
                      <a:pt x="296" y="66"/>
                    </a:lnTo>
                    <a:lnTo>
                      <a:pt x="298" y="67"/>
                    </a:lnTo>
                    <a:lnTo>
                      <a:pt x="301" y="69"/>
                    </a:lnTo>
                    <a:lnTo>
                      <a:pt x="303" y="70"/>
                    </a:lnTo>
                    <a:lnTo>
                      <a:pt x="304" y="70"/>
                    </a:lnTo>
                    <a:lnTo>
                      <a:pt x="307" y="69"/>
                    </a:lnTo>
                    <a:lnTo>
                      <a:pt x="308" y="67"/>
                    </a:lnTo>
                    <a:lnTo>
                      <a:pt x="310" y="67"/>
                    </a:lnTo>
                    <a:lnTo>
                      <a:pt x="311" y="66"/>
                    </a:lnTo>
                    <a:lnTo>
                      <a:pt x="314" y="66"/>
                    </a:lnTo>
                    <a:lnTo>
                      <a:pt x="316" y="66"/>
                    </a:lnTo>
                    <a:lnTo>
                      <a:pt x="319" y="66"/>
                    </a:lnTo>
                    <a:lnTo>
                      <a:pt x="324" y="69"/>
                    </a:lnTo>
                    <a:lnTo>
                      <a:pt x="331" y="73"/>
                    </a:lnTo>
                    <a:lnTo>
                      <a:pt x="339" y="77"/>
                    </a:lnTo>
                    <a:lnTo>
                      <a:pt x="344" y="77"/>
                    </a:lnTo>
                    <a:lnTo>
                      <a:pt x="344" y="76"/>
                    </a:lnTo>
                    <a:lnTo>
                      <a:pt x="344" y="74"/>
                    </a:lnTo>
                    <a:lnTo>
                      <a:pt x="346" y="73"/>
                    </a:lnTo>
                    <a:lnTo>
                      <a:pt x="346" y="72"/>
                    </a:lnTo>
                    <a:lnTo>
                      <a:pt x="346" y="70"/>
                    </a:lnTo>
                    <a:lnTo>
                      <a:pt x="347" y="69"/>
                    </a:lnTo>
                    <a:lnTo>
                      <a:pt x="349" y="66"/>
                    </a:lnTo>
                    <a:lnTo>
                      <a:pt x="352" y="63"/>
                    </a:lnTo>
                    <a:lnTo>
                      <a:pt x="354" y="60"/>
                    </a:lnTo>
                    <a:lnTo>
                      <a:pt x="357" y="59"/>
                    </a:lnTo>
                    <a:lnTo>
                      <a:pt x="360" y="57"/>
                    </a:lnTo>
                    <a:lnTo>
                      <a:pt x="362" y="57"/>
                    </a:lnTo>
                    <a:lnTo>
                      <a:pt x="366" y="57"/>
                    </a:lnTo>
                    <a:lnTo>
                      <a:pt x="369" y="57"/>
                    </a:lnTo>
                    <a:lnTo>
                      <a:pt x="370" y="57"/>
                    </a:lnTo>
                    <a:lnTo>
                      <a:pt x="373" y="56"/>
                    </a:lnTo>
                    <a:lnTo>
                      <a:pt x="376" y="54"/>
                    </a:lnTo>
                    <a:lnTo>
                      <a:pt x="379" y="53"/>
                    </a:lnTo>
                    <a:lnTo>
                      <a:pt x="382" y="53"/>
                    </a:lnTo>
                    <a:lnTo>
                      <a:pt x="383" y="53"/>
                    </a:lnTo>
                    <a:lnTo>
                      <a:pt x="385" y="51"/>
                    </a:lnTo>
                    <a:lnTo>
                      <a:pt x="387" y="49"/>
                    </a:lnTo>
                    <a:lnTo>
                      <a:pt x="389" y="47"/>
                    </a:lnTo>
                    <a:lnTo>
                      <a:pt x="386" y="47"/>
                    </a:lnTo>
                    <a:lnTo>
                      <a:pt x="383" y="50"/>
                    </a:lnTo>
                    <a:lnTo>
                      <a:pt x="380" y="50"/>
                    </a:lnTo>
                    <a:lnTo>
                      <a:pt x="376" y="40"/>
                    </a:lnTo>
                    <a:lnTo>
                      <a:pt x="376" y="39"/>
                    </a:lnTo>
                    <a:lnTo>
                      <a:pt x="377" y="34"/>
                    </a:lnTo>
                    <a:lnTo>
                      <a:pt x="380" y="30"/>
                    </a:lnTo>
                    <a:lnTo>
                      <a:pt x="380" y="26"/>
                    </a:lnTo>
                    <a:lnTo>
                      <a:pt x="379" y="27"/>
                    </a:lnTo>
                    <a:lnTo>
                      <a:pt x="375" y="33"/>
                    </a:lnTo>
                    <a:lnTo>
                      <a:pt x="372" y="34"/>
                    </a:lnTo>
                    <a:lnTo>
                      <a:pt x="369" y="36"/>
                    </a:lnTo>
                    <a:lnTo>
                      <a:pt x="366" y="34"/>
                    </a:lnTo>
                    <a:lnTo>
                      <a:pt x="360" y="33"/>
                    </a:lnTo>
                    <a:lnTo>
                      <a:pt x="353" y="30"/>
                    </a:lnTo>
                    <a:lnTo>
                      <a:pt x="350" y="28"/>
                    </a:lnTo>
                    <a:lnTo>
                      <a:pt x="346" y="26"/>
                    </a:lnTo>
                    <a:lnTo>
                      <a:pt x="340" y="21"/>
                    </a:lnTo>
                    <a:lnTo>
                      <a:pt x="336" y="17"/>
                    </a:lnTo>
                    <a:lnTo>
                      <a:pt x="323" y="1"/>
                    </a:lnTo>
                    <a:lnTo>
                      <a:pt x="321" y="0"/>
                    </a:lnTo>
                    <a:lnTo>
                      <a:pt x="320" y="0"/>
                    </a:lnTo>
                    <a:lnTo>
                      <a:pt x="317" y="1"/>
                    </a:lnTo>
                    <a:lnTo>
                      <a:pt x="316" y="3"/>
                    </a:lnTo>
                    <a:lnTo>
                      <a:pt x="316" y="3"/>
                    </a:lnTo>
                    <a:lnTo>
                      <a:pt x="314" y="5"/>
                    </a:lnTo>
                    <a:lnTo>
                      <a:pt x="314" y="7"/>
                    </a:lnTo>
                    <a:lnTo>
                      <a:pt x="314" y="10"/>
                    </a:lnTo>
                    <a:lnTo>
                      <a:pt x="317" y="16"/>
                    </a:lnTo>
                    <a:lnTo>
                      <a:pt x="317" y="20"/>
                    </a:lnTo>
                    <a:lnTo>
                      <a:pt x="317" y="23"/>
                    </a:lnTo>
                    <a:lnTo>
                      <a:pt x="316" y="31"/>
                    </a:lnTo>
                    <a:lnTo>
                      <a:pt x="314" y="34"/>
                    </a:lnTo>
                    <a:lnTo>
                      <a:pt x="311" y="40"/>
                    </a:lnTo>
                    <a:lnTo>
                      <a:pt x="311" y="41"/>
                    </a:lnTo>
                    <a:lnTo>
                      <a:pt x="311" y="44"/>
                    </a:lnTo>
                    <a:lnTo>
                      <a:pt x="311" y="47"/>
                    </a:lnTo>
                    <a:lnTo>
                      <a:pt x="310" y="50"/>
                    </a:lnTo>
                    <a:lnTo>
                      <a:pt x="308" y="51"/>
                    </a:lnTo>
                    <a:lnTo>
                      <a:pt x="306" y="53"/>
                    </a:lnTo>
                    <a:lnTo>
                      <a:pt x="303" y="51"/>
                    </a:lnTo>
                    <a:lnTo>
                      <a:pt x="298" y="50"/>
                    </a:lnTo>
                    <a:lnTo>
                      <a:pt x="296" y="49"/>
                    </a:lnTo>
                    <a:lnTo>
                      <a:pt x="294" y="49"/>
                    </a:lnTo>
                    <a:lnTo>
                      <a:pt x="293" y="50"/>
                    </a:lnTo>
                    <a:lnTo>
                      <a:pt x="293" y="51"/>
                    </a:lnTo>
                    <a:lnTo>
                      <a:pt x="294" y="53"/>
                    </a:lnTo>
                    <a:lnTo>
                      <a:pt x="294" y="54"/>
                    </a:lnTo>
                    <a:lnTo>
                      <a:pt x="296" y="54"/>
                    </a:lnTo>
                    <a:lnTo>
                      <a:pt x="293" y="60"/>
                    </a:lnTo>
                    <a:lnTo>
                      <a:pt x="284" y="64"/>
                    </a:lnTo>
                    <a:close/>
                    <a:moveTo>
                      <a:pt x="304" y="4"/>
                    </a:moveTo>
                    <a:lnTo>
                      <a:pt x="304" y="4"/>
                    </a:lnTo>
                    <a:lnTo>
                      <a:pt x="306" y="3"/>
                    </a:lnTo>
                    <a:lnTo>
                      <a:pt x="306" y="1"/>
                    </a:lnTo>
                    <a:lnTo>
                      <a:pt x="306" y="1"/>
                    </a:lnTo>
                    <a:lnTo>
                      <a:pt x="304" y="0"/>
                    </a:lnTo>
                    <a:lnTo>
                      <a:pt x="303" y="0"/>
                    </a:lnTo>
                    <a:lnTo>
                      <a:pt x="303" y="1"/>
                    </a:lnTo>
                    <a:lnTo>
                      <a:pt x="304" y="3"/>
                    </a:lnTo>
                    <a:lnTo>
                      <a:pt x="304" y="4"/>
                    </a:lnTo>
                    <a:close/>
                    <a:moveTo>
                      <a:pt x="308" y="5"/>
                    </a:moveTo>
                    <a:lnTo>
                      <a:pt x="307" y="7"/>
                    </a:lnTo>
                    <a:lnTo>
                      <a:pt x="307" y="8"/>
                    </a:lnTo>
                    <a:lnTo>
                      <a:pt x="310" y="7"/>
                    </a:lnTo>
                    <a:lnTo>
                      <a:pt x="308" y="5"/>
                    </a:lnTo>
                    <a:close/>
                    <a:moveTo>
                      <a:pt x="257" y="165"/>
                    </a:moveTo>
                    <a:lnTo>
                      <a:pt x="255" y="166"/>
                    </a:lnTo>
                    <a:lnTo>
                      <a:pt x="255" y="166"/>
                    </a:lnTo>
                    <a:lnTo>
                      <a:pt x="257" y="166"/>
                    </a:lnTo>
                    <a:lnTo>
                      <a:pt x="260" y="166"/>
                    </a:lnTo>
                    <a:lnTo>
                      <a:pt x="261" y="165"/>
                    </a:lnTo>
                    <a:lnTo>
                      <a:pt x="261" y="162"/>
                    </a:lnTo>
                    <a:lnTo>
                      <a:pt x="260" y="162"/>
                    </a:lnTo>
                    <a:lnTo>
                      <a:pt x="260" y="159"/>
                    </a:lnTo>
                    <a:lnTo>
                      <a:pt x="260" y="158"/>
                    </a:lnTo>
                    <a:lnTo>
                      <a:pt x="260" y="158"/>
                    </a:lnTo>
                    <a:lnTo>
                      <a:pt x="258" y="158"/>
                    </a:lnTo>
                    <a:lnTo>
                      <a:pt x="257" y="161"/>
                    </a:lnTo>
                    <a:lnTo>
                      <a:pt x="255" y="162"/>
                    </a:lnTo>
                    <a:lnTo>
                      <a:pt x="257" y="164"/>
                    </a:lnTo>
                    <a:lnTo>
                      <a:pt x="257" y="165"/>
                    </a:lnTo>
                    <a:lnTo>
                      <a:pt x="257" y="165"/>
                    </a:lnTo>
                    <a:close/>
                    <a:moveTo>
                      <a:pt x="97" y="358"/>
                    </a:moveTo>
                    <a:lnTo>
                      <a:pt x="97" y="356"/>
                    </a:lnTo>
                    <a:lnTo>
                      <a:pt x="96" y="356"/>
                    </a:lnTo>
                    <a:lnTo>
                      <a:pt x="96" y="358"/>
                    </a:lnTo>
                    <a:lnTo>
                      <a:pt x="97" y="358"/>
                    </a:lnTo>
                    <a:lnTo>
                      <a:pt x="97" y="358"/>
                    </a:lnTo>
                    <a:lnTo>
                      <a:pt x="99" y="359"/>
                    </a:lnTo>
                    <a:lnTo>
                      <a:pt x="99" y="358"/>
                    </a:lnTo>
                    <a:lnTo>
                      <a:pt x="97" y="358"/>
                    </a:lnTo>
                    <a:close/>
                    <a:moveTo>
                      <a:pt x="116" y="276"/>
                    </a:moveTo>
                    <a:lnTo>
                      <a:pt x="115" y="274"/>
                    </a:lnTo>
                    <a:lnTo>
                      <a:pt x="116" y="274"/>
                    </a:lnTo>
                    <a:lnTo>
                      <a:pt x="116" y="273"/>
                    </a:lnTo>
                    <a:lnTo>
                      <a:pt x="117" y="273"/>
                    </a:lnTo>
                    <a:lnTo>
                      <a:pt x="119" y="273"/>
                    </a:lnTo>
                    <a:lnTo>
                      <a:pt x="117" y="274"/>
                    </a:lnTo>
                    <a:lnTo>
                      <a:pt x="117" y="276"/>
                    </a:lnTo>
                    <a:lnTo>
                      <a:pt x="116" y="276"/>
                    </a:lnTo>
                    <a:close/>
                    <a:moveTo>
                      <a:pt x="150" y="247"/>
                    </a:moveTo>
                    <a:lnTo>
                      <a:pt x="150" y="247"/>
                    </a:lnTo>
                    <a:lnTo>
                      <a:pt x="149" y="247"/>
                    </a:lnTo>
                    <a:lnTo>
                      <a:pt x="149" y="245"/>
                    </a:lnTo>
                    <a:lnTo>
                      <a:pt x="150" y="245"/>
                    </a:lnTo>
                    <a:lnTo>
                      <a:pt x="153" y="245"/>
                    </a:lnTo>
                    <a:lnTo>
                      <a:pt x="152" y="247"/>
                    </a:lnTo>
                    <a:lnTo>
                      <a:pt x="150" y="247"/>
                    </a:lnTo>
                    <a:close/>
                    <a:moveTo>
                      <a:pt x="185" y="235"/>
                    </a:moveTo>
                    <a:lnTo>
                      <a:pt x="184" y="234"/>
                    </a:lnTo>
                    <a:lnTo>
                      <a:pt x="185" y="234"/>
                    </a:lnTo>
                    <a:lnTo>
                      <a:pt x="185" y="234"/>
                    </a:lnTo>
                    <a:lnTo>
                      <a:pt x="186" y="234"/>
                    </a:lnTo>
                    <a:lnTo>
                      <a:pt x="188" y="234"/>
                    </a:lnTo>
                    <a:lnTo>
                      <a:pt x="186" y="234"/>
                    </a:lnTo>
                    <a:lnTo>
                      <a:pt x="186" y="235"/>
                    </a:lnTo>
                    <a:lnTo>
                      <a:pt x="186" y="235"/>
                    </a:lnTo>
                    <a:lnTo>
                      <a:pt x="185" y="235"/>
                    </a:lnTo>
                    <a:lnTo>
                      <a:pt x="185" y="235"/>
                    </a:lnTo>
                    <a:close/>
                    <a:moveTo>
                      <a:pt x="198" y="234"/>
                    </a:moveTo>
                    <a:lnTo>
                      <a:pt x="196" y="238"/>
                    </a:lnTo>
                    <a:lnTo>
                      <a:pt x="195" y="240"/>
                    </a:lnTo>
                    <a:lnTo>
                      <a:pt x="194" y="240"/>
                    </a:lnTo>
                    <a:lnTo>
                      <a:pt x="194" y="238"/>
                    </a:lnTo>
                    <a:lnTo>
                      <a:pt x="195" y="235"/>
                    </a:lnTo>
                    <a:lnTo>
                      <a:pt x="196" y="234"/>
                    </a:lnTo>
                    <a:lnTo>
                      <a:pt x="198" y="234"/>
                    </a:lnTo>
                    <a:close/>
                    <a:moveTo>
                      <a:pt x="155" y="243"/>
                    </a:moveTo>
                    <a:lnTo>
                      <a:pt x="153" y="243"/>
                    </a:lnTo>
                    <a:lnTo>
                      <a:pt x="153" y="243"/>
                    </a:lnTo>
                    <a:lnTo>
                      <a:pt x="155" y="241"/>
                    </a:lnTo>
                    <a:lnTo>
                      <a:pt x="155" y="241"/>
                    </a:lnTo>
                    <a:lnTo>
                      <a:pt x="155" y="241"/>
                    </a:lnTo>
                    <a:lnTo>
                      <a:pt x="155" y="241"/>
                    </a:lnTo>
                    <a:lnTo>
                      <a:pt x="156" y="241"/>
                    </a:lnTo>
                    <a:lnTo>
                      <a:pt x="156" y="243"/>
                    </a:lnTo>
                    <a:lnTo>
                      <a:pt x="155" y="243"/>
                    </a:lnTo>
                    <a:lnTo>
                      <a:pt x="155" y="243"/>
                    </a:lnTo>
                    <a:close/>
                    <a:moveTo>
                      <a:pt x="149" y="256"/>
                    </a:moveTo>
                    <a:lnTo>
                      <a:pt x="153" y="253"/>
                    </a:lnTo>
                    <a:lnTo>
                      <a:pt x="156" y="251"/>
                    </a:lnTo>
                    <a:lnTo>
                      <a:pt x="158" y="250"/>
                    </a:lnTo>
                    <a:lnTo>
                      <a:pt x="159" y="245"/>
                    </a:lnTo>
                    <a:lnTo>
                      <a:pt x="161" y="244"/>
                    </a:lnTo>
                    <a:lnTo>
                      <a:pt x="162" y="243"/>
                    </a:lnTo>
                    <a:lnTo>
                      <a:pt x="162" y="243"/>
                    </a:lnTo>
                    <a:lnTo>
                      <a:pt x="163" y="244"/>
                    </a:lnTo>
                    <a:lnTo>
                      <a:pt x="163" y="244"/>
                    </a:lnTo>
                    <a:lnTo>
                      <a:pt x="166" y="245"/>
                    </a:lnTo>
                    <a:lnTo>
                      <a:pt x="166" y="245"/>
                    </a:lnTo>
                    <a:lnTo>
                      <a:pt x="171" y="244"/>
                    </a:lnTo>
                    <a:lnTo>
                      <a:pt x="173" y="244"/>
                    </a:lnTo>
                    <a:lnTo>
                      <a:pt x="175" y="243"/>
                    </a:lnTo>
                    <a:lnTo>
                      <a:pt x="173" y="240"/>
                    </a:lnTo>
                    <a:lnTo>
                      <a:pt x="176" y="240"/>
                    </a:lnTo>
                    <a:lnTo>
                      <a:pt x="179" y="237"/>
                    </a:lnTo>
                    <a:lnTo>
                      <a:pt x="182" y="237"/>
                    </a:lnTo>
                    <a:lnTo>
                      <a:pt x="185" y="238"/>
                    </a:lnTo>
                    <a:lnTo>
                      <a:pt x="186" y="238"/>
                    </a:lnTo>
                    <a:lnTo>
                      <a:pt x="189" y="240"/>
                    </a:lnTo>
                    <a:lnTo>
                      <a:pt x="192" y="240"/>
                    </a:lnTo>
                    <a:lnTo>
                      <a:pt x="192" y="243"/>
                    </a:lnTo>
                    <a:lnTo>
                      <a:pt x="192" y="244"/>
                    </a:lnTo>
                    <a:lnTo>
                      <a:pt x="192" y="244"/>
                    </a:lnTo>
                    <a:lnTo>
                      <a:pt x="192" y="245"/>
                    </a:lnTo>
                    <a:lnTo>
                      <a:pt x="192" y="247"/>
                    </a:lnTo>
                    <a:lnTo>
                      <a:pt x="194" y="247"/>
                    </a:lnTo>
                    <a:lnTo>
                      <a:pt x="194" y="248"/>
                    </a:lnTo>
                    <a:lnTo>
                      <a:pt x="191" y="250"/>
                    </a:lnTo>
                    <a:lnTo>
                      <a:pt x="188" y="253"/>
                    </a:lnTo>
                    <a:lnTo>
                      <a:pt x="185" y="256"/>
                    </a:lnTo>
                    <a:lnTo>
                      <a:pt x="184" y="260"/>
                    </a:lnTo>
                    <a:lnTo>
                      <a:pt x="181" y="256"/>
                    </a:lnTo>
                    <a:lnTo>
                      <a:pt x="178" y="254"/>
                    </a:lnTo>
                    <a:lnTo>
                      <a:pt x="175" y="254"/>
                    </a:lnTo>
                    <a:lnTo>
                      <a:pt x="172" y="254"/>
                    </a:lnTo>
                    <a:lnTo>
                      <a:pt x="171" y="256"/>
                    </a:lnTo>
                    <a:lnTo>
                      <a:pt x="169" y="257"/>
                    </a:lnTo>
                    <a:lnTo>
                      <a:pt x="162" y="267"/>
                    </a:lnTo>
                    <a:lnTo>
                      <a:pt x="161" y="268"/>
                    </a:lnTo>
                    <a:lnTo>
                      <a:pt x="159" y="268"/>
                    </a:lnTo>
                    <a:lnTo>
                      <a:pt x="156" y="268"/>
                    </a:lnTo>
                    <a:lnTo>
                      <a:pt x="158" y="268"/>
                    </a:lnTo>
                    <a:lnTo>
                      <a:pt x="158" y="267"/>
                    </a:lnTo>
                    <a:lnTo>
                      <a:pt x="158" y="266"/>
                    </a:lnTo>
                    <a:lnTo>
                      <a:pt x="158" y="266"/>
                    </a:lnTo>
                    <a:lnTo>
                      <a:pt x="155" y="266"/>
                    </a:lnTo>
                    <a:lnTo>
                      <a:pt x="155" y="266"/>
                    </a:lnTo>
                    <a:lnTo>
                      <a:pt x="153" y="264"/>
                    </a:lnTo>
                    <a:lnTo>
                      <a:pt x="153" y="263"/>
                    </a:lnTo>
                    <a:lnTo>
                      <a:pt x="153" y="263"/>
                    </a:lnTo>
                    <a:lnTo>
                      <a:pt x="153" y="261"/>
                    </a:lnTo>
                    <a:lnTo>
                      <a:pt x="155" y="260"/>
                    </a:lnTo>
                    <a:lnTo>
                      <a:pt x="155" y="260"/>
                    </a:lnTo>
                    <a:lnTo>
                      <a:pt x="153" y="258"/>
                    </a:lnTo>
                    <a:lnTo>
                      <a:pt x="153" y="258"/>
                    </a:lnTo>
                    <a:lnTo>
                      <a:pt x="153" y="257"/>
                    </a:lnTo>
                    <a:lnTo>
                      <a:pt x="153" y="256"/>
                    </a:lnTo>
                    <a:lnTo>
                      <a:pt x="150" y="256"/>
                    </a:lnTo>
                    <a:lnTo>
                      <a:pt x="148" y="257"/>
                    </a:lnTo>
                    <a:lnTo>
                      <a:pt x="146" y="257"/>
                    </a:lnTo>
                    <a:lnTo>
                      <a:pt x="149" y="256"/>
                    </a:lnTo>
                    <a:close/>
                    <a:moveTo>
                      <a:pt x="93" y="363"/>
                    </a:moveTo>
                    <a:lnTo>
                      <a:pt x="93" y="365"/>
                    </a:lnTo>
                    <a:lnTo>
                      <a:pt x="93" y="365"/>
                    </a:lnTo>
                    <a:lnTo>
                      <a:pt x="92" y="365"/>
                    </a:lnTo>
                    <a:lnTo>
                      <a:pt x="90" y="365"/>
                    </a:lnTo>
                    <a:lnTo>
                      <a:pt x="90" y="363"/>
                    </a:lnTo>
                    <a:lnTo>
                      <a:pt x="92" y="362"/>
                    </a:lnTo>
                    <a:lnTo>
                      <a:pt x="92" y="362"/>
                    </a:lnTo>
                    <a:lnTo>
                      <a:pt x="93" y="363"/>
                    </a:lnTo>
                    <a:close/>
                    <a:moveTo>
                      <a:pt x="90" y="270"/>
                    </a:moveTo>
                    <a:lnTo>
                      <a:pt x="92" y="271"/>
                    </a:lnTo>
                    <a:lnTo>
                      <a:pt x="89" y="271"/>
                    </a:lnTo>
                    <a:lnTo>
                      <a:pt x="87" y="271"/>
                    </a:lnTo>
                    <a:lnTo>
                      <a:pt x="86" y="271"/>
                    </a:lnTo>
                    <a:lnTo>
                      <a:pt x="87" y="268"/>
                    </a:lnTo>
                    <a:lnTo>
                      <a:pt x="89" y="268"/>
                    </a:lnTo>
                    <a:lnTo>
                      <a:pt x="90" y="268"/>
                    </a:lnTo>
                    <a:lnTo>
                      <a:pt x="90" y="270"/>
                    </a:lnTo>
                    <a:close/>
                    <a:moveTo>
                      <a:pt x="3" y="434"/>
                    </a:moveTo>
                    <a:lnTo>
                      <a:pt x="1" y="434"/>
                    </a:lnTo>
                    <a:lnTo>
                      <a:pt x="0" y="432"/>
                    </a:lnTo>
                    <a:lnTo>
                      <a:pt x="0" y="431"/>
                    </a:lnTo>
                    <a:lnTo>
                      <a:pt x="1" y="431"/>
                    </a:lnTo>
                    <a:lnTo>
                      <a:pt x="3" y="431"/>
                    </a:lnTo>
                    <a:lnTo>
                      <a:pt x="4" y="431"/>
                    </a:lnTo>
                    <a:lnTo>
                      <a:pt x="3" y="432"/>
                    </a:lnTo>
                    <a:lnTo>
                      <a:pt x="3" y="434"/>
                    </a:lnTo>
                    <a:close/>
                    <a:moveTo>
                      <a:pt x="7" y="431"/>
                    </a:moveTo>
                    <a:lnTo>
                      <a:pt x="7" y="429"/>
                    </a:lnTo>
                    <a:lnTo>
                      <a:pt x="7" y="429"/>
                    </a:lnTo>
                    <a:lnTo>
                      <a:pt x="11" y="428"/>
                    </a:lnTo>
                    <a:lnTo>
                      <a:pt x="10" y="431"/>
                    </a:lnTo>
                    <a:lnTo>
                      <a:pt x="8" y="432"/>
                    </a:lnTo>
                    <a:lnTo>
                      <a:pt x="8" y="432"/>
                    </a:lnTo>
                    <a:lnTo>
                      <a:pt x="7" y="431"/>
                    </a:lnTo>
                    <a:lnTo>
                      <a:pt x="7" y="431"/>
                    </a:lnTo>
                    <a:close/>
                    <a:moveTo>
                      <a:pt x="27" y="424"/>
                    </a:moveTo>
                    <a:lnTo>
                      <a:pt x="27" y="424"/>
                    </a:lnTo>
                    <a:lnTo>
                      <a:pt x="27" y="421"/>
                    </a:lnTo>
                    <a:lnTo>
                      <a:pt x="28" y="422"/>
                    </a:lnTo>
                    <a:lnTo>
                      <a:pt x="30" y="424"/>
                    </a:lnTo>
                    <a:lnTo>
                      <a:pt x="28" y="424"/>
                    </a:lnTo>
                    <a:lnTo>
                      <a:pt x="27" y="424"/>
                    </a:lnTo>
                    <a:close/>
                    <a:moveTo>
                      <a:pt x="96" y="355"/>
                    </a:moveTo>
                    <a:lnTo>
                      <a:pt x="100" y="353"/>
                    </a:lnTo>
                    <a:lnTo>
                      <a:pt x="102" y="352"/>
                    </a:lnTo>
                    <a:lnTo>
                      <a:pt x="103" y="350"/>
                    </a:lnTo>
                    <a:lnTo>
                      <a:pt x="105" y="349"/>
                    </a:lnTo>
                    <a:lnTo>
                      <a:pt x="105" y="350"/>
                    </a:lnTo>
                    <a:lnTo>
                      <a:pt x="105" y="352"/>
                    </a:lnTo>
                    <a:lnTo>
                      <a:pt x="102" y="355"/>
                    </a:lnTo>
                    <a:lnTo>
                      <a:pt x="102" y="355"/>
                    </a:lnTo>
                    <a:lnTo>
                      <a:pt x="100" y="356"/>
                    </a:lnTo>
                    <a:lnTo>
                      <a:pt x="100" y="356"/>
                    </a:lnTo>
                    <a:lnTo>
                      <a:pt x="99" y="356"/>
                    </a:lnTo>
                    <a:lnTo>
                      <a:pt x="97" y="356"/>
                    </a:lnTo>
                    <a:lnTo>
                      <a:pt x="97" y="356"/>
                    </a:lnTo>
                    <a:lnTo>
                      <a:pt x="96" y="355"/>
                    </a:lnTo>
                    <a:close/>
                    <a:moveTo>
                      <a:pt x="106" y="250"/>
                    </a:moveTo>
                    <a:lnTo>
                      <a:pt x="105" y="250"/>
                    </a:lnTo>
                    <a:lnTo>
                      <a:pt x="105" y="248"/>
                    </a:lnTo>
                    <a:lnTo>
                      <a:pt x="105" y="248"/>
                    </a:lnTo>
                    <a:lnTo>
                      <a:pt x="105" y="248"/>
                    </a:lnTo>
                    <a:lnTo>
                      <a:pt x="106" y="247"/>
                    </a:lnTo>
                    <a:lnTo>
                      <a:pt x="106" y="248"/>
                    </a:lnTo>
                    <a:lnTo>
                      <a:pt x="106" y="250"/>
                    </a:lnTo>
                    <a:lnTo>
                      <a:pt x="106" y="250"/>
                    </a:lnTo>
                    <a:close/>
                    <a:moveTo>
                      <a:pt x="105" y="257"/>
                    </a:moveTo>
                    <a:lnTo>
                      <a:pt x="106" y="257"/>
                    </a:lnTo>
                    <a:lnTo>
                      <a:pt x="107" y="258"/>
                    </a:lnTo>
                    <a:lnTo>
                      <a:pt x="107" y="256"/>
                    </a:lnTo>
                    <a:lnTo>
                      <a:pt x="109" y="254"/>
                    </a:lnTo>
                    <a:lnTo>
                      <a:pt x="112" y="253"/>
                    </a:lnTo>
                    <a:lnTo>
                      <a:pt x="115" y="251"/>
                    </a:lnTo>
                    <a:lnTo>
                      <a:pt x="116" y="251"/>
                    </a:lnTo>
                    <a:lnTo>
                      <a:pt x="119" y="248"/>
                    </a:lnTo>
                    <a:lnTo>
                      <a:pt x="120" y="247"/>
                    </a:lnTo>
                    <a:lnTo>
                      <a:pt x="122" y="247"/>
                    </a:lnTo>
                    <a:lnTo>
                      <a:pt x="123" y="245"/>
                    </a:lnTo>
                    <a:lnTo>
                      <a:pt x="126" y="247"/>
                    </a:lnTo>
                    <a:lnTo>
                      <a:pt x="132" y="251"/>
                    </a:lnTo>
                    <a:lnTo>
                      <a:pt x="135" y="253"/>
                    </a:lnTo>
                    <a:lnTo>
                      <a:pt x="136" y="253"/>
                    </a:lnTo>
                    <a:lnTo>
                      <a:pt x="138" y="251"/>
                    </a:lnTo>
                    <a:lnTo>
                      <a:pt x="139" y="251"/>
                    </a:lnTo>
                    <a:lnTo>
                      <a:pt x="140" y="253"/>
                    </a:lnTo>
                    <a:lnTo>
                      <a:pt x="140" y="254"/>
                    </a:lnTo>
                    <a:lnTo>
                      <a:pt x="139" y="256"/>
                    </a:lnTo>
                    <a:lnTo>
                      <a:pt x="138" y="258"/>
                    </a:lnTo>
                    <a:lnTo>
                      <a:pt x="140" y="260"/>
                    </a:lnTo>
                    <a:lnTo>
                      <a:pt x="143" y="260"/>
                    </a:lnTo>
                    <a:lnTo>
                      <a:pt x="143" y="261"/>
                    </a:lnTo>
                    <a:lnTo>
                      <a:pt x="143" y="263"/>
                    </a:lnTo>
                    <a:lnTo>
                      <a:pt x="145" y="266"/>
                    </a:lnTo>
                    <a:lnTo>
                      <a:pt x="145" y="267"/>
                    </a:lnTo>
                    <a:lnTo>
                      <a:pt x="145" y="268"/>
                    </a:lnTo>
                    <a:lnTo>
                      <a:pt x="142" y="271"/>
                    </a:lnTo>
                    <a:lnTo>
                      <a:pt x="140" y="273"/>
                    </a:lnTo>
                    <a:lnTo>
                      <a:pt x="139" y="276"/>
                    </a:lnTo>
                    <a:lnTo>
                      <a:pt x="138" y="279"/>
                    </a:lnTo>
                    <a:lnTo>
                      <a:pt x="138" y="283"/>
                    </a:lnTo>
                    <a:lnTo>
                      <a:pt x="136" y="289"/>
                    </a:lnTo>
                    <a:lnTo>
                      <a:pt x="136" y="290"/>
                    </a:lnTo>
                    <a:lnTo>
                      <a:pt x="135" y="291"/>
                    </a:lnTo>
                    <a:lnTo>
                      <a:pt x="135" y="293"/>
                    </a:lnTo>
                    <a:lnTo>
                      <a:pt x="133" y="294"/>
                    </a:lnTo>
                    <a:lnTo>
                      <a:pt x="133" y="294"/>
                    </a:lnTo>
                    <a:lnTo>
                      <a:pt x="133" y="294"/>
                    </a:lnTo>
                    <a:lnTo>
                      <a:pt x="132" y="294"/>
                    </a:lnTo>
                    <a:lnTo>
                      <a:pt x="132" y="294"/>
                    </a:lnTo>
                    <a:lnTo>
                      <a:pt x="130" y="294"/>
                    </a:lnTo>
                    <a:lnTo>
                      <a:pt x="130" y="294"/>
                    </a:lnTo>
                    <a:lnTo>
                      <a:pt x="129" y="294"/>
                    </a:lnTo>
                    <a:lnTo>
                      <a:pt x="129" y="294"/>
                    </a:lnTo>
                    <a:lnTo>
                      <a:pt x="129" y="296"/>
                    </a:lnTo>
                    <a:lnTo>
                      <a:pt x="129" y="296"/>
                    </a:lnTo>
                    <a:lnTo>
                      <a:pt x="129" y="297"/>
                    </a:lnTo>
                    <a:lnTo>
                      <a:pt x="129" y="299"/>
                    </a:lnTo>
                    <a:lnTo>
                      <a:pt x="126" y="300"/>
                    </a:lnTo>
                    <a:lnTo>
                      <a:pt x="123" y="302"/>
                    </a:lnTo>
                    <a:lnTo>
                      <a:pt x="123" y="300"/>
                    </a:lnTo>
                    <a:lnTo>
                      <a:pt x="123" y="300"/>
                    </a:lnTo>
                    <a:lnTo>
                      <a:pt x="123" y="297"/>
                    </a:lnTo>
                    <a:lnTo>
                      <a:pt x="123" y="294"/>
                    </a:lnTo>
                    <a:lnTo>
                      <a:pt x="123" y="293"/>
                    </a:lnTo>
                    <a:lnTo>
                      <a:pt x="125" y="290"/>
                    </a:lnTo>
                    <a:lnTo>
                      <a:pt x="125" y="289"/>
                    </a:lnTo>
                    <a:lnTo>
                      <a:pt x="122" y="289"/>
                    </a:lnTo>
                    <a:lnTo>
                      <a:pt x="120" y="290"/>
                    </a:lnTo>
                    <a:lnTo>
                      <a:pt x="120" y="293"/>
                    </a:lnTo>
                    <a:lnTo>
                      <a:pt x="122" y="296"/>
                    </a:lnTo>
                    <a:lnTo>
                      <a:pt x="122" y="299"/>
                    </a:lnTo>
                    <a:lnTo>
                      <a:pt x="119" y="299"/>
                    </a:lnTo>
                    <a:lnTo>
                      <a:pt x="117" y="297"/>
                    </a:lnTo>
                    <a:lnTo>
                      <a:pt x="115" y="296"/>
                    </a:lnTo>
                    <a:lnTo>
                      <a:pt x="113" y="294"/>
                    </a:lnTo>
                    <a:lnTo>
                      <a:pt x="116" y="293"/>
                    </a:lnTo>
                    <a:lnTo>
                      <a:pt x="116" y="290"/>
                    </a:lnTo>
                    <a:lnTo>
                      <a:pt x="115" y="287"/>
                    </a:lnTo>
                    <a:lnTo>
                      <a:pt x="115" y="284"/>
                    </a:lnTo>
                    <a:lnTo>
                      <a:pt x="115" y="281"/>
                    </a:lnTo>
                    <a:lnTo>
                      <a:pt x="120" y="276"/>
                    </a:lnTo>
                    <a:lnTo>
                      <a:pt x="122" y="271"/>
                    </a:lnTo>
                    <a:lnTo>
                      <a:pt x="120" y="271"/>
                    </a:lnTo>
                    <a:lnTo>
                      <a:pt x="120" y="271"/>
                    </a:lnTo>
                    <a:lnTo>
                      <a:pt x="119" y="271"/>
                    </a:lnTo>
                    <a:lnTo>
                      <a:pt x="120" y="268"/>
                    </a:lnTo>
                    <a:lnTo>
                      <a:pt x="119" y="266"/>
                    </a:lnTo>
                    <a:lnTo>
                      <a:pt x="117" y="263"/>
                    </a:lnTo>
                    <a:lnTo>
                      <a:pt x="115" y="261"/>
                    </a:lnTo>
                    <a:lnTo>
                      <a:pt x="113" y="261"/>
                    </a:lnTo>
                    <a:lnTo>
                      <a:pt x="113" y="261"/>
                    </a:lnTo>
                    <a:lnTo>
                      <a:pt x="113" y="264"/>
                    </a:lnTo>
                    <a:lnTo>
                      <a:pt x="113" y="266"/>
                    </a:lnTo>
                    <a:lnTo>
                      <a:pt x="113" y="266"/>
                    </a:lnTo>
                    <a:lnTo>
                      <a:pt x="115" y="267"/>
                    </a:lnTo>
                    <a:lnTo>
                      <a:pt x="116" y="268"/>
                    </a:lnTo>
                    <a:lnTo>
                      <a:pt x="116" y="270"/>
                    </a:lnTo>
                    <a:lnTo>
                      <a:pt x="115" y="270"/>
                    </a:lnTo>
                    <a:lnTo>
                      <a:pt x="115" y="270"/>
                    </a:lnTo>
                    <a:lnTo>
                      <a:pt x="112" y="268"/>
                    </a:lnTo>
                    <a:lnTo>
                      <a:pt x="112" y="268"/>
                    </a:lnTo>
                    <a:lnTo>
                      <a:pt x="110" y="270"/>
                    </a:lnTo>
                    <a:lnTo>
                      <a:pt x="109" y="270"/>
                    </a:lnTo>
                    <a:lnTo>
                      <a:pt x="107" y="271"/>
                    </a:lnTo>
                    <a:lnTo>
                      <a:pt x="106" y="273"/>
                    </a:lnTo>
                    <a:lnTo>
                      <a:pt x="107" y="270"/>
                    </a:lnTo>
                    <a:lnTo>
                      <a:pt x="106" y="268"/>
                    </a:lnTo>
                    <a:lnTo>
                      <a:pt x="105" y="266"/>
                    </a:lnTo>
                    <a:lnTo>
                      <a:pt x="105" y="263"/>
                    </a:lnTo>
                    <a:lnTo>
                      <a:pt x="106" y="264"/>
                    </a:lnTo>
                    <a:lnTo>
                      <a:pt x="107" y="266"/>
                    </a:lnTo>
                    <a:lnTo>
                      <a:pt x="109" y="267"/>
                    </a:lnTo>
                    <a:lnTo>
                      <a:pt x="110" y="267"/>
                    </a:lnTo>
                    <a:lnTo>
                      <a:pt x="109" y="266"/>
                    </a:lnTo>
                    <a:lnTo>
                      <a:pt x="107" y="263"/>
                    </a:lnTo>
                    <a:lnTo>
                      <a:pt x="106" y="263"/>
                    </a:lnTo>
                    <a:lnTo>
                      <a:pt x="105" y="260"/>
                    </a:lnTo>
                    <a:lnTo>
                      <a:pt x="103" y="258"/>
                    </a:lnTo>
                    <a:lnTo>
                      <a:pt x="105" y="257"/>
                    </a:lnTo>
                    <a:close/>
                    <a:moveTo>
                      <a:pt x="165" y="214"/>
                    </a:moveTo>
                    <a:lnTo>
                      <a:pt x="172" y="214"/>
                    </a:lnTo>
                    <a:lnTo>
                      <a:pt x="175" y="215"/>
                    </a:lnTo>
                    <a:lnTo>
                      <a:pt x="179" y="214"/>
                    </a:lnTo>
                    <a:lnTo>
                      <a:pt x="195" y="211"/>
                    </a:lnTo>
                    <a:lnTo>
                      <a:pt x="201" y="210"/>
                    </a:lnTo>
                    <a:lnTo>
                      <a:pt x="202" y="210"/>
                    </a:lnTo>
                    <a:lnTo>
                      <a:pt x="202" y="210"/>
                    </a:lnTo>
                    <a:lnTo>
                      <a:pt x="202" y="211"/>
                    </a:lnTo>
                    <a:lnTo>
                      <a:pt x="202" y="212"/>
                    </a:lnTo>
                    <a:lnTo>
                      <a:pt x="204" y="212"/>
                    </a:lnTo>
                    <a:lnTo>
                      <a:pt x="204" y="214"/>
                    </a:lnTo>
                    <a:lnTo>
                      <a:pt x="206" y="214"/>
                    </a:lnTo>
                    <a:lnTo>
                      <a:pt x="208" y="214"/>
                    </a:lnTo>
                    <a:lnTo>
                      <a:pt x="211" y="214"/>
                    </a:lnTo>
                    <a:lnTo>
                      <a:pt x="212" y="214"/>
                    </a:lnTo>
                    <a:lnTo>
                      <a:pt x="214" y="212"/>
                    </a:lnTo>
                    <a:lnTo>
                      <a:pt x="217" y="211"/>
                    </a:lnTo>
                    <a:lnTo>
                      <a:pt x="217" y="211"/>
                    </a:lnTo>
                    <a:lnTo>
                      <a:pt x="217" y="210"/>
                    </a:lnTo>
                    <a:lnTo>
                      <a:pt x="217" y="208"/>
                    </a:lnTo>
                    <a:lnTo>
                      <a:pt x="217" y="208"/>
                    </a:lnTo>
                    <a:lnTo>
                      <a:pt x="217" y="208"/>
                    </a:lnTo>
                    <a:lnTo>
                      <a:pt x="217" y="207"/>
                    </a:lnTo>
                    <a:lnTo>
                      <a:pt x="217" y="204"/>
                    </a:lnTo>
                    <a:lnTo>
                      <a:pt x="218" y="201"/>
                    </a:lnTo>
                    <a:lnTo>
                      <a:pt x="225" y="192"/>
                    </a:lnTo>
                    <a:lnTo>
                      <a:pt x="227" y="191"/>
                    </a:lnTo>
                    <a:lnTo>
                      <a:pt x="228" y="189"/>
                    </a:lnTo>
                    <a:lnTo>
                      <a:pt x="229" y="187"/>
                    </a:lnTo>
                    <a:lnTo>
                      <a:pt x="228" y="182"/>
                    </a:lnTo>
                    <a:lnTo>
                      <a:pt x="228" y="181"/>
                    </a:lnTo>
                    <a:lnTo>
                      <a:pt x="231" y="178"/>
                    </a:lnTo>
                    <a:lnTo>
                      <a:pt x="234" y="175"/>
                    </a:lnTo>
                    <a:lnTo>
                      <a:pt x="237" y="174"/>
                    </a:lnTo>
                    <a:lnTo>
                      <a:pt x="240" y="174"/>
                    </a:lnTo>
                    <a:lnTo>
                      <a:pt x="240" y="176"/>
                    </a:lnTo>
                    <a:lnTo>
                      <a:pt x="237" y="178"/>
                    </a:lnTo>
                    <a:lnTo>
                      <a:pt x="234" y="179"/>
                    </a:lnTo>
                    <a:lnTo>
                      <a:pt x="232" y="181"/>
                    </a:lnTo>
                    <a:lnTo>
                      <a:pt x="234" y="187"/>
                    </a:lnTo>
                    <a:lnTo>
                      <a:pt x="235" y="187"/>
                    </a:lnTo>
                    <a:lnTo>
                      <a:pt x="235" y="188"/>
                    </a:lnTo>
                    <a:lnTo>
                      <a:pt x="237" y="189"/>
                    </a:lnTo>
                    <a:lnTo>
                      <a:pt x="238" y="189"/>
                    </a:lnTo>
                    <a:lnTo>
                      <a:pt x="240" y="188"/>
                    </a:lnTo>
                    <a:lnTo>
                      <a:pt x="241" y="188"/>
                    </a:lnTo>
                    <a:lnTo>
                      <a:pt x="241" y="187"/>
                    </a:lnTo>
                    <a:lnTo>
                      <a:pt x="242" y="185"/>
                    </a:lnTo>
                    <a:lnTo>
                      <a:pt x="244" y="184"/>
                    </a:lnTo>
                    <a:lnTo>
                      <a:pt x="250" y="182"/>
                    </a:lnTo>
                    <a:lnTo>
                      <a:pt x="254" y="181"/>
                    </a:lnTo>
                    <a:lnTo>
                      <a:pt x="257" y="179"/>
                    </a:lnTo>
                    <a:lnTo>
                      <a:pt x="260" y="176"/>
                    </a:lnTo>
                    <a:lnTo>
                      <a:pt x="262" y="174"/>
                    </a:lnTo>
                    <a:lnTo>
                      <a:pt x="264" y="172"/>
                    </a:lnTo>
                    <a:lnTo>
                      <a:pt x="265" y="169"/>
                    </a:lnTo>
                    <a:lnTo>
                      <a:pt x="265" y="168"/>
                    </a:lnTo>
                    <a:lnTo>
                      <a:pt x="267" y="166"/>
                    </a:lnTo>
                    <a:lnTo>
                      <a:pt x="268" y="165"/>
                    </a:lnTo>
                    <a:lnTo>
                      <a:pt x="271" y="165"/>
                    </a:lnTo>
                    <a:lnTo>
                      <a:pt x="273" y="164"/>
                    </a:lnTo>
                    <a:lnTo>
                      <a:pt x="275" y="161"/>
                    </a:lnTo>
                    <a:lnTo>
                      <a:pt x="277" y="159"/>
                    </a:lnTo>
                    <a:lnTo>
                      <a:pt x="278" y="152"/>
                    </a:lnTo>
                    <a:lnTo>
                      <a:pt x="283" y="143"/>
                    </a:lnTo>
                    <a:lnTo>
                      <a:pt x="287" y="135"/>
                    </a:lnTo>
                    <a:lnTo>
                      <a:pt x="287" y="132"/>
                    </a:lnTo>
                    <a:lnTo>
                      <a:pt x="287" y="129"/>
                    </a:lnTo>
                    <a:lnTo>
                      <a:pt x="287" y="128"/>
                    </a:lnTo>
                    <a:lnTo>
                      <a:pt x="287" y="126"/>
                    </a:lnTo>
                    <a:lnTo>
                      <a:pt x="287" y="125"/>
                    </a:lnTo>
                    <a:lnTo>
                      <a:pt x="285" y="125"/>
                    </a:lnTo>
                    <a:lnTo>
                      <a:pt x="284" y="123"/>
                    </a:lnTo>
                    <a:lnTo>
                      <a:pt x="283" y="123"/>
                    </a:lnTo>
                    <a:lnTo>
                      <a:pt x="283" y="123"/>
                    </a:lnTo>
                    <a:lnTo>
                      <a:pt x="283" y="122"/>
                    </a:lnTo>
                    <a:lnTo>
                      <a:pt x="285" y="120"/>
                    </a:lnTo>
                    <a:lnTo>
                      <a:pt x="285" y="115"/>
                    </a:lnTo>
                    <a:lnTo>
                      <a:pt x="285" y="110"/>
                    </a:lnTo>
                    <a:lnTo>
                      <a:pt x="287" y="106"/>
                    </a:lnTo>
                    <a:lnTo>
                      <a:pt x="288" y="105"/>
                    </a:lnTo>
                    <a:lnTo>
                      <a:pt x="290" y="105"/>
                    </a:lnTo>
                    <a:lnTo>
                      <a:pt x="291" y="103"/>
                    </a:lnTo>
                    <a:lnTo>
                      <a:pt x="293" y="102"/>
                    </a:lnTo>
                    <a:lnTo>
                      <a:pt x="293" y="99"/>
                    </a:lnTo>
                    <a:lnTo>
                      <a:pt x="293" y="97"/>
                    </a:lnTo>
                    <a:lnTo>
                      <a:pt x="293" y="96"/>
                    </a:lnTo>
                    <a:lnTo>
                      <a:pt x="294" y="96"/>
                    </a:lnTo>
                    <a:lnTo>
                      <a:pt x="297" y="96"/>
                    </a:lnTo>
                    <a:lnTo>
                      <a:pt x="297" y="97"/>
                    </a:lnTo>
                    <a:lnTo>
                      <a:pt x="297" y="100"/>
                    </a:lnTo>
                    <a:lnTo>
                      <a:pt x="298" y="102"/>
                    </a:lnTo>
                    <a:lnTo>
                      <a:pt x="300" y="103"/>
                    </a:lnTo>
                    <a:lnTo>
                      <a:pt x="301" y="103"/>
                    </a:lnTo>
                    <a:lnTo>
                      <a:pt x="301" y="102"/>
                    </a:lnTo>
                    <a:lnTo>
                      <a:pt x="303" y="102"/>
                    </a:lnTo>
                    <a:lnTo>
                      <a:pt x="304" y="102"/>
                    </a:lnTo>
                    <a:lnTo>
                      <a:pt x="306" y="102"/>
                    </a:lnTo>
                    <a:lnTo>
                      <a:pt x="306" y="102"/>
                    </a:lnTo>
                    <a:lnTo>
                      <a:pt x="307" y="102"/>
                    </a:lnTo>
                    <a:lnTo>
                      <a:pt x="308" y="100"/>
                    </a:lnTo>
                    <a:lnTo>
                      <a:pt x="308" y="99"/>
                    </a:lnTo>
                    <a:lnTo>
                      <a:pt x="308" y="97"/>
                    </a:lnTo>
                    <a:lnTo>
                      <a:pt x="308" y="96"/>
                    </a:lnTo>
                    <a:lnTo>
                      <a:pt x="307" y="95"/>
                    </a:lnTo>
                    <a:lnTo>
                      <a:pt x="304" y="96"/>
                    </a:lnTo>
                    <a:lnTo>
                      <a:pt x="300" y="97"/>
                    </a:lnTo>
                    <a:lnTo>
                      <a:pt x="300" y="95"/>
                    </a:lnTo>
                    <a:lnTo>
                      <a:pt x="301" y="92"/>
                    </a:lnTo>
                    <a:lnTo>
                      <a:pt x="301" y="90"/>
                    </a:lnTo>
                    <a:lnTo>
                      <a:pt x="304" y="89"/>
                    </a:lnTo>
                    <a:lnTo>
                      <a:pt x="306" y="90"/>
                    </a:lnTo>
                    <a:lnTo>
                      <a:pt x="307" y="92"/>
                    </a:lnTo>
                    <a:lnTo>
                      <a:pt x="310" y="92"/>
                    </a:lnTo>
                    <a:lnTo>
                      <a:pt x="311" y="92"/>
                    </a:lnTo>
                    <a:lnTo>
                      <a:pt x="311" y="95"/>
                    </a:lnTo>
                    <a:lnTo>
                      <a:pt x="311" y="99"/>
                    </a:lnTo>
                    <a:lnTo>
                      <a:pt x="311" y="103"/>
                    </a:lnTo>
                    <a:lnTo>
                      <a:pt x="311" y="106"/>
                    </a:lnTo>
                    <a:lnTo>
                      <a:pt x="313" y="109"/>
                    </a:lnTo>
                    <a:lnTo>
                      <a:pt x="314" y="110"/>
                    </a:lnTo>
                    <a:lnTo>
                      <a:pt x="316" y="113"/>
                    </a:lnTo>
                    <a:lnTo>
                      <a:pt x="317" y="115"/>
                    </a:lnTo>
                    <a:lnTo>
                      <a:pt x="319" y="116"/>
                    </a:lnTo>
                    <a:lnTo>
                      <a:pt x="320" y="120"/>
                    </a:lnTo>
                    <a:lnTo>
                      <a:pt x="321" y="126"/>
                    </a:lnTo>
                    <a:lnTo>
                      <a:pt x="321" y="132"/>
                    </a:lnTo>
                    <a:lnTo>
                      <a:pt x="320" y="138"/>
                    </a:lnTo>
                    <a:lnTo>
                      <a:pt x="317" y="142"/>
                    </a:lnTo>
                    <a:lnTo>
                      <a:pt x="317" y="143"/>
                    </a:lnTo>
                    <a:lnTo>
                      <a:pt x="316" y="143"/>
                    </a:lnTo>
                    <a:lnTo>
                      <a:pt x="316" y="145"/>
                    </a:lnTo>
                    <a:lnTo>
                      <a:pt x="314" y="146"/>
                    </a:lnTo>
                    <a:lnTo>
                      <a:pt x="314" y="148"/>
                    </a:lnTo>
                    <a:lnTo>
                      <a:pt x="313" y="149"/>
                    </a:lnTo>
                    <a:lnTo>
                      <a:pt x="313" y="153"/>
                    </a:lnTo>
                    <a:lnTo>
                      <a:pt x="311" y="155"/>
                    </a:lnTo>
                    <a:lnTo>
                      <a:pt x="310" y="156"/>
                    </a:lnTo>
                    <a:lnTo>
                      <a:pt x="308" y="156"/>
                    </a:lnTo>
                    <a:lnTo>
                      <a:pt x="307" y="156"/>
                    </a:lnTo>
                    <a:lnTo>
                      <a:pt x="306" y="156"/>
                    </a:lnTo>
                    <a:lnTo>
                      <a:pt x="306" y="158"/>
                    </a:lnTo>
                    <a:lnTo>
                      <a:pt x="303" y="161"/>
                    </a:lnTo>
                    <a:lnTo>
                      <a:pt x="303" y="165"/>
                    </a:lnTo>
                    <a:lnTo>
                      <a:pt x="304" y="172"/>
                    </a:lnTo>
                    <a:lnTo>
                      <a:pt x="304" y="176"/>
                    </a:lnTo>
                    <a:lnTo>
                      <a:pt x="304" y="179"/>
                    </a:lnTo>
                    <a:lnTo>
                      <a:pt x="303" y="182"/>
                    </a:lnTo>
                    <a:lnTo>
                      <a:pt x="298" y="192"/>
                    </a:lnTo>
                    <a:lnTo>
                      <a:pt x="297" y="198"/>
                    </a:lnTo>
                    <a:lnTo>
                      <a:pt x="298" y="204"/>
                    </a:lnTo>
                    <a:lnTo>
                      <a:pt x="301" y="210"/>
                    </a:lnTo>
                    <a:lnTo>
                      <a:pt x="298" y="211"/>
                    </a:lnTo>
                    <a:lnTo>
                      <a:pt x="297" y="211"/>
                    </a:lnTo>
                    <a:lnTo>
                      <a:pt x="296" y="212"/>
                    </a:lnTo>
                    <a:lnTo>
                      <a:pt x="294" y="214"/>
                    </a:lnTo>
                    <a:lnTo>
                      <a:pt x="294" y="215"/>
                    </a:lnTo>
                    <a:lnTo>
                      <a:pt x="294" y="217"/>
                    </a:lnTo>
                    <a:lnTo>
                      <a:pt x="294" y="218"/>
                    </a:lnTo>
                    <a:lnTo>
                      <a:pt x="293" y="220"/>
                    </a:lnTo>
                    <a:lnTo>
                      <a:pt x="293" y="221"/>
                    </a:lnTo>
                    <a:lnTo>
                      <a:pt x="290" y="222"/>
                    </a:lnTo>
                    <a:lnTo>
                      <a:pt x="285" y="225"/>
                    </a:lnTo>
                    <a:lnTo>
                      <a:pt x="285" y="227"/>
                    </a:lnTo>
                    <a:lnTo>
                      <a:pt x="283" y="225"/>
                    </a:lnTo>
                    <a:lnTo>
                      <a:pt x="283" y="222"/>
                    </a:lnTo>
                    <a:lnTo>
                      <a:pt x="284" y="218"/>
                    </a:lnTo>
                    <a:lnTo>
                      <a:pt x="285" y="217"/>
                    </a:lnTo>
                    <a:lnTo>
                      <a:pt x="285" y="215"/>
                    </a:lnTo>
                    <a:lnTo>
                      <a:pt x="287" y="214"/>
                    </a:lnTo>
                    <a:lnTo>
                      <a:pt x="287" y="214"/>
                    </a:lnTo>
                    <a:lnTo>
                      <a:pt x="287" y="212"/>
                    </a:lnTo>
                    <a:lnTo>
                      <a:pt x="287" y="211"/>
                    </a:lnTo>
                    <a:lnTo>
                      <a:pt x="285" y="211"/>
                    </a:lnTo>
                    <a:lnTo>
                      <a:pt x="284" y="211"/>
                    </a:lnTo>
                    <a:lnTo>
                      <a:pt x="283" y="211"/>
                    </a:lnTo>
                    <a:lnTo>
                      <a:pt x="283" y="212"/>
                    </a:lnTo>
                    <a:lnTo>
                      <a:pt x="283" y="212"/>
                    </a:lnTo>
                    <a:lnTo>
                      <a:pt x="281" y="215"/>
                    </a:lnTo>
                    <a:lnTo>
                      <a:pt x="281" y="217"/>
                    </a:lnTo>
                    <a:lnTo>
                      <a:pt x="280" y="218"/>
                    </a:lnTo>
                    <a:lnTo>
                      <a:pt x="281" y="218"/>
                    </a:lnTo>
                    <a:lnTo>
                      <a:pt x="281" y="218"/>
                    </a:lnTo>
                    <a:lnTo>
                      <a:pt x="281" y="220"/>
                    </a:lnTo>
                    <a:lnTo>
                      <a:pt x="280" y="221"/>
                    </a:lnTo>
                    <a:lnTo>
                      <a:pt x="275" y="218"/>
                    </a:lnTo>
                    <a:lnTo>
                      <a:pt x="273" y="220"/>
                    </a:lnTo>
                    <a:lnTo>
                      <a:pt x="271" y="221"/>
                    </a:lnTo>
                    <a:lnTo>
                      <a:pt x="270" y="228"/>
                    </a:lnTo>
                    <a:lnTo>
                      <a:pt x="268" y="230"/>
                    </a:lnTo>
                    <a:lnTo>
                      <a:pt x="265" y="231"/>
                    </a:lnTo>
                    <a:lnTo>
                      <a:pt x="264" y="230"/>
                    </a:lnTo>
                    <a:lnTo>
                      <a:pt x="265" y="225"/>
                    </a:lnTo>
                    <a:lnTo>
                      <a:pt x="267" y="224"/>
                    </a:lnTo>
                    <a:lnTo>
                      <a:pt x="262" y="221"/>
                    </a:lnTo>
                    <a:lnTo>
                      <a:pt x="260" y="224"/>
                    </a:lnTo>
                    <a:lnTo>
                      <a:pt x="257" y="230"/>
                    </a:lnTo>
                    <a:lnTo>
                      <a:pt x="254" y="233"/>
                    </a:lnTo>
                    <a:lnTo>
                      <a:pt x="252" y="233"/>
                    </a:lnTo>
                    <a:lnTo>
                      <a:pt x="244" y="231"/>
                    </a:lnTo>
                    <a:lnTo>
                      <a:pt x="242" y="231"/>
                    </a:lnTo>
                    <a:lnTo>
                      <a:pt x="240" y="231"/>
                    </a:lnTo>
                    <a:lnTo>
                      <a:pt x="235" y="233"/>
                    </a:lnTo>
                    <a:lnTo>
                      <a:pt x="235" y="231"/>
                    </a:lnTo>
                    <a:lnTo>
                      <a:pt x="238" y="231"/>
                    </a:lnTo>
                    <a:lnTo>
                      <a:pt x="238" y="230"/>
                    </a:lnTo>
                    <a:lnTo>
                      <a:pt x="238" y="228"/>
                    </a:lnTo>
                    <a:lnTo>
                      <a:pt x="238" y="228"/>
                    </a:lnTo>
                    <a:lnTo>
                      <a:pt x="234" y="228"/>
                    </a:lnTo>
                    <a:lnTo>
                      <a:pt x="234" y="228"/>
                    </a:lnTo>
                    <a:lnTo>
                      <a:pt x="232" y="228"/>
                    </a:lnTo>
                    <a:lnTo>
                      <a:pt x="232" y="230"/>
                    </a:lnTo>
                    <a:lnTo>
                      <a:pt x="232" y="230"/>
                    </a:lnTo>
                    <a:lnTo>
                      <a:pt x="231" y="228"/>
                    </a:lnTo>
                    <a:lnTo>
                      <a:pt x="231" y="227"/>
                    </a:lnTo>
                    <a:lnTo>
                      <a:pt x="231" y="225"/>
                    </a:lnTo>
                    <a:lnTo>
                      <a:pt x="232" y="224"/>
                    </a:lnTo>
                    <a:lnTo>
                      <a:pt x="229" y="224"/>
                    </a:lnTo>
                    <a:lnTo>
                      <a:pt x="229" y="224"/>
                    </a:lnTo>
                    <a:lnTo>
                      <a:pt x="228" y="225"/>
                    </a:lnTo>
                    <a:lnTo>
                      <a:pt x="227" y="228"/>
                    </a:lnTo>
                    <a:lnTo>
                      <a:pt x="225" y="230"/>
                    </a:lnTo>
                    <a:lnTo>
                      <a:pt x="227" y="231"/>
                    </a:lnTo>
                    <a:lnTo>
                      <a:pt x="228" y="233"/>
                    </a:lnTo>
                    <a:lnTo>
                      <a:pt x="231" y="235"/>
                    </a:lnTo>
                    <a:lnTo>
                      <a:pt x="231" y="235"/>
                    </a:lnTo>
                    <a:lnTo>
                      <a:pt x="231" y="238"/>
                    </a:lnTo>
                    <a:lnTo>
                      <a:pt x="229" y="238"/>
                    </a:lnTo>
                    <a:lnTo>
                      <a:pt x="224" y="240"/>
                    </a:lnTo>
                    <a:lnTo>
                      <a:pt x="222" y="240"/>
                    </a:lnTo>
                    <a:lnTo>
                      <a:pt x="219" y="244"/>
                    </a:lnTo>
                    <a:lnTo>
                      <a:pt x="215" y="251"/>
                    </a:lnTo>
                    <a:lnTo>
                      <a:pt x="212" y="254"/>
                    </a:lnTo>
                    <a:lnTo>
                      <a:pt x="209" y="254"/>
                    </a:lnTo>
                    <a:lnTo>
                      <a:pt x="206" y="253"/>
                    </a:lnTo>
                    <a:lnTo>
                      <a:pt x="204" y="250"/>
                    </a:lnTo>
                    <a:lnTo>
                      <a:pt x="201" y="247"/>
                    </a:lnTo>
                    <a:lnTo>
                      <a:pt x="201" y="244"/>
                    </a:lnTo>
                    <a:lnTo>
                      <a:pt x="201" y="243"/>
                    </a:lnTo>
                    <a:lnTo>
                      <a:pt x="201" y="241"/>
                    </a:lnTo>
                    <a:lnTo>
                      <a:pt x="201" y="238"/>
                    </a:lnTo>
                    <a:lnTo>
                      <a:pt x="201" y="238"/>
                    </a:lnTo>
                    <a:lnTo>
                      <a:pt x="204" y="237"/>
                    </a:lnTo>
                    <a:lnTo>
                      <a:pt x="205" y="235"/>
                    </a:lnTo>
                    <a:lnTo>
                      <a:pt x="205" y="234"/>
                    </a:lnTo>
                    <a:lnTo>
                      <a:pt x="205" y="233"/>
                    </a:lnTo>
                    <a:lnTo>
                      <a:pt x="205" y="231"/>
                    </a:lnTo>
                    <a:lnTo>
                      <a:pt x="204" y="231"/>
                    </a:lnTo>
                    <a:lnTo>
                      <a:pt x="201" y="231"/>
                    </a:lnTo>
                    <a:lnTo>
                      <a:pt x="198" y="231"/>
                    </a:lnTo>
                    <a:lnTo>
                      <a:pt x="192" y="230"/>
                    </a:lnTo>
                    <a:lnTo>
                      <a:pt x="189" y="230"/>
                    </a:lnTo>
                    <a:lnTo>
                      <a:pt x="186" y="230"/>
                    </a:lnTo>
                    <a:lnTo>
                      <a:pt x="179" y="234"/>
                    </a:lnTo>
                    <a:lnTo>
                      <a:pt x="162" y="238"/>
                    </a:lnTo>
                    <a:lnTo>
                      <a:pt x="159" y="238"/>
                    </a:lnTo>
                    <a:lnTo>
                      <a:pt x="156" y="238"/>
                    </a:lnTo>
                    <a:lnTo>
                      <a:pt x="152" y="238"/>
                    </a:lnTo>
                    <a:lnTo>
                      <a:pt x="150" y="238"/>
                    </a:lnTo>
                    <a:lnTo>
                      <a:pt x="150" y="240"/>
                    </a:lnTo>
                    <a:lnTo>
                      <a:pt x="149" y="241"/>
                    </a:lnTo>
                    <a:lnTo>
                      <a:pt x="148" y="245"/>
                    </a:lnTo>
                    <a:lnTo>
                      <a:pt x="148" y="247"/>
                    </a:lnTo>
                    <a:lnTo>
                      <a:pt x="143" y="244"/>
                    </a:lnTo>
                    <a:lnTo>
                      <a:pt x="140" y="244"/>
                    </a:lnTo>
                    <a:lnTo>
                      <a:pt x="136" y="244"/>
                    </a:lnTo>
                    <a:lnTo>
                      <a:pt x="133" y="245"/>
                    </a:lnTo>
                    <a:lnTo>
                      <a:pt x="132" y="245"/>
                    </a:lnTo>
                    <a:lnTo>
                      <a:pt x="130" y="244"/>
                    </a:lnTo>
                    <a:lnTo>
                      <a:pt x="129" y="244"/>
                    </a:lnTo>
                    <a:lnTo>
                      <a:pt x="128" y="244"/>
                    </a:lnTo>
                    <a:lnTo>
                      <a:pt x="126" y="244"/>
                    </a:lnTo>
                    <a:lnTo>
                      <a:pt x="126" y="241"/>
                    </a:lnTo>
                    <a:lnTo>
                      <a:pt x="126" y="240"/>
                    </a:lnTo>
                    <a:lnTo>
                      <a:pt x="128" y="237"/>
                    </a:lnTo>
                    <a:lnTo>
                      <a:pt x="129" y="237"/>
                    </a:lnTo>
                    <a:lnTo>
                      <a:pt x="130" y="237"/>
                    </a:lnTo>
                    <a:lnTo>
                      <a:pt x="132" y="237"/>
                    </a:lnTo>
                    <a:lnTo>
                      <a:pt x="133" y="237"/>
                    </a:lnTo>
                    <a:lnTo>
                      <a:pt x="136" y="235"/>
                    </a:lnTo>
                    <a:lnTo>
                      <a:pt x="139" y="233"/>
                    </a:lnTo>
                    <a:lnTo>
                      <a:pt x="158" y="215"/>
                    </a:lnTo>
                    <a:lnTo>
                      <a:pt x="162" y="214"/>
                    </a:lnTo>
                    <a:lnTo>
                      <a:pt x="165" y="214"/>
                    </a:lnTo>
                    <a:close/>
                    <a:moveTo>
                      <a:pt x="168" y="201"/>
                    </a:moveTo>
                    <a:lnTo>
                      <a:pt x="166" y="199"/>
                    </a:lnTo>
                    <a:lnTo>
                      <a:pt x="166" y="198"/>
                    </a:lnTo>
                    <a:lnTo>
                      <a:pt x="168" y="198"/>
                    </a:lnTo>
                    <a:lnTo>
                      <a:pt x="169" y="198"/>
                    </a:lnTo>
                    <a:lnTo>
                      <a:pt x="171" y="199"/>
                    </a:lnTo>
                    <a:lnTo>
                      <a:pt x="169" y="199"/>
                    </a:lnTo>
                    <a:lnTo>
                      <a:pt x="169" y="201"/>
                    </a:lnTo>
                    <a:lnTo>
                      <a:pt x="168" y="201"/>
                    </a:lnTo>
                    <a:close/>
                    <a:moveTo>
                      <a:pt x="97" y="238"/>
                    </a:moveTo>
                    <a:lnTo>
                      <a:pt x="99" y="238"/>
                    </a:lnTo>
                    <a:lnTo>
                      <a:pt x="99" y="240"/>
                    </a:lnTo>
                    <a:lnTo>
                      <a:pt x="97" y="241"/>
                    </a:lnTo>
                    <a:lnTo>
                      <a:pt x="96" y="243"/>
                    </a:lnTo>
                    <a:lnTo>
                      <a:pt x="96" y="241"/>
                    </a:lnTo>
                    <a:lnTo>
                      <a:pt x="96" y="241"/>
                    </a:lnTo>
                    <a:lnTo>
                      <a:pt x="97" y="238"/>
                    </a:lnTo>
                    <a:close/>
                    <a:moveTo>
                      <a:pt x="94" y="266"/>
                    </a:moveTo>
                    <a:lnTo>
                      <a:pt x="94" y="267"/>
                    </a:lnTo>
                    <a:lnTo>
                      <a:pt x="93" y="266"/>
                    </a:lnTo>
                    <a:lnTo>
                      <a:pt x="93" y="266"/>
                    </a:lnTo>
                    <a:lnTo>
                      <a:pt x="94" y="263"/>
                    </a:lnTo>
                    <a:lnTo>
                      <a:pt x="94" y="261"/>
                    </a:lnTo>
                    <a:lnTo>
                      <a:pt x="96" y="264"/>
                    </a:lnTo>
                    <a:lnTo>
                      <a:pt x="96" y="264"/>
                    </a:lnTo>
                    <a:lnTo>
                      <a:pt x="94" y="266"/>
                    </a:lnTo>
                    <a:close/>
                    <a:moveTo>
                      <a:pt x="100" y="260"/>
                    </a:moveTo>
                    <a:lnTo>
                      <a:pt x="100" y="258"/>
                    </a:lnTo>
                    <a:lnTo>
                      <a:pt x="102" y="257"/>
                    </a:lnTo>
                    <a:lnTo>
                      <a:pt x="103" y="257"/>
                    </a:lnTo>
                    <a:lnTo>
                      <a:pt x="102" y="258"/>
                    </a:lnTo>
                    <a:lnTo>
                      <a:pt x="102" y="260"/>
                    </a:lnTo>
                    <a:lnTo>
                      <a:pt x="100" y="260"/>
                    </a:lnTo>
                    <a:lnTo>
                      <a:pt x="99" y="261"/>
                    </a:lnTo>
                    <a:lnTo>
                      <a:pt x="100" y="260"/>
                    </a:lnTo>
                    <a:close/>
                    <a:moveTo>
                      <a:pt x="100" y="231"/>
                    </a:moveTo>
                    <a:lnTo>
                      <a:pt x="102" y="233"/>
                    </a:lnTo>
                    <a:lnTo>
                      <a:pt x="100" y="234"/>
                    </a:lnTo>
                    <a:lnTo>
                      <a:pt x="100" y="235"/>
                    </a:lnTo>
                    <a:lnTo>
                      <a:pt x="99" y="238"/>
                    </a:lnTo>
                    <a:lnTo>
                      <a:pt x="97" y="237"/>
                    </a:lnTo>
                    <a:lnTo>
                      <a:pt x="97" y="234"/>
                    </a:lnTo>
                    <a:lnTo>
                      <a:pt x="99" y="233"/>
                    </a:lnTo>
                    <a:lnTo>
                      <a:pt x="100" y="231"/>
                    </a:lnTo>
                    <a:close/>
                    <a:moveTo>
                      <a:pt x="70" y="394"/>
                    </a:moveTo>
                    <a:lnTo>
                      <a:pt x="71" y="391"/>
                    </a:lnTo>
                    <a:lnTo>
                      <a:pt x="71" y="391"/>
                    </a:lnTo>
                    <a:lnTo>
                      <a:pt x="74" y="388"/>
                    </a:lnTo>
                    <a:lnTo>
                      <a:pt x="74" y="388"/>
                    </a:lnTo>
                    <a:lnTo>
                      <a:pt x="73" y="386"/>
                    </a:lnTo>
                    <a:lnTo>
                      <a:pt x="73" y="386"/>
                    </a:lnTo>
                    <a:lnTo>
                      <a:pt x="74" y="386"/>
                    </a:lnTo>
                    <a:lnTo>
                      <a:pt x="74" y="386"/>
                    </a:lnTo>
                    <a:lnTo>
                      <a:pt x="74" y="386"/>
                    </a:lnTo>
                    <a:lnTo>
                      <a:pt x="74" y="386"/>
                    </a:lnTo>
                    <a:lnTo>
                      <a:pt x="76" y="386"/>
                    </a:lnTo>
                    <a:lnTo>
                      <a:pt x="77" y="386"/>
                    </a:lnTo>
                    <a:lnTo>
                      <a:pt x="77" y="386"/>
                    </a:lnTo>
                    <a:lnTo>
                      <a:pt x="77" y="385"/>
                    </a:lnTo>
                    <a:lnTo>
                      <a:pt x="79" y="385"/>
                    </a:lnTo>
                    <a:lnTo>
                      <a:pt x="79" y="383"/>
                    </a:lnTo>
                    <a:lnTo>
                      <a:pt x="80" y="382"/>
                    </a:lnTo>
                    <a:lnTo>
                      <a:pt x="82" y="383"/>
                    </a:lnTo>
                    <a:lnTo>
                      <a:pt x="80" y="386"/>
                    </a:lnTo>
                    <a:lnTo>
                      <a:pt x="74" y="391"/>
                    </a:lnTo>
                    <a:lnTo>
                      <a:pt x="73" y="394"/>
                    </a:lnTo>
                    <a:lnTo>
                      <a:pt x="73" y="394"/>
                    </a:lnTo>
                    <a:lnTo>
                      <a:pt x="71" y="396"/>
                    </a:lnTo>
                    <a:lnTo>
                      <a:pt x="70" y="398"/>
                    </a:lnTo>
                    <a:lnTo>
                      <a:pt x="69" y="398"/>
                    </a:lnTo>
                    <a:lnTo>
                      <a:pt x="69" y="396"/>
                    </a:lnTo>
                    <a:lnTo>
                      <a:pt x="70" y="394"/>
                    </a:lnTo>
                    <a:close/>
                    <a:moveTo>
                      <a:pt x="106" y="289"/>
                    </a:moveTo>
                    <a:lnTo>
                      <a:pt x="106" y="289"/>
                    </a:lnTo>
                    <a:lnTo>
                      <a:pt x="106" y="290"/>
                    </a:lnTo>
                    <a:lnTo>
                      <a:pt x="105" y="290"/>
                    </a:lnTo>
                    <a:lnTo>
                      <a:pt x="106" y="289"/>
                    </a:lnTo>
                    <a:lnTo>
                      <a:pt x="106" y="289"/>
                    </a:lnTo>
                    <a:lnTo>
                      <a:pt x="106" y="287"/>
                    </a:lnTo>
                    <a:lnTo>
                      <a:pt x="107" y="289"/>
                    </a:lnTo>
                    <a:lnTo>
                      <a:pt x="106" y="289"/>
                    </a:lnTo>
                    <a:close/>
                    <a:moveTo>
                      <a:pt x="110" y="279"/>
                    </a:moveTo>
                    <a:lnTo>
                      <a:pt x="110" y="279"/>
                    </a:lnTo>
                    <a:lnTo>
                      <a:pt x="110" y="277"/>
                    </a:lnTo>
                    <a:lnTo>
                      <a:pt x="110" y="276"/>
                    </a:lnTo>
                    <a:lnTo>
                      <a:pt x="110" y="273"/>
                    </a:lnTo>
                    <a:lnTo>
                      <a:pt x="113" y="273"/>
                    </a:lnTo>
                    <a:lnTo>
                      <a:pt x="113" y="274"/>
                    </a:lnTo>
                    <a:lnTo>
                      <a:pt x="115" y="276"/>
                    </a:lnTo>
                    <a:lnTo>
                      <a:pt x="115" y="277"/>
                    </a:lnTo>
                    <a:lnTo>
                      <a:pt x="113" y="277"/>
                    </a:lnTo>
                    <a:lnTo>
                      <a:pt x="112" y="279"/>
                    </a:lnTo>
                    <a:lnTo>
                      <a:pt x="112" y="279"/>
                    </a:lnTo>
                    <a:lnTo>
                      <a:pt x="110" y="280"/>
                    </a:lnTo>
                    <a:lnTo>
                      <a:pt x="110" y="279"/>
                    </a:lnTo>
                    <a:lnTo>
                      <a:pt x="110" y="279"/>
                    </a:lnTo>
                    <a:lnTo>
                      <a:pt x="110" y="279"/>
                    </a:lnTo>
                    <a:close/>
                    <a:moveTo>
                      <a:pt x="129" y="310"/>
                    </a:moveTo>
                    <a:lnTo>
                      <a:pt x="128" y="313"/>
                    </a:lnTo>
                    <a:lnTo>
                      <a:pt x="126" y="314"/>
                    </a:lnTo>
                    <a:lnTo>
                      <a:pt x="128" y="309"/>
                    </a:lnTo>
                    <a:lnTo>
                      <a:pt x="128" y="306"/>
                    </a:lnTo>
                    <a:lnTo>
                      <a:pt x="129" y="306"/>
                    </a:lnTo>
                    <a:lnTo>
                      <a:pt x="129" y="309"/>
                    </a:lnTo>
                    <a:lnTo>
                      <a:pt x="129" y="310"/>
                    </a:lnTo>
                    <a:close/>
                    <a:moveTo>
                      <a:pt x="119" y="316"/>
                    </a:moveTo>
                    <a:lnTo>
                      <a:pt x="117" y="316"/>
                    </a:lnTo>
                    <a:lnTo>
                      <a:pt x="117" y="314"/>
                    </a:lnTo>
                    <a:lnTo>
                      <a:pt x="117" y="313"/>
                    </a:lnTo>
                    <a:lnTo>
                      <a:pt x="119" y="313"/>
                    </a:lnTo>
                    <a:lnTo>
                      <a:pt x="120" y="313"/>
                    </a:lnTo>
                    <a:lnTo>
                      <a:pt x="122" y="314"/>
                    </a:lnTo>
                    <a:lnTo>
                      <a:pt x="122" y="316"/>
                    </a:lnTo>
                    <a:lnTo>
                      <a:pt x="119" y="316"/>
                    </a:lnTo>
                    <a:close/>
                    <a:moveTo>
                      <a:pt x="283" y="261"/>
                    </a:moveTo>
                    <a:lnTo>
                      <a:pt x="283" y="263"/>
                    </a:lnTo>
                    <a:lnTo>
                      <a:pt x="283" y="263"/>
                    </a:lnTo>
                    <a:lnTo>
                      <a:pt x="284" y="263"/>
                    </a:lnTo>
                    <a:lnTo>
                      <a:pt x="283" y="261"/>
                    </a:lnTo>
                    <a:close/>
                    <a:moveTo>
                      <a:pt x="275" y="230"/>
                    </a:moveTo>
                    <a:lnTo>
                      <a:pt x="277" y="230"/>
                    </a:lnTo>
                    <a:lnTo>
                      <a:pt x="277" y="230"/>
                    </a:lnTo>
                    <a:lnTo>
                      <a:pt x="277" y="228"/>
                    </a:lnTo>
                    <a:lnTo>
                      <a:pt x="275" y="228"/>
                    </a:lnTo>
                    <a:lnTo>
                      <a:pt x="275" y="228"/>
                    </a:lnTo>
                    <a:lnTo>
                      <a:pt x="275" y="230"/>
                    </a:lnTo>
                    <a:lnTo>
                      <a:pt x="275" y="230"/>
                    </a:lnTo>
                    <a:lnTo>
                      <a:pt x="275" y="23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8" name="Freeform 144">
                <a:extLst>
                  <a:ext uri="{FF2B5EF4-FFF2-40B4-BE49-F238E27FC236}">
                    <a16:creationId xmlns:a16="http://schemas.microsoft.com/office/drawing/2014/main" id="{2A8D28E7-D47E-6EE3-A001-9BEA8408A6BC}"/>
                  </a:ext>
                </a:extLst>
              </p:cNvPr>
              <p:cNvSpPr>
                <a:spLocks noEditPoints="1"/>
              </p:cNvSpPr>
              <p:nvPr/>
            </p:nvSpPr>
            <p:spPr bwMode="auto">
              <a:xfrm>
                <a:off x="7499629" y="2558020"/>
                <a:ext cx="1554407" cy="1080132"/>
              </a:xfrm>
              <a:custGeom>
                <a:avLst/>
                <a:gdLst>
                  <a:gd name="T0" fmla="*/ 626 w 1075"/>
                  <a:gd name="T1" fmla="*/ 719 h 747"/>
                  <a:gd name="T2" fmla="*/ 687 w 1075"/>
                  <a:gd name="T3" fmla="*/ 683 h 747"/>
                  <a:gd name="T4" fmla="*/ 848 w 1075"/>
                  <a:gd name="T5" fmla="*/ 493 h 747"/>
                  <a:gd name="T6" fmla="*/ 1072 w 1075"/>
                  <a:gd name="T7" fmla="*/ 134 h 747"/>
                  <a:gd name="T8" fmla="*/ 1013 w 1075"/>
                  <a:gd name="T9" fmla="*/ 148 h 747"/>
                  <a:gd name="T10" fmla="*/ 984 w 1075"/>
                  <a:gd name="T11" fmla="*/ 109 h 747"/>
                  <a:gd name="T12" fmla="*/ 948 w 1075"/>
                  <a:gd name="T13" fmla="*/ 85 h 747"/>
                  <a:gd name="T14" fmla="*/ 927 w 1075"/>
                  <a:gd name="T15" fmla="*/ 30 h 747"/>
                  <a:gd name="T16" fmla="*/ 878 w 1075"/>
                  <a:gd name="T17" fmla="*/ 0 h 747"/>
                  <a:gd name="T18" fmla="*/ 829 w 1075"/>
                  <a:gd name="T19" fmla="*/ 34 h 747"/>
                  <a:gd name="T20" fmla="*/ 802 w 1075"/>
                  <a:gd name="T21" fmla="*/ 78 h 747"/>
                  <a:gd name="T22" fmla="*/ 741 w 1075"/>
                  <a:gd name="T23" fmla="*/ 132 h 747"/>
                  <a:gd name="T24" fmla="*/ 799 w 1075"/>
                  <a:gd name="T25" fmla="*/ 148 h 747"/>
                  <a:gd name="T26" fmla="*/ 749 w 1075"/>
                  <a:gd name="T27" fmla="*/ 193 h 747"/>
                  <a:gd name="T28" fmla="*/ 642 w 1075"/>
                  <a:gd name="T29" fmla="*/ 263 h 747"/>
                  <a:gd name="T30" fmla="*/ 400 w 1075"/>
                  <a:gd name="T31" fmla="*/ 259 h 747"/>
                  <a:gd name="T32" fmla="*/ 305 w 1075"/>
                  <a:gd name="T33" fmla="*/ 205 h 747"/>
                  <a:gd name="T34" fmla="*/ 255 w 1075"/>
                  <a:gd name="T35" fmla="*/ 128 h 747"/>
                  <a:gd name="T36" fmla="*/ 213 w 1075"/>
                  <a:gd name="T37" fmla="*/ 132 h 747"/>
                  <a:gd name="T38" fmla="*/ 158 w 1075"/>
                  <a:gd name="T39" fmla="*/ 203 h 747"/>
                  <a:gd name="T40" fmla="*/ 122 w 1075"/>
                  <a:gd name="T41" fmla="*/ 259 h 747"/>
                  <a:gd name="T42" fmla="*/ 35 w 1075"/>
                  <a:gd name="T43" fmla="*/ 310 h 747"/>
                  <a:gd name="T44" fmla="*/ 3 w 1075"/>
                  <a:gd name="T45" fmla="*/ 351 h 747"/>
                  <a:gd name="T46" fmla="*/ 28 w 1075"/>
                  <a:gd name="T47" fmla="*/ 385 h 747"/>
                  <a:gd name="T48" fmla="*/ 76 w 1075"/>
                  <a:gd name="T49" fmla="*/ 415 h 747"/>
                  <a:gd name="T50" fmla="*/ 91 w 1075"/>
                  <a:gd name="T51" fmla="*/ 445 h 747"/>
                  <a:gd name="T52" fmla="*/ 94 w 1075"/>
                  <a:gd name="T53" fmla="*/ 477 h 747"/>
                  <a:gd name="T54" fmla="*/ 89 w 1075"/>
                  <a:gd name="T55" fmla="*/ 487 h 747"/>
                  <a:gd name="T56" fmla="*/ 115 w 1075"/>
                  <a:gd name="T57" fmla="*/ 506 h 747"/>
                  <a:gd name="T58" fmla="*/ 201 w 1075"/>
                  <a:gd name="T59" fmla="*/ 548 h 747"/>
                  <a:gd name="T60" fmla="*/ 260 w 1075"/>
                  <a:gd name="T61" fmla="*/ 560 h 747"/>
                  <a:gd name="T62" fmla="*/ 295 w 1075"/>
                  <a:gd name="T63" fmla="*/ 558 h 747"/>
                  <a:gd name="T64" fmla="*/ 335 w 1075"/>
                  <a:gd name="T65" fmla="*/ 559 h 747"/>
                  <a:gd name="T66" fmla="*/ 361 w 1075"/>
                  <a:gd name="T67" fmla="*/ 540 h 747"/>
                  <a:gd name="T68" fmla="*/ 395 w 1075"/>
                  <a:gd name="T69" fmla="*/ 533 h 747"/>
                  <a:gd name="T70" fmla="*/ 400 w 1075"/>
                  <a:gd name="T71" fmla="*/ 550 h 747"/>
                  <a:gd name="T72" fmla="*/ 431 w 1075"/>
                  <a:gd name="T73" fmla="*/ 559 h 747"/>
                  <a:gd name="T74" fmla="*/ 424 w 1075"/>
                  <a:gd name="T75" fmla="*/ 619 h 747"/>
                  <a:gd name="T76" fmla="*/ 454 w 1075"/>
                  <a:gd name="T77" fmla="*/ 658 h 747"/>
                  <a:gd name="T78" fmla="*/ 493 w 1075"/>
                  <a:gd name="T79" fmla="*/ 693 h 747"/>
                  <a:gd name="T80" fmla="*/ 529 w 1075"/>
                  <a:gd name="T81" fmla="*/ 662 h 747"/>
                  <a:gd name="T82" fmla="*/ 583 w 1075"/>
                  <a:gd name="T83" fmla="*/ 662 h 747"/>
                  <a:gd name="T84" fmla="*/ 631 w 1075"/>
                  <a:gd name="T85" fmla="*/ 685 h 747"/>
                  <a:gd name="T86" fmla="*/ 647 w 1075"/>
                  <a:gd name="T87" fmla="*/ 690 h 747"/>
                  <a:gd name="T88" fmla="*/ 685 w 1075"/>
                  <a:gd name="T89" fmla="*/ 681 h 747"/>
                  <a:gd name="T90" fmla="*/ 714 w 1075"/>
                  <a:gd name="T91" fmla="*/ 665 h 747"/>
                  <a:gd name="T92" fmla="*/ 754 w 1075"/>
                  <a:gd name="T93" fmla="*/ 655 h 747"/>
                  <a:gd name="T94" fmla="*/ 780 w 1075"/>
                  <a:gd name="T95" fmla="*/ 629 h 747"/>
                  <a:gd name="T96" fmla="*/ 809 w 1075"/>
                  <a:gd name="T97" fmla="*/ 611 h 747"/>
                  <a:gd name="T98" fmla="*/ 826 w 1075"/>
                  <a:gd name="T99" fmla="*/ 572 h 747"/>
                  <a:gd name="T100" fmla="*/ 851 w 1075"/>
                  <a:gd name="T101" fmla="*/ 530 h 747"/>
                  <a:gd name="T102" fmla="*/ 848 w 1075"/>
                  <a:gd name="T103" fmla="*/ 503 h 747"/>
                  <a:gd name="T104" fmla="*/ 832 w 1075"/>
                  <a:gd name="T105" fmla="*/ 468 h 747"/>
                  <a:gd name="T106" fmla="*/ 830 w 1075"/>
                  <a:gd name="T107" fmla="*/ 392 h 747"/>
                  <a:gd name="T108" fmla="*/ 849 w 1075"/>
                  <a:gd name="T109" fmla="*/ 375 h 747"/>
                  <a:gd name="T110" fmla="*/ 773 w 1075"/>
                  <a:gd name="T111" fmla="*/ 352 h 747"/>
                  <a:gd name="T112" fmla="*/ 853 w 1075"/>
                  <a:gd name="T113" fmla="*/ 315 h 747"/>
                  <a:gd name="T114" fmla="*/ 848 w 1075"/>
                  <a:gd name="T115" fmla="*/ 343 h 747"/>
                  <a:gd name="T116" fmla="*/ 951 w 1075"/>
                  <a:gd name="T117" fmla="*/ 290 h 747"/>
                  <a:gd name="T118" fmla="*/ 1001 w 1075"/>
                  <a:gd name="T119" fmla="*/ 264 h 747"/>
                  <a:gd name="T120" fmla="*/ 1009 w 1075"/>
                  <a:gd name="T121" fmla="*/ 217 h 747"/>
                  <a:gd name="T122" fmla="*/ 1047 w 1075"/>
                  <a:gd name="T123" fmla="*/ 198 h 747"/>
                  <a:gd name="T124" fmla="*/ 1065 w 1075"/>
                  <a:gd name="T125" fmla="*/ 162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5" h="747">
                    <a:moveTo>
                      <a:pt x="812" y="606"/>
                    </a:moveTo>
                    <a:lnTo>
                      <a:pt x="813" y="608"/>
                    </a:lnTo>
                    <a:lnTo>
                      <a:pt x="812" y="609"/>
                    </a:lnTo>
                    <a:lnTo>
                      <a:pt x="812" y="611"/>
                    </a:lnTo>
                    <a:lnTo>
                      <a:pt x="810" y="611"/>
                    </a:lnTo>
                    <a:lnTo>
                      <a:pt x="810" y="608"/>
                    </a:lnTo>
                    <a:lnTo>
                      <a:pt x="812" y="608"/>
                    </a:lnTo>
                    <a:lnTo>
                      <a:pt x="812" y="606"/>
                    </a:lnTo>
                    <a:lnTo>
                      <a:pt x="812" y="606"/>
                    </a:lnTo>
                    <a:close/>
                    <a:moveTo>
                      <a:pt x="853" y="526"/>
                    </a:moveTo>
                    <a:lnTo>
                      <a:pt x="853" y="526"/>
                    </a:lnTo>
                    <a:lnTo>
                      <a:pt x="852" y="526"/>
                    </a:lnTo>
                    <a:lnTo>
                      <a:pt x="852" y="526"/>
                    </a:lnTo>
                    <a:lnTo>
                      <a:pt x="852" y="526"/>
                    </a:lnTo>
                    <a:lnTo>
                      <a:pt x="852" y="527"/>
                    </a:lnTo>
                    <a:lnTo>
                      <a:pt x="853" y="527"/>
                    </a:lnTo>
                    <a:lnTo>
                      <a:pt x="853" y="527"/>
                    </a:lnTo>
                    <a:lnTo>
                      <a:pt x="853" y="526"/>
                    </a:lnTo>
                    <a:close/>
                    <a:moveTo>
                      <a:pt x="782" y="629"/>
                    </a:moveTo>
                    <a:lnTo>
                      <a:pt x="783" y="629"/>
                    </a:lnTo>
                    <a:lnTo>
                      <a:pt x="783" y="629"/>
                    </a:lnTo>
                    <a:lnTo>
                      <a:pt x="782" y="628"/>
                    </a:lnTo>
                    <a:lnTo>
                      <a:pt x="782" y="629"/>
                    </a:lnTo>
                    <a:close/>
                    <a:moveTo>
                      <a:pt x="655" y="714"/>
                    </a:moveTo>
                    <a:lnTo>
                      <a:pt x="652" y="713"/>
                    </a:lnTo>
                    <a:lnTo>
                      <a:pt x="651" y="713"/>
                    </a:lnTo>
                    <a:lnTo>
                      <a:pt x="649" y="714"/>
                    </a:lnTo>
                    <a:lnTo>
                      <a:pt x="649" y="714"/>
                    </a:lnTo>
                    <a:lnTo>
                      <a:pt x="648" y="714"/>
                    </a:lnTo>
                    <a:lnTo>
                      <a:pt x="647" y="713"/>
                    </a:lnTo>
                    <a:lnTo>
                      <a:pt x="647" y="713"/>
                    </a:lnTo>
                    <a:lnTo>
                      <a:pt x="647" y="714"/>
                    </a:lnTo>
                    <a:lnTo>
                      <a:pt x="645" y="714"/>
                    </a:lnTo>
                    <a:lnTo>
                      <a:pt x="641" y="714"/>
                    </a:lnTo>
                    <a:lnTo>
                      <a:pt x="629" y="716"/>
                    </a:lnTo>
                    <a:lnTo>
                      <a:pt x="626" y="717"/>
                    </a:lnTo>
                    <a:lnTo>
                      <a:pt x="625" y="719"/>
                    </a:lnTo>
                    <a:lnTo>
                      <a:pt x="626" y="719"/>
                    </a:lnTo>
                    <a:lnTo>
                      <a:pt x="626" y="719"/>
                    </a:lnTo>
                    <a:lnTo>
                      <a:pt x="625" y="720"/>
                    </a:lnTo>
                    <a:lnTo>
                      <a:pt x="621" y="723"/>
                    </a:lnTo>
                    <a:lnTo>
                      <a:pt x="618" y="726"/>
                    </a:lnTo>
                    <a:lnTo>
                      <a:pt x="616" y="727"/>
                    </a:lnTo>
                    <a:lnTo>
                      <a:pt x="616" y="729"/>
                    </a:lnTo>
                    <a:lnTo>
                      <a:pt x="616" y="734"/>
                    </a:lnTo>
                    <a:lnTo>
                      <a:pt x="616" y="740"/>
                    </a:lnTo>
                    <a:lnTo>
                      <a:pt x="618" y="742"/>
                    </a:lnTo>
                    <a:lnTo>
                      <a:pt x="621" y="744"/>
                    </a:lnTo>
                    <a:lnTo>
                      <a:pt x="626" y="746"/>
                    </a:lnTo>
                    <a:lnTo>
                      <a:pt x="629" y="747"/>
                    </a:lnTo>
                    <a:lnTo>
                      <a:pt x="631" y="747"/>
                    </a:lnTo>
                    <a:lnTo>
                      <a:pt x="632" y="747"/>
                    </a:lnTo>
                    <a:lnTo>
                      <a:pt x="634" y="747"/>
                    </a:lnTo>
                    <a:lnTo>
                      <a:pt x="634" y="746"/>
                    </a:lnTo>
                    <a:lnTo>
                      <a:pt x="635" y="746"/>
                    </a:lnTo>
                    <a:lnTo>
                      <a:pt x="638" y="744"/>
                    </a:lnTo>
                    <a:lnTo>
                      <a:pt x="639" y="744"/>
                    </a:lnTo>
                    <a:lnTo>
                      <a:pt x="641" y="743"/>
                    </a:lnTo>
                    <a:lnTo>
                      <a:pt x="644" y="740"/>
                    </a:lnTo>
                    <a:lnTo>
                      <a:pt x="647" y="737"/>
                    </a:lnTo>
                    <a:lnTo>
                      <a:pt x="648" y="736"/>
                    </a:lnTo>
                    <a:lnTo>
                      <a:pt x="648" y="734"/>
                    </a:lnTo>
                    <a:lnTo>
                      <a:pt x="651" y="727"/>
                    </a:lnTo>
                    <a:lnTo>
                      <a:pt x="652" y="726"/>
                    </a:lnTo>
                    <a:lnTo>
                      <a:pt x="654" y="724"/>
                    </a:lnTo>
                    <a:lnTo>
                      <a:pt x="655" y="721"/>
                    </a:lnTo>
                    <a:lnTo>
                      <a:pt x="657" y="720"/>
                    </a:lnTo>
                    <a:lnTo>
                      <a:pt x="658" y="719"/>
                    </a:lnTo>
                    <a:lnTo>
                      <a:pt x="657" y="716"/>
                    </a:lnTo>
                    <a:lnTo>
                      <a:pt x="655" y="714"/>
                    </a:lnTo>
                    <a:close/>
                    <a:moveTo>
                      <a:pt x="684" y="683"/>
                    </a:moveTo>
                    <a:lnTo>
                      <a:pt x="684" y="684"/>
                    </a:lnTo>
                    <a:lnTo>
                      <a:pt x="685" y="684"/>
                    </a:lnTo>
                    <a:lnTo>
                      <a:pt x="685" y="684"/>
                    </a:lnTo>
                    <a:lnTo>
                      <a:pt x="685" y="683"/>
                    </a:lnTo>
                    <a:lnTo>
                      <a:pt x="687" y="683"/>
                    </a:lnTo>
                    <a:lnTo>
                      <a:pt x="685" y="683"/>
                    </a:lnTo>
                    <a:lnTo>
                      <a:pt x="684" y="683"/>
                    </a:lnTo>
                    <a:close/>
                    <a:moveTo>
                      <a:pt x="688" y="683"/>
                    </a:moveTo>
                    <a:lnTo>
                      <a:pt x="688" y="683"/>
                    </a:lnTo>
                    <a:lnTo>
                      <a:pt x="688" y="684"/>
                    </a:lnTo>
                    <a:lnTo>
                      <a:pt x="688" y="684"/>
                    </a:lnTo>
                    <a:lnTo>
                      <a:pt x="690" y="683"/>
                    </a:lnTo>
                    <a:lnTo>
                      <a:pt x="690" y="681"/>
                    </a:lnTo>
                    <a:lnTo>
                      <a:pt x="688" y="681"/>
                    </a:lnTo>
                    <a:lnTo>
                      <a:pt x="688" y="683"/>
                    </a:lnTo>
                    <a:close/>
                    <a:moveTo>
                      <a:pt x="838" y="558"/>
                    </a:moveTo>
                    <a:lnTo>
                      <a:pt x="838" y="556"/>
                    </a:lnTo>
                    <a:lnTo>
                      <a:pt x="836" y="556"/>
                    </a:lnTo>
                    <a:lnTo>
                      <a:pt x="836" y="556"/>
                    </a:lnTo>
                    <a:lnTo>
                      <a:pt x="836" y="558"/>
                    </a:lnTo>
                    <a:lnTo>
                      <a:pt x="836" y="558"/>
                    </a:lnTo>
                    <a:lnTo>
                      <a:pt x="836" y="559"/>
                    </a:lnTo>
                    <a:lnTo>
                      <a:pt x="836" y="559"/>
                    </a:lnTo>
                    <a:lnTo>
                      <a:pt x="836" y="559"/>
                    </a:lnTo>
                    <a:lnTo>
                      <a:pt x="838" y="559"/>
                    </a:lnTo>
                    <a:lnTo>
                      <a:pt x="838" y="558"/>
                    </a:lnTo>
                    <a:lnTo>
                      <a:pt x="838" y="558"/>
                    </a:lnTo>
                    <a:lnTo>
                      <a:pt x="838" y="558"/>
                    </a:lnTo>
                    <a:close/>
                    <a:moveTo>
                      <a:pt x="701" y="660"/>
                    </a:moveTo>
                    <a:lnTo>
                      <a:pt x="700" y="660"/>
                    </a:lnTo>
                    <a:lnTo>
                      <a:pt x="700" y="660"/>
                    </a:lnTo>
                    <a:lnTo>
                      <a:pt x="701" y="661"/>
                    </a:lnTo>
                    <a:lnTo>
                      <a:pt x="701" y="661"/>
                    </a:lnTo>
                    <a:lnTo>
                      <a:pt x="703" y="662"/>
                    </a:lnTo>
                    <a:lnTo>
                      <a:pt x="703" y="661"/>
                    </a:lnTo>
                    <a:lnTo>
                      <a:pt x="701" y="660"/>
                    </a:lnTo>
                    <a:lnTo>
                      <a:pt x="701" y="660"/>
                    </a:lnTo>
                    <a:close/>
                    <a:moveTo>
                      <a:pt x="839" y="487"/>
                    </a:moveTo>
                    <a:lnTo>
                      <a:pt x="838" y="487"/>
                    </a:lnTo>
                    <a:lnTo>
                      <a:pt x="839" y="490"/>
                    </a:lnTo>
                    <a:lnTo>
                      <a:pt x="842" y="491"/>
                    </a:lnTo>
                    <a:lnTo>
                      <a:pt x="845" y="493"/>
                    </a:lnTo>
                    <a:lnTo>
                      <a:pt x="848" y="493"/>
                    </a:lnTo>
                    <a:lnTo>
                      <a:pt x="846" y="491"/>
                    </a:lnTo>
                    <a:lnTo>
                      <a:pt x="843" y="489"/>
                    </a:lnTo>
                    <a:lnTo>
                      <a:pt x="839" y="487"/>
                    </a:lnTo>
                    <a:close/>
                    <a:moveTo>
                      <a:pt x="853" y="519"/>
                    </a:moveTo>
                    <a:lnTo>
                      <a:pt x="852" y="519"/>
                    </a:lnTo>
                    <a:lnTo>
                      <a:pt x="851" y="519"/>
                    </a:lnTo>
                    <a:lnTo>
                      <a:pt x="851" y="520"/>
                    </a:lnTo>
                    <a:lnTo>
                      <a:pt x="853" y="522"/>
                    </a:lnTo>
                    <a:lnTo>
                      <a:pt x="855" y="522"/>
                    </a:lnTo>
                    <a:lnTo>
                      <a:pt x="856" y="520"/>
                    </a:lnTo>
                    <a:lnTo>
                      <a:pt x="855" y="520"/>
                    </a:lnTo>
                    <a:lnTo>
                      <a:pt x="853" y="519"/>
                    </a:lnTo>
                    <a:close/>
                    <a:moveTo>
                      <a:pt x="647" y="694"/>
                    </a:moveTo>
                    <a:lnTo>
                      <a:pt x="645" y="694"/>
                    </a:lnTo>
                    <a:lnTo>
                      <a:pt x="644" y="696"/>
                    </a:lnTo>
                    <a:lnTo>
                      <a:pt x="645" y="696"/>
                    </a:lnTo>
                    <a:lnTo>
                      <a:pt x="647" y="696"/>
                    </a:lnTo>
                    <a:lnTo>
                      <a:pt x="648" y="696"/>
                    </a:lnTo>
                    <a:lnTo>
                      <a:pt x="649" y="694"/>
                    </a:lnTo>
                    <a:lnTo>
                      <a:pt x="648" y="694"/>
                    </a:lnTo>
                    <a:lnTo>
                      <a:pt x="647" y="694"/>
                    </a:lnTo>
                    <a:close/>
                    <a:moveTo>
                      <a:pt x="858" y="523"/>
                    </a:moveTo>
                    <a:lnTo>
                      <a:pt x="858" y="522"/>
                    </a:lnTo>
                    <a:lnTo>
                      <a:pt x="858" y="523"/>
                    </a:lnTo>
                    <a:lnTo>
                      <a:pt x="858" y="525"/>
                    </a:lnTo>
                    <a:lnTo>
                      <a:pt x="858" y="525"/>
                    </a:lnTo>
                    <a:lnTo>
                      <a:pt x="858" y="525"/>
                    </a:lnTo>
                    <a:lnTo>
                      <a:pt x="858" y="523"/>
                    </a:lnTo>
                    <a:lnTo>
                      <a:pt x="858" y="523"/>
                    </a:lnTo>
                    <a:lnTo>
                      <a:pt x="858" y="523"/>
                    </a:lnTo>
                    <a:close/>
                    <a:moveTo>
                      <a:pt x="1073" y="142"/>
                    </a:moveTo>
                    <a:lnTo>
                      <a:pt x="1072" y="139"/>
                    </a:lnTo>
                    <a:lnTo>
                      <a:pt x="1073" y="138"/>
                    </a:lnTo>
                    <a:lnTo>
                      <a:pt x="1073" y="138"/>
                    </a:lnTo>
                    <a:lnTo>
                      <a:pt x="1073" y="136"/>
                    </a:lnTo>
                    <a:lnTo>
                      <a:pt x="1073" y="135"/>
                    </a:lnTo>
                    <a:lnTo>
                      <a:pt x="1073" y="134"/>
                    </a:lnTo>
                    <a:lnTo>
                      <a:pt x="1072" y="134"/>
                    </a:lnTo>
                    <a:lnTo>
                      <a:pt x="1070" y="132"/>
                    </a:lnTo>
                    <a:lnTo>
                      <a:pt x="1069" y="132"/>
                    </a:lnTo>
                    <a:lnTo>
                      <a:pt x="1067" y="132"/>
                    </a:lnTo>
                    <a:lnTo>
                      <a:pt x="1066" y="132"/>
                    </a:lnTo>
                    <a:lnTo>
                      <a:pt x="1065" y="132"/>
                    </a:lnTo>
                    <a:lnTo>
                      <a:pt x="1060" y="134"/>
                    </a:lnTo>
                    <a:lnTo>
                      <a:pt x="1059" y="134"/>
                    </a:lnTo>
                    <a:lnTo>
                      <a:pt x="1057" y="135"/>
                    </a:lnTo>
                    <a:lnTo>
                      <a:pt x="1053" y="138"/>
                    </a:lnTo>
                    <a:lnTo>
                      <a:pt x="1053" y="138"/>
                    </a:lnTo>
                    <a:lnTo>
                      <a:pt x="1049" y="138"/>
                    </a:lnTo>
                    <a:lnTo>
                      <a:pt x="1047" y="138"/>
                    </a:lnTo>
                    <a:lnTo>
                      <a:pt x="1046" y="138"/>
                    </a:lnTo>
                    <a:lnTo>
                      <a:pt x="1046" y="138"/>
                    </a:lnTo>
                    <a:lnTo>
                      <a:pt x="1044" y="139"/>
                    </a:lnTo>
                    <a:lnTo>
                      <a:pt x="1043" y="139"/>
                    </a:lnTo>
                    <a:lnTo>
                      <a:pt x="1043" y="141"/>
                    </a:lnTo>
                    <a:lnTo>
                      <a:pt x="1042" y="141"/>
                    </a:lnTo>
                    <a:lnTo>
                      <a:pt x="1040" y="142"/>
                    </a:lnTo>
                    <a:lnTo>
                      <a:pt x="1039" y="142"/>
                    </a:lnTo>
                    <a:lnTo>
                      <a:pt x="1039" y="142"/>
                    </a:lnTo>
                    <a:lnTo>
                      <a:pt x="1037" y="144"/>
                    </a:lnTo>
                    <a:lnTo>
                      <a:pt x="1037" y="145"/>
                    </a:lnTo>
                    <a:lnTo>
                      <a:pt x="1037" y="145"/>
                    </a:lnTo>
                    <a:lnTo>
                      <a:pt x="1036" y="147"/>
                    </a:lnTo>
                    <a:lnTo>
                      <a:pt x="1036" y="147"/>
                    </a:lnTo>
                    <a:lnTo>
                      <a:pt x="1034" y="148"/>
                    </a:lnTo>
                    <a:lnTo>
                      <a:pt x="1033" y="147"/>
                    </a:lnTo>
                    <a:lnTo>
                      <a:pt x="1031" y="147"/>
                    </a:lnTo>
                    <a:lnTo>
                      <a:pt x="1029" y="148"/>
                    </a:lnTo>
                    <a:lnTo>
                      <a:pt x="1026" y="148"/>
                    </a:lnTo>
                    <a:lnTo>
                      <a:pt x="1024" y="148"/>
                    </a:lnTo>
                    <a:lnTo>
                      <a:pt x="1019" y="148"/>
                    </a:lnTo>
                    <a:lnTo>
                      <a:pt x="1017" y="147"/>
                    </a:lnTo>
                    <a:lnTo>
                      <a:pt x="1016" y="147"/>
                    </a:lnTo>
                    <a:lnTo>
                      <a:pt x="1016" y="147"/>
                    </a:lnTo>
                    <a:lnTo>
                      <a:pt x="1014" y="147"/>
                    </a:lnTo>
                    <a:lnTo>
                      <a:pt x="1013" y="148"/>
                    </a:lnTo>
                    <a:lnTo>
                      <a:pt x="1011" y="148"/>
                    </a:lnTo>
                    <a:lnTo>
                      <a:pt x="1010" y="148"/>
                    </a:lnTo>
                    <a:lnTo>
                      <a:pt x="1010" y="148"/>
                    </a:lnTo>
                    <a:lnTo>
                      <a:pt x="1009" y="148"/>
                    </a:lnTo>
                    <a:lnTo>
                      <a:pt x="1007" y="144"/>
                    </a:lnTo>
                    <a:lnTo>
                      <a:pt x="1007" y="142"/>
                    </a:lnTo>
                    <a:lnTo>
                      <a:pt x="1006" y="142"/>
                    </a:lnTo>
                    <a:lnTo>
                      <a:pt x="1006" y="142"/>
                    </a:lnTo>
                    <a:lnTo>
                      <a:pt x="1006" y="141"/>
                    </a:lnTo>
                    <a:lnTo>
                      <a:pt x="1004" y="141"/>
                    </a:lnTo>
                    <a:lnTo>
                      <a:pt x="1004" y="139"/>
                    </a:lnTo>
                    <a:lnTo>
                      <a:pt x="1004" y="139"/>
                    </a:lnTo>
                    <a:lnTo>
                      <a:pt x="1004" y="139"/>
                    </a:lnTo>
                    <a:lnTo>
                      <a:pt x="1004" y="138"/>
                    </a:lnTo>
                    <a:lnTo>
                      <a:pt x="1004" y="136"/>
                    </a:lnTo>
                    <a:lnTo>
                      <a:pt x="1006" y="135"/>
                    </a:lnTo>
                    <a:lnTo>
                      <a:pt x="1006" y="135"/>
                    </a:lnTo>
                    <a:lnTo>
                      <a:pt x="1006" y="134"/>
                    </a:lnTo>
                    <a:lnTo>
                      <a:pt x="1006" y="134"/>
                    </a:lnTo>
                    <a:lnTo>
                      <a:pt x="1006" y="132"/>
                    </a:lnTo>
                    <a:lnTo>
                      <a:pt x="1004" y="131"/>
                    </a:lnTo>
                    <a:lnTo>
                      <a:pt x="1001" y="126"/>
                    </a:lnTo>
                    <a:lnTo>
                      <a:pt x="1001" y="125"/>
                    </a:lnTo>
                    <a:lnTo>
                      <a:pt x="1001" y="124"/>
                    </a:lnTo>
                    <a:lnTo>
                      <a:pt x="1001" y="124"/>
                    </a:lnTo>
                    <a:lnTo>
                      <a:pt x="1001" y="122"/>
                    </a:lnTo>
                    <a:lnTo>
                      <a:pt x="1003" y="122"/>
                    </a:lnTo>
                    <a:lnTo>
                      <a:pt x="1001" y="119"/>
                    </a:lnTo>
                    <a:lnTo>
                      <a:pt x="998" y="119"/>
                    </a:lnTo>
                    <a:lnTo>
                      <a:pt x="997" y="119"/>
                    </a:lnTo>
                    <a:lnTo>
                      <a:pt x="996" y="119"/>
                    </a:lnTo>
                    <a:lnTo>
                      <a:pt x="994" y="118"/>
                    </a:lnTo>
                    <a:lnTo>
                      <a:pt x="991" y="116"/>
                    </a:lnTo>
                    <a:lnTo>
                      <a:pt x="990" y="115"/>
                    </a:lnTo>
                    <a:lnTo>
                      <a:pt x="988" y="111"/>
                    </a:lnTo>
                    <a:lnTo>
                      <a:pt x="986" y="109"/>
                    </a:lnTo>
                    <a:lnTo>
                      <a:pt x="986" y="109"/>
                    </a:lnTo>
                    <a:lnTo>
                      <a:pt x="984" y="109"/>
                    </a:lnTo>
                    <a:lnTo>
                      <a:pt x="984" y="108"/>
                    </a:lnTo>
                    <a:lnTo>
                      <a:pt x="983" y="108"/>
                    </a:lnTo>
                    <a:lnTo>
                      <a:pt x="983" y="106"/>
                    </a:lnTo>
                    <a:lnTo>
                      <a:pt x="981" y="106"/>
                    </a:lnTo>
                    <a:lnTo>
                      <a:pt x="981" y="106"/>
                    </a:lnTo>
                    <a:lnTo>
                      <a:pt x="981" y="106"/>
                    </a:lnTo>
                    <a:lnTo>
                      <a:pt x="980" y="106"/>
                    </a:lnTo>
                    <a:lnTo>
                      <a:pt x="980" y="106"/>
                    </a:lnTo>
                    <a:lnTo>
                      <a:pt x="978" y="106"/>
                    </a:lnTo>
                    <a:lnTo>
                      <a:pt x="978" y="106"/>
                    </a:lnTo>
                    <a:lnTo>
                      <a:pt x="977" y="106"/>
                    </a:lnTo>
                    <a:lnTo>
                      <a:pt x="975" y="106"/>
                    </a:lnTo>
                    <a:lnTo>
                      <a:pt x="975" y="106"/>
                    </a:lnTo>
                    <a:lnTo>
                      <a:pt x="974" y="105"/>
                    </a:lnTo>
                    <a:lnTo>
                      <a:pt x="971" y="103"/>
                    </a:lnTo>
                    <a:lnTo>
                      <a:pt x="970" y="103"/>
                    </a:lnTo>
                    <a:lnTo>
                      <a:pt x="970" y="102"/>
                    </a:lnTo>
                    <a:lnTo>
                      <a:pt x="970" y="102"/>
                    </a:lnTo>
                    <a:lnTo>
                      <a:pt x="968" y="101"/>
                    </a:lnTo>
                    <a:lnTo>
                      <a:pt x="968" y="101"/>
                    </a:lnTo>
                    <a:lnTo>
                      <a:pt x="967" y="101"/>
                    </a:lnTo>
                    <a:lnTo>
                      <a:pt x="961" y="102"/>
                    </a:lnTo>
                    <a:lnTo>
                      <a:pt x="957" y="102"/>
                    </a:lnTo>
                    <a:lnTo>
                      <a:pt x="952" y="101"/>
                    </a:lnTo>
                    <a:lnTo>
                      <a:pt x="952" y="99"/>
                    </a:lnTo>
                    <a:lnTo>
                      <a:pt x="951" y="99"/>
                    </a:lnTo>
                    <a:lnTo>
                      <a:pt x="951" y="99"/>
                    </a:lnTo>
                    <a:lnTo>
                      <a:pt x="951" y="98"/>
                    </a:lnTo>
                    <a:lnTo>
                      <a:pt x="950" y="96"/>
                    </a:lnTo>
                    <a:lnTo>
                      <a:pt x="950" y="96"/>
                    </a:lnTo>
                    <a:lnTo>
                      <a:pt x="948" y="95"/>
                    </a:lnTo>
                    <a:lnTo>
                      <a:pt x="948" y="95"/>
                    </a:lnTo>
                    <a:lnTo>
                      <a:pt x="947" y="92"/>
                    </a:lnTo>
                    <a:lnTo>
                      <a:pt x="948" y="90"/>
                    </a:lnTo>
                    <a:lnTo>
                      <a:pt x="948" y="89"/>
                    </a:lnTo>
                    <a:lnTo>
                      <a:pt x="948" y="86"/>
                    </a:lnTo>
                    <a:lnTo>
                      <a:pt x="948" y="85"/>
                    </a:lnTo>
                    <a:lnTo>
                      <a:pt x="948" y="85"/>
                    </a:lnTo>
                    <a:lnTo>
                      <a:pt x="948" y="85"/>
                    </a:lnTo>
                    <a:lnTo>
                      <a:pt x="947" y="83"/>
                    </a:lnTo>
                    <a:lnTo>
                      <a:pt x="945" y="82"/>
                    </a:lnTo>
                    <a:lnTo>
                      <a:pt x="945" y="82"/>
                    </a:lnTo>
                    <a:lnTo>
                      <a:pt x="945" y="82"/>
                    </a:lnTo>
                    <a:lnTo>
                      <a:pt x="945" y="80"/>
                    </a:lnTo>
                    <a:lnTo>
                      <a:pt x="945" y="79"/>
                    </a:lnTo>
                    <a:lnTo>
                      <a:pt x="944" y="79"/>
                    </a:lnTo>
                    <a:lnTo>
                      <a:pt x="944" y="78"/>
                    </a:lnTo>
                    <a:lnTo>
                      <a:pt x="945" y="76"/>
                    </a:lnTo>
                    <a:lnTo>
                      <a:pt x="945" y="75"/>
                    </a:lnTo>
                    <a:lnTo>
                      <a:pt x="945" y="75"/>
                    </a:lnTo>
                    <a:lnTo>
                      <a:pt x="945" y="73"/>
                    </a:lnTo>
                    <a:lnTo>
                      <a:pt x="944" y="73"/>
                    </a:lnTo>
                    <a:lnTo>
                      <a:pt x="944" y="70"/>
                    </a:lnTo>
                    <a:lnTo>
                      <a:pt x="942" y="67"/>
                    </a:lnTo>
                    <a:lnTo>
                      <a:pt x="940" y="65"/>
                    </a:lnTo>
                    <a:lnTo>
                      <a:pt x="937" y="62"/>
                    </a:lnTo>
                    <a:lnTo>
                      <a:pt x="937" y="59"/>
                    </a:lnTo>
                    <a:lnTo>
                      <a:pt x="935" y="56"/>
                    </a:lnTo>
                    <a:lnTo>
                      <a:pt x="937" y="55"/>
                    </a:lnTo>
                    <a:lnTo>
                      <a:pt x="935" y="53"/>
                    </a:lnTo>
                    <a:lnTo>
                      <a:pt x="935" y="52"/>
                    </a:lnTo>
                    <a:lnTo>
                      <a:pt x="935" y="50"/>
                    </a:lnTo>
                    <a:lnTo>
                      <a:pt x="934" y="49"/>
                    </a:lnTo>
                    <a:lnTo>
                      <a:pt x="934" y="49"/>
                    </a:lnTo>
                    <a:lnTo>
                      <a:pt x="934" y="47"/>
                    </a:lnTo>
                    <a:lnTo>
                      <a:pt x="934" y="46"/>
                    </a:lnTo>
                    <a:lnTo>
                      <a:pt x="934" y="46"/>
                    </a:lnTo>
                    <a:lnTo>
                      <a:pt x="932" y="44"/>
                    </a:lnTo>
                    <a:lnTo>
                      <a:pt x="932" y="43"/>
                    </a:lnTo>
                    <a:lnTo>
                      <a:pt x="930" y="40"/>
                    </a:lnTo>
                    <a:lnTo>
                      <a:pt x="930" y="37"/>
                    </a:lnTo>
                    <a:lnTo>
                      <a:pt x="930" y="34"/>
                    </a:lnTo>
                    <a:lnTo>
                      <a:pt x="928" y="34"/>
                    </a:lnTo>
                    <a:lnTo>
                      <a:pt x="928" y="33"/>
                    </a:lnTo>
                    <a:lnTo>
                      <a:pt x="928" y="30"/>
                    </a:lnTo>
                    <a:lnTo>
                      <a:pt x="927" y="30"/>
                    </a:lnTo>
                    <a:lnTo>
                      <a:pt x="927" y="29"/>
                    </a:lnTo>
                    <a:lnTo>
                      <a:pt x="927" y="29"/>
                    </a:lnTo>
                    <a:lnTo>
                      <a:pt x="927" y="27"/>
                    </a:lnTo>
                    <a:lnTo>
                      <a:pt x="925" y="27"/>
                    </a:lnTo>
                    <a:lnTo>
                      <a:pt x="925" y="27"/>
                    </a:lnTo>
                    <a:lnTo>
                      <a:pt x="924" y="24"/>
                    </a:lnTo>
                    <a:lnTo>
                      <a:pt x="922" y="24"/>
                    </a:lnTo>
                    <a:lnTo>
                      <a:pt x="921" y="23"/>
                    </a:lnTo>
                    <a:lnTo>
                      <a:pt x="922" y="20"/>
                    </a:lnTo>
                    <a:lnTo>
                      <a:pt x="922" y="20"/>
                    </a:lnTo>
                    <a:lnTo>
                      <a:pt x="922" y="20"/>
                    </a:lnTo>
                    <a:lnTo>
                      <a:pt x="921" y="19"/>
                    </a:lnTo>
                    <a:lnTo>
                      <a:pt x="919" y="17"/>
                    </a:lnTo>
                    <a:lnTo>
                      <a:pt x="919" y="16"/>
                    </a:lnTo>
                    <a:lnTo>
                      <a:pt x="917" y="16"/>
                    </a:lnTo>
                    <a:lnTo>
                      <a:pt x="915" y="13"/>
                    </a:lnTo>
                    <a:lnTo>
                      <a:pt x="914" y="11"/>
                    </a:lnTo>
                    <a:lnTo>
                      <a:pt x="911" y="11"/>
                    </a:lnTo>
                    <a:lnTo>
                      <a:pt x="909" y="10"/>
                    </a:lnTo>
                    <a:lnTo>
                      <a:pt x="908" y="9"/>
                    </a:lnTo>
                    <a:lnTo>
                      <a:pt x="907" y="9"/>
                    </a:lnTo>
                    <a:lnTo>
                      <a:pt x="905" y="9"/>
                    </a:lnTo>
                    <a:lnTo>
                      <a:pt x="904" y="9"/>
                    </a:lnTo>
                    <a:lnTo>
                      <a:pt x="902" y="9"/>
                    </a:lnTo>
                    <a:lnTo>
                      <a:pt x="901" y="10"/>
                    </a:lnTo>
                    <a:lnTo>
                      <a:pt x="899" y="10"/>
                    </a:lnTo>
                    <a:lnTo>
                      <a:pt x="896" y="9"/>
                    </a:lnTo>
                    <a:lnTo>
                      <a:pt x="894" y="7"/>
                    </a:lnTo>
                    <a:lnTo>
                      <a:pt x="892" y="7"/>
                    </a:lnTo>
                    <a:lnTo>
                      <a:pt x="891" y="4"/>
                    </a:lnTo>
                    <a:lnTo>
                      <a:pt x="888" y="4"/>
                    </a:lnTo>
                    <a:lnTo>
                      <a:pt x="886" y="4"/>
                    </a:lnTo>
                    <a:lnTo>
                      <a:pt x="886" y="3"/>
                    </a:lnTo>
                    <a:lnTo>
                      <a:pt x="881" y="0"/>
                    </a:lnTo>
                    <a:lnTo>
                      <a:pt x="881" y="0"/>
                    </a:lnTo>
                    <a:lnTo>
                      <a:pt x="879" y="0"/>
                    </a:lnTo>
                    <a:lnTo>
                      <a:pt x="879" y="0"/>
                    </a:lnTo>
                    <a:lnTo>
                      <a:pt x="878" y="0"/>
                    </a:lnTo>
                    <a:lnTo>
                      <a:pt x="876" y="0"/>
                    </a:lnTo>
                    <a:lnTo>
                      <a:pt x="876" y="0"/>
                    </a:lnTo>
                    <a:lnTo>
                      <a:pt x="875" y="0"/>
                    </a:lnTo>
                    <a:lnTo>
                      <a:pt x="875" y="0"/>
                    </a:lnTo>
                    <a:lnTo>
                      <a:pt x="874" y="0"/>
                    </a:lnTo>
                    <a:lnTo>
                      <a:pt x="872" y="0"/>
                    </a:lnTo>
                    <a:lnTo>
                      <a:pt x="871" y="0"/>
                    </a:lnTo>
                    <a:lnTo>
                      <a:pt x="869" y="0"/>
                    </a:lnTo>
                    <a:lnTo>
                      <a:pt x="868" y="1"/>
                    </a:lnTo>
                    <a:lnTo>
                      <a:pt x="866" y="1"/>
                    </a:lnTo>
                    <a:lnTo>
                      <a:pt x="863" y="1"/>
                    </a:lnTo>
                    <a:lnTo>
                      <a:pt x="862" y="1"/>
                    </a:lnTo>
                    <a:lnTo>
                      <a:pt x="859" y="1"/>
                    </a:lnTo>
                    <a:lnTo>
                      <a:pt x="856" y="1"/>
                    </a:lnTo>
                    <a:lnTo>
                      <a:pt x="840" y="6"/>
                    </a:lnTo>
                    <a:lnTo>
                      <a:pt x="836" y="6"/>
                    </a:lnTo>
                    <a:lnTo>
                      <a:pt x="833" y="6"/>
                    </a:lnTo>
                    <a:lnTo>
                      <a:pt x="830" y="7"/>
                    </a:lnTo>
                    <a:lnTo>
                      <a:pt x="828" y="9"/>
                    </a:lnTo>
                    <a:lnTo>
                      <a:pt x="822" y="16"/>
                    </a:lnTo>
                    <a:lnTo>
                      <a:pt x="820" y="17"/>
                    </a:lnTo>
                    <a:lnTo>
                      <a:pt x="819" y="17"/>
                    </a:lnTo>
                    <a:lnTo>
                      <a:pt x="817" y="19"/>
                    </a:lnTo>
                    <a:lnTo>
                      <a:pt x="816" y="20"/>
                    </a:lnTo>
                    <a:lnTo>
                      <a:pt x="816" y="21"/>
                    </a:lnTo>
                    <a:lnTo>
                      <a:pt x="817" y="21"/>
                    </a:lnTo>
                    <a:lnTo>
                      <a:pt x="817" y="23"/>
                    </a:lnTo>
                    <a:lnTo>
                      <a:pt x="819" y="23"/>
                    </a:lnTo>
                    <a:lnTo>
                      <a:pt x="820" y="23"/>
                    </a:lnTo>
                    <a:lnTo>
                      <a:pt x="822" y="21"/>
                    </a:lnTo>
                    <a:lnTo>
                      <a:pt x="825" y="23"/>
                    </a:lnTo>
                    <a:lnTo>
                      <a:pt x="828" y="23"/>
                    </a:lnTo>
                    <a:lnTo>
                      <a:pt x="828" y="26"/>
                    </a:lnTo>
                    <a:lnTo>
                      <a:pt x="828" y="27"/>
                    </a:lnTo>
                    <a:lnTo>
                      <a:pt x="828" y="29"/>
                    </a:lnTo>
                    <a:lnTo>
                      <a:pt x="828" y="30"/>
                    </a:lnTo>
                    <a:lnTo>
                      <a:pt x="829" y="33"/>
                    </a:lnTo>
                    <a:lnTo>
                      <a:pt x="829" y="34"/>
                    </a:lnTo>
                    <a:lnTo>
                      <a:pt x="829" y="34"/>
                    </a:lnTo>
                    <a:lnTo>
                      <a:pt x="829" y="36"/>
                    </a:lnTo>
                    <a:lnTo>
                      <a:pt x="828" y="37"/>
                    </a:lnTo>
                    <a:lnTo>
                      <a:pt x="828" y="37"/>
                    </a:lnTo>
                    <a:lnTo>
                      <a:pt x="828" y="39"/>
                    </a:lnTo>
                    <a:lnTo>
                      <a:pt x="826" y="39"/>
                    </a:lnTo>
                    <a:lnTo>
                      <a:pt x="826" y="40"/>
                    </a:lnTo>
                    <a:lnTo>
                      <a:pt x="825" y="42"/>
                    </a:lnTo>
                    <a:lnTo>
                      <a:pt x="825" y="42"/>
                    </a:lnTo>
                    <a:lnTo>
                      <a:pt x="823" y="43"/>
                    </a:lnTo>
                    <a:lnTo>
                      <a:pt x="822" y="43"/>
                    </a:lnTo>
                    <a:lnTo>
                      <a:pt x="820" y="44"/>
                    </a:lnTo>
                    <a:lnTo>
                      <a:pt x="819" y="46"/>
                    </a:lnTo>
                    <a:lnTo>
                      <a:pt x="816" y="47"/>
                    </a:lnTo>
                    <a:lnTo>
                      <a:pt x="816" y="52"/>
                    </a:lnTo>
                    <a:lnTo>
                      <a:pt x="815" y="53"/>
                    </a:lnTo>
                    <a:lnTo>
                      <a:pt x="813" y="55"/>
                    </a:lnTo>
                    <a:lnTo>
                      <a:pt x="812" y="56"/>
                    </a:lnTo>
                    <a:lnTo>
                      <a:pt x="812" y="57"/>
                    </a:lnTo>
                    <a:lnTo>
                      <a:pt x="812" y="59"/>
                    </a:lnTo>
                    <a:lnTo>
                      <a:pt x="812" y="59"/>
                    </a:lnTo>
                    <a:lnTo>
                      <a:pt x="812" y="60"/>
                    </a:lnTo>
                    <a:lnTo>
                      <a:pt x="810" y="62"/>
                    </a:lnTo>
                    <a:lnTo>
                      <a:pt x="810" y="62"/>
                    </a:lnTo>
                    <a:lnTo>
                      <a:pt x="810" y="63"/>
                    </a:lnTo>
                    <a:lnTo>
                      <a:pt x="809" y="65"/>
                    </a:lnTo>
                    <a:lnTo>
                      <a:pt x="807" y="65"/>
                    </a:lnTo>
                    <a:lnTo>
                      <a:pt x="807" y="66"/>
                    </a:lnTo>
                    <a:lnTo>
                      <a:pt x="807" y="66"/>
                    </a:lnTo>
                    <a:lnTo>
                      <a:pt x="807" y="67"/>
                    </a:lnTo>
                    <a:lnTo>
                      <a:pt x="807" y="69"/>
                    </a:lnTo>
                    <a:lnTo>
                      <a:pt x="807" y="69"/>
                    </a:lnTo>
                    <a:lnTo>
                      <a:pt x="806" y="70"/>
                    </a:lnTo>
                    <a:lnTo>
                      <a:pt x="803" y="75"/>
                    </a:lnTo>
                    <a:lnTo>
                      <a:pt x="803" y="76"/>
                    </a:lnTo>
                    <a:lnTo>
                      <a:pt x="803" y="76"/>
                    </a:lnTo>
                    <a:lnTo>
                      <a:pt x="803" y="78"/>
                    </a:lnTo>
                    <a:lnTo>
                      <a:pt x="802" y="78"/>
                    </a:lnTo>
                    <a:lnTo>
                      <a:pt x="802" y="79"/>
                    </a:lnTo>
                    <a:lnTo>
                      <a:pt x="800" y="79"/>
                    </a:lnTo>
                    <a:lnTo>
                      <a:pt x="802" y="80"/>
                    </a:lnTo>
                    <a:lnTo>
                      <a:pt x="802" y="80"/>
                    </a:lnTo>
                    <a:lnTo>
                      <a:pt x="803" y="80"/>
                    </a:lnTo>
                    <a:lnTo>
                      <a:pt x="803" y="80"/>
                    </a:lnTo>
                    <a:lnTo>
                      <a:pt x="803" y="82"/>
                    </a:lnTo>
                    <a:lnTo>
                      <a:pt x="803" y="82"/>
                    </a:lnTo>
                    <a:lnTo>
                      <a:pt x="805" y="83"/>
                    </a:lnTo>
                    <a:lnTo>
                      <a:pt x="805" y="83"/>
                    </a:lnTo>
                    <a:lnTo>
                      <a:pt x="805" y="83"/>
                    </a:lnTo>
                    <a:lnTo>
                      <a:pt x="805" y="85"/>
                    </a:lnTo>
                    <a:lnTo>
                      <a:pt x="805" y="85"/>
                    </a:lnTo>
                    <a:lnTo>
                      <a:pt x="803" y="86"/>
                    </a:lnTo>
                    <a:lnTo>
                      <a:pt x="803" y="86"/>
                    </a:lnTo>
                    <a:lnTo>
                      <a:pt x="803" y="88"/>
                    </a:lnTo>
                    <a:lnTo>
                      <a:pt x="803" y="88"/>
                    </a:lnTo>
                    <a:lnTo>
                      <a:pt x="803" y="89"/>
                    </a:lnTo>
                    <a:lnTo>
                      <a:pt x="802" y="89"/>
                    </a:lnTo>
                    <a:lnTo>
                      <a:pt x="802" y="89"/>
                    </a:lnTo>
                    <a:lnTo>
                      <a:pt x="800" y="90"/>
                    </a:lnTo>
                    <a:lnTo>
                      <a:pt x="797" y="90"/>
                    </a:lnTo>
                    <a:lnTo>
                      <a:pt x="793" y="92"/>
                    </a:lnTo>
                    <a:lnTo>
                      <a:pt x="789" y="95"/>
                    </a:lnTo>
                    <a:lnTo>
                      <a:pt x="782" y="101"/>
                    </a:lnTo>
                    <a:lnTo>
                      <a:pt x="779" y="102"/>
                    </a:lnTo>
                    <a:lnTo>
                      <a:pt x="777" y="102"/>
                    </a:lnTo>
                    <a:lnTo>
                      <a:pt x="776" y="102"/>
                    </a:lnTo>
                    <a:lnTo>
                      <a:pt x="763" y="98"/>
                    </a:lnTo>
                    <a:lnTo>
                      <a:pt x="761" y="98"/>
                    </a:lnTo>
                    <a:lnTo>
                      <a:pt x="759" y="96"/>
                    </a:lnTo>
                    <a:lnTo>
                      <a:pt x="757" y="95"/>
                    </a:lnTo>
                    <a:lnTo>
                      <a:pt x="746" y="121"/>
                    </a:lnTo>
                    <a:lnTo>
                      <a:pt x="744" y="122"/>
                    </a:lnTo>
                    <a:lnTo>
                      <a:pt x="743" y="125"/>
                    </a:lnTo>
                    <a:lnTo>
                      <a:pt x="741" y="126"/>
                    </a:lnTo>
                    <a:lnTo>
                      <a:pt x="741" y="128"/>
                    </a:lnTo>
                    <a:lnTo>
                      <a:pt x="741" y="132"/>
                    </a:lnTo>
                    <a:lnTo>
                      <a:pt x="741" y="134"/>
                    </a:lnTo>
                    <a:lnTo>
                      <a:pt x="740" y="135"/>
                    </a:lnTo>
                    <a:lnTo>
                      <a:pt x="739" y="136"/>
                    </a:lnTo>
                    <a:lnTo>
                      <a:pt x="737" y="138"/>
                    </a:lnTo>
                    <a:lnTo>
                      <a:pt x="737" y="139"/>
                    </a:lnTo>
                    <a:lnTo>
                      <a:pt x="737" y="141"/>
                    </a:lnTo>
                    <a:lnTo>
                      <a:pt x="739" y="142"/>
                    </a:lnTo>
                    <a:lnTo>
                      <a:pt x="739" y="144"/>
                    </a:lnTo>
                    <a:lnTo>
                      <a:pt x="740" y="145"/>
                    </a:lnTo>
                    <a:lnTo>
                      <a:pt x="741" y="147"/>
                    </a:lnTo>
                    <a:lnTo>
                      <a:pt x="743" y="148"/>
                    </a:lnTo>
                    <a:lnTo>
                      <a:pt x="743" y="148"/>
                    </a:lnTo>
                    <a:lnTo>
                      <a:pt x="744" y="148"/>
                    </a:lnTo>
                    <a:lnTo>
                      <a:pt x="746" y="147"/>
                    </a:lnTo>
                    <a:lnTo>
                      <a:pt x="747" y="145"/>
                    </a:lnTo>
                    <a:lnTo>
                      <a:pt x="749" y="144"/>
                    </a:lnTo>
                    <a:lnTo>
                      <a:pt x="751" y="144"/>
                    </a:lnTo>
                    <a:lnTo>
                      <a:pt x="754" y="144"/>
                    </a:lnTo>
                    <a:lnTo>
                      <a:pt x="757" y="144"/>
                    </a:lnTo>
                    <a:lnTo>
                      <a:pt x="760" y="144"/>
                    </a:lnTo>
                    <a:lnTo>
                      <a:pt x="763" y="145"/>
                    </a:lnTo>
                    <a:lnTo>
                      <a:pt x="767" y="148"/>
                    </a:lnTo>
                    <a:lnTo>
                      <a:pt x="770" y="148"/>
                    </a:lnTo>
                    <a:lnTo>
                      <a:pt x="770" y="148"/>
                    </a:lnTo>
                    <a:lnTo>
                      <a:pt x="774" y="144"/>
                    </a:lnTo>
                    <a:lnTo>
                      <a:pt x="776" y="142"/>
                    </a:lnTo>
                    <a:lnTo>
                      <a:pt x="776" y="141"/>
                    </a:lnTo>
                    <a:lnTo>
                      <a:pt x="777" y="141"/>
                    </a:lnTo>
                    <a:lnTo>
                      <a:pt x="779" y="141"/>
                    </a:lnTo>
                    <a:lnTo>
                      <a:pt x="782" y="139"/>
                    </a:lnTo>
                    <a:lnTo>
                      <a:pt x="784" y="139"/>
                    </a:lnTo>
                    <a:lnTo>
                      <a:pt x="787" y="141"/>
                    </a:lnTo>
                    <a:lnTo>
                      <a:pt x="790" y="142"/>
                    </a:lnTo>
                    <a:lnTo>
                      <a:pt x="792" y="144"/>
                    </a:lnTo>
                    <a:lnTo>
                      <a:pt x="795" y="145"/>
                    </a:lnTo>
                    <a:lnTo>
                      <a:pt x="796" y="147"/>
                    </a:lnTo>
                    <a:lnTo>
                      <a:pt x="796" y="148"/>
                    </a:lnTo>
                    <a:lnTo>
                      <a:pt x="799" y="148"/>
                    </a:lnTo>
                    <a:lnTo>
                      <a:pt x="799" y="149"/>
                    </a:lnTo>
                    <a:lnTo>
                      <a:pt x="800" y="149"/>
                    </a:lnTo>
                    <a:lnTo>
                      <a:pt x="803" y="154"/>
                    </a:lnTo>
                    <a:lnTo>
                      <a:pt x="805" y="155"/>
                    </a:lnTo>
                    <a:lnTo>
                      <a:pt x="807" y="158"/>
                    </a:lnTo>
                    <a:lnTo>
                      <a:pt x="812" y="164"/>
                    </a:lnTo>
                    <a:lnTo>
                      <a:pt x="815" y="170"/>
                    </a:lnTo>
                    <a:lnTo>
                      <a:pt x="810" y="172"/>
                    </a:lnTo>
                    <a:lnTo>
                      <a:pt x="809" y="174"/>
                    </a:lnTo>
                    <a:lnTo>
                      <a:pt x="805" y="174"/>
                    </a:lnTo>
                    <a:lnTo>
                      <a:pt x="802" y="172"/>
                    </a:lnTo>
                    <a:lnTo>
                      <a:pt x="796" y="171"/>
                    </a:lnTo>
                    <a:lnTo>
                      <a:pt x="795" y="171"/>
                    </a:lnTo>
                    <a:lnTo>
                      <a:pt x="783" y="171"/>
                    </a:lnTo>
                    <a:lnTo>
                      <a:pt x="782" y="172"/>
                    </a:lnTo>
                    <a:lnTo>
                      <a:pt x="780" y="172"/>
                    </a:lnTo>
                    <a:lnTo>
                      <a:pt x="777" y="175"/>
                    </a:lnTo>
                    <a:lnTo>
                      <a:pt x="776" y="175"/>
                    </a:lnTo>
                    <a:lnTo>
                      <a:pt x="776" y="175"/>
                    </a:lnTo>
                    <a:lnTo>
                      <a:pt x="773" y="174"/>
                    </a:lnTo>
                    <a:lnTo>
                      <a:pt x="772" y="174"/>
                    </a:lnTo>
                    <a:lnTo>
                      <a:pt x="770" y="174"/>
                    </a:lnTo>
                    <a:lnTo>
                      <a:pt x="770" y="174"/>
                    </a:lnTo>
                    <a:lnTo>
                      <a:pt x="770" y="175"/>
                    </a:lnTo>
                    <a:lnTo>
                      <a:pt x="769" y="177"/>
                    </a:lnTo>
                    <a:lnTo>
                      <a:pt x="769" y="178"/>
                    </a:lnTo>
                    <a:lnTo>
                      <a:pt x="769" y="178"/>
                    </a:lnTo>
                    <a:lnTo>
                      <a:pt x="767" y="180"/>
                    </a:lnTo>
                    <a:lnTo>
                      <a:pt x="766" y="180"/>
                    </a:lnTo>
                    <a:lnTo>
                      <a:pt x="761" y="178"/>
                    </a:lnTo>
                    <a:lnTo>
                      <a:pt x="760" y="178"/>
                    </a:lnTo>
                    <a:lnTo>
                      <a:pt x="757" y="180"/>
                    </a:lnTo>
                    <a:lnTo>
                      <a:pt x="756" y="181"/>
                    </a:lnTo>
                    <a:lnTo>
                      <a:pt x="753" y="184"/>
                    </a:lnTo>
                    <a:lnTo>
                      <a:pt x="751" y="185"/>
                    </a:lnTo>
                    <a:lnTo>
                      <a:pt x="750" y="188"/>
                    </a:lnTo>
                    <a:lnTo>
                      <a:pt x="749" y="191"/>
                    </a:lnTo>
                    <a:lnTo>
                      <a:pt x="749" y="193"/>
                    </a:lnTo>
                    <a:lnTo>
                      <a:pt x="746" y="195"/>
                    </a:lnTo>
                    <a:lnTo>
                      <a:pt x="741" y="198"/>
                    </a:lnTo>
                    <a:lnTo>
                      <a:pt x="739" y="200"/>
                    </a:lnTo>
                    <a:lnTo>
                      <a:pt x="734" y="201"/>
                    </a:lnTo>
                    <a:lnTo>
                      <a:pt x="730" y="201"/>
                    </a:lnTo>
                    <a:lnTo>
                      <a:pt x="727" y="201"/>
                    </a:lnTo>
                    <a:lnTo>
                      <a:pt x="726" y="201"/>
                    </a:lnTo>
                    <a:lnTo>
                      <a:pt x="724" y="201"/>
                    </a:lnTo>
                    <a:lnTo>
                      <a:pt x="723" y="201"/>
                    </a:lnTo>
                    <a:lnTo>
                      <a:pt x="721" y="201"/>
                    </a:lnTo>
                    <a:lnTo>
                      <a:pt x="718" y="203"/>
                    </a:lnTo>
                    <a:lnTo>
                      <a:pt x="713" y="210"/>
                    </a:lnTo>
                    <a:lnTo>
                      <a:pt x="710" y="213"/>
                    </a:lnTo>
                    <a:lnTo>
                      <a:pt x="707" y="214"/>
                    </a:lnTo>
                    <a:lnTo>
                      <a:pt x="704" y="216"/>
                    </a:lnTo>
                    <a:lnTo>
                      <a:pt x="703" y="217"/>
                    </a:lnTo>
                    <a:lnTo>
                      <a:pt x="700" y="216"/>
                    </a:lnTo>
                    <a:lnTo>
                      <a:pt x="694" y="216"/>
                    </a:lnTo>
                    <a:lnTo>
                      <a:pt x="690" y="214"/>
                    </a:lnTo>
                    <a:lnTo>
                      <a:pt x="684" y="211"/>
                    </a:lnTo>
                    <a:lnTo>
                      <a:pt x="680" y="210"/>
                    </a:lnTo>
                    <a:lnTo>
                      <a:pt x="677" y="208"/>
                    </a:lnTo>
                    <a:lnTo>
                      <a:pt x="674" y="210"/>
                    </a:lnTo>
                    <a:lnTo>
                      <a:pt x="671" y="211"/>
                    </a:lnTo>
                    <a:lnTo>
                      <a:pt x="670" y="214"/>
                    </a:lnTo>
                    <a:lnTo>
                      <a:pt x="668" y="216"/>
                    </a:lnTo>
                    <a:lnTo>
                      <a:pt x="667" y="220"/>
                    </a:lnTo>
                    <a:lnTo>
                      <a:pt x="665" y="223"/>
                    </a:lnTo>
                    <a:lnTo>
                      <a:pt x="664" y="226"/>
                    </a:lnTo>
                    <a:lnTo>
                      <a:pt x="665" y="228"/>
                    </a:lnTo>
                    <a:lnTo>
                      <a:pt x="667" y="230"/>
                    </a:lnTo>
                    <a:lnTo>
                      <a:pt x="671" y="234"/>
                    </a:lnTo>
                    <a:lnTo>
                      <a:pt x="672" y="240"/>
                    </a:lnTo>
                    <a:lnTo>
                      <a:pt x="670" y="243"/>
                    </a:lnTo>
                    <a:lnTo>
                      <a:pt x="660" y="247"/>
                    </a:lnTo>
                    <a:lnTo>
                      <a:pt x="655" y="251"/>
                    </a:lnTo>
                    <a:lnTo>
                      <a:pt x="648" y="260"/>
                    </a:lnTo>
                    <a:lnTo>
                      <a:pt x="642" y="263"/>
                    </a:lnTo>
                    <a:lnTo>
                      <a:pt x="629" y="267"/>
                    </a:lnTo>
                    <a:lnTo>
                      <a:pt x="624" y="269"/>
                    </a:lnTo>
                    <a:lnTo>
                      <a:pt x="602" y="270"/>
                    </a:lnTo>
                    <a:lnTo>
                      <a:pt x="589" y="272"/>
                    </a:lnTo>
                    <a:lnTo>
                      <a:pt x="582" y="273"/>
                    </a:lnTo>
                    <a:lnTo>
                      <a:pt x="575" y="274"/>
                    </a:lnTo>
                    <a:lnTo>
                      <a:pt x="556" y="283"/>
                    </a:lnTo>
                    <a:lnTo>
                      <a:pt x="555" y="284"/>
                    </a:lnTo>
                    <a:lnTo>
                      <a:pt x="555" y="286"/>
                    </a:lnTo>
                    <a:lnTo>
                      <a:pt x="553" y="286"/>
                    </a:lnTo>
                    <a:lnTo>
                      <a:pt x="552" y="287"/>
                    </a:lnTo>
                    <a:lnTo>
                      <a:pt x="545" y="286"/>
                    </a:lnTo>
                    <a:lnTo>
                      <a:pt x="543" y="284"/>
                    </a:lnTo>
                    <a:lnTo>
                      <a:pt x="543" y="284"/>
                    </a:lnTo>
                    <a:lnTo>
                      <a:pt x="543" y="282"/>
                    </a:lnTo>
                    <a:lnTo>
                      <a:pt x="533" y="283"/>
                    </a:lnTo>
                    <a:lnTo>
                      <a:pt x="529" y="283"/>
                    </a:lnTo>
                    <a:lnTo>
                      <a:pt x="526" y="283"/>
                    </a:lnTo>
                    <a:lnTo>
                      <a:pt x="520" y="280"/>
                    </a:lnTo>
                    <a:lnTo>
                      <a:pt x="517" y="279"/>
                    </a:lnTo>
                    <a:lnTo>
                      <a:pt x="514" y="277"/>
                    </a:lnTo>
                    <a:lnTo>
                      <a:pt x="504" y="276"/>
                    </a:lnTo>
                    <a:lnTo>
                      <a:pt x="502" y="274"/>
                    </a:lnTo>
                    <a:lnTo>
                      <a:pt x="499" y="273"/>
                    </a:lnTo>
                    <a:lnTo>
                      <a:pt x="497" y="272"/>
                    </a:lnTo>
                    <a:lnTo>
                      <a:pt x="494" y="269"/>
                    </a:lnTo>
                    <a:lnTo>
                      <a:pt x="490" y="267"/>
                    </a:lnTo>
                    <a:lnTo>
                      <a:pt x="484" y="266"/>
                    </a:lnTo>
                    <a:lnTo>
                      <a:pt x="466" y="264"/>
                    </a:lnTo>
                    <a:lnTo>
                      <a:pt x="453" y="264"/>
                    </a:lnTo>
                    <a:lnTo>
                      <a:pt x="446" y="264"/>
                    </a:lnTo>
                    <a:lnTo>
                      <a:pt x="415" y="261"/>
                    </a:lnTo>
                    <a:lnTo>
                      <a:pt x="408" y="261"/>
                    </a:lnTo>
                    <a:lnTo>
                      <a:pt x="404" y="261"/>
                    </a:lnTo>
                    <a:lnTo>
                      <a:pt x="401" y="261"/>
                    </a:lnTo>
                    <a:lnTo>
                      <a:pt x="400" y="261"/>
                    </a:lnTo>
                    <a:lnTo>
                      <a:pt x="400" y="260"/>
                    </a:lnTo>
                    <a:lnTo>
                      <a:pt x="400" y="259"/>
                    </a:lnTo>
                    <a:lnTo>
                      <a:pt x="398" y="257"/>
                    </a:lnTo>
                    <a:lnTo>
                      <a:pt x="398" y="257"/>
                    </a:lnTo>
                    <a:lnTo>
                      <a:pt x="397" y="256"/>
                    </a:lnTo>
                    <a:lnTo>
                      <a:pt x="397" y="256"/>
                    </a:lnTo>
                    <a:lnTo>
                      <a:pt x="394" y="253"/>
                    </a:lnTo>
                    <a:lnTo>
                      <a:pt x="392" y="250"/>
                    </a:lnTo>
                    <a:lnTo>
                      <a:pt x="391" y="249"/>
                    </a:lnTo>
                    <a:lnTo>
                      <a:pt x="387" y="239"/>
                    </a:lnTo>
                    <a:lnTo>
                      <a:pt x="387" y="236"/>
                    </a:lnTo>
                    <a:lnTo>
                      <a:pt x="385" y="234"/>
                    </a:lnTo>
                    <a:lnTo>
                      <a:pt x="384" y="234"/>
                    </a:lnTo>
                    <a:lnTo>
                      <a:pt x="384" y="234"/>
                    </a:lnTo>
                    <a:lnTo>
                      <a:pt x="382" y="233"/>
                    </a:lnTo>
                    <a:lnTo>
                      <a:pt x="382" y="233"/>
                    </a:lnTo>
                    <a:lnTo>
                      <a:pt x="382" y="231"/>
                    </a:lnTo>
                    <a:lnTo>
                      <a:pt x="382" y="228"/>
                    </a:lnTo>
                    <a:lnTo>
                      <a:pt x="382" y="227"/>
                    </a:lnTo>
                    <a:lnTo>
                      <a:pt x="381" y="227"/>
                    </a:lnTo>
                    <a:lnTo>
                      <a:pt x="374" y="227"/>
                    </a:lnTo>
                    <a:lnTo>
                      <a:pt x="372" y="226"/>
                    </a:lnTo>
                    <a:lnTo>
                      <a:pt x="369" y="224"/>
                    </a:lnTo>
                    <a:lnTo>
                      <a:pt x="365" y="221"/>
                    </a:lnTo>
                    <a:lnTo>
                      <a:pt x="362" y="220"/>
                    </a:lnTo>
                    <a:lnTo>
                      <a:pt x="361" y="218"/>
                    </a:lnTo>
                    <a:lnTo>
                      <a:pt x="358" y="218"/>
                    </a:lnTo>
                    <a:lnTo>
                      <a:pt x="356" y="218"/>
                    </a:lnTo>
                    <a:lnTo>
                      <a:pt x="355" y="217"/>
                    </a:lnTo>
                    <a:lnTo>
                      <a:pt x="354" y="214"/>
                    </a:lnTo>
                    <a:lnTo>
                      <a:pt x="352" y="214"/>
                    </a:lnTo>
                    <a:lnTo>
                      <a:pt x="351" y="213"/>
                    </a:lnTo>
                    <a:lnTo>
                      <a:pt x="348" y="211"/>
                    </a:lnTo>
                    <a:lnTo>
                      <a:pt x="346" y="211"/>
                    </a:lnTo>
                    <a:lnTo>
                      <a:pt x="313" y="208"/>
                    </a:lnTo>
                    <a:lnTo>
                      <a:pt x="312" y="208"/>
                    </a:lnTo>
                    <a:lnTo>
                      <a:pt x="308" y="207"/>
                    </a:lnTo>
                    <a:lnTo>
                      <a:pt x="308" y="205"/>
                    </a:lnTo>
                    <a:lnTo>
                      <a:pt x="306" y="205"/>
                    </a:lnTo>
                    <a:lnTo>
                      <a:pt x="305" y="205"/>
                    </a:lnTo>
                    <a:lnTo>
                      <a:pt x="305" y="207"/>
                    </a:lnTo>
                    <a:lnTo>
                      <a:pt x="300" y="203"/>
                    </a:lnTo>
                    <a:lnTo>
                      <a:pt x="300" y="198"/>
                    </a:lnTo>
                    <a:lnTo>
                      <a:pt x="302" y="194"/>
                    </a:lnTo>
                    <a:lnTo>
                      <a:pt x="305" y="187"/>
                    </a:lnTo>
                    <a:lnTo>
                      <a:pt x="305" y="185"/>
                    </a:lnTo>
                    <a:lnTo>
                      <a:pt x="305" y="184"/>
                    </a:lnTo>
                    <a:lnTo>
                      <a:pt x="305" y="181"/>
                    </a:lnTo>
                    <a:lnTo>
                      <a:pt x="305" y="180"/>
                    </a:lnTo>
                    <a:lnTo>
                      <a:pt x="306" y="175"/>
                    </a:lnTo>
                    <a:lnTo>
                      <a:pt x="306" y="174"/>
                    </a:lnTo>
                    <a:lnTo>
                      <a:pt x="305" y="170"/>
                    </a:lnTo>
                    <a:lnTo>
                      <a:pt x="302" y="165"/>
                    </a:lnTo>
                    <a:lnTo>
                      <a:pt x="299" y="161"/>
                    </a:lnTo>
                    <a:lnTo>
                      <a:pt x="296" y="157"/>
                    </a:lnTo>
                    <a:lnTo>
                      <a:pt x="295" y="151"/>
                    </a:lnTo>
                    <a:lnTo>
                      <a:pt x="293" y="149"/>
                    </a:lnTo>
                    <a:lnTo>
                      <a:pt x="293" y="148"/>
                    </a:lnTo>
                    <a:lnTo>
                      <a:pt x="292" y="148"/>
                    </a:lnTo>
                    <a:lnTo>
                      <a:pt x="290" y="147"/>
                    </a:lnTo>
                    <a:lnTo>
                      <a:pt x="289" y="144"/>
                    </a:lnTo>
                    <a:lnTo>
                      <a:pt x="288" y="144"/>
                    </a:lnTo>
                    <a:lnTo>
                      <a:pt x="285" y="144"/>
                    </a:lnTo>
                    <a:lnTo>
                      <a:pt x="283" y="144"/>
                    </a:lnTo>
                    <a:lnTo>
                      <a:pt x="282" y="142"/>
                    </a:lnTo>
                    <a:lnTo>
                      <a:pt x="280" y="141"/>
                    </a:lnTo>
                    <a:lnTo>
                      <a:pt x="279" y="141"/>
                    </a:lnTo>
                    <a:lnTo>
                      <a:pt x="276" y="139"/>
                    </a:lnTo>
                    <a:lnTo>
                      <a:pt x="273" y="139"/>
                    </a:lnTo>
                    <a:lnTo>
                      <a:pt x="272" y="139"/>
                    </a:lnTo>
                    <a:lnTo>
                      <a:pt x="270" y="139"/>
                    </a:lnTo>
                    <a:lnTo>
                      <a:pt x="265" y="136"/>
                    </a:lnTo>
                    <a:lnTo>
                      <a:pt x="263" y="135"/>
                    </a:lnTo>
                    <a:lnTo>
                      <a:pt x="263" y="134"/>
                    </a:lnTo>
                    <a:lnTo>
                      <a:pt x="262" y="132"/>
                    </a:lnTo>
                    <a:lnTo>
                      <a:pt x="262" y="131"/>
                    </a:lnTo>
                    <a:lnTo>
                      <a:pt x="259" y="129"/>
                    </a:lnTo>
                    <a:lnTo>
                      <a:pt x="255" y="128"/>
                    </a:lnTo>
                    <a:lnTo>
                      <a:pt x="253" y="126"/>
                    </a:lnTo>
                    <a:lnTo>
                      <a:pt x="253" y="125"/>
                    </a:lnTo>
                    <a:lnTo>
                      <a:pt x="253" y="124"/>
                    </a:lnTo>
                    <a:lnTo>
                      <a:pt x="253" y="122"/>
                    </a:lnTo>
                    <a:lnTo>
                      <a:pt x="253" y="122"/>
                    </a:lnTo>
                    <a:lnTo>
                      <a:pt x="252" y="121"/>
                    </a:lnTo>
                    <a:lnTo>
                      <a:pt x="250" y="121"/>
                    </a:lnTo>
                    <a:lnTo>
                      <a:pt x="249" y="119"/>
                    </a:lnTo>
                    <a:lnTo>
                      <a:pt x="249" y="119"/>
                    </a:lnTo>
                    <a:lnTo>
                      <a:pt x="249" y="118"/>
                    </a:lnTo>
                    <a:lnTo>
                      <a:pt x="249" y="118"/>
                    </a:lnTo>
                    <a:lnTo>
                      <a:pt x="250" y="115"/>
                    </a:lnTo>
                    <a:lnTo>
                      <a:pt x="250" y="115"/>
                    </a:lnTo>
                    <a:lnTo>
                      <a:pt x="250" y="112"/>
                    </a:lnTo>
                    <a:lnTo>
                      <a:pt x="250" y="112"/>
                    </a:lnTo>
                    <a:lnTo>
                      <a:pt x="249" y="112"/>
                    </a:lnTo>
                    <a:lnTo>
                      <a:pt x="247" y="112"/>
                    </a:lnTo>
                    <a:lnTo>
                      <a:pt x="246" y="112"/>
                    </a:lnTo>
                    <a:lnTo>
                      <a:pt x="244" y="112"/>
                    </a:lnTo>
                    <a:lnTo>
                      <a:pt x="243" y="113"/>
                    </a:lnTo>
                    <a:lnTo>
                      <a:pt x="243" y="113"/>
                    </a:lnTo>
                    <a:lnTo>
                      <a:pt x="242" y="113"/>
                    </a:lnTo>
                    <a:lnTo>
                      <a:pt x="242" y="113"/>
                    </a:lnTo>
                    <a:lnTo>
                      <a:pt x="242" y="113"/>
                    </a:lnTo>
                    <a:lnTo>
                      <a:pt x="239" y="113"/>
                    </a:lnTo>
                    <a:lnTo>
                      <a:pt x="237" y="113"/>
                    </a:lnTo>
                    <a:lnTo>
                      <a:pt x="236" y="113"/>
                    </a:lnTo>
                    <a:lnTo>
                      <a:pt x="233" y="113"/>
                    </a:lnTo>
                    <a:lnTo>
                      <a:pt x="232" y="115"/>
                    </a:lnTo>
                    <a:lnTo>
                      <a:pt x="232" y="116"/>
                    </a:lnTo>
                    <a:lnTo>
                      <a:pt x="232" y="119"/>
                    </a:lnTo>
                    <a:lnTo>
                      <a:pt x="230" y="124"/>
                    </a:lnTo>
                    <a:lnTo>
                      <a:pt x="227" y="126"/>
                    </a:lnTo>
                    <a:lnTo>
                      <a:pt x="224" y="129"/>
                    </a:lnTo>
                    <a:lnTo>
                      <a:pt x="220" y="129"/>
                    </a:lnTo>
                    <a:lnTo>
                      <a:pt x="216" y="131"/>
                    </a:lnTo>
                    <a:lnTo>
                      <a:pt x="214" y="131"/>
                    </a:lnTo>
                    <a:lnTo>
                      <a:pt x="213" y="132"/>
                    </a:lnTo>
                    <a:lnTo>
                      <a:pt x="211" y="134"/>
                    </a:lnTo>
                    <a:lnTo>
                      <a:pt x="211" y="135"/>
                    </a:lnTo>
                    <a:lnTo>
                      <a:pt x="210" y="139"/>
                    </a:lnTo>
                    <a:lnTo>
                      <a:pt x="210" y="142"/>
                    </a:lnTo>
                    <a:lnTo>
                      <a:pt x="210" y="147"/>
                    </a:lnTo>
                    <a:lnTo>
                      <a:pt x="211" y="157"/>
                    </a:lnTo>
                    <a:lnTo>
                      <a:pt x="211" y="158"/>
                    </a:lnTo>
                    <a:lnTo>
                      <a:pt x="210" y="161"/>
                    </a:lnTo>
                    <a:lnTo>
                      <a:pt x="209" y="162"/>
                    </a:lnTo>
                    <a:lnTo>
                      <a:pt x="207" y="162"/>
                    </a:lnTo>
                    <a:lnTo>
                      <a:pt x="206" y="162"/>
                    </a:lnTo>
                    <a:lnTo>
                      <a:pt x="204" y="164"/>
                    </a:lnTo>
                    <a:lnTo>
                      <a:pt x="203" y="164"/>
                    </a:lnTo>
                    <a:lnTo>
                      <a:pt x="201" y="167"/>
                    </a:lnTo>
                    <a:lnTo>
                      <a:pt x="200" y="167"/>
                    </a:lnTo>
                    <a:lnTo>
                      <a:pt x="197" y="168"/>
                    </a:lnTo>
                    <a:lnTo>
                      <a:pt x="196" y="168"/>
                    </a:lnTo>
                    <a:lnTo>
                      <a:pt x="196" y="167"/>
                    </a:lnTo>
                    <a:lnTo>
                      <a:pt x="194" y="165"/>
                    </a:lnTo>
                    <a:lnTo>
                      <a:pt x="194" y="165"/>
                    </a:lnTo>
                    <a:lnTo>
                      <a:pt x="190" y="164"/>
                    </a:lnTo>
                    <a:lnTo>
                      <a:pt x="183" y="164"/>
                    </a:lnTo>
                    <a:lnTo>
                      <a:pt x="178" y="164"/>
                    </a:lnTo>
                    <a:lnTo>
                      <a:pt x="171" y="161"/>
                    </a:lnTo>
                    <a:lnTo>
                      <a:pt x="168" y="159"/>
                    </a:lnTo>
                    <a:lnTo>
                      <a:pt x="165" y="161"/>
                    </a:lnTo>
                    <a:lnTo>
                      <a:pt x="165" y="161"/>
                    </a:lnTo>
                    <a:lnTo>
                      <a:pt x="164" y="167"/>
                    </a:lnTo>
                    <a:lnTo>
                      <a:pt x="155" y="191"/>
                    </a:lnTo>
                    <a:lnTo>
                      <a:pt x="154" y="194"/>
                    </a:lnTo>
                    <a:lnTo>
                      <a:pt x="153" y="195"/>
                    </a:lnTo>
                    <a:lnTo>
                      <a:pt x="153" y="197"/>
                    </a:lnTo>
                    <a:lnTo>
                      <a:pt x="154" y="198"/>
                    </a:lnTo>
                    <a:lnTo>
                      <a:pt x="155" y="200"/>
                    </a:lnTo>
                    <a:lnTo>
                      <a:pt x="157" y="200"/>
                    </a:lnTo>
                    <a:lnTo>
                      <a:pt x="158" y="201"/>
                    </a:lnTo>
                    <a:lnTo>
                      <a:pt x="158" y="201"/>
                    </a:lnTo>
                    <a:lnTo>
                      <a:pt x="158" y="203"/>
                    </a:lnTo>
                    <a:lnTo>
                      <a:pt x="158" y="205"/>
                    </a:lnTo>
                    <a:lnTo>
                      <a:pt x="158" y="205"/>
                    </a:lnTo>
                    <a:lnTo>
                      <a:pt x="157" y="207"/>
                    </a:lnTo>
                    <a:lnTo>
                      <a:pt x="155" y="207"/>
                    </a:lnTo>
                    <a:lnTo>
                      <a:pt x="155" y="207"/>
                    </a:lnTo>
                    <a:lnTo>
                      <a:pt x="154" y="207"/>
                    </a:lnTo>
                    <a:lnTo>
                      <a:pt x="151" y="207"/>
                    </a:lnTo>
                    <a:lnTo>
                      <a:pt x="148" y="207"/>
                    </a:lnTo>
                    <a:lnTo>
                      <a:pt x="147" y="207"/>
                    </a:lnTo>
                    <a:lnTo>
                      <a:pt x="145" y="207"/>
                    </a:lnTo>
                    <a:lnTo>
                      <a:pt x="144" y="205"/>
                    </a:lnTo>
                    <a:lnTo>
                      <a:pt x="144" y="204"/>
                    </a:lnTo>
                    <a:lnTo>
                      <a:pt x="143" y="203"/>
                    </a:lnTo>
                    <a:lnTo>
                      <a:pt x="140" y="203"/>
                    </a:lnTo>
                    <a:lnTo>
                      <a:pt x="135" y="204"/>
                    </a:lnTo>
                    <a:lnTo>
                      <a:pt x="131" y="207"/>
                    </a:lnTo>
                    <a:lnTo>
                      <a:pt x="127" y="208"/>
                    </a:lnTo>
                    <a:lnTo>
                      <a:pt x="117" y="210"/>
                    </a:lnTo>
                    <a:lnTo>
                      <a:pt x="114" y="211"/>
                    </a:lnTo>
                    <a:lnTo>
                      <a:pt x="109" y="213"/>
                    </a:lnTo>
                    <a:lnTo>
                      <a:pt x="111" y="214"/>
                    </a:lnTo>
                    <a:lnTo>
                      <a:pt x="118" y="216"/>
                    </a:lnTo>
                    <a:lnTo>
                      <a:pt x="120" y="217"/>
                    </a:lnTo>
                    <a:lnTo>
                      <a:pt x="120" y="218"/>
                    </a:lnTo>
                    <a:lnTo>
                      <a:pt x="118" y="221"/>
                    </a:lnTo>
                    <a:lnTo>
                      <a:pt x="118" y="224"/>
                    </a:lnTo>
                    <a:lnTo>
                      <a:pt x="118" y="228"/>
                    </a:lnTo>
                    <a:lnTo>
                      <a:pt x="120" y="231"/>
                    </a:lnTo>
                    <a:lnTo>
                      <a:pt x="122" y="241"/>
                    </a:lnTo>
                    <a:lnTo>
                      <a:pt x="124" y="249"/>
                    </a:lnTo>
                    <a:lnTo>
                      <a:pt x="124" y="249"/>
                    </a:lnTo>
                    <a:lnTo>
                      <a:pt x="125" y="250"/>
                    </a:lnTo>
                    <a:lnTo>
                      <a:pt x="125" y="251"/>
                    </a:lnTo>
                    <a:lnTo>
                      <a:pt x="125" y="253"/>
                    </a:lnTo>
                    <a:lnTo>
                      <a:pt x="124" y="253"/>
                    </a:lnTo>
                    <a:lnTo>
                      <a:pt x="121" y="254"/>
                    </a:lnTo>
                    <a:lnTo>
                      <a:pt x="118" y="257"/>
                    </a:lnTo>
                    <a:lnTo>
                      <a:pt x="122" y="259"/>
                    </a:lnTo>
                    <a:lnTo>
                      <a:pt x="120" y="260"/>
                    </a:lnTo>
                    <a:lnTo>
                      <a:pt x="118" y="260"/>
                    </a:lnTo>
                    <a:lnTo>
                      <a:pt x="117" y="261"/>
                    </a:lnTo>
                    <a:lnTo>
                      <a:pt x="115" y="264"/>
                    </a:lnTo>
                    <a:lnTo>
                      <a:pt x="115" y="267"/>
                    </a:lnTo>
                    <a:lnTo>
                      <a:pt x="117" y="270"/>
                    </a:lnTo>
                    <a:lnTo>
                      <a:pt x="117" y="272"/>
                    </a:lnTo>
                    <a:lnTo>
                      <a:pt x="115" y="274"/>
                    </a:lnTo>
                    <a:lnTo>
                      <a:pt x="117" y="276"/>
                    </a:lnTo>
                    <a:lnTo>
                      <a:pt x="115" y="277"/>
                    </a:lnTo>
                    <a:lnTo>
                      <a:pt x="114" y="277"/>
                    </a:lnTo>
                    <a:lnTo>
                      <a:pt x="111" y="277"/>
                    </a:lnTo>
                    <a:lnTo>
                      <a:pt x="109" y="279"/>
                    </a:lnTo>
                    <a:lnTo>
                      <a:pt x="107" y="282"/>
                    </a:lnTo>
                    <a:lnTo>
                      <a:pt x="97" y="284"/>
                    </a:lnTo>
                    <a:lnTo>
                      <a:pt x="88" y="289"/>
                    </a:lnTo>
                    <a:lnTo>
                      <a:pt x="85" y="292"/>
                    </a:lnTo>
                    <a:lnTo>
                      <a:pt x="82" y="295"/>
                    </a:lnTo>
                    <a:lnTo>
                      <a:pt x="79" y="297"/>
                    </a:lnTo>
                    <a:lnTo>
                      <a:pt x="75" y="299"/>
                    </a:lnTo>
                    <a:lnTo>
                      <a:pt x="72" y="300"/>
                    </a:lnTo>
                    <a:lnTo>
                      <a:pt x="68" y="300"/>
                    </a:lnTo>
                    <a:lnTo>
                      <a:pt x="61" y="299"/>
                    </a:lnTo>
                    <a:lnTo>
                      <a:pt x="59" y="299"/>
                    </a:lnTo>
                    <a:lnTo>
                      <a:pt x="55" y="302"/>
                    </a:lnTo>
                    <a:lnTo>
                      <a:pt x="53" y="305"/>
                    </a:lnTo>
                    <a:lnTo>
                      <a:pt x="52" y="309"/>
                    </a:lnTo>
                    <a:lnTo>
                      <a:pt x="51" y="312"/>
                    </a:lnTo>
                    <a:lnTo>
                      <a:pt x="49" y="313"/>
                    </a:lnTo>
                    <a:lnTo>
                      <a:pt x="48" y="313"/>
                    </a:lnTo>
                    <a:lnTo>
                      <a:pt x="46" y="313"/>
                    </a:lnTo>
                    <a:lnTo>
                      <a:pt x="45" y="313"/>
                    </a:lnTo>
                    <a:lnTo>
                      <a:pt x="43" y="315"/>
                    </a:lnTo>
                    <a:lnTo>
                      <a:pt x="41" y="315"/>
                    </a:lnTo>
                    <a:lnTo>
                      <a:pt x="39" y="315"/>
                    </a:lnTo>
                    <a:lnTo>
                      <a:pt x="36" y="315"/>
                    </a:lnTo>
                    <a:lnTo>
                      <a:pt x="36" y="313"/>
                    </a:lnTo>
                    <a:lnTo>
                      <a:pt x="35" y="310"/>
                    </a:lnTo>
                    <a:lnTo>
                      <a:pt x="35" y="309"/>
                    </a:lnTo>
                    <a:lnTo>
                      <a:pt x="33" y="309"/>
                    </a:lnTo>
                    <a:lnTo>
                      <a:pt x="32" y="309"/>
                    </a:lnTo>
                    <a:lnTo>
                      <a:pt x="29" y="310"/>
                    </a:lnTo>
                    <a:lnTo>
                      <a:pt x="28" y="312"/>
                    </a:lnTo>
                    <a:lnTo>
                      <a:pt x="26" y="312"/>
                    </a:lnTo>
                    <a:lnTo>
                      <a:pt x="23" y="312"/>
                    </a:lnTo>
                    <a:lnTo>
                      <a:pt x="22" y="312"/>
                    </a:lnTo>
                    <a:lnTo>
                      <a:pt x="20" y="312"/>
                    </a:lnTo>
                    <a:lnTo>
                      <a:pt x="20" y="312"/>
                    </a:lnTo>
                    <a:lnTo>
                      <a:pt x="20" y="313"/>
                    </a:lnTo>
                    <a:lnTo>
                      <a:pt x="20" y="313"/>
                    </a:lnTo>
                    <a:lnTo>
                      <a:pt x="20" y="313"/>
                    </a:lnTo>
                    <a:lnTo>
                      <a:pt x="22" y="313"/>
                    </a:lnTo>
                    <a:lnTo>
                      <a:pt x="22" y="315"/>
                    </a:lnTo>
                    <a:lnTo>
                      <a:pt x="22" y="315"/>
                    </a:lnTo>
                    <a:lnTo>
                      <a:pt x="20" y="315"/>
                    </a:lnTo>
                    <a:lnTo>
                      <a:pt x="20" y="315"/>
                    </a:lnTo>
                    <a:lnTo>
                      <a:pt x="19" y="315"/>
                    </a:lnTo>
                    <a:lnTo>
                      <a:pt x="16" y="318"/>
                    </a:lnTo>
                    <a:lnTo>
                      <a:pt x="12" y="319"/>
                    </a:lnTo>
                    <a:lnTo>
                      <a:pt x="8" y="320"/>
                    </a:lnTo>
                    <a:lnTo>
                      <a:pt x="5" y="323"/>
                    </a:lnTo>
                    <a:lnTo>
                      <a:pt x="5" y="326"/>
                    </a:lnTo>
                    <a:lnTo>
                      <a:pt x="5" y="330"/>
                    </a:lnTo>
                    <a:lnTo>
                      <a:pt x="3" y="332"/>
                    </a:lnTo>
                    <a:lnTo>
                      <a:pt x="0" y="333"/>
                    </a:lnTo>
                    <a:lnTo>
                      <a:pt x="0" y="335"/>
                    </a:lnTo>
                    <a:lnTo>
                      <a:pt x="0" y="338"/>
                    </a:lnTo>
                    <a:lnTo>
                      <a:pt x="0" y="338"/>
                    </a:lnTo>
                    <a:lnTo>
                      <a:pt x="0" y="339"/>
                    </a:lnTo>
                    <a:lnTo>
                      <a:pt x="2" y="342"/>
                    </a:lnTo>
                    <a:lnTo>
                      <a:pt x="3" y="342"/>
                    </a:lnTo>
                    <a:lnTo>
                      <a:pt x="3" y="343"/>
                    </a:lnTo>
                    <a:lnTo>
                      <a:pt x="2" y="345"/>
                    </a:lnTo>
                    <a:lnTo>
                      <a:pt x="2" y="346"/>
                    </a:lnTo>
                    <a:lnTo>
                      <a:pt x="2" y="349"/>
                    </a:lnTo>
                    <a:lnTo>
                      <a:pt x="3" y="351"/>
                    </a:lnTo>
                    <a:lnTo>
                      <a:pt x="5" y="352"/>
                    </a:lnTo>
                    <a:lnTo>
                      <a:pt x="8" y="352"/>
                    </a:lnTo>
                    <a:lnTo>
                      <a:pt x="8" y="352"/>
                    </a:lnTo>
                    <a:lnTo>
                      <a:pt x="9" y="351"/>
                    </a:lnTo>
                    <a:lnTo>
                      <a:pt x="10" y="351"/>
                    </a:lnTo>
                    <a:lnTo>
                      <a:pt x="12" y="351"/>
                    </a:lnTo>
                    <a:lnTo>
                      <a:pt x="13" y="351"/>
                    </a:lnTo>
                    <a:lnTo>
                      <a:pt x="18" y="352"/>
                    </a:lnTo>
                    <a:lnTo>
                      <a:pt x="19" y="353"/>
                    </a:lnTo>
                    <a:lnTo>
                      <a:pt x="20" y="353"/>
                    </a:lnTo>
                    <a:lnTo>
                      <a:pt x="20" y="355"/>
                    </a:lnTo>
                    <a:lnTo>
                      <a:pt x="20" y="356"/>
                    </a:lnTo>
                    <a:lnTo>
                      <a:pt x="20" y="356"/>
                    </a:lnTo>
                    <a:lnTo>
                      <a:pt x="20" y="358"/>
                    </a:lnTo>
                    <a:lnTo>
                      <a:pt x="20" y="361"/>
                    </a:lnTo>
                    <a:lnTo>
                      <a:pt x="22" y="365"/>
                    </a:lnTo>
                    <a:lnTo>
                      <a:pt x="23" y="368"/>
                    </a:lnTo>
                    <a:lnTo>
                      <a:pt x="23" y="368"/>
                    </a:lnTo>
                    <a:lnTo>
                      <a:pt x="22" y="371"/>
                    </a:lnTo>
                    <a:lnTo>
                      <a:pt x="23" y="371"/>
                    </a:lnTo>
                    <a:lnTo>
                      <a:pt x="23" y="372"/>
                    </a:lnTo>
                    <a:lnTo>
                      <a:pt x="25" y="372"/>
                    </a:lnTo>
                    <a:lnTo>
                      <a:pt x="25" y="374"/>
                    </a:lnTo>
                    <a:lnTo>
                      <a:pt x="25" y="375"/>
                    </a:lnTo>
                    <a:lnTo>
                      <a:pt x="26" y="376"/>
                    </a:lnTo>
                    <a:lnTo>
                      <a:pt x="25" y="378"/>
                    </a:lnTo>
                    <a:lnTo>
                      <a:pt x="22" y="379"/>
                    </a:lnTo>
                    <a:lnTo>
                      <a:pt x="19" y="379"/>
                    </a:lnTo>
                    <a:lnTo>
                      <a:pt x="16" y="379"/>
                    </a:lnTo>
                    <a:lnTo>
                      <a:pt x="15" y="381"/>
                    </a:lnTo>
                    <a:lnTo>
                      <a:pt x="16" y="384"/>
                    </a:lnTo>
                    <a:lnTo>
                      <a:pt x="18" y="384"/>
                    </a:lnTo>
                    <a:lnTo>
                      <a:pt x="19" y="384"/>
                    </a:lnTo>
                    <a:lnTo>
                      <a:pt x="20" y="384"/>
                    </a:lnTo>
                    <a:lnTo>
                      <a:pt x="22" y="385"/>
                    </a:lnTo>
                    <a:lnTo>
                      <a:pt x="25" y="385"/>
                    </a:lnTo>
                    <a:lnTo>
                      <a:pt x="26" y="385"/>
                    </a:lnTo>
                    <a:lnTo>
                      <a:pt x="28" y="385"/>
                    </a:lnTo>
                    <a:lnTo>
                      <a:pt x="30" y="385"/>
                    </a:lnTo>
                    <a:lnTo>
                      <a:pt x="30" y="387"/>
                    </a:lnTo>
                    <a:lnTo>
                      <a:pt x="32" y="388"/>
                    </a:lnTo>
                    <a:lnTo>
                      <a:pt x="32" y="388"/>
                    </a:lnTo>
                    <a:lnTo>
                      <a:pt x="32" y="389"/>
                    </a:lnTo>
                    <a:lnTo>
                      <a:pt x="33" y="389"/>
                    </a:lnTo>
                    <a:lnTo>
                      <a:pt x="38" y="389"/>
                    </a:lnTo>
                    <a:lnTo>
                      <a:pt x="39" y="391"/>
                    </a:lnTo>
                    <a:lnTo>
                      <a:pt x="41" y="392"/>
                    </a:lnTo>
                    <a:lnTo>
                      <a:pt x="41" y="394"/>
                    </a:lnTo>
                    <a:lnTo>
                      <a:pt x="42" y="397"/>
                    </a:lnTo>
                    <a:lnTo>
                      <a:pt x="42" y="401"/>
                    </a:lnTo>
                    <a:lnTo>
                      <a:pt x="41" y="402"/>
                    </a:lnTo>
                    <a:lnTo>
                      <a:pt x="41" y="402"/>
                    </a:lnTo>
                    <a:lnTo>
                      <a:pt x="41" y="402"/>
                    </a:lnTo>
                    <a:lnTo>
                      <a:pt x="42" y="404"/>
                    </a:lnTo>
                    <a:lnTo>
                      <a:pt x="45" y="407"/>
                    </a:lnTo>
                    <a:lnTo>
                      <a:pt x="45" y="408"/>
                    </a:lnTo>
                    <a:lnTo>
                      <a:pt x="46" y="408"/>
                    </a:lnTo>
                    <a:lnTo>
                      <a:pt x="48" y="408"/>
                    </a:lnTo>
                    <a:lnTo>
                      <a:pt x="52" y="407"/>
                    </a:lnTo>
                    <a:lnTo>
                      <a:pt x="52" y="408"/>
                    </a:lnTo>
                    <a:lnTo>
                      <a:pt x="52" y="410"/>
                    </a:lnTo>
                    <a:lnTo>
                      <a:pt x="53" y="410"/>
                    </a:lnTo>
                    <a:lnTo>
                      <a:pt x="55" y="411"/>
                    </a:lnTo>
                    <a:lnTo>
                      <a:pt x="56" y="411"/>
                    </a:lnTo>
                    <a:lnTo>
                      <a:pt x="61" y="412"/>
                    </a:lnTo>
                    <a:lnTo>
                      <a:pt x="68" y="415"/>
                    </a:lnTo>
                    <a:lnTo>
                      <a:pt x="69" y="415"/>
                    </a:lnTo>
                    <a:lnTo>
                      <a:pt x="71" y="415"/>
                    </a:lnTo>
                    <a:lnTo>
                      <a:pt x="72" y="414"/>
                    </a:lnTo>
                    <a:lnTo>
                      <a:pt x="74" y="414"/>
                    </a:lnTo>
                    <a:lnTo>
                      <a:pt x="74" y="414"/>
                    </a:lnTo>
                    <a:lnTo>
                      <a:pt x="74" y="414"/>
                    </a:lnTo>
                    <a:lnTo>
                      <a:pt x="74" y="415"/>
                    </a:lnTo>
                    <a:lnTo>
                      <a:pt x="75" y="415"/>
                    </a:lnTo>
                    <a:lnTo>
                      <a:pt x="75" y="415"/>
                    </a:lnTo>
                    <a:lnTo>
                      <a:pt x="76" y="415"/>
                    </a:lnTo>
                    <a:lnTo>
                      <a:pt x="76" y="414"/>
                    </a:lnTo>
                    <a:lnTo>
                      <a:pt x="76" y="414"/>
                    </a:lnTo>
                    <a:lnTo>
                      <a:pt x="78" y="414"/>
                    </a:lnTo>
                    <a:lnTo>
                      <a:pt x="78" y="418"/>
                    </a:lnTo>
                    <a:lnTo>
                      <a:pt x="78" y="420"/>
                    </a:lnTo>
                    <a:lnTo>
                      <a:pt x="78" y="421"/>
                    </a:lnTo>
                    <a:lnTo>
                      <a:pt x="81" y="427"/>
                    </a:lnTo>
                    <a:lnTo>
                      <a:pt x="82" y="430"/>
                    </a:lnTo>
                    <a:lnTo>
                      <a:pt x="82" y="431"/>
                    </a:lnTo>
                    <a:lnTo>
                      <a:pt x="82" y="431"/>
                    </a:lnTo>
                    <a:lnTo>
                      <a:pt x="82" y="431"/>
                    </a:lnTo>
                    <a:lnTo>
                      <a:pt x="82" y="431"/>
                    </a:lnTo>
                    <a:lnTo>
                      <a:pt x="82" y="431"/>
                    </a:lnTo>
                    <a:lnTo>
                      <a:pt x="82" y="433"/>
                    </a:lnTo>
                    <a:lnTo>
                      <a:pt x="84" y="433"/>
                    </a:lnTo>
                    <a:lnTo>
                      <a:pt x="84" y="433"/>
                    </a:lnTo>
                    <a:lnTo>
                      <a:pt x="88" y="434"/>
                    </a:lnTo>
                    <a:lnTo>
                      <a:pt x="88" y="434"/>
                    </a:lnTo>
                    <a:lnTo>
                      <a:pt x="89" y="434"/>
                    </a:lnTo>
                    <a:lnTo>
                      <a:pt x="89" y="434"/>
                    </a:lnTo>
                    <a:lnTo>
                      <a:pt x="89" y="434"/>
                    </a:lnTo>
                    <a:lnTo>
                      <a:pt x="91" y="435"/>
                    </a:lnTo>
                    <a:lnTo>
                      <a:pt x="94" y="437"/>
                    </a:lnTo>
                    <a:lnTo>
                      <a:pt x="94" y="437"/>
                    </a:lnTo>
                    <a:lnTo>
                      <a:pt x="94" y="437"/>
                    </a:lnTo>
                    <a:lnTo>
                      <a:pt x="94" y="438"/>
                    </a:lnTo>
                    <a:lnTo>
                      <a:pt x="94" y="438"/>
                    </a:lnTo>
                    <a:lnTo>
                      <a:pt x="94" y="438"/>
                    </a:lnTo>
                    <a:lnTo>
                      <a:pt x="94" y="438"/>
                    </a:lnTo>
                    <a:lnTo>
                      <a:pt x="94" y="440"/>
                    </a:lnTo>
                    <a:lnTo>
                      <a:pt x="94" y="440"/>
                    </a:lnTo>
                    <a:lnTo>
                      <a:pt x="94" y="441"/>
                    </a:lnTo>
                    <a:lnTo>
                      <a:pt x="91" y="443"/>
                    </a:lnTo>
                    <a:lnTo>
                      <a:pt x="89" y="443"/>
                    </a:lnTo>
                    <a:lnTo>
                      <a:pt x="89" y="444"/>
                    </a:lnTo>
                    <a:lnTo>
                      <a:pt x="89" y="444"/>
                    </a:lnTo>
                    <a:lnTo>
                      <a:pt x="89" y="444"/>
                    </a:lnTo>
                    <a:lnTo>
                      <a:pt x="91" y="445"/>
                    </a:lnTo>
                    <a:lnTo>
                      <a:pt x="91" y="448"/>
                    </a:lnTo>
                    <a:lnTo>
                      <a:pt x="91" y="451"/>
                    </a:lnTo>
                    <a:lnTo>
                      <a:pt x="91" y="453"/>
                    </a:lnTo>
                    <a:lnTo>
                      <a:pt x="91" y="454"/>
                    </a:lnTo>
                    <a:lnTo>
                      <a:pt x="91" y="454"/>
                    </a:lnTo>
                    <a:lnTo>
                      <a:pt x="92" y="456"/>
                    </a:lnTo>
                    <a:lnTo>
                      <a:pt x="95" y="458"/>
                    </a:lnTo>
                    <a:lnTo>
                      <a:pt x="95" y="458"/>
                    </a:lnTo>
                    <a:lnTo>
                      <a:pt x="95" y="458"/>
                    </a:lnTo>
                    <a:lnTo>
                      <a:pt x="97" y="460"/>
                    </a:lnTo>
                    <a:lnTo>
                      <a:pt x="97" y="460"/>
                    </a:lnTo>
                    <a:lnTo>
                      <a:pt x="97" y="461"/>
                    </a:lnTo>
                    <a:lnTo>
                      <a:pt x="97" y="463"/>
                    </a:lnTo>
                    <a:lnTo>
                      <a:pt x="97" y="463"/>
                    </a:lnTo>
                    <a:lnTo>
                      <a:pt x="97" y="463"/>
                    </a:lnTo>
                    <a:lnTo>
                      <a:pt x="97" y="464"/>
                    </a:lnTo>
                    <a:lnTo>
                      <a:pt x="97" y="464"/>
                    </a:lnTo>
                    <a:lnTo>
                      <a:pt x="98" y="464"/>
                    </a:lnTo>
                    <a:lnTo>
                      <a:pt x="98" y="466"/>
                    </a:lnTo>
                    <a:lnTo>
                      <a:pt x="98" y="466"/>
                    </a:lnTo>
                    <a:lnTo>
                      <a:pt x="98" y="466"/>
                    </a:lnTo>
                    <a:lnTo>
                      <a:pt x="98" y="467"/>
                    </a:lnTo>
                    <a:lnTo>
                      <a:pt x="98" y="468"/>
                    </a:lnTo>
                    <a:lnTo>
                      <a:pt x="98" y="468"/>
                    </a:lnTo>
                    <a:lnTo>
                      <a:pt x="98" y="468"/>
                    </a:lnTo>
                    <a:lnTo>
                      <a:pt x="98" y="470"/>
                    </a:lnTo>
                    <a:lnTo>
                      <a:pt x="99" y="470"/>
                    </a:lnTo>
                    <a:lnTo>
                      <a:pt x="99" y="470"/>
                    </a:lnTo>
                    <a:lnTo>
                      <a:pt x="98" y="471"/>
                    </a:lnTo>
                    <a:lnTo>
                      <a:pt x="98" y="473"/>
                    </a:lnTo>
                    <a:lnTo>
                      <a:pt x="98" y="474"/>
                    </a:lnTo>
                    <a:lnTo>
                      <a:pt x="98" y="474"/>
                    </a:lnTo>
                    <a:lnTo>
                      <a:pt x="97" y="474"/>
                    </a:lnTo>
                    <a:lnTo>
                      <a:pt x="97" y="474"/>
                    </a:lnTo>
                    <a:lnTo>
                      <a:pt x="97" y="476"/>
                    </a:lnTo>
                    <a:lnTo>
                      <a:pt x="95" y="476"/>
                    </a:lnTo>
                    <a:lnTo>
                      <a:pt x="95" y="476"/>
                    </a:lnTo>
                    <a:lnTo>
                      <a:pt x="94" y="477"/>
                    </a:lnTo>
                    <a:lnTo>
                      <a:pt x="92" y="476"/>
                    </a:lnTo>
                    <a:lnTo>
                      <a:pt x="91" y="476"/>
                    </a:lnTo>
                    <a:lnTo>
                      <a:pt x="91" y="474"/>
                    </a:lnTo>
                    <a:lnTo>
                      <a:pt x="91" y="474"/>
                    </a:lnTo>
                    <a:lnTo>
                      <a:pt x="91" y="474"/>
                    </a:lnTo>
                    <a:lnTo>
                      <a:pt x="91" y="473"/>
                    </a:lnTo>
                    <a:lnTo>
                      <a:pt x="91" y="473"/>
                    </a:lnTo>
                    <a:lnTo>
                      <a:pt x="89" y="473"/>
                    </a:lnTo>
                    <a:lnTo>
                      <a:pt x="89" y="473"/>
                    </a:lnTo>
                    <a:lnTo>
                      <a:pt x="89" y="473"/>
                    </a:lnTo>
                    <a:lnTo>
                      <a:pt x="89" y="471"/>
                    </a:lnTo>
                    <a:lnTo>
                      <a:pt x="89" y="471"/>
                    </a:lnTo>
                    <a:lnTo>
                      <a:pt x="88" y="473"/>
                    </a:lnTo>
                    <a:lnTo>
                      <a:pt x="88" y="473"/>
                    </a:lnTo>
                    <a:lnTo>
                      <a:pt x="88" y="473"/>
                    </a:lnTo>
                    <a:lnTo>
                      <a:pt x="84" y="473"/>
                    </a:lnTo>
                    <a:lnTo>
                      <a:pt x="84" y="473"/>
                    </a:lnTo>
                    <a:lnTo>
                      <a:pt x="84" y="474"/>
                    </a:lnTo>
                    <a:lnTo>
                      <a:pt x="84" y="474"/>
                    </a:lnTo>
                    <a:lnTo>
                      <a:pt x="85" y="474"/>
                    </a:lnTo>
                    <a:lnTo>
                      <a:pt x="85" y="476"/>
                    </a:lnTo>
                    <a:lnTo>
                      <a:pt x="85" y="476"/>
                    </a:lnTo>
                    <a:lnTo>
                      <a:pt x="85" y="476"/>
                    </a:lnTo>
                    <a:lnTo>
                      <a:pt x="85" y="477"/>
                    </a:lnTo>
                    <a:lnTo>
                      <a:pt x="85" y="477"/>
                    </a:lnTo>
                    <a:lnTo>
                      <a:pt x="87" y="479"/>
                    </a:lnTo>
                    <a:lnTo>
                      <a:pt x="87" y="480"/>
                    </a:lnTo>
                    <a:lnTo>
                      <a:pt x="89" y="483"/>
                    </a:lnTo>
                    <a:lnTo>
                      <a:pt x="89" y="483"/>
                    </a:lnTo>
                    <a:lnTo>
                      <a:pt x="89" y="483"/>
                    </a:lnTo>
                    <a:lnTo>
                      <a:pt x="89" y="483"/>
                    </a:lnTo>
                    <a:lnTo>
                      <a:pt x="89" y="484"/>
                    </a:lnTo>
                    <a:lnTo>
                      <a:pt x="89" y="484"/>
                    </a:lnTo>
                    <a:lnTo>
                      <a:pt x="89" y="484"/>
                    </a:lnTo>
                    <a:lnTo>
                      <a:pt x="89" y="484"/>
                    </a:lnTo>
                    <a:lnTo>
                      <a:pt x="89" y="486"/>
                    </a:lnTo>
                    <a:lnTo>
                      <a:pt x="89" y="486"/>
                    </a:lnTo>
                    <a:lnTo>
                      <a:pt x="89" y="487"/>
                    </a:lnTo>
                    <a:lnTo>
                      <a:pt x="89" y="487"/>
                    </a:lnTo>
                    <a:lnTo>
                      <a:pt x="89" y="489"/>
                    </a:lnTo>
                    <a:lnTo>
                      <a:pt x="91" y="490"/>
                    </a:lnTo>
                    <a:lnTo>
                      <a:pt x="91" y="491"/>
                    </a:lnTo>
                    <a:lnTo>
                      <a:pt x="91" y="491"/>
                    </a:lnTo>
                    <a:lnTo>
                      <a:pt x="89" y="493"/>
                    </a:lnTo>
                    <a:lnTo>
                      <a:pt x="89" y="493"/>
                    </a:lnTo>
                    <a:lnTo>
                      <a:pt x="91" y="494"/>
                    </a:lnTo>
                    <a:lnTo>
                      <a:pt x="91" y="494"/>
                    </a:lnTo>
                    <a:lnTo>
                      <a:pt x="91" y="496"/>
                    </a:lnTo>
                    <a:lnTo>
                      <a:pt x="91" y="496"/>
                    </a:lnTo>
                    <a:lnTo>
                      <a:pt x="91" y="497"/>
                    </a:lnTo>
                    <a:lnTo>
                      <a:pt x="91" y="497"/>
                    </a:lnTo>
                    <a:lnTo>
                      <a:pt x="91" y="497"/>
                    </a:lnTo>
                    <a:lnTo>
                      <a:pt x="92" y="496"/>
                    </a:lnTo>
                    <a:lnTo>
                      <a:pt x="94" y="496"/>
                    </a:lnTo>
                    <a:lnTo>
                      <a:pt x="94" y="496"/>
                    </a:lnTo>
                    <a:lnTo>
                      <a:pt x="95" y="494"/>
                    </a:lnTo>
                    <a:lnTo>
                      <a:pt x="95" y="494"/>
                    </a:lnTo>
                    <a:lnTo>
                      <a:pt x="95" y="494"/>
                    </a:lnTo>
                    <a:lnTo>
                      <a:pt x="97" y="494"/>
                    </a:lnTo>
                    <a:lnTo>
                      <a:pt x="97" y="494"/>
                    </a:lnTo>
                    <a:lnTo>
                      <a:pt x="99" y="497"/>
                    </a:lnTo>
                    <a:lnTo>
                      <a:pt x="101" y="500"/>
                    </a:lnTo>
                    <a:lnTo>
                      <a:pt x="101" y="500"/>
                    </a:lnTo>
                    <a:lnTo>
                      <a:pt x="104" y="503"/>
                    </a:lnTo>
                    <a:lnTo>
                      <a:pt x="104" y="503"/>
                    </a:lnTo>
                    <a:lnTo>
                      <a:pt x="105" y="503"/>
                    </a:lnTo>
                    <a:lnTo>
                      <a:pt x="107" y="503"/>
                    </a:lnTo>
                    <a:lnTo>
                      <a:pt x="108" y="503"/>
                    </a:lnTo>
                    <a:lnTo>
                      <a:pt x="108" y="503"/>
                    </a:lnTo>
                    <a:lnTo>
                      <a:pt x="109" y="503"/>
                    </a:lnTo>
                    <a:lnTo>
                      <a:pt x="111" y="504"/>
                    </a:lnTo>
                    <a:lnTo>
                      <a:pt x="111" y="504"/>
                    </a:lnTo>
                    <a:lnTo>
                      <a:pt x="112" y="504"/>
                    </a:lnTo>
                    <a:lnTo>
                      <a:pt x="114" y="506"/>
                    </a:lnTo>
                    <a:lnTo>
                      <a:pt x="114" y="506"/>
                    </a:lnTo>
                    <a:lnTo>
                      <a:pt x="115" y="506"/>
                    </a:lnTo>
                    <a:lnTo>
                      <a:pt x="115" y="507"/>
                    </a:lnTo>
                    <a:lnTo>
                      <a:pt x="115" y="509"/>
                    </a:lnTo>
                    <a:lnTo>
                      <a:pt x="117" y="510"/>
                    </a:lnTo>
                    <a:lnTo>
                      <a:pt x="122" y="513"/>
                    </a:lnTo>
                    <a:lnTo>
                      <a:pt x="122" y="513"/>
                    </a:lnTo>
                    <a:lnTo>
                      <a:pt x="122" y="513"/>
                    </a:lnTo>
                    <a:lnTo>
                      <a:pt x="124" y="513"/>
                    </a:lnTo>
                    <a:lnTo>
                      <a:pt x="124" y="513"/>
                    </a:lnTo>
                    <a:lnTo>
                      <a:pt x="125" y="514"/>
                    </a:lnTo>
                    <a:lnTo>
                      <a:pt x="128" y="516"/>
                    </a:lnTo>
                    <a:lnTo>
                      <a:pt x="130" y="517"/>
                    </a:lnTo>
                    <a:lnTo>
                      <a:pt x="130" y="519"/>
                    </a:lnTo>
                    <a:lnTo>
                      <a:pt x="131" y="520"/>
                    </a:lnTo>
                    <a:lnTo>
                      <a:pt x="132" y="520"/>
                    </a:lnTo>
                    <a:lnTo>
                      <a:pt x="134" y="519"/>
                    </a:lnTo>
                    <a:lnTo>
                      <a:pt x="137" y="516"/>
                    </a:lnTo>
                    <a:lnTo>
                      <a:pt x="140" y="514"/>
                    </a:lnTo>
                    <a:lnTo>
                      <a:pt x="141" y="514"/>
                    </a:lnTo>
                    <a:lnTo>
                      <a:pt x="144" y="514"/>
                    </a:lnTo>
                    <a:lnTo>
                      <a:pt x="147" y="514"/>
                    </a:lnTo>
                    <a:lnTo>
                      <a:pt x="148" y="516"/>
                    </a:lnTo>
                    <a:lnTo>
                      <a:pt x="150" y="519"/>
                    </a:lnTo>
                    <a:lnTo>
                      <a:pt x="151" y="520"/>
                    </a:lnTo>
                    <a:lnTo>
                      <a:pt x="170" y="530"/>
                    </a:lnTo>
                    <a:lnTo>
                      <a:pt x="174" y="536"/>
                    </a:lnTo>
                    <a:lnTo>
                      <a:pt x="176" y="536"/>
                    </a:lnTo>
                    <a:lnTo>
                      <a:pt x="177" y="536"/>
                    </a:lnTo>
                    <a:lnTo>
                      <a:pt x="180" y="536"/>
                    </a:lnTo>
                    <a:lnTo>
                      <a:pt x="181" y="536"/>
                    </a:lnTo>
                    <a:lnTo>
                      <a:pt x="183" y="536"/>
                    </a:lnTo>
                    <a:lnTo>
                      <a:pt x="184" y="537"/>
                    </a:lnTo>
                    <a:lnTo>
                      <a:pt x="186" y="539"/>
                    </a:lnTo>
                    <a:lnTo>
                      <a:pt x="187" y="542"/>
                    </a:lnTo>
                    <a:lnTo>
                      <a:pt x="190" y="545"/>
                    </a:lnTo>
                    <a:lnTo>
                      <a:pt x="193" y="548"/>
                    </a:lnTo>
                    <a:lnTo>
                      <a:pt x="196" y="549"/>
                    </a:lnTo>
                    <a:lnTo>
                      <a:pt x="197" y="549"/>
                    </a:lnTo>
                    <a:lnTo>
                      <a:pt x="201" y="548"/>
                    </a:lnTo>
                    <a:lnTo>
                      <a:pt x="203" y="548"/>
                    </a:lnTo>
                    <a:lnTo>
                      <a:pt x="203" y="549"/>
                    </a:lnTo>
                    <a:lnTo>
                      <a:pt x="201" y="552"/>
                    </a:lnTo>
                    <a:lnTo>
                      <a:pt x="203" y="553"/>
                    </a:lnTo>
                    <a:lnTo>
                      <a:pt x="204" y="555"/>
                    </a:lnTo>
                    <a:lnTo>
                      <a:pt x="207" y="555"/>
                    </a:lnTo>
                    <a:lnTo>
                      <a:pt x="209" y="555"/>
                    </a:lnTo>
                    <a:lnTo>
                      <a:pt x="211" y="555"/>
                    </a:lnTo>
                    <a:lnTo>
                      <a:pt x="213" y="556"/>
                    </a:lnTo>
                    <a:lnTo>
                      <a:pt x="216" y="560"/>
                    </a:lnTo>
                    <a:lnTo>
                      <a:pt x="217" y="562"/>
                    </a:lnTo>
                    <a:lnTo>
                      <a:pt x="219" y="562"/>
                    </a:lnTo>
                    <a:lnTo>
                      <a:pt x="219" y="560"/>
                    </a:lnTo>
                    <a:lnTo>
                      <a:pt x="219" y="559"/>
                    </a:lnTo>
                    <a:lnTo>
                      <a:pt x="220" y="558"/>
                    </a:lnTo>
                    <a:lnTo>
                      <a:pt x="221" y="559"/>
                    </a:lnTo>
                    <a:lnTo>
                      <a:pt x="223" y="559"/>
                    </a:lnTo>
                    <a:lnTo>
                      <a:pt x="224" y="560"/>
                    </a:lnTo>
                    <a:lnTo>
                      <a:pt x="226" y="562"/>
                    </a:lnTo>
                    <a:lnTo>
                      <a:pt x="227" y="560"/>
                    </a:lnTo>
                    <a:lnTo>
                      <a:pt x="227" y="559"/>
                    </a:lnTo>
                    <a:lnTo>
                      <a:pt x="229" y="559"/>
                    </a:lnTo>
                    <a:lnTo>
                      <a:pt x="230" y="559"/>
                    </a:lnTo>
                    <a:lnTo>
                      <a:pt x="232" y="559"/>
                    </a:lnTo>
                    <a:lnTo>
                      <a:pt x="236" y="562"/>
                    </a:lnTo>
                    <a:lnTo>
                      <a:pt x="237" y="563"/>
                    </a:lnTo>
                    <a:lnTo>
                      <a:pt x="242" y="563"/>
                    </a:lnTo>
                    <a:lnTo>
                      <a:pt x="250" y="562"/>
                    </a:lnTo>
                    <a:lnTo>
                      <a:pt x="255" y="562"/>
                    </a:lnTo>
                    <a:lnTo>
                      <a:pt x="255" y="562"/>
                    </a:lnTo>
                    <a:lnTo>
                      <a:pt x="255" y="562"/>
                    </a:lnTo>
                    <a:lnTo>
                      <a:pt x="255" y="560"/>
                    </a:lnTo>
                    <a:lnTo>
                      <a:pt x="256" y="560"/>
                    </a:lnTo>
                    <a:lnTo>
                      <a:pt x="256" y="560"/>
                    </a:lnTo>
                    <a:lnTo>
                      <a:pt x="256" y="560"/>
                    </a:lnTo>
                    <a:lnTo>
                      <a:pt x="257" y="560"/>
                    </a:lnTo>
                    <a:lnTo>
                      <a:pt x="257" y="560"/>
                    </a:lnTo>
                    <a:lnTo>
                      <a:pt x="260" y="560"/>
                    </a:lnTo>
                    <a:lnTo>
                      <a:pt x="262" y="559"/>
                    </a:lnTo>
                    <a:lnTo>
                      <a:pt x="262" y="559"/>
                    </a:lnTo>
                    <a:lnTo>
                      <a:pt x="263" y="559"/>
                    </a:lnTo>
                    <a:lnTo>
                      <a:pt x="263" y="558"/>
                    </a:lnTo>
                    <a:lnTo>
                      <a:pt x="263" y="558"/>
                    </a:lnTo>
                    <a:lnTo>
                      <a:pt x="263" y="558"/>
                    </a:lnTo>
                    <a:lnTo>
                      <a:pt x="266" y="559"/>
                    </a:lnTo>
                    <a:lnTo>
                      <a:pt x="266" y="559"/>
                    </a:lnTo>
                    <a:lnTo>
                      <a:pt x="267" y="560"/>
                    </a:lnTo>
                    <a:lnTo>
                      <a:pt x="267" y="560"/>
                    </a:lnTo>
                    <a:lnTo>
                      <a:pt x="267" y="560"/>
                    </a:lnTo>
                    <a:lnTo>
                      <a:pt x="267" y="562"/>
                    </a:lnTo>
                    <a:lnTo>
                      <a:pt x="267" y="562"/>
                    </a:lnTo>
                    <a:lnTo>
                      <a:pt x="267" y="563"/>
                    </a:lnTo>
                    <a:lnTo>
                      <a:pt x="267" y="565"/>
                    </a:lnTo>
                    <a:lnTo>
                      <a:pt x="267" y="568"/>
                    </a:lnTo>
                    <a:lnTo>
                      <a:pt x="266" y="569"/>
                    </a:lnTo>
                    <a:lnTo>
                      <a:pt x="266" y="571"/>
                    </a:lnTo>
                    <a:lnTo>
                      <a:pt x="267" y="572"/>
                    </a:lnTo>
                    <a:lnTo>
                      <a:pt x="269" y="573"/>
                    </a:lnTo>
                    <a:lnTo>
                      <a:pt x="269" y="572"/>
                    </a:lnTo>
                    <a:lnTo>
                      <a:pt x="270" y="569"/>
                    </a:lnTo>
                    <a:lnTo>
                      <a:pt x="279" y="559"/>
                    </a:lnTo>
                    <a:lnTo>
                      <a:pt x="280" y="558"/>
                    </a:lnTo>
                    <a:lnTo>
                      <a:pt x="282" y="556"/>
                    </a:lnTo>
                    <a:lnTo>
                      <a:pt x="285" y="555"/>
                    </a:lnTo>
                    <a:lnTo>
                      <a:pt x="286" y="555"/>
                    </a:lnTo>
                    <a:lnTo>
                      <a:pt x="288" y="553"/>
                    </a:lnTo>
                    <a:lnTo>
                      <a:pt x="289" y="553"/>
                    </a:lnTo>
                    <a:lnTo>
                      <a:pt x="290" y="555"/>
                    </a:lnTo>
                    <a:lnTo>
                      <a:pt x="292" y="555"/>
                    </a:lnTo>
                    <a:lnTo>
                      <a:pt x="293" y="555"/>
                    </a:lnTo>
                    <a:lnTo>
                      <a:pt x="293" y="555"/>
                    </a:lnTo>
                    <a:lnTo>
                      <a:pt x="295" y="556"/>
                    </a:lnTo>
                    <a:lnTo>
                      <a:pt x="295" y="556"/>
                    </a:lnTo>
                    <a:lnTo>
                      <a:pt x="295" y="558"/>
                    </a:lnTo>
                    <a:lnTo>
                      <a:pt x="295" y="558"/>
                    </a:lnTo>
                    <a:lnTo>
                      <a:pt x="295" y="558"/>
                    </a:lnTo>
                    <a:lnTo>
                      <a:pt x="296" y="559"/>
                    </a:lnTo>
                    <a:lnTo>
                      <a:pt x="298" y="559"/>
                    </a:lnTo>
                    <a:lnTo>
                      <a:pt x="299" y="559"/>
                    </a:lnTo>
                    <a:lnTo>
                      <a:pt x="300" y="559"/>
                    </a:lnTo>
                    <a:lnTo>
                      <a:pt x="302" y="559"/>
                    </a:lnTo>
                    <a:lnTo>
                      <a:pt x="306" y="560"/>
                    </a:lnTo>
                    <a:lnTo>
                      <a:pt x="308" y="560"/>
                    </a:lnTo>
                    <a:lnTo>
                      <a:pt x="309" y="560"/>
                    </a:lnTo>
                    <a:lnTo>
                      <a:pt x="311" y="559"/>
                    </a:lnTo>
                    <a:lnTo>
                      <a:pt x="311" y="559"/>
                    </a:lnTo>
                    <a:lnTo>
                      <a:pt x="312" y="560"/>
                    </a:lnTo>
                    <a:lnTo>
                      <a:pt x="315" y="560"/>
                    </a:lnTo>
                    <a:lnTo>
                      <a:pt x="316" y="562"/>
                    </a:lnTo>
                    <a:lnTo>
                      <a:pt x="316" y="562"/>
                    </a:lnTo>
                    <a:lnTo>
                      <a:pt x="316" y="565"/>
                    </a:lnTo>
                    <a:lnTo>
                      <a:pt x="318" y="565"/>
                    </a:lnTo>
                    <a:lnTo>
                      <a:pt x="319" y="565"/>
                    </a:lnTo>
                    <a:lnTo>
                      <a:pt x="322" y="565"/>
                    </a:lnTo>
                    <a:lnTo>
                      <a:pt x="322" y="565"/>
                    </a:lnTo>
                    <a:lnTo>
                      <a:pt x="323" y="565"/>
                    </a:lnTo>
                    <a:lnTo>
                      <a:pt x="325" y="565"/>
                    </a:lnTo>
                    <a:lnTo>
                      <a:pt x="325" y="563"/>
                    </a:lnTo>
                    <a:lnTo>
                      <a:pt x="326" y="563"/>
                    </a:lnTo>
                    <a:lnTo>
                      <a:pt x="326" y="563"/>
                    </a:lnTo>
                    <a:lnTo>
                      <a:pt x="326" y="563"/>
                    </a:lnTo>
                    <a:lnTo>
                      <a:pt x="328" y="563"/>
                    </a:lnTo>
                    <a:lnTo>
                      <a:pt x="328" y="563"/>
                    </a:lnTo>
                    <a:lnTo>
                      <a:pt x="329" y="563"/>
                    </a:lnTo>
                    <a:lnTo>
                      <a:pt x="331" y="563"/>
                    </a:lnTo>
                    <a:lnTo>
                      <a:pt x="332" y="563"/>
                    </a:lnTo>
                    <a:lnTo>
                      <a:pt x="334" y="562"/>
                    </a:lnTo>
                    <a:lnTo>
                      <a:pt x="335" y="560"/>
                    </a:lnTo>
                    <a:lnTo>
                      <a:pt x="335" y="560"/>
                    </a:lnTo>
                    <a:lnTo>
                      <a:pt x="335" y="560"/>
                    </a:lnTo>
                    <a:lnTo>
                      <a:pt x="335" y="560"/>
                    </a:lnTo>
                    <a:lnTo>
                      <a:pt x="335" y="559"/>
                    </a:lnTo>
                    <a:lnTo>
                      <a:pt x="335" y="559"/>
                    </a:lnTo>
                    <a:lnTo>
                      <a:pt x="335" y="559"/>
                    </a:lnTo>
                    <a:lnTo>
                      <a:pt x="335" y="559"/>
                    </a:lnTo>
                    <a:lnTo>
                      <a:pt x="335" y="559"/>
                    </a:lnTo>
                    <a:lnTo>
                      <a:pt x="335" y="559"/>
                    </a:lnTo>
                    <a:lnTo>
                      <a:pt x="335" y="559"/>
                    </a:lnTo>
                    <a:lnTo>
                      <a:pt x="335" y="559"/>
                    </a:lnTo>
                    <a:lnTo>
                      <a:pt x="335" y="559"/>
                    </a:lnTo>
                    <a:lnTo>
                      <a:pt x="335" y="558"/>
                    </a:lnTo>
                    <a:lnTo>
                      <a:pt x="335" y="558"/>
                    </a:lnTo>
                    <a:lnTo>
                      <a:pt x="335" y="558"/>
                    </a:lnTo>
                    <a:lnTo>
                      <a:pt x="335" y="558"/>
                    </a:lnTo>
                    <a:lnTo>
                      <a:pt x="339" y="556"/>
                    </a:lnTo>
                    <a:lnTo>
                      <a:pt x="341" y="555"/>
                    </a:lnTo>
                    <a:lnTo>
                      <a:pt x="342" y="553"/>
                    </a:lnTo>
                    <a:lnTo>
                      <a:pt x="342" y="553"/>
                    </a:lnTo>
                    <a:lnTo>
                      <a:pt x="342" y="552"/>
                    </a:lnTo>
                    <a:lnTo>
                      <a:pt x="344" y="552"/>
                    </a:lnTo>
                    <a:lnTo>
                      <a:pt x="344" y="550"/>
                    </a:lnTo>
                    <a:lnTo>
                      <a:pt x="344" y="549"/>
                    </a:lnTo>
                    <a:lnTo>
                      <a:pt x="345" y="548"/>
                    </a:lnTo>
                    <a:lnTo>
                      <a:pt x="345" y="548"/>
                    </a:lnTo>
                    <a:lnTo>
                      <a:pt x="345" y="548"/>
                    </a:lnTo>
                    <a:lnTo>
                      <a:pt x="346" y="548"/>
                    </a:lnTo>
                    <a:lnTo>
                      <a:pt x="346" y="548"/>
                    </a:lnTo>
                    <a:lnTo>
                      <a:pt x="352" y="546"/>
                    </a:lnTo>
                    <a:lnTo>
                      <a:pt x="354" y="546"/>
                    </a:lnTo>
                    <a:lnTo>
                      <a:pt x="354" y="546"/>
                    </a:lnTo>
                    <a:lnTo>
                      <a:pt x="355" y="545"/>
                    </a:lnTo>
                    <a:lnTo>
                      <a:pt x="356" y="545"/>
                    </a:lnTo>
                    <a:lnTo>
                      <a:pt x="358" y="543"/>
                    </a:lnTo>
                    <a:lnTo>
                      <a:pt x="358" y="543"/>
                    </a:lnTo>
                    <a:lnTo>
                      <a:pt x="358" y="543"/>
                    </a:lnTo>
                    <a:lnTo>
                      <a:pt x="358" y="542"/>
                    </a:lnTo>
                    <a:lnTo>
                      <a:pt x="358" y="542"/>
                    </a:lnTo>
                    <a:lnTo>
                      <a:pt x="359" y="542"/>
                    </a:lnTo>
                    <a:lnTo>
                      <a:pt x="359" y="542"/>
                    </a:lnTo>
                    <a:lnTo>
                      <a:pt x="359" y="542"/>
                    </a:lnTo>
                    <a:lnTo>
                      <a:pt x="361" y="540"/>
                    </a:lnTo>
                    <a:lnTo>
                      <a:pt x="361" y="540"/>
                    </a:lnTo>
                    <a:lnTo>
                      <a:pt x="362" y="539"/>
                    </a:lnTo>
                    <a:lnTo>
                      <a:pt x="362" y="539"/>
                    </a:lnTo>
                    <a:lnTo>
                      <a:pt x="364" y="537"/>
                    </a:lnTo>
                    <a:lnTo>
                      <a:pt x="365" y="537"/>
                    </a:lnTo>
                    <a:lnTo>
                      <a:pt x="365" y="536"/>
                    </a:lnTo>
                    <a:lnTo>
                      <a:pt x="367" y="536"/>
                    </a:lnTo>
                    <a:lnTo>
                      <a:pt x="369" y="535"/>
                    </a:lnTo>
                    <a:lnTo>
                      <a:pt x="369" y="535"/>
                    </a:lnTo>
                    <a:lnTo>
                      <a:pt x="369" y="535"/>
                    </a:lnTo>
                    <a:lnTo>
                      <a:pt x="371" y="535"/>
                    </a:lnTo>
                    <a:lnTo>
                      <a:pt x="371" y="535"/>
                    </a:lnTo>
                    <a:lnTo>
                      <a:pt x="372" y="536"/>
                    </a:lnTo>
                    <a:lnTo>
                      <a:pt x="372" y="537"/>
                    </a:lnTo>
                    <a:lnTo>
                      <a:pt x="374" y="537"/>
                    </a:lnTo>
                    <a:lnTo>
                      <a:pt x="375" y="537"/>
                    </a:lnTo>
                    <a:lnTo>
                      <a:pt x="377" y="537"/>
                    </a:lnTo>
                    <a:lnTo>
                      <a:pt x="377" y="537"/>
                    </a:lnTo>
                    <a:lnTo>
                      <a:pt x="378" y="539"/>
                    </a:lnTo>
                    <a:lnTo>
                      <a:pt x="381" y="539"/>
                    </a:lnTo>
                    <a:lnTo>
                      <a:pt x="381" y="539"/>
                    </a:lnTo>
                    <a:lnTo>
                      <a:pt x="382" y="540"/>
                    </a:lnTo>
                    <a:lnTo>
                      <a:pt x="382" y="540"/>
                    </a:lnTo>
                    <a:lnTo>
                      <a:pt x="382" y="540"/>
                    </a:lnTo>
                    <a:lnTo>
                      <a:pt x="384" y="539"/>
                    </a:lnTo>
                    <a:lnTo>
                      <a:pt x="384" y="539"/>
                    </a:lnTo>
                    <a:lnTo>
                      <a:pt x="384" y="539"/>
                    </a:lnTo>
                    <a:lnTo>
                      <a:pt x="384" y="539"/>
                    </a:lnTo>
                    <a:lnTo>
                      <a:pt x="384" y="537"/>
                    </a:lnTo>
                    <a:lnTo>
                      <a:pt x="385" y="537"/>
                    </a:lnTo>
                    <a:lnTo>
                      <a:pt x="385" y="537"/>
                    </a:lnTo>
                    <a:lnTo>
                      <a:pt x="385" y="537"/>
                    </a:lnTo>
                    <a:lnTo>
                      <a:pt x="385" y="536"/>
                    </a:lnTo>
                    <a:lnTo>
                      <a:pt x="388" y="535"/>
                    </a:lnTo>
                    <a:lnTo>
                      <a:pt x="392" y="532"/>
                    </a:lnTo>
                    <a:lnTo>
                      <a:pt x="394" y="532"/>
                    </a:lnTo>
                    <a:lnTo>
                      <a:pt x="395" y="532"/>
                    </a:lnTo>
                    <a:lnTo>
                      <a:pt x="395" y="533"/>
                    </a:lnTo>
                    <a:lnTo>
                      <a:pt x="395" y="533"/>
                    </a:lnTo>
                    <a:lnTo>
                      <a:pt x="397" y="533"/>
                    </a:lnTo>
                    <a:lnTo>
                      <a:pt x="397" y="535"/>
                    </a:lnTo>
                    <a:lnTo>
                      <a:pt x="397" y="535"/>
                    </a:lnTo>
                    <a:lnTo>
                      <a:pt x="397" y="535"/>
                    </a:lnTo>
                    <a:lnTo>
                      <a:pt x="397" y="536"/>
                    </a:lnTo>
                    <a:lnTo>
                      <a:pt x="398" y="536"/>
                    </a:lnTo>
                    <a:lnTo>
                      <a:pt x="398" y="536"/>
                    </a:lnTo>
                    <a:lnTo>
                      <a:pt x="400" y="536"/>
                    </a:lnTo>
                    <a:lnTo>
                      <a:pt x="400" y="536"/>
                    </a:lnTo>
                    <a:lnTo>
                      <a:pt x="400" y="536"/>
                    </a:lnTo>
                    <a:lnTo>
                      <a:pt x="400" y="536"/>
                    </a:lnTo>
                    <a:lnTo>
                      <a:pt x="400" y="536"/>
                    </a:lnTo>
                    <a:lnTo>
                      <a:pt x="400" y="536"/>
                    </a:lnTo>
                    <a:lnTo>
                      <a:pt x="398" y="537"/>
                    </a:lnTo>
                    <a:lnTo>
                      <a:pt x="398" y="537"/>
                    </a:lnTo>
                    <a:lnTo>
                      <a:pt x="397" y="537"/>
                    </a:lnTo>
                    <a:lnTo>
                      <a:pt x="395" y="539"/>
                    </a:lnTo>
                    <a:lnTo>
                      <a:pt x="395" y="539"/>
                    </a:lnTo>
                    <a:lnTo>
                      <a:pt x="395" y="540"/>
                    </a:lnTo>
                    <a:lnTo>
                      <a:pt x="397" y="542"/>
                    </a:lnTo>
                    <a:lnTo>
                      <a:pt x="395" y="542"/>
                    </a:lnTo>
                    <a:lnTo>
                      <a:pt x="397" y="542"/>
                    </a:lnTo>
                    <a:lnTo>
                      <a:pt x="398" y="540"/>
                    </a:lnTo>
                    <a:lnTo>
                      <a:pt x="400" y="540"/>
                    </a:lnTo>
                    <a:lnTo>
                      <a:pt x="400" y="540"/>
                    </a:lnTo>
                    <a:lnTo>
                      <a:pt x="401" y="540"/>
                    </a:lnTo>
                    <a:lnTo>
                      <a:pt x="402" y="540"/>
                    </a:lnTo>
                    <a:lnTo>
                      <a:pt x="402" y="540"/>
                    </a:lnTo>
                    <a:lnTo>
                      <a:pt x="402" y="542"/>
                    </a:lnTo>
                    <a:lnTo>
                      <a:pt x="402" y="543"/>
                    </a:lnTo>
                    <a:lnTo>
                      <a:pt x="404" y="543"/>
                    </a:lnTo>
                    <a:lnTo>
                      <a:pt x="404" y="545"/>
                    </a:lnTo>
                    <a:lnTo>
                      <a:pt x="404" y="545"/>
                    </a:lnTo>
                    <a:lnTo>
                      <a:pt x="402" y="546"/>
                    </a:lnTo>
                    <a:lnTo>
                      <a:pt x="402" y="546"/>
                    </a:lnTo>
                    <a:lnTo>
                      <a:pt x="401" y="548"/>
                    </a:lnTo>
                    <a:lnTo>
                      <a:pt x="400" y="549"/>
                    </a:lnTo>
                    <a:lnTo>
                      <a:pt x="400" y="550"/>
                    </a:lnTo>
                    <a:lnTo>
                      <a:pt x="400" y="550"/>
                    </a:lnTo>
                    <a:lnTo>
                      <a:pt x="400" y="550"/>
                    </a:lnTo>
                    <a:lnTo>
                      <a:pt x="398" y="552"/>
                    </a:lnTo>
                    <a:lnTo>
                      <a:pt x="398" y="552"/>
                    </a:lnTo>
                    <a:lnTo>
                      <a:pt x="398" y="552"/>
                    </a:lnTo>
                    <a:lnTo>
                      <a:pt x="400" y="552"/>
                    </a:lnTo>
                    <a:lnTo>
                      <a:pt x="400" y="552"/>
                    </a:lnTo>
                    <a:lnTo>
                      <a:pt x="400" y="552"/>
                    </a:lnTo>
                    <a:lnTo>
                      <a:pt x="400" y="553"/>
                    </a:lnTo>
                    <a:lnTo>
                      <a:pt x="401" y="553"/>
                    </a:lnTo>
                    <a:lnTo>
                      <a:pt x="401" y="552"/>
                    </a:lnTo>
                    <a:lnTo>
                      <a:pt x="401" y="552"/>
                    </a:lnTo>
                    <a:lnTo>
                      <a:pt x="401" y="552"/>
                    </a:lnTo>
                    <a:lnTo>
                      <a:pt x="404" y="550"/>
                    </a:lnTo>
                    <a:lnTo>
                      <a:pt x="405" y="550"/>
                    </a:lnTo>
                    <a:lnTo>
                      <a:pt x="405" y="552"/>
                    </a:lnTo>
                    <a:lnTo>
                      <a:pt x="407" y="552"/>
                    </a:lnTo>
                    <a:lnTo>
                      <a:pt x="407" y="553"/>
                    </a:lnTo>
                    <a:lnTo>
                      <a:pt x="408" y="553"/>
                    </a:lnTo>
                    <a:lnTo>
                      <a:pt x="411" y="553"/>
                    </a:lnTo>
                    <a:lnTo>
                      <a:pt x="411" y="553"/>
                    </a:lnTo>
                    <a:lnTo>
                      <a:pt x="413" y="553"/>
                    </a:lnTo>
                    <a:lnTo>
                      <a:pt x="413" y="553"/>
                    </a:lnTo>
                    <a:lnTo>
                      <a:pt x="414" y="553"/>
                    </a:lnTo>
                    <a:lnTo>
                      <a:pt x="417" y="555"/>
                    </a:lnTo>
                    <a:lnTo>
                      <a:pt x="417" y="556"/>
                    </a:lnTo>
                    <a:lnTo>
                      <a:pt x="420" y="552"/>
                    </a:lnTo>
                    <a:lnTo>
                      <a:pt x="420" y="550"/>
                    </a:lnTo>
                    <a:lnTo>
                      <a:pt x="423" y="550"/>
                    </a:lnTo>
                    <a:lnTo>
                      <a:pt x="423" y="550"/>
                    </a:lnTo>
                    <a:lnTo>
                      <a:pt x="424" y="552"/>
                    </a:lnTo>
                    <a:lnTo>
                      <a:pt x="424" y="553"/>
                    </a:lnTo>
                    <a:lnTo>
                      <a:pt x="425" y="553"/>
                    </a:lnTo>
                    <a:lnTo>
                      <a:pt x="427" y="553"/>
                    </a:lnTo>
                    <a:lnTo>
                      <a:pt x="427" y="555"/>
                    </a:lnTo>
                    <a:lnTo>
                      <a:pt x="428" y="555"/>
                    </a:lnTo>
                    <a:lnTo>
                      <a:pt x="430" y="556"/>
                    </a:lnTo>
                    <a:lnTo>
                      <a:pt x="431" y="559"/>
                    </a:lnTo>
                    <a:lnTo>
                      <a:pt x="433" y="566"/>
                    </a:lnTo>
                    <a:lnTo>
                      <a:pt x="434" y="568"/>
                    </a:lnTo>
                    <a:lnTo>
                      <a:pt x="434" y="569"/>
                    </a:lnTo>
                    <a:lnTo>
                      <a:pt x="435" y="569"/>
                    </a:lnTo>
                    <a:lnTo>
                      <a:pt x="437" y="568"/>
                    </a:lnTo>
                    <a:lnTo>
                      <a:pt x="437" y="566"/>
                    </a:lnTo>
                    <a:lnTo>
                      <a:pt x="440" y="568"/>
                    </a:lnTo>
                    <a:lnTo>
                      <a:pt x="441" y="571"/>
                    </a:lnTo>
                    <a:lnTo>
                      <a:pt x="441" y="576"/>
                    </a:lnTo>
                    <a:lnTo>
                      <a:pt x="441" y="585"/>
                    </a:lnTo>
                    <a:lnTo>
                      <a:pt x="441" y="589"/>
                    </a:lnTo>
                    <a:lnTo>
                      <a:pt x="441" y="594"/>
                    </a:lnTo>
                    <a:lnTo>
                      <a:pt x="440" y="596"/>
                    </a:lnTo>
                    <a:lnTo>
                      <a:pt x="440" y="599"/>
                    </a:lnTo>
                    <a:lnTo>
                      <a:pt x="440" y="601"/>
                    </a:lnTo>
                    <a:lnTo>
                      <a:pt x="440" y="601"/>
                    </a:lnTo>
                    <a:lnTo>
                      <a:pt x="440" y="602"/>
                    </a:lnTo>
                    <a:lnTo>
                      <a:pt x="440" y="602"/>
                    </a:lnTo>
                    <a:lnTo>
                      <a:pt x="440" y="604"/>
                    </a:lnTo>
                    <a:lnTo>
                      <a:pt x="438" y="604"/>
                    </a:lnTo>
                    <a:lnTo>
                      <a:pt x="437" y="604"/>
                    </a:lnTo>
                    <a:lnTo>
                      <a:pt x="437" y="605"/>
                    </a:lnTo>
                    <a:lnTo>
                      <a:pt x="435" y="606"/>
                    </a:lnTo>
                    <a:lnTo>
                      <a:pt x="434" y="608"/>
                    </a:lnTo>
                    <a:lnTo>
                      <a:pt x="434" y="608"/>
                    </a:lnTo>
                    <a:lnTo>
                      <a:pt x="433" y="608"/>
                    </a:lnTo>
                    <a:lnTo>
                      <a:pt x="431" y="608"/>
                    </a:lnTo>
                    <a:lnTo>
                      <a:pt x="431" y="609"/>
                    </a:lnTo>
                    <a:lnTo>
                      <a:pt x="430" y="612"/>
                    </a:lnTo>
                    <a:lnTo>
                      <a:pt x="428" y="614"/>
                    </a:lnTo>
                    <a:lnTo>
                      <a:pt x="427" y="614"/>
                    </a:lnTo>
                    <a:lnTo>
                      <a:pt x="427" y="614"/>
                    </a:lnTo>
                    <a:lnTo>
                      <a:pt x="425" y="614"/>
                    </a:lnTo>
                    <a:lnTo>
                      <a:pt x="425" y="614"/>
                    </a:lnTo>
                    <a:lnTo>
                      <a:pt x="425" y="615"/>
                    </a:lnTo>
                    <a:lnTo>
                      <a:pt x="424" y="617"/>
                    </a:lnTo>
                    <a:lnTo>
                      <a:pt x="424" y="619"/>
                    </a:lnTo>
                    <a:lnTo>
                      <a:pt x="424" y="619"/>
                    </a:lnTo>
                    <a:lnTo>
                      <a:pt x="424" y="621"/>
                    </a:lnTo>
                    <a:lnTo>
                      <a:pt x="424" y="622"/>
                    </a:lnTo>
                    <a:lnTo>
                      <a:pt x="424" y="622"/>
                    </a:lnTo>
                    <a:lnTo>
                      <a:pt x="421" y="624"/>
                    </a:lnTo>
                    <a:lnTo>
                      <a:pt x="421" y="624"/>
                    </a:lnTo>
                    <a:lnTo>
                      <a:pt x="420" y="627"/>
                    </a:lnTo>
                    <a:lnTo>
                      <a:pt x="421" y="628"/>
                    </a:lnTo>
                    <a:lnTo>
                      <a:pt x="421" y="629"/>
                    </a:lnTo>
                    <a:lnTo>
                      <a:pt x="423" y="631"/>
                    </a:lnTo>
                    <a:lnTo>
                      <a:pt x="423" y="632"/>
                    </a:lnTo>
                    <a:lnTo>
                      <a:pt x="424" y="634"/>
                    </a:lnTo>
                    <a:lnTo>
                      <a:pt x="424" y="635"/>
                    </a:lnTo>
                    <a:lnTo>
                      <a:pt x="423" y="635"/>
                    </a:lnTo>
                    <a:lnTo>
                      <a:pt x="421" y="638"/>
                    </a:lnTo>
                    <a:lnTo>
                      <a:pt x="421" y="639"/>
                    </a:lnTo>
                    <a:lnTo>
                      <a:pt x="423" y="641"/>
                    </a:lnTo>
                    <a:lnTo>
                      <a:pt x="424" y="639"/>
                    </a:lnTo>
                    <a:lnTo>
                      <a:pt x="427" y="638"/>
                    </a:lnTo>
                    <a:lnTo>
                      <a:pt x="431" y="637"/>
                    </a:lnTo>
                    <a:lnTo>
                      <a:pt x="435" y="637"/>
                    </a:lnTo>
                    <a:lnTo>
                      <a:pt x="444" y="637"/>
                    </a:lnTo>
                    <a:lnTo>
                      <a:pt x="443" y="637"/>
                    </a:lnTo>
                    <a:lnTo>
                      <a:pt x="441" y="638"/>
                    </a:lnTo>
                    <a:lnTo>
                      <a:pt x="441" y="639"/>
                    </a:lnTo>
                    <a:lnTo>
                      <a:pt x="441" y="641"/>
                    </a:lnTo>
                    <a:lnTo>
                      <a:pt x="441" y="641"/>
                    </a:lnTo>
                    <a:lnTo>
                      <a:pt x="441" y="642"/>
                    </a:lnTo>
                    <a:lnTo>
                      <a:pt x="443" y="644"/>
                    </a:lnTo>
                    <a:lnTo>
                      <a:pt x="444" y="650"/>
                    </a:lnTo>
                    <a:lnTo>
                      <a:pt x="444" y="654"/>
                    </a:lnTo>
                    <a:lnTo>
                      <a:pt x="444" y="654"/>
                    </a:lnTo>
                    <a:lnTo>
                      <a:pt x="446" y="654"/>
                    </a:lnTo>
                    <a:lnTo>
                      <a:pt x="447" y="655"/>
                    </a:lnTo>
                    <a:lnTo>
                      <a:pt x="448" y="655"/>
                    </a:lnTo>
                    <a:lnTo>
                      <a:pt x="451" y="655"/>
                    </a:lnTo>
                    <a:lnTo>
                      <a:pt x="453" y="655"/>
                    </a:lnTo>
                    <a:lnTo>
                      <a:pt x="454" y="657"/>
                    </a:lnTo>
                    <a:lnTo>
                      <a:pt x="454" y="658"/>
                    </a:lnTo>
                    <a:lnTo>
                      <a:pt x="454" y="660"/>
                    </a:lnTo>
                    <a:lnTo>
                      <a:pt x="453" y="661"/>
                    </a:lnTo>
                    <a:lnTo>
                      <a:pt x="453" y="662"/>
                    </a:lnTo>
                    <a:lnTo>
                      <a:pt x="451" y="667"/>
                    </a:lnTo>
                    <a:lnTo>
                      <a:pt x="451" y="668"/>
                    </a:lnTo>
                    <a:lnTo>
                      <a:pt x="450" y="671"/>
                    </a:lnTo>
                    <a:lnTo>
                      <a:pt x="450" y="673"/>
                    </a:lnTo>
                    <a:lnTo>
                      <a:pt x="450" y="674"/>
                    </a:lnTo>
                    <a:lnTo>
                      <a:pt x="451" y="674"/>
                    </a:lnTo>
                    <a:lnTo>
                      <a:pt x="454" y="675"/>
                    </a:lnTo>
                    <a:lnTo>
                      <a:pt x="458" y="675"/>
                    </a:lnTo>
                    <a:lnTo>
                      <a:pt x="461" y="677"/>
                    </a:lnTo>
                    <a:lnTo>
                      <a:pt x="463" y="677"/>
                    </a:lnTo>
                    <a:lnTo>
                      <a:pt x="463" y="680"/>
                    </a:lnTo>
                    <a:lnTo>
                      <a:pt x="463" y="683"/>
                    </a:lnTo>
                    <a:lnTo>
                      <a:pt x="464" y="683"/>
                    </a:lnTo>
                    <a:lnTo>
                      <a:pt x="466" y="684"/>
                    </a:lnTo>
                    <a:lnTo>
                      <a:pt x="466" y="684"/>
                    </a:lnTo>
                    <a:lnTo>
                      <a:pt x="466" y="685"/>
                    </a:lnTo>
                    <a:lnTo>
                      <a:pt x="466" y="685"/>
                    </a:lnTo>
                    <a:lnTo>
                      <a:pt x="467" y="687"/>
                    </a:lnTo>
                    <a:lnTo>
                      <a:pt x="469" y="687"/>
                    </a:lnTo>
                    <a:lnTo>
                      <a:pt x="473" y="687"/>
                    </a:lnTo>
                    <a:lnTo>
                      <a:pt x="474" y="687"/>
                    </a:lnTo>
                    <a:lnTo>
                      <a:pt x="476" y="685"/>
                    </a:lnTo>
                    <a:lnTo>
                      <a:pt x="479" y="684"/>
                    </a:lnTo>
                    <a:lnTo>
                      <a:pt x="480" y="683"/>
                    </a:lnTo>
                    <a:lnTo>
                      <a:pt x="483" y="681"/>
                    </a:lnTo>
                    <a:lnTo>
                      <a:pt x="484" y="683"/>
                    </a:lnTo>
                    <a:lnTo>
                      <a:pt x="484" y="684"/>
                    </a:lnTo>
                    <a:lnTo>
                      <a:pt x="484" y="685"/>
                    </a:lnTo>
                    <a:lnTo>
                      <a:pt x="484" y="690"/>
                    </a:lnTo>
                    <a:lnTo>
                      <a:pt x="486" y="691"/>
                    </a:lnTo>
                    <a:lnTo>
                      <a:pt x="487" y="691"/>
                    </a:lnTo>
                    <a:lnTo>
                      <a:pt x="489" y="691"/>
                    </a:lnTo>
                    <a:lnTo>
                      <a:pt x="491" y="691"/>
                    </a:lnTo>
                    <a:lnTo>
                      <a:pt x="493" y="691"/>
                    </a:lnTo>
                    <a:lnTo>
                      <a:pt x="493" y="693"/>
                    </a:lnTo>
                    <a:lnTo>
                      <a:pt x="494" y="693"/>
                    </a:lnTo>
                    <a:lnTo>
                      <a:pt x="496" y="691"/>
                    </a:lnTo>
                    <a:lnTo>
                      <a:pt x="496" y="691"/>
                    </a:lnTo>
                    <a:lnTo>
                      <a:pt x="494" y="681"/>
                    </a:lnTo>
                    <a:lnTo>
                      <a:pt x="491" y="674"/>
                    </a:lnTo>
                    <a:lnTo>
                      <a:pt x="491" y="671"/>
                    </a:lnTo>
                    <a:lnTo>
                      <a:pt x="491" y="670"/>
                    </a:lnTo>
                    <a:lnTo>
                      <a:pt x="493" y="670"/>
                    </a:lnTo>
                    <a:lnTo>
                      <a:pt x="494" y="668"/>
                    </a:lnTo>
                    <a:lnTo>
                      <a:pt x="494" y="667"/>
                    </a:lnTo>
                    <a:lnTo>
                      <a:pt x="494" y="667"/>
                    </a:lnTo>
                    <a:lnTo>
                      <a:pt x="496" y="668"/>
                    </a:lnTo>
                    <a:lnTo>
                      <a:pt x="496" y="668"/>
                    </a:lnTo>
                    <a:lnTo>
                      <a:pt x="497" y="668"/>
                    </a:lnTo>
                    <a:lnTo>
                      <a:pt x="499" y="668"/>
                    </a:lnTo>
                    <a:lnTo>
                      <a:pt x="500" y="668"/>
                    </a:lnTo>
                    <a:lnTo>
                      <a:pt x="500" y="668"/>
                    </a:lnTo>
                    <a:lnTo>
                      <a:pt x="502" y="670"/>
                    </a:lnTo>
                    <a:lnTo>
                      <a:pt x="504" y="667"/>
                    </a:lnTo>
                    <a:lnTo>
                      <a:pt x="506" y="664"/>
                    </a:lnTo>
                    <a:lnTo>
                      <a:pt x="507" y="662"/>
                    </a:lnTo>
                    <a:lnTo>
                      <a:pt x="512" y="664"/>
                    </a:lnTo>
                    <a:lnTo>
                      <a:pt x="514" y="667"/>
                    </a:lnTo>
                    <a:lnTo>
                      <a:pt x="516" y="668"/>
                    </a:lnTo>
                    <a:lnTo>
                      <a:pt x="517" y="667"/>
                    </a:lnTo>
                    <a:lnTo>
                      <a:pt x="519" y="667"/>
                    </a:lnTo>
                    <a:lnTo>
                      <a:pt x="520" y="665"/>
                    </a:lnTo>
                    <a:lnTo>
                      <a:pt x="522" y="662"/>
                    </a:lnTo>
                    <a:lnTo>
                      <a:pt x="522" y="662"/>
                    </a:lnTo>
                    <a:lnTo>
                      <a:pt x="522" y="662"/>
                    </a:lnTo>
                    <a:lnTo>
                      <a:pt x="523" y="662"/>
                    </a:lnTo>
                    <a:lnTo>
                      <a:pt x="523" y="662"/>
                    </a:lnTo>
                    <a:lnTo>
                      <a:pt x="525" y="665"/>
                    </a:lnTo>
                    <a:lnTo>
                      <a:pt x="525" y="665"/>
                    </a:lnTo>
                    <a:lnTo>
                      <a:pt x="526" y="665"/>
                    </a:lnTo>
                    <a:lnTo>
                      <a:pt x="527" y="662"/>
                    </a:lnTo>
                    <a:lnTo>
                      <a:pt x="527" y="662"/>
                    </a:lnTo>
                    <a:lnTo>
                      <a:pt x="529" y="662"/>
                    </a:lnTo>
                    <a:lnTo>
                      <a:pt x="530" y="664"/>
                    </a:lnTo>
                    <a:lnTo>
                      <a:pt x="532" y="665"/>
                    </a:lnTo>
                    <a:lnTo>
                      <a:pt x="533" y="665"/>
                    </a:lnTo>
                    <a:lnTo>
                      <a:pt x="535" y="665"/>
                    </a:lnTo>
                    <a:lnTo>
                      <a:pt x="535" y="664"/>
                    </a:lnTo>
                    <a:lnTo>
                      <a:pt x="536" y="662"/>
                    </a:lnTo>
                    <a:lnTo>
                      <a:pt x="537" y="661"/>
                    </a:lnTo>
                    <a:lnTo>
                      <a:pt x="537" y="661"/>
                    </a:lnTo>
                    <a:lnTo>
                      <a:pt x="539" y="662"/>
                    </a:lnTo>
                    <a:lnTo>
                      <a:pt x="539" y="662"/>
                    </a:lnTo>
                    <a:lnTo>
                      <a:pt x="539" y="662"/>
                    </a:lnTo>
                    <a:lnTo>
                      <a:pt x="540" y="662"/>
                    </a:lnTo>
                    <a:lnTo>
                      <a:pt x="542" y="662"/>
                    </a:lnTo>
                    <a:lnTo>
                      <a:pt x="542" y="662"/>
                    </a:lnTo>
                    <a:lnTo>
                      <a:pt x="543" y="661"/>
                    </a:lnTo>
                    <a:lnTo>
                      <a:pt x="545" y="661"/>
                    </a:lnTo>
                    <a:lnTo>
                      <a:pt x="546" y="661"/>
                    </a:lnTo>
                    <a:lnTo>
                      <a:pt x="548" y="660"/>
                    </a:lnTo>
                    <a:lnTo>
                      <a:pt x="548" y="658"/>
                    </a:lnTo>
                    <a:lnTo>
                      <a:pt x="549" y="655"/>
                    </a:lnTo>
                    <a:lnTo>
                      <a:pt x="550" y="655"/>
                    </a:lnTo>
                    <a:lnTo>
                      <a:pt x="550" y="654"/>
                    </a:lnTo>
                    <a:lnTo>
                      <a:pt x="555" y="652"/>
                    </a:lnTo>
                    <a:lnTo>
                      <a:pt x="556" y="651"/>
                    </a:lnTo>
                    <a:lnTo>
                      <a:pt x="559" y="652"/>
                    </a:lnTo>
                    <a:lnTo>
                      <a:pt x="563" y="657"/>
                    </a:lnTo>
                    <a:lnTo>
                      <a:pt x="566" y="658"/>
                    </a:lnTo>
                    <a:lnTo>
                      <a:pt x="568" y="658"/>
                    </a:lnTo>
                    <a:lnTo>
                      <a:pt x="570" y="658"/>
                    </a:lnTo>
                    <a:lnTo>
                      <a:pt x="572" y="658"/>
                    </a:lnTo>
                    <a:lnTo>
                      <a:pt x="572" y="658"/>
                    </a:lnTo>
                    <a:lnTo>
                      <a:pt x="573" y="660"/>
                    </a:lnTo>
                    <a:lnTo>
                      <a:pt x="575" y="660"/>
                    </a:lnTo>
                    <a:lnTo>
                      <a:pt x="578" y="660"/>
                    </a:lnTo>
                    <a:lnTo>
                      <a:pt x="579" y="660"/>
                    </a:lnTo>
                    <a:lnTo>
                      <a:pt x="582" y="660"/>
                    </a:lnTo>
                    <a:lnTo>
                      <a:pt x="583" y="661"/>
                    </a:lnTo>
                    <a:lnTo>
                      <a:pt x="583" y="662"/>
                    </a:lnTo>
                    <a:lnTo>
                      <a:pt x="582" y="664"/>
                    </a:lnTo>
                    <a:lnTo>
                      <a:pt x="581" y="665"/>
                    </a:lnTo>
                    <a:lnTo>
                      <a:pt x="579" y="665"/>
                    </a:lnTo>
                    <a:lnTo>
                      <a:pt x="579" y="668"/>
                    </a:lnTo>
                    <a:lnTo>
                      <a:pt x="579" y="670"/>
                    </a:lnTo>
                    <a:lnTo>
                      <a:pt x="581" y="670"/>
                    </a:lnTo>
                    <a:lnTo>
                      <a:pt x="581" y="671"/>
                    </a:lnTo>
                    <a:lnTo>
                      <a:pt x="581" y="673"/>
                    </a:lnTo>
                    <a:lnTo>
                      <a:pt x="581" y="677"/>
                    </a:lnTo>
                    <a:lnTo>
                      <a:pt x="583" y="677"/>
                    </a:lnTo>
                    <a:lnTo>
                      <a:pt x="586" y="678"/>
                    </a:lnTo>
                    <a:lnTo>
                      <a:pt x="591" y="683"/>
                    </a:lnTo>
                    <a:lnTo>
                      <a:pt x="593" y="684"/>
                    </a:lnTo>
                    <a:lnTo>
                      <a:pt x="601" y="684"/>
                    </a:lnTo>
                    <a:lnTo>
                      <a:pt x="604" y="685"/>
                    </a:lnTo>
                    <a:lnTo>
                      <a:pt x="608" y="685"/>
                    </a:lnTo>
                    <a:lnTo>
                      <a:pt x="609" y="685"/>
                    </a:lnTo>
                    <a:lnTo>
                      <a:pt x="609" y="684"/>
                    </a:lnTo>
                    <a:lnTo>
                      <a:pt x="611" y="683"/>
                    </a:lnTo>
                    <a:lnTo>
                      <a:pt x="611" y="683"/>
                    </a:lnTo>
                    <a:lnTo>
                      <a:pt x="612" y="683"/>
                    </a:lnTo>
                    <a:lnTo>
                      <a:pt x="612" y="684"/>
                    </a:lnTo>
                    <a:lnTo>
                      <a:pt x="612" y="684"/>
                    </a:lnTo>
                    <a:lnTo>
                      <a:pt x="614" y="683"/>
                    </a:lnTo>
                    <a:lnTo>
                      <a:pt x="614" y="683"/>
                    </a:lnTo>
                    <a:lnTo>
                      <a:pt x="614" y="680"/>
                    </a:lnTo>
                    <a:lnTo>
                      <a:pt x="614" y="678"/>
                    </a:lnTo>
                    <a:lnTo>
                      <a:pt x="615" y="678"/>
                    </a:lnTo>
                    <a:lnTo>
                      <a:pt x="615" y="680"/>
                    </a:lnTo>
                    <a:lnTo>
                      <a:pt x="616" y="683"/>
                    </a:lnTo>
                    <a:lnTo>
                      <a:pt x="618" y="684"/>
                    </a:lnTo>
                    <a:lnTo>
                      <a:pt x="621" y="684"/>
                    </a:lnTo>
                    <a:lnTo>
                      <a:pt x="622" y="684"/>
                    </a:lnTo>
                    <a:lnTo>
                      <a:pt x="625" y="685"/>
                    </a:lnTo>
                    <a:lnTo>
                      <a:pt x="624" y="687"/>
                    </a:lnTo>
                    <a:lnTo>
                      <a:pt x="626" y="687"/>
                    </a:lnTo>
                    <a:lnTo>
                      <a:pt x="629" y="687"/>
                    </a:lnTo>
                    <a:lnTo>
                      <a:pt x="631" y="685"/>
                    </a:lnTo>
                    <a:lnTo>
                      <a:pt x="631" y="683"/>
                    </a:lnTo>
                    <a:lnTo>
                      <a:pt x="632" y="683"/>
                    </a:lnTo>
                    <a:lnTo>
                      <a:pt x="634" y="684"/>
                    </a:lnTo>
                    <a:lnTo>
                      <a:pt x="635" y="685"/>
                    </a:lnTo>
                    <a:lnTo>
                      <a:pt x="635" y="685"/>
                    </a:lnTo>
                    <a:lnTo>
                      <a:pt x="637" y="685"/>
                    </a:lnTo>
                    <a:lnTo>
                      <a:pt x="637" y="685"/>
                    </a:lnTo>
                    <a:lnTo>
                      <a:pt x="638" y="687"/>
                    </a:lnTo>
                    <a:lnTo>
                      <a:pt x="638" y="687"/>
                    </a:lnTo>
                    <a:lnTo>
                      <a:pt x="638" y="688"/>
                    </a:lnTo>
                    <a:lnTo>
                      <a:pt x="638" y="688"/>
                    </a:lnTo>
                    <a:lnTo>
                      <a:pt x="637" y="688"/>
                    </a:lnTo>
                    <a:lnTo>
                      <a:pt x="637" y="688"/>
                    </a:lnTo>
                    <a:lnTo>
                      <a:pt x="635" y="693"/>
                    </a:lnTo>
                    <a:lnTo>
                      <a:pt x="635" y="693"/>
                    </a:lnTo>
                    <a:lnTo>
                      <a:pt x="634" y="696"/>
                    </a:lnTo>
                    <a:lnTo>
                      <a:pt x="634" y="697"/>
                    </a:lnTo>
                    <a:lnTo>
                      <a:pt x="634" y="698"/>
                    </a:lnTo>
                    <a:lnTo>
                      <a:pt x="635" y="700"/>
                    </a:lnTo>
                    <a:lnTo>
                      <a:pt x="639" y="707"/>
                    </a:lnTo>
                    <a:lnTo>
                      <a:pt x="638" y="707"/>
                    </a:lnTo>
                    <a:lnTo>
                      <a:pt x="639" y="708"/>
                    </a:lnTo>
                    <a:lnTo>
                      <a:pt x="641" y="710"/>
                    </a:lnTo>
                    <a:lnTo>
                      <a:pt x="644" y="708"/>
                    </a:lnTo>
                    <a:lnTo>
                      <a:pt x="647" y="708"/>
                    </a:lnTo>
                    <a:lnTo>
                      <a:pt x="648" y="706"/>
                    </a:lnTo>
                    <a:lnTo>
                      <a:pt x="648" y="704"/>
                    </a:lnTo>
                    <a:lnTo>
                      <a:pt x="647" y="703"/>
                    </a:lnTo>
                    <a:lnTo>
                      <a:pt x="645" y="701"/>
                    </a:lnTo>
                    <a:lnTo>
                      <a:pt x="645" y="701"/>
                    </a:lnTo>
                    <a:lnTo>
                      <a:pt x="647" y="700"/>
                    </a:lnTo>
                    <a:lnTo>
                      <a:pt x="647" y="700"/>
                    </a:lnTo>
                    <a:lnTo>
                      <a:pt x="645" y="698"/>
                    </a:lnTo>
                    <a:lnTo>
                      <a:pt x="644" y="698"/>
                    </a:lnTo>
                    <a:lnTo>
                      <a:pt x="642" y="697"/>
                    </a:lnTo>
                    <a:lnTo>
                      <a:pt x="642" y="696"/>
                    </a:lnTo>
                    <a:lnTo>
                      <a:pt x="647" y="691"/>
                    </a:lnTo>
                    <a:lnTo>
                      <a:pt x="647" y="690"/>
                    </a:lnTo>
                    <a:lnTo>
                      <a:pt x="648" y="691"/>
                    </a:lnTo>
                    <a:lnTo>
                      <a:pt x="648" y="691"/>
                    </a:lnTo>
                    <a:lnTo>
                      <a:pt x="649" y="691"/>
                    </a:lnTo>
                    <a:lnTo>
                      <a:pt x="651" y="691"/>
                    </a:lnTo>
                    <a:lnTo>
                      <a:pt x="651" y="690"/>
                    </a:lnTo>
                    <a:lnTo>
                      <a:pt x="652" y="688"/>
                    </a:lnTo>
                    <a:lnTo>
                      <a:pt x="654" y="688"/>
                    </a:lnTo>
                    <a:lnTo>
                      <a:pt x="654" y="688"/>
                    </a:lnTo>
                    <a:lnTo>
                      <a:pt x="657" y="687"/>
                    </a:lnTo>
                    <a:lnTo>
                      <a:pt x="658" y="687"/>
                    </a:lnTo>
                    <a:lnTo>
                      <a:pt x="658" y="687"/>
                    </a:lnTo>
                    <a:lnTo>
                      <a:pt x="658" y="685"/>
                    </a:lnTo>
                    <a:lnTo>
                      <a:pt x="658" y="685"/>
                    </a:lnTo>
                    <a:lnTo>
                      <a:pt x="658" y="685"/>
                    </a:lnTo>
                    <a:lnTo>
                      <a:pt x="660" y="685"/>
                    </a:lnTo>
                    <a:lnTo>
                      <a:pt x="660" y="687"/>
                    </a:lnTo>
                    <a:lnTo>
                      <a:pt x="660" y="687"/>
                    </a:lnTo>
                    <a:lnTo>
                      <a:pt x="664" y="685"/>
                    </a:lnTo>
                    <a:lnTo>
                      <a:pt x="667" y="685"/>
                    </a:lnTo>
                    <a:lnTo>
                      <a:pt x="668" y="684"/>
                    </a:lnTo>
                    <a:lnTo>
                      <a:pt x="668" y="684"/>
                    </a:lnTo>
                    <a:lnTo>
                      <a:pt x="671" y="681"/>
                    </a:lnTo>
                    <a:lnTo>
                      <a:pt x="671" y="681"/>
                    </a:lnTo>
                    <a:lnTo>
                      <a:pt x="672" y="681"/>
                    </a:lnTo>
                    <a:lnTo>
                      <a:pt x="674" y="680"/>
                    </a:lnTo>
                    <a:lnTo>
                      <a:pt x="674" y="680"/>
                    </a:lnTo>
                    <a:lnTo>
                      <a:pt x="677" y="680"/>
                    </a:lnTo>
                    <a:lnTo>
                      <a:pt x="680" y="681"/>
                    </a:lnTo>
                    <a:lnTo>
                      <a:pt x="682" y="680"/>
                    </a:lnTo>
                    <a:lnTo>
                      <a:pt x="681" y="677"/>
                    </a:lnTo>
                    <a:lnTo>
                      <a:pt x="682" y="677"/>
                    </a:lnTo>
                    <a:lnTo>
                      <a:pt x="682" y="678"/>
                    </a:lnTo>
                    <a:lnTo>
                      <a:pt x="682" y="678"/>
                    </a:lnTo>
                    <a:lnTo>
                      <a:pt x="682" y="678"/>
                    </a:lnTo>
                    <a:lnTo>
                      <a:pt x="682" y="680"/>
                    </a:lnTo>
                    <a:lnTo>
                      <a:pt x="684" y="680"/>
                    </a:lnTo>
                    <a:lnTo>
                      <a:pt x="684" y="681"/>
                    </a:lnTo>
                    <a:lnTo>
                      <a:pt x="685" y="681"/>
                    </a:lnTo>
                    <a:lnTo>
                      <a:pt x="685" y="681"/>
                    </a:lnTo>
                    <a:lnTo>
                      <a:pt x="687" y="680"/>
                    </a:lnTo>
                    <a:lnTo>
                      <a:pt x="687" y="680"/>
                    </a:lnTo>
                    <a:lnTo>
                      <a:pt x="687" y="678"/>
                    </a:lnTo>
                    <a:lnTo>
                      <a:pt x="690" y="678"/>
                    </a:lnTo>
                    <a:lnTo>
                      <a:pt x="690" y="678"/>
                    </a:lnTo>
                    <a:lnTo>
                      <a:pt x="690" y="678"/>
                    </a:lnTo>
                    <a:lnTo>
                      <a:pt x="691" y="678"/>
                    </a:lnTo>
                    <a:lnTo>
                      <a:pt x="691" y="678"/>
                    </a:lnTo>
                    <a:lnTo>
                      <a:pt x="693" y="677"/>
                    </a:lnTo>
                    <a:lnTo>
                      <a:pt x="693" y="674"/>
                    </a:lnTo>
                    <a:lnTo>
                      <a:pt x="694" y="673"/>
                    </a:lnTo>
                    <a:lnTo>
                      <a:pt x="695" y="675"/>
                    </a:lnTo>
                    <a:lnTo>
                      <a:pt x="697" y="674"/>
                    </a:lnTo>
                    <a:lnTo>
                      <a:pt x="701" y="673"/>
                    </a:lnTo>
                    <a:lnTo>
                      <a:pt x="701" y="673"/>
                    </a:lnTo>
                    <a:lnTo>
                      <a:pt x="701" y="673"/>
                    </a:lnTo>
                    <a:lnTo>
                      <a:pt x="701" y="673"/>
                    </a:lnTo>
                    <a:lnTo>
                      <a:pt x="701" y="673"/>
                    </a:lnTo>
                    <a:lnTo>
                      <a:pt x="701" y="673"/>
                    </a:lnTo>
                    <a:lnTo>
                      <a:pt x="703" y="670"/>
                    </a:lnTo>
                    <a:lnTo>
                      <a:pt x="703" y="665"/>
                    </a:lnTo>
                    <a:lnTo>
                      <a:pt x="700" y="662"/>
                    </a:lnTo>
                    <a:lnTo>
                      <a:pt x="698" y="660"/>
                    </a:lnTo>
                    <a:lnTo>
                      <a:pt x="700" y="658"/>
                    </a:lnTo>
                    <a:lnTo>
                      <a:pt x="701" y="655"/>
                    </a:lnTo>
                    <a:lnTo>
                      <a:pt x="704" y="655"/>
                    </a:lnTo>
                    <a:lnTo>
                      <a:pt x="703" y="658"/>
                    </a:lnTo>
                    <a:lnTo>
                      <a:pt x="704" y="662"/>
                    </a:lnTo>
                    <a:lnTo>
                      <a:pt x="707" y="665"/>
                    </a:lnTo>
                    <a:lnTo>
                      <a:pt x="710" y="667"/>
                    </a:lnTo>
                    <a:lnTo>
                      <a:pt x="711" y="667"/>
                    </a:lnTo>
                    <a:lnTo>
                      <a:pt x="711" y="667"/>
                    </a:lnTo>
                    <a:lnTo>
                      <a:pt x="711" y="667"/>
                    </a:lnTo>
                    <a:lnTo>
                      <a:pt x="711" y="665"/>
                    </a:lnTo>
                    <a:lnTo>
                      <a:pt x="713" y="665"/>
                    </a:lnTo>
                    <a:lnTo>
                      <a:pt x="713" y="665"/>
                    </a:lnTo>
                    <a:lnTo>
                      <a:pt x="714" y="665"/>
                    </a:lnTo>
                    <a:lnTo>
                      <a:pt x="714" y="665"/>
                    </a:lnTo>
                    <a:lnTo>
                      <a:pt x="716" y="665"/>
                    </a:lnTo>
                    <a:lnTo>
                      <a:pt x="717" y="665"/>
                    </a:lnTo>
                    <a:lnTo>
                      <a:pt x="718" y="665"/>
                    </a:lnTo>
                    <a:lnTo>
                      <a:pt x="720" y="667"/>
                    </a:lnTo>
                    <a:lnTo>
                      <a:pt x="720" y="665"/>
                    </a:lnTo>
                    <a:lnTo>
                      <a:pt x="720" y="664"/>
                    </a:lnTo>
                    <a:lnTo>
                      <a:pt x="721" y="662"/>
                    </a:lnTo>
                    <a:lnTo>
                      <a:pt x="723" y="662"/>
                    </a:lnTo>
                    <a:lnTo>
                      <a:pt x="723" y="662"/>
                    </a:lnTo>
                    <a:lnTo>
                      <a:pt x="723" y="664"/>
                    </a:lnTo>
                    <a:lnTo>
                      <a:pt x="724" y="665"/>
                    </a:lnTo>
                    <a:lnTo>
                      <a:pt x="724" y="665"/>
                    </a:lnTo>
                    <a:lnTo>
                      <a:pt x="726" y="664"/>
                    </a:lnTo>
                    <a:lnTo>
                      <a:pt x="726" y="664"/>
                    </a:lnTo>
                    <a:lnTo>
                      <a:pt x="728" y="662"/>
                    </a:lnTo>
                    <a:lnTo>
                      <a:pt x="730" y="662"/>
                    </a:lnTo>
                    <a:lnTo>
                      <a:pt x="731" y="662"/>
                    </a:lnTo>
                    <a:lnTo>
                      <a:pt x="733" y="662"/>
                    </a:lnTo>
                    <a:lnTo>
                      <a:pt x="734" y="662"/>
                    </a:lnTo>
                    <a:lnTo>
                      <a:pt x="734" y="662"/>
                    </a:lnTo>
                    <a:lnTo>
                      <a:pt x="736" y="662"/>
                    </a:lnTo>
                    <a:lnTo>
                      <a:pt x="737" y="662"/>
                    </a:lnTo>
                    <a:lnTo>
                      <a:pt x="737" y="662"/>
                    </a:lnTo>
                    <a:lnTo>
                      <a:pt x="737" y="661"/>
                    </a:lnTo>
                    <a:lnTo>
                      <a:pt x="739" y="661"/>
                    </a:lnTo>
                    <a:lnTo>
                      <a:pt x="740" y="661"/>
                    </a:lnTo>
                    <a:lnTo>
                      <a:pt x="744" y="661"/>
                    </a:lnTo>
                    <a:lnTo>
                      <a:pt x="746" y="660"/>
                    </a:lnTo>
                    <a:lnTo>
                      <a:pt x="749" y="658"/>
                    </a:lnTo>
                    <a:lnTo>
                      <a:pt x="750" y="658"/>
                    </a:lnTo>
                    <a:lnTo>
                      <a:pt x="751" y="658"/>
                    </a:lnTo>
                    <a:lnTo>
                      <a:pt x="751" y="658"/>
                    </a:lnTo>
                    <a:lnTo>
                      <a:pt x="753" y="658"/>
                    </a:lnTo>
                    <a:lnTo>
                      <a:pt x="754" y="658"/>
                    </a:lnTo>
                    <a:lnTo>
                      <a:pt x="754" y="657"/>
                    </a:lnTo>
                    <a:lnTo>
                      <a:pt x="754" y="655"/>
                    </a:lnTo>
                    <a:lnTo>
                      <a:pt x="754" y="655"/>
                    </a:lnTo>
                    <a:lnTo>
                      <a:pt x="754" y="654"/>
                    </a:lnTo>
                    <a:lnTo>
                      <a:pt x="756" y="652"/>
                    </a:lnTo>
                    <a:lnTo>
                      <a:pt x="757" y="652"/>
                    </a:lnTo>
                    <a:lnTo>
                      <a:pt x="757" y="652"/>
                    </a:lnTo>
                    <a:lnTo>
                      <a:pt x="756" y="651"/>
                    </a:lnTo>
                    <a:lnTo>
                      <a:pt x="757" y="651"/>
                    </a:lnTo>
                    <a:lnTo>
                      <a:pt x="759" y="650"/>
                    </a:lnTo>
                    <a:lnTo>
                      <a:pt x="760" y="650"/>
                    </a:lnTo>
                    <a:lnTo>
                      <a:pt x="760" y="648"/>
                    </a:lnTo>
                    <a:lnTo>
                      <a:pt x="760" y="648"/>
                    </a:lnTo>
                    <a:lnTo>
                      <a:pt x="761" y="647"/>
                    </a:lnTo>
                    <a:lnTo>
                      <a:pt x="761" y="645"/>
                    </a:lnTo>
                    <a:lnTo>
                      <a:pt x="761" y="645"/>
                    </a:lnTo>
                    <a:lnTo>
                      <a:pt x="763" y="645"/>
                    </a:lnTo>
                    <a:lnTo>
                      <a:pt x="763" y="645"/>
                    </a:lnTo>
                    <a:lnTo>
                      <a:pt x="766" y="645"/>
                    </a:lnTo>
                    <a:lnTo>
                      <a:pt x="767" y="644"/>
                    </a:lnTo>
                    <a:lnTo>
                      <a:pt x="769" y="645"/>
                    </a:lnTo>
                    <a:lnTo>
                      <a:pt x="769" y="647"/>
                    </a:lnTo>
                    <a:lnTo>
                      <a:pt x="770" y="645"/>
                    </a:lnTo>
                    <a:lnTo>
                      <a:pt x="770" y="644"/>
                    </a:lnTo>
                    <a:lnTo>
                      <a:pt x="770" y="642"/>
                    </a:lnTo>
                    <a:lnTo>
                      <a:pt x="770" y="642"/>
                    </a:lnTo>
                    <a:lnTo>
                      <a:pt x="772" y="641"/>
                    </a:lnTo>
                    <a:lnTo>
                      <a:pt x="772" y="641"/>
                    </a:lnTo>
                    <a:lnTo>
                      <a:pt x="773" y="641"/>
                    </a:lnTo>
                    <a:lnTo>
                      <a:pt x="773" y="641"/>
                    </a:lnTo>
                    <a:lnTo>
                      <a:pt x="774" y="641"/>
                    </a:lnTo>
                    <a:lnTo>
                      <a:pt x="776" y="639"/>
                    </a:lnTo>
                    <a:lnTo>
                      <a:pt x="776" y="638"/>
                    </a:lnTo>
                    <a:lnTo>
                      <a:pt x="779" y="637"/>
                    </a:lnTo>
                    <a:lnTo>
                      <a:pt x="780" y="635"/>
                    </a:lnTo>
                    <a:lnTo>
                      <a:pt x="782" y="632"/>
                    </a:lnTo>
                    <a:lnTo>
                      <a:pt x="780" y="631"/>
                    </a:lnTo>
                    <a:lnTo>
                      <a:pt x="779" y="631"/>
                    </a:lnTo>
                    <a:lnTo>
                      <a:pt x="777" y="629"/>
                    </a:lnTo>
                    <a:lnTo>
                      <a:pt x="779" y="629"/>
                    </a:lnTo>
                    <a:lnTo>
                      <a:pt x="780" y="629"/>
                    </a:lnTo>
                    <a:lnTo>
                      <a:pt x="780" y="628"/>
                    </a:lnTo>
                    <a:lnTo>
                      <a:pt x="782" y="628"/>
                    </a:lnTo>
                    <a:lnTo>
                      <a:pt x="782" y="627"/>
                    </a:lnTo>
                    <a:lnTo>
                      <a:pt x="782" y="627"/>
                    </a:lnTo>
                    <a:lnTo>
                      <a:pt x="783" y="627"/>
                    </a:lnTo>
                    <a:lnTo>
                      <a:pt x="783" y="627"/>
                    </a:lnTo>
                    <a:lnTo>
                      <a:pt x="784" y="627"/>
                    </a:lnTo>
                    <a:lnTo>
                      <a:pt x="786" y="627"/>
                    </a:lnTo>
                    <a:lnTo>
                      <a:pt x="786" y="627"/>
                    </a:lnTo>
                    <a:lnTo>
                      <a:pt x="789" y="627"/>
                    </a:lnTo>
                    <a:lnTo>
                      <a:pt x="792" y="627"/>
                    </a:lnTo>
                    <a:lnTo>
                      <a:pt x="793" y="624"/>
                    </a:lnTo>
                    <a:lnTo>
                      <a:pt x="792" y="622"/>
                    </a:lnTo>
                    <a:lnTo>
                      <a:pt x="793" y="622"/>
                    </a:lnTo>
                    <a:lnTo>
                      <a:pt x="795" y="621"/>
                    </a:lnTo>
                    <a:lnTo>
                      <a:pt x="796" y="621"/>
                    </a:lnTo>
                    <a:lnTo>
                      <a:pt x="797" y="619"/>
                    </a:lnTo>
                    <a:lnTo>
                      <a:pt x="797" y="618"/>
                    </a:lnTo>
                    <a:lnTo>
                      <a:pt x="797" y="617"/>
                    </a:lnTo>
                    <a:lnTo>
                      <a:pt x="797" y="615"/>
                    </a:lnTo>
                    <a:lnTo>
                      <a:pt x="799" y="615"/>
                    </a:lnTo>
                    <a:lnTo>
                      <a:pt x="800" y="615"/>
                    </a:lnTo>
                    <a:lnTo>
                      <a:pt x="800" y="615"/>
                    </a:lnTo>
                    <a:lnTo>
                      <a:pt x="802" y="615"/>
                    </a:lnTo>
                    <a:lnTo>
                      <a:pt x="803" y="615"/>
                    </a:lnTo>
                    <a:lnTo>
                      <a:pt x="803" y="614"/>
                    </a:lnTo>
                    <a:lnTo>
                      <a:pt x="802" y="614"/>
                    </a:lnTo>
                    <a:lnTo>
                      <a:pt x="802" y="612"/>
                    </a:lnTo>
                    <a:lnTo>
                      <a:pt x="802" y="612"/>
                    </a:lnTo>
                    <a:lnTo>
                      <a:pt x="802" y="611"/>
                    </a:lnTo>
                    <a:lnTo>
                      <a:pt x="802" y="611"/>
                    </a:lnTo>
                    <a:lnTo>
                      <a:pt x="802" y="611"/>
                    </a:lnTo>
                    <a:lnTo>
                      <a:pt x="805" y="611"/>
                    </a:lnTo>
                    <a:lnTo>
                      <a:pt x="805" y="611"/>
                    </a:lnTo>
                    <a:lnTo>
                      <a:pt x="806" y="611"/>
                    </a:lnTo>
                    <a:lnTo>
                      <a:pt x="807" y="612"/>
                    </a:lnTo>
                    <a:lnTo>
                      <a:pt x="809" y="611"/>
                    </a:lnTo>
                    <a:lnTo>
                      <a:pt x="809" y="611"/>
                    </a:lnTo>
                    <a:lnTo>
                      <a:pt x="809" y="609"/>
                    </a:lnTo>
                    <a:lnTo>
                      <a:pt x="807" y="608"/>
                    </a:lnTo>
                    <a:lnTo>
                      <a:pt x="807" y="608"/>
                    </a:lnTo>
                    <a:lnTo>
                      <a:pt x="807" y="606"/>
                    </a:lnTo>
                    <a:lnTo>
                      <a:pt x="809" y="602"/>
                    </a:lnTo>
                    <a:lnTo>
                      <a:pt x="809" y="601"/>
                    </a:lnTo>
                    <a:lnTo>
                      <a:pt x="809" y="601"/>
                    </a:lnTo>
                    <a:lnTo>
                      <a:pt x="806" y="599"/>
                    </a:lnTo>
                    <a:lnTo>
                      <a:pt x="803" y="599"/>
                    </a:lnTo>
                    <a:lnTo>
                      <a:pt x="802" y="599"/>
                    </a:lnTo>
                    <a:lnTo>
                      <a:pt x="800" y="596"/>
                    </a:lnTo>
                    <a:lnTo>
                      <a:pt x="803" y="598"/>
                    </a:lnTo>
                    <a:lnTo>
                      <a:pt x="805" y="598"/>
                    </a:lnTo>
                    <a:lnTo>
                      <a:pt x="806" y="598"/>
                    </a:lnTo>
                    <a:lnTo>
                      <a:pt x="807" y="598"/>
                    </a:lnTo>
                    <a:lnTo>
                      <a:pt x="812" y="594"/>
                    </a:lnTo>
                    <a:lnTo>
                      <a:pt x="813" y="594"/>
                    </a:lnTo>
                    <a:lnTo>
                      <a:pt x="813" y="591"/>
                    </a:lnTo>
                    <a:lnTo>
                      <a:pt x="812" y="589"/>
                    </a:lnTo>
                    <a:lnTo>
                      <a:pt x="809" y="586"/>
                    </a:lnTo>
                    <a:lnTo>
                      <a:pt x="809" y="583"/>
                    </a:lnTo>
                    <a:lnTo>
                      <a:pt x="810" y="585"/>
                    </a:lnTo>
                    <a:lnTo>
                      <a:pt x="810" y="585"/>
                    </a:lnTo>
                    <a:lnTo>
                      <a:pt x="812" y="583"/>
                    </a:lnTo>
                    <a:lnTo>
                      <a:pt x="813" y="583"/>
                    </a:lnTo>
                    <a:lnTo>
                      <a:pt x="813" y="585"/>
                    </a:lnTo>
                    <a:lnTo>
                      <a:pt x="813" y="586"/>
                    </a:lnTo>
                    <a:lnTo>
                      <a:pt x="815" y="588"/>
                    </a:lnTo>
                    <a:lnTo>
                      <a:pt x="816" y="586"/>
                    </a:lnTo>
                    <a:lnTo>
                      <a:pt x="817" y="586"/>
                    </a:lnTo>
                    <a:lnTo>
                      <a:pt x="817" y="585"/>
                    </a:lnTo>
                    <a:lnTo>
                      <a:pt x="817" y="583"/>
                    </a:lnTo>
                    <a:lnTo>
                      <a:pt x="817" y="582"/>
                    </a:lnTo>
                    <a:lnTo>
                      <a:pt x="819" y="581"/>
                    </a:lnTo>
                    <a:lnTo>
                      <a:pt x="820" y="579"/>
                    </a:lnTo>
                    <a:lnTo>
                      <a:pt x="822" y="576"/>
                    </a:lnTo>
                    <a:lnTo>
                      <a:pt x="825" y="575"/>
                    </a:lnTo>
                    <a:lnTo>
                      <a:pt x="826" y="572"/>
                    </a:lnTo>
                    <a:lnTo>
                      <a:pt x="828" y="568"/>
                    </a:lnTo>
                    <a:lnTo>
                      <a:pt x="829" y="563"/>
                    </a:lnTo>
                    <a:lnTo>
                      <a:pt x="830" y="562"/>
                    </a:lnTo>
                    <a:lnTo>
                      <a:pt x="829" y="560"/>
                    </a:lnTo>
                    <a:lnTo>
                      <a:pt x="832" y="559"/>
                    </a:lnTo>
                    <a:lnTo>
                      <a:pt x="833" y="558"/>
                    </a:lnTo>
                    <a:lnTo>
                      <a:pt x="833" y="556"/>
                    </a:lnTo>
                    <a:lnTo>
                      <a:pt x="835" y="553"/>
                    </a:lnTo>
                    <a:lnTo>
                      <a:pt x="836" y="553"/>
                    </a:lnTo>
                    <a:lnTo>
                      <a:pt x="838" y="555"/>
                    </a:lnTo>
                    <a:lnTo>
                      <a:pt x="838" y="555"/>
                    </a:lnTo>
                    <a:lnTo>
                      <a:pt x="838" y="556"/>
                    </a:lnTo>
                    <a:lnTo>
                      <a:pt x="839" y="555"/>
                    </a:lnTo>
                    <a:lnTo>
                      <a:pt x="840" y="555"/>
                    </a:lnTo>
                    <a:lnTo>
                      <a:pt x="842" y="553"/>
                    </a:lnTo>
                    <a:lnTo>
                      <a:pt x="843" y="555"/>
                    </a:lnTo>
                    <a:lnTo>
                      <a:pt x="843" y="552"/>
                    </a:lnTo>
                    <a:lnTo>
                      <a:pt x="842" y="548"/>
                    </a:lnTo>
                    <a:lnTo>
                      <a:pt x="842" y="546"/>
                    </a:lnTo>
                    <a:lnTo>
                      <a:pt x="843" y="545"/>
                    </a:lnTo>
                    <a:lnTo>
                      <a:pt x="845" y="545"/>
                    </a:lnTo>
                    <a:lnTo>
                      <a:pt x="845" y="543"/>
                    </a:lnTo>
                    <a:lnTo>
                      <a:pt x="843" y="542"/>
                    </a:lnTo>
                    <a:lnTo>
                      <a:pt x="845" y="542"/>
                    </a:lnTo>
                    <a:lnTo>
                      <a:pt x="845" y="540"/>
                    </a:lnTo>
                    <a:lnTo>
                      <a:pt x="843" y="539"/>
                    </a:lnTo>
                    <a:lnTo>
                      <a:pt x="840" y="537"/>
                    </a:lnTo>
                    <a:lnTo>
                      <a:pt x="842" y="536"/>
                    </a:lnTo>
                    <a:lnTo>
                      <a:pt x="843" y="536"/>
                    </a:lnTo>
                    <a:lnTo>
                      <a:pt x="845" y="536"/>
                    </a:lnTo>
                    <a:lnTo>
                      <a:pt x="846" y="536"/>
                    </a:lnTo>
                    <a:lnTo>
                      <a:pt x="848" y="536"/>
                    </a:lnTo>
                    <a:lnTo>
                      <a:pt x="849" y="537"/>
                    </a:lnTo>
                    <a:lnTo>
                      <a:pt x="849" y="537"/>
                    </a:lnTo>
                    <a:lnTo>
                      <a:pt x="849" y="535"/>
                    </a:lnTo>
                    <a:lnTo>
                      <a:pt x="851" y="533"/>
                    </a:lnTo>
                    <a:lnTo>
                      <a:pt x="851" y="532"/>
                    </a:lnTo>
                    <a:lnTo>
                      <a:pt x="851" y="530"/>
                    </a:lnTo>
                    <a:lnTo>
                      <a:pt x="849" y="529"/>
                    </a:lnTo>
                    <a:lnTo>
                      <a:pt x="848" y="529"/>
                    </a:lnTo>
                    <a:lnTo>
                      <a:pt x="843" y="530"/>
                    </a:lnTo>
                    <a:lnTo>
                      <a:pt x="842" y="532"/>
                    </a:lnTo>
                    <a:lnTo>
                      <a:pt x="849" y="526"/>
                    </a:lnTo>
                    <a:lnTo>
                      <a:pt x="852" y="523"/>
                    </a:lnTo>
                    <a:lnTo>
                      <a:pt x="851" y="523"/>
                    </a:lnTo>
                    <a:lnTo>
                      <a:pt x="848" y="523"/>
                    </a:lnTo>
                    <a:lnTo>
                      <a:pt x="846" y="522"/>
                    </a:lnTo>
                    <a:lnTo>
                      <a:pt x="845" y="522"/>
                    </a:lnTo>
                    <a:lnTo>
                      <a:pt x="843" y="519"/>
                    </a:lnTo>
                    <a:lnTo>
                      <a:pt x="840" y="517"/>
                    </a:lnTo>
                    <a:lnTo>
                      <a:pt x="839" y="516"/>
                    </a:lnTo>
                    <a:lnTo>
                      <a:pt x="836" y="516"/>
                    </a:lnTo>
                    <a:lnTo>
                      <a:pt x="833" y="516"/>
                    </a:lnTo>
                    <a:lnTo>
                      <a:pt x="830" y="517"/>
                    </a:lnTo>
                    <a:lnTo>
                      <a:pt x="829" y="519"/>
                    </a:lnTo>
                    <a:lnTo>
                      <a:pt x="826" y="517"/>
                    </a:lnTo>
                    <a:lnTo>
                      <a:pt x="826" y="517"/>
                    </a:lnTo>
                    <a:lnTo>
                      <a:pt x="825" y="516"/>
                    </a:lnTo>
                    <a:lnTo>
                      <a:pt x="825" y="516"/>
                    </a:lnTo>
                    <a:lnTo>
                      <a:pt x="823" y="516"/>
                    </a:lnTo>
                    <a:lnTo>
                      <a:pt x="822" y="516"/>
                    </a:lnTo>
                    <a:lnTo>
                      <a:pt x="822" y="516"/>
                    </a:lnTo>
                    <a:lnTo>
                      <a:pt x="820" y="516"/>
                    </a:lnTo>
                    <a:lnTo>
                      <a:pt x="820" y="516"/>
                    </a:lnTo>
                    <a:lnTo>
                      <a:pt x="819" y="517"/>
                    </a:lnTo>
                    <a:lnTo>
                      <a:pt x="820" y="516"/>
                    </a:lnTo>
                    <a:lnTo>
                      <a:pt x="823" y="514"/>
                    </a:lnTo>
                    <a:lnTo>
                      <a:pt x="825" y="514"/>
                    </a:lnTo>
                    <a:lnTo>
                      <a:pt x="829" y="514"/>
                    </a:lnTo>
                    <a:lnTo>
                      <a:pt x="830" y="513"/>
                    </a:lnTo>
                    <a:lnTo>
                      <a:pt x="833" y="510"/>
                    </a:lnTo>
                    <a:lnTo>
                      <a:pt x="835" y="509"/>
                    </a:lnTo>
                    <a:lnTo>
                      <a:pt x="840" y="506"/>
                    </a:lnTo>
                    <a:lnTo>
                      <a:pt x="842" y="506"/>
                    </a:lnTo>
                    <a:lnTo>
                      <a:pt x="848" y="504"/>
                    </a:lnTo>
                    <a:lnTo>
                      <a:pt x="848" y="503"/>
                    </a:lnTo>
                    <a:lnTo>
                      <a:pt x="848" y="500"/>
                    </a:lnTo>
                    <a:lnTo>
                      <a:pt x="845" y="497"/>
                    </a:lnTo>
                    <a:lnTo>
                      <a:pt x="840" y="493"/>
                    </a:lnTo>
                    <a:lnTo>
                      <a:pt x="832" y="487"/>
                    </a:lnTo>
                    <a:lnTo>
                      <a:pt x="829" y="486"/>
                    </a:lnTo>
                    <a:lnTo>
                      <a:pt x="828" y="484"/>
                    </a:lnTo>
                    <a:lnTo>
                      <a:pt x="828" y="484"/>
                    </a:lnTo>
                    <a:lnTo>
                      <a:pt x="828" y="483"/>
                    </a:lnTo>
                    <a:lnTo>
                      <a:pt x="826" y="483"/>
                    </a:lnTo>
                    <a:lnTo>
                      <a:pt x="823" y="483"/>
                    </a:lnTo>
                    <a:lnTo>
                      <a:pt x="820" y="484"/>
                    </a:lnTo>
                    <a:lnTo>
                      <a:pt x="819" y="484"/>
                    </a:lnTo>
                    <a:lnTo>
                      <a:pt x="816" y="484"/>
                    </a:lnTo>
                    <a:lnTo>
                      <a:pt x="820" y="483"/>
                    </a:lnTo>
                    <a:lnTo>
                      <a:pt x="823" y="483"/>
                    </a:lnTo>
                    <a:lnTo>
                      <a:pt x="828" y="483"/>
                    </a:lnTo>
                    <a:lnTo>
                      <a:pt x="833" y="486"/>
                    </a:lnTo>
                    <a:lnTo>
                      <a:pt x="835" y="486"/>
                    </a:lnTo>
                    <a:lnTo>
                      <a:pt x="839" y="486"/>
                    </a:lnTo>
                    <a:lnTo>
                      <a:pt x="842" y="487"/>
                    </a:lnTo>
                    <a:lnTo>
                      <a:pt x="843" y="487"/>
                    </a:lnTo>
                    <a:lnTo>
                      <a:pt x="846" y="489"/>
                    </a:lnTo>
                    <a:lnTo>
                      <a:pt x="849" y="489"/>
                    </a:lnTo>
                    <a:lnTo>
                      <a:pt x="848" y="486"/>
                    </a:lnTo>
                    <a:lnTo>
                      <a:pt x="846" y="484"/>
                    </a:lnTo>
                    <a:lnTo>
                      <a:pt x="845" y="483"/>
                    </a:lnTo>
                    <a:lnTo>
                      <a:pt x="842" y="481"/>
                    </a:lnTo>
                    <a:lnTo>
                      <a:pt x="840" y="479"/>
                    </a:lnTo>
                    <a:lnTo>
                      <a:pt x="840" y="477"/>
                    </a:lnTo>
                    <a:lnTo>
                      <a:pt x="839" y="476"/>
                    </a:lnTo>
                    <a:lnTo>
                      <a:pt x="838" y="474"/>
                    </a:lnTo>
                    <a:lnTo>
                      <a:pt x="836" y="474"/>
                    </a:lnTo>
                    <a:lnTo>
                      <a:pt x="835" y="473"/>
                    </a:lnTo>
                    <a:lnTo>
                      <a:pt x="833" y="473"/>
                    </a:lnTo>
                    <a:lnTo>
                      <a:pt x="832" y="471"/>
                    </a:lnTo>
                    <a:lnTo>
                      <a:pt x="830" y="470"/>
                    </a:lnTo>
                    <a:lnTo>
                      <a:pt x="830" y="470"/>
                    </a:lnTo>
                    <a:lnTo>
                      <a:pt x="832" y="468"/>
                    </a:lnTo>
                    <a:lnTo>
                      <a:pt x="832" y="467"/>
                    </a:lnTo>
                    <a:lnTo>
                      <a:pt x="830" y="464"/>
                    </a:lnTo>
                    <a:lnTo>
                      <a:pt x="829" y="460"/>
                    </a:lnTo>
                    <a:lnTo>
                      <a:pt x="826" y="454"/>
                    </a:lnTo>
                    <a:lnTo>
                      <a:pt x="822" y="444"/>
                    </a:lnTo>
                    <a:lnTo>
                      <a:pt x="819" y="438"/>
                    </a:lnTo>
                    <a:lnTo>
                      <a:pt x="815" y="435"/>
                    </a:lnTo>
                    <a:lnTo>
                      <a:pt x="805" y="430"/>
                    </a:lnTo>
                    <a:lnTo>
                      <a:pt x="803" y="430"/>
                    </a:lnTo>
                    <a:lnTo>
                      <a:pt x="802" y="430"/>
                    </a:lnTo>
                    <a:lnTo>
                      <a:pt x="802" y="428"/>
                    </a:lnTo>
                    <a:lnTo>
                      <a:pt x="802" y="427"/>
                    </a:lnTo>
                    <a:lnTo>
                      <a:pt x="802" y="425"/>
                    </a:lnTo>
                    <a:lnTo>
                      <a:pt x="802" y="424"/>
                    </a:lnTo>
                    <a:lnTo>
                      <a:pt x="803" y="422"/>
                    </a:lnTo>
                    <a:lnTo>
                      <a:pt x="805" y="422"/>
                    </a:lnTo>
                    <a:lnTo>
                      <a:pt x="807" y="417"/>
                    </a:lnTo>
                    <a:lnTo>
                      <a:pt x="810" y="414"/>
                    </a:lnTo>
                    <a:lnTo>
                      <a:pt x="820" y="404"/>
                    </a:lnTo>
                    <a:lnTo>
                      <a:pt x="819" y="404"/>
                    </a:lnTo>
                    <a:lnTo>
                      <a:pt x="817" y="401"/>
                    </a:lnTo>
                    <a:lnTo>
                      <a:pt x="819" y="399"/>
                    </a:lnTo>
                    <a:lnTo>
                      <a:pt x="820" y="399"/>
                    </a:lnTo>
                    <a:lnTo>
                      <a:pt x="822" y="401"/>
                    </a:lnTo>
                    <a:lnTo>
                      <a:pt x="822" y="402"/>
                    </a:lnTo>
                    <a:lnTo>
                      <a:pt x="823" y="402"/>
                    </a:lnTo>
                    <a:lnTo>
                      <a:pt x="826" y="402"/>
                    </a:lnTo>
                    <a:lnTo>
                      <a:pt x="828" y="401"/>
                    </a:lnTo>
                    <a:lnTo>
                      <a:pt x="828" y="399"/>
                    </a:lnTo>
                    <a:lnTo>
                      <a:pt x="828" y="399"/>
                    </a:lnTo>
                    <a:lnTo>
                      <a:pt x="828" y="397"/>
                    </a:lnTo>
                    <a:lnTo>
                      <a:pt x="829" y="397"/>
                    </a:lnTo>
                    <a:lnTo>
                      <a:pt x="829" y="395"/>
                    </a:lnTo>
                    <a:lnTo>
                      <a:pt x="830" y="395"/>
                    </a:lnTo>
                    <a:lnTo>
                      <a:pt x="830" y="395"/>
                    </a:lnTo>
                    <a:lnTo>
                      <a:pt x="830" y="394"/>
                    </a:lnTo>
                    <a:lnTo>
                      <a:pt x="830" y="392"/>
                    </a:lnTo>
                    <a:lnTo>
                      <a:pt x="830" y="392"/>
                    </a:lnTo>
                    <a:lnTo>
                      <a:pt x="830" y="392"/>
                    </a:lnTo>
                    <a:lnTo>
                      <a:pt x="830" y="392"/>
                    </a:lnTo>
                    <a:lnTo>
                      <a:pt x="830" y="392"/>
                    </a:lnTo>
                    <a:lnTo>
                      <a:pt x="830" y="391"/>
                    </a:lnTo>
                    <a:lnTo>
                      <a:pt x="830" y="391"/>
                    </a:lnTo>
                    <a:lnTo>
                      <a:pt x="832" y="391"/>
                    </a:lnTo>
                    <a:lnTo>
                      <a:pt x="832" y="392"/>
                    </a:lnTo>
                    <a:lnTo>
                      <a:pt x="833" y="392"/>
                    </a:lnTo>
                    <a:lnTo>
                      <a:pt x="845" y="388"/>
                    </a:lnTo>
                    <a:lnTo>
                      <a:pt x="848" y="385"/>
                    </a:lnTo>
                    <a:lnTo>
                      <a:pt x="849" y="385"/>
                    </a:lnTo>
                    <a:lnTo>
                      <a:pt x="851" y="385"/>
                    </a:lnTo>
                    <a:lnTo>
                      <a:pt x="852" y="385"/>
                    </a:lnTo>
                    <a:lnTo>
                      <a:pt x="853" y="385"/>
                    </a:lnTo>
                    <a:lnTo>
                      <a:pt x="853" y="387"/>
                    </a:lnTo>
                    <a:lnTo>
                      <a:pt x="855" y="387"/>
                    </a:lnTo>
                    <a:lnTo>
                      <a:pt x="856" y="387"/>
                    </a:lnTo>
                    <a:lnTo>
                      <a:pt x="858" y="387"/>
                    </a:lnTo>
                    <a:lnTo>
                      <a:pt x="859" y="385"/>
                    </a:lnTo>
                    <a:lnTo>
                      <a:pt x="861" y="384"/>
                    </a:lnTo>
                    <a:lnTo>
                      <a:pt x="859" y="384"/>
                    </a:lnTo>
                    <a:lnTo>
                      <a:pt x="859" y="384"/>
                    </a:lnTo>
                    <a:lnTo>
                      <a:pt x="859" y="384"/>
                    </a:lnTo>
                    <a:lnTo>
                      <a:pt x="859" y="382"/>
                    </a:lnTo>
                    <a:lnTo>
                      <a:pt x="859" y="382"/>
                    </a:lnTo>
                    <a:lnTo>
                      <a:pt x="861" y="381"/>
                    </a:lnTo>
                    <a:lnTo>
                      <a:pt x="861" y="381"/>
                    </a:lnTo>
                    <a:lnTo>
                      <a:pt x="861" y="378"/>
                    </a:lnTo>
                    <a:lnTo>
                      <a:pt x="862" y="376"/>
                    </a:lnTo>
                    <a:lnTo>
                      <a:pt x="862" y="375"/>
                    </a:lnTo>
                    <a:lnTo>
                      <a:pt x="861" y="375"/>
                    </a:lnTo>
                    <a:lnTo>
                      <a:pt x="858" y="376"/>
                    </a:lnTo>
                    <a:lnTo>
                      <a:pt x="856" y="375"/>
                    </a:lnTo>
                    <a:lnTo>
                      <a:pt x="855" y="375"/>
                    </a:lnTo>
                    <a:lnTo>
                      <a:pt x="853" y="374"/>
                    </a:lnTo>
                    <a:lnTo>
                      <a:pt x="852" y="374"/>
                    </a:lnTo>
                    <a:lnTo>
                      <a:pt x="852" y="374"/>
                    </a:lnTo>
                    <a:lnTo>
                      <a:pt x="849" y="375"/>
                    </a:lnTo>
                    <a:lnTo>
                      <a:pt x="848" y="375"/>
                    </a:lnTo>
                    <a:lnTo>
                      <a:pt x="846" y="375"/>
                    </a:lnTo>
                    <a:lnTo>
                      <a:pt x="845" y="375"/>
                    </a:lnTo>
                    <a:lnTo>
                      <a:pt x="842" y="374"/>
                    </a:lnTo>
                    <a:lnTo>
                      <a:pt x="839" y="372"/>
                    </a:lnTo>
                    <a:lnTo>
                      <a:pt x="832" y="368"/>
                    </a:lnTo>
                    <a:lnTo>
                      <a:pt x="829" y="368"/>
                    </a:lnTo>
                    <a:lnTo>
                      <a:pt x="826" y="368"/>
                    </a:lnTo>
                    <a:lnTo>
                      <a:pt x="820" y="371"/>
                    </a:lnTo>
                    <a:lnTo>
                      <a:pt x="820" y="371"/>
                    </a:lnTo>
                    <a:lnTo>
                      <a:pt x="820" y="372"/>
                    </a:lnTo>
                    <a:lnTo>
                      <a:pt x="815" y="376"/>
                    </a:lnTo>
                    <a:lnTo>
                      <a:pt x="813" y="376"/>
                    </a:lnTo>
                    <a:lnTo>
                      <a:pt x="813" y="378"/>
                    </a:lnTo>
                    <a:lnTo>
                      <a:pt x="813" y="378"/>
                    </a:lnTo>
                    <a:lnTo>
                      <a:pt x="813" y="379"/>
                    </a:lnTo>
                    <a:lnTo>
                      <a:pt x="812" y="381"/>
                    </a:lnTo>
                    <a:lnTo>
                      <a:pt x="807" y="382"/>
                    </a:lnTo>
                    <a:lnTo>
                      <a:pt x="803" y="381"/>
                    </a:lnTo>
                    <a:lnTo>
                      <a:pt x="799" y="379"/>
                    </a:lnTo>
                    <a:lnTo>
                      <a:pt x="797" y="375"/>
                    </a:lnTo>
                    <a:lnTo>
                      <a:pt x="797" y="374"/>
                    </a:lnTo>
                    <a:lnTo>
                      <a:pt x="797" y="372"/>
                    </a:lnTo>
                    <a:lnTo>
                      <a:pt x="799" y="371"/>
                    </a:lnTo>
                    <a:lnTo>
                      <a:pt x="799" y="369"/>
                    </a:lnTo>
                    <a:lnTo>
                      <a:pt x="799" y="368"/>
                    </a:lnTo>
                    <a:lnTo>
                      <a:pt x="799" y="366"/>
                    </a:lnTo>
                    <a:lnTo>
                      <a:pt x="797" y="364"/>
                    </a:lnTo>
                    <a:lnTo>
                      <a:pt x="797" y="362"/>
                    </a:lnTo>
                    <a:lnTo>
                      <a:pt x="795" y="361"/>
                    </a:lnTo>
                    <a:lnTo>
                      <a:pt x="793" y="361"/>
                    </a:lnTo>
                    <a:lnTo>
                      <a:pt x="790" y="362"/>
                    </a:lnTo>
                    <a:lnTo>
                      <a:pt x="787" y="361"/>
                    </a:lnTo>
                    <a:lnTo>
                      <a:pt x="784" y="361"/>
                    </a:lnTo>
                    <a:lnTo>
                      <a:pt x="782" y="359"/>
                    </a:lnTo>
                    <a:lnTo>
                      <a:pt x="779" y="359"/>
                    </a:lnTo>
                    <a:lnTo>
                      <a:pt x="776" y="356"/>
                    </a:lnTo>
                    <a:lnTo>
                      <a:pt x="773" y="352"/>
                    </a:lnTo>
                    <a:lnTo>
                      <a:pt x="773" y="348"/>
                    </a:lnTo>
                    <a:lnTo>
                      <a:pt x="774" y="343"/>
                    </a:lnTo>
                    <a:lnTo>
                      <a:pt x="776" y="342"/>
                    </a:lnTo>
                    <a:lnTo>
                      <a:pt x="777" y="339"/>
                    </a:lnTo>
                    <a:lnTo>
                      <a:pt x="780" y="338"/>
                    </a:lnTo>
                    <a:lnTo>
                      <a:pt x="782" y="338"/>
                    </a:lnTo>
                    <a:lnTo>
                      <a:pt x="783" y="339"/>
                    </a:lnTo>
                    <a:lnTo>
                      <a:pt x="784" y="341"/>
                    </a:lnTo>
                    <a:lnTo>
                      <a:pt x="786" y="342"/>
                    </a:lnTo>
                    <a:lnTo>
                      <a:pt x="787" y="341"/>
                    </a:lnTo>
                    <a:lnTo>
                      <a:pt x="790" y="341"/>
                    </a:lnTo>
                    <a:lnTo>
                      <a:pt x="790" y="339"/>
                    </a:lnTo>
                    <a:lnTo>
                      <a:pt x="793" y="339"/>
                    </a:lnTo>
                    <a:lnTo>
                      <a:pt x="796" y="339"/>
                    </a:lnTo>
                    <a:lnTo>
                      <a:pt x="797" y="339"/>
                    </a:lnTo>
                    <a:lnTo>
                      <a:pt x="800" y="338"/>
                    </a:lnTo>
                    <a:lnTo>
                      <a:pt x="800" y="335"/>
                    </a:lnTo>
                    <a:lnTo>
                      <a:pt x="803" y="330"/>
                    </a:lnTo>
                    <a:lnTo>
                      <a:pt x="805" y="328"/>
                    </a:lnTo>
                    <a:lnTo>
                      <a:pt x="807" y="325"/>
                    </a:lnTo>
                    <a:lnTo>
                      <a:pt x="812" y="322"/>
                    </a:lnTo>
                    <a:lnTo>
                      <a:pt x="820" y="318"/>
                    </a:lnTo>
                    <a:lnTo>
                      <a:pt x="823" y="316"/>
                    </a:lnTo>
                    <a:lnTo>
                      <a:pt x="825" y="315"/>
                    </a:lnTo>
                    <a:lnTo>
                      <a:pt x="828" y="313"/>
                    </a:lnTo>
                    <a:lnTo>
                      <a:pt x="830" y="309"/>
                    </a:lnTo>
                    <a:lnTo>
                      <a:pt x="835" y="305"/>
                    </a:lnTo>
                    <a:lnTo>
                      <a:pt x="836" y="303"/>
                    </a:lnTo>
                    <a:lnTo>
                      <a:pt x="838" y="302"/>
                    </a:lnTo>
                    <a:lnTo>
                      <a:pt x="842" y="303"/>
                    </a:lnTo>
                    <a:lnTo>
                      <a:pt x="843" y="303"/>
                    </a:lnTo>
                    <a:lnTo>
                      <a:pt x="845" y="303"/>
                    </a:lnTo>
                    <a:lnTo>
                      <a:pt x="846" y="303"/>
                    </a:lnTo>
                    <a:lnTo>
                      <a:pt x="848" y="300"/>
                    </a:lnTo>
                    <a:lnTo>
                      <a:pt x="849" y="305"/>
                    </a:lnTo>
                    <a:lnTo>
                      <a:pt x="852" y="307"/>
                    </a:lnTo>
                    <a:lnTo>
                      <a:pt x="855" y="310"/>
                    </a:lnTo>
                    <a:lnTo>
                      <a:pt x="853" y="315"/>
                    </a:lnTo>
                    <a:lnTo>
                      <a:pt x="851" y="319"/>
                    </a:lnTo>
                    <a:lnTo>
                      <a:pt x="849" y="320"/>
                    </a:lnTo>
                    <a:lnTo>
                      <a:pt x="848" y="323"/>
                    </a:lnTo>
                    <a:lnTo>
                      <a:pt x="843" y="325"/>
                    </a:lnTo>
                    <a:lnTo>
                      <a:pt x="842" y="326"/>
                    </a:lnTo>
                    <a:lnTo>
                      <a:pt x="842" y="329"/>
                    </a:lnTo>
                    <a:lnTo>
                      <a:pt x="840" y="329"/>
                    </a:lnTo>
                    <a:lnTo>
                      <a:pt x="839" y="330"/>
                    </a:lnTo>
                    <a:lnTo>
                      <a:pt x="838" y="332"/>
                    </a:lnTo>
                    <a:lnTo>
                      <a:pt x="838" y="335"/>
                    </a:lnTo>
                    <a:lnTo>
                      <a:pt x="840" y="335"/>
                    </a:lnTo>
                    <a:lnTo>
                      <a:pt x="845" y="335"/>
                    </a:lnTo>
                    <a:lnTo>
                      <a:pt x="848" y="335"/>
                    </a:lnTo>
                    <a:lnTo>
                      <a:pt x="846" y="335"/>
                    </a:lnTo>
                    <a:lnTo>
                      <a:pt x="846" y="336"/>
                    </a:lnTo>
                    <a:lnTo>
                      <a:pt x="845" y="339"/>
                    </a:lnTo>
                    <a:lnTo>
                      <a:pt x="845" y="339"/>
                    </a:lnTo>
                    <a:lnTo>
                      <a:pt x="845" y="341"/>
                    </a:lnTo>
                    <a:lnTo>
                      <a:pt x="845" y="341"/>
                    </a:lnTo>
                    <a:lnTo>
                      <a:pt x="845" y="341"/>
                    </a:lnTo>
                    <a:lnTo>
                      <a:pt x="843" y="342"/>
                    </a:lnTo>
                    <a:lnTo>
                      <a:pt x="840" y="342"/>
                    </a:lnTo>
                    <a:lnTo>
                      <a:pt x="839" y="343"/>
                    </a:lnTo>
                    <a:lnTo>
                      <a:pt x="836" y="345"/>
                    </a:lnTo>
                    <a:lnTo>
                      <a:pt x="835" y="346"/>
                    </a:lnTo>
                    <a:lnTo>
                      <a:pt x="836" y="348"/>
                    </a:lnTo>
                    <a:lnTo>
                      <a:pt x="838" y="348"/>
                    </a:lnTo>
                    <a:lnTo>
                      <a:pt x="842" y="346"/>
                    </a:lnTo>
                    <a:lnTo>
                      <a:pt x="843" y="346"/>
                    </a:lnTo>
                    <a:lnTo>
                      <a:pt x="845" y="345"/>
                    </a:lnTo>
                    <a:lnTo>
                      <a:pt x="845" y="345"/>
                    </a:lnTo>
                    <a:lnTo>
                      <a:pt x="845" y="343"/>
                    </a:lnTo>
                    <a:lnTo>
                      <a:pt x="845" y="343"/>
                    </a:lnTo>
                    <a:lnTo>
                      <a:pt x="845" y="343"/>
                    </a:lnTo>
                    <a:lnTo>
                      <a:pt x="846" y="342"/>
                    </a:lnTo>
                    <a:lnTo>
                      <a:pt x="846" y="343"/>
                    </a:lnTo>
                    <a:lnTo>
                      <a:pt x="846" y="343"/>
                    </a:lnTo>
                    <a:lnTo>
                      <a:pt x="848" y="343"/>
                    </a:lnTo>
                    <a:lnTo>
                      <a:pt x="851" y="342"/>
                    </a:lnTo>
                    <a:lnTo>
                      <a:pt x="851" y="341"/>
                    </a:lnTo>
                    <a:lnTo>
                      <a:pt x="853" y="339"/>
                    </a:lnTo>
                    <a:lnTo>
                      <a:pt x="858" y="335"/>
                    </a:lnTo>
                    <a:lnTo>
                      <a:pt x="861" y="332"/>
                    </a:lnTo>
                    <a:lnTo>
                      <a:pt x="866" y="330"/>
                    </a:lnTo>
                    <a:lnTo>
                      <a:pt x="878" y="326"/>
                    </a:lnTo>
                    <a:lnTo>
                      <a:pt x="878" y="326"/>
                    </a:lnTo>
                    <a:lnTo>
                      <a:pt x="879" y="325"/>
                    </a:lnTo>
                    <a:lnTo>
                      <a:pt x="879" y="325"/>
                    </a:lnTo>
                    <a:lnTo>
                      <a:pt x="879" y="325"/>
                    </a:lnTo>
                    <a:lnTo>
                      <a:pt x="881" y="325"/>
                    </a:lnTo>
                    <a:lnTo>
                      <a:pt x="881" y="325"/>
                    </a:lnTo>
                    <a:lnTo>
                      <a:pt x="888" y="325"/>
                    </a:lnTo>
                    <a:lnTo>
                      <a:pt x="889" y="323"/>
                    </a:lnTo>
                    <a:lnTo>
                      <a:pt x="892" y="322"/>
                    </a:lnTo>
                    <a:lnTo>
                      <a:pt x="894" y="318"/>
                    </a:lnTo>
                    <a:lnTo>
                      <a:pt x="898" y="315"/>
                    </a:lnTo>
                    <a:lnTo>
                      <a:pt x="919" y="302"/>
                    </a:lnTo>
                    <a:lnTo>
                      <a:pt x="922" y="300"/>
                    </a:lnTo>
                    <a:lnTo>
                      <a:pt x="924" y="297"/>
                    </a:lnTo>
                    <a:lnTo>
                      <a:pt x="928" y="295"/>
                    </a:lnTo>
                    <a:lnTo>
                      <a:pt x="928" y="293"/>
                    </a:lnTo>
                    <a:lnTo>
                      <a:pt x="930" y="292"/>
                    </a:lnTo>
                    <a:lnTo>
                      <a:pt x="931" y="289"/>
                    </a:lnTo>
                    <a:lnTo>
                      <a:pt x="931" y="287"/>
                    </a:lnTo>
                    <a:lnTo>
                      <a:pt x="932" y="286"/>
                    </a:lnTo>
                    <a:lnTo>
                      <a:pt x="934" y="284"/>
                    </a:lnTo>
                    <a:lnTo>
                      <a:pt x="935" y="283"/>
                    </a:lnTo>
                    <a:lnTo>
                      <a:pt x="937" y="283"/>
                    </a:lnTo>
                    <a:lnTo>
                      <a:pt x="938" y="284"/>
                    </a:lnTo>
                    <a:lnTo>
                      <a:pt x="940" y="286"/>
                    </a:lnTo>
                    <a:lnTo>
                      <a:pt x="940" y="287"/>
                    </a:lnTo>
                    <a:lnTo>
                      <a:pt x="941" y="287"/>
                    </a:lnTo>
                    <a:lnTo>
                      <a:pt x="942" y="289"/>
                    </a:lnTo>
                    <a:lnTo>
                      <a:pt x="945" y="290"/>
                    </a:lnTo>
                    <a:lnTo>
                      <a:pt x="950" y="290"/>
                    </a:lnTo>
                    <a:lnTo>
                      <a:pt x="951" y="290"/>
                    </a:lnTo>
                    <a:lnTo>
                      <a:pt x="954" y="290"/>
                    </a:lnTo>
                    <a:lnTo>
                      <a:pt x="955" y="290"/>
                    </a:lnTo>
                    <a:lnTo>
                      <a:pt x="957" y="290"/>
                    </a:lnTo>
                    <a:lnTo>
                      <a:pt x="958" y="292"/>
                    </a:lnTo>
                    <a:lnTo>
                      <a:pt x="958" y="292"/>
                    </a:lnTo>
                    <a:lnTo>
                      <a:pt x="961" y="289"/>
                    </a:lnTo>
                    <a:lnTo>
                      <a:pt x="960" y="286"/>
                    </a:lnTo>
                    <a:lnTo>
                      <a:pt x="958" y="283"/>
                    </a:lnTo>
                    <a:lnTo>
                      <a:pt x="957" y="279"/>
                    </a:lnTo>
                    <a:lnTo>
                      <a:pt x="958" y="279"/>
                    </a:lnTo>
                    <a:lnTo>
                      <a:pt x="961" y="277"/>
                    </a:lnTo>
                    <a:lnTo>
                      <a:pt x="967" y="277"/>
                    </a:lnTo>
                    <a:lnTo>
                      <a:pt x="970" y="277"/>
                    </a:lnTo>
                    <a:lnTo>
                      <a:pt x="971" y="277"/>
                    </a:lnTo>
                    <a:lnTo>
                      <a:pt x="974" y="276"/>
                    </a:lnTo>
                    <a:lnTo>
                      <a:pt x="975" y="276"/>
                    </a:lnTo>
                    <a:lnTo>
                      <a:pt x="977" y="274"/>
                    </a:lnTo>
                    <a:lnTo>
                      <a:pt x="978" y="270"/>
                    </a:lnTo>
                    <a:lnTo>
                      <a:pt x="980" y="269"/>
                    </a:lnTo>
                    <a:lnTo>
                      <a:pt x="981" y="269"/>
                    </a:lnTo>
                    <a:lnTo>
                      <a:pt x="983" y="269"/>
                    </a:lnTo>
                    <a:lnTo>
                      <a:pt x="984" y="269"/>
                    </a:lnTo>
                    <a:lnTo>
                      <a:pt x="987" y="266"/>
                    </a:lnTo>
                    <a:lnTo>
                      <a:pt x="988" y="259"/>
                    </a:lnTo>
                    <a:lnTo>
                      <a:pt x="991" y="257"/>
                    </a:lnTo>
                    <a:lnTo>
                      <a:pt x="993" y="257"/>
                    </a:lnTo>
                    <a:lnTo>
                      <a:pt x="994" y="257"/>
                    </a:lnTo>
                    <a:lnTo>
                      <a:pt x="996" y="259"/>
                    </a:lnTo>
                    <a:lnTo>
                      <a:pt x="996" y="260"/>
                    </a:lnTo>
                    <a:lnTo>
                      <a:pt x="996" y="261"/>
                    </a:lnTo>
                    <a:lnTo>
                      <a:pt x="997" y="261"/>
                    </a:lnTo>
                    <a:lnTo>
                      <a:pt x="997" y="263"/>
                    </a:lnTo>
                    <a:lnTo>
                      <a:pt x="998" y="264"/>
                    </a:lnTo>
                    <a:lnTo>
                      <a:pt x="998" y="264"/>
                    </a:lnTo>
                    <a:lnTo>
                      <a:pt x="1001" y="266"/>
                    </a:lnTo>
                    <a:lnTo>
                      <a:pt x="1001" y="266"/>
                    </a:lnTo>
                    <a:lnTo>
                      <a:pt x="1001" y="264"/>
                    </a:lnTo>
                    <a:lnTo>
                      <a:pt x="1001" y="264"/>
                    </a:lnTo>
                    <a:lnTo>
                      <a:pt x="1000" y="263"/>
                    </a:lnTo>
                    <a:lnTo>
                      <a:pt x="1000" y="263"/>
                    </a:lnTo>
                    <a:lnTo>
                      <a:pt x="998" y="263"/>
                    </a:lnTo>
                    <a:lnTo>
                      <a:pt x="998" y="263"/>
                    </a:lnTo>
                    <a:lnTo>
                      <a:pt x="998" y="261"/>
                    </a:lnTo>
                    <a:lnTo>
                      <a:pt x="998" y="261"/>
                    </a:lnTo>
                    <a:lnTo>
                      <a:pt x="1000" y="261"/>
                    </a:lnTo>
                    <a:lnTo>
                      <a:pt x="1000" y="261"/>
                    </a:lnTo>
                    <a:lnTo>
                      <a:pt x="1000" y="261"/>
                    </a:lnTo>
                    <a:lnTo>
                      <a:pt x="1001" y="260"/>
                    </a:lnTo>
                    <a:lnTo>
                      <a:pt x="1001" y="260"/>
                    </a:lnTo>
                    <a:lnTo>
                      <a:pt x="1007" y="259"/>
                    </a:lnTo>
                    <a:lnTo>
                      <a:pt x="1007" y="259"/>
                    </a:lnTo>
                    <a:lnTo>
                      <a:pt x="1009" y="259"/>
                    </a:lnTo>
                    <a:lnTo>
                      <a:pt x="1009" y="259"/>
                    </a:lnTo>
                    <a:lnTo>
                      <a:pt x="1009" y="259"/>
                    </a:lnTo>
                    <a:lnTo>
                      <a:pt x="1010" y="259"/>
                    </a:lnTo>
                    <a:lnTo>
                      <a:pt x="1010" y="256"/>
                    </a:lnTo>
                    <a:lnTo>
                      <a:pt x="1011" y="254"/>
                    </a:lnTo>
                    <a:lnTo>
                      <a:pt x="1011" y="253"/>
                    </a:lnTo>
                    <a:lnTo>
                      <a:pt x="1013" y="251"/>
                    </a:lnTo>
                    <a:lnTo>
                      <a:pt x="1013" y="249"/>
                    </a:lnTo>
                    <a:lnTo>
                      <a:pt x="1014" y="247"/>
                    </a:lnTo>
                    <a:lnTo>
                      <a:pt x="1014" y="247"/>
                    </a:lnTo>
                    <a:lnTo>
                      <a:pt x="1013" y="246"/>
                    </a:lnTo>
                    <a:lnTo>
                      <a:pt x="1013" y="246"/>
                    </a:lnTo>
                    <a:lnTo>
                      <a:pt x="1013" y="244"/>
                    </a:lnTo>
                    <a:lnTo>
                      <a:pt x="1013" y="244"/>
                    </a:lnTo>
                    <a:lnTo>
                      <a:pt x="1013" y="244"/>
                    </a:lnTo>
                    <a:lnTo>
                      <a:pt x="1013" y="243"/>
                    </a:lnTo>
                    <a:lnTo>
                      <a:pt x="1013" y="239"/>
                    </a:lnTo>
                    <a:lnTo>
                      <a:pt x="1013" y="236"/>
                    </a:lnTo>
                    <a:lnTo>
                      <a:pt x="1013" y="231"/>
                    </a:lnTo>
                    <a:lnTo>
                      <a:pt x="1013" y="228"/>
                    </a:lnTo>
                    <a:lnTo>
                      <a:pt x="1011" y="221"/>
                    </a:lnTo>
                    <a:lnTo>
                      <a:pt x="1010" y="220"/>
                    </a:lnTo>
                    <a:lnTo>
                      <a:pt x="1010" y="217"/>
                    </a:lnTo>
                    <a:lnTo>
                      <a:pt x="1009" y="217"/>
                    </a:lnTo>
                    <a:lnTo>
                      <a:pt x="1009" y="216"/>
                    </a:lnTo>
                    <a:lnTo>
                      <a:pt x="1009" y="214"/>
                    </a:lnTo>
                    <a:lnTo>
                      <a:pt x="1009" y="214"/>
                    </a:lnTo>
                    <a:lnTo>
                      <a:pt x="1010" y="214"/>
                    </a:lnTo>
                    <a:lnTo>
                      <a:pt x="1010" y="213"/>
                    </a:lnTo>
                    <a:lnTo>
                      <a:pt x="1010" y="213"/>
                    </a:lnTo>
                    <a:lnTo>
                      <a:pt x="1011" y="213"/>
                    </a:lnTo>
                    <a:lnTo>
                      <a:pt x="1013" y="213"/>
                    </a:lnTo>
                    <a:lnTo>
                      <a:pt x="1014" y="213"/>
                    </a:lnTo>
                    <a:lnTo>
                      <a:pt x="1016" y="211"/>
                    </a:lnTo>
                    <a:lnTo>
                      <a:pt x="1016" y="211"/>
                    </a:lnTo>
                    <a:lnTo>
                      <a:pt x="1017" y="211"/>
                    </a:lnTo>
                    <a:lnTo>
                      <a:pt x="1017" y="211"/>
                    </a:lnTo>
                    <a:lnTo>
                      <a:pt x="1017" y="210"/>
                    </a:lnTo>
                    <a:lnTo>
                      <a:pt x="1019" y="210"/>
                    </a:lnTo>
                    <a:lnTo>
                      <a:pt x="1019" y="208"/>
                    </a:lnTo>
                    <a:lnTo>
                      <a:pt x="1020" y="208"/>
                    </a:lnTo>
                    <a:lnTo>
                      <a:pt x="1020" y="207"/>
                    </a:lnTo>
                    <a:lnTo>
                      <a:pt x="1020" y="207"/>
                    </a:lnTo>
                    <a:lnTo>
                      <a:pt x="1024" y="203"/>
                    </a:lnTo>
                    <a:lnTo>
                      <a:pt x="1024" y="204"/>
                    </a:lnTo>
                    <a:lnTo>
                      <a:pt x="1026" y="204"/>
                    </a:lnTo>
                    <a:lnTo>
                      <a:pt x="1026" y="205"/>
                    </a:lnTo>
                    <a:lnTo>
                      <a:pt x="1027" y="205"/>
                    </a:lnTo>
                    <a:lnTo>
                      <a:pt x="1031" y="207"/>
                    </a:lnTo>
                    <a:lnTo>
                      <a:pt x="1034" y="207"/>
                    </a:lnTo>
                    <a:lnTo>
                      <a:pt x="1039" y="208"/>
                    </a:lnTo>
                    <a:lnTo>
                      <a:pt x="1042" y="210"/>
                    </a:lnTo>
                    <a:lnTo>
                      <a:pt x="1043" y="210"/>
                    </a:lnTo>
                    <a:lnTo>
                      <a:pt x="1044" y="208"/>
                    </a:lnTo>
                    <a:lnTo>
                      <a:pt x="1046" y="208"/>
                    </a:lnTo>
                    <a:lnTo>
                      <a:pt x="1046" y="205"/>
                    </a:lnTo>
                    <a:lnTo>
                      <a:pt x="1046" y="204"/>
                    </a:lnTo>
                    <a:lnTo>
                      <a:pt x="1046" y="204"/>
                    </a:lnTo>
                    <a:lnTo>
                      <a:pt x="1046" y="203"/>
                    </a:lnTo>
                    <a:lnTo>
                      <a:pt x="1047" y="201"/>
                    </a:lnTo>
                    <a:lnTo>
                      <a:pt x="1047" y="200"/>
                    </a:lnTo>
                    <a:lnTo>
                      <a:pt x="1047" y="198"/>
                    </a:lnTo>
                    <a:lnTo>
                      <a:pt x="1049" y="198"/>
                    </a:lnTo>
                    <a:lnTo>
                      <a:pt x="1049" y="198"/>
                    </a:lnTo>
                    <a:lnTo>
                      <a:pt x="1050" y="198"/>
                    </a:lnTo>
                    <a:lnTo>
                      <a:pt x="1050" y="197"/>
                    </a:lnTo>
                    <a:lnTo>
                      <a:pt x="1052" y="197"/>
                    </a:lnTo>
                    <a:lnTo>
                      <a:pt x="1052" y="195"/>
                    </a:lnTo>
                    <a:lnTo>
                      <a:pt x="1052" y="194"/>
                    </a:lnTo>
                    <a:lnTo>
                      <a:pt x="1053" y="194"/>
                    </a:lnTo>
                    <a:lnTo>
                      <a:pt x="1053" y="193"/>
                    </a:lnTo>
                    <a:lnTo>
                      <a:pt x="1053" y="193"/>
                    </a:lnTo>
                    <a:lnTo>
                      <a:pt x="1053" y="191"/>
                    </a:lnTo>
                    <a:lnTo>
                      <a:pt x="1053" y="191"/>
                    </a:lnTo>
                    <a:lnTo>
                      <a:pt x="1053" y="190"/>
                    </a:lnTo>
                    <a:lnTo>
                      <a:pt x="1054" y="190"/>
                    </a:lnTo>
                    <a:lnTo>
                      <a:pt x="1054" y="190"/>
                    </a:lnTo>
                    <a:lnTo>
                      <a:pt x="1056" y="188"/>
                    </a:lnTo>
                    <a:lnTo>
                      <a:pt x="1056" y="188"/>
                    </a:lnTo>
                    <a:lnTo>
                      <a:pt x="1056" y="188"/>
                    </a:lnTo>
                    <a:lnTo>
                      <a:pt x="1056" y="187"/>
                    </a:lnTo>
                    <a:lnTo>
                      <a:pt x="1057" y="185"/>
                    </a:lnTo>
                    <a:lnTo>
                      <a:pt x="1056" y="185"/>
                    </a:lnTo>
                    <a:lnTo>
                      <a:pt x="1056" y="184"/>
                    </a:lnTo>
                    <a:lnTo>
                      <a:pt x="1057" y="184"/>
                    </a:lnTo>
                    <a:lnTo>
                      <a:pt x="1059" y="182"/>
                    </a:lnTo>
                    <a:lnTo>
                      <a:pt x="1059" y="181"/>
                    </a:lnTo>
                    <a:lnTo>
                      <a:pt x="1060" y="180"/>
                    </a:lnTo>
                    <a:lnTo>
                      <a:pt x="1060" y="177"/>
                    </a:lnTo>
                    <a:lnTo>
                      <a:pt x="1059" y="175"/>
                    </a:lnTo>
                    <a:lnTo>
                      <a:pt x="1060" y="174"/>
                    </a:lnTo>
                    <a:lnTo>
                      <a:pt x="1062" y="172"/>
                    </a:lnTo>
                    <a:lnTo>
                      <a:pt x="1062" y="171"/>
                    </a:lnTo>
                    <a:lnTo>
                      <a:pt x="1062" y="170"/>
                    </a:lnTo>
                    <a:lnTo>
                      <a:pt x="1063" y="168"/>
                    </a:lnTo>
                    <a:lnTo>
                      <a:pt x="1063" y="168"/>
                    </a:lnTo>
                    <a:lnTo>
                      <a:pt x="1063" y="167"/>
                    </a:lnTo>
                    <a:lnTo>
                      <a:pt x="1063" y="165"/>
                    </a:lnTo>
                    <a:lnTo>
                      <a:pt x="1063" y="164"/>
                    </a:lnTo>
                    <a:lnTo>
                      <a:pt x="1065" y="162"/>
                    </a:lnTo>
                    <a:lnTo>
                      <a:pt x="1065" y="162"/>
                    </a:lnTo>
                    <a:lnTo>
                      <a:pt x="1066" y="161"/>
                    </a:lnTo>
                    <a:lnTo>
                      <a:pt x="1065" y="159"/>
                    </a:lnTo>
                    <a:lnTo>
                      <a:pt x="1065" y="158"/>
                    </a:lnTo>
                    <a:lnTo>
                      <a:pt x="1065" y="157"/>
                    </a:lnTo>
                    <a:lnTo>
                      <a:pt x="1066" y="157"/>
                    </a:lnTo>
                    <a:lnTo>
                      <a:pt x="1066" y="155"/>
                    </a:lnTo>
                    <a:lnTo>
                      <a:pt x="1066" y="155"/>
                    </a:lnTo>
                    <a:lnTo>
                      <a:pt x="1067" y="155"/>
                    </a:lnTo>
                    <a:lnTo>
                      <a:pt x="1067" y="154"/>
                    </a:lnTo>
                    <a:lnTo>
                      <a:pt x="1069" y="154"/>
                    </a:lnTo>
                    <a:lnTo>
                      <a:pt x="1070" y="154"/>
                    </a:lnTo>
                    <a:lnTo>
                      <a:pt x="1072" y="152"/>
                    </a:lnTo>
                    <a:lnTo>
                      <a:pt x="1073" y="151"/>
                    </a:lnTo>
                    <a:lnTo>
                      <a:pt x="1075" y="149"/>
                    </a:lnTo>
                    <a:lnTo>
                      <a:pt x="1075" y="148"/>
                    </a:lnTo>
                    <a:lnTo>
                      <a:pt x="1075" y="148"/>
                    </a:lnTo>
                    <a:lnTo>
                      <a:pt x="1073" y="14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49" name="Freeform 145">
                <a:extLst>
                  <a:ext uri="{FF2B5EF4-FFF2-40B4-BE49-F238E27FC236}">
                    <a16:creationId xmlns:a16="http://schemas.microsoft.com/office/drawing/2014/main" id="{F92A60D4-325A-E762-C583-99EDCA472138}"/>
                  </a:ext>
                </a:extLst>
              </p:cNvPr>
              <p:cNvSpPr>
                <a:spLocks noEditPoints="1"/>
              </p:cNvSpPr>
              <p:nvPr/>
            </p:nvSpPr>
            <p:spPr bwMode="auto">
              <a:xfrm>
                <a:off x="7360817" y="3152310"/>
                <a:ext cx="741778" cy="785156"/>
              </a:xfrm>
              <a:custGeom>
                <a:avLst/>
                <a:gdLst>
                  <a:gd name="T0" fmla="*/ 434 w 513"/>
                  <a:gd name="T1" fmla="*/ 447 h 543"/>
                  <a:gd name="T2" fmla="*/ 437 w 513"/>
                  <a:gd name="T3" fmla="*/ 451 h 543"/>
                  <a:gd name="T4" fmla="*/ 450 w 513"/>
                  <a:gd name="T5" fmla="*/ 533 h 543"/>
                  <a:gd name="T6" fmla="*/ 496 w 513"/>
                  <a:gd name="T7" fmla="*/ 139 h 543"/>
                  <a:gd name="T8" fmla="*/ 494 w 513"/>
                  <a:gd name="T9" fmla="*/ 125 h 543"/>
                  <a:gd name="T10" fmla="*/ 470 w 513"/>
                  <a:gd name="T11" fmla="*/ 126 h 543"/>
                  <a:gd name="T12" fmla="*/ 441 w 513"/>
                  <a:gd name="T13" fmla="*/ 137 h 543"/>
                  <a:gd name="T14" fmla="*/ 425 w 513"/>
                  <a:gd name="T15" fmla="*/ 152 h 543"/>
                  <a:gd name="T16" fmla="*/ 419 w 513"/>
                  <a:gd name="T17" fmla="*/ 165 h 543"/>
                  <a:gd name="T18" fmla="*/ 399 w 513"/>
                  <a:gd name="T19" fmla="*/ 174 h 543"/>
                  <a:gd name="T20" fmla="*/ 378 w 513"/>
                  <a:gd name="T21" fmla="*/ 174 h 543"/>
                  <a:gd name="T22" fmla="*/ 365 w 513"/>
                  <a:gd name="T23" fmla="*/ 162 h 543"/>
                  <a:gd name="T24" fmla="*/ 351 w 513"/>
                  <a:gd name="T25" fmla="*/ 152 h 543"/>
                  <a:gd name="T26" fmla="*/ 342 w 513"/>
                  <a:gd name="T27" fmla="*/ 181 h 543"/>
                  <a:gd name="T28" fmla="*/ 307 w 513"/>
                  <a:gd name="T29" fmla="*/ 172 h 543"/>
                  <a:gd name="T30" fmla="*/ 279 w 513"/>
                  <a:gd name="T31" fmla="*/ 160 h 543"/>
                  <a:gd name="T32" fmla="*/ 246 w 513"/>
                  <a:gd name="T33" fmla="*/ 152 h 543"/>
                  <a:gd name="T34" fmla="*/ 214 w 513"/>
                  <a:gd name="T35" fmla="*/ 137 h 543"/>
                  <a:gd name="T36" fmla="*/ 211 w 513"/>
                  <a:gd name="T37" fmla="*/ 98 h 543"/>
                  <a:gd name="T38" fmla="*/ 187 w 513"/>
                  <a:gd name="T39" fmla="*/ 83 h 543"/>
                  <a:gd name="T40" fmla="*/ 180 w 513"/>
                  <a:gd name="T41" fmla="*/ 62 h 543"/>
                  <a:gd name="T42" fmla="*/ 194 w 513"/>
                  <a:gd name="T43" fmla="*/ 57 h 543"/>
                  <a:gd name="T44" fmla="*/ 190 w 513"/>
                  <a:gd name="T45" fmla="*/ 29 h 543"/>
                  <a:gd name="T46" fmla="*/ 171 w 513"/>
                  <a:gd name="T47" fmla="*/ 4 h 543"/>
                  <a:gd name="T48" fmla="*/ 148 w 513"/>
                  <a:gd name="T49" fmla="*/ 19 h 543"/>
                  <a:gd name="T50" fmla="*/ 101 w 513"/>
                  <a:gd name="T51" fmla="*/ 32 h 543"/>
                  <a:gd name="T52" fmla="*/ 108 w 513"/>
                  <a:gd name="T53" fmla="*/ 56 h 543"/>
                  <a:gd name="T54" fmla="*/ 112 w 513"/>
                  <a:gd name="T55" fmla="*/ 76 h 543"/>
                  <a:gd name="T56" fmla="*/ 102 w 513"/>
                  <a:gd name="T57" fmla="*/ 105 h 543"/>
                  <a:gd name="T58" fmla="*/ 69 w 513"/>
                  <a:gd name="T59" fmla="*/ 144 h 543"/>
                  <a:gd name="T60" fmla="*/ 42 w 513"/>
                  <a:gd name="T61" fmla="*/ 148 h 543"/>
                  <a:gd name="T62" fmla="*/ 35 w 513"/>
                  <a:gd name="T63" fmla="*/ 178 h 543"/>
                  <a:gd name="T64" fmla="*/ 42 w 513"/>
                  <a:gd name="T65" fmla="*/ 194 h 543"/>
                  <a:gd name="T66" fmla="*/ 50 w 513"/>
                  <a:gd name="T67" fmla="*/ 220 h 543"/>
                  <a:gd name="T68" fmla="*/ 37 w 513"/>
                  <a:gd name="T69" fmla="*/ 220 h 543"/>
                  <a:gd name="T70" fmla="*/ 4 w 513"/>
                  <a:gd name="T71" fmla="*/ 228 h 543"/>
                  <a:gd name="T72" fmla="*/ 40 w 513"/>
                  <a:gd name="T73" fmla="*/ 246 h 543"/>
                  <a:gd name="T74" fmla="*/ 72 w 513"/>
                  <a:gd name="T75" fmla="*/ 264 h 543"/>
                  <a:gd name="T76" fmla="*/ 81 w 513"/>
                  <a:gd name="T77" fmla="*/ 303 h 543"/>
                  <a:gd name="T78" fmla="*/ 102 w 513"/>
                  <a:gd name="T79" fmla="*/ 388 h 543"/>
                  <a:gd name="T80" fmla="*/ 168 w 513"/>
                  <a:gd name="T81" fmla="*/ 519 h 543"/>
                  <a:gd name="T82" fmla="*/ 205 w 513"/>
                  <a:gd name="T83" fmla="*/ 453 h 543"/>
                  <a:gd name="T84" fmla="*/ 228 w 513"/>
                  <a:gd name="T85" fmla="*/ 377 h 543"/>
                  <a:gd name="T86" fmla="*/ 300 w 513"/>
                  <a:gd name="T87" fmla="*/ 310 h 543"/>
                  <a:gd name="T88" fmla="*/ 351 w 513"/>
                  <a:gd name="T89" fmla="*/ 263 h 543"/>
                  <a:gd name="T90" fmla="*/ 365 w 513"/>
                  <a:gd name="T91" fmla="*/ 272 h 543"/>
                  <a:gd name="T92" fmla="*/ 359 w 513"/>
                  <a:gd name="T93" fmla="*/ 234 h 543"/>
                  <a:gd name="T94" fmla="*/ 362 w 513"/>
                  <a:gd name="T95" fmla="*/ 204 h 543"/>
                  <a:gd name="T96" fmla="*/ 352 w 513"/>
                  <a:gd name="T97" fmla="*/ 187 h 543"/>
                  <a:gd name="T98" fmla="*/ 362 w 513"/>
                  <a:gd name="T99" fmla="*/ 183 h 543"/>
                  <a:gd name="T100" fmla="*/ 376 w 513"/>
                  <a:gd name="T101" fmla="*/ 185 h 543"/>
                  <a:gd name="T102" fmla="*/ 398 w 513"/>
                  <a:gd name="T103" fmla="*/ 206 h 543"/>
                  <a:gd name="T104" fmla="*/ 421 w 513"/>
                  <a:gd name="T105" fmla="*/ 218 h 543"/>
                  <a:gd name="T106" fmla="*/ 408 w 513"/>
                  <a:gd name="T107" fmla="*/ 227 h 543"/>
                  <a:gd name="T108" fmla="*/ 415 w 513"/>
                  <a:gd name="T109" fmla="*/ 240 h 543"/>
                  <a:gd name="T110" fmla="*/ 428 w 513"/>
                  <a:gd name="T111" fmla="*/ 251 h 543"/>
                  <a:gd name="T112" fmla="*/ 438 w 513"/>
                  <a:gd name="T113" fmla="*/ 256 h 543"/>
                  <a:gd name="T114" fmla="*/ 448 w 513"/>
                  <a:gd name="T115" fmla="*/ 227 h 543"/>
                  <a:gd name="T116" fmla="*/ 465 w 513"/>
                  <a:gd name="T117" fmla="*/ 204 h 543"/>
                  <a:gd name="T118" fmla="*/ 473 w 513"/>
                  <a:gd name="T119" fmla="*/ 184 h 543"/>
                  <a:gd name="T120" fmla="*/ 500 w 513"/>
                  <a:gd name="T121" fmla="*/ 162 h 543"/>
                  <a:gd name="T122" fmla="*/ 438 w 513"/>
                  <a:gd name="T123" fmla="*/ 516 h 543"/>
                  <a:gd name="T124" fmla="*/ 445 w 513"/>
                  <a:gd name="T125" fmla="*/ 51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3" h="543">
                    <a:moveTo>
                      <a:pt x="431" y="435"/>
                    </a:moveTo>
                    <a:lnTo>
                      <a:pt x="431" y="433"/>
                    </a:lnTo>
                    <a:lnTo>
                      <a:pt x="432" y="433"/>
                    </a:lnTo>
                    <a:lnTo>
                      <a:pt x="432" y="434"/>
                    </a:lnTo>
                    <a:lnTo>
                      <a:pt x="432" y="434"/>
                    </a:lnTo>
                    <a:lnTo>
                      <a:pt x="431" y="435"/>
                    </a:lnTo>
                    <a:close/>
                    <a:moveTo>
                      <a:pt x="438" y="423"/>
                    </a:moveTo>
                    <a:lnTo>
                      <a:pt x="435" y="425"/>
                    </a:lnTo>
                    <a:lnTo>
                      <a:pt x="434" y="431"/>
                    </a:lnTo>
                    <a:lnTo>
                      <a:pt x="432" y="437"/>
                    </a:lnTo>
                    <a:lnTo>
                      <a:pt x="432" y="441"/>
                    </a:lnTo>
                    <a:lnTo>
                      <a:pt x="432" y="443"/>
                    </a:lnTo>
                    <a:lnTo>
                      <a:pt x="432" y="446"/>
                    </a:lnTo>
                    <a:lnTo>
                      <a:pt x="432" y="446"/>
                    </a:lnTo>
                    <a:lnTo>
                      <a:pt x="432" y="446"/>
                    </a:lnTo>
                    <a:lnTo>
                      <a:pt x="432" y="446"/>
                    </a:lnTo>
                    <a:lnTo>
                      <a:pt x="431" y="447"/>
                    </a:lnTo>
                    <a:lnTo>
                      <a:pt x="431" y="447"/>
                    </a:lnTo>
                    <a:lnTo>
                      <a:pt x="431" y="448"/>
                    </a:lnTo>
                    <a:lnTo>
                      <a:pt x="431" y="450"/>
                    </a:lnTo>
                    <a:lnTo>
                      <a:pt x="431" y="450"/>
                    </a:lnTo>
                    <a:lnTo>
                      <a:pt x="430" y="453"/>
                    </a:lnTo>
                    <a:lnTo>
                      <a:pt x="430" y="454"/>
                    </a:lnTo>
                    <a:lnTo>
                      <a:pt x="430" y="456"/>
                    </a:lnTo>
                    <a:lnTo>
                      <a:pt x="431" y="458"/>
                    </a:lnTo>
                    <a:lnTo>
                      <a:pt x="432" y="457"/>
                    </a:lnTo>
                    <a:lnTo>
                      <a:pt x="432" y="454"/>
                    </a:lnTo>
                    <a:lnTo>
                      <a:pt x="432" y="451"/>
                    </a:lnTo>
                    <a:lnTo>
                      <a:pt x="432" y="450"/>
                    </a:lnTo>
                    <a:lnTo>
                      <a:pt x="432" y="448"/>
                    </a:lnTo>
                    <a:lnTo>
                      <a:pt x="434" y="447"/>
                    </a:lnTo>
                    <a:lnTo>
                      <a:pt x="435" y="446"/>
                    </a:lnTo>
                    <a:lnTo>
                      <a:pt x="435" y="446"/>
                    </a:lnTo>
                    <a:lnTo>
                      <a:pt x="434" y="444"/>
                    </a:lnTo>
                    <a:lnTo>
                      <a:pt x="434" y="443"/>
                    </a:lnTo>
                    <a:lnTo>
                      <a:pt x="435" y="443"/>
                    </a:lnTo>
                    <a:lnTo>
                      <a:pt x="435" y="441"/>
                    </a:lnTo>
                    <a:lnTo>
                      <a:pt x="435" y="441"/>
                    </a:lnTo>
                    <a:lnTo>
                      <a:pt x="437" y="440"/>
                    </a:lnTo>
                    <a:lnTo>
                      <a:pt x="437" y="438"/>
                    </a:lnTo>
                    <a:lnTo>
                      <a:pt x="437" y="434"/>
                    </a:lnTo>
                    <a:lnTo>
                      <a:pt x="435" y="434"/>
                    </a:lnTo>
                    <a:lnTo>
                      <a:pt x="435" y="433"/>
                    </a:lnTo>
                    <a:lnTo>
                      <a:pt x="435" y="433"/>
                    </a:lnTo>
                    <a:lnTo>
                      <a:pt x="435" y="433"/>
                    </a:lnTo>
                    <a:lnTo>
                      <a:pt x="437" y="431"/>
                    </a:lnTo>
                    <a:lnTo>
                      <a:pt x="437" y="431"/>
                    </a:lnTo>
                    <a:lnTo>
                      <a:pt x="438" y="427"/>
                    </a:lnTo>
                    <a:lnTo>
                      <a:pt x="438" y="424"/>
                    </a:lnTo>
                    <a:lnTo>
                      <a:pt x="438" y="423"/>
                    </a:lnTo>
                    <a:close/>
                    <a:moveTo>
                      <a:pt x="432" y="500"/>
                    </a:moveTo>
                    <a:lnTo>
                      <a:pt x="432" y="500"/>
                    </a:lnTo>
                    <a:lnTo>
                      <a:pt x="434" y="500"/>
                    </a:lnTo>
                    <a:lnTo>
                      <a:pt x="432" y="500"/>
                    </a:lnTo>
                    <a:lnTo>
                      <a:pt x="432" y="500"/>
                    </a:lnTo>
                    <a:close/>
                    <a:moveTo>
                      <a:pt x="437" y="450"/>
                    </a:moveTo>
                    <a:lnTo>
                      <a:pt x="437" y="450"/>
                    </a:lnTo>
                    <a:lnTo>
                      <a:pt x="437" y="450"/>
                    </a:lnTo>
                    <a:lnTo>
                      <a:pt x="437" y="450"/>
                    </a:lnTo>
                    <a:lnTo>
                      <a:pt x="437" y="450"/>
                    </a:lnTo>
                    <a:lnTo>
                      <a:pt x="437" y="451"/>
                    </a:lnTo>
                    <a:lnTo>
                      <a:pt x="437" y="451"/>
                    </a:lnTo>
                    <a:lnTo>
                      <a:pt x="438" y="451"/>
                    </a:lnTo>
                    <a:lnTo>
                      <a:pt x="438" y="451"/>
                    </a:lnTo>
                    <a:lnTo>
                      <a:pt x="437" y="450"/>
                    </a:lnTo>
                    <a:close/>
                    <a:moveTo>
                      <a:pt x="431" y="460"/>
                    </a:moveTo>
                    <a:lnTo>
                      <a:pt x="431" y="458"/>
                    </a:lnTo>
                    <a:lnTo>
                      <a:pt x="431" y="458"/>
                    </a:lnTo>
                    <a:lnTo>
                      <a:pt x="430" y="461"/>
                    </a:lnTo>
                    <a:lnTo>
                      <a:pt x="430" y="461"/>
                    </a:lnTo>
                    <a:lnTo>
                      <a:pt x="431" y="461"/>
                    </a:lnTo>
                    <a:lnTo>
                      <a:pt x="431" y="461"/>
                    </a:lnTo>
                    <a:lnTo>
                      <a:pt x="431" y="461"/>
                    </a:lnTo>
                    <a:lnTo>
                      <a:pt x="431" y="460"/>
                    </a:lnTo>
                    <a:lnTo>
                      <a:pt x="431" y="460"/>
                    </a:lnTo>
                    <a:close/>
                    <a:moveTo>
                      <a:pt x="427" y="470"/>
                    </a:moveTo>
                    <a:lnTo>
                      <a:pt x="427" y="471"/>
                    </a:lnTo>
                    <a:lnTo>
                      <a:pt x="427" y="471"/>
                    </a:lnTo>
                    <a:lnTo>
                      <a:pt x="425" y="473"/>
                    </a:lnTo>
                    <a:lnTo>
                      <a:pt x="427" y="476"/>
                    </a:lnTo>
                    <a:lnTo>
                      <a:pt x="428" y="476"/>
                    </a:lnTo>
                    <a:lnTo>
                      <a:pt x="430" y="473"/>
                    </a:lnTo>
                    <a:lnTo>
                      <a:pt x="428" y="470"/>
                    </a:lnTo>
                    <a:lnTo>
                      <a:pt x="427" y="470"/>
                    </a:lnTo>
                    <a:close/>
                    <a:moveTo>
                      <a:pt x="450" y="533"/>
                    </a:moveTo>
                    <a:lnTo>
                      <a:pt x="450" y="533"/>
                    </a:lnTo>
                    <a:lnTo>
                      <a:pt x="450" y="532"/>
                    </a:lnTo>
                    <a:lnTo>
                      <a:pt x="448" y="532"/>
                    </a:lnTo>
                    <a:lnTo>
                      <a:pt x="448" y="533"/>
                    </a:lnTo>
                    <a:lnTo>
                      <a:pt x="447" y="533"/>
                    </a:lnTo>
                    <a:lnTo>
                      <a:pt x="448" y="535"/>
                    </a:lnTo>
                    <a:lnTo>
                      <a:pt x="450" y="533"/>
                    </a:lnTo>
                    <a:lnTo>
                      <a:pt x="450" y="533"/>
                    </a:lnTo>
                    <a:close/>
                    <a:moveTo>
                      <a:pt x="513" y="147"/>
                    </a:moveTo>
                    <a:lnTo>
                      <a:pt x="513" y="145"/>
                    </a:lnTo>
                    <a:lnTo>
                      <a:pt x="513" y="145"/>
                    </a:lnTo>
                    <a:lnTo>
                      <a:pt x="513" y="145"/>
                    </a:lnTo>
                    <a:lnTo>
                      <a:pt x="513" y="145"/>
                    </a:lnTo>
                    <a:lnTo>
                      <a:pt x="513" y="144"/>
                    </a:lnTo>
                    <a:lnTo>
                      <a:pt x="510" y="142"/>
                    </a:lnTo>
                    <a:lnTo>
                      <a:pt x="509" y="142"/>
                    </a:lnTo>
                    <a:lnTo>
                      <a:pt x="509" y="142"/>
                    </a:lnTo>
                    <a:lnTo>
                      <a:pt x="507" y="142"/>
                    </a:lnTo>
                    <a:lnTo>
                      <a:pt x="507" y="142"/>
                    </a:lnTo>
                    <a:lnTo>
                      <a:pt x="504" y="142"/>
                    </a:lnTo>
                    <a:lnTo>
                      <a:pt x="503" y="142"/>
                    </a:lnTo>
                    <a:lnTo>
                      <a:pt x="503" y="141"/>
                    </a:lnTo>
                    <a:lnTo>
                      <a:pt x="501" y="141"/>
                    </a:lnTo>
                    <a:lnTo>
                      <a:pt x="501" y="139"/>
                    </a:lnTo>
                    <a:lnTo>
                      <a:pt x="500" y="139"/>
                    </a:lnTo>
                    <a:lnTo>
                      <a:pt x="497" y="141"/>
                    </a:lnTo>
                    <a:lnTo>
                      <a:pt x="497" y="141"/>
                    </a:lnTo>
                    <a:lnTo>
                      <a:pt x="497" y="141"/>
                    </a:lnTo>
                    <a:lnTo>
                      <a:pt x="497" y="142"/>
                    </a:lnTo>
                    <a:lnTo>
                      <a:pt x="496" y="142"/>
                    </a:lnTo>
                    <a:lnTo>
                      <a:pt x="496" y="141"/>
                    </a:lnTo>
                    <a:lnTo>
                      <a:pt x="496" y="141"/>
                    </a:lnTo>
                    <a:lnTo>
                      <a:pt x="496" y="141"/>
                    </a:lnTo>
                    <a:lnTo>
                      <a:pt x="494" y="141"/>
                    </a:lnTo>
                    <a:lnTo>
                      <a:pt x="494" y="141"/>
                    </a:lnTo>
                    <a:lnTo>
                      <a:pt x="494" y="141"/>
                    </a:lnTo>
                    <a:lnTo>
                      <a:pt x="496" y="139"/>
                    </a:lnTo>
                    <a:lnTo>
                      <a:pt x="496" y="139"/>
                    </a:lnTo>
                    <a:lnTo>
                      <a:pt x="496" y="139"/>
                    </a:lnTo>
                    <a:lnTo>
                      <a:pt x="496" y="138"/>
                    </a:lnTo>
                    <a:lnTo>
                      <a:pt x="497" y="137"/>
                    </a:lnTo>
                    <a:lnTo>
                      <a:pt x="498" y="135"/>
                    </a:lnTo>
                    <a:lnTo>
                      <a:pt x="498" y="135"/>
                    </a:lnTo>
                    <a:lnTo>
                      <a:pt x="500" y="134"/>
                    </a:lnTo>
                    <a:lnTo>
                      <a:pt x="500" y="134"/>
                    </a:lnTo>
                    <a:lnTo>
                      <a:pt x="500" y="132"/>
                    </a:lnTo>
                    <a:lnTo>
                      <a:pt x="498" y="132"/>
                    </a:lnTo>
                    <a:lnTo>
                      <a:pt x="498" y="131"/>
                    </a:lnTo>
                    <a:lnTo>
                      <a:pt x="498" y="129"/>
                    </a:lnTo>
                    <a:lnTo>
                      <a:pt x="498" y="129"/>
                    </a:lnTo>
                    <a:lnTo>
                      <a:pt x="497" y="129"/>
                    </a:lnTo>
                    <a:lnTo>
                      <a:pt x="496" y="129"/>
                    </a:lnTo>
                    <a:lnTo>
                      <a:pt x="496" y="129"/>
                    </a:lnTo>
                    <a:lnTo>
                      <a:pt x="494" y="129"/>
                    </a:lnTo>
                    <a:lnTo>
                      <a:pt x="493" y="131"/>
                    </a:lnTo>
                    <a:lnTo>
                      <a:pt x="491" y="131"/>
                    </a:lnTo>
                    <a:lnTo>
                      <a:pt x="493" y="131"/>
                    </a:lnTo>
                    <a:lnTo>
                      <a:pt x="491" y="129"/>
                    </a:lnTo>
                    <a:lnTo>
                      <a:pt x="491" y="128"/>
                    </a:lnTo>
                    <a:lnTo>
                      <a:pt x="491" y="128"/>
                    </a:lnTo>
                    <a:lnTo>
                      <a:pt x="493" y="126"/>
                    </a:lnTo>
                    <a:lnTo>
                      <a:pt x="494" y="126"/>
                    </a:lnTo>
                    <a:lnTo>
                      <a:pt x="494" y="126"/>
                    </a:lnTo>
                    <a:lnTo>
                      <a:pt x="496" y="125"/>
                    </a:lnTo>
                    <a:lnTo>
                      <a:pt x="496" y="125"/>
                    </a:lnTo>
                    <a:lnTo>
                      <a:pt x="496" y="125"/>
                    </a:lnTo>
                    <a:lnTo>
                      <a:pt x="496" y="125"/>
                    </a:lnTo>
                    <a:lnTo>
                      <a:pt x="496" y="125"/>
                    </a:lnTo>
                    <a:lnTo>
                      <a:pt x="496" y="125"/>
                    </a:lnTo>
                    <a:lnTo>
                      <a:pt x="494" y="125"/>
                    </a:lnTo>
                    <a:lnTo>
                      <a:pt x="494" y="125"/>
                    </a:lnTo>
                    <a:lnTo>
                      <a:pt x="493" y="125"/>
                    </a:lnTo>
                    <a:lnTo>
                      <a:pt x="493" y="124"/>
                    </a:lnTo>
                    <a:lnTo>
                      <a:pt x="493" y="124"/>
                    </a:lnTo>
                    <a:lnTo>
                      <a:pt x="493" y="124"/>
                    </a:lnTo>
                    <a:lnTo>
                      <a:pt x="493" y="122"/>
                    </a:lnTo>
                    <a:lnTo>
                      <a:pt x="491" y="122"/>
                    </a:lnTo>
                    <a:lnTo>
                      <a:pt x="491" y="122"/>
                    </a:lnTo>
                    <a:lnTo>
                      <a:pt x="491" y="121"/>
                    </a:lnTo>
                    <a:lnTo>
                      <a:pt x="490" y="121"/>
                    </a:lnTo>
                    <a:lnTo>
                      <a:pt x="488" y="121"/>
                    </a:lnTo>
                    <a:lnTo>
                      <a:pt x="484" y="124"/>
                    </a:lnTo>
                    <a:lnTo>
                      <a:pt x="481" y="125"/>
                    </a:lnTo>
                    <a:lnTo>
                      <a:pt x="481" y="126"/>
                    </a:lnTo>
                    <a:lnTo>
                      <a:pt x="481" y="126"/>
                    </a:lnTo>
                    <a:lnTo>
                      <a:pt x="481" y="126"/>
                    </a:lnTo>
                    <a:lnTo>
                      <a:pt x="480" y="126"/>
                    </a:lnTo>
                    <a:lnTo>
                      <a:pt x="480" y="128"/>
                    </a:lnTo>
                    <a:lnTo>
                      <a:pt x="480" y="128"/>
                    </a:lnTo>
                    <a:lnTo>
                      <a:pt x="480" y="128"/>
                    </a:lnTo>
                    <a:lnTo>
                      <a:pt x="480" y="128"/>
                    </a:lnTo>
                    <a:lnTo>
                      <a:pt x="478" y="129"/>
                    </a:lnTo>
                    <a:lnTo>
                      <a:pt x="478" y="129"/>
                    </a:lnTo>
                    <a:lnTo>
                      <a:pt x="478" y="129"/>
                    </a:lnTo>
                    <a:lnTo>
                      <a:pt x="477" y="128"/>
                    </a:lnTo>
                    <a:lnTo>
                      <a:pt x="477" y="128"/>
                    </a:lnTo>
                    <a:lnTo>
                      <a:pt x="474" y="128"/>
                    </a:lnTo>
                    <a:lnTo>
                      <a:pt x="473" y="126"/>
                    </a:lnTo>
                    <a:lnTo>
                      <a:pt x="473" y="126"/>
                    </a:lnTo>
                    <a:lnTo>
                      <a:pt x="471" y="126"/>
                    </a:lnTo>
                    <a:lnTo>
                      <a:pt x="470" y="126"/>
                    </a:lnTo>
                    <a:lnTo>
                      <a:pt x="468" y="126"/>
                    </a:lnTo>
                    <a:lnTo>
                      <a:pt x="468" y="125"/>
                    </a:lnTo>
                    <a:lnTo>
                      <a:pt x="467" y="124"/>
                    </a:lnTo>
                    <a:lnTo>
                      <a:pt x="467" y="124"/>
                    </a:lnTo>
                    <a:lnTo>
                      <a:pt x="465" y="124"/>
                    </a:lnTo>
                    <a:lnTo>
                      <a:pt x="465" y="124"/>
                    </a:lnTo>
                    <a:lnTo>
                      <a:pt x="465" y="124"/>
                    </a:lnTo>
                    <a:lnTo>
                      <a:pt x="463" y="125"/>
                    </a:lnTo>
                    <a:lnTo>
                      <a:pt x="461" y="125"/>
                    </a:lnTo>
                    <a:lnTo>
                      <a:pt x="461" y="126"/>
                    </a:lnTo>
                    <a:lnTo>
                      <a:pt x="460" y="126"/>
                    </a:lnTo>
                    <a:lnTo>
                      <a:pt x="458" y="128"/>
                    </a:lnTo>
                    <a:lnTo>
                      <a:pt x="458" y="128"/>
                    </a:lnTo>
                    <a:lnTo>
                      <a:pt x="457" y="129"/>
                    </a:lnTo>
                    <a:lnTo>
                      <a:pt x="457" y="129"/>
                    </a:lnTo>
                    <a:lnTo>
                      <a:pt x="455" y="131"/>
                    </a:lnTo>
                    <a:lnTo>
                      <a:pt x="455" y="131"/>
                    </a:lnTo>
                    <a:lnTo>
                      <a:pt x="455" y="131"/>
                    </a:lnTo>
                    <a:lnTo>
                      <a:pt x="454" y="131"/>
                    </a:lnTo>
                    <a:lnTo>
                      <a:pt x="454" y="131"/>
                    </a:lnTo>
                    <a:lnTo>
                      <a:pt x="454" y="132"/>
                    </a:lnTo>
                    <a:lnTo>
                      <a:pt x="454" y="132"/>
                    </a:lnTo>
                    <a:lnTo>
                      <a:pt x="454" y="132"/>
                    </a:lnTo>
                    <a:lnTo>
                      <a:pt x="452" y="134"/>
                    </a:lnTo>
                    <a:lnTo>
                      <a:pt x="451" y="134"/>
                    </a:lnTo>
                    <a:lnTo>
                      <a:pt x="450" y="135"/>
                    </a:lnTo>
                    <a:lnTo>
                      <a:pt x="450" y="135"/>
                    </a:lnTo>
                    <a:lnTo>
                      <a:pt x="448" y="135"/>
                    </a:lnTo>
                    <a:lnTo>
                      <a:pt x="442" y="137"/>
                    </a:lnTo>
                    <a:lnTo>
                      <a:pt x="442" y="137"/>
                    </a:lnTo>
                    <a:lnTo>
                      <a:pt x="441" y="137"/>
                    </a:lnTo>
                    <a:lnTo>
                      <a:pt x="441" y="137"/>
                    </a:lnTo>
                    <a:lnTo>
                      <a:pt x="441" y="137"/>
                    </a:lnTo>
                    <a:lnTo>
                      <a:pt x="440" y="138"/>
                    </a:lnTo>
                    <a:lnTo>
                      <a:pt x="440" y="139"/>
                    </a:lnTo>
                    <a:lnTo>
                      <a:pt x="440" y="141"/>
                    </a:lnTo>
                    <a:lnTo>
                      <a:pt x="438" y="141"/>
                    </a:lnTo>
                    <a:lnTo>
                      <a:pt x="438" y="142"/>
                    </a:lnTo>
                    <a:lnTo>
                      <a:pt x="438" y="142"/>
                    </a:lnTo>
                    <a:lnTo>
                      <a:pt x="437" y="144"/>
                    </a:lnTo>
                    <a:lnTo>
                      <a:pt x="435" y="145"/>
                    </a:lnTo>
                    <a:lnTo>
                      <a:pt x="431" y="147"/>
                    </a:lnTo>
                    <a:lnTo>
                      <a:pt x="431" y="147"/>
                    </a:lnTo>
                    <a:lnTo>
                      <a:pt x="431" y="147"/>
                    </a:lnTo>
                    <a:lnTo>
                      <a:pt x="431" y="147"/>
                    </a:lnTo>
                    <a:lnTo>
                      <a:pt x="431" y="148"/>
                    </a:lnTo>
                    <a:lnTo>
                      <a:pt x="431" y="148"/>
                    </a:lnTo>
                    <a:lnTo>
                      <a:pt x="431" y="148"/>
                    </a:lnTo>
                    <a:lnTo>
                      <a:pt x="431" y="148"/>
                    </a:lnTo>
                    <a:lnTo>
                      <a:pt x="431" y="148"/>
                    </a:lnTo>
                    <a:lnTo>
                      <a:pt x="431" y="148"/>
                    </a:lnTo>
                    <a:lnTo>
                      <a:pt x="431" y="148"/>
                    </a:lnTo>
                    <a:lnTo>
                      <a:pt x="431" y="148"/>
                    </a:lnTo>
                    <a:lnTo>
                      <a:pt x="431" y="148"/>
                    </a:lnTo>
                    <a:lnTo>
                      <a:pt x="431" y="149"/>
                    </a:lnTo>
                    <a:lnTo>
                      <a:pt x="431" y="149"/>
                    </a:lnTo>
                    <a:lnTo>
                      <a:pt x="431" y="149"/>
                    </a:lnTo>
                    <a:lnTo>
                      <a:pt x="431" y="149"/>
                    </a:lnTo>
                    <a:lnTo>
                      <a:pt x="430" y="151"/>
                    </a:lnTo>
                    <a:lnTo>
                      <a:pt x="428" y="152"/>
                    </a:lnTo>
                    <a:lnTo>
                      <a:pt x="427" y="152"/>
                    </a:lnTo>
                    <a:lnTo>
                      <a:pt x="425" y="152"/>
                    </a:lnTo>
                    <a:lnTo>
                      <a:pt x="424" y="152"/>
                    </a:lnTo>
                    <a:lnTo>
                      <a:pt x="424" y="152"/>
                    </a:lnTo>
                    <a:lnTo>
                      <a:pt x="422" y="152"/>
                    </a:lnTo>
                    <a:lnTo>
                      <a:pt x="422" y="152"/>
                    </a:lnTo>
                    <a:lnTo>
                      <a:pt x="422" y="152"/>
                    </a:lnTo>
                    <a:lnTo>
                      <a:pt x="421" y="152"/>
                    </a:lnTo>
                    <a:lnTo>
                      <a:pt x="421" y="154"/>
                    </a:lnTo>
                    <a:lnTo>
                      <a:pt x="419" y="154"/>
                    </a:lnTo>
                    <a:lnTo>
                      <a:pt x="418" y="154"/>
                    </a:lnTo>
                    <a:lnTo>
                      <a:pt x="418" y="154"/>
                    </a:lnTo>
                    <a:lnTo>
                      <a:pt x="415" y="154"/>
                    </a:lnTo>
                    <a:lnTo>
                      <a:pt x="414" y="154"/>
                    </a:lnTo>
                    <a:lnTo>
                      <a:pt x="412" y="154"/>
                    </a:lnTo>
                    <a:lnTo>
                      <a:pt x="412" y="155"/>
                    </a:lnTo>
                    <a:lnTo>
                      <a:pt x="412" y="155"/>
                    </a:lnTo>
                    <a:lnTo>
                      <a:pt x="412" y="157"/>
                    </a:lnTo>
                    <a:lnTo>
                      <a:pt x="412" y="157"/>
                    </a:lnTo>
                    <a:lnTo>
                      <a:pt x="412" y="158"/>
                    </a:lnTo>
                    <a:lnTo>
                      <a:pt x="412" y="158"/>
                    </a:lnTo>
                    <a:lnTo>
                      <a:pt x="414" y="160"/>
                    </a:lnTo>
                    <a:lnTo>
                      <a:pt x="414" y="160"/>
                    </a:lnTo>
                    <a:lnTo>
                      <a:pt x="415" y="160"/>
                    </a:lnTo>
                    <a:lnTo>
                      <a:pt x="417" y="160"/>
                    </a:lnTo>
                    <a:lnTo>
                      <a:pt x="418" y="160"/>
                    </a:lnTo>
                    <a:lnTo>
                      <a:pt x="419" y="161"/>
                    </a:lnTo>
                    <a:lnTo>
                      <a:pt x="419" y="161"/>
                    </a:lnTo>
                    <a:lnTo>
                      <a:pt x="421" y="162"/>
                    </a:lnTo>
                    <a:lnTo>
                      <a:pt x="421" y="162"/>
                    </a:lnTo>
                    <a:lnTo>
                      <a:pt x="421" y="164"/>
                    </a:lnTo>
                    <a:lnTo>
                      <a:pt x="419" y="164"/>
                    </a:lnTo>
                    <a:lnTo>
                      <a:pt x="419" y="165"/>
                    </a:lnTo>
                    <a:lnTo>
                      <a:pt x="419" y="165"/>
                    </a:lnTo>
                    <a:lnTo>
                      <a:pt x="419" y="167"/>
                    </a:lnTo>
                    <a:lnTo>
                      <a:pt x="419" y="167"/>
                    </a:lnTo>
                    <a:lnTo>
                      <a:pt x="419" y="167"/>
                    </a:lnTo>
                    <a:lnTo>
                      <a:pt x="419" y="167"/>
                    </a:lnTo>
                    <a:lnTo>
                      <a:pt x="419" y="167"/>
                    </a:lnTo>
                    <a:lnTo>
                      <a:pt x="419" y="167"/>
                    </a:lnTo>
                    <a:lnTo>
                      <a:pt x="419" y="168"/>
                    </a:lnTo>
                    <a:lnTo>
                      <a:pt x="419" y="168"/>
                    </a:lnTo>
                    <a:lnTo>
                      <a:pt x="419" y="168"/>
                    </a:lnTo>
                    <a:lnTo>
                      <a:pt x="421" y="170"/>
                    </a:lnTo>
                    <a:lnTo>
                      <a:pt x="421" y="171"/>
                    </a:lnTo>
                    <a:lnTo>
                      <a:pt x="419" y="171"/>
                    </a:lnTo>
                    <a:lnTo>
                      <a:pt x="418" y="171"/>
                    </a:lnTo>
                    <a:lnTo>
                      <a:pt x="418" y="171"/>
                    </a:lnTo>
                    <a:lnTo>
                      <a:pt x="417" y="171"/>
                    </a:lnTo>
                    <a:lnTo>
                      <a:pt x="417" y="172"/>
                    </a:lnTo>
                    <a:lnTo>
                      <a:pt x="415" y="172"/>
                    </a:lnTo>
                    <a:lnTo>
                      <a:pt x="414" y="172"/>
                    </a:lnTo>
                    <a:lnTo>
                      <a:pt x="412" y="172"/>
                    </a:lnTo>
                    <a:lnTo>
                      <a:pt x="411" y="172"/>
                    </a:lnTo>
                    <a:lnTo>
                      <a:pt x="411" y="172"/>
                    </a:lnTo>
                    <a:lnTo>
                      <a:pt x="411" y="172"/>
                    </a:lnTo>
                    <a:lnTo>
                      <a:pt x="411" y="172"/>
                    </a:lnTo>
                    <a:lnTo>
                      <a:pt x="409" y="172"/>
                    </a:lnTo>
                    <a:lnTo>
                      <a:pt x="409" y="171"/>
                    </a:lnTo>
                    <a:lnTo>
                      <a:pt x="409" y="171"/>
                    </a:lnTo>
                    <a:lnTo>
                      <a:pt x="409" y="171"/>
                    </a:lnTo>
                    <a:lnTo>
                      <a:pt x="407" y="172"/>
                    </a:lnTo>
                    <a:lnTo>
                      <a:pt x="405" y="172"/>
                    </a:lnTo>
                    <a:lnTo>
                      <a:pt x="399" y="174"/>
                    </a:lnTo>
                    <a:lnTo>
                      <a:pt x="396" y="174"/>
                    </a:lnTo>
                    <a:lnTo>
                      <a:pt x="396" y="174"/>
                    </a:lnTo>
                    <a:lnTo>
                      <a:pt x="395" y="174"/>
                    </a:lnTo>
                    <a:lnTo>
                      <a:pt x="395" y="172"/>
                    </a:lnTo>
                    <a:lnTo>
                      <a:pt x="395" y="172"/>
                    </a:lnTo>
                    <a:lnTo>
                      <a:pt x="394" y="172"/>
                    </a:lnTo>
                    <a:lnTo>
                      <a:pt x="394" y="172"/>
                    </a:lnTo>
                    <a:lnTo>
                      <a:pt x="394" y="172"/>
                    </a:lnTo>
                    <a:lnTo>
                      <a:pt x="392" y="171"/>
                    </a:lnTo>
                    <a:lnTo>
                      <a:pt x="391" y="171"/>
                    </a:lnTo>
                    <a:lnTo>
                      <a:pt x="389" y="171"/>
                    </a:lnTo>
                    <a:lnTo>
                      <a:pt x="389" y="171"/>
                    </a:lnTo>
                    <a:lnTo>
                      <a:pt x="388" y="171"/>
                    </a:lnTo>
                    <a:lnTo>
                      <a:pt x="388" y="172"/>
                    </a:lnTo>
                    <a:lnTo>
                      <a:pt x="386" y="172"/>
                    </a:lnTo>
                    <a:lnTo>
                      <a:pt x="386" y="172"/>
                    </a:lnTo>
                    <a:lnTo>
                      <a:pt x="386" y="174"/>
                    </a:lnTo>
                    <a:lnTo>
                      <a:pt x="384" y="174"/>
                    </a:lnTo>
                    <a:lnTo>
                      <a:pt x="382" y="174"/>
                    </a:lnTo>
                    <a:lnTo>
                      <a:pt x="381" y="174"/>
                    </a:lnTo>
                    <a:lnTo>
                      <a:pt x="381" y="175"/>
                    </a:lnTo>
                    <a:lnTo>
                      <a:pt x="379" y="175"/>
                    </a:lnTo>
                    <a:lnTo>
                      <a:pt x="379" y="174"/>
                    </a:lnTo>
                    <a:lnTo>
                      <a:pt x="379" y="174"/>
                    </a:lnTo>
                    <a:lnTo>
                      <a:pt x="379" y="174"/>
                    </a:lnTo>
                    <a:lnTo>
                      <a:pt x="378" y="174"/>
                    </a:lnTo>
                    <a:lnTo>
                      <a:pt x="378" y="174"/>
                    </a:lnTo>
                    <a:lnTo>
                      <a:pt x="378" y="174"/>
                    </a:lnTo>
                    <a:lnTo>
                      <a:pt x="378" y="174"/>
                    </a:lnTo>
                    <a:lnTo>
                      <a:pt x="378" y="174"/>
                    </a:lnTo>
                    <a:lnTo>
                      <a:pt x="378" y="174"/>
                    </a:lnTo>
                    <a:lnTo>
                      <a:pt x="378" y="174"/>
                    </a:lnTo>
                    <a:lnTo>
                      <a:pt x="378" y="174"/>
                    </a:lnTo>
                    <a:lnTo>
                      <a:pt x="376" y="174"/>
                    </a:lnTo>
                    <a:lnTo>
                      <a:pt x="376" y="174"/>
                    </a:lnTo>
                    <a:lnTo>
                      <a:pt x="375" y="172"/>
                    </a:lnTo>
                    <a:lnTo>
                      <a:pt x="374" y="172"/>
                    </a:lnTo>
                    <a:lnTo>
                      <a:pt x="374" y="172"/>
                    </a:lnTo>
                    <a:lnTo>
                      <a:pt x="372" y="172"/>
                    </a:lnTo>
                    <a:lnTo>
                      <a:pt x="372" y="172"/>
                    </a:lnTo>
                    <a:lnTo>
                      <a:pt x="371" y="172"/>
                    </a:lnTo>
                    <a:lnTo>
                      <a:pt x="371" y="172"/>
                    </a:lnTo>
                    <a:lnTo>
                      <a:pt x="369" y="172"/>
                    </a:lnTo>
                    <a:lnTo>
                      <a:pt x="369" y="172"/>
                    </a:lnTo>
                    <a:lnTo>
                      <a:pt x="368" y="172"/>
                    </a:lnTo>
                    <a:lnTo>
                      <a:pt x="366" y="171"/>
                    </a:lnTo>
                    <a:lnTo>
                      <a:pt x="366" y="171"/>
                    </a:lnTo>
                    <a:lnTo>
                      <a:pt x="363" y="170"/>
                    </a:lnTo>
                    <a:lnTo>
                      <a:pt x="363" y="168"/>
                    </a:lnTo>
                    <a:lnTo>
                      <a:pt x="363" y="168"/>
                    </a:lnTo>
                    <a:lnTo>
                      <a:pt x="363" y="167"/>
                    </a:lnTo>
                    <a:lnTo>
                      <a:pt x="363" y="167"/>
                    </a:lnTo>
                    <a:lnTo>
                      <a:pt x="363" y="167"/>
                    </a:lnTo>
                    <a:lnTo>
                      <a:pt x="363" y="167"/>
                    </a:lnTo>
                    <a:lnTo>
                      <a:pt x="362" y="167"/>
                    </a:lnTo>
                    <a:lnTo>
                      <a:pt x="362" y="165"/>
                    </a:lnTo>
                    <a:lnTo>
                      <a:pt x="362" y="165"/>
                    </a:lnTo>
                    <a:lnTo>
                      <a:pt x="362" y="165"/>
                    </a:lnTo>
                    <a:lnTo>
                      <a:pt x="363" y="164"/>
                    </a:lnTo>
                    <a:lnTo>
                      <a:pt x="363" y="164"/>
                    </a:lnTo>
                    <a:lnTo>
                      <a:pt x="365" y="162"/>
                    </a:lnTo>
                    <a:lnTo>
                      <a:pt x="365" y="162"/>
                    </a:lnTo>
                    <a:lnTo>
                      <a:pt x="363" y="161"/>
                    </a:lnTo>
                    <a:lnTo>
                      <a:pt x="362" y="160"/>
                    </a:lnTo>
                    <a:lnTo>
                      <a:pt x="362" y="158"/>
                    </a:lnTo>
                    <a:lnTo>
                      <a:pt x="363" y="157"/>
                    </a:lnTo>
                    <a:lnTo>
                      <a:pt x="363" y="154"/>
                    </a:lnTo>
                    <a:lnTo>
                      <a:pt x="363" y="152"/>
                    </a:lnTo>
                    <a:lnTo>
                      <a:pt x="363" y="151"/>
                    </a:lnTo>
                    <a:lnTo>
                      <a:pt x="363" y="151"/>
                    </a:lnTo>
                    <a:lnTo>
                      <a:pt x="363" y="149"/>
                    </a:lnTo>
                    <a:lnTo>
                      <a:pt x="363" y="149"/>
                    </a:lnTo>
                    <a:lnTo>
                      <a:pt x="363" y="149"/>
                    </a:lnTo>
                    <a:lnTo>
                      <a:pt x="362" y="148"/>
                    </a:lnTo>
                    <a:lnTo>
                      <a:pt x="362" y="148"/>
                    </a:lnTo>
                    <a:lnTo>
                      <a:pt x="359" y="147"/>
                    </a:lnTo>
                    <a:lnTo>
                      <a:pt x="359" y="147"/>
                    </a:lnTo>
                    <a:lnTo>
                      <a:pt x="359" y="147"/>
                    </a:lnTo>
                    <a:lnTo>
                      <a:pt x="359" y="148"/>
                    </a:lnTo>
                    <a:lnTo>
                      <a:pt x="358" y="148"/>
                    </a:lnTo>
                    <a:lnTo>
                      <a:pt x="358" y="148"/>
                    </a:lnTo>
                    <a:lnTo>
                      <a:pt x="356" y="149"/>
                    </a:lnTo>
                    <a:lnTo>
                      <a:pt x="353" y="149"/>
                    </a:lnTo>
                    <a:lnTo>
                      <a:pt x="353" y="149"/>
                    </a:lnTo>
                    <a:lnTo>
                      <a:pt x="352" y="149"/>
                    </a:lnTo>
                    <a:lnTo>
                      <a:pt x="352" y="149"/>
                    </a:lnTo>
                    <a:lnTo>
                      <a:pt x="352" y="149"/>
                    </a:lnTo>
                    <a:lnTo>
                      <a:pt x="351" y="149"/>
                    </a:lnTo>
                    <a:lnTo>
                      <a:pt x="351" y="151"/>
                    </a:lnTo>
                    <a:lnTo>
                      <a:pt x="351" y="151"/>
                    </a:lnTo>
                    <a:lnTo>
                      <a:pt x="351" y="151"/>
                    </a:lnTo>
                    <a:lnTo>
                      <a:pt x="351" y="152"/>
                    </a:lnTo>
                    <a:lnTo>
                      <a:pt x="351" y="152"/>
                    </a:lnTo>
                    <a:lnTo>
                      <a:pt x="352" y="152"/>
                    </a:lnTo>
                    <a:lnTo>
                      <a:pt x="352" y="152"/>
                    </a:lnTo>
                    <a:lnTo>
                      <a:pt x="352" y="155"/>
                    </a:lnTo>
                    <a:lnTo>
                      <a:pt x="349" y="160"/>
                    </a:lnTo>
                    <a:lnTo>
                      <a:pt x="349" y="161"/>
                    </a:lnTo>
                    <a:lnTo>
                      <a:pt x="349" y="164"/>
                    </a:lnTo>
                    <a:lnTo>
                      <a:pt x="349" y="164"/>
                    </a:lnTo>
                    <a:lnTo>
                      <a:pt x="349" y="165"/>
                    </a:lnTo>
                    <a:lnTo>
                      <a:pt x="349" y="167"/>
                    </a:lnTo>
                    <a:lnTo>
                      <a:pt x="349" y="167"/>
                    </a:lnTo>
                    <a:lnTo>
                      <a:pt x="351" y="170"/>
                    </a:lnTo>
                    <a:lnTo>
                      <a:pt x="351" y="170"/>
                    </a:lnTo>
                    <a:lnTo>
                      <a:pt x="352" y="171"/>
                    </a:lnTo>
                    <a:lnTo>
                      <a:pt x="352" y="172"/>
                    </a:lnTo>
                    <a:lnTo>
                      <a:pt x="352" y="172"/>
                    </a:lnTo>
                    <a:lnTo>
                      <a:pt x="352" y="174"/>
                    </a:lnTo>
                    <a:lnTo>
                      <a:pt x="352" y="174"/>
                    </a:lnTo>
                    <a:lnTo>
                      <a:pt x="351" y="177"/>
                    </a:lnTo>
                    <a:lnTo>
                      <a:pt x="351" y="178"/>
                    </a:lnTo>
                    <a:lnTo>
                      <a:pt x="351" y="180"/>
                    </a:lnTo>
                    <a:lnTo>
                      <a:pt x="351" y="180"/>
                    </a:lnTo>
                    <a:lnTo>
                      <a:pt x="349" y="180"/>
                    </a:lnTo>
                    <a:lnTo>
                      <a:pt x="349" y="181"/>
                    </a:lnTo>
                    <a:lnTo>
                      <a:pt x="349" y="181"/>
                    </a:lnTo>
                    <a:lnTo>
                      <a:pt x="348" y="181"/>
                    </a:lnTo>
                    <a:lnTo>
                      <a:pt x="348" y="181"/>
                    </a:lnTo>
                    <a:lnTo>
                      <a:pt x="346" y="180"/>
                    </a:lnTo>
                    <a:lnTo>
                      <a:pt x="345" y="180"/>
                    </a:lnTo>
                    <a:lnTo>
                      <a:pt x="345" y="180"/>
                    </a:lnTo>
                    <a:lnTo>
                      <a:pt x="343" y="180"/>
                    </a:lnTo>
                    <a:lnTo>
                      <a:pt x="342" y="181"/>
                    </a:lnTo>
                    <a:lnTo>
                      <a:pt x="340" y="181"/>
                    </a:lnTo>
                    <a:lnTo>
                      <a:pt x="339" y="181"/>
                    </a:lnTo>
                    <a:lnTo>
                      <a:pt x="339" y="180"/>
                    </a:lnTo>
                    <a:lnTo>
                      <a:pt x="338" y="181"/>
                    </a:lnTo>
                    <a:lnTo>
                      <a:pt x="338" y="181"/>
                    </a:lnTo>
                    <a:lnTo>
                      <a:pt x="336" y="181"/>
                    </a:lnTo>
                    <a:lnTo>
                      <a:pt x="335" y="181"/>
                    </a:lnTo>
                    <a:lnTo>
                      <a:pt x="335" y="181"/>
                    </a:lnTo>
                    <a:lnTo>
                      <a:pt x="335" y="181"/>
                    </a:lnTo>
                    <a:lnTo>
                      <a:pt x="333" y="180"/>
                    </a:lnTo>
                    <a:lnTo>
                      <a:pt x="333" y="180"/>
                    </a:lnTo>
                    <a:lnTo>
                      <a:pt x="332" y="178"/>
                    </a:lnTo>
                    <a:lnTo>
                      <a:pt x="332" y="178"/>
                    </a:lnTo>
                    <a:lnTo>
                      <a:pt x="332" y="178"/>
                    </a:lnTo>
                    <a:lnTo>
                      <a:pt x="332" y="178"/>
                    </a:lnTo>
                    <a:lnTo>
                      <a:pt x="332" y="178"/>
                    </a:lnTo>
                    <a:lnTo>
                      <a:pt x="329" y="178"/>
                    </a:lnTo>
                    <a:lnTo>
                      <a:pt x="328" y="180"/>
                    </a:lnTo>
                    <a:lnTo>
                      <a:pt x="326" y="180"/>
                    </a:lnTo>
                    <a:lnTo>
                      <a:pt x="323" y="178"/>
                    </a:lnTo>
                    <a:lnTo>
                      <a:pt x="322" y="178"/>
                    </a:lnTo>
                    <a:lnTo>
                      <a:pt x="320" y="177"/>
                    </a:lnTo>
                    <a:lnTo>
                      <a:pt x="315" y="177"/>
                    </a:lnTo>
                    <a:lnTo>
                      <a:pt x="315" y="175"/>
                    </a:lnTo>
                    <a:lnTo>
                      <a:pt x="313" y="175"/>
                    </a:lnTo>
                    <a:lnTo>
                      <a:pt x="313" y="175"/>
                    </a:lnTo>
                    <a:lnTo>
                      <a:pt x="313" y="177"/>
                    </a:lnTo>
                    <a:lnTo>
                      <a:pt x="310" y="177"/>
                    </a:lnTo>
                    <a:lnTo>
                      <a:pt x="309" y="175"/>
                    </a:lnTo>
                    <a:lnTo>
                      <a:pt x="307" y="172"/>
                    </a:lnTo>
                    <a:lnTo>
                      <a:pt x="307" y="172"/>
                    </a:lnTo>
                    <a:lnTo>
                      <a:pt x="306" y="172"/>
                    </a:lnTo>
                    <a:lnTo>
                      <a:pt x="306" y="172"/>
                    </a:lnTo>
                    <a:lnTo>
                      <a:pt x="305" y="172"/>
                    </a:lnTo>
                    <a:lnTo>
                      <a:pt x="302" y="174"/>
                    </a:lnTo>
                    <a:lnTo>
                      <a:pt x="300" y="174"/>
                    </a:lnTo>
                    <a:lnTo>
                      <a:pt x="299" y="174"/>
                    </a:lnTo>
                    <a:lnTo>
                      <a:pt x="299" y="172"/>
                    </a:lnTo>
                    <a:lnTo>
                      <a:pt x="299" y="172"/>
                    </a:lnTo>
                    <a:lnTo>
                      <a:pt x="299" y="172"/>
                    </a:lnTo>
                    <a:lnTo>
                      <a:pt x="299" y="172"/>
                    </a:lnTo>
                    <a:lnTo>
                      <a:pt x="299" y="171"/>
                    </a:lnTo>
                    <a:lnTo>
                      <a:pt x="297" y="171"/>
                    </a:lnTo>
                    <a:lnTo>
                      <a:pt x="297" y="171"/>
                    </a:lnTo>
                    <a:lnTo>
                      <a:pt x="297" y="171"/>
                    </a:lnTo>
                    <a:lnTo>
                      <a:pt x="296" y="171"/>
                    </a:lnTo>
                    <a:lnTo>
                      <a:pt x="295" y="170"/>
                    </a:lnTo>
                    <a:lnTo>
                      <a:pt x="293" y="170"/>
                    </a:lnTo>
                    <a:lnTo>
                      <a:pt x="290" y="168"/>
                    </a:lnTo>
                    <a:lnTo>
                      <a:pt x="290" y="167"/>
                    </a:lnTo>
                    <a:lnTo>
                      <a:pt x="290" y="167"/>
                    </a:lnTo>
                    <a:lnTo>
                      <a:pt x="290" y="165"/>
                    </a:lnTo>
                    <a:lnTo>
                      <a:pt x="290" y="165"/>
                    </a:lnTo>
                    <a:lnTo>
                      <a:pt x="290" y="164"/>
                    </a:lnTo>
                    <a:lnTo>
                      <a:pt x="290" y="164"/>
                    </a:lnTo>
                    <a:lnTo>
                      <a:pt x="290" y="164"/>
                    </a:lnTo>
                    <a:lnTo>
                      <a:pt x="289" y="164"/>
                    </a:lnTo>
                    <a:lnTo>
                      <a:pt x="287" y="162"/>
                    </a:lnTo>
                    <a:lnTo>
                      <a:pt x="283" y="161"/>
                    </a:lnTo>
                    <a:lnTo>
                      <a:pt x="280" y="160"/>
                    </a:lnTo>
                    <a:lnTo>
                      <a:pt x="280" y="160"/>
                    </a:lnTo>
                    <a:lnTo>
                      <a:pt x="279" y="160"/>
                    </a:lnTo>
                    <a:lnTo>
                      <a:pt x="279" y="160"/>
                    </a:lnTo>
                    <a:lnTo>
                      <a:pt x="277" y="160"/>
                    </a:lnTo>
                    <a:lnTo>
                      <a:pt x="277" y="160"/>
                    </a:lnTo>
                    <a:lnTo>
                      <a:pt x="277" y="160"/>
                    </a:lnTo>
                    <a:lnTo>
                      <a:pt x="276" y="161"/>
                    </a:lnTo>
                    <a:lnTo>
                      <a:pt x="276" y="161"/>
                    </a:lnTo>
                    <a:lnTo>
                      <a:pt x="276" y="161"/>
                    </a:lnTo>
                    <a:lnTo>
                      <a:pt x="274" y="161"/>
                    </a:lnTo>
                    <a:lnTo>
                      <a:pt x="272" y="160"/>
                    </a:lnTo>
                    <a:lnTo>
                      <a:pt x="270" y="160"/>
                    </a:lnTo>
                    <a:lnTo>
                      <a:pt x="269" y="160"/>
                    </a:lnTo>
                    <a:lnTo>
                      <a:pt x="267" y="160"/>
                    </a:lnTo>
                    <a:lnTo>
                      <a:pt x="267" y="161"/>
                    </a:lnTo>
                    <a:lnTo>
                      <a:pt x="266" y="161"/>
                    </a:lnTo>
                    <a:lnTo>
                      <a:pt x="264" y="161"/>
                    </a:lnTo>
                    <a:lnTo>
                      <a:pt x="264" y="161"/>
                    </a:lnTo>
                    <a:lnTo>
                      <a:pt x="261" y="160"/>
                    </a:lnTo>
                    <a:lnTo>
                      <a:pt x="261" y="160"/>
                    </a:lnTo>
                    <a:lnTo>
                      <a:pt x="259" y="160"/>
                    </a:lnTo>
                    <a:lnTo>
                      <a:pt x="257" y="160"/>
                    </a:lnTo>
                    <a:lnTo>
                      <a:pt x="257" y="158"/>
                    </a:lnTo>
                    <a:lnTo>
                      <a:pt x="256" y="157"/>
                    </a:lnTo>
                    <a:lnTo>
                      <a:pt x="256" y="155"/>
                    </a:lnTo>
                    <a:lnTo>
                      <a:pt x="254" y="155"/>
                    </a:lnTo>
                    <a:lnTo>
                      <a:pt x="253" y="155"/>
                    </a:lnTo>
                    <a:lnTo>
                      <a:pt x="251" y="155"/>
                    </a:lnTo>
                    <a:lnTo>
                      <a:pt x="250" y="155"/>
                    </a:lnTo>
                    <a:lnTo>
                      <a:pt x="250" y="155"/>
                    </a:lnTo>
                    <a:lnTo>
                      <a:pt x="249" y="154"/>
                    </a:lnTo>
                    <a:lnTo>
                      <a:pt x="246" y="152"/>
                    </a:lnTo>
                    <a:lnTo>
                      <a:pt x="246" y="152"/>
                    </a:lnTo>
                    <a:lnTo>
                      <a:pt x="244" y="151"/>
                    </a:lnTo>
                    <a:lnTo>
                      <a:pt x="244" y="151"/>
                    </a:lnTo>
                    <a:lnTo>
                      <a:pt x="244" y="151"/>
                    </a:lnTo>
                    <a:lnTo>
                      <a:pt x="243" y="151"/>
                    </a:lnTo>
                    <a:lnTo>
                      <a:pt x="243" y="151"/>
                    </a:lnTo>
                    <a:lnTo>
                      <a:pt x="241" y="151"/>
                    </a:lnTo>
                    <a:lnTo>
                      <a:pt x="241" y="151"/>
                    </a:lnTo>
                    <a:lnTo>
                      <a:pt x="241" y="151"/>
                    </a:lnTo>
                    <a:lnTo>
                      <a:pt x="240" y="151"/>
                    </a:lnTo>
                    <a:lnTo>
                      <a:pt x="240" y="151"/>
                    </a:lnTo>
                    <a:lnTo>
                      <a:pt x="240" y="151"/>
                    </a:lnTo>
                    <a:lnTo>
                      <a:pt x="239" y="149"/>
                    </a:lnTo>
                    <a:lnTo>
                      <a:pt x="237" y="149"/>
                    </a:lnTo>
                    <a:lnTo>
                      <a:pt x="234" y="148"/>
                    </a:lnTo>
                    <a:lnTo>
                      <a:pt x="234" y="147"/>
                    </a:lnTo>
                    <a:lnTo>
                      <a:pt x="231" y="145"/>
                    </a:lnTo>
                    <a:lnTo>
                      <a:pt x="228" y="144"/>
                    </a:lnTo>
                    <a:lnTo>
                      <a:pt x="224" y="139"/>
                    </a:lnTo>
                    <a:lnTo>
                      <a:pt x="221" y="138"/>
                    </a:lnTo>
                    <a:lnTo>
                      <a:pt x="220" y="138"/>
                    </a:lnTo>
                    <a:lnTo>
                      <a:pt x="220" y="137"/>
                    </a:lnTo>
                    <a:lnTo>
                      <a:pt x="218" y="137"/>
                    </a:lnTo>
                    <a:lnTo>
                      <a:pt x="218" y="137"/>
                    </a:lnTo>
                    <a:lnTo>
                      <a:pt x="218" y="137"/>
                    </a:lnTo>
                    <a:lnTo>
                      <a:pt x="217" y="137"/>
                    </a:lnTo>
                    <a:lnTo>
                      <a:pt x="217" y="137"/>
                    </a:lnTo>
                    <a:lnTo>
                      <a:pt x="217" y="137"/>
                    </a:lnTo>
                    <a:lnTo>
                      <a:pt x="216" y="137"/>
                    </a:lnTo>
                    <a:lnTo>
                      <a:pt x="216" y="137"/>
                    </a:lnTo>
                    <a:lnTo>
                      <a:pt x="216" y="137"/>
                    </a:lnTo>
                    <a:lnTo>
                      <a:pt x="214" y="137"/>
                    </a:lnTo>
                    <a:lnTo>
                      <a:pt x="214" y="135"/>
                    </a:lnTo>
                    <a:lnTo>
                      <a:pt x="213" y="135"/>
                    </a:lnTo>
                    <a:lnTo>
                      <a:pt x="211" y="134"/>
                    </a:lnTo>
                    <a:lnTo>
                      <a:pt x="210" y="132"/>
                    </a:lnTo>
                    <a:lnTo>
                      <a:pt x="210" y="131"/>
                    </a:lnTo>
                    <a:lnTo>
                      <a:pt x="210" y="129"/>
                    </a:lnTo>
                    <a:lnTo>
                      <a:pt x="210" y="128"/>
                    </a:lnTo>
                    <a:lnTo>
                      <a:pt x="213" y="125"/>
                    </a:lnTo>
                    <a:lnTo>
                      <a:pt x="213" y="124"/>
                    </a:lnTo>
                    <a:lnTo>
                      <a:pt x="213" y="122"/>
                    </a:lnTo>
                    <a:lnTo>
                      <a:pt x="213" y="121"/>
                    </a:lnTo>
                    <a:lnTo>
                      <a:pt x="214" y="118"/>
                    </a:lnTo>
                    <a:lnTo>
                      <a:pt x="216" y="116"/>
                    </a:lnTo>
                    <a:lnTo>
                      <a:pt x="216" y="115"/>
                    </a:lnTo>
                    <a:lnTo>
                      <a:pt x="218" y="112"/>
                    </a:lnTo>
                    <a:lnTo>
                      <a:pt x="223" y="108"/>
                    </a:lnTo>
                    <a:lnTo>
                      <a:pt x="224" y="108"/>
                    </a:lnTo>
                    <a:lnTo>
                      <a:pt x="224" y="106"/>
                    </a:lnTo>
                    <a:lnTo>
                      <a:pt x="224" y="106"/>
                    </a:lnTo>
                    <a:lnTo>
                      <a:pt x="226" y="106"/>
                    </a:lnTo>
                    <a:lnTo>
                      <a:pt x="226" y="108"/>
                    </a:lnTo>
                    <a:lnTo>
                      <a:pt x="226" y="106"/>
                    </a:lnTo>
                    <a:lnTo>
                      <a:pt x="224" y="105"/>
                    </a:lnTo>
                    <a:lnTo>
                      <a:pt x="221" y="103"/>
                    </a:lnTo>
                    <a:lnTo>
                      <a:pt x="220" y="102"/>
                    </a:lnTo>
                    <a:lnTo>
                      <a:pt x="220" y="102"/>
                    </a:lnTo>
                    <a:lnTo>
                      <a:pt x="218" y="102"/>
                    </a:lnTo>
                    <a:lnTo>
                      <a:pt x="218" y="102"/>
                    </a:lnTo>
                    <a:lnTo>
                      <a:pt x="218" y="102"/>
                    </a:lnTo>
                    <a:lnTo>
                      <a:pt x="213" y="99"/>
                    </a:lnTo>
                    <a:lnTo>
                      <a:pt x="211" y="98"/>
                    </a:lnTo>
                    <a:lnTo>
                      <a:pt x="211" y="96"/>
                    </a:lnTo>
                    <a:lnTo>
                      <a:pt x="211" y="95"/>
                    </a:lnTo>
                    <a:lnTo>
                      <a:pt x="210" y="95"/>
                    </a:lnTo>
                    <a:lnTo>
                      <a:pt x="210" y="95"/>
                    </a:lnTo>
                    <a:lnTo>
                      <a:pt x="208" y="93"/>
                    </a:lnTo>
                    <a:lnTo>
                      <a:pt x="207" y="93"/>
                    </a:lnTo>
                    <a:lnTo>
                      <a:pt x="207" y="93"/>
                    </a:lnTo>
                    <a:lnTo>
                      <a:pt x="205" y="92"/>
                    </a:lnTo>
                    <a:lnTo>
                      <a:pt x="204" y="92"/>
                    </a:lnTo>
                    <a:lnTo>
                      <a:pt x="204" y="92"/>
                    </a:lnTo>
                    <a:lnTo>
                      <a:pt x="203" y="92"/>
                    </a:lnTo>
                    <a:lnTo>
                      <a:pt x="201" y="92"/>
                    </a:lnTo>
                    <a:lnTo>
                      <a:pt x="200" y="92"/>
                    </a:lnTo>
                    <a:lnTo>
                      <a:pt x="200" y="92"/>
                    </a:lnTo>
                    <a:lnTo>
                      <a:pt x="197" y="89"/>
                    </a:lnTo>
                    <a:lnTo>
                      <a:pt x="197" y="89"/>
                    </a:lnTo>
                    <a:lnTo>
                      <a:pt x="195" y="86"/>
                    </a:lnTo>
                    <a:lnTo>
                      <a:pt x="193" y="83"/>
                    </a:lnTo>
                    <a:lnTo>
                      <a:pt x="193" y="83"/>
                    </a:lnTo>
                    <a:lnTo>
                      <a:pt x="191" y="83"/>
                    </a:lnTo>
                    <a:lnTo>
                      <a:pt x="191" y="83"/>
                    </a:lnTo>
                    <a:lnTo>
                      <a:pt x="191" y="83"/>
                    </a:lnTo>
                    <a:lnTo>
                      <a:pt x="190" y="85"/>
                    </a:lnTo>
                    <a:lnTo>
                      <a:pt x="190" y="85"/>
                    </a:lnTo>
                    <a:lnTo>
                      <a:pt x="188" y="85"/>
                    </a:lnTo>
                    <a:lnTo>
                      <a:pt x="187" y="86"/>
                    </a:lnTo>
                    <a:lnTo>
                      <a:pt x="187" y="86"/>
                    </a:lnTo>
                    <a:lnTo>
                      <a:pt x="187" y="86"/>
                    </a:lnTo>
                    <a:lnTo>
                      <a:pt x="187" y="85"/>
                    </a:lnTo>
                    <a:lnTo>
                      <a:pt x="187" y="85"/>
                    </a:lnTo>
                    <a:lnTo>
                      <a:pt x="187" y="83"/>
                    </a:lnTo>
                    <a:lnTo>
                      <a:pt x="187" y="83"/>
                    </a:lnTo>
                    <a:lnTo>
                      <a:pt x="185" y="82"/>
                    </a:lnTo>
                    <a:lnTo>
                      <a:pt x="185" y="82"/>
                    </a:lnTo>
                    <a:lnTo>
                      <a:pt x="187" y="80"/>
                    </a:lnTo>
                    <a:lnTo>
                      <a:pt x="187" y="80"/>
                    </a:lnTo>
                    <a:lnTo>
                      <a:pt x="187" y="79"/>
                    </a:lnTo>
                    <a:lnTo>
                      <a:pt x="185" y="78"/>
                    </a:lnTo>
                    <a:lnTo>
                      <a:pt x="185" y="76"/>
                    </a:lnTo>
                    <a:lnTo>
                      <a:pt x="185" y="76"/>
                    </a:lnTo>
                    <a:lnTo>
                      <a:pt x="185" y="75"/>
                    </a:lnTo>
                    <a:lnTo>
                      <a:pt x="185" y="75"/>
                    </a:lnTo>
                    <a:lnTo>
                      <a:pt x="185" y="73"/>
                    </a:lnTo>
                    <a:lnTo>
                      <a:pt x="185" y="73"/>
                    </a:lnTo>
                    <a:lnTo>
                      <a:pt x="185" y="73"/>
                    </a:lnTo>
                    <a:lnTo>
                      <a:pt x="185" y="73"/>
                    </a:lnTo>
                    <a:lnTo>
                      <a:pt x="185" y="72"/>
                    </a:lnTo>
                    <a:lnTo>
                      <a:pt x="185" y="72"/>
                    </a:lnTo>
                    <a:lnTo>
                      <a:pt x="185" y="72"/>
                    </a:lnTo>
                    <a:lnTo>
                      <a:pt x="185" y="72"/>
                    </a:lnTo>
                    <a:lnTo>
                      <a:pt x="183" y="69"/>
                    </a:lnTo>
                    <a:lnTo>
                      <a:pt x="183" y="68"/>
                    </a:lnTo>
                    <a:lnTo>
                      <a:pt x="181" y="66"/>
                    </a:lnTo>
                    <a:lnTo>
                      <a:pt x="181" y="66"/>
                    </a:lnTo>
                    <a:lnTo>
                      <a:pt x="181" y="65"/>
                    </a:lnTo>
                    <a:lnTo>
                      <a:pt x="181" y="65"/>
                    </a:lnTo>
                    <a:lnTo>
                      <a:pt x="181" y="65"/>
                    </a:lnTo>
                    <a:lnTo>
                      <a:pt x="181" y="63"/>
                    </a:lnTo>
                    <a:lnTo>
                      <a:pt x="180" y="63"/>
                    </a:lnTo>
                    <a:lnTo>
                      <a:pt x="180" y="63"/>
                    </a:lnTo>
                    <a:lnTo>
                      <a:pt x="180" y="62"/>
                    </a:lnTo>
                    <a:lnTo>
                      <a:pt x="180" y="62"/>
                    </a:lnTo>
                    <a:lnTo>
                      <a:pt x="184" y="62"/>
                    </a:lnTo>
                    <a:lnTo>
                      <a:pt x="184" y="62"/>
                    </a:lnTo>
                    <a:lnTo>
                      <a:pt x="184" y="62"/>
                    </a:lnTo>
                    <a:lnTo>
                      <a:pt x="185" y="60"/>
                    </a:lnTo>
                    <a:lnTo>
                      <a:pt x="185" y="60"/>
                    </a:lnTo>
                    <a:lnTo>
                      <a:pt x="185" y="62"/>
                    </a:lnTo>
                    <a:lnTo>
                      <a:pt x="185" y="62"/>
                    </a:lnTo>
                    <a:lnTo>
                      <a:pt x="185" y="62"/>
                    </a:lnTo>
                    <a:lnTo>
                      <a:pt x="187" y="62"/>
                    </a:lnTo>
                    <a:lnTo>
                      <a:pt x="187" y="62"/>
                    </a:lnTo>
                    <a:lnTo>
                      <a:pt x="187" y="63"/>
                    </a:lnTo>
                    <a:lnTo>
                      <a:pt x="187" y="63"/>
                    </a:lnTo>
                    <a:lnTo>
                      <a:pt x="187" y="63"/>
                    </a:lnTo>
                    <a:lnTo>
                      <a:pt x="187" y="65"/>
                    </a:lnTo>
                    <a:lnTo>
                      <a:pt x="188" y="65"/>
                    </a:lnTo>
                    <a:lnTo>
                      <a:pt x="190" y="66"/>
                    </a:lnTo>
                    <a:lnTo>
                      <a:pt x="191" y="65"/>
                    </a:lnTo>
                    <a:lnTo>
                      <a:pt x="191" y="65"/>
                    </a:lnTo>
                    <a:lnTo>
                      <a:pt x="193" y="65"/>
                    </a:lnTo>
                    <a:lnTo>
                      <a:pt x="193" y="63"/>
                    </a:lnTo>
                    <a:lnTo>
                      <a:pt x="193" y="63"/>
                    </a:lnTo>
                    <a:lnTo>
                      <a:pt x="194" y="63"/>
                    </a:lnTo>
                    <a:lnTo>
                      <a:pt x="194" y="63"/>
                    </a:lnTo>
                    <a:lnTo>
                      <a:pt x="194" y="62"/>
                    </a:lnTo>
                    <a:lnTo>
                      <a:pt x="194" y="60"/>
                    </a:lnTo>
                    <a:lnTo>
                      <a:pt x="195" y="59"/>
                    </a:lnTo>
                    <a:lnTo>
                      <a:pt x="195" y="59"/>
                    </a:lnTo>
                    <a:lnTo>
                      <a:pt x="194" y="59"/>
                    </a:lnTo>
                    <a:lnTo>
                      <a:pt x="194" y="57"/>
                    </a:lnTo>
                    <a:lnTo>
                      <a:pt x="194" y="57"/>
                    </a:lnTo>
                    <a:lnTo>
                      <a:pt x="194" y="57"/>
                    </a:lnTo>
                    <a:lnTo>
                      <a:pt x="194" y="56"/>
                    </a:lnTo>
                    <a:lnTo>
                      <a:pt x="194" y="55"/>
                    </a:lnTo>
                    <a:lnTo>
                      <a:pt x="194" y="55"/>
                    </a:lnTo>
                    <a:lnTo>
                      <a:pt x="194" y="55"/>
                    </a:lnTo>
                    <a:lnTo>
                      <a:pt x="194" y="53"/>
                    </a:lnTo>
                    <a:lnTo>
                      <a:pt x="193" y="53"/>
                    </a:lnTo>
                    <a:lnTo>
                      <a:pt x="193" y="53"/>
                    </a:lnTo>
                    <a:lnTo>
                      <a:pt x="193" y="52"/>
                    </a:lnTo>
                    <a:lnTo>
                      <a:pt x="193" y="52"/>
                    </a:lnTo>
                    <a:lnTo>
                      <a:pt x="193" y="52"/>
                    </a:lnTo>
                    <a:lnTo>
                      <a:pt x="193" y="50"/>
                    </a:lnTo>
                    <a:lnTo>
                      <a:pt x="193" y="49"/>
                    </a:lnTo>
                    <a:lnTo>
                      <a:pt x="193" y="49"/>
                    </a:lnTo>
                    <a:lnTo>
                      <a:pt x="191" y="47"/>
                    </a:lnTo>
                    <a:lnTo>
                      <a:pt x="191" y="47"/>
                    </a:lnTo>
                    <a:lnTo>
                      <a:pt x="191" y="47"/>
                    </a:lnTo>
                    <a:lnTo>
                      <a:pt x="188" y="45"/>
                    </a:lnTo>
                    <a:lnTo>
                      <a:pt x="187" y="43"/>
                    </a:lnTo>
                    <a:lnTo>
                      <a:pt x="187" y="43"/>
                    </a:lnTo>
                    <a:lnTo>
                      <a:pt x="187" y="42"/>
                    </a:lnTo>
                    <a:lnTo>
                      <a:pt x="187" y="40"/>
                    </a:lnTo>
                    <a:lnTo>
                      <a:pt x="187" y="37"/>
                    </a:lnTo>
                    <a:lnTo>
                      <a:pt x="187" y="34"/>
                    </a:lnTo>
                    <a:lnTo>
                      <a:pt x="185" y="33"/>
                    </a:lnTo>
                    <a:lnTo>
                      <a:pt x="185" y="33"/>
                    </a:lnTo>
                    <a:lnTo>
                      <a:pt x="185" y="33"/>
                    </a:lnTo>
                    <a:lnTo>
                      <a:pt x="185" y="32"/>
                    </a:lnTo>
                    <a:lnTo>
                      <a:pt x="187" y="32"/>
                    </a:lnTo>
                    <a:lnTo>
                      <a:pt x="190" y="30"/>
                    </a:lnTo>
                    <a:lnTo>
                      <a:pt x="190" y="29"/>
                    </a:lnTo>
                    <a:lnTo>
                      <a:pt x="190" y="29"/>
                    </a:lnTo>
                    <a:lnTo>
                      <a:pt x="190" y="27"/>
                    </a:lnTo>
                    <a:lnTo>
                      <a:pt x="190" y="27"/>
                    </a:lnTo>
                    <a:lnTo>
                      <a:pt x="190" y="27"/>
                    </a:lnTo>
                    <a:lnTo>
                      <a:pt x="190" y="27"/>
                    </a:lnTo>
                    <a:lnTo>
                      <a:pt x="190" y="26"/>
                    </a:lnTo>
                    <a:lnTo>
                      <a:pt x="190" y="26"/>
                    </a:lnTo>
                    <a:lnTo>
                      <a:pt x="190" y="26"/>
                    </a:lnTo>
                    <a:lnTo>
                      <a:pt x="187" y="24"/>
                    </a:lnTo>
                    <a:lnTo>
                      <a:pt x="185" y="23"/>
                    </a:lnTo>
                    <a:lnTo>
                      <a:pt x="185" y="23"/>
                    </a:lnTo>
                    <a:lnTo>
                      <a:pt x="185" y="23"/>
                    </a:lnTo>
                    <a:lnTo>
                      <a:pt x="184" y="23"/>
                    </a:lnTo>
                    <a:lnTo>
                      <a:pt x="184" y="23"/>
                    </a:lnTo>
                    <a:lnTo>
                      <a:pt x="180" y="22"/>
                    </a:lnTo>
                    <a:lnTo>
                      <a:pt x="180" y="22"/>
                    </a:lnTo>
                    <a:lnTo>
                      <a:pt x="178" y="22"/>
                    </a:lnTo>
                    <a:lnTo>
                      <a:pt x="178" y="20"/>
                    </a:lnTo>
                    <a:lnTo>
                      <a:pt x="178" y="20"/>
                    </a:lnTo>
                    <a:lnTo>
                      <a:pt x="178" y="20"/>
                    </a:lnTo>
                    <a:lnTo>
                      <a:pt x="178" y="20"/>
                    </a:lnTo>
                    <a:lnTo>
                      <a:pt x="178" y="20"/>
                    </a:lnTo>
                    <a:lnTo>
                      <a:pt x="178" y="19"/>
                    </a:lnTo>
                    <a:lnTo>
                      <a:pt x="177" y="16"/>
                    </a:lnTo>
                    <a:lnTo>
                      <a:pt x="174" y="10"/>
                    </a:lnTo>
                    <a:lnTo>
                      <a:pt x="174" y="9"/>
                    </a:lnTo>
                    <a:lnTo>
                      <a:pt x="174" y="7"/>
                    </a:lnTo>
                    <a:lnTo>
                      <a:pt x="174" y="3"/>
                    </a:lnTo>
                    <a:lnTo>
                      <a:pt x="172" y="3"/>
                    </a:lnTo>
                    <a:lnTo>
                      <a:pt x="172" y="3"/>
                    </a:lnTo>
                    <a:lnTo>
                      <a:pt x="172" y="4"/>
                    </a:lnTo>
                    <a:lnTo>
                      <a:pt x="171" y="4"/>
                    </a:lnTo>
                    <a:lnTo>
                      <a:pt x="171" y="4"/>
                    </a:lnTo>
                    <a:lnTo>
                      <a:pt x="170" y="4"/>
                    </a:lnTo>
                    <a:lnTo>
                      <a:pt x="170" y="3"/>
                    </a:lnTo>
                    <a:lnTo>
                      <a:pt x="170" y="3"/>
                    </a:lnTo>
                    <a:lnTo>
                      <a:pt x="170" y="3"/>
                    </a:lnTo>
                    <a:lnTo>
                      <a:pt x="168" y="3"/>
                    </a:lnTo>
                    <a:lnTo>
                      <a:pt x="167" y="4"/>
                    </a:lnTo>
                    <a:lnTo>
                      <a:pt x="165" y="4"/>
                    </a:lnTo>
                    <a:lnTo>
                      <a:pt x="164" y="4"/>
                    </a:lnTo>
                    <a:lnTo>
                      <a:pt x="157" y="1"/>
                    </a:lnTo>
                    <a:lnTo>
                      <a:pt x="152" y="0"/>
                    </a:lnTo>
                    <a:lnTo>
                      <a:pt x="151" y="0"/>
                    </a:lnTo>
                    <a:lnTo>
                      <a:pt x="152" y="1"/>
                    </a:lnTo>
                    <a:lnTo>
                      <a:pt x="152" y="3"/>
                    </a:lnTo>
                    <a:lnTo>
                      <a:pt x="154" y="6"/>
                    </a:lnTo>
                    <a:lnTo>
                      <a:pt x="157" y="10"/>
                    </a:lnTo>
                    <a:lnTo>
                      <a:pt x="157" y="11"/>
                    </a:lnTo>
                    <a:lnTo>
                      <a:pt x="157" y="11"/>
                    </a:lnTo>
                    <a:lnTo>
                      <a:pt x="155" y="13"/>
                    </a:lnTo>
                    <a:lnTo>
                      <a:pt x="155" y="13"/>
                    </a:lnTo>
                    <a:lnTo>
                      <a:pt x="155" y="13"/>
                    </a:lnTo>
                    <a:lnTo>
                      <a:pt x="155" y="14"/>
                    </a:lnTo>
                    <a:lnTo>
                      <a:pt x="154" y="14"/>
                    </a:lnTo>
                    <a:lnTo>
                      <a:pt x="152" y="14"/>
                    </a:lnTo>
                    <a:lnTo>
                      <a:pt x="152" y="16"/>
                    </a:lnTo>
                    <a:lnTo>
                      <a:pt x="151" y="16"/>
                    </a:lnTo>
                    <a:lnTo>
                      <a:pt x="151" y="16"/>
                    </a:lnTo>
                    <a:lnTo>
                      <a:pt x="151" y="17"/>
                    </a:lnTo>
                    <a:lnTo>
                      <a:pt x="149" y="17"/>
                    </a:lnTo>
                    <a:lnTo>
                      <a:pt x="149" y="19"/>
                    </a:lnTo>
                    <a:lnTo>
                      <a:pt x="148" y="19"/>
                    </a:lnTo>
                    <a:lnTo>
                      <a:pt x="147" y="19"/>
                    </a:lnTo>
                    <a:lnTo>
                      <a:pt x="147" y="19"/>
                    </a:lnTo>
                    <a:lnTo>
                      <a:pt x="142" y="20"/>
                    </a:lnTo>
                    <a:lnTo>
                      <a:pt x="141" y="20"/>
                    </a:lnTo>
                    <a:lnTo>
                      <a:pt x="138" y="20"/>
                    </a:lnTo>
                    <a:lnTo>
                      <a:pt x="138" y="20"/>
                    </a:lnTo>
                    <a:lnTo>
                      <a:pt x="137" y="22"/>
                    </a:lnTo>
                    <a:lnTo>
                      <a:pt x="135" y="22"/>
                    </a:lnTo>
                    <a:lnTo>
                      <a:pt x="134" y="23"/>
                    </a:lnTo>
                    <a:lnTo>
                      <a:pt x="132" y="23"/>
                    </a:lnTo>
                    <a:lnTo>
                      <a:pt x="129" y="23"/>
                    </a:lnTo>
                    <a:lnTo>
                      <a:pt x="126" y="22"/>
                    </a:lnTo>
                    <a:lnTo>
                      <a:pt x="125" y="22"/>
                    </a:lnTo>
                    <a:lnTo>
                      <a:pt x="124" y="20"/>
                    </a:lnTo>
                    <a:lnTo>
                      <a:pt x="122" y="20"/>
                    </a:lnTo>
                    <a:lnTo>
                      <a:pt x="119" y="20"/>
                    </a:lnTo>
                    <a:lnTo>
                      <a:pt x="118" y="20"/>
                    </a:lnTo>
                    <a:lnTo>
                      <a:pt x="115" y="19"/>
                    </a:lnTo>
                    <a:lnTo>
                      <a:pt x="112" y="19"/>
                    </a:lnTo>
                    <a:lnTo>
                      <a:pt x="108" y="17"/>
                    </a:lnTo>
                    <a:lnTo>
                      <a:pt x="106" y="19"/>
                    </a:lnTo>
                    <a:lnTo>
                      <a:pt x="105" y="19"/>
                    </a:lnTo>
                    <a:lnTo>
                      <a:pt x="102" y="20"/>
                    </a:lnTo>
                    <a:lnTo>
                      <a:pt x="101" y="23"/>
                    </a:lnTo>
                    <a:lnTo>
                      <a:pt x="99" y="26"/>
                    </a:lnTo>
                    <a:lnTo>
                      <a:pt x="99" y="26"/>
                    </a:lnTo>
                    <a:lnTo>
                      <a:pt x="101" y="27"/>
                    </a:lnTo>
                    <a:lnTo>
                      <a:pt x="102" y="27"/>
                    </a:lnTo>
                    <a:lnTo>
                      <a:pt x="102" y="29"/>
                    </a:lnTo>
                    <a:lnTo>
                      <a:pt x="102" y="30"/>
                    </a:lnTo>
                    <a:lnTo>
                      <a:pt x="101" y="32"/>
                    </a:lnTo>
                    <a:lnTo>
                      <a:pt x="101" y="32"/>
                    </a:lnTo>
                    <a:lnTo>
                      <a:pt x="102" y="33"/>
                    </a:lnTo>
                    <a:lnTo>
                      <a:pt x="104" y="33"/>
                    </a:lnTo>
                    <a:lnTo>
                      <a:pt x="104" y="33"/>
                    </a:lnTo>
                    <a:lnTo>
                      <a:pt x="105" y="33"/>
                    </a:lnTo>
                    <a:lnTo>
                      <a:pt x="105" y="33"/>
                    </a:lnTo>
                    <a:lnTo>
                      <a:pt x="106" y="33"/>
                    </a:lnTo>
                    <a:lnTo>
                      <a:pt x="108" y="34"/>
                    </a:lnTo>
                    <a:lnTo>
                      <a:pt x="106" y="36"/>
                    </a:lnTo>
                    <a:lnTo>
                      <a:pt x="105" y="36"/>
                    </a:lnTo>
                    <a:lnTo>
                      <a:pt x="104" y="36"/>
                    </a:lnTo>
                    <a:lnTo>
                      <a:pt x="104" y="37"/>
                    </a:lnTo>
                    <a:lnTo>
                      <a:pt x="102" y="37"/>
                    </a:lnTo>
                    <a:lnTo>
                      <a:pt x="102" y="39"/>
                    </a:lnTo>
                    <a:lnTo>
                      <a:pt x="102" y="40"/>
                    </a:lnTo>
                    <a:lnTo>
                      <a:pt x="105" y="42"/>
                    </a:lnTo>
                    <a:lnTo>
                      <a:pt x="105" y="43"/>
                    </a:lnTo>
                    <a:lnTo>
                      <a:pt x="105" y="45"/>
                    </a:lnTo>
                    <a:lnTo>
                      <a:pt x="105" y="46"/>
                    </a:lnTo>
                    <a:lnTo>
                      <a:pt x="104" y="46"/>
                    </a:lnTo>
                    <a:lnTo>
                      <a:pt x="104" y="47"/>
                    </a:lnTo>
                    <a:lnTo>
                      <a:pt x="102" y="49"/>
                    </a:lnTo>
                    <a:lnTo>
                      <a:pt x="104" y="50"/>
                    </a:lnTo>
                    <a:lnTo>
                      <a:pt x="105" y="52"/>
                    </a:lnTo>
                    <a:lnTo>
                      <a:pt x="105" y="52"/>
                    </a:lnTo>
                    <a:lnTo>
                      <a:pt x="106" y="53"/>
                    </a:lnTo>
                    <a:lnTo>
                      <a:pt x="108" y="53"/>
                    </a:lnTo>
                    <a:lnTo>
                      <a:pt x="108" y="53"/>
                    </a:lnTo>
                    <a:lnTo>
                      <a:pt x="108" y="55"/>
                    </a:lnTo>
                    <a:lnTo>
                      <a:pt x="108" y="55"/>
                    </a:lnTo>
                    <a:lnTo>
                      <a:pt x="108" y="56"/>
                    </a:lnTo>
                    <a:lnTo>
                      <a:pt x="108" y="57"/>
                    </a:lnTo>
                    <a:lnTo>
                      <a:pt x="109" y="57"/>
                    </a:lnTo>
                    <a:lnTo>
                      <a:pt x="109" y="57"/>
                    </a:lnTo>
                    <a:lnTo>
                      <a:pt x="111" y="57"/>
                    </a:lnTo>
                    <a:lnTo>
                      <a:pt x="112" y="57"/>
                    </a:lnTo>
                    <a:lnTo>
                      <a:pt x="114" y="57"/>
                    </a:lnTo>
                    <a:lnTo>
                      <a:pt x="114" y="57"/>
                    </a:lnTo>
                    <a:lnTo>
                      <a:pt x="115" y="57"/>
                    </a:lnTo>
                    <a:lnTo>
                      <a:pt x="114" y="59"/>
                    </a:lnTo>
                    <a:lnTo>
                      <a:pt x="114" y="60"/>
                    </a:lnTo>
                    <a:lnTo>
                      <a:pt x="115" y="63"/>
                    </a:lnTo>
                    <a:lnTo>
                      <a:pt x="118" y="63"/>
                    </a:lnTo>
                    <a:lnTo>
                      <a:pt x="119" y="63"/>
                    </a:lnTo>
                    <a:lnTo>
                      <a:pt x="122" y="65"/>
                    </a:lnTo>
                    <a:lnTo>
                      <a:pt x="125" y="65"/>
                    </a:lnTo>
                    <a:lnTo>
                      <a:pt x="125" y="66"/>
                    </a:lnTo>
                    <a:lnTo>
                      <a:pt x="126" y="66"/>
                    </a:lnTo>
                    <a:lnTo>
                      <a:pt x="126" y="68"/>
                    </a:lnTo>
                    <a:lnTo>
                      <a:pt x="126" y="68"/>
                    </a:lnTo>
                    <a:lnTo>
                      <a:pt x="125" y="69"/>
                    </a:lnTo>
                    <a:lnTo>
                      <a:pt x="125" y="69"/>
                    </a:lnTo>
                    <a:lnTo>
                      <a:pt x="125" y="69"/>
                    </a:lnTo>
                    <a:lnTo>
                      <a:pt x="124" y="70"/>
                    </a:lnTo>
                    <a:lnTo>
                      <a:pt x="122" y="70"/>
                    </a:lnTo>
                    <a:lnTo>
                      <a:pt x="121" y="70"/>
                    </a:lnTo>
                    <a:lnTo>
                      <a:pt x="119" y="72"/>
                    </a:lnTo>
                    <a:lnTo>
                      <a:pt x="116" y="73"/>
                    </a:lnTo>
                    <a:lnTo>
                      <a:pt x="115" y="73"/>
                    </a:lnTo>
                    <a:lnTo>
                      <a:pt x="114" y="75"/>
                    </a:lnTo>
                    <a:lnTo>
                      <a:pt x="112" y="76"/>
                    </a:lnTo>
                    <a:lnTo>
                      <a:pt x="112" y="76"/>
                    </a:lnTo>
                    <a:lnTo>
                      <a:pt x="112" y="76"/>
                    </a:lnTo>
                    <a:lnTo>
                      <a:pt x="112" y="78"/>
                    </a:lnTo>
                    <a:lnTo>
                      <a:pt x="112" y="78"/>
                    </a:lnTo>
                    <a:lnTo>
                      <a:pt x="112" y="80"/>
                    </a:lnTo>
                    <a:lnTo>
                      <a:pt x="112" y="83"/>
                    </a:lnTo>
                    <a:lnTo>
                      <a:pt x="112" y="85"/>
                    </a:lnTo>
                    <a:lnTo>
                      <a:pt x="112" y="88"/>
                    </a:lnTo>
                    <a:lnTo>
                      <a:pt x="112" y="88"/>
                    </a:lnTo>
                    <a:lnTo>
                      <a:pt x="112" y="89"/>
                    </a:lnTo>
                    <a:lnTo>
                      <a:pt x="112" y="89"/>
                    </a:lnTo>
                    <a:lnTo>
                      <a:pt x="114" y="89"/>
                    </a:lnTo>
                    <a:lnTo>
                      <a:pt x="114" y="91"/>
                    </a:lnTo>
                    <a:lnTo>
                      <a:pt x="114" y="91"/>
                    </a:lnTo>
                    <a:lnTo>
                      <a:pt x="111" y="92"/>
                    </a:lnTo>
                    <a:lnTo>
                      <a:pt x="109" y="93"/>
                    </a:lnTo>
                    <a:lnTo>
                      <a:pt x="109" y="93"/>
                    </a:lnTo>
                    <a:lnTo>
                      <a:pt x="108" y="93"/>
                    </a:lnTo>
                    <a:lnTo>
                      <a:pt x="106" y="96"/>
                    </a:lnTo>
                    <a:lnTo>
                      <a:pt x="105" y="98"/>
                    </a:lnTo>
                    <a:lnTo>
                      <a:pt x="104" y="99"/>
                    </a:lnTo>
                    <a:lnTo>
                      <a:pt x="104" y="99"/>
                    </a:lnTo>
                    <a:lnTo>
                      <a:pt x="102" y="101"/>
                    </a:lnTo>
                    <a:lnTo>
                      <a:pt x="102" y="101"/>
                    </a:lnTo>
                    <a:lnTo>
                      <a:pt x="102" y="102"/>
                    </a:lnTo>
                    <a:lnTo>
                      <a:pt x="101" y="102"/>
                    </a:lnTo>
                    <a:lnTo>
                      <a:pt x="101" y="102"/>
                    </a:lnTo>
                    <a:lnTo>
                      <a:pt x="101" y="103"/>
                    </a:lnTo>
                    <a:lnTo>
                      <a:pt x="101" y="103"/>
                    </a:lnTo>
                    <a:lnTo>
                      <a:pt x="101" y="105"/>
                    </a:lnTo>
                    <a:lnTo>
                      <a:pt x="101" y="105"/>
                    </a:lnTo>
                    <a:lnTo>
                      <a:pt x="102" y="105"/>
                    </a:lnTo>
                    <a:lnTo>
                      <a:pt x="102" y="105"/>
                    </a:lnTo>
                    <a:lnTo>
                      <a:pt x="102" y="106"/>
                    </a:lnTo>
                    <a:lnTo>
                      <a:pt x="101" y="106"/>
                    </a:lnTo>
                    <a:lnTo>
                      <a:pt x="101" y="108"/>
                    </a:lnTo>
                    <a:lnTo>
                      <a:pt x="101" y="108"/>
                    </a:lnTo>
                    <a:lnTo>
                      <a:pt x="99" y="108"/>
                    </a:lnTo>
                    <a:lnTo>
                      <a:pt x="96" y="109"/>
                    </a:lnTo>
                    <a:lnTo>
                      <a:pt x="93" y="111"/>
                    </a:lnTo>
                    <a:lnTo>
                      <a:pt x="92" y="111"/>
                    </a:lnTo>
                    <a:lnTo>
                      <a:pt x="92" y="112"/>
                    </a:lnTo>
                    <a:lnTo>
                      <a:pt x="92" y="112"/>
                    </a:lnTo>
                    <a:lnTo>
                      <a:pt x="91" y="114"/>
                    </a:lnTo>
                    <a:lnTo>
                      <a:pt x="89" y="118"/>
                    </a:lnTo>
                    <a:lnTo>
                      <a:pt x="88" y="121"/>
                    </a:lnTo>
                    <a:lnTo>
                      <a:pt x="86" y="125"/>
                    </a:lnTo>
                    <a:lnTo>
                      <a:pt x="85" y="128"/>
                    </a:lnTo>
                    <a:lnTo>
                      <a:pt x="83" y="128"/>
                    </a:lnTo>
                    <a:lnTo>
                      <a:pt x="83" y="129"/>
                    </a:lnTo>
                    <a:lnTo>
                      <a:pt x="82" y="129"/>
                    </a:lnTo>
                    <a:lnTo>
                      <a:pt x="81" y="131"/>
                    </a:lnTo>
                    <a:lnTo>
                      <a:pt x="78" y="132"/>
                    </a:lnTo>
                    <a:lnTo>
                      <a:pt x="75" y="134"/>
                    </a:lnTo>
                    <a:lnTo>
                      <a:pt x="73" y="137"/>
                    </a:lnTo>
                    <a:lnTo>
                      <a:pt x="70" y="139"/>
                    </a:lnTo>
                    <a:lnTo>
                      <a:pt x="70" y="139"/>
                    </a:lnTo>
                    <a:lnTo>
                      <a:pt x="70" y="141"/>
                    </a:lnTo>
                    <a:lnTo>
                      <a:pt x="70" y="141"/>
                    </a:lnTo>
                    <a:lnTo>
                      <a:pt x="70" y="141"/>
                    </a:lnTo>
                    <a:lnTo>
                      <a:pt x="70" y="142"/>
                    </a:lnTo>
                    <a:lnTo>
                      <a:pt x="69" y="142"/>
                    </a:lnTo>
                    <a:lnTo>
                      <a:pt x="69" y="144"/>
                    </a:lnTo>
                    <a:lnTo>
                      <a:pt x="68" y="144"/>
                    </a:lnTo>
                    <a:lnTo>
                      <a:pt x="68" y="144"/>
                    </a:lnTo>
                    <a:lnTo>
                      <a:pt x="68" y="145"/>
                    </a:lnTo>
                    <a:lnTo>
                      <a:pt x="66" y="147"/>
                    </a:lnTo>
                    <a:lnTo>
                      <a:pt x="66" y="147"/>
                    </a:lnTo>
                    <a:lnTo>
                      <a:pt x="66" y="147"/>
                    </a:lnTo>
                    <a:lnTo>
                      <a:pt x="66" y="148"/>
                    </a:lnTo>
                    <a:lnTo>
                      <a:pt x="66" y="148"/>
                    </a:lnTo>
                    <a:lnTo>
                      <a:pt x="65" y="149"/>
                    </a:lnTo>
                    <a:lnTo>
                      <a:pt x="65" y="149"/>
                    </a:lnTo>
                    <a:lnTo>
                      <a:pt x="60" y="151"/>
                    </a:lnTo>
                    <a:lnTo>
                      <a:pt x="60" y="151"/>
                    </a:lnTo>
                    <a:lnTo>
                      <a:pt x="59" y="151"/>
                    </a:lnTo>
                    <a:lnTo>
                      <a:pt x="58" y="152"/>
                    </a:lnTo>
                    <a:lnTo>
                      <a:pt x="58" y="152"/>
                    </a:lnTo>
                    <a:lnTo>
                      <a:pt x="56" y="152"/>
                    </a:lnTo>
                    <a:lnTo>
                      <a:pt x="55" y="152"/>
                    </a:lnTo>
                    <a:lnTo>
                      <a:pt x="52" y="152"/>
                    </a:lnTo>
                    <a:lnTo>
                      <a:pt x="50" y="154"/>
                    </a:lnTo>
                    <a:lnTo>
                      <a:pt x="48" y="155"/>
                    </a:lnTo>
                    <a:lnTo>
                      <a:pt x="48" y="155"/>
                    </a:lnTo>
                    <a:lnTo>
                      <a:pt x="46" y="155"/>
                    </a:lnTo>
                    <a:lnTo>
                      <a:pt x="46" y="155"/>
                    </a:lnTo>
                    <a:lnTo>
                      <a:pt x="45" y="154"/>
                    </a:lnTo>
                    <a:lnTo>
                      <a:pt x="45" y="154"/>
                    </a:lnTo>
                    <a:lnTo>
                      <a:pt x="45" y="154"/>
                    </a:lnTo>
                    <a:lnTo>
                      <a:pt x="45" y="152"/>
                    </a:lnTo>
                    <a:lnTo>
                      <a:pt x="43" y="152"/>
                    </a:lnTo>
                    <a:lnTo>
                      <a:pt x="43" y="151"/>
                    </a:lnTo>
                    <a:lnTo>
                      <a:pt x="43" y="149"/>
                    </a:lnTo>
                    <a:lnTo>
                      <a:pt x="42" y="148"/>
                    </a:lnTo>
                    <a:lnTo>
                      <a:pt x="39" y="148"/>
                    </a:lnTo>
                    <a:lnTo>
                      <a:pt x="37" y="149"/>
                    </a:lnTo>
                    <a:lnTo>
                      <a:pt x="36" y="151"/>
                    </a:lnTo>
                    <a:lnTo>
                      <a:pt x="36" y="151"/>
                    </a:lnTo>
                    <a:lnTo>
                      <a:pt x="35" y="152"/>
                    </a:lnTo>
                    <a:lnTo>
                      <a:pt x="33" y="155"/>
                    </a:lnTo>
                    <a:lnTo>
                      <a:pt x="30" y="160"/>
                    </a:lnTo>
                    <a:lnTo>
                      <a:pt x="27" y="162"/>
                    </a:lnTo>
                    <a:lnTo>
                      <a:pt x="27" y="162"/>
                    </a:lnTo>
                    <a:lnTo>
                      <a:pt x="26" y="164"/>
                    </a:lnTo>
                    <a:lnTo>
                      <a:pt x="26" y="164"/>
                    </a:lnTo>
                    <a:lnTo>
                      <a:pt x="25" y="165"/>
                    </a:lnTo>
                    <a:lnTo>
                      <a:pt x="25" y="167"/>
                    </a:lnTo>
                    <a:lnTo>
                      <a:pt x="23" y="168"/>
                    </a:lnTo>
                    <a:lnTo>
                      <a:pt x="23" y="170"/>
                    </a:lnTo>
                    <a:lnTo>
                      <a:pt x="23" y="172"/>
                    </a:lnTo>
                    <a:lnTo>
                      <a:pt x="23" y="174"/>
                    </a:lnTo>
                    <a:lnTo>
                      <a:pt x="25" y="174"/>
                    </a:lnTo>
                    <a:lnTo>
                      <a:pt x="25" y="174"/>
                    </a:lnTo>
                    <a:lnTo>
                      <a:pt x="26" y="175"/>
                    </a:lnTo>
                    <a:lnTo>
                      <a:pt x="27" y="175"/>
                    </a:lnTo>
                    <a:lnTo>
                      <a:pt x="27" y="177"/>
                    </a:lnTo>
                    <a:lnTo>
                      <a:pt x="29" y="177"/>
                    </a:lnTo>
                    <a:lnTo>
                      <a:pt x="29" y="177"/>
                    </a:lnTo>
                    <a:lnTo>
                      <a:pt x="30" y="177"/>
                    </a:lnTo>
                    <a:lnTo>
                      <a:pt x="30" y="177"/>
                    </a:lnTo>
                    <a:lnTo>
                      <a:pt x="32" y="177"/>
                    </a:lnTo>
                    <a:lnTo>
                      <a:pt x="32" y="177"/>
                    </a:lnTo>
                    <a:lnTo>
                      <a:pt x="33" y="177"/>
                    </a:lnTo>
                    <a:lnTo>
                      <a:pt x="35" y="177"/>
                    </a:lnTo>
                    <a:lnTo>
                      <a:pt x="35" y="178"/>
                    </a:lnTo>
                    <a:lnTo>
                      <a:pt x="35" y="178"/>
                    </a:lnTo>
                    <a:lnTo>
                      <a:pt x="35" y="178"/>
                    </a:lnTo>
                    <a:lnTo>
                      <a:pt x="35" y="180"/>
                    </a:lnTo>
                    <a:lnTo>
                      <a:pt x="35" y="181"/>
                    </a:lnTo>
                    <a:lnTo>
                      <a:pt x="35" y="183"/>
                    </a:lnTo>
                    <a:lnTo>
                      <a:pt x="35" y="184"/>
                    </a:lnTo>
                    <a:lnTo>
                      <a:pt x="35" y="184"/>
                    </a:lnTo>
                    <a:lnTo>
                      <a:pt x="35" y="185"/>
                    </a:lnTo>
                    <a:lnTo>
                      <a:pt x="35" y="185"/>
                    </a:lnTo>
                    <a:lnTo>
                      <a:pt x="35" y="187"/>
                    </a:lnTo>
                    <a:lnTo>
                      <a:pt x="33" y="187"/>
                    </a:lnTo>
                    <a:lnTo>
                      <a:pt x="33" y="187"/>
                    </a:lnTo>
                    <a:lnTo>
                      <a:pt x="33" y="188"/>
                    </a:lnTo>
                    <a:lnTo>
                      <a:pt x="33" y="188"/>
                    </a:lnTo>
                    <a:lnTo>
                      <a:pt x="33" y="190"/>
                    </a:lnTo>
                    <a:lnTo>
                      <a:pt x="35" y="190"/>
                    </a:lnTo>
                    <a:lnTo>
                      <a:pt x="35" y="190"/>
                    </a:lnTo>
                    <a:lnTo>
                      <a:pt x="36" y="193"/>
                    </a:lnTo>
                    <a:lnTo>
                      <a:pt x="36" y="193"/>
                    </a:lnTo>
                    <a:lnTo>
                      <a:pt x="36" y="194"/>
                    </a:lnTo>
                    <a:lnTo>
                      <a:pt x="37" y="194"/>
                    </a:lnTo>
                    <a:lnTo>
                      <a:pt x="37" y="194"/>
                    </a:lnTo>
                    <a:lnTo>
                      <a:pt x="39" y="194"/>
                    </a:lnTo>
                    <a:lnTo>
                      <a:pt x="39" y="194"/>
                    </a:lnTo>
                    <a:lnTo>
                      <a:pt x="39" y="195"/>
                    </a:lnTo>
                    <a:lnTo>
                      <a:pt x="40" y="194"/>
                    </a:lnTo>
                    <a:lnTo>
                      <a:pt x="40" y="194"/>
                    </a:lnTo>
                    <a:lnTo>
                      <a:pt x="40" y="194"/>
                    </a:lnTo>
                    <a:lnTo>
                      <a:pt x="40" y="194"/>
                    </a:lnTo>
                    <a:lnTo>
                      <a:pt x="42" y="194"/>
                    </a:lnTo>
                    <a:lnTo>
                      <a:pt x="42" y="194"/>
                    </a:lnTo>
                    <a:lnTo>
                      <a:pt x="42" y="194"/>
                    </a:lnTo>
                    <a:lnTo>
                      <a:pt x="43" y="194"/>
                    </a:lnTo>
                    <a:lnTo>
                      <a:pt x="43" y="195"/>
                    </a:lnTo>
                    <a:lnTo>
                      <a:pt x="43" y="195"/>
                    </a:lnTo>
                    <a:lnTo>
                      <a:pt x="45" y="197"/>
                    </a:lnTo>
                    <a:lnTo>
                      <a:pt x="43" y="198"/>
                    </a:lnTo>
                    <a:lnTo>
                      <a:pt x="43" y="198"/>
                    </a:lnTo>
                    <a:lnTo>
                      <a:pt x="45" y="200"/>
                    </a:lnTo>
                    <a:lnTo>
                      <a:pt x="45" y="201"/>
                    </a:lnTo>
                    <a:lnTo>
                      <a:pt x="45" y="201"/>
                    </a:lnTo>
                    <a:lnTo>
                      <a:pt x="46" y="203"/>
                    </a:lnTo>
                    <a:lnTo>
                      <a:pt x="48" y="206"/>
                    </a:lnTo>
                    <a:lnTo>
                      <a:pt x="48" y="207"/>
                    </a:lnTo>
                    <a:lnTo>
                      <a:pt x="49" y="208"/>
                    </a:lnTo>
                    <a:lnTo>
                      <a:pt x="50" y="211"/>
                    </a:lnTo>
                    <a:lnTo>
                      <a:pt x="50" y="213"/>
                    </a:lnTo>
                    <a:lnTo>
                      <a:pt x="50" y="214"/>
                    </a:lnTo>
                    <a:lnTo>
                      <a:pt x="50" y="214"/>
                    </a:lnTo>
                    <a:lnTo>
                      <a:pt x="50" y="214"/>
                    </a:lnTo>
                    <a:lnTo>
                      <a:pt x="50" y="216"/>
                    </a:lnTo>
                    <a:lnTo>
                      <a:pt x="49" y="216"/>
                    </a:lnTo>
                    <a:lnTo>
                      <a:pt x="49" y="218"/>
                    </a:lnTo>
                    <a:lnTo>
                      <a:pt x="50" y="218"/>
                    </a:lnTo>
                    <a:lnTo>
                      <a:pt x="50" y="218"/>
                    </a:lnTo>
                    <a:lnTo>
                      <a:pt x="50" y="218"/>
                    </a:lnTo>
                    <a:lnTo>
                      <a:pt x="50" y="218"/>
                    </a:lnTo>
                    <a:lnTo>
                      <a:pt x="50" y="218"/>
                    </a:lnTo>
                    <a:lnTo>
                      <a:pt x="50" y="218"/>
                    </a:lnTo>
                    <a:lnTo>
                      <a:pt x="50" y="218"/>
                    </a:lnTo>
                    <a:lnTo>
                      <a:pt x="50" y="220"/>
                    </a:lnTo>
                    <a:lnTo>
                      <a:pt x="50" y="220"/>
                    </a:lnTo>
                    <a:lnTo>
                      <a:pt x="50" y="220"/>
                    </a:lnTo>
                    <a:lnTo>
                      <a:pt x="50" y="220"/>
                    </a:lnTo>
                    <a:lnTo>
                      <a:pt x="50" y="220"/>
                    </a:lnTo>
                    <a:lnTo>
                      <a:pt x="50" y="220"/>
                    </a:lnTo>
                    <a:lnTo>
                      <a:pt x="49" y="220"/>
                    </a:lnTo>
                    <a:lnTo>
                      <a:pt x="49" y="220"/>
                    </a:lnTo>
                    <a:lnTo>
                      <a:pt x="48" y="221"/>
                    </a:lnTo>
                    <a:lnTo>
                      <a:pt x="48" y="221"/>
                    </a:lnTo>
                    <a:lnTo>
                      <a:pt x="48" y="221"/>
                    </a:lnTo>
                    <a:lnTo>
                      <a:pt x="46" y="223"/>
                    </a:lnTo>
                    <a:lnTo>
                      <a:pt x="46" y="223"/>
                    </a:lnTo>
                    <a:lnTo>
                      <a:pt x="46" y="223"/>
                    </a:lnTo>
                    <a:lnTo>
                      <a:pt x="46" y="223"/>
                    </a:lnTo>
                    <a:lnTo>
                      <a:pt x="45" y="223"/>
                    </a:lnTo>
                    <a:lnTo>
                      <a:pt x="45" y="223"/>
                    </a:lnTo>
                    <a:lnTo>
                      <a:pt x="45" y="223"/>
                    </a:lnTo>
                    <a:lnTo>
                      <a:pt x="43" y="223"/>
                    </a:lnTo>
                    <a:lnTo>
                      <a:pt x="43" y="223"/>
                    </a:lnTo>
                    <a:lnTo>
                      <a:pt x="43" y="223"/>
                    </a:lnTo>
                    <a:lnTo>
                      <a:pt x="43" y="223"/>
                    </a:lnTo>
                    <a:lnTo>
                      <a:pt x="43" y="221"/>
                    </a:lnTo>
                    <a:lnTo>
                      <a:pt x="42" y="221"/>
                    </a:lnTo>
                    <a:lnTo>
                      <a:pt x="42" y="221"/>
                    </a:lnTo>
                    <a:lnTo>
                      <a:pt x="42" y="221"/>
                    </a:lnTo>
                    <a:lnTo>
                      <a:pt x="42" y="221"/>
                    </a:lnTo>
                    <a:lnTo>
                      <a:pt x="42" y="220"/>
                    </a:lnTo>
                    <a:lnTo>
                      <a:pt x="42" y="220"/>
                    </a:lnTo>
                    <a:lnTo>
                      <a:pt x="42" y="220"/>
                    </a:lnTo>
                    <a:lnTo>
                      <a:pt x="42" y="220"/>
                    </a:lnTo>
                    <a:lnTo>
                      <a:pt x="42" y="220"/>
                    </a:lnTo>
                    <a:lnTo>
                      <a:pt x="37" y="220"/>
                    </a:lnTo>
                    <a:lnTo>
                      <a:pt x="36" y="221"/>
                    </a:lnTo>
                    <a:lnTo>
                      <a:pt x="35" y="221"/>
                    </a:lnTo>
                    <a:lnTo>
                      <a:pt x="35" y="221"/>
                    </a:lnTo>
                    <a:lnTo>
                      <a:pt x="35" y="223"/>
                    </a:lnTo>
                    <a:lnTo>
                      <a:pt x="33" y="223"/>
                    </a:lnTo>
                    <a:lnTo>
                      <a:pt x="33" y="223"/>
                    </a:lnTo>
                    <a:lnTo>
                      <a:pt x="33" y="224"/>
                    </a:lnTo>
                    <a:lnTo>
                      <a:pt x="32" y="224"/>
                    </a:lnTo>
                    <a:lnTo>
                      <a:pt x="32" y="224"/>
                    </a:lnTo>
                    <a:lnTo>
                      <a:pt x="29" y="224"/>
                    </a:lnTo>
                    <a:lnTo>
                      <a:pt x="27" y="224"/>
                    </a:lnTo>
                    <a:lnTo>
                      <a:pt x="25" y="223"/>
                    </a:lnTo>
                    <a:lnTo>
                      <a:pt x="19" y="223"/>
                    </a:lnTo>
                    <a:lnTo>
                      <a:pt x="17" y="223"/>
                    </a:lnTo>
                    <a:lnTo>
                      <a:pt x="16" y="221"/>
                    </a:lnTo>
                    <a:lnTo>
                      <a:pt x="14" y="223"/>
                    </a:lnTo>
                    <a:lnTo>
                      <a:pt x="14" y="221"/>
                    </a:lnTo>
                    <a:lnTo>
                      <a:pt x="13" y="221"/>
                    </a:lnTo>
                    <a:lnTo>
                      <a:pt x="13" y="221"/>
                    </a:lnTo>
                    <a:lnTo>
                      <a:pt x="12" y="223"/>
                    </a:lnTo>
                    <a:lnTo>
                      <a:pt x="12" y="221"/>
                    </a:lnTo>
                    <a:lnTo>
                      <a:pt x="12" y="221"/>
                    </a:lnTo>
                    <a:lnTo>
                      <a:pt x="12" y="221"/>
                    </a:lnTo>
                    <a:lnTo>
                      <a:pt x="12" y="221"/>
                    </a:lnTo>
                    <a:lnTo>
                      <a:pt x="10" y="223"/>
                    </a:lnTo>
                    <a:lnTo>
                      <a:pt x="10" y="224"/>
                    </a:lnTo>
                    <a:lnTo>
                      <a:pt x="10" y="228"/>
                    </a:lnTo>
                    <a:lnTo>
                      <a:pt x="7" y="228"/>
                    </a:lnTo>
                    <a:lnTo>
                      <a:pt x="7" y="228"/>
                    </a:lnTo>
                    <a:lnTo>
                      <a:pt x="6" y="228"/>
                    </a:lnTo>
                    <a:lnTo>
                      <a:pt x="4" y="228"/>
                    </a:lnTo>
                    <a:lnTo>
                      <a:pt x="3" y="228"/>
                    </a:lnTo>
                    <a:lnTo>
                      <a:pt x="3" y="228"/>
                    </a:lnTo>
                    <a:lnTo>
                      <a:pt x="2" y="230"/>
                    </a:lnTo>
                    <a:lnTo>
                      <a:pt x="0" y="230"/>
                    </a:lnTo>
                    <a:lnTo>
                      <a:pt x="0" y="233"/>
                    </a:lnTo>
                    <a:lnTo>
                      <a:pt x="2" y="234"/>
                    </a:lnTo>
                    <a:lnTo>
                      <a:pt x="2" y="234"/>
                    </a:lnTo>
                    <a:lnTo>
                      <a:pt x="4" y="234"/>
                    </a:lnTo>
                    <a:lnTo>
                      <a:pt x="6" y="233"/>
                    </a:lnTo>
                    <a:lnTo>
                      <a:pt x="9" y="231"/>
                    </a:lnTo>
                    <a:lnTo>
                      <a:pt x="10" y="230"/>
                    </a:lnTo>
                    <a:lnTo>
                      <a:pt x="7" y="233"/>
                    </a:lnTo>
                    <a:lnTo>
                      <a:pt x="6" y="234"/>
                    </a:lnTo>
                    <a:lnTo>
                      <a:pt x="4" y="236"/>
                    </a:lnTo>
                    <a:lnTo>
                      <a:pt x="4" y="237"/>
                    </a:lnTo>
                    <a:lnTo>
                      <a:pt x="7" y="240"/>
                    </a:lnTo>
                    <a:lnTo>
                      <a:pt x="9" y="243"/>
                    </a:lnTo>
                    <a:lnTo>
                      <a:pt x="10" y="244"/>
                    </a:lnTo>
                    <a:lnTo>
                      <a:pt x="13" y="247"/>
                    </a:lnTo>
                    <a:lnTo>
                      <a:pt x="19" y="249"/>
                    </a:lnTo>
                    <a:lnTo>
                      <a:pt x="23" y="251"/>
                    </a:lnTo>
                    <a:lnTo>
                      <a:pt x="27" y="251"/>
                    </a:lnTo>
                    <a:lnTo>
                      <a:pt x="29" y="250"/>
                    </a:lnTo>
                    <a:lnTo>
                      <a:pt x="33" y="249"/>
                    </a:lnTo>
                    <a:lnTo>
                      <a:pt x="35" y="247"/>
                    </a:lnTo>
                    <a:lnTo>
                      <a:pt x="36" y="247"/>
                    </a:lnTo>
                    <a:lnTo>
                      <a:pt x="37" y="247"/>
                    </a:lnTo>
                    <a:lnTo>
                      <a:pt x="39" y="247"/>
                    </a:lnTo>
                    <a:lnTo>
                      <a:pt x="39" y="247"/>
                    </a:lnTo>
                    <a:lnTo>
                      <a:pt x="39" y="246"/>
                    </a:lnTo>
                    <a:lnTo>
                      <a:pt x="40" y="246"/>
                    </a:lnTo>
                    <a:lnTo>
                      <a:pt x="40" y="246"/>
                    </a:lnTo>
                    <a:lnTo>
                      <a:pt x="42" y="246"/>
                    </a:lnTo>
                    <a:lnTo>
                      <a:pt x="40" y="246"/>
                    </a:lnTo>
                    <a:lnTo>
                      <a:pt x="40" y="247"/>
                    </a:lnTo>
                    <a:lnTo>
                      <a:pt x="39" y="249"/>
                    </a:lnTo>
                    <a:lnTo>
                      <a:pt x="37" y="251"/>
                    </a:lnTo>
                    <a:lnTo>
                      <a:pt x="36" y="253"/>
                    </a:lnTo>
                    <a:lnTo>
                      <a:pt x="35" y="254"/>
                    </a:lnTo>
                    <a:lnTo>
                      <a:pt x="33" y="256"/>
                    </a:lnTo>
                    <a:lnTo>
                      <a:pt x="27" y="257"/>
                    </a:lnTo>
                    <a:lnTo>
                      <a:pt x="22" y="260"/>
                    </a:lnTo>
                    <a:lnTo>
                      <a:pt x="19" y="260"/>
                    </a:lnTo>
                    <a:lnTo>
                      <a:pt x="19" y="259"/>
                    </a:lnTo>
                    <a:lnTo>
                      <a:pt x="17" y="257"/>
                    </a:lnTo>
                    <a:lnTo>
                      <a:pt x="16" y="257"/>
                    </a:lnTo>
                    <a:lnTo>
                      <a:pt x="14" y="259"/>
                    </a:lnTo>
                    <a:lnTo>
                      <a:pt x="14" y="260"/>
                    </a:lnTo>
                    <a:lnTo>
                      <a:pt x="16" y="263"/>
                    </a:lnTo>
                    <a:lnTo>
                      <a:pt x="17" y="264"/>
                    </a:lnTo>
                    <a:lnTo>
                      <a:pt x="35" y="283"/>
                    </a:lnTo>
                    <a:lnTo>
                      <a:pt x="39" y="286"/>
                    </a:lnTo>
                    <a:lnTo>
                      <a:pt x="42" y="287"/>
                    </a:lnTo>
                    <a:lnTo>
                      <a:pt x="46" y="289"/>
                    </a:lnTo>
                    <a:lnTo>
                      <a:pt x="50" y="289"/>
                    </a:lnTo>
                    <a:lnTo>
                      <a:pt x="56" y="287"/>
                    </a:lnTo>
                    <a:lnTo>
                      <a:pt x="65" y="283"/>
                    </a:lnTo>
                    <a:lnTo>
                      <a:pt x="69" y="280"/>
                    </a:lnTo>
                    <a:lnTo>
                      <a:pt x="72" y="276"/>
                    </a:lnTo>
                    <a:lnTo>
                      <a:pt x="72" y="272"/>
                    </a:lnTo>
                    <a:lnTo>
                      <a:pt x="68" y="269"/>
                    </a:lnTo>
                    <a:lnTo>
                      <a:pt x="72" y="264"/>
                    </a:lnTo>
                    <a:lnTo>
                      <a:pt x="73" y="262"/>
                    </a:lnTo>
                    <a:lnTo>
                      <a:pt x="70" y="260"/>
                    </a:lnTo>
                    <a:lnTo>
                      <a:pt x="76" y="260"/>
                    </a:lnTo>
                    <a:lnTo>
                      <a:pt x="79" y="260"/>
                    </a:lnTo>
                    <a:lnTo>
                      <a:pt x="82" y="262"/>
                    </a:lnTo>
                    <a:lnTo>
                      <a:pt x="79" y="262"/>
                    </a:lnTo>
                    <a:lnTo>
                      <a:pt x="78" y="262"/>
                    </a:lnTo>
                    <a:lnTo>
                      <a:pt x="78" y="263"/>
                    </a:lnTo>
                    <a:lnTo>
                      <a:pt x="76" y="264"/>
                    </a:lnTo>
                    <a:lnTo>
                      <a:pt x="78" y="266"/>
                    </a:lnTo>
                    <a:lnTo>
                      <a:pt x="78" y="266"/>
                    </a:lnTo>
                    <a:lnTo>
                      <a:pt x="81" y="266"/>
                    </a:lnTo>
                    <a:lnTo>
                      <a:pt x="79" y="267"/>
                    </a:lnTo>
                    <a:lnTo>
                      <a:pt x="78" y="269"/>
                    </a:lnTo>
                    <a:lnTo>
                      <a:pt x="78" y="270"/>
                    </a:lnTo>
                    <a:lnTo>
                      <a:pt x="78" y="272"/>
                    </a:lnTo>
                    <a:lnTo>
                      <a:pt x="82" y="272"/>
                    </a:lnTo>
                    <a:lnTo>
                      <a:pt x="85" y="272"/>
                    </a:lnTo>
                    <a:lnTo>
                      <a:pt x="88" y="270"/>
                    </a:lnTo>
                    <a:lnTo>
                      <a:pt x="81" y="274"/>
                    </a:lnTo>
                    <a:lnTo>
                      <a:pt x="78" y="276"/>
                    </a:lnTo>
                    <a:lnTo>
                      <a:pt x="79" y="276"/>
                    </a:lnTo>
                    <a:lnTo>
                      <a:pt x="81" y="276"/>
                    </a:lnTo>
                    <a:lnTo>
                      <a:pt x="81" y="276"/>
                    </a:lnTo>
                    <a:lnTo>
                      <a:pt x="79" y="277"/>
                    </a:lnTo>
                    <a:lnTo>
                      <a:pt x="79" y="280"/>
                    </a:lnTo>
                    <a:lnTo>
                      <a:pt x="82" y="283"/>
                    </a:lnTo>
                    <a:lnTo>
                      <a:pt x="83" y="287"/>
                    </a:lnTo>
                    <a:lnTo>
                      <a:pt x="83" y="290"/>
                    </a:lnTo>
                    <a:lnTo>
                      <a:pt x="82" y="295"/>
                    </a:lnTo>
                    <a:lnTo>
                      <a:pt x="81" y="303"/>
                    </a:lnTo>
                    <a:lnTo>
                      <a:pt x="79" y="306"/>
                    </a:lnTo>
                    <a:lnTo>
                      <a:pt x="81" y="309"/>
                    </a:lnTo>
                    <a:lnTo>
                      <a:pt x="81" y="312"/>
                    </a:lnTo>
                    <a:lnTo>
                      <a:pt x="81" y="313"/>
                    </a:lnTo>
                    <a:lnTo>
                      <a:pt x="81" y="313"/>
                    </a:lnTo>
                    <a:lnTo>
                      <a:pt x="81" y="313"/>
                    </a:lnTo>
                    <a:lnTo>
                      <a:pt x="82" y="315"/>
                    </a:lnTo>
                    <a:lnTo>
                      <a:pt x="82" y="316"/>
                    </a:lnTo>
                    <a:lnTo>
                      <a:pt x="83" y="316"/>
                    </a:lnTo>
                    <a:lnTo>
                      <a:pt x="85" y="316"/>
                    </a:lnTo>
                    <a:lnTo>
                      <a:pt x="82" y="316"/>
                    </a:lnTo>
                    <a:lnTo>
                      <a:pt x="82" y="318"/>
                    </a:lnTo>
                    <a:lnTo>
                      <a:pt x="82" y="320"/>
                    </a:lnTo>
                    <a:lnTo>
                      <a:pt x="82" y="322"/>
                    </a:lnTo>
                    <a:lnTo>
                      <a:pt x="83" y="322"/>
                    </a:lnTo>
                    <a:lnTo>
                      <a:pt x="83" y="320"/>
                    </a:lnTo>
                    <a:lnTo>
                      <a:pt x="85" y="320"/>
                    </a:lnTo>
                    <a:lnTo>
                      <a:pt x="85" y="319"/>
                    </a:lnTo>
                    <a:lnTo>
                      <a:pt x="85" y="322"/>
                    </a:lnTo>
                    <a:lnTo>
                      <a:pt x="85" y="323"/>
                    </a:lnTo>
                    <a:lnTo>
                      <a:pt x="83" y="325"/>
                    </a:lnTo>
                    <a:lnTo>
                      <a:pt x="83" y="326"/>
                    </a:lnTo>
                    <a:lnTo>
                      <a:pt x="83" y="329"/>
                    </a:lnTo>
                    <a:lnTo>
                      <a:pt x="91" y="369"/>
                    </a:lnTo>
                    <a:lnTo>
                      <a:pt x="92" y="372"/>
                    </a:lnTo>
                    <a:lnTo>
                      <a:pt x="95" y="378"/>
                    </a:lnTo>
                    <a:lnTo>
                      <a:pt x="96" y="382"/>
                    </a:lnTo>
                    <a:lnTo>
                      <a:pt x="99" y="384"/>
                    </a:lnTo>
                    <a:lnTo>
                      <a:pt x="99" y="385"/>
                    </a:lnTo>
                    <a:lnTo>
                      <a:pt x="99" y="387"/>
                    </a:lnTo>
                    <a:lnTo>
                      <a:pt x="102" y="388"/>
                    </a:lnTo>
                    <a:lnTo>
                      <a:pt x="101" y="388"/>
                    </a:lnTo>
                    <a:lnTo>
                      <a:pt x="99" y="388"/>
                    </a:lnTo>
                    <a:lnTo>
                      <a:pt x="99" y="388"/>
                    </a:lnTo>
                    <a:lnTo>
                      <a:pt x="101" y="389"/>
                    </a:lnTo>
                    <a:lnTo>
                      <a:pt x="101" y="391"/>
                    </a:lnTo>
                    <a:lnTo>
                      <a:pt x="102" y="394"/>
                    </a:lnTo>
                    <a:lnTo>
                      <a:pt x="102" y="395"/>
                    </a:lnTo>
                    <a:lnTo>
                      <a:pt x="104" y="397"/>
                    </a:lnTo>
                    <a:lnTo>
                      <a:pt x="106" y="401"/>
                    </a:lnTo>
                    <a:lnTo>
                      <a:pt x="108" y="402"/>
                    </a:lnTo>
                    <a:lnTo>
                      <a:pt x="109" y="405"/>
                    </a:lnTo>
                    <a:lnTo>
                      <a:pt x="119" y="441"/>
                    </a:lnTo>
                    <a:lnTo>
                      <a:pt x="121" y="444"/>
                    </a:lnTo>
                    <a:lnTo>
                      <a:pt x="124" y="447"/>
                    </a:lnTo>
                    <a:lnTo>
                      <a:pt x="129" y="456"/>
                    </a:lnTo>
                    <a:lnTo>
                      <a:pt x="134" y="461"/>
                    </a:lnTo>
                    <a:lnTo>
                      <a:pt x="141" y="481"/>
                    </a:lnTo>
                    <a:lnTo>
                      <a:pt x="145" y="489"/>
                    </a:lnTo>
                    <a:lnTo>
                      <a:pt x="145" y="492"/>
                    </a:lnTo>
                    <a:lnTo>
                      <a:pt x="145" y="494"/>
                    </a:lnTo>
                    <a:lnTo>
                      <a:pt x="144" y="489"/>
                    </a:lnTo>
                    <a:lnTo>
                      <a:pt x="142" y="487"/>
                    </a:lnTo>
                    <a:lnTo>
                      <a:pt x="144" y="496"/>
                    </a:lnTo>
                    <a:lnTo>
                      <a:pt x="145" y="500"/>
                    </a:lnTo>
                    <a:lnTo>
                      <a:pt x="147" y="504"/>
                    </a:lnTo>
                    <a:lnTo>
                      <a:pt x="149" y="509"/>
                    </a:lnTo>
                    <a:lnTo>
                      <a:pt x="154" y="513"/>
                    </a:lnTo>
                    <a:lnTo>
                      <a:pt x="160" y="517"/>
                    </a:lnTo>
                    <a:lnTo>
                      <a:pt x="164" y="520"/>
                    </a:lnTo>
                    <a:lnTo>
                      <a:pt x="167" y="519"/>
                    </a:lnTo>
                    <a:lnTo>
                      <a:pt x="168" y="519"/>
                    </a:lnTo>
                    <a:lnTo>
                      <a:pt x="171" y="516"/>
                    </a:lnTo>
                    <a:lnTo>
                      <a:pt x="174" y="515"/>
                    </a:lnTo>
                    <a:lnTo>
                      <a:pt x="175" y="513"/>
                    </a:lnTo>
                    <a:lnTo>
                      <a:pt x="175" y="510"/>
                    </a:lnTo>
                    <a:lnTo>
                      <a:pt x="175" y="507"/>
                    </a:lnTo>
                    <a:lnTo>
                      <a:pt x="177" y="506"/>
                    </a:lnTo>
                    <a:lnTo>
                      <a:pt x="181" y="502"/>
                    </a:lnTo>
                    <a:lnTo>
                      <a:pt x="187" y="500"/>
                    </a:lnTo>
                    <a:lnTo>
                      <a:pt x="193" y="499"/>
                    </a:lnTo>
                    <a:lnTo>
                      <a:pt x="198" y="500"/>
                    </a:lnTo>
                    <a:lnTo>
                      <a:pt x="195" y="499"/>
                    </a:lnTo>
                    <a:lnTo>
                      <a:pt x="193" y="497"/>
                    </a:lnTo>
                    <a:lnTo>
                      <a:pt x="190" y="496"/>
                    </a:lnTo>
                    <a:lnTo>
                      <a:pt x="190" y="493"/>
                    </a:lnTo>
                    <a:lnTo>
                      <a:pt x="191" y="492"/>
                    </a:lnTo>
                    <a:lnTo>
                      <a:pt x="194" y="487"/>
                    </a:lnTo>
                    <a:lnTo>
                      <a:pt x="194" y="486"/>
                    </a:lnTo>
                    <a:lnTo>
                      <a:pt x="195" y="484"/>
                    </a:lnTo>
                    <a:lnTo>
                      <a:pt x="195" y="483"/>
                    </a:lnTo>
                    <a:lnTo>
                      <a:pt x="195" y="481"/>
                    </a:lnTo>
                    <a:lnTo>
                      <a:pt x="197" y="480"/>
                    </a:lnTo>
                    <a:lnTo>
                      <a:pt x="201" y="480"/>
                    </a:lnTo>
                    <a:lnTo>
                      <a:pt x="203" y="480"/>
                    </a:lnTo>
                    <a:lnTo>
                      <a:pt x="205" y="479"/>
                    </a:lnTo>
                    <a:lnTo>
                      <a:pt x="205" y="476"/>
                    </a:lnTo>
                    <a:lnTo>
                      <a:pt x="205" y="467"/>
                    </a:lnTo>
                    <a:lnTo>
                      <a:pt x="205" y="463"/>
                    </a:lnTo>
                    <a:lnTo>
                      <a:pt x="203" y="463"/>
                    </a:lnTo>
                    <a:lnTo>
                      <a:pt x="204" y="460"/>
                    </a:lnTo>
                    <a:lnTo>
                      <a:pt x="204" y="457"/>
                    </a:lnTo>
                    <a:lnTo>
                      <a:pt x="205" y="453"/>
                    </a:lnTo>
                    <a:lnTo>
                      <a:pt x="205" y="450"/>
                    </a:lnTo>
                    <a:lnTo>
                      <a:pt x="207" y="448"/>
                    </a:lnTo>
                    <a:lnTo>
                      <a:pt x="211" y="441"/>
                    </a:lnTo>
                    <a:lnTo>
                      <a:pt x="213" y="438"/>
                    </a:lnTo>
                    <a:lnTo>
                      <a:pt x="213" y="434"/>
                    </a:lnTo>
                    <a:lnTo>
                      <a:pt x="214" y="431"/>
                    </a:lnTo>
                    <a:lnTo>
                      <a:pt x="214" y="427"/>
                    </a:lnTo>
                    <a:lnTo>
                      <a:pt x="213" y="425"/>
                    </a:lnTo>
                    <a:lnTo>
                      <a:pt x="211" y="423"/>
                    </a:lnTo>
                    <a:lnTo>
                      <a:pt x="210" y="421"/>
                    </a:lnTo>
                    <a:lnTo>
                      <a:pt x="211" y="418"/>
                    </a:lnTo>
                    <a:lnTo>
                      <a:pt x="211" y="420"/>
                    </a:lnTo>
                    <a:lnTo>
                      <a:pt x="214" y="423"/>
                    </a:lnTo>
                    <a:lnTo>
                      <a:pt x="213" y="421"/>
                    </a:lnTo>
                    <a:lnTo>
                      <a:pt x="211" y="411"/>
                    </a:lnTo>
                    <a:lnTo>
                      <a:pt x="211" y="410"/>
                    </a:lnTo>
                    <a:lnTo>
                      <a:pt x="211" y="405"/>
                    </a:lnTo>
                    <a:lnTo>
                      <a:pt x="211" y="400"/>
                    </a:lnTo>
                    <a:lnTo>
                      <a:pt x="210" y="395"/>
                    </a:lnTo>
                    <a:lnTo>
                      <a:pt x="210" y="391"/>
                    </a:lnTo>
                    <a:lnTo>
                      <a:pt x="213" y="385"/>
                    </a:lnTo>
                    <a:lnTo>
                      <a:pt x="214" y="382"/>
                    </a:lnTo>
                    <a:lnTo>
                      <a:pt x="216" y="381"/>
                    </a:lnTo>
                    <a:lnTo>
                      <a:pt x="217" y="379"/>
                    </a:lnTo>
                    <a:lnTo>
                      <a:pt x="220" y="379"/>
                    </a:lnTo>
                    <a:lnTo>
                      <a:pt x="221" y="379"/>
                    </a:lnTo>
                    <a:lnTo>
                      <a:pt x="223" y="381"/>
                    </a:lnTo>
                    <a:lnTo>
                      <a:pt x="226" y="382"/>
                    </a:lnTo>
                    <a:lnTo>
                      <a:pt x="226" y="381"/>
                    </a:lnTo>
                    <a:lnTo>
                      <a:pt x="227" y="379"/>
                    </a:lnTo>
                    <a:lnTo>
                      <a:pt x="228" y="377"/>
                    </a:lnTo>
                    <a:lnTo>
                      <a:pt x="230" y="374"/>
                    </a:lnTo>
                    <a:lnTo>
                      <a:pt x="231" y="372"/>
                    </a:lnTo>
                    <a:lnTo>
                      <a:pt x="233" y="371"/>
                    </a:lnTo>
                    <a:lnTo>
                      <a:pt x="240" y="371"/>
                    </a:lnTo>
                    <a:lnTo>
                      <a:pt x="244" y="369"/>
                    </a:lnTo>
                    <a:lnTo>
                      <a:pt x="249" y="366"/>
                    </a:lnTo>
                    <a:lnTo>
                      <a:pt x="250" y="364"/>
                    </a:lnTo>
                    <a:lnTo>
                      <a:pt x="250" y="361"/>
                    </a:lnTo>
                    <a:lnTo>
                      <a:pt x="249" y="361"/>
                    </a:lnTo>
                    <a:lnTo>
                      <a:pt x="249" y="359"/>
                    </a:lnTo>
                    <a:lnTo>
                      <a:pt x="250" y="358"/>
                    </a:lnTo>
                    <a:lnTo>
                      <a:pt x="251" y="355"/>
                    </a:lnTo>
                    <a:lnTo>
                      <a:pt x="254" y="354"/>
                    </a:lnTo>
                    <a:lnTo>
                      <a:pt x="260" y="351"/>
                    </a:lnTo>
                    <a:lnTo>
                      <a:pt x="264" y="348"/>
                    </a:lnTo>
                    <a:lnTo>
                      <a:pt x="270" y="341"/>
                    </a:lnTo>
                    <a:lnTo>
                      <a:pt x="279" y="335"/>
                    </a:lnTo>
                    <a:lnTo>
                      <a:pt x="283" y="332"/>
                    </a:lnTo>
                    <a:lnTo>
                      <a:pt x="287" y="328"/>
                    </a:lnTo>
                    <a:lnTo>
                      <a:pt x="293" y="319"/>
                    </a:lnTo>
                    <a:lnTo>
                      <a:pt x="296" y="316"/>
                    </a:lnTo>
                    <a:lnTo>
                      <a:pt x="299" y="313"/>
                    </a:lnTo>
                    <a:lnTo>
                      <a:pt x="303" y="312"/>
                    </a:lnTo>
                    <a:lnTo>
                      <a:pt x="303" y="310"/>
                    </a:lnTo>
                    <a:lnTo>
                      <a:pt x="303" y="310"/>
                    </a:lnTo>
                    <a:lnTo>
                      <a:pt x="303" y="309"/>
                    </a:lnTo>
                    <a:lnTo>
                      <a:pt x="303" y="310"/>
                    </a:lnTo>
                    <a:lnTo>
                      <a:pt x="302" y="309"/>
                    </a:lnTo>
                    <a:lnTo>
                      <a:pt x="302" y="310"/>
                    </a:lnTo>
                    <a:lnTo>
                      <a:pt x="300" y="310"/>
                    </a:lnTo>
                    <a:lnTo>
                      <a:pt x="300" y="310"/>
                    </a:lnTo>
                    <a:lnTo>
                      <a:pt x="299" y="310"/>
                    </a:lnTo>
                    <a:lnTo>
                      <a:pt x="299" y="309"/>
                    </a:lnTo>
                    <a:lnTo>
                      <a:pt x="300" y="308"/>
                    </a:lnTo>
                    <a:lnTo>
                      <a:pt x="302" y="306"/>
                    </a:lnTo>
                    <a:lnTo>
                      <a:pt x="303" y="306"/>
                    </a:lnTo>
                    <a:lnTo>
                      <a:pt x="305" y="306"/>
                    </a:lnTo>
                    <a:lnTo>
                      <a:pt x="306" y="306"/>
                    </a:lnTo>
                    <a:lnTo>
                      <a:pt x="306" y="308"/>
                    </a:lnTo>
                    <a:lnTo>
                      <a:pt x="305" y="309"/>
                    </a:lnTo>
                    <a:lnTo>
                      <a:pt x="309" y="309"/>
                    </a:lnTo>
                    <a:lnTo>
                      <a:pt x="313" y="308"/>
                    </a:lnTo>
                    <a:lnTo>
                      <a:pt x="317" y="305"/>
                    </a:lnTo>
                    <a:lnTo>
                      <a:pt x="317" y="302"/>
                    </a:lnTo>
                    <a:lnTo>
                      <a:pt x="320" y="302"/>
                    </a:lnTo>
                    <a:lnTo>
                      <a:pt x="323" y="300"/>
                    </a:lnTo>
                    <a:lnTo>
                      <a:pt x="326" y="296"/>
                    </a:lnTo>
                    <a:lnTo>
                      <a:pt x="330" y="290"/>
                    </a:lnTo>
                    <a:lnTo>
                      <a:pt x="330" y="289"/>
                    </a:lnTo>
                    <a:lnTo>
                      <a:pt x="330" y="287"/>
                    </a:lnTo>
                    <a:lnTo>
                      <a:pt x="329" y="283"/>
                    </a:lnTo>
                    <a:lnTo>
                      <a:pt x="329" y="280"/>
                    </a:lnTo>
                    <a:lnTo>
                      <a:pt x="329" y="279"/>
                    </a:lnTo>
                    <a:lnTo>
                      <a:pt x="333" y="276"/>
                    </a:lnTo>
                    <a:lnTo>
                      <a:pt x="338" y="273"/>
                    </a:lnTo>
                    <a:lnTo>
                      <a:pt x="342" y="273"/>
                    </a:lnTo>
                    <a:lnTo>
                      <a:pt x="346" y="270"/>
                    </a:lnTo>
                    <a:lnTo>
                      <a:pt x="348" y="269"/>
                    </a:lnTo>
                    <a:lnTo>
                      <a:pt x="349" y="267"/>
                    </a:lnTo>
                    <a:lnTo>
                      <a:pt x="351" y="266"/>
                    </a:lnTo>
                    <a:lnTo>
                      <a:pt x="351" y="264"/>
                    </a:lnTo>
                    <a:lnTo>
                      <a:pt x="351" y="263"/>
                    </a:lnTo>
                    <a:lnTo>
                      <a:pt x="349" y="262"/>
                    </a:lnTo>
                    <a:lnTo>
                      <a:pt x="348" y="260"/>
                    </a:lnTo>
                    <a:lnTo>
                      <a:pt x="348" y="259"/>
                    </a:lnTo>
                    <a:lnTo>
                      <a:pt x="349" y="260"/>
                    </a:lnTo>
                    <a:lnTo>
                      <a:pt x="349" y="260"/>
                    </a:lnTo>
                    <a:lnTo>
                      <a:pt x="351" y="262"/>
                    </a:lnTo>
                    <a:lnTo>
                      <a:pt x="352" y="262"/>
                    </a:lnTo>
                    <a:lnTo>
                      <a:pt x="352" y="263"/>
                    </a:lnTo>
                    <a:lnTo>
                      <a:pt x="352" y="264"/>
                    </a:lnTo>
                    <a:lnTo>
                      <a:pt x="351" y="267"/>
                    </a:lnTo>
                    <a:lnTo>
                      <a:pt x="351" y="270"/>
                    </a:lnTo>
                    <a:lnTo>
                      <a:pt x="351" y="272"/>
                    </a:lnTo>
                    <a:lnTo>
                      <a:pt x="351" y="273"/>
                    </a:lnTo>
                    <a:lnTo>
                      <a:pt x="352" y="273"/>
                    </a:lnTo>
                    <a:lnTo>
                      <a:pt x="353" y="273"/>
                    </a:lnTo>
                    <a:lnTo>
                      <a:pt x="353" y="272"/>
                    </a:lnTo>
                    <a:lnTo>
                      <a:pt x="353" y="270"/>
                    </a:lnTo>
                    <a:lnTo>
                      <a:pt x="355" y="272"/>
                    </a:lnTo>
                    <a:lnTo>
                      <a:pt x="356" y="273"/>
                    </a:lnTo>
                    <a:lnTo>
                      <a:pt x="358" y="273"/>
                    </a:lnTo>
                    <a:lnTo>
                      <a:pt x="359" y="272"/>
                    </a:lnTo>
                    <a:lnTo>
                      <a:pt x="359" y="270"/>
                    </a:lnTo>
                    <a:lnTo>
                      <a:pt x="361" y="263"/>
                    </a:lnTo>
                    <a:lnTo>
                      <a:pt x="362" y="266"/>
                    </a:lnTo>
                    <a:lnTo>
                      <a:pt x="361" y="270"/>
                    </a:lnTo>
                    <a:lnTo>
                      <a:pt x="362" y="273"/>
                    </a:lnTo>
                    <a:lnTo>
                      <a:pt x="362" y="273"/>
                    </a:lnTo>
                    <a:lnTo>
                      <a:pt x="363" y="272"/>
                    </a:lnTo>
                    <a:lnTo>
                      <a:pt x="363" y="272"/>
                    </a:lnTo>
                    <a:lnTo>
                      <a:pt x="363" y="270"/>
                    </a:lnTo>
                    <a:lnTo>
                      <a:pt x="365" y="272"/>
                    </a:lnTo>
                    <a:lnTo>
                      <a:pt x="365" y="272"/>
                    </a:lnTo>
                    <a:lnTo>
                      <a:pt x="366" y="272"/>
                    </a:lnTo>
                    <a:lnTo>
                      <a:pt x="368" y="272"/>
                    </a:lnTo>
                    <a:lnTo>
                      <a:pt x="368" y="270"/>
                    </a:lnTo>
                    <a:lnTo>
                      <a:pt x="366" y="269"/>
                    </a:lnTo>
                    <a:lnTo>
                      <a:pt x="366" y="267"/>
                    </a:lnTo>
                    <a:lnTo>
                      <a:pt x="365" y="267"/>
                    </a:lnTo>
                    <a:lnTo>
                      <a:pt x="366" y="266"/>
                    </a:lnTo>
                    <a:lnTo>
                      <a:pt x="368" y="266"/>
                    </a:lnTo>
                    <a:lnTo>
                      <a:pt x="368" y="264"/>
                    </a:lnTo>
                    <a:lnTo>
                      <a:pt x="368" y="264"/>
                    </a:lnTo>
                    <a:lnTo>
                      <a:pt x="368" y="262"/>
                    </a:lnTo>
                    <a:lnTo>
                      <a:pt x="368" y="260"/>
                    </a:lnTo>
                    <a:lnTo>
                      <a:pt x="365" y="254"/>
                    </a:lnTo>
                    <a:lnTo>
                      <a:pt x="365" y="253"/>
                    </a:lnTo>
                    <a:lnTo>
                      <a:pt x="365" y="250"/>
                    </a:lnTo>
                    <a:lnTo>
                      <a:pt x="365" y="250"/>
                    </a:lnTo>
                    <a:lnTo>
                      <a:pt x="365" y="249"/>
                    </a:lnTo>
                    <a:lnTo>
                      <a:pt x="365" y="247"/>
                    </a:lnTo>
                    <a:lnTo>
                      <a:pt x="363" y="247"/>
                    </a:lnTo>
                    <a:lnTo>
                      <a:pt x="363" y="246"/>
                    </a:lnTo>
                    <a:lnTo>
                      <a:pt x="365" y="243"/>
                    </a:lnTo>
                    <a:lnTo>
                      <a:pt x="362" y="241"/>
                    </a:lnTo>
                    <a:lnTo>
                      <a:pt x="362" y="241"/>
                    </a:lnTo>
                    <a:lnTo>
                      <a:pt x="361" y="240"/>
                    </a:lnTo>
                    <a:lnTo>
                      <a:pt x="362" y="239"/>
                    </a:lnTo>
                    <a:lnTo>
                      <a:pt x="361" y="237"/>
                    </a:lnTo>
                    <a:lnTo>
                      <a:pt x="361" y="236"/>
                    </a:lnTo>
                    <a:lnTo>
                      <a:pt x="359" y="236"/>
                    </a:lnTo>
                    <a:lnTo>
                      <a:pt x="359" y="234"/>
                    </a:lnTo>
                    <a:lnTo>
                      <a:pt x="359" y="234"/>
                    </a:lnTo>
                    <a:lnTo>
                      <a:pt x="361" y="228"/>
                    </a:lnTo>
                    <a:lnTo>
                      <a:pt x="361" y="227"/>
                    </a:lnTo>
                    <a:lnTo>
                      <a:pt x="362" y="224"/>
                    </a:lnTo>
                    <a:lnTo>
                      <a:pt x="362" y="223"/>
                    </a:lnTo>
                    <a:lnTo>
                      <a:pt x="361" y="221"/>
                    </a:lnTo>
                    <a:lnTo>
                      <a:pt x="359" y="221"/>
                    </a:lnTo>
                    <a:lnTo>
                      <a:pt x="358" y="221"/>
                    </a:lnTo>
                    <a:lnTo>
                      <a:pt x="356" y="220"/>
                    </a:lnTo>
                    <a:lnTo>
                      <a:pt x="356" y="220"/>
                    </a:lnTo>
                    <a:lnTo>
                      <a:pt x="355" y="220"/>
                    </a:lnTo>
                    <a:lnTo>
                      <a:pt x="355" y="218"/>
                    </a:lnTo>
                    <a:lnTo>
                      <a:pt x="355" y="218"/>
                    </a:lnTo>
                    <a:lnTo>
                      <a:pt x="353" y="218"/>
                    </a:lnTo>
                    <a:lnTo>
                      <a:pt x="353" y="218"/>
                    </a:lnTo>
                    <a:lnTo>
                      <a:pt x="353" y="218"/>
                    </a:lnTo>
                    <a:lnTo>
                      <a:pt x="352" y="218"/>
                    </a:lnTo>
                    <a:lnTo>
                      <a:pt x="351" y="217"/>
                    </a:lnTo>
                    <a:lnTo>
                      <a:pt x="351" y="217"/>
                    </a:lnTo>
                    <a:lnTo>
                      <a:pt x="349" y="216"/>
                    </a:lnTo>
                    <a:lnTo>
                      <a:pt x="349" y="216"/>
                    </a:lnTo>
                    <a:lnTo>
                      <a:pt x="349" y="214"/>
                    </a:lnTo>
                    <a:lnTo>
                      <a:pt x="349" y="214"/>
                    </a:lnTo>
                    <a:lnTo>
                      <a:pt x="352" y="210"/>
                    </a:lnTo>
                    <a:lnTo>
                      <a:pt x="353" y="210"/>
                    </a:lnTo>
                    <a:lnTo>
                      <a:pt x="355" y="210"/>
                    </a:lnTo>
                    <a:lnTo>
                      <a:pt x="355" y="208"/>
                    </a:lnTo>
                    <a:lnTo>
                      <a:pt x="356" y="207"/>
                    </a:lnTo>
                    <a:lnTo>
                      <a:pt x="356" y="206"/>
                    </a:lnTo>
                    <a:lnTo>
                      <a:pt x="358" y="204"/>
                    </a:lnTo>
                    <a:lnTo>
                      <a:pt x="359" y="204"/>
                    </a:lnTo>
                    <a:lnTo>
                      <a:pt x="362" y="204"/>
                    </a:lnTo>
                    <a:lnTo>
                      <a:pt x="362" y="204"/>
                    </a:lnTo>
                    <a:lnTo>
                      <a:pt x="363" y="204"/>
                    </a:lnTo>
                    <a:lnTo>
                      <a:pt x="363" y="204"/>
                    </a:lnTo>
                    <a:lnTo>
                      <a:pt x="365" y="204"/>
                    </a:lnTo>
                    <a:lnTo>
                      <a:pt x="365" y="204"/>
                    </a:lnTo>
                    <a:lnTo>
                      <a:pt x="365" y="204"/>
                    </a:lnTo>
                    <a:lnTo>
                      <a:pt x="365" y="203"/>
                    </a:lnTo>
                    <a:lnTo>
                      <a:pt x="365" y="203"/>
                    </a:lnTo>
                    <a:lnTo>
                      <a:pt x="365" y="203"/>
                    </a:lnTo>
                    <a:lnTo>
                      <a:pt x="365" y="203"/>
                    </a:lnTo>
                    <a:lnTo>
                      <a:pt x="365" y="203"/>
                    </a:lnTo>
                    <a:lnTo>
                      <a:pt x="365" y="201"/>
                    </a:lnTo>
                    <a:lnTo>
                      <a:pt x="363" y="201"/>
                    </a:lnTo>
                    <a:lnTo>
                      <a:pt x="363" y="201"/>
                    </a:lnTo>
                    <a:lnTo>
                      <a:pt x="363" y="200"/>
                    </a:lnTo>
                    <a:lnTo>
                      <a:pt x="362" y="198"/>
                    </a:lnTo>
                    <a:lnTo>
                      <a:pt x="361" y="198"/>
                    </a:lnTo>
                    <a:lnTo>
                      <a:pt x="361" y="198"/>
                    </a:lnTo>
                    <a:lnTo>
                      <a:pt x="359" y="198"/>
                    </a:lnTo>
                    <a:lnTo>
                      <a:pt x="358" y="197"/>
                    </a:lnTo>
                    <a:lnTo>
                      <a:pt x="356" y="197"/>
                    </a:lnTo>
                    <a:lnTo>
                      <a:pt x="355" y="194"/>
                    </a:lnTo>
                    <a:lnTo>
                      <a:pt x="355" y="194"/>
                    </a:lnTo>
                    <a:lnTo>
                      <a:pt x="353" y="193"/>
                    </a:lnTo>
                    <a:lnTo>
                      <a:pt x="353" y="193"/>
                    </a:lnTo>
                    <a:lnTo>
                      <a:pt x="352" y="193"/>
                    </a:lnTo>
                    <a:lnTo>
                      <a:pt x="352" y="193"/>
                    </a:lnTo>
                    <a:lnTo>
                      <a:pt x="351" y="191"/>
                    </a:lnTo>
                    <a:lnTo>
                      <a:pt x="351" y="191"/>
                    </a:lnTo>
                    <a:lnTo>
                      <a:pt x="351" y="188"/>
                    </a:lnTo>
                    <a:lnTo>
                      <a:pt x="352" y="187"/>
                    </a:lnTo>
                    <a:lnTo>
                      <a:pt x="352" y="185"/>
                    </a:lnTo>
                    <a:lnTo>
                      <a:pt x="353" y="184"/>
                    </a:lnTo>
                    <a:lnTo>
                      <a:pt x="355" y="184"/>
                    </a:lnTo>
                    <a:lnTo>
                      <a:pt x="355" y="183"/>
                    </a:lnTo>
                    <a:lnTo>
                      <a:pt x="356" y="181"/>
                    </a:lnTo>
                    <a:lnTo>
                      <a:pt x="356" y="181"/>
                    </a:lnTo>
                    <a:lnTo>
                      <a:pt x="356" y="181"/>
                    </a:lnTo>
                    <a:lnTo>
                      <a:pt x="356" y="181"/>
                    </a:lnTo>
                    <a:lnTo>
                      <a:pt x="356" y="180"/>
                    </a:lnTo>
                    <a:lnTo>
                      <a:pt x="356" y="180"/>
                    </a:lnTo>
                    <a:lnTo>
                      <a:pt x="356" y="180"/>
                    </a:lnTo>
                    <a:lnTo>
                      <a:pt x="356" y="180"/>
                    </a:lnTo>
                    <a:lnTo>
                      <a:pt x="356" y="180"/>
                    </a:lnTo>
                    <a:lnTo>
                      <a:pt x="356" y="180"/>
                    </a:lnTo>
                    <a:lnTo>
                      <a:pt x="355" y="180"/>
                    </a:lnTo>
                    <a:lnTo>
                      <a:pt x="355" y="178"/>
                    </a:lnTo>
                    <a:lnTo>
                      <a:pt x="355" y="178"/>
                    </a:lnTo>
                    <a:lnTo>
                      <a:pt x="355" y="178"/>
                    </a:lnTo>
                    <a:lnTo>
                      <a:pt x="355" y="178"/>
                    </a:lnTo>
                    <a:lnTo>
                      <a:pt x="356" y="177"/>
                    </a:lnTo>
                    <a:lnTo>
                      <a:pt x="356" y="177"/>
                    </a:lnTo>
                    <a:lnTo>
                      <a:pt x="358" y="178"/>
                    </a:lnTo>
                    <a:lnTo>
                      <a:pt x="358" y="178"/>
                    </a:lnTo>
                    <a:lnTo>
                      <a:pt x="359" y="180"/>
                    </a:lnTo>
                    <a:lnTo>
                      <a:pt x="359" y="180"/>
                    </a:lnTo>
                    <a:lnTo>
                      <a:pt x="361" y="181"/>
                    </a:lnTo>
                    <a:lnTo>
                      <a:pt x="361" y="181"/>
                    </a:lnTo>
                    <a:lnTo>
                      <a:pt x="361" y="183"/>
                    </a:lnTo>
                    <a:lnTo>
                      <a:pt x="361" y="183"/>
                    </a:lnTo>
                    <a:lnTo>
                      <a:pt x="361" y="183"/>
                    </a:lnTo>
                    <a:lnTo>
                      <a:pt x="362" y="183"/>
                    </a:lnTo>
                    <a:lnTo>
                      <a:pt x="362" y="183"/>
                    </a:lnTo>
                    <a:lnTo>
                      <a:pt x="362" y="183"/>
                    </a:lnTo>
                    <a:lnTo>
                      <a:pt x="363" y="184"/>
                    </a:lnTo>
                    <a:lnTo>
                      <a:pt x="365" y="184"/>
                    </a:lnTo>
                    <a:lnTo>
                      <a:pt x="366" y="183"/>
                    </a:lnTo>
                    <a:lnTo>
                      <a:pt x="366" y="183"/>
                    </a:lnTo>
                    <a:lnTo>
                      <a:pt x="366" y="183"/>
                    </a:lnTo>
                    <a:lnTo>
                      <a:pt x="365" y="181"/>
                    </a:lnTo>
                    <a:lnTo>
                      <a:pt x="365" y="181"/>
                    </a:lnTo>
                    <a:lnTo>
                      <a:pt x="365" y="181"/>
                    </a:lnTo>
                    <a:lnTo>
                      <a:pt x="366" y="181"/>
                    </a:lnTo>
                    <a:lnTo>
                      <a:pt x="366" y="180"/>
                    </a:lnTo>
                    <a:lnTo>
                      <a:pt x="366" y="180"/>
                    </a:lnTo>
                    <a:lnTo>
                      <a:pt x="366" y="180"/>
                    </a:lnTo>
                    <a:lnTo>
                      <a:pt x="366" y="181"/>
                    </a:lnTo>
                    <a:lnTo>
                      <a:pt x="366" y="181"/>
                    </a:lnTo>
                    <a:lnTo>
                      <a:pt x="368" y="181"/>
                    </a:lnTo>
                    <a:lnTo>
                      <a:pt x="368" y="181"/>
                    </a:lnTo>
                    <a:lnTo>
                      <a:pt x="368" y="181"/>
                    </a:lnTo>
                    <a:lnTo>
                      <a:pt x="368" y="183"/>
                    </a:lnTo>
                    <a:lnTo>
                      <a:pt x="368" y="183"/>
                    </a:lnTo>
                    <a:lnTo>
                      <a:pt x="368" y="184"/>
                    </a:lnTo>
                    <a:lnTo>
                      <a:pt x="368" y="184"/>
                    </a:lnTo>
                    <a:lnTo>
                      <a:pt x="369" y="187"/>
                    </a:lnTo>
                    <a:lnTo>
                      <a:pt x="372" y="188"/>
                    </a:lnTo>
                    <a:lnTo>
                      <a:pt x="374" y="188"/>
                    </a:lnTo>
                    <a:lnTo>
                      <a:pt x="375" y="188"/>
                    </a:lnTo>
                    <a:lnTo>
                      <a:pt x="376" y="188"/>
                    </a:lnTo>
                    <a:lnTo>
                      <a:pt x="376" y="188"/>
                    </a:lnTo>
                    <a:lnTo>
                      <a:pt x="376" y="187"/>
                    </a:lnTo>
                    <a:lnTo>
                      <a:pt x="376" y="185"/>
                    </a:lnTo>
                    <a:lnTo>
                      <a:pt x="376" y="185"/>
                    </a:lnTo>
                    <a:lnTo>
                      <a:pt x="376" y="185"/>
                    </a:lnTo>
                    <a:lnTo>
                      <a:pt x="376" y="184"/>
                    </a:lnTo>
                    <a:lnTo>
                      <a:pt x="378" y="184"/>
                    </a:lnTo>
                    <a:lnTo>
                      <a:pt x="378" y="184"/>
                    </a:lnTo>
                    <a:lnTo>
                      <a:pt x="379" y="185"/>
                    </a:lnTo>
                    <a:lnTo>
                      <a:pt x="381" y="190"/>
                    </a:lnTo>
                    <a:lnTo>
                      <a:pt x="381" y="191"/>
                    </a:lnTo>
                    <a:lnTo>
                      <a:pt x="381" y="191"/>
                    </a:lnTo>
                    <a:lnTo>
                      <a:pt x="381" y="193"/>
                    </a:lnTo>
                    <a:lnTo>
                      <a:pt x="381" y="194"/>
                    </a:lnTo>
                    <a:lnTo>
                      <a:pt x="381" y="194"/>
                    </a:lnTo>
                    <a:lnTo>
                      <a:pt x="381" y="195"/>
                    </a:lnTo>
                    <a:lnTo>
                      <a:pt x="381" y="197"/>
                    </a:lnTo>
                    <a:lnTo>
                      <a:pt x="381" y="198"/>
                    </a:lnTo>
                    <a:lnTo>
                      <a:pt x="381" y="198"/>
                    </a:lnTo>
                    <a:lnTo>
                      <a:pt x="381" y="200"/>
                    </a:lnTo>
                    <a:lnTo>
                      <a:pt x="381" y="201"/>
                    </a:lnTo>
                    <a:lnTo>
                      <a:pt x="381" y="201"/>
                    </a:lnTo>
                    <a:lnTo>
                      <a:pt x="382" y="203"/>
                    </a:lnTo>
                    <a:lnTo>
                      <a:pt x="386" y="204"/>
                    </a:lnTo>
                    <a:lnTo>
                      <a:pt x="388" y="204"/>
                    </a:lnTo>
                    <a:lnTo>
                      <a:pt x="389" y="204"/>
                    </a:lnTo>
                    <a:lnTo>
                      <a:pt x="391" y="204"/>
                    </a:lnTo>
                    <a:lnTo>
                      <a:pt x="392" y="206"/>
                    </a:lnTo>
                    <a:lnTo>
                      <a:pt x="392" y="206"/>
                    </a:lnTo>
                    <a:lnTo>
                      <a:pt x="394" y="204"/>
                    </a:lnTo>
                    <a:lnTo>
                      <a:pt x="395" y="204"/>
                    </a:lnTo>
                    <a:lnTo>
                      <a:pt x="395" y="204"/>
                    </a:lnTo>
                    <a:lnTo>
                      <a:pt x="396" y="206"/>
                    </a:lnTo>
                    <a:lnTo>
                      <a:pt x="398" y="206"/>
                    </a:lnTo>
                    <a:lnTo>
                      <a:pt x="399" y="204"/>
                    </a:lnTo>
                    <a:lnTo>
                      <a:pt x="402" y="204"/>
                    </a:lnTo>
                    <a:lnTo>
                      <a:pt x="407" y="204"/>
                    </a:lnTo>
                    <a:lnTo>
                      <a:pt x="408" y="204"/>
                    </a:lnTo>
                    <a:lnTo>
                      <a:pt x="408" y="206"/>
                    </a:lnTo>
                    <a:lnTo>
                      <a:pt x="409" y="206"/>
                    </a:lnTo>
                    <a:lnTo>
                      <a:pt x="411" y="206"/>
                    </a:lnTo>
                    <a:lnTo>
                      <a:pt x="411" y="206"/>
                    </a:lnTo>
                    <a:lnTo>
                      <a:pt x="412" y="206"/>
                    </a:lnTo>
                    <a:lnTo>
                      <a:pt x="415" y="206"/>
                    </a:lnTo>
                    <a:lnTo>
                      <a:pt x="418" y="206"/>
                    </a:lnTo>
                    <a:lnTo>
                      <a:pt x="421" y="206"/>
                    </a:lnTo>
                    <a:lnTo>
                      <a:pt x="424" y="207"/>
                    </a:lnTo>
                    <a:lnTo>
                      <a:pt x="427" y="208"/>
                    </a:lnTo>
                    <a:lnTo>
                      <a:pt x="427" y="208"/>
                    </a:lnTo>
                    <a:lnTo>
                      <a:pt x="427" y="208"/>
                    </a:lnTo>
                    <a:lnTo>
                      <a:pt x="428" y="210"/>
                    </a:lnTo>
                    <a:lnTo>
                      <a:pt x="428" y="210"/>
                    </a:lnTo>
                    <a:lnTo>
                      <a:pt x="428" y="210"/>
                    </a:lnTo>
                    <a:lnTo>
                      <a:pt x="427" y="211"/>
                    </a:lnTo>
                    <a:lnTo>
                      <a:pt x="427" y="211"/>
                    </a:lnTo>
                    <a:lnTo>
                      <a:pt x="427" y="211"/>
                    </a:lnTo>
                    <a:lnTo>
                      <a:pt x="425" y="210"/>
                    </a:lnTo>
                    <a:lnTo>
                      <a:pt x="424" y="210"/>
                    </a:lnTo>
                    <a:lnTo>
                      <a:pt x="424" y="210"/>
                    </a:lnTo>
                    <a:lnTo>
                      <a:pt x="424" y="211"/>
                    </a:lnTo>
                    <a:lnTo>
                      <a:pt x="424" y="211"/>
                    </a:lnTo>
                    <a:lnTo>
                      <a:pt x="424" y="211"/>
                    </a:lnTo>
                    <a:lnTo>
                      <a:pt x="424" y="213"/>
                    </a:lnTo>
                    <a:lnTo>
                      <a:pt x="424" y="213"/>
                    </a:lnTo>
                    <a:lnTo>
                      <a:pt x="421" y="218"/>
                    </a:lnTo>
                    <a:lnTo>
                      <a:pt x="421" y="218"/>
                    </a:lnTo>
                    <a:lnTo>
                      <a:pt x="421" y="220"/>
                    </a:lnTo>
                    <a:lnTo>
                      <a:pt x="421" y="220"/>
                    </a:lnTo>
                    <a:lnTo>
                      <a:pt x="421" y="220"/>
                    </a:lnTo>
                    <a:lnTo>
                      <a:pt x="421" y="220"/>
                    </a:lnTo>
                    <a:lnTo>
                      <a:pt x="421" y="220"/>
                    </a:lnTo>
                    <a:lnTo>
                      <a:pt x="421" y="220"/>
                    </a:lnTo>
                    <a:lnTo>
                      <a:pt x="419" y="220"/>
                    </a:lnTo>
                    <a:lnTo>
                      <a:pt x="419" y="220"/>
                    </a:lnTo>
                    <a:lnTo>
                      <a:pt x="419" y="220"/>
                    </a:lnTo>
                    <a:lnTo>
                      <a:pt x="418" y="220"/>
                    </a:lnTo>
                    <a:lnTo>
                      <a:pt x="418" y="221"/>
                    </a:lnTo>
                    <a:lnTo>
                      <a:pt x="418" y="221"/>
                    </a:lnTo>
                    <a:lnTo>
                      <a:pt x="417" y="223"/>
                    </a:lnTo>
                    <a:lnTo>
                      <a:pt x="417" y="224"/>
                    </a:lnTo>
                    <a:lnTo>
                      <a:pt x="417" y="224"/>
                    </a:lnTo>
                    <a:lnTo>
                      <a:pt x="415" y="223"/>
                    </a:lnTo>
                    <a:lnTo>
                      <a:pt x="415" y="223"/>
                    </a:lnTo>
                    <a:lnTo>
                      <a:pt x="415" y="223"/>
                    </a:lnTo>
                    <a:lnTo>
                      <a:pt x="414" y="224"/>
                    </a:lnTo>
                    <a:lnTo>
                      <a:pt x="414" y="224"/>
                    </a:lnTo>
                    <a:lnTo>
                      <a:pt x="414" y="224"/>
                    </a:lnTo>
                    <a:lnTo>
                      <a:pt x="414" y="224"/>
                    </a:lnTo>
                    <a:lnTo>
                      <a:pt x="412" y="224"/>
                    </a:lnTo>
                    <a:lnTo>
                      <a:pt x="412" y="224"/>
                    </a:lnTo>
                    <a:lnTo>
                      <a:pt x="412" y="224"/>
                    </a:lnTo>
                    <a:lnTo>
                      <a:pt x="412" y="224"/>
                    </a:lnTo>
                    <a:lnTo>
                      <a:pt x="412" y="226"/>
                    </a:lnTo>
                    <a:lnTo>
                      <a:pt x="409" y="226"/>
                    </a:lnTo>
                    <a:lnTo>
                      <a:pt x="408" y="226"/>
                    </a:lnTo>
                    <a:lnTo>
                      <a:pt x="408" y="227"/>
                    </a:lnTo>
                    <a:lnTo>
                      <a:pt x="405" y="228"/>
                    </a:lnTo>
                    <a:lnTo>
                      <a:pt x="405" y="231"/>
                    </a:lnTo>
                    <a:lnTo>
                      <a:pt x="405" y="234"/>
                    </a:lnTo>
                    <a:lnTo>
                      <a:pt x="405" y="236"/>
                    </a:lnTo>
                    <a:lnTo>
                      <a:pt x="407" y="240"/>
                    </a:lnTo>
                    <a:lnTo>
                      <a:pt x="407" y="241"/>
                    </a:lnTo>
                    <a:lnTo>
                      <a:pt x="407" y="243"/>
                    </a:lnTo>
                    <a:lnTo>
                      <a:pt x="407" y="243"/>
                    </a:lnTo>
                    <a:lnTo>
                      <a:pt x="407" y="244"/>
                    </a:lnTo>
                    <a:lnTo>
                      <a:pt x="408" y="244"/>
                    </a:lnTo>
                    <a:lnTo>
                      <a:pt x="408" y="244"/>
                    </a:lnTo>
                    <a:lnTo>
                      <a:pt x="408" y="246"/>
                    </a:lnTo>
                    <a:lnTo>
                      <a:pt x="408" y="246"/>
                    </a:lnTo>
                    <a:lnTo>
                      <a:pt x="408" y="246"/>
                    </a:lnTo>
                    <a:lnTo>
                      <a:pt x="408" y="243"/>
                    </a:lnTo>
                    <a:lnTo>
                      <a:pt x="409" y="243"/>
                    </a:lnTo>
                    <a:lnTo>
                      <a:pt x="409" y="243"/>
                    </a:lnTo>
                    <a:lnTo>
                      <a:pt x="411" y="244"/>
                    </a:lnTo>
                    <a:lnTo>
                      <a:pt x="411" y="246"/>
                    </a:lnTo>
                    <a:lnTo>
                      <a:pt x="411" y="246"/>
                    </a:lnTo>
                    <a:lnTo>
                      <a:pt x="411" y="246"/>
                    </a:lnTo>
                    <a:lnTo>
                      <a:pt x="411" y="247"/>
                    </a:lnTo>
                    <a:lnTo>
                      <a:pt x="412" y="247"/>
                    </a:lnTo>
                    <a:lnTo>
                      <a:pt x="414" y="246"/>
                    </a:lnTo>
                    <a:lnTo>
                      <a:pt x="415" y="246"/>
                    </a:lnTo>
                    <a:lnTo>
                      <a:pt x="415" y="244"/>
                    </a:lnTo>
                    <a:lnTo>
                      <a:pt x="415" y="243"/>
                    </a:lnTo>
                    <a:lnTo>
                      <a:pt x="415" y="241"/>
                    </a:lnTo>
                    <a:lnTo>
                      <a:pt x="415" y="241"/>
                    </a:lnTo>
                    <a:lnTo>
                      <a:pt x="415" y="241"/>
                    </a:lnTo>
                    <a:lnTo>
                      <a:pt x="415" y="240"/>
                    </a:lnTo>
                    <a:lnTo>
                      <a:pt x="415" y="240"/>
                    </a:lnTo>
                    <a:lnTo>
                      <a:pt x="415" y="240"/>
                    </a:lnTo>
                    <a:lnTo>
                      <a:pt x="417" y="239"/>
                    </a:lnTo>
                    <a:lnTo>
                      <a:pt x="417" y="239"/>
                    </a:lnTo>
                    <a:lnTo>
                      <a:pt x="418" y="237"/>
                    </a:lnTo>
                    <a:lnTo>
                      <a:pt x="418" y="237"/>
                    </a:lnTo>
                    <a:lnTo>
                      <a:pt x="418" y="236"/>
                    </a:lnTo>
                    <a:lnTo>
                      <a:pt x="418" y="236"/>
                    </a:lnTo>
                    <a:lnTo>
                      <a:pt x="418" y="236"/>
                    </a:lnTo>
                    <a:lnTo>
                      <a:pt x="418" y="236"/>
                    </a:lnTo>
                    <a:lnTo>
                      <a:pt x="418" y="233"/>
                    </a:lnTo>
                    <a:lnTo>
                      <a:pt x="418" y="233"/>
                    </a:lnTo>
                    <a:lnTo>
                      <a:pt x="419" y="233"/>
                    </a:lnTo>
                    <a:lnTo>
                      <a:pt x="419" y="233"/>
                    </a:lnTo>
                    <a:lnTo>
                      <a:pt x="419" y="233"/>
                    </a:lnTo>
                    <a:lnTo>
                      <a:pt x="421" y="233"/>
                    </a:lnTo>
                    <a:lnTo>
                      <a:pt x="422" y="233"/>
                    </a:lnTo>
                    <a:lnTo>
                      <a:pt x="424" y="234"/>
                    </a:lnTo>
                    <a:lnTo>
                      <a:pt x="424" y="236"/>
                    </a:lnTo>
                    <a:lnTo>
                      <a:pt x="425" y="239"/>
                    </a:lnTo>
                    <a:lnTo>
                      <a:pt x="425" y="240"/>
                    </a:lnTo>
                    <a:lnTo>
                      <a:pt x="425" y="241"/>
                    </a:lnTo>
                    <a:lnTo>
                      <a:pt x="425" y="241"/>
                    </a:lnTo>
                    <a:lnTo>
                      <a:pt x="425" y="246"/>
                    </a:lnTo>
                    <a:lnTo>
                      <a:pt x="425" y="247"/>
                    </a:lnTo>
                    <a:lnTo>
                      <a:pt x="427" y="249"/>
                    </a:lnTo>
                    <a:lnTo>
                      <a:pt x="427" y="249"/>
                    </a:lnTo>
                    <a:lnTo>
                      <a:pt x="427" y="250"/>
                    </a:lnTo>
                    <a:lnTo>
                      <a:pt x="427" y="250"/>
                    </a:lnTo>
                    <a:lnTo>
                      <a:pt x="428" y="251"/>
                    </a:lnTo>
                    <a:lnTo>
                      <a:pt x="428" y="251"/>
                    </a:lnTo>
                    <a:lnTo>
                      <a:pt x="428" y="253"/>
                    </a:lnTo>
                    <a:lnTo>
                      <a:pt x="428" y="253"/>
                    </a:lnTo>
                    <a:lnTo>
                      <a:pt x="428" y="254"/>
                    </a:lnTo>
                    <a:lnTo>
                      <a:pt x="428" y="256"/>
                    </a:lnTo>
                    <a:lnTo>
                      <a:pt x="428" y="257"/>
                    </a:lnTo>
                    <a:lnTo>
                      <a:pt x="428" y="260"/>
                    </a:lnTo>
                    <a:lnTo>
                      <a:pt x="430" y="266"/>
                    </a:lnTo>
                    <a:lnTo>
                      <a:pt x="431" y="266"/>
                    </a:lnTo>
                    <a:lnTo>
                      <a:pt x="431" y="264"/>
                    </a:lnTo>
                    <a:lnTo>
                      <a:pt x="431" y="263"/>
                    </a:lnTo>
                    <a:lnTo>
                      <a:pt x="432" y="263"/>
                    </a:lnTo>
                    <a:lnTo>
                      <a:pt x="432" y="263"/>
                    </a:lnTo>
                    <a:lnTo>
                      <a:pt x="432" y="263"/>
                    </a:lnTo>
                    <a:lnTo>
                      <a:pt x="434" y="264"/>
                    </a:lnTo>
                    <a:lnTo>
                      <a:pt x="434" y="264"/>
                    </a:lnTo>
                    <a:lnTo>
                      <a:pt x="435" y="266"/>
                    </a:lnTo>
                    <a:lnTo>
                      <a:pt x="435" y="266"/>
                    </a:lnTo>
                    <a:lnTo>
                      <a:pt x="437" y="266"/>
                    </a:lnTo>
                    <a:lnTo>
                      <a:pt x="437" y="264"/>
                    </a:lnTo>
                    <a:lnTo>
                      <a:pt x="437" y="263"/>
                    </a:lnTo>
                    <a:lnTo>
                      <a:pt x="438" y="262"/>
                    </a:lnTo>
                    <a:lnTo>
                      <a:pt x="438" y="262"/>
                    </a:lnTo>
                    <a:lnTo>
                      <a:pt x="438" y="262"/>
                    </a:lnTo>
                    <a:lnTo>
                      <a:pt x="438" y="262"/>
                    </a:lnTo>
                    <a:lnTo>
                      <a:pt x="440" y="262"/>
                    </a:lnTo>
                    <a:lnTo>
                      <a:pt x="440" y="262"/>
                    </a:lnTo>
                    <a:lnTo>
                      <a:pt x="440" y="260"/>
                    </a:lnTo>
                    <a:lnTo>
                      <a:pt x="440" y="259"/>
                    </a:lnTo>
                    <a:lnTo>
                      <a:pt x="440" y="259"/>
                    </a:lnTo>
                    <a:lnTo>
                      <a:pt x="440" y="257"/>
                    </a:lnTo>
                    <a:lnTo>
                      <a:pt x="438" y="256"/>
                    </a:lnTo>
                    <a:lnTo>
                      <a:pt x="438" y="254"/>
                    </a:lnTo>
                    <a:lnTo>
                      <a:pt x="438" y="251"/>
                    </a:lnTo>
                    <a:lnTo>
                      <a:pt x="438" y="250"/>
                    </a:lnTo>
                    <a:lnTo>
                      <a:pt x="440" y="249"/>
                    </a:lnTo>
                    <a:lnTo>
                      <a:pt x="440" y="249"/>
                    </a:lnTo>
                    <a:lnTo>
                      <a:pt x="440" y="247"/>
                    </a:lnTo>
                    <a:lnTo>
                      <a:pt x="440" y="246"/>
                    </a:lnTo>
                    <a:lnTo>
                      <a:pt x="440" y="246"/>
                    </a:lnTo>
                    <a:lnTo>
                      <a:pt x="441" y="246"/>
                    </a:lnTo>
                    <a:lnTo>
                      <a:pt x="441" y="246"/>
                    </a:lnTo>
                    <a:lnTo>
                      <a:pt x="441" y="246"/>
                    </a:lnTo>
                    <a:lnTo>
                      <a:pt x="442" y="244"/>
                    </a:lnTo>
                    <a:lnTo>
                      <a:pt x="444" y="241"/>
                    </a:lnTo>
                    <a:lnTo>
                      <a:pt x="444" y="236"/>
                    </a:lnTo>
                    <a:lnTo>
                      <a:pt x="444" y="234"/>
                    </a:lnTo>
                    <a:lnTo>
                      <a:pt x="444" y="234"/>
                    </a:lnTo>
                    <a:lnTo>
                      <a:pt x="444" y="234"/>
                    </a:lnTo>
                    <a:lnTo>
                      <a:pt x="444" y="233"/>
                    </a:lnTo>
                    <a:lnTo>
                      <a:pt x="444" y="233"/>
                    </a:lnTo>
                    <a:lnTo>
                      <a:pt x="442" y="227"/>
                    </a:lnTo>
                    <a:lnTo>
                      <a:pt x="442" y="227"/>
                    </a:lnTo>
                    <a:lnTo>
                      <a:pt x="442" y="227"/>
                    </a:lnTo>
                    <a:lnTo>
                      <a:pt x="442" y="226"/>
                    </a:lnTo>
                    <a:lnTo>
                      <a:pt x="442" y="226"/>
                    </a:lnTo>
                    <a:lnTo>
                      <a:pt x="442" y="226"/>
                    </a:lnTo>
                    <a:lnTo>
                      <a:pt x="444" y="227"/>
                    </a:lnTo>
                    <a:lnTo>
                      <a:pt x="445" y="227"/>
                    </a:lnTo>
                    <a:lnTo>
                      <a:pt x="445" y="228"/>
                    </a:lnTo>
                    <a:lnTo>
                      <a:pt x="447" y="227"/>
                    </a:lnTo>
                    <a:lnTo>
                      <a:pt x="447" y="227"/>
                    </a:lnTo>
                    <a:lnTo>
                      <a:pt x="448" y="227"/>
                    </a:lnTo>
                    <a:lnTo>
                      <a:pt x="448" y="227"/>
                    </a:lnTo>
                    <a:lnTo>
                      <a:pt x="448" y="227"/>
                    </a:lnTo>
                    <a:lnTo>
                      <a:pt x="451" y="228"/>
                    </a:lnTo>
                    <a:lnTo>
                      <a:pt x="454" y="228"/>
                    </a:lnTo>
                    <a:lnTo>
                      <a:pt x="454" y="228"/>
                    </a:lnTo>
                    <a:lnTo>
                      <a:pt x="454" y="228"/>
                    </a:lnTo>
                    <a:lnTo>
                      <a:pt x="455" y="230"/>
                    </a:lnTo>
                    <a:lnTo>
                      <a:pt x="455" y="230"/>
                    </a:lnTo>
                    <a:lnTo>
                      <a:pt x="457" y="230"/>
                    </a:lnTo>
                    <a:lnTo>
                      <a:pt x="457" y="230"/>
                    </a:lnTo>
                    <a:lnTo>
                      <a:pt x="457" y="228"/>
                    </a:lnTo>
                    <a:lnTo>
                      <a:pt x="457" y="228"/>
                    </a:lnTo>
                    <a:lnTo>
                      <a:pt x="458" y="226"/>
                    </a:lnTo>
                    <a:lnTo>
                      <a:pt x="460" y="223"/>
                    </a:lnTo>
                    <a:lnTo>
                      <a:pt x="460" y="220"/>
                    </a:lnTo>
                    <a:lnTo>
                      <a:pt x="461" y="218"/>
                    </a:lnTo>
                    <a:lnTo>
                      <a:pt x="461" y="217"/>
                    </a:lnTo>
                    <a:lnTo>
                      <a:pt x="463" y="216"/>
                    </a:lnTo>
                    <a:lnTo>
                      <a:pt x="464" y="214"/>
                    </a:lnTo>
                    <a:lnTo>
                      <a:pt x="464" y="213"/>
                    </a:lnTo>
                    <a:lnTo>
                      <a:pt x="465" y="210"/>
                    </a:lnTo>
                    <a:lnTo>
                      <a:pt x="467" y="207"/>
                    </a:lnTo>
                    <a:lnTo>
                      <a:pt x="467" y="207"/>
                    </a:lnTo>
                    <a:lnTo>
                      <a:pt x="467" y="207"/>
                    </a:lnTo>
                    <a:lnTo>
                      <a:pt x="467" y="206"/>
                    </a:lnTo>
                    <a:lnTo>
                      <a:pt x="467" y="206"/>
                    </a:lnTo>
                    <a:lnTo>
                      <a:pt x="467" y="206"/>
                    </a:lnTo>
                    <a:lnTo>
                      <a:pt x="465" y="206"/>
                    </a:lnTo>
                    <a:lnTo>
                      <a:pt x="465" y="206"/>
                    </a:lnTo>
                    <a:lnTo>
                      <a:pt x="465" y="204"/>
                    </a:lnTo>
                    <a:lnTo>
                      <a:pt x="465" y="204"/>
                    </a:lnTo>
                    <a:lnTo>
                      <a:pt x="464" y="204"/>
                    </a:lnTo>
                    <a:lnTo>
                      <a:pt x="464" y="204"/>
                    </a:lnTo>
                    <a:lnTo>
                      <a:pt x="464" y="204"/>
                    </a:lnTo>
                    <a:lnTo>
                      <a:pt x="464" y="203"/>
                    </a:lnTo>
                    <a:lnTo>
                      <a:pt x="464" y="203"/>
                    </a:lnTo>
                    <a:lnTo>
                      <a:pt x="464" y="203"/>
                    </a:lnTo>
                    <a:lnTo>
                      <a:pt x="464" y="201"/>
                    </a:lnTo>
                    <a:lnTo>
                      <a:pt x="465" y="201"/>
                    </a:lnTo>
                    <a:lnTo>
                      <a:pt x="465" y="200"/>
                    </a:lnTo>
                    <a:lnTo>
                      <a:pt x="467" y="200"/>
                    </a:lnTo>
                    <a:lnTo>
                      <a:pt x="467" y="198"/>
                    </a:lnTo>
                    <a:lnTo>
                      <a:pt x="468" y="198"/>
                    </a:lnTo>
                    <a:lnTo>
                      <a:pt x="468" y="197"/>
                    </a:lnTo>
                    <a:lnTo>
                      <a:pt x="470" y="197"/>
                    </a:lnTo>
                    <a:lnTo>
                      <a:pt x="470" y="195"/>
                    </a:lnTo>
                    <a:lnTo>
                      <a:pt x="471" y="194"/>
                    </a:lnTo>
                    <a:lnTo>
                      <a:pt x="471" y="193"/>
                    </a:lnTo>
                    <a:lnTo>
                      <a:pt x="473" y="193"/>
                    </a:lnTo>
                    <a:lnTo>
                      <a:pt x="473" y="191"/>
                    </a:lnTo>
                    <a:lnTo>
                      <a:pt x="473" y="190"/>
                    </a:lnTo>
                    <a:lnTo>
                      <a:pt x="473" y="190"/>
                    </a:lnTo>
                    <a:lnTo>
                      <a:pt x="474" y="188"/>
                    </a:lnTo>
                    <a:lnTo>
                      <a:pt x="474" y="188"/>
                    </a:lnTo>
                    <a:lnTo>
                      <a:pt x="474" y="188"/>
                    </a:lnTo>
                    <a:lnTo>
                      <a:pt x="474" y="187"/>
                    </a:lnTo>
                    <a:lnTo>
                      <a:pt x="474" y="187"/>
                    </a:lnTo>
                    <a:lnTo>
                      <a:pt x="474" y="187"/>
                    </a:lnTo>
                    <a:lnTo>
                      <a:pt x="474" y="187"/>
                    </a:lnTo>
                    <a:lnTo>
                      <a:pt x="474" y="185"/>
                    </a:lnTo>
                    <a:lnTo>
                      <a:pt x="474" y="185"/>
                    </a:lnTo>
                    <a:lnTo>
                      <a:pt x="473" y="184"/>
                    </a:lnTo>
                    <a:lnTo>
                      <a:pt x="473" y="184"/>
                    </a:lnTo>
                    <a:lnTo>
                      <a:pt x="473" y="183"/>
                    </a:lnTo>
                    <a:lnTo>
                      <a:pt x="473" y="183"/>
                    </a:lnTo>
                    <a:lnTo>
                      <a:pt x="473" y="181"/>
                    </a:lnTo>
                    <a:lnTo>
                      <a:pt x="473" y="180"/>
                    </a:lnTo>
                    <a:lnTo>
                      <a:pt x="473" y="180"/>
                    </a:lnTo>
                    <a:lnTo>
                      <a:pt x="473" y="178"/>
                    </a:lnTo>
                    <a:lnTo>
                      <a:pt x="474" y="178"/>
                    </a:lnTo>
                    <a:lnTo>
                      <a:pt x="474" y="177"/>
                    </a:lnTo>
                    <a:lnTo>
                      <a:pt x="474" y="177"/>
                    </a:lnTo>
                    <a:lnTo>
                      <a:pt x="475" y="177"/>
                    </a:lnTo>
                    <a:lnTo>
                      <a:pt x="475" y="175"/>
                    </a:lnTo>
                    <a:lnTo>
                      <a:pt x="477" y="175"/>
                    </a:lnTo>
                    <a:lnTo>
                      <a:pt x="477" y="175"/>
                    </a:lnTo>
                    <a:lnTo>
                      <a:pt x="480" y="174"/>
                    </a:lnTo>
                    <a:lnTo>
                      <a:pt x="483" y="171"/>
                    </a:lnTo>
                    <a:lnTo>
                      <a:pt x="486" y="170"/>
                    </a:lnTo>
                    <a:lnTo>
                      <a:pt x="487" y="168"/>
                    </a:lnTo>
                    <a:lnTo>
                      <a:pt x="487" y="168"/>
                    </a:lnTo>
                    <a:lnTo>
                      <a:pt x="488" y="168"/>
                    </a:lnTo>
                    <a:lnTo>
                      <a:pt x="488" y="168"/>
                    </a:lnTo>
                    <a:lnTo>
                      <a:pt x="488" y="167"/>
                    </a:lnTo>
                    <a:lnTo>
                      <a:pt x="490" y="167"/>
                    </a:lnTo>
                    <a:lnTo>
                      <a:pt x="490" y="165"/>
                    </a:lnTo>
                    <a:lnTo>
                      <a:pt x="490" y="165"/>
                    </a:lnTo>
                    <a:lnTo>
                      <a:pt x="491" y="165"/>
                    </a:lnTo>
                    <a:lnTo>
                      <a:pt x="491" y="164"/>
                    </a:lnTo>
                    <a:lnTo>
                      <a:pt x="491" y="164"/>
                    </a:lnTo>
                    <a:lnTo>
                      <a:pt x="493" y="164"/>
                    </a:lnTo>
                    <a:lnTo>
                      <a:pt x="496" y="162"/>
                    </a:lnTo>
                    <a:lnTo>
                      <a:pt x="500" y="162"/>
                    </a:lnTo>
                    <a:lnTo>
                      <a:pt x="501" y="162"/>
                    </a:lnTo>
                    <a:lnTo>
                      <a:pt x="504" y="162"/>
                    </a:lnTo>
                    <a:lnTo>
                      <a:pt x="504" y="164"/>
                    </a:lnTo>
                    <a:lnTo>
                      <a:pt x="504" y="165"/>
                    </a:lnTo>
                    <a:lnTo>
                      <a:pt x="506" y="165"/>
                    </a:lnTo>
                    <a:lnTo>
                      <a:pt x="506" y="167"/>
                    </a:lnTo>
                    <a:lnTo>
                      <a:pt x="507" y="167"/>
                    </a:lnTo>
                    <a:lnTo>
                      <a:pt x="509" y="167"/>
                    </a:lnTo>
                    <a:lnTo>
                      <a:pt x="509" y="167"/>
                    </a:lnTo>
                    <a:lnTo>
                      <a:pt x="509" y="165"/>
                    </a:lnTo>
                    <a:lnTo>
                      <a:pt x="506" y="161"/>
                    </a:lnTo>
                    <a:lnTo>
                      <a:pt x="506" y="161"/>
                    </a:lnTo>
                    <a:lnTo>
                      <a:pt x="506" y="160"/>
                    </a:lnTo>
                    <a:lnTo>
                      <a:pt x="506" y="160"/>
                    </a:lnTo>
                    <a:lnTo>
                      <a:pt x="506" y="158"/>
                    </a:lnTo>
                    <a:lnTo>
                      <a:pt x="506" y="158"/>
                    </a:lnTo>
                    <a:lnTo>
                      <a:pt x="506" y="158"/>
                    </a:lnTo>
                    <a:lnTo>
                      <a:pt x="506" y="157"/>
                    </a:lnTo>
                    <a:lnTo>
                      <a:pt x="506" y="157"/>
                    </a:lnTo>
                    <a:lnTo>
                      <a:pt x="506" y="157"/>
                    </a:lnTo>
                    <a:lnTo>
                      <a:pt x="506" y="155"/>
                    </a:lnTo>
                    <a:lnTo>
                      <a:pt x="506" y="155"/>
                    </a:lnTo>
                    <a:lnTo>
                      <a:pt x="506" y="155"/>
                    </a:lnTo>
                    <a:lnTo>
                      <a:pt x="509" y="154"/>
                    </a:lnTo>
                    <a:lnTo>
                      <a:pt x="509" y="152"/>
                    </a:lnTo>
                    <a:lnTo>
                      <a:pt x="510" y="152"/>
                    </a:lnTo>
                    <a:lnTo>
                      <a:pt x="511" y="151"/>
                    </a:lnTo>
                    <a:lnTo>
                      <a:pt x="513" y="151"/>
                    </a:lnTo>
                    <a:lnTo>
                      <a:pt x="513" y="147"/>
                    </a:lnTo>
                    <a:close/>
                    <a:moveTo>
                      <a:pt x="438" y="515"/>
                    </a:moveTo>
                    <a:lnTo>
                      <a:pt x="438" y="516"/>
                    </a:lnTo>
                    <a:lnTo>
                      <a:pt x="438" y="516"/>
                    </a:lnTo>
                    <a:lnTo>
                      <a:pt x="438" y="516"/>
                    </a:lnTo>
                    <a:lnTo>
                      <a:pt x="438" y="517"/>
                    </a:lnTo>
                    <a:lnTo>
                      <a:pt x="440" y="517"/>
                    </a:lnTo>
                    <a:lnTo>
                      <a:pt x="440" y="517"/>
                    </a:lnTo>
                    <a:lnTo>
                      <a:pt x="440" y="516"/>
                    </a:lnTo>
                    <a:lnTo>
                      <a:pt x="438" y="515"/>
                    </a:lnTo>
                    <a:close/>
                    <a:moveTo>
                      <a:pt x="451" y="535"/>
                    </a:moveTo>
                    <a:lnTo>
                      <a:pt x="448" y="536"/>
                    </a:lnTo>
                    <a:lnTo>
                      <a:pt x="448" y="539"/>
                    </a:lnTo>
                    <a:lnTo>
                      <a:pt x="450" y="540"/>
                    </a:lnTo>
                    <a:lnTo>
                      <a:pt x="451" y="543"/>
                    </a:lnTo>
                    <a:lnTo>
                      <a:pt x="452" y="540"/>
                    </a:lnTo>
                    <a:lnTo>
                      <a:pt x="452" y="538"/>
                    </a:lnTo>
                    <a:lnTo>
                      <a:pt x="451" y="535"/>
                    </a:lnTo>
                    <a:close/>
                    <a:moveTo>
                      <a:pt x="442" y="522"/>
                    </a:moveTo>
                    <a:lnTo>
                      <a:pt x="444" y="523"/>
                    </a:lnTo>
                    <a:lnTo>
                      <a:pt x="444" y="523"/>
                    </a:lnTo>
                    <a:lnTo>
                      <a:pt x="444" y="522"/>
                    </a:lnTo>
                    <a:lnTo>
                      <a:pt x="442" y="522"/>
                    </a:lnTo>
                    <a:close/>
                    <a:moveTo>
                      <a:pt x="445" y="517"/>
                    </a:moveTo>
                    <a:lnTo>
                      <a:pt x="445" y="517"/>
                    </a:lnTo>
                    <a:lnTo>
                      <a:pt x="445" y="519"/>
                    </a:lnTo>
                    <a:lnTo>
                      <a:pt x="445" y="520"/>
                    </a:lnTo>
                    <a:lnTo>
                      <a:pt x="445" y="520"/>
                    </a:lnTo>
                    <a:lnTo>
                      <a:pt x="445" y="522"/>
                    </a:lnTo>
                    <a:lnTo>
                      <a:pt x="445" y="520"/>
                    </a:lnTo>
                    <a:lnTo>
                      <a:pt x="447" y="519"/>
                    </a:lnTo>
                    <a:lnTo>
                      <a:pt x="447" y="519"/>
                    </a:lnTo>
                    <a:lnTo>
                      <a:pt x="447" y="517"/>
                    </a:lnTo>
                    <a:lnTo>
                      <a:pt x="445" y="517"/>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50" name="Freeform 146">
                <a:extLst>
                  <a:ext uri="{FF2B5EF4-FFF2-40B4-BE49-F238E27FC236}">
                    <a16:creationId xmlns:a16="http://schemas.microsoft.com/office/drawing/2014/main" id="{AA482475-A6A0-D9F0-95DB-875915995A64}"/>
                  </a:ext>
                </a:extLst>
              </p:cNvPr>
              <p:cNvSpPr>
                <a:spLocks/>
              </p:cNvSpPr>
              <p:nvPr/>
            </p:nvSpPr>
            <p:spPr bwMode="auto">
              <a:xfrm>
                <a:off x="6497578" y="3217378"/>
                <a:ext cx="43379" cy="109893"/>
              </a:xfrm>
              <a:custGeom>
                <a:avLst/>
                <a:gdLst>
                  <a:gd name="T0" fmla="*/ 30 w 30"/>
                  <a:gd name="T1" fmla="*/ 8 h 76"/>
                  <a:gd name="T2" fmla="*/ 30 w 30"/>
                  <a:gd name="T3" fmla="*/ 7 h 76"/>
                  <a:gd name="T4" fmla="*/ 30 w 30"/>
                  <a:gd name="T5" fmla="*/ 5 h 76"/>
                  <a:gd name="T6" fmla="*/ 30 w 30"/>
                  <a:gd name="T7" fmla="*/ 5 h 76"/>
                  <a:gd name="T8" fmla="*/ 28 w 30"/>
                  <a:gd name="T9" fmla="*/ 4 h 76"/>
                  <a:gd name="T10" fmla="*/ 28 w 30"/>
                  <a:gd name="T11" fmla="*/ 2 h 76"/>
                  <a:gd name="T12" fmla="*/ 28 w 30"/>
                  <a:gd name="T13" fmla="*/ 1 h 76"/>
                  <a:gd name="T14" fmla="*/ 30 w 30"/>
                  <a:gd name="T15" fmla="*/ 0 h 76"/>
                  <a:gd name="T16" fmla="*/ 28 w 30"/>
                  <a:gd name="T17" fmla="*/ 1 h 76"/>
                  <a:gd name="T18" fmla="*/ 27 w 30"/>
                  <a:gd name="T19" fmla="*/ 1 h 76"/>
                  <a:gd name="T20" fmla="*/ 24 w 30"/>
                  <a:gd name="T21" fmla="*/ 4 h 76"/>
                  <a:gd name="T22" fmla="*/ 24 w 30"/>
                  <a:gd name="T23" fmla="*/ 2 h 76"/>
                  <a:gd name="T24" fmla="*/ 23 w 30"/>
                  <a:gd name="T25" fmla="*/ 4 h 76"/>
                  <a:gd name="T26" fmla="*/ 21 w 30"/>
                  <a:gd name="T27" fmla="*/ 7 h 76"/>
                  <a:gd name="T28" fmla="*/ 20 w 30"/>
                  <a:gd name="T29" fmla="*/ 7 h 76"/>
                  <a:gd name="T30" fmla="*/ 18 w 30"/>
                  <a:gd name="T31" fmla="*/ 7 h 76"/>
                  <a:gd name="T32" fmla="*/ 17 w 30"/>
                  <a:gd name="T33" fmla="*/ 7 h 76"/>
                  <a:gd name="T34" fmla="*/ 15 w 30"/>
                  <a:gd name="T35" fmla="*/ 7 h 76"/>
                  <a:gd name="T36" fmla="*/ 8 w 30"/>
                  <a:gd name="T37" fmla="*/ 28 h 76"/>
                  <a:gd name="T38" fmla="*/ 3 w 30"/>
                  <a:gd name="T39" fmla="*/ 37 h 76"/>
                  <a:gd name="T40" fmla="*/ 0 w 30"/>
                  <a:gd name="T41" fmla="*/ 41 h 76"/>
                  <a:gd name="T42" fmla="*/ 3 w 30"/>
                  <a:gd name="T43" fmla="*/ 48 h 76"/>
                  <a:gd name="T44" fmla="*/ 5 w 30"/>
                  <a:gd name="T45" fmla="*/ 54 h 76"/>
                  <a:gd name="T46" fmla="*/ 5 w 30"/>
                  <a:gd name="T47" fmla="*/ 57 h 76"/>
                  <a:gd name="T48" fmla="*/ 11 w 30"/>
                  <a:gd name="T49" fmla="*/ 74 h 76"/>
                  <a:gd name="T50" fmla="*/ 14 w 30"/>
                  <a:gd name="T51" fmla="*/ 74 h 76"/>
                  <a:gd name="T52" fmla="*/ 15 w 30"/>
                  <a:gd name="T53" fmla="*/ 66 h 76"/>
                  <a:gd name="T54" fmla="*/ 15 w 30"/>
                  <a:gd name="T55" fmla="*/ 64 h 76"/>
                  <a:gd name="T56" fmla="*/ 17 w 30"/>
                  <a:gd name="T57" fmla="*/ 63 h 76"/>
                  <a:gd name="T58" fmla="*/ 17 w 30"/>
                  <a:gd name="T59" fmla="*/ 56 h 76"/>
                  <a:gd name="T60" fmla="*/ 18 w 30"/>
                  <a:gd name="T61" fmla="*/ 51 h 76"/>
                  <a:gd name="T62" fmla="*/ 20 w 30"/>
                  <a:gd name="T63" fmla="*/ 48 h 76"/>
                  <a:gd name="T64" fmla="*/ 21 w 30"/>
                  <a:gd name="T65" fmla="*/ 46 h 76"/>
                  <a:gd name="T66" fmla="*/ 21 w 30"/>
                  <a:gd name="T67" fmla="*/ 43 h 76"/>
                  <a:gd name="T68" fmla="*/ 21 w 30"/>
                  <a:gd name="T69" fmla="*/ 41 h 76"/>
                  <a:gd name="T70" fmla="*/ 21 w 30"/>
                  <a:gd name="T71" fmla="*/ 38 h 76"/>
                  <a:gd name="T72" fmla="*/ 23 w 30"/>
                  <a:gd name="T73" fmla="*/ 35 h 76"/>
                  <a:gd name="T74" fmla="*/ 23 w 30"/>
                  <a:gd name="T75" fmla="*/ 34 h 76"/>
                  <a:gd name="T76" fmla="*/ 23 w 30"/>
                  <a:gd name="T77" fmla="*/ 33 h 76"/>
                  <a:gd name="T78" fmla="*/ 24 w 30"/>
                  <a:gd name="T79" fmla="*/ 33 h 76"/>
                  <a:gd name="T80" fmla="*/ 24 w 30"/>
                  <a:gd name="T81" fmla="*/ 30 h 76"/>
                  <a:gd name="T82" fmla="*/ 23 w 30"/>
                  <a:gd name="T83" fmla="*/ 27 h 76"/>
                  <a:gd name="T84" fmla="*/ 24 w 30"/>
                  <a:gd name="T85" fmla="*/ 25 h 76"/>
                  <a:gd name="T86" fmla="*/ 24 w 30"/>
                  <a:gd name="T87" fmla="*/ 24 h 76"/>
                  <a:gd name="T88" fmla="*/ 24 w 30"/>
                  <a:gd name="T89" fmla="*/ 20 h 76"/>
                  <a:gd name="T90" fmla="*/ 24 w 30"/>
                  <a:gd name="T91" fmla="*/ 15 h 76"/>
                  <a:gd name="T92" fmla="*/ 24 w 30"/>
                  <a:gd name="T93" fmla="*/ 15 h 76"/>
                  <a:gd name="T94" fmla="*/ 24 w 30"/>
                  <a:gd name="T95" fmla="*/ 14 h 76"/>
                  <a:gd name="T96" fmla="*/ 26 w 30"/>
                  <a:gd name="T97" fmla="*/ 14 h 76"/>
                  <a:gd name="T98" fmla="*/ 27 w 30"/>
                  <a:gd name="T99" fmla="*/ 14 h 76"/>
                  <a:gd name="T100" fmla="*/ 28 w 30"/>
                  <a:gd name="T101" fmla="*/ 12 h 76"/>
                  <a:gd name="T102" fmla="*/ 28 w 30"/>
                  <a:gd name="T103" fmla="*/ 12 h 76"/>
                  <a:gd name="T104" fmla="*/ 28 w 30"/>
                  <a:gd name="T105" fmla="*/ 11 h 76"/>
                  <a:gd name="T106" fmla="*/ 30 w 30"/>
                  <a:gd name="T107" fmla="*/ 10 h 76"/>
                  <a:gd name="T108" fmla="*/ 30 w 30"/>
                  <a:gd name="T109"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 h="76">
                    <a:moveTo>
                      <a:pt x="30" y="8"/>
                    </a:moveTo>
                    <a:lnTo>
                      <a:pt x="30" y="8"/>
                    </a:lnTo>
                    <a:lnTo>
                      <a:pt x="30" y="8"/>
                    </a:lnTo>
                    <a:lnTo>
                      <a:pt x="30" y="7"/>
                    </a:lnTo>
                    <a:lnTo>
                      <a:pt x="30" y="7"/>
                    </a:lnTo>
                    <a:lnTo>
                      <a:pt x="30" y="5"/>
                    </a:lnTo>
                    <a:lnTo>
                      <a:pt x="30" y="5"/>
                    </a:lnTo>
                    <a:lnTo>
                      <a:pt x="30" y="5"/>
                    </a:lnTo>
                    <a:lnTo>
                      <a:pt x="30" y="4"/>
                    </a:lnTo>
                    <a:lnTo>
                      <a:pt x="28" y="4"/>
                    </a:lnTo>
                    <a:lnTo>
                      <a:pt x="28" y="2"/>
                    </a:lnTo>
                    <a:lnTo>
                      <a:pt x="28" y="2"/>
                    </a:lnTo>
                    <a:lnTo>
                      <a:pt x="28" y="2"/>
                    </a:lnTo>
                    <a:lnTo>
                      <a:pt x="28" y="1"/>
                    </a:lnTo>
                    <a:lnTo>
                      <a:pt x="28" y="1"/>
                    </a:lnTo>
                    <a:lnTo>
                      <a:pt x="30" y="0"/>
                    </a:lnTo>
                    <a:lnTo>
                      <a:pt x="28" y="0"/>
                    </a:lnTo>
                    <a:lnTo>
                      <a:pt x="28" y="1"/>
                    </a:lnTo>
                    <a:lnTo>
                      <a:pt x="28" y="1"/>
                    </a:lnTo>
                    <a:lnTo>
                      <a:pt x="27" y="1"/>
                    </a:lnTo>
                    <a:lnTo>
                      <a:pt x="26" y="2"/>
                    </a:lnTo>
                    <a:lnTo>
                      <a:pt x="24" y="4"/>
                    </a:lnTo>
                    <a:lnTo>
                      <a:pt x="24" y="2"/>
                    </a:lnTo>
                    <a:lnTo>
                      <a:pt x="24" y="2"/>
                    </a:lnTo>
                    <a:lnTo>
                      <a:pt x="24" y="4"/>
                    </a:lnTo>
                    <a:lnTo>
                      <a:pt x="23" y="4"/>
                    </a:lnTo>
                    <a:lnTo>
                      <a:pt x="23" y="5"/>
                    </a:lnTo>
                    <a:lnTo>
                      <a:pt x="21" y="7"/>
                    </a:lnTo>
                    <a:lnTo>
                      <a:pt x="21" y="7"/>
                    </a:lnTo>
                    <a:lnTo>
                      <a:pt x="20" y="7"/>
                    </a:lnTo>
                    <a:lnTo>
                      <a:pt x="20" y="7"/>
                    </a:lnTo>
                    <a:lnTo>
                      <a:pt x="18" y="7"/>
                    </a:lnTo>
                    <a:lnTo>
                      <a:pt x="18" y="7"/>
                    </a:lnTo>
                    <a:lnTo>
                      <a:pt x="17" y="7"/>
                    </a:lnTo>
                    <a:lnTo>
                      <a:pt x="17" y="7"/>
                    </a:lnTo>
                    <a:lnTo>
                      <a:pt x="15" y="7"/>
                    </a:lnTo>
                    <a:lnTo>
                      <a:pt x="15" y="11"/>
                    </a:lnTo>
                    <a:lnTo>
                      <a:pt x="8" y="28"/>
                    </a:lnTo>
                    <a:lnTo>
                      <a:pt x="5" y="33"/>
                    </a:lnTo>
                    <a:lnTo>
                      <a:pt x="3" y="37"/>
                    </a:lnTo>
                    <a:lnTo>
                      <a:pt x="0" y="40"/>
                    </a:lnTo>
                    <a:lnTo>
                      <a:pt x="0" y="41"/>
                    </a:lnTo>
                    <a:lnTo>
                      <a:pt x="1" y="41"/>
                    </a:lnTo>
                    <a:lnTo>
                      <a:pt x="3" y="48"/>
                    </a:lnTo>
                    <a:lnTo>
                      <a:pt x="4" y="51"/>
                    </a:lnTo>
                    <a:lnTo>
                      <a:pt x="5" y="54"/>
                    </a:lnTo>
                    <a:lnTo>
                      <a:pt x="5" y="56"/>
                    </a:lnTo>
                    <a:lnTo>
                      <a:pt x="5" y="57"/>
                    </a:lnTo>
                    <a:lnTo>
                      <a:pt x="8" y="61"/>
                    </a:lnTo>
                    <a:lnTo>
                      <a:pt x="11" y="74"/>
                    </a:lnTo>
                    <a:lnTo>
                      <a:pt x="13" y="76"/>
                    </a:lnTo>
                    <a:lnTo>
                      <a:pt x="14" y="74"/>
                    </a:lnTo>
                    <a:lnTo>
                      <a:pt x="14" y="70"/>
                    </a:lnTo>
                    <a:lnTo>
                      <a:pt x="15" y="66"/>
                    </a:lnTo>
                    <a:lnTo>
                      <a:pt x="15" y="64"/>
                    </a:lnTo>
                    <a:lnTo>
                      <a:pt x="15" y="64"/>
                    </a:lnTo>
                    <a:lnTo>
                      <a:pt x="17" y="63"/>
                    </a:lnTo>
                    <a:lnTo>
                      <a:pt x="17" y="63"/>
                    </a:lnTo>
                    <a:lnTo>
                      <a:pt x="17" y="61"/>
                    </a:lnTo>
                    <a:lnTo>
                      <a:pt x="17" y="56"/>
                    </a:lnTo>
                    <a:lnTo>
                      <a:pt x="18" y="53"/>
                    </a:lnTo>
                    <a:lnTo>
                      <a:pt x="18" y="51"/>
                    </a:lnTo>
                    <a:lnTo>
                      <a:pt x="20" y="48"/>
                    </a:lnTo>
                    <a:lnTo>
                      <a:pt x="20" y="48"/>
                    </a:lnTo>
                    <a:lnTo>
                      <a:pt x="21" y="47"/>
                    </a:lnTo>
                    <a:lnTo>
                      <a:pt x="21" y="46"/>
                    </a:lnTo>
                    <a:lnTo>
                      <a:pt x="21" y="44"/>
                    </a:lnTo>
                    <a:lnTo>
                      <a:pt x="21" y="43"/>
                    </a:lnTo>
                    <a:lnTo>
                      <a:pt x="21" y="41"/>
                    </a:lnTo>
                    <a:lnTo>
                      <a:pt x="21" y="41"/>
                    </a:lnTo>
                    <a:lnTo>
                      <a:pt x="21" y="40"/>
                    </a:lnTo>
                    <a:lnTo>
                      <a:pt x="21" y="38"/>
                    </a:lnTo>
                    <a:lnTo>
                      <a:pt x="21" y="37"/>
                    </a:lnTo>
                    <a:lnTo>
                      <a:pt x="23" y="35"/>
                    </a:lnTo>
                    <a:lnTo>
                      <a:pt x="23" y="34"/>
                    </a:lnTo>
                    <a:lnTo>
                      <a:pt x="23" y="34"/>
                    </a:lnTo>
                    <a:lnTo>
                      <a:pt x="23" y="34"/>
                    </a:lnTo>
                    <a:lnTo>
                      <a:pt x="23" y="33"/>
                    </a:lnTo>
                    <a:lnTo>
                      <a:pt x="23" y="33"/>
                    </a:lnTo>
                    <a:lnTo>
                      <a:pt x="24" y="33"/>
                    </a:lnTo>
                    <a:lnTo>
                      <a:pt x="24" y="31"/>
                    </a:lnTo>
                    <a:lnTo>
                      <a:pt x="24" y="30"/>
                    </a:lnTo>
                    <a:lnTo>
                      <a:pt x="24" y="30"/>
                    </a:lnTo>
                    <a:lnTo>
                      <a:pt x="23" y="27"/>
                    </a:lnTo>
                    <a:lnTo>
                      <a:pt x="23" y="27"/>
                    </a:lnTo>
                    <a:lnTo>
                      <a:pt x="24" y="25"/>
                    </a:lnTo>
                    <a:lnTo>
                      <a:pt x="24" y="24"/>
                    </a:lnTo>
                    <a:lnTo>
                      <a:pt x="24" y="24"/>
                    </a:lnTo>
                    <a:lnTo>
                      <a:pt x="24" y="23"/>
                    </a:lnTo>
                    <a:lnTo>
                      <a:pt x="24" y="20"/>
                    </a:lnTo>
                    <a:lnTo>
                      <a:pt x="24" y="15"/>
                    </a:lnTo>
                    <a:lnTo>
                      <a:pt x="24" y="15"/>
                    </a:lnTo>
                    <a:lnTo>
                      <a:pt x="24" y="15"/>
                    </a:lnTo>
                    <a:lnTo>
                      <a:pt x="24" y="15"/>
                    </a:lnTo>
                    <a:lnTo>
                      <a:pt x="24" y="14"/>
                    </a:lnTo>
                    <a:lnTo>
                      <a:pt x="24" y="14"/>
                    </a:lnTo>
                    <a:lnTo>
                      <a:pt x="26" y="14"/>
                    </a:lnTo>
                    <a:lnTo>
                      <a:pt x="26" y="14"/>
                    </a:lnTo>
                    <a:lnTo>
                      <a:pt x="26" y="14"/>
                    </a:lnTo>
                    <a:lnTo>
                      <a:pt x="27" y="14"/>
                    </a:lnTo>
                    <a:lnTo>
                      <a:pt x="28" y="14"/>
                    </a:lnTo>
                    <a:lnTo>
                      <a:pt x="28" y="12"/>
                    </a:lnTo>
                    <a:lnTo>
                      <a:pt x="28" y="12"/>
                    </a:lnTo>
                    <a:lnTo>
                      <a:pt x="28" y="12"/>
                    </a:lnTo>
                    <a:lnTo>
                      <a:pt x="28" y="11"/>
                    </a:lnTo>
                    <a:lnTo>
                      <a:pt x="28" y="11"/>
                    </a:lnTo>
                    <a:lnTo>
                      <a:pt x="30" y="10"/>
                    </a:lnTo>
                    <a:lnTo>
                      <a:pt x="30" y="10"/>
                    </a:lnTo>
                    <a:lnTo>
                      <a:pt x="30" y="10"/>
                    </a:lnTo>
                    <a:lnTo>
                      <a:pt x="30" y="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51" name="Freeform 147">
                <a:extLst>
                  <a:ext uri="{FF2B5EF4-FFF2-40B4-BE49-F238E27FC236}">
                    <a16:creationId xmlns:a16="http://schemas.microsoft.com/office/drawing/2014/main" id="{084ADE38-30D0-66C3-C39C-FE3279DDEC44}"/>
                  </a:ext>
                </a:extLst>
              </p:cNvPr>
              <p:cNvSpPr>
                <a:spLocks noEditPoints="1"/>
              </p:cNvSpPr>
              <p:nvPr/>
            </p:nvSpPr>
            <p:spPr bwMode="auto">
              <a:xfrm>
                <a:off x="9137902" y="3865168"/>
                <a:ext cx="633331" cy="109893"/>
              </a:xfrm>
              <a:custGeom>
                <a:avLst/>
                <a:gdLst>
                  <a:gd name="T0" fmla="*/ 2 w 438"/>
                  <a:gd name="T1" fmla="*/ 0 h 76"/>
                  <a:gd name="T2" fmla="*/ 3 w 438"/>
                  <a:gd name="T3" fmla="*/ 1 h 76"/>
                  <a:gd name="T4" fmla="*/ 0 w 438"/>
                  <a:gd name="T5" fmla="*/ 3 h 76"/>
                  <a:gd name="T6" fmla="*/ 0 w 438"/>
                  <a:gd name="T7" fmla="*/ 1 h 76"/>
                  <a:gd name="T8" fmla="*/ 0 w 438"/>
                  <a:gd name="T9" fmla="*/ 1 h 76"/>
                  <a:gd name="T10" fmla="*/ 2 w 438"/>
                  <a:gd name="T11" fmla="*/ 0 h 76"/>
                  <a:gd name="T12" fmla="*/ 355 w 438"/>
                  <a:gd name="T13" fmla="*/ 46 h 76"/>
                  <a:gd name="T14" fmla="*/ 354 w 438"/>
                  <a:gd name="T15" fmla="*/ 47 h 76"/>
                  <a:gd name="T16" fmla="*/ 354 w 438"/>
                  <a:gd name="T17" fmla="*/ 49 h 76"/>
                  <a:gd name="T18" fmla="*/ 355 w 438"/>
                  <a:gd name="T19" fmla="*/ 49 h 76"/>
                  <a:gd name="T20" fmla="*/ 355 w 438"/>
                  <a:gd name="T21" fmla="*/ 50 h 76"/>
                  <a:gd name="T22" fmla="*/ 357 w 438"/>
                  <a:gd name="T23" fmla="*/ 49 h 76"/>
                  <a:gd name="T24" fmla="*/ 357 w 438"/>
                  <a:gd name="T25" fmla="*/ 47 h 76"/>
                  <a:gd name="T26" fmla="*/ 355 w 438"/>
                  <a:gd name="T27" fmla="*/ 47 h 76"/>
                  <a:gd name="T28" fmla="*/ 355 w 438"/>
                  <a:gd name="T29" fmla="*/ 46 h 76"/>
                  <a:gd name="T30" fmla="*/ 239 w 438"/>
                  <a:gd name="T31" fmla="*/ 40 h 76"/>
                  <a:gd name="T32" fmla="*/ 239 w 438"/>
                  <a:gd name="T33" fmla="*/ 40 h 76"/>
                  <a:gd name="T34" fmla="*/ 239 w 438"/>
                  <a:gd name="T35" fmla="*/ 40 h 76"/>
                  <a:gd name="T36" fmla="*/ 239 w 438"/>
                  <a:gd name="T37" fmla="*/ 39 h 76"/>
                  <a:gd name="T38" fmla="*/ 239 w 438"/>
                  <a:gd name="T39" fmla="*/ 39 h 76"/>
                  <a:gd name="T40" fmla="*/ 237 w 438"/>
                  <a:gd name="T41" fmla="*/ 39 h 76"/>
                  <a:gd name="T42" fmla="*/ 237 w 438"/>
                  <a:gd name="T43" fmla="*/ 40 h 76"/>
                  <a:gd name="T44" fmla="*/ 237 w 438"/>
                  <a:gd name="T45" fmla="*/ 40 h 76"/>
                  <a:gd name="T46" fmla="*/ 239 w 438"/>
                  <a:gd name="T47" fmla="*/ 40 h 76"/>
                  <a:gd name="T48" fmla="*/ 239 w 438"/>
                  <a:gd name="T49" fmla="*/ 40 h 76"/>
                  <a:gd name="T50" fmla="*/ 239 w 438"/>
                  <a:gd name="T51" fmla="*/ 40 h 76"/>
                  <a:gd name="T52" fmla="*/ 243 w 438"/>
                  <a:gd name="T53" fmla="*/ 39 h 76"/>
                  <a:gd name="T54" fmla="*/ 243 w 438"/>
                  <a:gd name="T55" fmla="*/ 39 h 76"/>
                  <a:gd name="T56" fmla="*/ 243 w 438"/>
                  <a:gd name="T57" fmla="*/ 39 h 76"/>
                  <a:gd name="T58" fmla="*/ 243 w 438"/>
                  <a:gd name="T59" fmla="*/ 39 h 76"/>
                  <a:gd name="T60" fmla="*/ 243 w 438"/>
                  <a:gd name="T61" fmla="*/ 39 h 76"/>
                  <a:gd name="T62" fmla="*/ 243 w 438"/>
                  <a:gd name="T63" fmla="*/ 37 h 76"/>
                  <a:gd name="T64" fmla="*/ 243 w 438"/>
                  <a:gd name="T65" fmla="*/ 37 h 76"/>
                  <a:gd name="T66" fmla="*/ 243 w 438"/>
                  <a:gd name="T67" fmla="*/ 37 h 76"/>
                  <a:gd name="T68" fmla="*/ 243 w 438"/>
                  <a:gd name="T69" fmla="*/ 39 h 76"/>
                  <a:gd name="T70" fmla="*/ 438 w 438"/>
                  <a:gd name="T71" fmla="*/ 76 h 76"/>
                  <a:gd name="T72" fmla="*/ 438 w 438"/>
                  <a:gd name="T73" fmla="*/ 76 h 76"/>
                  <a:gd name="T74" fmla="*/ 437 w 438"/>
                  <a:gd name="T75" fmla="*/ 76 h 76"/>
                  <a:gd name="T76" fmla="*/ 437 w 438"/>
                  <a:gd name="T77" fmla="*/ 76 h 76"/>
                  <a:gd name="T78" fmla="*/ 438 w 438"/>
                  <a:gd name="T79" fmla="*/ 76 h 76"/>
                  <a:gd name="T80" fmla="*/ 438 w 438"/>
                  <a:gd name="T81" fmla="*/ 76 h 76"/>
                  <a:gd name="T82" fmla="*/ 438 w 438"/>
                  <a:gd name="T83" fmla="*/ 76 h 76"/>
                  <a:gd name="T84" fmla="*/ 438 w 438"/>
                  <a:gd name="T8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8" h="76">
                    <a:moveTo>
                      <a:pt x="2" y="0"/>
                    </a:moveTo>
                    <a:lnTo>
                      <a:pt x="3" y="1"/>
                    </a:lnTo>
                    <a:lnTo>
                      <a:pt x="0" y="3"/>
                    </a:lnTo>
                    <a:lnTo>
                      <a:pt x="0" y="1"/>
                    </a:lnTo>
                    <a:lnTo>
                      <a:pt x="0" y="1"/>
                    </a:lnTo>
                    <a:lnTo>
                      <a:pt x="2" y="0"/>
                    </a:lnTo>
                    <a:close/>
                    <a:moveTo>
                      <a:pt x="355" y="46"/>
                    </a:moveTo>
                    <a:lnTo>
                      <a:pt x="354" y="47"/>
                    </a:lnTo>
                    <a:lnTo>
                      <a:pt x="354" y="49"/>
                    </a:lnTo>
                    <a:lnTo>
                      <a:pt x="355" y="49"/>
                    </a:lnTo>
                    <a:lnTo>
                      <a:pt x="355" y="50"/>
                    </a:lnTo>
                    <a:lnTo>
                      <a:pt x="357" y="49"/>
                    </a:lnTo>
                    <a:lnTo>
                      <a:pt x="357" y="47"/>
                    </a:lnTo>
                    <a:lnTo>
                      <a:pt x="355" y="47"/>
                    </a:lnTo>
                    <a:lnTo>
                      <a:pt x="355" y="46"/>
                    </a:lnTo>
                    <a:close/>
                    <a:moveTo>
                      <a:pt x="239" y="40"/>
                    </a:moveTo>
                    <a:lnTo>
                      <a:pt x="239" y="40"/>
                    </a:lnTo>
                    <a:lnTo>
                      <a:pt x="239" y="40"/>
                    </a:lnTo>
                    <a:lnTo>
                      <a:pt x="239" y="39"/>
                    </a:lnTo>
                    <a:lnTo>
                      <a:pt x="239" y="39"/>
                    </a:lnTo>
                    <a:lnTo>
                      <a:pt x="237" y="39"/>
                    </a:lnTo>
                    <a:lnTo>
                      <a:pt x="237" y="40"/>
                    </a:lnTo>
                    <a:lnTo>
                      <a:pt x="237" y="40"/>
                    </a:lnTo>
                    <a:lnTo>
                      <a:pt x="239" y="40"/>
                    </a:lnTo>
                    <a:lnTo>
                      <a:pt x="239" y="40"/>
                    </a:lnTo>
                    <a:lnTo>
                      <a:pt x="239" y="40"/>
                    </a:lnTo>
                    <a:close/>
                    <a:moveTo>
                      <a:pt x="243" y="39"/>
                    </a:moveTo>
                    <a:lnTo>
                      <a:pt x="243" y="39"/>
                    </a:lnTo>
                    <a:lnTo>
                      <a:pt x="243" y="39"/>
                    </a:lnTo>
                    <a:lnTo>
                      <a:pt x="243" y="39"/>
                    </a:lnTo>
                    <a:lnTo>
                      <a:pt x="243" y="39"/>
                    </a:lnTo>
                    <a:lnTo>
                      <a:pt x="243" y="37"/>
                    </a:lnTo>
                    <a:lnTo>
                      <a:pt x="243" y="37"/>
                    </a:lnTo>
                    <a:lnTo>
                      <a:pt x="243" y="37"/>
                    </a:lnTo>
                    <a:lnTo>
                      <a:pt x="243" y="39"/>
                    </a:lnTo>
                    <a:close/>
                    <a:moveTo>
                      <a:pt x="438" y="76"/>
                    </a:moveTo>
                    <a:lnTo>
                      <a:pt x="438" y="76"/>
                    </a:lnTo>
                    <a:lnTo>
                      <a:pt x="437" y="76"/>
                    </a:lnTo>
                    <a:lnTo>
                      <a:pt x="437" y="76"/>
                    </a:lnTo>
                    <a:lnTo>
                      <a:pt x="438" y="76"/>
                    </a:lnTo>
                    <a:lnTo>
                      <a:pt x="438" y="76"/>
                    </a:lnTo>
                    <a:lnTo>
                      <a:pt x="438" y="76"/>
                    </a:lnTo>
                    <a:lnTo>
                      <a:pt x="438" y="7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52" name="Freeform 148">
                <a:extLst>
                  <a:ext uri="{FF2B5EF4-FFF2-40B4-BE49-F238E27FC236}">
                    <a16:creationId xmlns:a16="http://schemas.microsoft.com/office/drawing/2014/main" id="{10DD485D-008D-59D5-91C3-5477FD8EB981}"/>
                  </a:ext>
                </a:extLst>
              </p:cNvPr>
              <p:cNvSpPr>
                <a:spLocks/>
              </p:cNvSpPr>
              <p:nvPr/>
            </p:nvSpPr>
            <p:spPr bwMode="auto">
              <a:xfrm>
                <a:off x="8173446" y="3522476"/>
                <a:ext cx="190867" cy="229908"/>
              </a:xfrm>
              <a:custGeom>
                <a:avLst/>
                <a:gdLst>
                  <a:gd name="T0" fmla="*/ 126 w 132"/>
                  <a:gd name="T1" fmla="*/ 123 h 159"/>
                  <a:gd name="T2" fmla="*/ 117 w 132"/>
                  <a:gd name="T3" fmla="*/ 112 h 159"/>
                  <a:gd name="T4" fmla="*/ 110 w 132"/>
                  <a:gd name="T5" fmla="*/ 102 h 159"/>
                  <a:gd name="T6" fmla="*/ 96 w 132"/>
                  <a:gd name="T7" fmla="*/ 85 h 159"/>
                  <a:gd name="T8" fmla="*/ 90 w 132"/>
                  <a:gd name="T9" fmla="*/ 79 h 159"/>
                  <a:gd name="T10" fmla="*/ 86 w 132"/>
                  <a:gd name="T11" fmla="*/ 72 h 159"/>
                  <a:gd name="T12" fmla="*/ 69 w 132"/>
                  <a:gd name="T13" fmla="*/ 62 h 159"/>
                  <a:gd name="T14" fmla="*/ 69 w 132"/>
                  <a:gd name="T15" fmla="*/ 54 h 159"/>
                  <a:gd name="T16" fmla="*/ 77 w 132"/>
                  <a:gd name="T17" fmla="*/ 54 h 159"/>
                  <a:gd name="T18" fmla="*/ 83 w 132"/>
                  <a:gd name="T19" fmla="*/ 44 h 159"/>
                  <a:gd name="T20" fmla="*/ 80 w 132"/>
                  <a:gd name="T21" fmla="*/ 41 h 159"/>
                  <a:gd name="T22" fmla="*/ 79 w 132"/>
                  <a:gd name="T23" fmla="*/ 37 h 159"/>
                  <a:gd name="T24" fmla="*/ 71 w 132"/>
                  <a:gd name="T25" fmla="*/ 30 h 159"/>
                  <a:gd name="T26" fmla="*/ 61 w 132"/>
                  <a:gd name="T27" fmla="*/ 33 h 159"/>
                  <a:gd name="T28" fmla="*/ 48 w 132"/>
                  <a:gd name="T29" fmla="*/ 23 h 159"/>
                  <a:gd name="T30" fmla="*/ 48 w 132"/>
                  <a:gd name="T31" fmla="*/ 14 h 159"/>
                  <a:gd name="T32" fmla="*/ 44 w 132"/>
                  <a:gd name="T33" fmla="*/ 13 h 159"/>
                  <a:gd name="T34" fmla="*/ 34 w 132"/>
                  <a:gd name="T35" fmla="*/ 1 h 159"/>
                  <a:gd name="T36" fmla="*/ 28 w 132"/>
                  <a:gd name="T37" fmla="*/ 0 h 159"/>
                  <a:gd name="T38" fmla="*/ 25 w 132"/>
                  <a:gd name="T39" fmla="*/ 4 h 159"/>
                  <a:gd name="T40" fmla="*/ 28 w 132"/>
                  <a:gd name="T41" fmla="*/ 26 h 159"/>
                  <a:gd name="T42" fmla="*/ 21 w 132"/>
                  <a:gd name="T43" fmla="*/ 24 h 159"/>
                  <a:gd name="T44" fmla="*/ 17 w 132"/>
                  <a:gd name="T45" fmla="*/ 20 h 159"/>
                  <a:gd name="T46" fmla="*/ 8 w 132"/>
                  <a:gd name="T47" fmla="*/ 27 h 159"/>
                  <a:gd name="T48" fmla="*/ 4 w 132"/>
                  <a:gd name="T49" fmla="*/ 33 h 159"/>
                  <a:gd name="T50" fmla="*/ 0 w 132"/>
                  <a:gd name="T51" fmla="*/ 43 h 159"/>
                  <a:gd name="T52" fmla="*/ 7 w 132"/>
                  <a:gd name="T53" fmla="*/ 43 h 159"/>
                  <a:gd name="T54" fmla="*/ 7 w 132"/>
                  <a:gd name="T55" fmla="*/ 56 h 159"/>
                  <a:gd name="T56" fmla="*/ 20 w 132"/>
                  <a:gd name="T57" fmla="*/ 57 h 159"/>
                  <a:gd name="T58" fmla="*/ 18 w 132"/>
                  <a:gd name="T59" fmla="*/ 73 h 159"/>
                  <a:gd name="T60" fmla="*/ 17 w 132"/>
                  <a:gd name="T61" fmla="*/ 80 h 159"/>
                  <a:gd name="T62" fmla="*/ 14 w 132"/>
                  <a:gd name="T63" fmla="*/ 92 h 159"/>
                  <a:gd name="T64" fmla="*/ 36 w 132"/>
                  <a:gd name="T65" fmla="*/ 82 h 159"/>
                  <a:gd name="T66" fmla="*/ 44 w 132"/>
                  <a:gd name="T67" fmla="*/ 86 h 159"/>
                  <a:gd name="T68" fmla="*/ 46 w 132"/>
                  <a:gd name="T69" fmla="*/ 87 h 159"/>
                  <a:gd name="T70" fmla="*/ 50 w 132"/>
                  <a:gd name="T71" fmla="*/ 85 h 159"/>
                  <a:gd name="T72" fmla="*/ 53 w 132"/>
                  <a:gd name="T73" fmla="*/ 80 h 159"/>
                  <a:gd name="T74" fmla="*/ 56 w 132"/>
                  <a:gd name="T75" fmla="*/ 77 h 159"/>
                  <a:gd name="T76" fmla="*/ 67 w 132"/>
                  <a:gd name="T77" fmla="*/ 79 h 159"/>
                  <a:gd name="T78" fmla="*/ 79 w 132"/>
                  <a:gd name="T79" fmla="*/ 93 h 159"/>
                  <a:gd name="T80" fmla="*/ 82 w 132"/>
                  <a:gd name="T81" fmla="*/ 108 h 159"/>
                  <a:gd name="T82" fmla="*/ 87 w 132"/>
                  <a:gd name="T83" fmla="*/ 119 h 159"/>
                  <a:gd name="T84" fmla="*/ 92 w 132"/>
                  <a:gd name="T85" fmla="*/ 123 h 159"/>
                  <a:gd name="T86" fmla="*/ 97 w 132"/>
                  <a:gd name="T87" fmla="*/ 129 h 159"/>
                  <a:gd name="T88" fmla="*/ 94 w 132"/>
                  <a:gd name="T89" fmla="*/ 144 h 159"/>
                  <a:gd name="T90" fmla="*/ 94 w 132"/>
                  <a:gd name="T91" fmla="*/ 155 h 159"/>
                  <a:gd name="T92" fmla="*/ 104 w 132"/>
                  <a:gd name="T93" fmla="*/ 155 h 159"/>
                  <a:gd name="T94" fmla="*/ 107 w 132"/>
                  <a:gd name="T95" fmla="*/ 149 h 159"/>
                  <a:gd name="T96" fmla="*/ 112 w 132"/>
                  <a:gd name="T97" fmla="*/ 148 h 159"/>
                  <a:gd name="T98" fmla="*/ 126 w 132"/>
                  <a:gd name="T99" fmla="*/ 148 h 159"/>
                  <a:gd name="T100" fmla="*/ 130 w 132"/>
                  <a:gd name="T101" fmla="*/ 144 h 159"/>
                  <a:gd name="T102" fmla="*/ 132 w 132"/>
                  <a:gd name="T103" fmla="*/ 13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 h="159">
                    <a:moveTo>
                      <a:pt x="132" y="132"/>
                    </a:moveTo>
                    <a:lnTo>
                      <a:pt x="126" y="129"/>
                    </a:lnTo>
                    <a:lnTo>
                      <a:pt x="125" y="126"/>
                    </a:lnTo>
                    <a:lnTo>
                      <a:pt x="125" y="123"/>
                    </a:lnTo>
                    <a:lnTo>
                      <a:pt x="126" y="123"/>
                    </a:lnTo>
                    <a:lnTo>
                      <a:pt x="127" y="122"/>
                    </a:lnTo>
                    <a:lnTo>
                      <a:pt x="127" y="121"/>
                    </a:lnTo>
                    <a:lnTo>
                      <a:pt x="125" y="118"/>
                    </a:lnTo>
                    <a:lnTo>
                      <a:pt x="120" y="115"/>
                    </a:lnTo>
                    <a:lnTo>
                      <a:pt x="117" y="112"/>
                    </a:lnTo>
                    <a:lnTo>
                      <a:pt x="116" y="113"/>
                    </a:lnTo>
                    <a:lnTo>
                      <a:pt x="115" y="112"/>
                    </a:lnTo>
                    <a:lnTo>
                      <a:pt x="113" y="106"/>
                    </a:lnTo>
                    <a:lnTo>
                      <a:pt x="112" y="103"/>
                    </a:lnTo>
                    <a:lnTo>
                      <a:pt x="110" y="102"/>
                    </a:lnTo>
                    <a:lnTo>
                      <a:pt x="109" y="99"/>
                    </a:lnTo>
                    <a:lnTo>
                      <a:pt x="100" y="92"/>
                    </a:lnTo>
                    <a:lnTo>
                      <a:pt x="99" y="90"/>
                    </a:lnTo>
                    <a:lnTo>
                      <a:pt x="97" y="87"/>
                    </a:lnTo>
                    <a:lnTo>
                      <a:pt x="96" y="85"/>
                    </a:lnTo>
                    <a:lnTo>
                      <a:pt x="94" y="83"/>
                    </a:lnTo>
                    <a:lnTo>
                      <a:pt x="93" y="82"/>
                    </a:lnTo>
                    <a:lnTo>
                      <a:pt x="92" y="80"/>
                    </a:lnTo>
                    <a:lnTo>
                      <a:pt x="90" y="80"/>
                    </a:lnTo>
                    <a:lnTo>
                      <a:pt x="90" y="79"/>
                    </a:lnTo>
                    <a:lnTo>
                      <a:pt x="89" y="77"/>
                    </a:lnTo>
                    <a:lnTo>
                      <a:pt x="87" y="76"/>
                    </a:lnTo>
                    <a:lnTo>
                      <a:pt x="87" y="75"/>
                    </a:lnTo>
                    <a:lnTo>
                      <a:pt x="87" y="73"/>
                    </a:lnTo>
                    <a:lnTo>
                      <a:pt x="86" y="72"/>
                    </a:lnTo>
                    <a:lnTo>
                      <a:pt x="84" y="70"/>
                    </a:lnTo>
                    <a:lnTo>
                      <a:pt x="80" y="69"/>
                    </a:lnTo>
                    <a:lnTo>
                      <a:pt x="79" y="67"/>
                    </a:lnTo>
                    <a:lnTo>
                      <a:pt x="71" y="63"/>
                    </a:lnTo>
                    <a:lnTo>
                      <a:pt x="69" y="62"/>
                    </a:lnTo>
                    <a:lnTo>
                      <a:pt x="67" y="60"/>
                    </a:lnTo>
                    <a:lnTo>
                      <a:pt x="70" y="56"/>
                    </a:lnTo>
                    <a:lnTo>
                      <a:pt x="70" y="54"/>
                    </a:lnTo>
                    <a:lnTo>
                      <a:pt x="69" y="54"/>
                    </a:lnTo>
                    <a:lnTo>
                      <a:pt x="69" y="54"/>
                    </a:lnTo>
                    <a:lnTo>
                      <a:pt x="70" y="53"/>
                    </a:lnTo>
                    <a:lnTo>
                      <a:pt x="71" y="53"/>
                    </a:lnTo>
                    <a:lnTo>
                      <a:pt x="74" y="53"/>
                    </a:lnTo>
                    <a:lnTo>
                      <a:pt x="76" y="54"/>
                    </a:lnTo>
                    <a:lnTo>
                      <a:pt x="77" y="54"/>
                    </a:lnTo>
                    <a:lnTo>
                      <a:pt x="80" y="53"/>
                    </a:lnTo>
                    <a:lnTo>
                      <a:pt x="83" y="50"/>
                    </a:lnTo>
                    <a:lnTo>
                      <a:pt x="84" y="47"/>
                    </a:lnTo>
                    <a:lnTo>
                      <a:pt x="84" y="44"/>
                    </a:lnTo>
                    <a:lnTo>
                      <a:pt x="83" y="44"/>
                    </a:lnTo>
                    <a:lnTo>
                      <a:pt x="83" y="43"/>
                    </a:lnTo>
                    <a:lnTo>
                      <a:pt x="82" y="43"/>
                    </a:lnTo>
                    <a:lnTo>
                      <a:pt x="82" y="43"/>
                    </a:lnTo>
                    <a:lnTo>
                      <a:pt x="80" y="41"/>
                    </a:lnTo>
                    <a:lnTo>
                      <a:pt x="80" y="41"/>
                    </a:lnTo>
                    <a:lnTo>
                      <a:pt x="77" y="40"/>
                    </a:lnTo>
                    <a:lnTo>
                      <a:pt x="76" y="40"/>
                    </a:lnTo>
                    <a:lnTo>
                      <a:pt x="74" y="39"/>
                    </a:lnTo>
                    <a:lnTo>
                      <a:pt x="77" y="37"/>
                    </a:lnTo>
                    <a:lnTo>
                      <a:pt x="79" y="37"/>
                    </a:lnTo>
                    <a:lnTo>
                      <a:pt x="79" y="36"/>
                    </a:lnTo>
                    <a:lnTo>
                      <a:pt x="77" y="34"/>
                    </a:lnTo>
                    <a:lnTo>
                      <a:pt x="76" y="33"/>
                    </a:lnTo>
                    <a:lnTo>
                      <a:pt x="73" y="31"/>
                    </a:lnTo>
                    <a:lnTo>
                      <a:pt x="71" y="30"/>
                    </a:lnTo>
                    <a:lnTo>
                      <a:pt x="70" y="30"/>
                    </a:lnTo>
                    <a:lnTo>
                      <a:pt x="69" y="30"/>
                    </a:lnTo>
                    <a:lnTo>
                      <a:pt x="66" y="31"/>
                    </a:lnTo>
                    <a:lnTo>
                      <a:pt x="63" y="33"/>
                    </a:lnTo>
                    <a:lnTo>
                      <a:pt x="61" y="33"/>
                    </a:lnTo>
                    <a:lnTo>
                      <a:pt x="60" y="33"/>
                    </a:lnTo>
                    <a:lnTo>
                      <a:pt x="56" y="31"/>
                    </a:lnTo>
                    <a:lnTo>
                      <a:pt x="53" y="30"/>
                    </a:lnTo>
                    <a:lnTo>
                      <a:pt x="50" y="27"/>
                    </a:lnTo>
                    <a:lnTo>
                      <a:pt x="48" y="23"/>
                    </a:lnTo>
                    <a:lnTo>
                      <a:pt x="48" y="21"/>
                    </a:lnTo>
                    <a:lnTo>
                      <a:pt x="50" y="18"/>
                    </a:lnTo>
                    <a:lnTo>
                      <a:pt x="50" y="17"/>
                    </a:lnTo>
                    <a:lnTo>
                      <a:pt x="50" y="16"/>
                    </a:lnTo>
                    <a:lnTo>
                      <a:pt x="48" y="14"/>
                    </a:lnTo>
                    <a:lnTo>
                      <a:pt x="48" y="14"/>
                    </a:lnTo>
                    <a:lnTo>
                      <a:pt x="47" y="13"/>
                    </a:lnTo>
                    <a:lnTo>
                      <a:pt x="47" y="16"/>
                    </a:lnTo>
                    <a:lnTo>
                      <a:pt x="46" y="16"/>
                    </a:lnTo>
                    <a:lnTo>
                      <a:pt x="44" y="13"/>
                    </a:lnTo>
                    <a:lnTo>
                      <a:pt x="41" y="10"/>
                    </a:lnTo>
                    <a:lnTo>
                      <a:pt x="37" y="6"/>
                    </a:lnTo>
                    <a:lnTo>
                      <a:pt x="36" y="3"/>
                    </a:lnTo>
                    <a:lnTo>
                      <a:pt x="34" y="1"/>
                    </a:lnTo>
                    <a:lnTo>
                      <a:pt x="34" y="1"/>
                    </a:lnTo>
                    <a:lnTo>
                      <a:pt x="33" y="1"/>
                    </a:lnTo>
                    <a:lnTo>
                      <a:pt x="31" y="1"/>
                    </a:lnTo>
                    <a:lnTo>
                      <a:pt x="30" y="1"/>
                    </a:lnTo>
                    <a:lnTo>
                      <a:pt x="30" y="1"/>
                    </a:lnTo>
                    <a:lnTo>
                      <a:pt x="28" y="0"/>
                    </a:lnTo>
                    <a:lnTo>
                      <a:pt x="28" y="0"/>
                    </a:lnTo>
                    <a:lnTo>
                      <a:pt x="28" y="1"/>
                    </a:lnTo>
                    <a:lnTo>
                      <a:pt x="27" y="3"/>
                    </a:lnTo>
                    <a:lnTo>
                      <a:pt x="25" y="3"/>
                    </a:lnTo>
                    <a:lnTo>
                      <a:pt x="25" y="4"/>
                    </a:lnTo>
                    <a:lnTo>
                      <a:pt x="25" y="7"/>
                    </a:lnTo>
                    <a:lnTo>
                      <a:pt x="28" y="14"/>
                    </a:lnTo>
                    <a:lnTo>
                      <a:pt x="30" y="24"/>
                    </a:lnTo>
                    <a:lnTo>
                      <a:pt x="30" y="24"/>
                    </a:lnTo>
                    <a:lnTo>
                      <a:pt x="28" y="26"/>
                    </a:lnTo>
                    <a:lnTo>
                      <a:pt x="27" y="26"/>
                    </a:lnTo>
                    <a:lnTo>
                      <a:pt x="27" y="24"/>
                    </a:lnTo>
                    <a:lnTo>
                      <a:pt x="25" y="24"/>
                    </a:lnTo>
                    <a:lnTo>
                      <a:pt x="23" y="24"/>
                    </a:lnTo>
                    <a:lnTo>
                      <a:pt x="21" y="24"/>
                    </a:lnTo>
                    <a:lnTo>
                      <a:pt x="20" y="24"/>
                    </a:lnTo>
                    <a:lnTo>
                      <a:pt x="18" y="23"/>
                    </a:lnTo>
                    <a:lnTo>
                      <a:pt x="18" y="18"/>
                    </a:lnTo>
                    <a:lnTo>
                      <a:pt x="18" y="17"/>
                    </a:lnTo>
                    <a:lnTo>
                      <a:pt x="17" y="20"/>
                    </a:lnTo>
                    <a:lnTo>
                      <a:pt x="15" y="20"/>
                    </a:lnTo>
                    <a:lnTo>
                      <a:pt x="13" y="23"/>
                    </a:lnTo>
                    <a:lnTo>
                      <a:pt x="11" y="23"/>
                    </a:lnTo>
                    <a:lnTo>
                      <a:pt x="11" y="24"/>
                    </a:lnTo>
                    <a:lnTo>
                      <a:pt x="8" y="27"/>
                    </a:lnTo>
                    <a:lnTo>
                      <a:pt x="7" y="29"/>
                    </a:lnTo>
                    <a:lnTo>
                      <a:pt x="7" y="30"/>
                    </a:lnTo>
                    <a:lnTo>
                      <a:pt x="8" y="31"/>
                    </a:lnTo>
                    <a:lnTo>
                      <a:pt x="8" y="31"/>
                    </a:lnTo>
                    <a:lnTo>
                      <a:pt x="4" y="33"/>
                    </a:lnTo>
                    <a:lnTo>
                      <a:pt x="3" y="33"/>
                    </a:lnTo>
                    <a:lnTo>
                      <a:pt x="1" y="34"/>
                    </a:lnTo>
                    <a:lnTo>
                      <a:pt x="1" y="37"/>
                    </a:lnTo>
                    <a:lnTo>
                      <a:pt x="0" y="41"/>
                    </a:lnTo>
                    <a:lnTo>
                      <a:pt x="0" y="43"/>
                    </a:lnTo>
                    <a:lnTo>
                      <a:pt x="3" y="40"/>
                    </a:lnTo>
                    <a:lnTo>
                      <a:pt x="3" y="40"/>
                    </a:lnTo>
                    <a:lnTo>
                      <a:pt x="4" y="40"/>
                    </a:lnTo>
                    <a:lnTo>
                      <a:pt x="5" y="41"/>
                    </a:lnTo>
                    <a:lnTo>
                      <a:pt x="7" y="43"/>
                    </a:lnTo>
                    <a:lnTo>
                      <a:pt x="7" y="44"/>
                    </a:lnTo>
                    <a:lnTo>
                      <a:pt x="7" y="47"/>
                    </a:lnTo>
                    <a:lnTo>
                      <a:pt x="5" y="50"/>
                    </a:lnTo>
                    <a:lnTo>
                      <a:pt x="5" y="53"/>
                    </a:lnTo>
                    <a:lnTo>
                      <a:pt x="7" y="56"/>
                    </a:lnTo>
                    <a:lnTo>
                      <a:pt x="10" y="56"/>
                    </a:lnTo>
                    <a:lnTo>
                      <a:pt x="13" y="54"/>
                    </a:lnTo>
                    <a:lnTo>
                      <a:pt x="15" y="54"/>
                    </a:lnTo>
                    <a:lnTo>
                      <a:pt x="18" y="56"/>
                    </a:lnTo>
                    <a:lnTo>
                      <a:pt x="20" y="57"/>
                    </a:lnTo>
                    <a:lnTo>
                      <a:pt x="20" y="62"/>
                    </a:lnTo>
                    <a:lnTo>
                      <a:pt x="20" y="66"/>
                    </a:lnTo>
                    <a:lnTo>
                      <a:pt x="20" y="67"/>
                    </a:lnTo>
                    <a:lnTo>
                      <a:pt x="20" y="70"/>
                    </a:lnTo>
                    <a:lnTo>
                      <a:pt x="18" y="73"/>
                    </a:lnTo>
                    <a:lnTo>
                      <a:pt x="17" y="75"/>
                    </a:lnTo>
                    <a:lnTo>
                      <a:pt x="17" y="76"/>
                    </a:lnTo>
                    <a:lnTo>
                      <a:pt x="17" y="76"/>
                    </a:lnTo>
                    <a:lnTo>
                      <a:pt x="17" y="77"/>
                    </a:lnTo>
                    <a:lnTo>
                      <a:pt x="17" y="80"/>
                    </a:lnTo>
                    <a:lnTo>
                      <a:pt x="18" y="80"/>
                    </a:lnTo>
                    <a:lnTo>
                      <a:pt x="18" y="82"/>
                    </a:lnTo>
                    <a:lnTo>
                      <a:pt x="17" y="83"/>
                    </a:lnTo>
                    <a:lnTo>
                      <a:pt x="14" y="90"/>
                    </a:lnTo>
                    <a:lnTo>
                      <a:pt x="14" y="92"/>
                    </a:lnTo>
                    <a:lnTo>
                      <a:pt x="15" y="93"/>
                    </a:lnTo>
                    <a:lnTo>
                      <a:pt x="20" y="93"/>
                    </a:lnTo>
                    <a:lnTo>
                      <a:pt x="30" y="83"/>
                    </a:lnTo>
                    <a:lnTo>
                      <a:pt x="34" y="82"/>
                    </a:lnTo>
                    <a:lnTo>
                      <a:pt x="36" y="82"/>
                    </a:lnTo>
                    <a:lnTo>
                      <a:pt x="36" y="82"/>
                    </a:lnTo>
                    <a:lnTo>
                      <a:pt x="37" y="82"/>
                    </a:lnTo>
                    <a:lnTo>
                      <a:pt x="40" y="83"/>
                    </a:lnTo>
                    <a:lnTo>
                      <a:pt x="43" y="86"/>
                    </a:lnTo>
                    <a:lnTo>
                      <a:pt x="44" y="86"/>
                    </a:lnTo>
                    <a:lnTo>
                      <a:pt x="44" y="86"/>
                    </a:lnTo>
                    <a:lnTo>
                      <a:pt x="44" y="87"/>
                    </a:lnTo>
                    <a:lnTo>
                      <a:pt x="44" y="87"/>
                    </a:lnTo>
                    <a:lnTo>
                      <a:pt x="44" y="87"/>
                    </a:lnTo>
                    <a:lnTo>
                      <a:pt x="46" y="87"/>
                    </a:lnTo>
                    <a:lnTo>
                      <a:pt x="46" y="87"/>
                    </a:lnTo>
                    <a:lnTo>
                      <a:pt x="46" y="86"/>
                    </a:lnTo>
                    <a:lnTo>
                      <a:pt x="46" y="86"/>
                    </a:lnTo>
                    <a:lnTo>
                      <a:pt x="48" y="86"/>
                    </a:lnTo>
                    <a:lnTo>
                      <a:pt x="50" y="85"/>
                    </a:lnTo>
                    <a:lnTo>
                      <a:pt x="51" y="83"/>
                    </a:lnTo>
                    <a:lnTo>
                      <a:pt x="53" y="82"/>
                    </a:lnTo>
                    <a:lnTo>
                      <a:pt x="53" y="82"/>
                    </a:lnTo>
                    <a:lnTo>
                      <a:pt x="53" y="82"/>
                    </a:lnTo>
                    <a:lnTo>
                      <a:pt x="53" y="80"/>
                    </a:lnTo>
                    <a:lnTo>
                      <a:pt x="54" y="80"/>
                    </a:lnTo>
                    <a:lnTo>
                      <a:pt x="54" y="79"/>
                    </a:lnTo>
                    <a:lnTo>
                      <a:pt x="56" y="79"/>
                    </a:lnTo>
                    <a:lnTo>
                      <a:pt x="56" y="79"/>
                    </a:lnTo>
                    <a:lnTo>
                      <a:pt x="56" y="77"/>
                    </a:lnTo>
                    <a:lnTo>
                      <a:pt x="56" y="77"/>
                    </a:lnTo>
                    <a:lnTo>
                      <a:pt x="57" y="77"/>
                    </a:lnTo>
                    <a:lnTo>
                      <a:pt x="60" y="76"/>
                    </a:lnTo>
                    <a:lnTo>
                      <a:pt x="63" y="77"/>
                    </a:lnTo>
                    <a:lnTo>
                      <a:pt x="67" y="79"/>
                    </a:lnTo>
                    <a:lnTo>
                      <a:pt x="69" y="80"/>
                    </a:lnTo>
                    <a:lnTo>
                      <a:pt x="71" y="83"/>
                    </a:lnTo>
                    <a:lnTo>
                      <a:pt x="74" y="87"/>
                    </a:lnTo>
                    <a:lnTo>
                      <a:pt x="76" y="90"/>
                    </a:lnTo>
                    <a:lnTo>
                      <a:pt x="79" y="93"/>
                    </a:lnTo>
                    <a:lnTo>
                      <a:pt x="80" y="95"/>
                    </a:lnTo>
                    <a:lnTo>
                      <a:pt x="82" y="98"/>
                    </a:lnTo>
                    <a:lnTo>
                      <a:pt x="82" y="100"/>
                    </a:lnTo>
                    <a:lnTo>
                      <a:pt x="82" y="103"/>
                    </a:lnTo>
                    <a:lnTo>
                      <a:pt x="82" y="108"/>
                    </a:lnTo>
                    <a:lnTo>
                      <a:pt x="82" y="110"/>
                    </a:lnTo>
                    <a:lnTo>
                      <a:pt x="83" y="113"/>
                    </a:lnTo>
                    <a:lnTo>
                      <a:pt x="84" y="115"/>
                    </a:lnTo>
                    <a:lnTo>
                      <a:pt x="86" y="118"/>
                    </a:lnTo>
                    <a:lnTo>
                      <a:pt x="87" y="119"/>
                    </a:lnTo>
                    <a:lnTo>
                      <a:pt x="90" y="119"/>
                    </a:lnTo>
                    <a:lnTo>
                      <a:pt x="92" y="121"/>
                    </a:lnTo>
                    <a:lnTo>
                      <a:pt x="92" y="122"/>
                    </a:lnTo>
                    <a:lnTo>
                      <a:pt x="92" y="122"/>
                    </a:lnTo>
                    <a:lnTo>
                      <a:pt x="92" y="123"/>
                    </a:lnTo>
                    <a:lnTo>
                      <a:pt x="93" y="123"/>
                    </a:lnTo>
                    <a:lnTo>
                      <a:pt x="93" y="125"/>
                    </a:lnTo>
                    <a:lnTo>
                      <a:pt x="96" y="126"/>
                    </a:lnTo>
                    <a:lnTo>
                      <a:pt x="96" y="126"/>
                    </a:lnTo>
                    <a:lnTo>
                      <a:pt x="97" y="129"/>
                    </a:lnTo>
                    <a:lnTo>
                      <a:pt x="96" y="131"/>
                    </a:lnTo>
                    <a:lnTo>
                      <a:pt x="96" y="132"/>
                    </a:lnTo>
                    <a:lnTo>
                      <a:pt x="94" y="133"/>
                    </a:lnTo>
                    <a:lnTo>
                      <a:pt x="94" y="139"/>
                    </a:lnTo>
                    <a:lnTo>
                      <a:pt x="94" y="144"/>
                    </a:lnTo>
                    <a:lnTo>
                      <a:pt x="93" y="148"/>
                    </a:lnTo>
                    <a:lnTo>
                      <a:pt x="89" y="152"/>
                    </a:lnTo>
                    <a:lnTo>
                      <a:pt x="90" y="154"/>
                    </a:lnTo>
                    <a:lnTo>
                      <a:pt x="92" y="155"/>
                    </a:lnTo>
                    <a:lnTo>
                      <a:pt x="94" y="155"/>
                    </a:lnTo>
                    <a:lnTo>
                      <a:pt x="97" y="156"/>
                    </a:lnTo>
                    <a:lnTo>
                      <a:pt x="102" y="159"/>
                    </a:lnTo>
                    <a:lnTo>
                      <a:pt x="104" y="159"/>
                    </a:lnTo>
                    <a:lnTo>
                      <a:pt x="106" y="158"/>
                    </a:lnTo>
                    <a:lnTo>
                      <a:pt x="104" y="155"/>
                    </a:lnTo>
                    <a:lnTo>
                      <a:pt x="104" y="154"/>
                    </a:lnTo>
                    <a:lnTo>
                      <a:pt x="104" y="151"/>
                    </a:lnTo>
                    <a:lnTo>
                      <a:pt x="104" y="151"/>
                    </a:lnTo>
                    <a:lnTo>
                      <a:pt x="106" y="151"/>
                    </a:lnTo>
                    <a:lnTo>
                      <a:pt x="107" y="149"/>
                    </a:lnTo>
                    <a:lnTo>
                      <a:pt x="107" y="149"/>
                    </a:lnTo>
                    <a:lnTo>
                      <a:pt x="109" y="149"/>
                    </a:lnTo>
                    <a:lnTo>
                      <a:pt x="110" y="149"/>
                    </a:lnTo>
                    <a:lnTo>
                      <a:pt x="112" y="148"/>
                    </a:lnTo>
                    <a:lnTo>
                      <a:pt x="112" y="148"/>
                    </a:lnTo>
                    <a:lnTo>
                      <a:pt x="115" y="149"/>
                    </a:lnTo>
                    <a:lnTo>
                      <a:pt x="116" y="151"/>
                    </a:lnTo>
                    <a:lnTo>
                      <a:pt x="119" y="151"/>
                    </a:lnTo>
                    <a:lnTo>
                      <a:pt x="122" y="151"/>
                    </a:lnTo>
                    <a:lnTo>
                      <a:pt x="126" y="148"/>
                    </a:lnTo>
                    <a:lnTo>
                      <a:pt x="127" y="148"/>
                    </a:lnTo>
                    <a:lnTo>
                      <a:pt x="127" y="146"/>
                    </a:lnTo>
                    <a:lnTo>
                      <a:pt x="129" y="146"/>
                    </a:lnTo>
                    <a:lnTo>
                      <a:pt x="130" y="145"/>
                    </a:lnTo>
                    <a:lnTo>
                      <a:pt x="130" y="144"/>
                    </a:lnTo>
                    <a:lnTo>
                      <a:pt x="129" y="141"/>
                    </a:lnTo>
                    <a:lnTo>
                      <a:pt x="129" y="139"/>
                    </a:lnTo>
                    <a:lnTo>
                      <a:pt x="130" y="139"/>
                    </a:lnTo>
                    <a:lnTo>
                      <a:pt x="130" y="138"/>
                    </a:lnTo>
                    <a:lnTo>
                      <a:pt x="132" y="136"/>
                    </a:lnTo>
                    <a:lnTo>
                      <a:pt x="132" y="135"/>
                    </a:lnTo>
                    <a:lnTo>
                      <a:pt x="132" y="13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53" name="Freeform 149">
                <a:extLst>
                  <a:ext uri="{FF2B5EF4-FFF2-40B4-BE49-F238E27FC236}">
                    <a16:creationId xmlns:a16="http://schemas.microsoft.com/office/drawing/2014/main" id="{821F5149-D251-E4CA-57BA-9274772705BA}"/>
                  </a:ext>
                </a:extLst>
              </p:cNvPr>
              <p:cNvSpPr>
                <a:spLocks noEditPoints="1"/>
              </p:cNvSpPr>
              <p:nvPr/>
            </p:nvSpPr>
            <p:spPr bwMode="auto">
              <a:xfrm>
                <a:off x="7865457" y="3408245"/>
                <a:ext cx="117123" cy="161948"/>
              </a:xfrm>
              <a:custGeom>
                <a:avLst/>
                <a:gdLst>
                  <a:gd name="T0" fmla="*/ 68 w 81"/>
                  <a:gd name="T1" fmla="*/ 86 h 112"/>
                  <a:gd name="T2" fmla="*/ 55 w 81"/>
                  <a:gd name="T3" fmla="*/ 77 h 112"/>
                  <a:gd name="T4" fmla="*/ 45 w 81"/>
                  <a:gd name="T5" fmla="*/ 62 h 112"/>
                  <a:gd name="T6" fmla="*/ 45 w 81"/>
                  <a:gd name="T7" fmla="*/ 67 h 112"/>
                  <a:gd name="T8" fmla="*/ 43 w 81"/>
                  <a:gd name="T9" fmla="*/ 77 h 112"/>
                  <a:gd name="T10" fmla="*/ 36 w 81"/>
                  <a:gd name="T11" fmla="*/ 90 h 112"/>
                  <a:gd name="T12" fmla="*/ 35 w 81"/>
                  <a:gd name="T13" fmla="*/ 87 h 112"/>
                  <a:gd name="T14" fmla="*/ 33 w 81"/>
                  <a:gd name="T15" fmla="*/ 85 h 112"/>
                  <a:gd name="T16" fmla="*/ 26 w 81"/>
                  <a:gd name="T17" fmla="*/ 83 h 112"/>
                  <a:gd name="T18" fmla="*/ 19 w 81"/>
                  <a:gd name="T19" fmla="*/ 87 h 112"/>
                  <a:gd name="T20" fmla="*/ 16 w 81"/>
                  <a:gd name="T21" fmla="*/ 72 h 112"/>
                  <a:gd name="T22" fmla="*/ 12 w 81"/>
                  <a:gd name="T23" fmla="*/ 63 h 112"/>
                  <a:gd name="T24" fmla="*/ 12 w 81"/>
                  <a:gd name="T25" fmla="*/ 51 h 112"/>
                  <a:gd name="T26" fmla="*/ 7 w 81"/>
                  <a:gd name="T27" fmla="*/ 43 h 112"/>
                  <a:gd name="T28" fmla="*/ 4 w 81"/>
                  <a:gd name="T29" fmla="*/ 41 h 112"/>
                  <a:gd name="T30" fmla="*/ 0 w 81"/>
                  <a:gd name="T31" fmla="*/ 37 h 112"/>
                  <a:gd name="T32" fmla="*/ 9 w 81"/>
                  <a:gd name="T33" fmla="*/ 27 h 112"/>
                  <a:gd name="T34" fmla="*/ 16 w 81"/>
                  <a:gd name="T35" fmla="*/ 27 h 112"/>
                  <a:gd name="T36" fmla="*/ 16 w 81"/>
                  <a:gd name="T37" fmla="*/ 24 h 112"/>
                  <a:gd name="T38" fmla="*/ 10 w 81"/>
                  <a:gd name="T39" fmla="*/ 21 h 112"/>
                  <a:gd name="T40" fmla="*/ 3 w 81"/>
                  <a:gd name="T41" fmla="*/ 16 h 112"/>
                  <a:gd name="T42" fmla="*/ 4 w 81"/>
                  <a:gd name="T43" fmla="*/ 7 h 112"/>
                  <a:gd name="T44" fmla="*/ 7 w 81"/>
                  <a:gd name="T45" fmla="*/ 3 h 112"/>
                  <a:gd name="T46" fmla="*/ 6 w 81"/>
                  <a:gd name="T47" fmla="*/ 1 h 112"/>
                  <a:gd name="T48" fmla="*/ 9 w 81"/>
                  <a:gd name="T49" fmla="*/ 1 h 112"/>
                  <a:gd name="T50" fmla="*/ 12 w 81"/>
                  <a:gd name="T51" fmla="*/ 6 h 112"/>
                  <a:gd name="T52" fmla="*/ 17 w 81"/>
                  <a:gd name="T53" fmla="*/ 6 h 112"/>
                  <a:gd name="T54" fmla="*/ 17 w 81"/>
                  <a:gd name="T55" fmla="*/ 3 h 112"/>
                  <a:gd name="T56" fmla="*/ 19 w 81"/>
                  <a:gd name="T57" fmla="*/ 6 h 112"/>
                  <a:gd name="T58" fmla="*/ 26 w 81"/>
                  <a:gd name="T59" fmla="*/ 11 h 112"/>
                  <a:gd name="T60" fmla="*/ 27 w 81"/>
                  <a:gd name="T61" fmla="*/ 7 h 112"/>
                  <a:gd name="T62" fmla="*/ 32 w 81"/>
                  <a:gd name="T63" fmla="*/ 16 h 112"/>
                  <a:gd name="T64" fmla="*/ 32 w 81"/>
                  <a:gd name="T65" fmla="*/ 23 h 112"/>
                  <a:gd name="T66" fmla="*/ 42 w 81"/>
                  <a:gd name="T67" fmla="*/ 27 h 112"/>
                  <a:gd name="T68" fmla="*/ 49 w 81"/>
                  <a:gd name="T69" fmla="*/ 29 h 112"/>
                  <a:gd name="T70" fmla="*/ 62 w 81"/>
                  <a:gd name="T71" fmla="*/ 29 h 112"/>
                  <a:gd name="T72" fmla="*/ 78 w 81"/>
                  <a:gd name="T73" fmla="*/ 31 h 112"/>
                  <a:gd name="T74" fmla="*/ 78 w 81"/>
                  <a:gd name="T75" fmla="*/ 34 h 112"/>
                  <a:gd name="T76" fmla="*/ 75 w 81"/>
                  <a:gd name="T77" fmla="*/ 34 h 112"/>
                  <a:gd name="T78" fmla="*/ 72 w 81"/>
                  <a:gd name="T79" fmla="*/ 43 h 112"/>
                  <a:gd name="T80" fmla="*/ 69 w 81"/>
                  <a:gd name="T81" fmla="*/ 43 h 112"/>
                  <a:gd name="T82" fmla="*/ 66 w 81"/>
                  <a:gd name="T83" fmla="*/ 46 h 112"/>
                  <a:gd name="T84" fmla="*/ 63 w 81"/>
                  <a:gd name="T85" fmla="*/ 47 h 112"/>
                  <a:gd name="T86" fmla="*/ 56 w 81"/>
                  <a:gd name="T87" fmla="*/ 51 h 112"/>
                  <a:gd name="T88" fmla="*/ 58 w 81"/>
                  <a:gd name="T89" fmla="*/ 66 h 112"/>
                  <a:gd name="T90" fmla="*/ 59 w 81"/>
                  <a:gd name="T91" fmla="*/ 66 h 112"/>
                  <a:gd name="T92" fmla="*/ 62 w 81"/>
                  <a:gd name="T93" fmla="*/ 70 h 112"/>
                  <a:gd name="T94" fmla="*/ 66 w 81"/>
                  <a:gd name="T95" fmla="*/ 64 h 112"/>
                  <a:gd name="T96" fmla="*/ 69 w 81"/>
                  <a:gd name="T97" fmla="*/ 60 h 112"/>
                  <a:gd name="T98" fmla="*/ 69 w 81"/>
                  <a:gd name="T99" fmla="*/ 56 h 112"/>
                  <a:gd name="T100" fmla="*/ 75 w 81"/>
                  <a:gd name="T101" fmla="*/ 59 h 112"/>
                  <a:gd name="T102" fmla="*/ 78 w 81"/>
                  <a:gd name="T103" fmla="*/ 72 h 112"/>
                  <a:gd name="T104" fmla="*/ 79 w 81"/>
                  <a:gd name="T105" fmla="*/ 76 h 112"/>
                  <a:gd name="T106" fmla="*/ 81 w 81"/>
                  <a:gd name="T107" fmla="*/ 102 h 112"/>
                  <a:gd name="T108" fmla="*/ 73 w 81"/>
                  <a:gd name="T109" fmla="*/ 106 h 112"/>
                  <a:gd name="T110" fmla="*/ 68 w 81"/>
                  <a:gd name="T111" fmla="*/ 92 h 112"/>
                  <a:gd name="T112" fmla="*/ 46 w 81"/>
                  <a:gd name="T113" fmla="*/ 77 h 112"/>
                  <a:gd name="T114" fmla="*/ 50 w 81"/>
                  <a:gd name="T115" fmla="*/ 83 h 112"/>
                  <a:gd name="T116" fmla="*/ 60 w 81"/>
                  <a:gd name="T117" fmla="*/ 79 h 112"/>
                  <a:gd name="T118" fmla="*/ 46 w 81"/>
                  <a:gd name="T119" fmla="*/ 70 h 112"/>
                  <a:gd name="T120" fmla="*/ 46 w 81"/>
                  <a:gd name="T121" fmla="*/ 72 h 112"/>
                  <a:gd name="T122" fmla="*/ 53 w 81"/>
                  <a:gd name="T123" fmla="*/ 8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 h="112">
                    <a:moveTo>
                      <a:pt x="73" y="106"/>
                    </a:moveTo>
                    <a:lnTo>
                      <a:pt x="76" y="112"/>
                    </a:lnTo>
                    <a:lnTo>
                      <a:pt x="73" y="108"/>
                    </a:lnTo>
                    <a:lnTo>
                      <a:pt x="72" y="105"/>
                    </a:lnTo>
                    <a:lnTo>
                      <a:pt x="70" y="96"/>
                    </a:lnTo>
                    <a:lnTo>
                      <a:pt x="68" y="89"/>
                    </a:lnTo>
                    <a:lnTo>
                      <a:pt x="68" y="86"/>
                    </a:lnTo>
                    <a:lnTo>
                      <a:pt x="68" y="82"/>
                    </a:lnTo>
                    <a:lnTo>
                      <a:pt x="66" y="83"/>
                    </a:lnTo>
                    <a:lnTo>
                      <a:pt x="63" y="77"/>
                    </a:lnTo>
                    <a:lnTo>
                      <a:pt x="62" y="74"/>
                    </a:lnTo>
                    <a:lnTo>
                      <a:pt x="60" y="72"/>
                    </a:lnTo>
                    <a:lnTo>
                      <a:pt x="59" y="74"/>
                    </a:lnTo>
                    <a:lnTo>
                      <a:pt x="55" y="77"/>
                    </a:lnTo>
                    <a:lnTo>
                      <a:pt x="52" y="76"/>
                    </a:lnTo>
                    <a:lnTo>
                      <a:pt x="49" y="74"/>
                    </a:lnTo>
                    <a:lnTo>
                      <a:pt x="47" y="70"/>
                    </a:lnTo>
                    <a:lnTo>
                      <a:pt x="46" y="66"/>
                    </a:lnTo>
                    <a:lnTo>
                      <a:pt x="46" y="59"/>
                    </a:lnTo>
                    <a:lnTo>
                      <a:pt x="45" y="60"/>
                    </a:lnTo>
                    <a:lnTo>
                      <a:pt x="45" y="62"/>
                    </a:lnTo>
                    <a:lnTo>
                      <a:pt x="42" y="62"/>
                    </a:lnTo>
                    <a:lnTo>
                      <a:pt x="40" y="60"/>
                    </a:lnTo>
                    <a:lnTo>
                      <a:pt x="42" y="62"/>
                    </a:lnTo>
                    <a:lnTo>
                      <a:pt x="43" y="63"/>
                    </a:lnTo>
                    <a:lnTo>
                      <a:pt x="45" y="64"/>
                    </a:lnTo>
                    <a:lnTo>
                      <a:pt x="46" y="66"/>
                    </a:lnTo>
                    <a:lnTo>
                      <a:pt x="45" y="67"/>
                    </a:lnTo>
                    <a:lnTo>
                      <a:pt x="43" y="69"/>
                    </a:lnTo>
                    <a:lnTo>
                      <a:pt x="43" y="70"/>
                    </a:lnTo>
                    <a:lnTo>
                      <a:pt x="45" y="72"/>
                    </a:lnTo>
                    <a:lnTo>
                      <a:pt x="43" y="72"/>
                    </a:lnTo>
                    <a:lnTo>
                      <a:pt x="43" y="73"/>
                    </a:lnTo>
                    <a:lnTo>
                      <a:pt x="43" y="76"/>
                    </a:lnTo>
                    <a:lnTo>
                      <a:pt x="43" y="77"/>
                    </a:lnTo>
                    <a:lnTo>
                      <a:pt x="46" y="82"/>
                    </a:lnTo>
                    <a:lnTo>
                      <a:pt x="46" y="83"/>
                    </a:lnTo>
                    <a:lnTo>
                      <a:pt x="45" y="85"/>
                    </a:lnTo>
                    <a:lnTo>
                      <a:pt x="42" y="89"/>
                    </a:lnTo>
                    <a:lnTo>
                      <a:pt x="39" y="92"/>
                    </a:lnTo>
                    <a:lnTo>
                      <a:pt x="37" y="92"/>
                    </a:lnTo>
                    <a:lnTo>
                      <a:pt x="36" y="90"/>
                    </a:lnTo>
                    <a:lnTo>
                      <a:pt x="36" y="89"/>
                    </a:lnTo>
                    <a:lnTo>
                      <a:pt x="37" y="87"/>
                    </a:lnTo>
                    <a:lnTo>
                      <a:pt x="39" y="86"/>
                    </a:lnTo>
                    <a:lnTo>
                      <a:pt x="37" y="86"/>
                    </a:lnTo>
                    <a:lnTo>
                      <a:pt x="36" y="86"/>
                    </a:lnTo>
                    <a:lnTo>
                      <a:pt x="36" y="87"/>
                    </a:lnTo>
                    <a:lnTo>
                      <a:pt x="35" y="87"/>
                    </a:lnTo>
                    <a:lnTo>
                      <a:pt x="33" y="86"/>
                    </a:lnTo>
                    <a:lnTo>
                      <a:pt x="33" y="83"/>
                    </a:lnTo>
                    <a:lnTo>
                      <a:pt x="33" y="82"/>
                    </a:lnTo>
                    <a:lnTo>
                      <a:pt x="35" y="80"/>
                    </a:lnTo>
                    <a:lnTo>
                      <a:pt x="33" y="82"/>
                    </a:lnTo>
                    <a:lnTo>
                      <a:pt x="33" y="83"/>
                    </a:lnTo>
                    <a:lnTo>
                      <a:pt x="33" y="85"/>
                    </a:lnTo>
                    <a:lnTo>
                      <a:pt x="32" y="87"/>
                    </a:lnTo>
                    <a:lnTo>
                      <a:pt x="32" y="89"/>
                    </a:lnTo>
                    <a:lnTo>
                      <a:pt x="30" y="90"/>
                    </a:lnTo>
                    <a:lnTo>
                      <a:pt x="29" y="92"/>
                    </a:lnTo>
                    <a:lnTo>
                      <a:pt x="27" y="93"/>
                    </a:lnTo>
                    <a:lnTo>
                      <a:pt x="27" y="90"/>
                    </a:lnTo>
                    <a:lnTo>
                      <a:pt x="26" y="83"/>
                    </a:lnTo>
                    <a:lnTo>
                      <a:pt x="26" y="86"/>
                    </a:lnTo>
                    <a:lnTo>
                      <a:pt x="26" y="89"/>
                    </a:lnTo>
                    <a:lnTo>
                      <a:pt x="26" y="92"/>
                    </a:lnTo>
                    <a:lnTo>
                      <a:pt x="25" y="93"/>
                    </a:lnTo>
                    <a:lnTo>
                      <a:pt x="22" y="93"/>
                    </a:lnTo>
                    <a:lnTo>
                      <a:pt x="20" y="92"/>
                    </a:lnTo>
                    <a:lnTo>
                      <a:pt x="19" y="87"/>
                    </a:lnTo>
                    <a:lnTo>
                      <a:pt x="19" y="85"/>
                    </a:lnTo>
                    <a:lnTo>
                      <a:pt x="19" y="83"/>
                    </a:lnTo>
                    <a:lnTo>
                      <a:pt x="16" y="77"/>
                    </a:lnTo>
                    <a:lnTo>
                      <a:pt x="16" y="76"/>
                    </a:lnTo>
                    <a:lnTo>
                      <a:pt x="16" y="73"/>
                    </a:lnTo>
                    <a:lnTo>
                      <a:pt x="16" y="73"/>
                    </a:lnTo>
                    <a:lnTo>
                      <a:pt x="16" y="72"/>
                    </a:lnTo>
                    <a:lnTo>
                      <a:pt x="16" y="70"/>
                    </a:lnTo>
                    <a:lnTo>
                      <a:pt x="14" y="70"/>
                    </a:lnTo>
                    <a:lnTo>
                      <a:pt x="14" y="69"/>
                    </a:lnTo>
                    <a:lnTo>
                      <a:pt x="16" y="66"/>
                    </a:lnTo>
                    <a:lnTo>
                      <a:pt x="13" y="64"/>
                    </a:lnTo>
                    <a:lnTo>
                      <a:pt x="13" y="64"/>
                    </a:lnTo>
                    <a:lnTo>
                      <a:pt x="12" y="63"/>
                    </a:lnTo>
                    <a:lnTo>
                      <a:pt x="13" y="62"/>
                    </a:lnTo>
                    <a:lnTo>
                      <a:pt x="12" y="60"/>
                    </a:lnTo>
                    <a:lnTo>
                      <a:pt x="12" y="59"/>
                    </a:lnTo>
                    <a:lnTo>
                      <a:pt x="10" y="59"/>
                    </a:lnTo>
                    <a:lnTo>
                      <a:pt x="10" y="57"/>
                    </a:lnTo>
                    <a:lnTo>
                      <a:pt x="10" y="57"/>
                    </a:lnTo>
                    <a:lnTo>
                      <a:pt x="12" y="51"/>
                    </a:lnTo>
                    <a:lnTo>
                      <a:pt x="12" y="50"/>
                    </a:lnTo>
                    <a:lnTo>
                      <a:pt x="13" y="47"/>
                    </a:lnTo>
                    <a:lnTo>
                      <a:pt x="13" y="46"/>
                    </a:lnTo>
                    <a:lnTo>
                      <a:pt x="12" y="44"/>
                    </a:lnTo>
                    <a:lnTo>
                      <a:pt x="10" y="44"/>
                    </a:lnTo>
                    <a:lnTo>
                      <a:pt x="9" y="44"/>
                    </a:lnTo>
                    <a:lnTo>
                      <a:pt x="7" y="43"/>
                    </a:lnTo>
                    <a:lnTo>
                      <a:pt x="7" y="43"/>
                    </a:lnTo>
                    <a:lnTo>
                      <a:pt x="6" y="43"/>
                    </a:lnTo>
                    <a:lnTo>
                      <a:pt x="6" y="41"/>
                    </a:lnTo>
                    <a:lnTo>
                      <a:pt x="6" y="41"/>
                    </a:lnTo>
                    <a:lnTo>
                      <a:pt x="4" y="41"/>
                    </a:lnTo>
                    <a:lnTo>
                      <a:pt x="4" y="41"/>
                    </a:lnTo>
                    <a:lnTo>
                      <a:pt x="4" y="41"/>
                    </a:lnTo>
                    <a:lnTo>
                      <a:pt x="3" y="41"/>
                    </a:lnTo>
                    <a:lnTo>
                      <a:pt x="2" y="40"/>
                    </a:lnTo>
                    <a:lnTo>
                      <a:pt x="2" y="40"/>
                    </a:lnTo>
                    <a:lnTo>
                      <a:pt x="0" y="39"/>
                    </a:lnTo>
                    <a:lnTo>
                      <a:pt x="0" y="39"/>
                    </a:lnTo>
                    <a:lnTo>
                      <a:pt x="0" y="37"/>
                    </a:lnTo>
                    <a:lnTo>
                      <a:pt x="0" y="37"/>
                    </a:lnTo>
                    <a:lnTo>
                      <a:pt x="3" y="33"/>
                    </a:lnTo>
                    <a:lnTo>
                      <a:pt x="4" y="33"/>
                    </a:lnTo>
                    <a:lnTo>
                      <a:pt x="6" y="33"/>
                    </a:lnTo>
                    <a:lnTo>
                      <a:pt x="6" y="31"/>
                    </a:lnTo>
                    <a:lnTo>
                      <a:pt x="7" y="30"/>
                    </a:lnTo>
                    <a:lnTo>
                      <a:pt x="7" y="29"/>
                    </a:lnTo>
                    <a:lnTo>
                      <a:pt x="9" y="27"/>
                    </a:lnTo>
                    <a:lnTo>
                      <a:pt x="10" y="27"/>
                    </a:lnTo>
                    <a:lnTo>
                      <a:pt x="13" y="27"/>
                    </a:lnTo>
                    <a:lnTo>
                      <a:pt x="13" y="27"/>
                    </a:lnTo>
                    <a:lnTo>
                      <a:pt x="14" y="27"/>
                    </a:lnTo>
                    <a:lnTo>
                      <a:pt x="14" y="27"/>
                    </a:lnTo>
                    <a:lnTo>
                      <a:pt x="16" y="27"/>
                    </a:lnTo>
                    <a:lnTo>
                      <a:pt x="16" y="27"/>
                    </a:lnTo>
                    <a:lnTo>
                      <a:pt x="16" y="27"/>
                    </a:lnTo>
                    <a:lnTo>
                      <a:pt x="16" y="26"/>
                    </a:lnTo>
                    <a:lnTo>
                      <a:pt x="16" y="26"/>
                    </a:lnTo>
                    <a:lnTo>
                      <a:pt x="16" y="26"/>
                    </a:lnTo>
                    <a:lnTo>
                      <a:pt x="16" y="26"/>
                    </a:lnTo>
                    <a:lnTo>
                      <a:pt x="16" y="26"/>
                    </a:lnTo>
                    <a:lnTo>
                      <a:pt x="16" y="24"/>
                    </a:lnTo>
                    <a:lnTo>
                      <a:pt x="14" y="24"/>
                    </a:lnTo>
                    <a:lnTo>
                      <a:pt x="14" y="24"/>
                    </a:lnTo>
                    <a:lnTo>
                      <a:pt x="14" y="23"/>
                    </a:lnTo>
                    <a:lnTo>
                      <a:pt x="13" y="21"/>
                    </a:lnTo>
                    <a:lnTo>
                      <a:pt x="12" y="21"/>
                    </a:lnTo>
                    <a:lnTo>
                      <a:pt x="12" y="21"/>
                    </a:lnTo>
                    <a:lnTo>
                      <a:pt x="10" y="21"/>
                    </a:lnTo>
                    <a:lnTo>
                      <a:pt x="9" y="20"/>
                    </a:lnTo>
                    <a:lnTo>
                      <a:pt x="7" y="20"/>
                    </a:lnTo>
                    <a:lnTo>
                      <a:pt x="6" y="17"/>
                    </a:lnTo>
                    <a:lnTo>
                      <a:pt x="6" y="17"/>
                    </a:lnTo>
                    <a:lnTo>
                      <a:pt x="4" y="16"/>
                    </a:lnTo>
                    <a:lnTo>
                      <a:pt x="4" y="16"/>
                    </a:lnTo>
                    <a:lnTo>
                      <a:pt x="3" y="16"/>
                    </a:lnTo>
                    <a:lnTo>
                      <a:pt x="3" y="16"/>
                    </a:lnTo>
                    <a:lnTo>
                      <a:pt x="2" y="14"/>
                    </a:lnTo>
                    <a:lnTo>
                      <a:pt x="2" y="14"/>
                    </a:lnTo>
                    <a:lnTo>
                      <a:pt x="2" y="11"/>
                    </a:lnTo>
                    <a:lnTo>
                      <a:pt x="3" y="10"/>
                    </a:lnTo>
                    <a:lnTo>
                      <a:pt x="3" y="8"/>
                    </a:lnTo>
                    <a:lnTo>
                      <a:pt x="4" y="7"/>
                    </a:lnTo>
                    <a:lnTo>
                      <a:pt x="6" y="7"/>
                    </a:lnTo>
                    <a:lnTo>
                      <a:pt x="6" y="6"/>
                    </a:lnTo>
                    <a:lnTo>
                      <a:pt x="7" y="4"/>
                    </a:lnTo>
                    <a:lnTo>
                      <a:pt x="7" y="4"/>
                    </a:lnTo>
                    <a:lnTo>
                      <a:pt x="7" y="4"/>
                    </a:lnTo>
                    <a:lnTo>
                      <a:pt x="7" y="4"/>
                    </a:lnTo>
                    <a:lnTo>
                      <a:pt x="7" y="3"/>
                    </a:lnTo>
                    <a:lnTo>
                      <a:pt x="7" y="3"/>
                    </a:lnTo>
                    <a:lnTo>
                      <a:pt x="7" y="3"/>
                    </a:lnTo>
                    <a:lnTo>
                      <a:pt x="7" y="3"/>
                    </a:lnTo>
                    <a:lnTo>
                      <a:pt x="7" y="3"/>
                    </a:lnTo>
                    <a:lnTo>
                      <a:pt x="7" y="3"/>
                    </a:lnTo>
                    <a:lnTo>
                      <a:pt x="6" y="3"/>
                    </a:lnTo>
                    <a:lnTo>
                      <a:pt x="6" y="1"/>
                    </a:lnTo>
                    <a:lnTo>
                      <a:pt x="6" y="1"/>
                    </a:lnTo>
                    <a:lnTo>
                      <a:pt x="6" y="1"/>
                    </a:lnTo>
                    <a:lnTo>
                      <a:pt x="6" y="1"/>
                    </a:lnTo>
                    <a:lnTo>
                      <a:pt x="7" y="0"/>
                    </a:lnTo>
                    <a:lnTo>
                      <a:pt x="7" y="0"/>
                    </a:lnTo>
                    <a:lnTo>
                      <a:pt x="9" y="1"/>
                    </a:lnTo>
                    <a:lnTo>
                      <a:pt x="9" y="1"/>
                    </a:lnTo>
                    <a:lnTo>
                      <a:pt x="10" y="3"/>
                    </a:lnTo>
                    <a:lnTo>
                      <a:pt x="10" y="3"/>
                    </a:lnTo>
                    <a:lnTo>
                      <a:pt x="12" y="4"/>
                    </a:lnTo>
                    <a:lnTo>
                      <a:pt x="12" y="4"/>
                    </a:lnTo>
                    <a:lnTo>
                      <a:pt x="12" y="6"/>
                    </a:lnTo>
                    <a:lnTo>
                      <a:pt x="12" y="6"/>
                    </a:lnTo>
                    <a:lnTo>
                      <a:pt x="12" y="6"/>
                    </a:lnTo>
                    <a:lnTo>
                      <a:pt x="13" y="6"/>
                    </a:lnTo>
                    <a:lnTo>
                      <a:pt x="13" y="6"/>
                    </a:lnTo>
                    <a:lnTo>
                      <a:pt x="13" y="6"/>
                    </a:lnTo>
                    <a:lnTo>
                      <a:pt x="14" y="7"/>
                    </a:lnTo>
                    <a:lnTo>
                      <a:pt x="16" y="7"/>
                    </a:lnTo>
                    <a:lnTo>
                      <a:pt x="17" y="6"/>
                    </a:lnTo>
                    <a:lnTo>
                      <a:pt x="17" y="6"/>
                    </a:lnTo>
                    <a:lnTo>
                      <a:pt x="17" y="6"/>
                    </a:lnTo>
                    <a:lnTo>
                      <a:pt x="16" y="4"/>
                    </a:lnTo>
                    <a:lnTo>
                      <a:pt x="16" y="4"/>
                    </a:lnTo>
                    <a:lnTo>
                      <a:pt x="16" y="4"/>
                    </a:lnTo>
                    <a:lnTo>
                      <a:pt x="17" y="4"/>
                    </a:lnTo>
                    <a:lnTo>
                      <a:pt x="17" y="3"/>
                    </a:lnTo>
                    <a:lnTo>
                      <a:pt x="17" y="3"/>
                    </a:lnTo>
                    <a:lnTo>
                      <a:pt x="17" y="3"/>
                    </a:lnTo>
                    <a:lnTo>
                      <a:pt x="17" y="4"/>
                    </a:lnTo>
                    <a:lnTo>
                      <a:pt x="17" y="4"/>
                    </a:lnTo>
                    <a:lnTo>
                      <a:pt x="19" y="4"/>
                    </a:lnTo>
                    <a:lnTo>
                      <a:pt x="19" y="4"/>
                    </a:lnTo>
                    <a:lnTo>
                      <a:pt x="19" y="4"/>
                    </a:lnTo>
                    <a:lnTo>
                      <a:pt x="19" y="6"/>
                    </a:lnTo>
                    <a:lnTo>
                      <a:pt x="19" y="6"/>
                    </a:lnTo>
                    <a:lnTo>
                      <a:pt x="19" y="7"/>
                    </a:lnTo>
                    <a:lnTo>
                      <a:pt x="19" y="7"/>
                    </a:lnTo>
                    <a:lnTo>
                      <a:pt x="20" y="10"/>
                    </a:lnTo>
                    <a:lnTo>
                      <a:pt x="23" y="11"/>
                    </a:lnTo>
                    <a:lnTo>
                      <a:pt x="25" y="11"/>
                    </a:lnTo>
                    <a:lnTo>
                      <a:pt x="26" y="11"/>
                    </a:lnTo>
                    <a:lnTo>
                      <a:pt x="27" y="11"/>
                    </a:lnTo>
                    <a:lnTo>
                      <a:pt x="27" y="11"/>
                    </a:lnTo>
                    <a:lnTo>
                      <a:pt x="27" y="10"/>
                    </a:lnTo>
                    <a:lnTo>
                      <a:pt x="27" y="8"/>
                    </a:lnTo>
                    <a:lnTo>
                      <a:pt x="27" y="8"/>
                    </a:lnTo>
                    <a:lnTo>
                      <a:pt x="27" y="8"/>
                    </a:lnTo>
                    <a:lnTo>
                      <a:pt x="27" y="7"/>
                    </a:lnTo>
                    <a:lnTo>
                      <a:pt x="29" y="7"/>
                    </a:lnTo>
                    <a:lnTo>
                      <a:pt x="29" y="7"/>
                    </a:lnTo>
                    <a:lnTo>
                      <a:pt x="30" y="8"/>
                    </a:lnTo>
                    <a:lnTo>
                      <a:pt x="32" y="13"/>
                    </a:lnTo>
                    <a:lnTo>
                      <a:pt x="32" y="14"/>
                    </a:lnTo>
                    <a:lnTo>
                      <a:pt x="32" y="14"/>
                    </a:lnTo>
                    <a:lnTo>
                      <a:pt x="32" y="16"/>
                    </a:lnTo>
                    <a:lnTo>
                      <a:pt x="32" y="17"/>
                    </a:lnTo>
                    <a:lnTo>
                      <a:pt x="32" y="17"/>
                    </a:lnTo>
                    <a:lnTo>
                      <a:pt x="32" y="18"/>
                    </a:lnTo>
                    <a:lnTo>
                      <a:pt x="32" y="20"/>
                    </a:lnTo>
                    <a:lnTo>
                      <a:pt x="32" y="21"/>
                    </a:lnTo>
                    <a:lnTo>
                      <a:pt x="32" y="21"/>
                    </a:lnTo>
                    <a:lnTo>
                      <a:pt x="32" y="23"/>
                    </a:lnTo>
                    <a:lnTo>
                      <a:pt x="32" y="24"/>
                    </a:lnTo>
                    <a:lnTo>
                      <a:pt x="32" y="24"/>
                    </a:lnTo>
                    <a:lnTo>
                      <a:pt x="33" y="26"/>
                    </a:lnTo>
                    <a:lnTo>
                      <a:pt x="37" y="27"/>
                    </a:lnTo>
                    <a:lnTo>
                      <a:pt x="39" y="27"/>
                    </a:lnTo>
                    <a:lnTo>
                      <a:pt x="40" y="27"/>
                    </a:lnTo>
                    <a:lnTo>
                      <a:pt x="42" y="27"/>
                    </a:lnTo>
                    <a:lnTo>
                      <a:pt x="43" y="29"/>
                    </a:lnTo>
                    <a:lnTo>
                      <a:pt x="43" y="29"/>
                    </a:lnTo>
                    <a:lnTo>
                      <a:pt x="45" y="27"/>
                    </a:lnTo>
                    <a:lnTo>
                      <a:pt x="46" y="27"/>
                    </a:lnTo>
                    <a:lnTo>
                      <a:pt x="46" y="27"/>
                    </a:lnTo>
                    <a:lnTo>
                      <a:pt x="47" y="29"/>
                    </a:lnTo>
                    <a:lnTo>
                      <a:pt x="49" y="29"/>
                    </a:lnTo>
                    <a:lnTo>
                      <a:pt x="50" y="27"/>
                    </a:lnTo>
                    <a:lnTo>
                      <a:pt x="53" y="27"/>
                    </a:lnTo>
                    <a:lnTo>
                      <a:pt x="58" y="27"/>
                    </a:lnTo>
                    <a:lnTo>
                      <a:pt x="59" y="27"/>
                    </a:lnTo>
                    <a:lnTo>
                      <a:pt x="59" y="29"/>
                    </a:lnTo>
                    <a:lnTo>
                      <a:pt x="60" y="29"/>
                    </a:lnTo>
                    <a:lnTo>
                      <a:pt x="62" y="29"/>
                    </a:lnTo>
                    <a:lnTo>
                      <a:pt x="62" y="29"/>
                    </a:lnTo>
                    <a:lnTo>
                      <a:pt x="63" y="29"/>
                    </a:lnTo>
                    <a:lnTo>
                      <a:pt x="66" y="29"/>
                    </a:lnTo>
                    <a:lnTo>
                      <a:pt x="69" y="29"/>
                    </a:lnTo>
                    <a:lnTo>
                      <a:pt x="72" y="29"/>
                    </a:lnTo>
                    <a:lnTo>
                      <a:pt x="75" y="30"/>
                    </a:lnTo>
                    <a:lnTo>
                      <a:pt x="78" y="31"/>
                    </a:lnTo>
                    <a:lnTo>
                      <a:pt x="78" y="31"/>
                    </a:lnTo>
                    <a:lnTo>
                      <a:pt x="78" y="31"/>
                    </a:lnTo>
                    <a:lnTo>
                      <a:pt x="79" y="33"/>
                    </a:lnTo>
                    <a:lnTo>
                      <a:pt x="79" y="33"/>
                    </a:lnTo>
                    <a:lnTo>
                      <a:pt x="79" y="33"/>
                    </a:lnTo>
                    <a:lnTo>
                      <a:pt x="78" y="34"/>
                    </a:lnTo>
                    <a:lnTo>
                      <a:pt x="78" y="34"/>
                    </a:lnTo>
                    <a:lnTo>
                      <a:pt x="78" y="34"/>
                    </a:lnTo>
                    <a:lnTo>
                      <a:pt x="76" y="33"/>
                    </a:lnTo>
                    <a:lnTo>
                      <a:pt x="75" y="33"/>
                    </a:lnTo>
                    <a:lnTo>
                      <a:pt x="75" y="33"/>
                    </a:lnTo>
                    <a:lnTo>
                      <a:pt x="75" y="34"/>
                    </a:lnTo>
                    <a:lnTo>
                      <a:pt x="75" y="34"/>
                    </a:lnTo>
                    <a:lnTo>
                      <a:pt x="75" y="34"/>
                    </a:lnTo>
                    <a:lnTo>
                      <a:pt x="75" y="36"/>
                    </a:lnTo>
                    <a:lnTo>
                      <a:pt x="75" y="36"/>
                    </a:lnTo>
                    <a:lnTo>
                      <a:pt x="72" y="41"/>
                    </a:lnTo>
                    <a:lnTo>
                      <a:pt x="72" y="41"/>
                    </a:lnTo>
                    <a:lnTo>
                      <a:pt x="72" y="43"/>
                    </a:lnTo>
                    <a:lnTo>
                      <a:pt x="72" y="43"/>
                    </a:lnTo>
                    <a:lnTo>
                      <a:pt x="72" y="43"/>
                    </a:lnTo>
                    <a:lnTo>
                      <a:pt x="72" y="43"/>
                    </a:lnTo>
                    <a:lnTo>
                      <a:pt x="72" y="43"/>
                    </a:lnTo>
                    <a:lnTo>
                      <a:pt x="72" y="43"/>
                    </a:lnTo>
                    <a:lnTo>
                      <a:pt x="70" y="43"/>
                    </a:lnTo>
                    <a:lnTo>
                      <a:pt x="70" y="43"/>
                    </a:lnTo>
                    <a:lnTo>
                      <a:pt x="70" y="43"/>
                    </a:lnTo>
                    <a:lnTo>
                      <a:pt x="69" y="43"/>
                    </a:lnTo>
                    <a:lnTo>
                      <a:pt x="69" y="44"/>
                    </a:lnTo>
                    <a:lnTo>
                      <a:pt x="69" y="44"/>
                    </a:lnTo>
                    <a:lnTo>
                      <a:pt x="68" y="46"/>
                    </a:lnTo>
                    <a:lnTo>
                      <a:pt x="68" y="47"/>
                    </a:lnTo>
                    <a:lnTo>
                      <a:pt x="68" y="47"/>
                    </a:lnTo>
                    <a:lnTo>
                      <a:pt x="66" y="46"/>
                    </a:lnTo>
                    <a:lnTo>
                      <a:pt x="66" y="46"/>
                    </a:lnTo>
                    <a:lnTo>
                      <a:pt x="66" y="46"/>
                    </a:lnTo>
                    <a:lnTo>
                      <a:pt x="65" y="47"/>
                    </a:lnTo>
                    <a:lnTo>
                      <a:pt x="65" y="47"/>
                    </a:lnTo>
                    <a:lnTo>
                      <a:pt x="65" y="47"/>
                    </a:lnTo>
                    <a:lnTo>
                      <a:pt x="65" y="47"/>
                    </a:lnTo>
                    <a:lnTo>
                      <a:pt x="63" y="47"/>
                    </a:lnTo>
                    <a:lnTo>
                      <a:pt x="63" y="47"/>
                    </a:lnTo>
                    <a:lnTo>
                      <a:pt x="63" y="47"/>
                    </a:lnTo>
                    <a:lnTo>
                      <a:pt x="63" y="47"/>
                    </a:lnTo>
                    <a:lnTo>
                      <a:pt x="63" y="49"/>
                    </a:lnTo>
                    <a:lnTo>
                      <a:pt x="60" y="49"/>
                    </a:lnTo>
                    <a:lnTo>
                      <a:pt x="59" y="49"/>
                    </a:lnTo>
                    <a:lnTo>
                      <a:pt x="59" y="50"/>
                    </a:lnTo>
                    <a:lnTo>
                      <a:pt x="56" y="51"/>
                    </a:lnTo>
                    <a:lnTo>
                      <a:pt x="56" y="54"/>
                    </a:lnTo>
                    <a:lnTo>
                      <a:pt x="56" y="57"/>
                    </a:lnTo>
                    <a:lnTo>
                      <a:pt x="56" y="59"/>
                    </a:lnTo>
                    <a:lnTo>
                      <a:pt x="58" y="63"/>
                    </a:lnTo>
                    <a:lnTo>
                      <a:pt x="58" y="64"/>
                    </a:lnTo>
                    <a:lnTo>
                      <a:pt x="58" y="66"/>
                    </a:lnTo>
                    <a:lnTo>
                      <a:pt x="58" y="66"/>
                    </a:lnTo>
                    <a:lnTo>
                      <a:pt x="58" y="67"/>
                    </a:lnTo>
                    <a:lnTo>
                      <a:pt x="59" y="67"/>
                    </a:lnTo>
                    <a:lnTo>
                      <a:pt x="59" y="67"/>
                    </a:lnTo>
                    <a:lnTo>
                      <a:pt x="59" y="69"/>
                    </a:lnTo>
                    <a:lnTo>
                      <a:pt x="59" y="69"/>
                    </a:lnTo>
                    <a:lnTo>
                      <a:pt x="59" y="69"/>
                    </a:lnTo>
                    <a:lnTo>
                      <a:pt x="59" y="66"/>
                    </a:lnTo>
                    <a:lnTo>
                      <a:pt x="60" y="66"/>
                    </a:lnTo>
                    <a:lnTo>
                      <a:pt x="60" y="66"/>
                    </a:lnTo>
                    <a:lnTo>
                      <a:pt x="62" y="67"/>
                    </a:lnTo>
                    <a:lnTo>
                      <a:pt x="62" y="69"/>
                    </a:lnTo>
                    <a:lnTo>
                      <a:pt x="62" y="69"/>
                    </a:lnTo>
                    <a:lnTo>
                      <a:pt x="62" y="69"/>
                    </a:lnTo>
                    <a:lnTo>
                      <a:pt x="62" y="70"/>
                    </a:lnTo>
                    <a:lnTo>
                      <a:pt x="63" y="70"/>
                    </a:lnTo>
                    <a:lnTo>
                      <a:pt x="65" y="69"/>
                    </a:lnTo>
                    <a:lnTo>
                      <a:pt x="66" y="69"/>
                    </a:lnTo>
                    <a:lnTo>
                      <a:pt x="66" y="67"/>
                    </a:lnTo>
                    <a:lnTo>
                      <a:pt x="66" y="66"/>
                    </a:lnTo>
                    <a:lnTo>
                      <a:pt x="66" y="64"/>
                    </a:lnTo>
                    <a:lnTo>
                      <a:pt x="66" y="64"/>
                    </a:lnTo>
                    <a:lnTo>
                      <a:pt x="66" y="64"/>
                    </a:lnTo>
                    <a:lnTo>
                      <a:pt x="66" y="63"/>
                    </a:lnTo>
                    <a:lnTo>
                      <a:pt x="66" y="63"/>
                    </a:lnTo>
                    <a:lnTo>
                      <a:pt x="66" y="63"/>
                    </a:lnTo>
                    <a:lnTo>
                      <a:pt x="68" y="62"/>
                    </a:lnTo>
                    <a:lnTo>
                      <a:pt x="68" y="62"/>
                    </a:lnTo>
                    <a:lnTo>
                      <a:pt x="69" y="60"/>
                    </a:lnTo>
                    <a:lnTo>
                      <a:pt x="69" y="60"/>
                    </a:lnTo>
                    <a:lnTo>
                      <a:pt x="69" y="59"/>
                    </a:lnTo>
                    <a:lnTo>
                      <a:pt x="69" y="59"/>
                    </a:lnTo>
                    <a:lnTo>
                      <a:pt x="69" y="59"/>
                    </a:lnTo>
                    <a:lnTo>
                      <a:pt x="69" y="59"/>
                    </a:lnTo>
                    <a:lnTo>
                      <a:pt x="69" y="56"/>
                    </a:lnTo>
                    <a:lnTo>
                      <a:pt x="69" y="56"/>
                    </a:lnTo>
                    <a:lnTo>
                      <a:pt x="70" y="56"/>
                    </a:lnTo>
                    <a:lnTo>
                      <a:pt x="70" y="56"/>
                    </a:lnTo>
                    <a:lnTo>
                      <a:pt x="70" y="56"/>
                    </a:lnTo>
                    <a:lnTo>
                      <a:pt x="72" y="56"/>
                    </a:lnTo>
                    <a:lnTo>
                      <a:pt x="73" y="56"/>
                    </a:lnTo>
                    <a:lnTo>
                      <a:pt x="75" y="57"/>
                    </a:lnTo>
                    <a:lnTo>
                      <a:pt x="75" y="59"/>
                    </a:lnTo>
                    <a:lnTo>
                      <a:pt x="76" y="62"/>
                    </a:lnTo>
                    <a:lnTo>
                      <a:pt x="76" y="63"/>
                    </a:lnTo>
                    <a:lnTo>
                      <a:pt x="76" y="64"/>
                    </a:lnTo>
                    <a:lnTo>
                      <a:pt x="76" y="64"/>
                    </a:lnTo>
                    <a:lnTo>
                      <a:pt x="76" y="69"/>
                    </a:lnTo>
                    <a:lnTo>
                      <a:pt x="76" y="70"/>
                    </a:lnTo>
                    <a:lnTo>
                      <a:pt x="78" y="72"/>
                    </a:lnTo>
                    <a:lnTo>
                      <a:pt x="78" y="72"/>
                    </a:lnTo>
                    <a:lnTo>
                      <a:pt x="78" y="73"/>
                    </a:lnTo>
                    <a:lnTo>
                      <a:pt x="78" y="73"/>
                    </a:lnTo>
                    <a:lnTo>
                      <a:pt x="79" y="74"/>
                    </a:lnTo>
                    <a:lnTo>
                      <a:pt x="79" y="74"/>
                    </a:lnTo>
                    <a:lnTo>
                      <a:pt x="79" y="76"/>
                    </a:lnTo>
                    <a:lnTo>
                      <a:pt x="79" y="76"/>
                    </a:lnTo>
                    <a:lnTo>
                      <a:pt x="79" y="77"/>
                    </a:lnTo>
                    <a:lnTo>
                      <a:pt x="79" y="79"/>
                    </a:lnTo>
                    <a:lnTo>
                      <a:pt x="79" y="80"/>
                    </a:lnTo>
                    <a:lnTo>
                      <a:pt x="79" y="83"/>
                    </a:lnTo>
                    <a:lnTo>
                      <a:pt x="81" y="89"/>
                    </a:lnTo>
                    <a:lnTo>
                      <a:pt x="81" y="95"/>
                    </a:lnTo>
                    <a:lnTo>
                      <a:pt x="81" y="102"/>
                    </a:lnTo>
                    <a:lnTo>
                      <a:pt x="81" y="102"/>
                    </a:lnTo>
                    <a:lnTo>
                      <a:pt x="79" y="100"/>
                    </a:lnTo>
                    <a:lnTo>
                      <a:pt x="76" y="100"/>
                    </a:lnTo>
                    <a:lnTo>
                      <a:pt x="75" y="100"/>
                    </a:lnTo>
                    <a:lnTo>
                      <a:pt x="73" y="100"/>
                    </a:lnTo>
                    <a:lnTo>
                      <a:pt x="73" y="103"/>
                    </a:lnTo>
                    <a:lnTo>
                      <a:pt x="73" y="106"/>
                    </a:lnTo>
                    <a:close/>
                    <a:moveTo>
                      <a:pt x="68" y="92"/>
                    </a:moveTo>
                    <a:lnTo>
                      <a:pt x="68" y="90"/>
                    </a:lnTo>
                    <a:lnTo>
                      <a:pt x="68" y="90"/>
                    </a:lnTo>
                    <a:lnTo>
                      <a:pt x="68" y="92"/>
                    </a:lnTo>
                    <a:lnTo>
                      <a:pt x="68" y="92"/>
                    </a:lnTo>
                    <a:lnTo>
                      <a:pt x="68" y="93"/>
                    </a:lnTo>
                    <a:lnTo>
                      <a:pt x="68" y="92"/>
                    </a:lnTo>
                    <a:lnTo>
                      <a:pt x="68" y="92"/>
                    </a:lnTo>
                    <a:close/>
                    <a:moveTo>
                      <a:pt x="47" y="74"/>
                    </a:moveTo>
                    <a:lnTo>
                      <a:pt x="47" y="73"/>
                    </a:lnTo>
                    <a:lnTo>
                      <a:pt x="45" y="72"/>
                    </a:lnTo>
                    <a:lnTo>
                      <a:pt x="45" y="73"/>
                    </a:lnTo>
                    <a:lnTo>
                      <a:pt x="45" y="76"/>
                    </a:lnTo>
                    <a:lnTo>
                      <a:pt x="46" y="77"/>
                    </a:lnTo>
                    <a:lnTo>
                      <a:pt x="46" y="80"/>
                    </a:lnTo>
                    <a:lnTo>
                      <a:pt x="46" y="83"/>
                    </a:lnTo>
                    <a:lnTo>
                      <a:pt x="46" y="85"/>
                    </a:lnTo>
                    <a:lnTo>
                      <a:pt x="45" y="87"/>
                    </a:lnTo>
                    <a:lnTo>
                      <a:pt x="47" y="87"/>
                    </a:lnTo>
                    <a:lnTo>
                      <a:pt x="49" y="86"/>
                    </a:lnTo>
                    <a:lnTo>
                      <a:pt x="50" y="83"/>
                    </a:lnTo>
                    <a:lnTo>
                      <a:pt x="50" y="80"/>
                    </a:lnTo>
                    <a:lnTo>
                      <a:pt x="50" y="79"/>
                    </a:lnTo>
                    <a:lnTo>
                      <a:pt x="47" y="74"/>
                    </a:lnTo>
                    <a:close/>
                    <a:moveTo>
                      <a:pt x="60" y="77"/>
                    </a:moveTo>
                    <a:lnTo>
                      <a:pt x="60" y="77"/>
                    </a:lnTo>
                    <a:lnTo>
                      <a:pt x="60" y="79"/>
                    </a:lnTo>
                    <a:lnTo>
                      <a:pt x="60" y="79"/>
                    </a:lnTo>
                    <a:lnTo>
                      <a:pt x="60" y="79"/>
                    </a:lnTo>
                    <a:lnTo>
                      <a:pt x="60" y="82"/>
                    </a:lnTo>
                    <a:lnTo>
                      <a:pt x="62" y="82"/>
                    </a:lnTo>
                    <a:lnTo>
                      <a:pt x="62" y="79"/>
                    </a:lnTo>
                    <a:lnTo>
                      <a:pt x="60" y="77"/>
                    </a:lnTo>
                    <a:close/>
                    <a:moveTo>
                      <a:pt x="46" y="72"/>
                    </a:moveTo>
                    <a:lnTo>
                      <a:pt x="46" y="70"/>
                    </a:lnTo>
                    <a:lnTo>
                      <a:pt x="46" y="70"/>
                    </a:lnTo>
                    <a:lnTo>
                      <a:pt x="45" y="69"/>
                    </a:lnTo>
                    <a:lnTo>
                      <a:pt x="45" y="69"/>
                    </a:lnTo>
                    <a:lnTo>
                      <a:pt x="45" y="70"/>
                    </a:lnTo>
                    <a:lnTo>
                      <a:pt x="46" y="70"/>
                    </a:lnTo>
                    <a:lnTo>
                      <a:pt x="46" y="70"/>
                    </a:lnTo>
                    <a:lnTo>
                      <a:pt x="46" y="72"/>
                    </a:lnTo>
                    <a:close/>
                    <a:moveTo>
                      <a:pt x="68" y="97"/>
                    </a:moveTo>
                    <a:lnTo>
                      <a:pt x="69" y="97"/>
                    </a:lnTo>
                    <a:lnTo>
                      <a:pt x="69" y="95"/>
                    </a:lnTo>
                    <a:lnTo>
                      <a:pt x="68" y="95"/>
                    </a:lnTo>
                    <a:lnTo>
                      <a:pt x="68" y="97"/>
                    </a:lnTo>
                    <a:close/>
                    <a:moveTo>
                      <a:pt x="55" y="79"/>
                    </a:moveTo>
                    <a:lnTo>
                      <a:pt x="53" y="86"/>
                    </a:lnTo>
                    <a:lnTo>
                      <a:pt x="55" y="85"/>
                    </a:lnTo>
                    <a:lnTo>
                      <a:pt x="56" y="83"/>
                    </a:lnTo>
                    <a:lnTo>
                      <a:pt x="55" y="80"/>
                    </a:lnTo>
                    <a:lnTo>
                      <a:pt x="55" y="79"/>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54" name="Freeform 150">
                <a:extLst>
                  <a:ext uri="{FF2B5EF4-FFF2-40B4-BE49-F238E27FC236}">
                    <a16:creationId xmlns:a16="http://schemas.microsoft.com/office/drawing/2014/main" id="{C1A7A6F5-AA1E-01E8-9815-901E8BBFF1B2}"/>
                  </a:ext>
                </a:extLst>
              </p:cNvPr>
              <p:cNvSpPr>
                <a:spLocks noEditPoints="1"/>
              </p:cNvSpPr>
              <p:nvPr/>
            </p:nvSpPr>
            <p:spPr bwMode="auto">
              <a:xfrm>
                <a:off x="7654346" y="3859385"/>
                <a:ext cx="54946" cy="99771"/>
              </a:xfrm>
              <a:custGeom>
                <a:avLst/>
                <a:gdLst>
                  <a:gd name="T0" fmla="*/ 2 w 38"/>
                  <a:gd name="T1" fmla="*/ 14 h 69"/>
                  <a:gd name="T2" fmla="*/ 2 w 38"/>
                  <a:gd name="T3" fmla="*/ 14 h 69"/>
                  <a:gd name="T4" fmla="*/ 4 w 38"/>
                  <a:gd name="T5" fmla="*/ 15 h 69"/>
                  <a:gd name="T6" fmla="*/ 2 w 38"/>
                  <a:gd name="T7" fmla="*/ 14 h 69"/>
                  <a:gd name="T8" fmla="*/ 2 w 38"/>
                  <a:gd name="T9" fmla="*/ 14 h 69"/>
                  <a:gd name="T10" fmla="*/ 1 w 38"/>
                  <a:gd name="T11" fmla="*/ 14 h 69"/>
                  <a:gd name="T12" fmla="*/ 1 w 38"/>
                  <a:gd name="T13" fmla="*/ 13 h 69"/>
                  <a:gd name="T14" fmla="*/ 2 w 38"/>
                  <a:gd name="T15" fmla="*/ 13 h 69"/>
                  <a:gd name="T16" fmla="*/ 2 w 38"/>
                  <a:gd name="T17" fmla="*/ 14 h 69"/>
                  <a:gd name="T18" fmla="*/ 4 w 38"/>
                  <a:gd name="T19" fmla="*/ 3 h 69"/>
                  <a:gd name="T20" fmla="*/ 5 w 38"/>
                  <a:gd name="T21" fmla="*/ 4 h 69"/>
                  <a:gd name="T22" fmla="*/ 4 w 38"/>
                  <a:gd name="T23" fmla="*/ 3 h 69"/>
                  <a:gd name="T24" fmla="*/ 4 w 38"/>
                  <a:gd name="T25" fmla="*/ 3 h 69"/>
                  <a:gd name="T26" fmla="*/ 4 w 38"/>
                  <a:gd name="T27" fmla="*/ 1 h 69"/>
                  <a:gd name="T28" fmla="*/ 4 w 38"/>
                  <a:gd name="T29" fmla="*/ 1 h 69"/>
                  <a:gd name="T30" fmla="*/ 2 w 38"/>
                  <a:gd name="T31" fmla="*/ 1 h 69"/>
                  <a:gd name="T32" fmla="*/ 2 w 38"/>
                  <a:gd name="T33" fmla="*/ 3 h 69"/>
                  <a:gd name="T34" fmla="*/ 2 w 38"/>
                  <a:gd name="T35" fmla="*/ 3 h 69"/>
                  <a:gd name="T36" fmla="*/ 4 w 38"/>
                  <a:gd name="T37" fmla="*/ 3 h 69"/>
                  <a:gd name="T38" fmla="*/ 31 w 38"/>
                  <a:gd name="T39" fmla="*/ 30 h 69"/>
                  <a:gd name="T40" fmla="*/ 30 w 38"/>
                  <a:gd name="T41" fmla="*/ 28 h 69"/>
                  <a:gd name="T42" fmla="*/ 30 w 38"/>
                  <a:gd name="T43" fmla="*/ 26 h 69"/>
                  <a:gd name="T44" fmla="*/ 30 w 38"/>
                  <a:gd name="T45" fmla="*/ 24 h 69"/>
                  <a:gd name="T46" fmla="*/ 28 w 38"/>
                  <a:gd name="T47" fmla="*/ 24 h 69"/>
                  <a:gd name="T48" fmla="*/ 27 w 38"/>
                  <a:gd name="T49" fmla="*/ 23 h 69"/>
                  <a:gd name="T50" fmla="*/ 27 w 38"/>
                  <a:gd name="T51" fmla="*/ 23 h 69"/>
                  <a:gd name="T52" fmla="*/ 21 w 38"/>
                  <a:gd name="T53" fmla="*/ 13 h 69"/>
                  <a:gd name="T54" fmla="*/ 15 w 38"/>
                  <a:gd name="T55" fmla="*/ 5 h 69"/>
                  <a:gd name="T56" fmla="*/ 13 w 38"/>
                  <a:gd name="T57" fmla="*/ 3 h 69"/>
                  <a:gd name="T58" fmla="*/ 8 w 38"/>
                  <a:gd name="T59" fmla="*/ 0 h 69"/>
                  <a:gd name="T60" fmla="*/ 7 w 38"/>
                  <a:gd name="T61" fmla="*/ 0 h 69"/>
                  <a:gd name="T62" fmla="*/ 5 w 38"/>
                  <a:gd name="T63" fmla="*/ 0 h 69"/>
                  <a:gd name="T64" fmla="*/ 5 w 38"/>
                  <a:gd name="T65" fmla="*/ 1 h 69"/>
                  <a:gd name="T66" fmla="*/ 5 w 38"/>
                  <a:gd name="T67" fmla="*/ 3 h 69"/>
                  <a:gd name="T68" fmla="*/ 7 w 38"/>
                  <a:gd name="T69" fmla="*/ 4 h 69"/>
                  <a:gd name="T70" fmla="*/ 10 w 38"/>
                  <a:gd name="T71" fmla="*/ 4 h 69"/>
                  <a:gd name="T72" fmla="*/ 11 w 38"/>
                  <a:gd name="T73" fmla="*/ 4 h 69"/>
                  <a:gd name="T74" fmla="*/ 13 w 38"/>
                  <a:gd name="T75" fmla="*/ 5 h 69"/>
                  <a:gd name="T76" fmla="*/ 11 w 38"/>
                  <a:gd name="T77" fmla="*/ 5 h 69"/>
                  <a:gd name="T78" fmla="*/ 10 w 38"/>
                  <a:gd name="T79" fmla="*/ 5 h 69"/>
                  <a:gd name="T80" fmla="*/ 7 w 38"/>
                  <a:gd name="T81" fmla="*/ 4 h 69"/>
                  <a:gd name="T82" fmla="*/ 7 w 38"/>
                  <a:gd name="T83" fmla="*/ 8 h 69"/>
                  <a:gd name="T84" fmla="*/ 7 w 38"/>
                  <a:gd name="T85" fmla="*/ 11 h 69"/>
                  <a:gd name="T86" fmla="*/ 4 w 38"/>
                  <a:gd name="T87" fmla="*/ 18 h 69"/>
                  <a:gd name="T88" fmla="*/ 2 w 38"/>
                  <a:gd name="T89" fmla="*/ 28 h 69"/>
                  <a:gd name="T90" fmla="*/ 1 w 38"/>
                  <a:gd name="T91" fmla="*/ 33 h 69"/>
                  <a:gd name="T92" fmla="*/ 1 w 38"/>
                  <a:gd name="T93" fmla="*/ 31 h 69"/>
                  <a:gd name="T94" fmla="*/ 1 w 38"/>
                  <a:gd name="T95" fmla="*/ 30 h 69"/>
                  <a:gd name="T96" fmla="*/ 1 w 38"/>
                  <a:gd name="T97" fmla="*/ 27 h 69"/>
                  <a:gd name="T98" fmla="*/ 1 w 38"/>
                  <a:gd name="T99" fmla="*/ 28 h 69"/>
                  <a:gd name="T100" fmla="*/ 0 w 38"/>
                  <a:gd name="T101" fmla="*/ 30 h 69"/>
                  <a:gd name="T102" fmla="*/ 0 w 38"/>
                  <a:gd name="T103" fmla="*/ 30 h 69"/>
                  <a:gd name="T104" fmla="*/ 0 w 38"/>
                  <a:gd name="T105" fmla="*/ 31 h 69"/>
                  <a:gd name="T106" fmla="*/ 2 w 38"/>
                  <a:gd name="T107" fmla="*/ 49 h 69"/>
                  <a:gd name="T108" fmla="*/ 4 w 38"/>
                  <a:gd name="T109" fmla="*/ 57 h 69"/>
                  <a:gd name="T110" fmla="*/ 7 w 38"/>
                  <a:gd name="T111" fmla="*/ 64 h 69"/>
                  <a:gd name="T112" fmla="*/ 13 w 38"/>
                  <a:gd name="T113" fmla="*/ 69 h 69"/>
                  <a:gd name="T114" fmla="*/ 23 w 38"/>
                  <a:gd name="T115" fmla="*/ 67 h 69"/>
                  <a:gd name="T116" fmla="*/ 30 w 38"/>
                  <a:gd name="T117" fmla="*/ 63 h 69"/>
                  <a:gd name="T118" fmla="*/ 36 w 38"/>
                  <a:gd name="T119" fmla="*/ 57 h 69"/>
                  <a:gd name="T120" fmla="*/ 38 w 38"/>
                  <a:gd name="T121" fmla="*/ 50 h 69"/>
                  <a:gd name="T122" fmla="*/ 37 w 38"/>
                  <a:gd name="T123" fmla="*/ 44 h 69"/>
                  <a:gd name="T124" fmla="*/ 31 w 38"/>
                  <a:gd name="T125" fmla="*/ 3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 h="69">
                    <a:moveTo>
                      <a:pt x="2" y="14"/>
                    </a:moveTo>
                    <a:lnTo>
                      <a:pt x="2" y="14"/>
                    </a:lnTo>
                    <a:lnTo>
                      <a:pt x="4" y="15"/>
                    </a:lnTo>
                    <a:lnTo>
                      <a:pt x="2" y="14"/>
                    </a:lnTo>
                    <a:lnTo>
                      <a:pt x="2" y="14"/>
                    </a:lnTo>
                    <a:lnTo>
                      <a:pt x="1" y="14"/>
                    </a:lnTo>
                    <a:lnTo>
                      <a:pt x="1" y="13"/>
                    </a:lnTo>
                    <a:lnTo>
                      <a:pt x="2" y="13"/>
                    </a:lnTo>
                    <a:lnTo>
                      <a:pt x="2" y="14"/>
                    </a:lnTo>
                    <a:close/>
                    <a:moveTo>
                      <a:pt x="4" y="3"/>
                    </a:moveTo>
                    <a:lnTo>
                      <a:pt x="5" y="4"/>
                    </a:lnTo>
                    <a:lnTo>
                      <a:pt x="4" y="3"/>
                    </a:lnTo>
                    <a:lnTo>
                      <a:pt x="4" y="3"/>
                    </a:lnTo>
                    <a:lnTo>
                      <a:pt x="4" y="1"/>
                    </a:lnTo>
                    <a:lnTo>
                      <a:pt x="4" y="1"/>
                    </a:lnTo>
                    <a:lnTo>
                      <a:pt x="2" y="1"/>
                    </a:lnTo>
                    <a:lnTo>
                      <a:pt x="2" y="3"/>
                    </a:lnTo>
                    <a:lnTo>
                      <a:pt x="2" y="3"/>
                    </a:lnTo>
                    <a:lnTo>
                      <a:pt x="4" y="3"/>
                    </a:lnTo>
                    <a:close/>
                    <a:moveTo>
                      <a:pt x="31" y="30"/>
                    </a:moveTo>
                    <a:lnTo>
                      <a:pt x="30" y="28"/>
                    </a:lnTo>
                    <a:lnTo>
                      <a:pt x="30" y="26"/>
                    </a:lnTo>
                    <a:lnTo>
                      <a:pt x="30" y="24"/>
                    </a:lnTo>
                    <a:lnTo>
                      <a:pt x="28" y="24"/>
                    </a:lnTo>
                    <a:lnTo>
                      <a:pt x="27" y="23"/>
                    </a:lnTo>
                    <a:lnTo>
                      <a:pt x="27" y="23"/>
                    </a:lnTo>
                    <a:lnTo>
                      <a:pt x="21" y="13"/>
                    </a:lnTo>
                    <a:lnTo>
                      <a:pt x="15" y="5"/>
                    </a:lnTo>
                    <a:lnTo>
                      <a:pt x="13" y="3"/>
                    </a:lnTo>
                    <a:lnTo>
                      <a:pt x="8" y="0"/>
                    </a:lnTo>
                    <a:lnTo>
                      <a:pt x="7" y="0"/>
                    </a:lnTo>
                    <a:lnTo>
                      <a:pt x="5" y="0"/>
                    </a:lnTo>
                    <a:lnTo>
                      <a:pt x="5" y="1"/>
                    </a:lnTo>
                    <a:lnTo>
                      <a:pt x="5" y="3"/>
                    </a:lnTo>
                    <a:lnTo>
                      <a:pt x="7" y="4"/>
                    </a:lnTo>
                    <a:lnTo>
                      <a:pt x="10" y="4"/>
                    </a:lnTo>
                    <a:lnTo>
                      <a:pt x="11" y="4"/>
                    </a:lnTo>
                    <a:lnTo>
                      <a:pt x="13" y="5"/>
                    </a:lnTo>
                    <a:lnTo>
                      <a:pt x="11" y="5"/>
                    </a:lnTo>
                    <a:lnTo>
                      <a:pt x="10" y="5"/>
                    </a:lnTo>
                    <a:lnTo>
                      <a:pt x="7" y="4"/>
                    </a:lnTo>
                    <a:lnTo>
                      <a:pt x="7" y="8"/>
                    </a:lnTo>
                    <a:lnTo>
                      <a:pt x="7" y="11"/>
                    </a:lnTo>
                    <a:lnTo>
                      <a:pt x="4" y="18"/>
                    </a:lnTo>
                    <a:lnTo>
                      <a:pt x="2" y="28"/>
                    </a:lnTo>
                    <a:lnTo>
                      <a:pt x="1" y="33"/>
                    </a:lnTo>
                    <a:lnTo>
                      <a:pt x="1" y="31"/>
                    </a:lnTo>
                    <a:lnTo>
                      <a:pt x="1" y="30"/>
                    </a:lnTo>
                    <a:lnTo>
                      <a:pt x="1" y="27"/>
                    </a:lnTo>
                    <a:lnTo>
                      <a:pt x="1" y="28"/>
                    </a:lnTo>
                    <a:lnTo>
                      <a:pt x="0" y="30"/>
                    </a:lnTo>
                    <a:lnTo>
                      <a:pt x="0" y="30"/>
                    </a:lnTo>
                    <a:lnTo>
                      <a:pt x="0" y="31"/>
                    </a:lnTo>
                    <a:lnTo>
                      <a:pt x="2" y="49"/>
                    </a:lnTo>
                    <a:lnTo>
                      <a:pt x="4" y="57"/>
                    </a:lnTo>
                    <a:lnTo>
                      <a:pt x="7" y="64"/>
                    </a:lnTo>
                    <a:lnTo>
                      <a:pt x="13" y="69"/>
                    </a:lnTo>
                    <a:lnTo>
                      <a:pt x="23" y="67"/>
                    </a:lnTo>
                    <a:lnTo>
                      <a:pt x="30" y="63"/>
                    </a:lnTo>
                    <a:lnTo>
                      <a:pt x="36" y="57"/>
                    </a:lnTo>
                    <a:lnTo>
                      <a:pt x="38" y="50"/>
                    </a:lnTo>
                    <a:lnTo>
                      <a:pt x="37" y="44"/>
                    </a:lnTo>
                    <a:lnTo>
                      <a:pt x="31" y="3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55" name="Freeform 151">
                <a:extLst>
                  <a:ext uri="{FF2B5EF4-FFF2-40B4-BE49-F238E27FC236}">
                    <a16:creationId xmlns:a16="http://schemas.microsoft.com/office/drawing/2014/main" id="{909D138F-0B3C-3DCB-9128-A207F0075EA7}"/>
                  </a:ext>
                </a:extLst>
              </p:cNvPr>
              <p:cNvSpPr>
                <a:spLocks noEditPoints="1"/>
              </p:cNvSpPr>
              <p:nvPr/>
            </p:nvSpPr>
            <p:spPr bwMode="auto">
              <a:xfrm>
                <a:off x="8089580" y="4421863"/>
                <a:ext cx="2892" cy="2892"/>
              </a:xfrm>
              <a:custGeom>
                <a:avLst/>
                <a:gdLst>
                  <a:gd name="T0" fmla="*/ 0 w 2"/>
                  <a:gd name="T1" fmla="*/ 0 h 2"/>
                  <a:gd name="T2" fmla="*/ 0 w 2"/>
                  <a:gd name="T3" fmla="*/ 0 h 2"/>
                  <a:gd name="T4" fmla="*/ 0 w 2"/>
                  <a:gd name="T5" fmla="*/ 0 h 2"/>
                  <a:gd name="T6" fmla="*/ 0 w 2"/>
                  <a:gd name="T7" fmla="*/ 0 h 2"/>
                  <a:gd name="T8" fmla="*/ 0 w 2"/>
                  <a:gd name="T9" fmla="*/ 0 h 2"/>
                  <a:gd name="T10" fmla="*/ 2 w 2"/>
                  <a:gd name="T11" fmla="*/ 0 h 2"/>
                  <a:gd name="T12" fmla="*/ 0 w 2"/>
                  <a:gd name="T13" fmla="*/ 0 h 2"/>
                  <a:gd name="T14" fmla="*/ 0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0 h 2"/>
                  <a:gd name="T28" fmla="*/ 2 w 2"/>
                  <a:gd name="T29" fmla="*/ 2 h 2"/>
                  <a:gd name="T30" fmla="*/ 2 w 2"/>
                  <a:gd name="T3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2">
                    <a:moveTo>
                      <a:pt x="0" y="0"/>
                    </a:moveTo>
                    <a:lnTo>
                      <a:pt x="0" y="0"/>
                    </a:lnTo>
                    <a:lnTo>
                      <a:pt x="0" y="0"/>
                    </a:lnTo>
                    <a:lnTo>
                      <a:pt x="0" y="0"/>
                    </a:lnTo>
                    <a:lnTo>
                      <a:pt x="0" y="0"/>
                    </a:lnTo>
                    <a:lnTo>
                      <a:pt x="2" y="0"/>
                    </a:lnTo>
                    <a:lnTo>
                      <a:pt x="0" y="0"/>
                    </a:lnTo>
                    <a:lnTo>
                      <a:pt x="0" y="0"/>
                    </a:lnTo>
                    <a:close/>
                    <a:moveTo>
                      <a:pt x="2" y="0"/>
                    </a:moveTo>
                    <a:lnTo>
                      <a:pt x="2" y="0"/>
                    </a:lnTo>
                    <a:lnTo>
                      <a:pt x="2" y="0"/>
                    </a:lnTo>
                    <a:lnTo>
                      <a:pt x="2" y="0"/>
                    </a:lnTo>
                    <a:lnTo>
                      <a:pt x="2" y="0"/>
                    </a:lnTo>
                    <a:lnTo>
                      <a:pt x="2" y="0"/>
                    </a:lnTo>
                    <a:lnTo>
                      <a:pt x="2" y="2"/>
                    </a:lnTo>
                    <a:lnTo>
                      <a:pt x="2"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56" name="Freeform 152">
                <a:extLst>
                  <a:ext uri="{FF2B5EF4-FFF2-40B4-BE49-F238E27FC236}">
                    <a16:creationId xmlns:a16="http://schemas.microsoft.com/office/drawing/2014/main" id="{149BACBF-ED58-E853-250B-7943D2E60931}"/>
                  </a:ext>
                </a:extLst>
              </p:cNvPr>
              <p:cNvSpPr>
                <a:spLocks/>
              </p:cNvSpPr>
              <p:nvPr/>
            </p:nvSpPr>
            <p:spPr bwMode="auto">
              <a:xfrm>
                <a:off x="7466372" y="4294619"/>
                <a:ext cx="4338" cy="4338"/>
              </a:xfrm>
              <a:custGeom>
                <a:avLst/>
                <a:gdLst>
                  <a:gd name="T0" fmla="*/ 2 w 3"/>
                  <a:gd name="T1" fmla="*/ 0 h 3"/>
                  <a:gd name="T2" fmla="*/ 3 w 3"/>
                  <a:gd name="T3" fmla="*/ 0 h 3"/>
                  <a:gd name="T4" fmla="*/ 3 w 3"/>
                  <a:gd name="T5" fmla="*/ 2 h 3"/>
                  <a:gd name="T6" fmla="*/ 3 w 3"/>
                  <a:gd name="T7" fmla="*/ 2 h 3"/>
                  <a:gd name="T8" fmla="*/ 2 w 3"/>
                  <a:gd name="T9" fmla="*/ 2 h 3"/>
                  <a:gd name="T10" fmla="*/ 2 w 3"/>
                  <a:gd name="T11" fmla="*/ 2 h 3"/>
                  <a:gd name="T12" fmla="*/ 0 w 3"/>
                  <a:gd name="T13" fmla="*/ 0 h 3"/>
                  <a:gd name="T14" fmla="*/ 2 w 3"/>
                  <a:gd name="T15" fmla="*/ 2 h 3"/>
                  <a:gd name="T16" fmla="*/ 2 w 3"/>
                  <a:gd name="T17" fmla="*/ 2 h 3"/>
                  <a:gd name="T18" fmla="*/ 2 w 3"/>
                  <a:gd name="T19" fmla="*/ 3 h 3"/>
                  <a:gd name="T20" fmla="*/ 2 w 3"/>
                  <a:gd name="T21" fmla="*/ 3 h 3"/>
                  <a:gd name="T22" fmla="*/ 3 w 3"/>
                  <a:gd name="T23" fmla="*/ 3 h 3"/>
                  <a:gd name="T24" fmla="*/ 3 w 3"/>
                  <a:gd name="T25" fmla="*/ 2 h 3"/>
                  <a:gd name="T26" fmla="*/ 3 w 3"/>
                  <a:gd name="T27" fmla="*/ 0 h 3"/>
                  <a:gd name="T28" fmla="*/ 2 w 3"/>
                  <a:gd name="T2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3">
                    <a:moveTo>
                      <a:pt x="2" y="0"/>
                    </a:moveTo>
                    <a:lnTo>
                      <a:pt x="3" y="0"/>
                    </a:lnTo>
                    <a:lnTo>
                      <a:pt x="3" y="2"/>
                    </a:lnTo>
                    <a:lnTo>
                      <a:pt x="3" y="2"/>
                    </a:lnTo>
                    <a:lnTo>
                      <a:pt x="2" y="2"/>
                    </a:lnTo>
                    <a:lnTo>
                      <a:pt x="2" y="2"/>
                    </a:lnTo>
                    <a:lnTo>
                      <a:pt x="0" y="0"/>
                    </a:lnTo>
                    <a:lnTo>
                      <a:pt x="2" y="2"/>
                    </a:lnTo>
                    <a:lnTo>
                      <a:pt x="2" y="2"/>
                    </a:lnTo>
                    <a:lnTo>
                      <a:pt x="2" y="3"/>
                    </a:lnTo>
                    <a:lnTo>
                      <a:pt x="2" y="3"/>
                    </a:lnTo>
                    <a:lnTo>
                      <a:pt x="3" y="3"/>
                    </a:lnTo>
                    <a:lnTo>
                      <a:pt x="3" y="2"/>
                    </a:lnTo>
                    <a:lnTo>
                      <a:pt x="3" y="0"/>
                    </a:lnTo>
                    <a:lnTo>
                      <a:pt x="2"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57" name="Freeform 153">
                <a:extLst>
                  <a:ext uri="{FF2B5EF4-FFF2-40B4-BE49-F238E27FC236}">
                    <a16:creationId xmlns:a16="http://schemas.microsoft.com/office/drawing/2014/main" id="{96933E3D-8F27-C5DB-32A8-849FEDBDA841}"/>
                  </a:ext>
                </a:extLst>
              </p:cNvPr>
              <p:cNvSpPr>
                <a:spLocks noEditPoints="1"/>
              </p:cNvSpPr>
              <p:nvPr/>
            </p:nvSpPr>
            <p:spPr bwMode="auto">
              <a:xfrm>
                <a:off x="8521923" y="3519584"/>
                <a:ext cx="13014" cy="11568"/>
              </a:xfrm>
              <a:custGeom>
                <a:avLst/>
                <a:gdLst>
                  <a:gd name="T0" fmla="*/ 7 w 9"/>
                  <a:gd name="T1" fmla="*/ 0 h 8"/>
                  <a:gd name="T2" fmla="*/ 7 w 9"/>
                  <a:gd name="T3" fmla="*/ 0 h 8"/>
                  <a:gd name="T4" fmla="*/ 9 w 9"/>
                  <a:gd name="T5" fmla="*/ 5 h 8"/>
                  <a:gd name="T6" fmla="*/ 6 w 9"/>
                  <a:gd name="T7" fmla="*/ 5 h 8"/>
                  <a:gd name="T8" fmla="*/ 3 w 9"/>
                  <a:gd name="T9" fmla="*/ 3 h 8"/>
                  <a:gd name="T10" fmla="*/ 3 w 9"/>
                  <a:gd name="T11" fmla="*/ 2 h 8"/>
                  <a:gd name="T12" fmla="*/ 4 w 9"/>
                  <a:gd name="T13" fmla="*/ 2 h 8"/>
                  <a:gd name="T14" fmla="*/ 4 w 9"/>
                  <a:gd name="T15" fmla="*/ 2 h 8"/>
                  <a:gd name="T16" fmla="*/ 4 w 9"/>
                  <a:gd name="T17" fmla="*/ 2 h 8"/>
                  <a:gd name="T18" fmla="*/ 4 w 9"/>
                  <a:gd name="T19" fmla="*/ 0 h 8"/>
                  <a:gd name="T20" fmla="*/ 6 w 9"/>
                  <a:gd name="T21" fmla="*/ 0 h 8"/>
                  <a:gd name="T22" fmla="*/ 6 w 9"/>
                  <a:gd name="T23" fmla="*/ 0 h 8"/>
                  <a:gd name="T24" fmla="*/ 7 w 9"/>
                  <a:gd name="T25" fmla="*/ 0 h 8"/>
                  <a:gd name="T26" fmla="*/ 3 w 9"/>
                  <a:gd name="T27" fmla="*/ 8 h 8"/>
                  <a:gd name="T28" fmla="*/ 3 w 9"/>
                  <a:gd name="T29" fmla="*/ 6 h 8"/>
                  <a:gd name="T30" fmla="*/ 4 w 9"/>
                  <a:gd name="T31" fmla="*/ 5 h 8"/>
                  <a:gd name="T32" fmla="*/ 3 w 9"/>
                  <a:gd name="T33" fmla="*/ 6 h 8"/>
                  <a:gd name="T34" fmla="*/ 1 w 9"/>
                  <a:gd name="T35" fmla="*/ 6 h 8"/>
                  <a:gd name="T36" fmla="*/ 1 w 9"/>
                  <a:gd name="T37" fmla="*/ 6 h 8"/>
                  <a:gd name="T38" fmla="*/ 0 w 9"/>
                  <a:gd name="T39" fmla="*/ 8 h 8"/>
                  <a:gd name="T40" fmla="*/ 1 w 9"/>
                  <a:gd name="T41" fmla="*/ 8 h 8"/>
                  <a:gd name="T42" fmla="*/ 3 w 9"/>
                  <a:gd name="T43" fmla="*/ 8 h 8"/>
                  <a:gd name="T44" fmla="*/ 7 w 9"/>
                  <a:gd name="T45" fmla="*/ 8 h 8"/>
                  <a:gd name="T46" fmla="*/ 7 w 9"/>
                  <a:gd name="T47" fmla="*/ 6 h 8"/>
                  <a:gd name="T48" fmla="*/ 6 w 9"/>
                  <a:gd name="T49" fmla="*/ 6 h 8"/>
                  <a:gd name="T50" fmla="*/ 6 w 9"/>
                  <a:gd name="T51" fmla="*/ 8 h 8"/>
                  <a:gd name="T52" fmla="*/ 7 w 9"/>
                  <a:gd name="T53" fmla="*/ 8 h 8"/>
                  <a:gd name="T54" fmla="*/ 7 w 9"/>
                  <a:gd name="T5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 h="8">
                    <a:moveTo>
                      <a:pt x="7" y="0"/>
                    </a:moveTo>
                    <a:lnTo>
                      <a:pt x="7" y="0"/>
                    </a:lnTo>
                    <a:lnTo>
                      <a:pt x="9" y="5"/>
                    </a:lnTo>
                    <a:lnTo>
                      <a:pt x="6" y="5"/>
                    </a:lnTo>
                    <a:lnTo>
                      <a:pt x="3" y="3"/>
                    </a:lnTo>
                    <a:lnTo>
                      <a:pt x="3" y="2"/>
                    </a:lnTo>
                    <a:lnTo>
                      <a:pt x="4" y="2"/>
                    </a:lnTo>
                    <a:lnTo>
                      <a:pt x="4" y="2"/>
                    </a:lnTo>
                    <a:lnTo>
                      <a:pt x="4" y="2"/>
                    </a:lnTo>
                    <a:lnTo>
                      <a:pt x="4" y="0"/>
                    </a:lnTo>
                    <a:lnTo>
                      <a:pt x="6" y="0"/>
                    </a:lnTo>
                    <a:lnTo>
                      <a:pt x="6" y="0"/>
                    </a:lnTo>
                    <a:lnTo>
                      <a:pt x="7" y="0"/>
                    </a:lnTo>
                    <a:close/>
                    <a:moveTo>
                      <a:pt x="3" y="8"/>
                    </a:moveTo>
                    <a:lnTo>
                      <a:pt x="3" y="6"/>
                    </a:lnTo>
                    <a:lnTo>
                      <a:pt x="4" y="5"/>
                    </a:lnTo>
                    <a:lnTo>
                      <a:pt x="3" y="6"/>
                    </a:lnTo>
                    <a:lnTo>
                      <a:pt x="1" y="6"/>
                    </a:lnTo>
                    <a:lnTo>
                      <a:pt x="1" y="6"/>
                    </a:lnTo>
                    <a:lnTo>
                      <a:pt x="0" y="8"/>
                    </a:lnTo>
                    <a:lnTo>
                      <a:pt x="1" y="8"/>
                    </a:lnTo>
                    <a:lnTo>
                      <a:pt x="3" y="8"/>
                    </a:lnTo>
                    <a:close/>
                    <a:moveTo>
                      <a:pt x="7" y="8"/>
                    </a:moveTo>
                    <a:lnTo>
                      <a:pt x="7" y="6"/>
                    </a:lnTo>
                    <a:lnTo>
                      <a:pt x="6" y="6"/>
                    </a:lnTo>
                    <a:lnTo>
                      <a:pt x="6" y="8"/>
                    </a:lnTo>
                    <a:lnTo>
                      <a:pt x="7" y="8"/>
                    </a:lnTo>
                    <a:lnTo>
                      <a:pt x="7" y="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58" name="Freeform 154">
                <a:extLst>
                  <a:ext uri="{FF2B5EF4-FFF2-40B4-BE49-F238E27FC236}">
                    <a16:creationId xmlns:a16="http://schemas.microsoft.com/office/drawing/2014/main" id="{AB17B2C1-708E-0F3D-353D-CA3C6362C511}"/>
                  </a:ext>
                </a:extLst>
              </p:cNvPr>
              <p:cNvSpPr>
                <a:spLocks noEditPoints="1"/>
              </p:cNvSpPr>
              <p:nvPr/>
            </p:nvSpPr>
            <p:spPr bwMode="auto">
              <a:xfrm>
                <a:off x="8636153" y="3445840"/>
                <a:ext cx="91095" cy="92541"/>
              </a:xfrm>
              <a:custGeom>
                <a:avLst/>
                <a:gdLst>
                  <a:gd name="T0" fmla="*/ 49 w 63"/>
                  <a:gd name="T1" fmla="*/ 5 h 64"/>
                  <a:gd name="T2" fmla="*/ 50 w 63"/>
                  <a:gd name="T3" fmla="*/ 4 h 64"/>
                  <a:gd name="T4" fmla="*/ 54 w 63"/>
                  <a:gd name="T5" fmla="*/ 1 h 64"/>
                  <a:gd name="T6" fmla="*/ 56 w 63"/>
                  <a:gd name="T7" fmla="*/ 0 h 64"/>
                  <a:gd name="T8" fmla="*/ 59 w 63"/>
                  <a:gd name="T9" fmla="*/ 1 h 64"/>
                  <a:gd name="T10" fmla="*/ 60 w 63"/>
                  <a:gd name="T11" fmla="*/ 1 h 64"/>
                  <a:gd name="T12" fmla="*/ 62 w 63"/>
                  <a:gd name="T13" fmla="*/ 3 h 64"/>
                  <a:gd name="T14" fmla="*/ 63 w 63"/>
                  <a:gd name="T15" fmla="*/ 4 h 64"/>
                  <a:gd name="T16" fmla="*/ 63 w 63"/>
                  <a:gd name="T17" fmla="*/ 5 h 64"/>
                  <a:gd name="T18" fmla="*/ 62 w 63"/>
                  <a:gd name="T19" fmla="*/ 7 h 64"/>
                  <a:gd name="T20" fmla="*/ 62 w 63"/>
                  <a:gd name="T21" fmla="*/ 10 h 64"/>
                  <a:gd name="T22" fmla="*/ 62 w 63"/>
                  <a:gd name="T23" fmla="*/ 13 h 64"/>
                  <a:gd name="T24" fmla="*/ 62 w 63"/>
                  <a:gd name="T25" fmla="*/ 15 h 64"/>
                  <a:gd name="T26" fmla="*/ 60 w 63"/>
                  <a:gd name="T27" fmla="*/ 17 h 64"/>
                  <a:gd name="T28" fmla="*/ 59 w 63"/>
                  <a:gd name="T29" fmla="*/ 20 h 64"/>
                  <a:gd name="T30" fmla="*/ 59 w 63"/>
                  <a:gd name="T31" fmla="*/ 24 h 64"/>
                  <a:gd name="T32" fmla="*/ 56 w 63"/>
                  <a:gd name="T33" fmla="*/ 36 h 64"/>
                  <a:gd name="T34" fmla="*/ 54 w 63"/>
                  <a:gd name="T35" fmla="*/ 40 h 64"/>
                  <a:gd name="T36" fmla="*/ 53 w 63"/>
                  <a:gd name="T37" fmla="*/ 43 h 64"/>
                  <a:gd name="T38" fmla="*/ 47 w 63"/>
                  <a:gd name="T39" fmla="*/ 50 h 64"/>
                  <a:gd name="T40" fmla="*/ 46 w 63"/>
                  <a:gd name="T41" fmla="*/ 54 h 64"/>
                  <a:gd name="T42" fmla="*/ 44 w 63"/>
                  <a:gd name="T43" fmla="*/ 64 h 64"/>
                  <a:gd name="T44" fmla="*/ 43 w 63"/>
                  <a:gd name="T45" fmla="*/ 63 h 64"/>
                  <a:gd name="T46" fmla="*/ 42 w 63"/>
                  <a:gd name="T47" fmla="*/ 61 h 64"/>
                  <a:gd name="T48" fmla="*/ 42 w 63"/>
                  <a:gd name="T49" fmla="*/ 59 h 64"/>
                  <a:gd name="T50" fmla="*/ 40 w 63"/>
                  <a:gd name="T51" fmla="*/ 57 h 64"/>
                  <a:gd name="T52" fmla="*/ 39 w 63"/>
                  <a:gd name="T53" fmla="*/ 56 h 64"/>
                  <a:gd name="T54" fmla="*/ 36 w 63"/>
                  <a:gd name="T55" fmla="*/ 53 h 64"/>
                  <a:gd name="T56" fmla="*/ 31 w 63"/>
                  <a:gd name="T57" fmla="*/ 43 h 64"/>
                  <a:gd name="T58" fmla="*/ 31 w 63"/>
                  <a:gd name="T59" fmla="*/ 34 h 64"/>
                  <a:gd name="T60" fmla="*/ 36 w 63"/>
                  <a:gd name="T61" fmla="*/ 25 h 64"/>
                  <a:gd name="T62" fmla="*/ 40 w 63"/>
                  <a:gd name="T63" fmla="*/ 15 h 64"/>
                  <a:gd name="T64" fmla="*/ 47 w 63"/>
                  <a:gd name="T65" fmla="*/ 7 h 64"/>
                  <a:gd name="T66" fmla="*/ 49 w 63"/>
                  <a:gd name="T67" fmla="*/ 5 h 64"/>
                  <a:gd name="T68" fmla="*/ 1 w 63"/>
                  <a:gd name="T69" fmla="*/ 15 h 64"/>
                  <a:gd name="T70" fmla="*/ 3 w 63"/>
                  <a:gd name="T71" fmla="*/ 15 h 64"/>
                  <a:gd name="T72" fmla="*/ 1 w 63"/>
                  <a:gd name="T73" fmla="*/ 14 h 64"/>
                  <a:gd name="T74" fmla="*/ 0 w 63"/>
                  <a:gd name="T75" fmla="*/ 15 h 64"/>
                  <a:gd name="T76" fmla="*/ 0 w 63"/>
                  <a:gd name="T77" fmla="*/ 15 h 64"/>
                  <a:gd name="T78" fmla="*/ 1 w 63"/>
                  <a:gd name="T79" fmla="*/ 17 h 64"/>
                  <a:gd name="T80" fmla="*/ 1 w 63"/>
                  <a:gd name="T81"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 h="64">
                    <a:moveTo>
                      <a:pt x="49" y="5"/>
                    </a:moveTo>
                    <a:lnTo>
                      <a:pt x="50" y="4"/>
                    </a:lnTo>
                    <a:lnTo>
                      <a:pt x="54" y="1"/>
                    </a:lnTo>
                    <a:lnTo>
                      <a:pt x="56" y="0"/>
                    </a:lnTo>
                    <a:lnTo>
                      <a:pt x="59" y="1"/>
                    </a:lnTo>
                    <a:lnTo>
                      <a:pt x="60" y="1"/>
                    </a:lnTo>
                    <a:lnTo>
                      <a:pt x="62" y="3"/>
                    </a:lnTo>
                    <a:lnTo>
                      <a:pt x="63" y="4"/>
                    </a:lnTo>
                    <a:lnTo>
                      <a:pt x="63" y="5"/>
                    </a:lnTo>
                    <a:lnTo>
                      <a:pt x="62" y="7"/>
                    </a:lnTo>
                    <a:lnTo>
                      <a:pt x="62" y="10"/>
                    </a:lnTo>
                    <a:lnTo>
                      <a:pt x="62" y="13"/>
                    </a:lnTo>
                    <a:lnTo>
                      <a:pt x="62" y="15"/>
                    </a:lnTo>
                    <a:lnTo>
                      <a:pt x="60" y="17"/>
                    </a:lnTo>
                    <a:lnTo>
                      <a:pt x="59" y="20"/>
                    </a:lnTo>
                    <a:lnTo>
                      <a:pt x="59" y="24"/>
                    </a:lnTo>
                    <a:lnTo>
                      <a:pt x="56" y="36"/>
                    </a:lnTo>
                    <a:lnTo>
                      <a:pt x="54" y="40"/>
                    </a:lnTo>
                    <a:lnTo>
                      <a:pt x="53" y="43"/>
                    </a:lnTo>
                    <a:lnTo>
                      <a:pt x="47" y="50"/>
                    </a:lnTo>
                    <a:lnTo>
                      <a:pt x="46" y="54"/>
                    </a:lnTo>
                    <a:lnTo>
                      <a:pt x="44" y="64"/>
                    </a:lnTo>
                    <a:lnTo>
                      <a:pt x="43" y="63"/>
                    </a:lnTo>
                    <a:lnTo>
                      <a:pt x="42" y="61"/>
                    </a:lnTo>
                    <a:lnTo>
                      <a:pt x="42" y="59"/>
                    </a:lnTo>
                    <a:lnTo>
                      <a:pt x="40" y="57"/>
                    </a:lnTo>
                    <a:lnTo>
                      <a:pt x="39" y="56"/>
                    </a:lnTo>
                    <a:lnTo>
                      <a:pt x="36" y="53"/>
                    </a:lnTo>
                    <a:lnTo>
                      <a:pt x="31" y="43"/>
                    </a:lnTo>
                    <a:lnTo>
                      <a:pt x="31" y="34"/>
                    </a:lnTo>
                    <a:lnTo>
                      <a:pt x="36" y="25"/>
                    </a:lnTo>
                    <a:lnTo>
                      <a:pt x="40" y="15"/>
                    </a:lnTo>
                    <a:lnTo>
                      <a:pt x="47" y="7"/>
                    </a:lnTo>
                    <a:lnTo>
                      <a:pt x="49" y="5"/>
                    </a:lnTo>
                    <a:close/>
                    <a:moveTo>
                      <a:pt x="1" y="15"/>
                    </a:moveTo>
                    <a:lnTo>
                      <a:pt x="3" y="15"/>
                    </a:lnTo>
                    <a:lnTo>
                      <a:pt x="1" y="14"/>
                    </a:lnTo>
                    <a:lnTo>
                      <a:pt x="0" y="15"/>
                    </a:lnTo>
                    <a:lnTo>
                      <a:pt x="0" y="15"/>
                    </a:lnTo>
                    <a:lnTo>
                      <a:pt x="1" y="17"/>
                    </a:lnTo>
                    <a:lnTo>
                      <a:pt x="1" y="15"/>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59" name="Freeform 155">
                <a:extLst>
                  <a:ext uri="{FF2B5EF4-FFF2-40B4-BE49-F238E27FC236}">
                    <a16:creationId xmlns:a16="http://schemas.microsoft.com/office/drawing/2014/main" id="{B8EA9186-7BEA-B2C0-570D-CAF1CA19C071}"/>
                  </a:ext>
                </a:extLst>
              </p:cNvPr>
              <p:cNvSpPr>
                <a:spLocks/>
              </p:cNvSpPr>
              <p:nvPr/>
            </p:nvSpPr>
            <p:spPr bwMode="auto">
              <a:xfrm>
                <a:off x="8312258" y="4377038"/>
                <a:ext cx="4338" cy="2892"/>
              </a:xfrm>
              <a:custGeom>
                <a:avLst/>
                <a:gdLst>
                  <a:gd name="T0" fmla="*/ 3 w 3"/>
                  <a:gd name="T1" fmla="*/ 0 h 2"/>
                  <a:gd name="T2" fmla="*/ 1 w 3"/>
                  <a:gd name="T3" fmla="*/ 1 h 2"/>
                  <a:gd name="T4" fmla="*/ 1 w 3"/>
                  <a:gd name="T5" fmla="*/ 1 h 2"/>
                  <a:gd name="T6" fmla="*/ 0 w 3"/>
                  <a:gd name="T7" fmla="*/ 1 h 2"/>
                  <a:gd name="T8" fmla="*/ 0 w 3"/>
                  <a:gd name="T9" fmla="*/ 1 h 2"/>
                  <a:gd name="T10" fmla="*/ 1 w 3"/>
                  <a:gd name="T11" fmla="*/ 2 h 2"/>
                  <a:gd name="T12" fmla="*/ 1 w 3"/>
                  <a:gd name="T13" fmla="*/ 2 h 2"/>
                  <a:gd name="T14" fmla="*/ 1 w 3"/>
                  <a:gd name="T15" fmla="*/ 2 h 2"/>
                  <a:gd name="T16" fmla="*/ 3 w 3"/>
                  <a:gd name="T17" fmla="*/ 2 h 2"/>
                  <a:gd name="T18" fmla="*/ 3 w 3"/>
                  <a:gd name="T19" fmla="*/ 2 h 2"/>
                  <a:gd name="T20" fmla="*/ 3 w 3"/>
                  <a:gd name="T21" fmla="*/ 1 h 2"/>
                  <a:gd name="T22" fmla="*/ 3 w 3"/>
                  <a:gd name="T23" fmla="*/ 1 h 2"/>
                  <a:gd name="T24" fmla="*/ 3 w 3"/>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2">
                    <a:moveTo>
                      <a:pt x="3" y="0"/>
                    </a:moveTo>
                    <a:lnTo>
                      <a:pt x="1" y="1"/>
                    </a:lnTo>
                    <a:lnTo>
                      <a:pt x="1" y="1"/>
                    </a:lnTo>
                    <a:lnTo>
                      <a:pt x="0" y="1"/>
                    </a:lnTo>
                    <a:lnTo>
                      <a:pt x="0" y="1"/>
                    </a:lnTo>
                    <a:lnTo>
                      <a:pt x="1" y="2"/>
                    </a:lnTo>
                    <a:lnTo>
                      <a:pt x="1" y="2"/>
                    </a:lnTo>
                    <a:lnTo>
                      <a:pt x="1" y="2"/>
                    </a:lnTo>
                    <a:lnTo>
                      <a:pt x="3" y="2"/>
                    </a:lnTo>
                    <a:lnTo>
                      <a:pt x="3" y="2"/>
                    </a:lnTo>
                    <a:lnTo>
                      <a:pt x="3" y="1"/>
                    </a:lnTo>
                    <a:lnTo>
                      <a:pt x="3" y="1"/>
                    </a:lnTo>
                    <a:lnTo>
                      <a:pt x="3"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60" name="Freeform 156">
                <a:extLst>
                  <a:ext uri="{FF2B5EF4-FFF2-40B4-BE49-F238E27FC236}">
                    <a16:creationId xmlns:a16="http://schemas.microsoft.com/office/drawing/2014/main" id="{AB66A9D3-5252-4620-2D18-52B22E78BAC4}"/>
                  </a:ext>
                </a:extLst>
              </p:cNvPr>
              <p:cNvSpPr>
                <a:spLocks noEditPoints="1"/>
              </p:cNvSpPr>
              <p:nvPr/>
            </p:nvSpPr>
            <p:spPr bwMode="auto">
              <a:xfrm>
                <a:off x="9318647" y="3623693"/>
                <a:ext cx="17352" cy="122907"/>
              </a:xfrm>
              <a:custGeom>
                <a:avLst/>
                <a:gdLst>
                  <a:gd name="T0" fmla="*/ 10 w 12"/>
                  <a:gd name="T1" fmla="*/ 13 h 85"/>
                  <a:gd name="T2" fmla="*/ 10 w 12"/>
                  <a:gd name="T3" fmla="*/ 13 h 85"/>
                  <a:gd name="T4" fmla="*/ 10 w 12"/>
                  <a:gd name="T5" fmla="*/ 12 h 85"/>
                  <a:gd name="T6" fmla="*/ 10 w 12"/>
                  <a:gd name="T7" fmla="*/ 12 h 85"/>
                  <a:gd name="T8" fmla="*/ 12 w 12"/>
                  <a:gd name="T9" fmla="*/ 12 h 85"/>
                  <a:gd name="T10" fmla="*/ 12 w 12"/>
                  <a:gd name="T11" fmla="*/ 12 h 85"/>
                  <a:gd name="T12" fmla="*/ 10 w 12"/>
                  <a:gd name="T13" fmla="*/ 13 h 85"/>
                  <a:gd name="T14" fmla="*/ 10 w 12"/>
                  <a:gd name="T15" fmla="*/ 13 h 85"/>
                  <a:gd name="T16" fmla="*/ 8 w 12"/>
                  <a:gd name="T17" fmla="*/ 69 h 85"/>
                  <a:gd name="T18" fmla="*/ 8 w 12"/>
                  <a:gd name="T19" fmla="*/ 69 h 85"/>
                  <a:gd name="T20" fmla="*/ 8 w 12"/>
                  <a:gd name="T21" fmla="*/ 71 h 85"/>
                  <a:gd name="T22" fmla="*/ 8 w 12"/>
                  <a:gd name="T23" fmla="*/ 71 h 85"/>
                  <a:gd name="T24" fmla="*/ 9 w 12"/>
                  <a:gd name="T25" fmla="*/ 71 h 85"/>
                  <a:gd name="T26" fmla="*/ 9 w 12"/>
                  <a:gd name="T27" fmla="*/ 69 h 85"/>
                  <a:gd name="T28" fmla="*/ 8 w 12"/>
                  <a:gd name="T29" fmla="*/ 68 h 85"/>
                  <a:gd name="T30" fmla="*/ 8 w 12"/>
                  <a:gd name="T31" fmla="*/ 69 h 85"/>
                  <a:gd name="T32" fmla="*/ 9 w 12"/>
                  <a:gd name="T33" fmla="*/ 68 h 85"/>
                  <a:gd name="T34" fmla="*/ 10 w 12"/>
                  <a:gd name="T35" fmla="*/ 68 h 85"/>
                  <a:gd name="T36" fmla="*/ 10 w 12"/>
                  <a:gd name="T37" fmla="*/ 66 h 85"/>
                  <a:gd name="T38" fmla="*/ 12 w 12"/>
                  <a:gd name="T39" fmla="*/ 65 h 85"/>
                  <a:gd name="T40" fmla="*/ 10 w 12"/>
                  <a:gd name="T41" fmla="*/ 65 h 85"/>
                  <a:gd name="T42" fmla="*/ 10 w 12"/>
                  <a:gd name="T43" fmla="*/ 65 h 85"/>
                  <a:gd name="T44" fmla="*/ 10 w 12"/>
                  <a:gd name="T45" fmla="*/ 65 h 85"/>
                  <a:gd name="T46" fmla="*/ 10 w 12"/>
                  <a:gd name="T47" fmla="*/ 66 h 85"/>
                  <a:gd name="T48" fmla="*/ 9 w 12"/>
                  <a:gd name="T49" fmla="*/ 68 h 85"/>
                  <a:gd name="T50" fmla="*/ 9 w 12"/>
                  <a:gd name="T51" fmla="*/ 45 h 85"/>
                  <a:gd name="T52" fmla="*/ 9 w 12"/>
                  <a:gd name="T53" fmla="*/ 45 h 85"/>
                  <a:gd name="T54" fmla="*/ 9 w 12"/>
                  <a:gd name="T55" fmla="*/ 45 h 85"/>
                  <a:gd name="T56" fmla="*/ 10 w 12"/>
                  <a:gd name="T57" fmla="*/ 45 h 85"/>
                  <a:gd name="T58" fmla="*/ 9 w 12"/>
                  <a:gd name="T59" fmla="*/ 45 h 85"/>
                  <a:gd name="T60" fmla="*/ 9 w 12"/>
                  <a:gd name="T61" fmla="*/ 45 h 85"/>
                  <a:gd name="T62" fmla="*/ 9 w 12"/>
                  <a:gd name="T63" fmla="*/ 45 h 85"/>
                  <a:gd name="T64" fmla="*/ 9 w 12"/>
                  <a:gd name="T65" fmla="*/ 45 h 85"/>
                  <a:gd name="T66" fmla="*/ 9 w 12"/>
                  <a:gd name="T67" fmla="*/ 45 h 85"/>
                  <a:gd name="T68" fmla="*/ 2 w 12"/>
                  <a:gd name="T69" fmla="*/ 85 h 85"/>
                  <a:gd name="T70" fmla="*/ 2 w 12"/>
                  <a:gd name="T71" fmla="*/ 85 h 85"/>
                  <a:gd name="T72" fmla="*/ 0 w 12"/>
                  <a:gd name="T73" fmla="*/ 85 h 85"/>
                  <a:gd name="T74" fmla="*/ 0 w 12"/>
                  <a:gd name="T75" fmla="*/ 85 h 85"/>
                  <a:gd name="T76" fmla="*/ 0 w 12"/>
                  <a:gd name="T77" fmla="*/ 85 h 85"/>
                  <a:gd name="T78" fmla="*/ 0 w 12"/>
                  <a:gd name="T79" fmla="*/ 85 h 85"/>
                  <a:gd name="T80" fmla="*/ 0 w 12"/>
                  <a:gd name="T81" fmla="*/ 85 h 85"/>
                  <a:gd name="T82" fmla="*/ 2 w 12"/>
                  <a:gd name="T83" fmla="*/ 85 h 85"/>
                  <a:gd name="T84" fmla="*/ 9 w 12"/>
                  <a:gd name="T85" fmla="*/ 0 h 85"/>
                  <a:gd name="T86" fmla="*/ 9 w 12"/>
                  <a:gd name="T87" fmla="*/ 0 h 85"/>
                  <a:gd name="T88" fmla="*/ 9 w 12"/>
                  <a:gd name="T89" fmla="*/ 0 h 85"/>
                  <a:gd name="T90" fmla="*/ 9 w 12"/>
                  <a:gd name="T91" fmla="*/ 0 h 85"/>
                  <a:gd name="T92" fmla="*/ 9 w 12"/>
                  <a:gd name="T93" fmla="*/ 0 h 85"/>
                  <a:gd name="T94" fmla="*/ 9 w 12"/>
                  <a:gd name="T95" fmla="*/ 0 h 85"/>
                  <a:gd name="T96" fmla="*/ 9 w 12"/>
                  <a:gd name="T97" fmla="*/ 0 h 85"/>
                  <a:gd name="T98" fmla="*/ 9 w 12"/>
                  <a:gd name="T99" fmla="*/ 0 h 85"/>
                  <a:gd name="T100" fmla="*/ 9 w 12"/>
                  <a:gd name="T101"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 h="85">
                    <a:moveTo>
                      <a:pt x="10" y="13"/>
                    </a:moveTo>
                    <a:lnTo>
                      <a:pt x="10" y="13"/>
                    </a:lnTo>
                    <a:lnTo>
                      <a:pt x="10" y="12"/>
                    </a:lnTo>
                    <a:lnTo>
                      <a:pt x="10" y="12"/>
                    </a:lnTo>
                    <a:lnTo>
                      <a:pt x="12" y="12"/>
                    </a:lnTo>
                    <a:lnTo>
                      <a:pt x="12" y="12"/>
                    </a:lnTo>
                    <a:lnTo>
                      <a:pt x="10" y="13"/>
                    </a:lnTo>
                    <a:lnTo>
                      <a:pt x="10" y="13"/>
                    </a:lnTo>
                    <a:close/>
                    <a:moveTo>
                      <a:pt x="8" y="69"/>
                    </a:moveTo>
                    <a:lnTo>
                      <a:pt x="8" y="69"/>
                    </a:lnTo>
                    <a:lnTo>
                      <a:pt x="8" y="71"/>
                    </a:lnTo>
                    <a:lnTo>
                      <a:pt x="8" y="71"/>
                    </a:lnTo>
                    <a:lnTo>
                      <a:pt x="9" y="71"/>
                    </a:lnTo>
                    <a:lnTo>
                      <a:pt x="9" y="69"/>
                    </a:lnTo>
                    <a:lnTo>
                      <a:pt x="8" y="68"/>
                    </a:lnTo>
                    <a:lnTo>
                      <a:pt x="8" y="69"/>
                    </a:lnTo>
                    <a:close/>
                    <a:moveTo>
                      <a:pt x="9" y="68"/>
                    </a:moveTo>
                    <a:lnTo>
                      <a:pt x="10" y="68"/>
                    </a:lnTo>
                    <a:lnTo>
                      <a:pt x="10" y="66"/>
                    </a:lnTo>
                    <a:lnTo>
                      <a:pt x="12" y="65"/>
                    </a:lnTo>
                    <a:lnTo>
                      <a:pt x="10" y="65"/>
                    </a:lnTo>
                    <a:lnTo>
                      <a:pt x="10" y="65"/>
                    </a:lnTo>
                    <a:lnTo>
                      <a:pt x="10" y="65"/>
                    </a:lnTo>
                    <a:lnTo>
                      <a:pt x="10" y="66"/>
                    </a:lnTo>
                    <a:lnTo>
                      <a:pt x="9" y="68"/>
                    </a:lnTo>
                    <a:close/>
                    <a:moveTo>
                      <a:pt x="9" y="45"/>
                    </a:moveTo>
                    <a:lnTo>
                      <a:pt x="9" y="45"/>
                    </a:lnTo>
                    <a:lnTo>
                      <a:pt x="9" y="45"/>
                    </a:lnTo>
                    <a:lnTo>
                      <a:pt x="10" y="45"/>
                    </a:lnTo>
                    <a:lnTo>
                      <a:pt x="9" y="45"/>
                    </a:lnTo>
                    <a:lnTo>
                      <a:pt x="9" y="45"/>
                    </a:lnTo>
                    <a:lnTo>
                      <a:pt x="9" y="45"/>
                    </a:lnTo>
                    <a:lnTo>
                      <a:pt x="9" y="45"/>
                    </a:lnTo>
                    <a:lnTo>
                      <a:pt x="9" y="45"/>
                    </a:lnTo>
                    <a:close/>
                    <a:moveTo>
                      <a:pt x="2" y="85"/>
                    </a:moveTo>
                    <a:lnTo>
                      <a:pt x="2" y="85"/>
                    </a:lnTo>
                    <a:lnTo>
                      <a:pt x="0" y="85"/>
                    </a:lnTo>
                    <a:lnTo>
                      <a:pt x="0" y="85"/>
                    </a:lnTo>
                    <a:lnTo>
                      <a:pt x="0" y="85"/>
                    </a:lnTo>
                    <a:lnTo>
                      <a:pt x="0" y="85"/>
                    </a:lnTo>
                    <a:lnTo>
                      <a:pt x="0" y="85"/>
                    </a:lnTo>
                    <a:lnTo>
                      <a:pt x="2" y="85"/>
                    </a:lnTo>
                    <a:close/>
                    <a:moveTo>
                      <a:pt x="9" y="0"/>
                    </a:moveTo>
                    <a:lnTo>
                      <a:pt x="9" y="0"/>
                    </a:lnTo>
                    <a:lnTo>
                      <a:pt x="9" y="0"/>
                    </a:lnTo>
                    <a:lnTo>
                      <a:pt x="9" y="0"/>
                    </a:lnTo>
                    <a:lnTo>
                      <a:pt x="9" y="0"/>
                    </a:lnTo>
                    <a:lnTo>
                      <a:pt x="9" y="0"/>
                    </a:lnTo>
                    <a:lnTo>
                      <a:pt x="9" y="0"/>
                    </a:lnTo>
                    <a:lnTo>
                      <a:pt x="9" y="0"/>
                    </a:lnTo>
                    <a:lnTo>
                      <a:pt x="9"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61" name="Freeform 157">
                <a:extLst>
                  <a:ext uri="{FF2B5EF4-FFF2-40B4-BE49-F238E27FC236}">
                    <a16:creationId xmlns:a16="http://schemas.microsoft.com/office/drawing/2014/main" id="{3DA092B5-119E-A0B4-3F84-CBCF84302136}"/>
                  </a:ext>
                </a:extLst>
              </p:cNvPr>
              <p:cNvSpPr>
                <a:spLocks/>
              </p:cNvSpPr>
              <p:nvPr/>
            </p:nvSpPr>
            <p:spPr bwMode="auto">
              <a:xfrm>
                <a:off x="9304187" y="3761059"/>
                <a:ext cx="8676" cy="8676"/>
              </a:xfrm>
              <a:custGeom>
                <a:avLst/>
                <a:gdLst>
                  <a:gd name="T0" fmla="*/ 3 w 6"/>
                  <a:gd name="T1" fmla="*/ 4 h 6"/>
                  <a:gd name="T2" fmla="*/ 6 w 6"/>
                  <a:gd name="T3" fmla="*/ 0 h 6"/>
                  <a:gd name="T4" fmla="*/ 5 w 6"/>
                  <a:gd name="T5" fmla="*/ 0 h 6"/>
                  <a:gd name="T6" fmla="*/ 3 w 6"/>
                  <a:gd name="T7" fmla="*/ 2 h 6"/>
                  <a:gd name="T8" fmla="*/ 2 w 6"/>
                  <a:gd name="T9" fmla="*/ 3 h 6"/>
                  <a:gd name="T10" fmla="*/ 0 w 6"/>
                  <a:gd name="T11" fmla="*/ 4 h 6"/>
                  <a:gd name="T12" fmla="*/ 2 w 6"/>
                  <a:gd name="T13" fmla="*/ 6 h 6"/>
                  <a:gd name="T14" fmla="*/ 3 w 6"/>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3" y="4"/>
                    </a:moveTo>
                    <a:lnTo>
                      <a:pt x="6" y="0"/>
                    </a:lnTo>
                    <a:lnTo>
                      <a:pt x="5" y="0"/>
                    </a:lnTo>
                    <a:lnTo>
                      <a:pt x="3" y="2"/>
                    </a:lnTo>
                    <a:lnTo>
                      <a:pt x="2" y="3"/>
                    </a:lnTo>
                    <a:lnTo>
                      <a:pt x="0" y="4"/>
                    </a:lnTo>
                    <a:lnTo>
                      <a:pt x="2" y="6"/>
                    </a:lnTo>
                    <a:lnTo>
                      <a:pt x="3" y="4"/>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62" name="Freeform 158">
                <a:extLst>
                  <a:ext uri="{FF2B5EF4-FFF2-40B4-BE49-F238E27FC236}">
                    <a16:creationId xmlns:a16="http://schemas.microsoft.com/office/drawing/2014/main" id="{36C473D1-AD0A-DAFE-E22A-A58A121EF126}"/>
                  </a:ext>
                </a:extLst>
              </p:cNvPr>
              <p:cNvSpPr>
                <a:spLocks noEditPoints="1"/>
              </p:cNvSpPr>
              <p:nvPr/>
            </p:nvSpPr>
            <p:spPr bwMode="auto">
              <a:xfrm>
                <a:off x="7388290" y="2920956"/>
                <a:ext cx="280516" cy="125799"/>
              </a:xfrm>
              <a:custGeom>
                <a:avLst/>
                <a:gdLst>
                  <a:gd name="T0" fmla="*/ 179 w 194"/>
                  <a:gd name="T1" fmla="*/ 16 h 87"/>
                  <a:gd name="T2" fmla="*/ 129 w 194"/>
                  <a:gd name="T3" fmla="*/ 6 h 87"/>
                  <a:gd name="T4" fmla="*/ 113 w 194"/>
                  <a:gd name="T5" fmla="*/ 9 h 87"/>
                  <a:gd name="T6" fmla="*/ 90 w 194"/>
                  <a:gd name="T7" fmla="*/ 2 h 87"/>
                  <a:gd name="T8" fmla="*/ 76 w 194"/>
                  <a:gd name="T9" fmla="*/ 6 h 87"/>
                  <a:gd name="T10" fmla="*/ 72 w 194"/>
                  <a:gd name="T11" fmla="*/ 18 h 87"/>
                  <a:gd name="T12" fmla="*/ 49 w 194"/>
                  <a:gd name="T13" fmla="*/ 9 h 87"/>
                  <a:gd name="T14" fmla="*/ 33 w 194"/>
                  <a:gd name="T15" fmla="*/ 13 h 87"/>
                  <a:gd name="T16" fmla="*/ 33 w 194"/>
                  <a:gd name="T17" fmla="*/ 22 h 87"/>
                  <a:gd name="T18" fmla="*/ 30 w 194"/>
                  <a:gd name="T19" fmla="*/ 26 h 87"/>
                  <a:gd name="T20" fmla="*/ 26 w 194"/>
                  <a:gd name="T21" fmla="*/ 29 h 87"/>
                  <a:gd name="T22" fmla="*/ 17 w 194"/>
                  <a:gd name="T23" fmla="*/ 38 h 87"/>
                  <a:gd name="T24" fmla="*/ 24 w 194"/>
                  <a:gd name="T25" fmla="*/ 39 h 87"/>
                  <a:gd name="T26" fmla="*/ 27 w 194"/>
                  <a:gd name="T27" fmla="*/ 42 h 87"/>
                  <a:gd name="T28" fmla="*/ 34 w 194"/>
                  <a:gd name="T29" fmla="*/ 46 h 87"/>
                  <a:gd name="T30" fmla="*/ 40 w 194"/>
                  <a:gd name="T31" fmla="*/ 42 h 87"/>
                  <a:gd name="T32" fmla="*/ 46 w 194"/>
                  <a:gd name="T33" fmla="*/ 41 h 87"/>
                  <a:gd name="T34" fmla="*/ 51 w 194"/>
                  <a:gd name="T35" fmla="*/ 46 h 87"/>
                  <a:gd name="T36" fmla="*/ 54 w 194"/>
                  <a:gd name="T37" fmla="*/ 49 h 87"/>
                  <a:gd name="T38" fmla="*/ 62 w 194"/>
                  <a:gd name="T39" fmla="*/ 52 h 87"/>
                  <a:gd name="T40" fmla="*/ 66 w 194"/>
                  <a:gd name="T41" fmla="*/ 55 h 87"/>
                  <a:gd name="T42" fmla="*/ 56 w 194"/>
                  <a:gd name="T43" fmla="*/ 59 h 87"/>
                  <a:gd name="T44" fmla="*/ 56 w 194"/>
                  <a:gd name="T45" fmla="*/ 61 h 87"/>
                  <a:gd name="T46" fmla="*/ 51 w 194"/>
                  <a:gd name="T47" fmla="*/ 62 h 87"/>
                  <a:gd name="T48" fmla="*/ 30 w 194"/>
                  <a:gd name="T49" fmla="*/ 67 h 87"/>
                  <a:gd name="T50" fmla="*/ 24 w 194"/>
                  <a:gd name="T51" fmla="*/ 71 h 87"/>
                  <a:gd name="T52" fmla="*/ 23 w 194"/>
                  <a:gd name="T53" fmla="*/ 71 h 87"/>
                  <a:gd name="T54" fmla="*/ 6 w 194"/>
                  <a:gd name="T55" fmla="*/ 69 h 87"/>
                  <a:gd name="T56" fmla="*/ 1 w 194"/>
                  <a:gd name="T57" fmla="*/ 72 h 87"/>
                  <a:gd name="T58" fmla="*/ 3 w 194"/>
                  <a:gd name="T59" fmla="*/ 81 h 87"/>
                  <a:gd name="T60" fmla="*/ 23 w 194"/>
                  <a:gd name="T61" fmla="*/ 79 h 87"/>
                  <a:gd name="T62" fmla="*/ 29 w 194"/>
                  <a:gd name="T63" fmla="*/ 84 h 87"/>
                  <a:gd name="T64" fmla="*/ 36 w 194"/>
                  <a:gd name="T65" fmla="*/ 79 h 87"/>
                  <a:gd name="T66" fmla="*/ 40 w 194"/>
                  <a:gd name="T67" fmla="*/ 81 h 87"/>
                  <a:gd name="T68" fmla="*/ 44 w 194"/>
                  <a:gd name="T69" fmla="*/ 85 h 87"/>
                  <a:gd name="T70" fmla="*/ 50 w 194"/>
                  <a:gd name="T71" fmla="*/ 85 h 87"/>
                  <a:gd name="T72" fmla="*/ 57 w 194"/>
                  <a:gd name="T73" fmla="*/ 84 h 87"/>
                  <a:gd name="T74" fmla="*/ 67 w 194"/>
                  <a:gd name="T75" fmla="*/ 84 h 87"/>
                  <a:gd name="T76" fmla="*/ 77 w 194"/>
                  <a:gd name="T77" fmla="*/ 82 h 87"/>
                  <a:gd name="T78" fmla="*/ 85 w 194"/>
                  <a:gd name="T79" fmla="*/ 69 h 87"/>
                  <a:gd name="T80" fmla="*/ 97 w 194"/>
                  <a:gd name="T81" fmla="*/ 64 h 87"/>
                  <a:gd name="T82" fmla="*/ 97 w 194"/>
                  <a:gd name="T83" fmla="*/ 62 h 87"/>
                  <a:gd name="T84" fmla="*/ 100 w 194"/>
                  <a:gd name="T85" fmla="*/ 61 h 87"/>
                  <a:gd name="T86" fmla="*/ 110 w 194"/>
                  <a:gd name="T87" fmla="*/ 58 h 87"/>
                  <a:gd name="T88" fmla="*/ 116 w 194"/>
                  <a:gd name="T89" fmla="*/ 64 h 87"/>
                  <a:gd name="T90" fmla="*/ 125 w 194"/>
                  <a:gd name="T91" fmla="*/ 62 h 87"/>
                  <a:gd name="T92" fmla="*/ 132 w 194"/>
                  <a:gd name="T93" fmla="*/ 51 h 87"/>
                  <a:gd name="T94" fmla="*/ 152 w 194"/>
                  <a:gd name="T95" fmla="*/ 48 h 87"/>
                  <a:gd name="T96" fmla="*/ 174 w 194"/>
                  <a:gd name="T97" fmla="*/ 33 h 87"/>
                  <a:gd name="T98" fmla="*/ 192 w 194"/>
                  <a:gd name="T99" fmla="*/ 26 h 87"/>
                  <a:gd name="T100" fmla="*/ 24 w 194"/>
                  <a:gd name="T101" fmla="*/ 75 h 87"/>
                  <a:gd name="T102" fmla="*/ 24 w 194"/>
                  <a:gd name="T103" fmla="*/ 74 h 87"/>
                  <a:gd name="T104" fmla="*/ 34 w 194"/>
                  <a:gd name="T105" fmla="*/ 72 h 87"/>
                  <a:gd name="T106" fmla="*/ 30 w 194"/>
                  <a:gd name="T107" fmla="*/ 69 h 87"/>
                  <a:gd name="T108" fmla="*/ 36 w 194"/>
                  <a:gd name="T109" fmla="*/ 69 h 87"/>
                  <a:gd name="T110" fmla="*/ 43 w 194"/>
                  <a:gd name="T111" fmla="*/ 72 h 87"/>
                  <a:gd name="T112" fmla="*/ 44 w 194"/>
                  <a:gd name="T113" fmla="*/ 7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4" h="87">
                    <a:moveTo>
                      <a:pt x="188" y="18"/>
                    </a:moveTo>
                    <a:lnTo>
                      <a:pt x="186" y="18"/>
                    </a:lnTo>
                    <a:lnTo>
                      <a:pt x="182" y="18"/>
                    </a:lnTo>
                    <a:lnTo>
                      <a:pt x="181" y="18"/>
                    </a:lnTo>
                    <a:lnTo>
                      <a:pt x="179" y="16"/>
                    </a:lnTo>
                    <a:lnTo>
                      <a:pt x="178" y="15"/>
                    </a:lnTo>
                    <a:lnTo>
                      <a:pt x="174" y="10"/>
                    </a:lnTo>
                    <a:lnTo>
                      <a:pt x="158" y="8"/>
                    </a:lnTo>
                    <a:lnTo>
                      <a:pt x="135" y="6"/>
                    </a:lnTo>
                    <a:lnTo>
                      <a:pt x="129" y="6"/>
                    </a:lnTo>
                    <a:lnTo>
                      <a:pt x="120" y="6"/>
                    </a:lnTo>
                    <a:lnTo>
                      <a:pt x="118" y="6"/>
                    </a:lnTo>
                    <a:lnTo>
                      <a:pt x="116" y="8"/>
                    </a:lnTo>
                    <a:lnTo>
                      <a:pt x="115" y="9"/>
                    </a:lnTo>
                    <a:lnTo>
                      <a:pt x="113" y="9"/>
                    </a:lnTo>
                    <a:lnTo>
                      <a:pt x="112" y="9"/>
                    </a:lnTo>
                    <a:lnTo>
                      <a:pt x="109" y="9"/>
                    </a:lnTo>
                    <a:lnTo>
                      <a:pt x="106" y="8"/>
                    </a:lnTo>
                    <a:lnTo>
                      <a:pt x="102" y="6"/>
                    </a:lnTo>
                    <a:lnTo>
                      <a:pt x="90" y="2"/>
                    </a:lnTo>
                    <a:lnTo>
                      <a:pt x="87" y="0"/>
                    </a:lnTo>
                    <a:lnTo>
                      <a:pt x="85" y="0"/>
                    </a:lnTo>
                    <a:lnTo>
                      <a:pt x="82" y="2"/>
                    </a:lnTo>
                    <a:lnTo>
                      <a:pt x="79" y="3"/>
                    </a:lnTo>
                    <a:lnTo>
                      <a:pt x="76" y="6"/>
                    </a:lnTo>
                    <a:lnTo>
                      <a:pt x="74" y="10"/>
                    </a:lnTo>
                    <a:lnTo>
                      <a:pt x="74" y="13"/>
                    </a:lnTo>
                    <a:lnTo>
                      <a:pt x="74" y="18"/>
                    </a:lnTo>
                    <a:lnTo>
                      <a:pt x="73" y="18"/>
                    </a:lnTo>
                    <a:lnTo>
                      <a:pt x="72" y="18"/>
                    </a:lnTo>
                    <a:lnTo>
                      <a:pt x="70" y="16"/>
                    </a:lnTo>
                    <a:lnTo>
                      <a:pt x="70" y="16"/>
                    </a:lnTo>
                    <a:lnTo>
                      <a:pt x="64" y="15"/>
                    </a:lnTo>
                    <a:lnTo>
                      <a:pt x="51" y="10"/>
                    </a:lnTo>
                    <a:lnTo>
                      <a:pt x="49" y="9"/>
                    </a:lnTo>
                    <a:lnTo>
                      <a:pt x="46" y="9"/>
                    </a:lnTo>
                    <a:lnTo>
                      <a:pt x="41" y="9"/>
                    </a:lnTo>
                    <a:lnTo>
                      <a:pt x="39" y="10"/>
                    </a:lnTo>
                    <a:lnTo>
                      <a:pt x="36" y="10"/>
                    </a:lnTo>
                    <a:lnTo>
                      <a:pt x="33" y="13"/>
                    </a:lnTo>
                    <a:lnTo>
                      <a:pt x="31" y="16"/>
                    </a:lnTo>
                    <a:lnTo>
                      <a:pt x="30" y="19"/>
                    </a:lnTo>
                    <a:lnTo>
                      <a:pt x="30" y="22"/>
                    </a:lnTo>
                    <a:lnTo>
                      <a:pt x="31" y="22"/>
                    </a:lnTo>
                    <a:lnTo>
                      <a:pt x="33" y="22"/>
                    </a:lnTo>
                    <a:lnTo>
                      <a:pt x="34" y="22"/>
                    </a:lnTo>
                    <a:lnTo>
                      <a:pt x="36" y="23"/>
                    </a:lnTo>
                    <a:lnTo>
                      <a:pt x="34" y="25"/>
                    </a:lnTo>
                    <a:lnTo>
                      <a:pt x="31" y="25"/>
                    </a:lnTo>
                    <a:lnTo>
                      <a:pt x="30" y="26"/>
                    </a:lnTo>
                    <a:lnTo>
                      <a:pt x="29" y="26"/>
                    </a:lnTo>
                    <a:lnTo>
                      <a:pt x="29" y="28"/>
                    </a:lnTo>
                    <a:lnTo>
                      <a:pt x="27" y="29"/>
                    </a:lnTo>
                    <a:lnTo>
                      <a:pt x="27" y="29"/>
                    </a:lnTo>
                    <a:lnTo>
                      <a:pt x="26" y="29"/>
                    </a:lnTo>
                    <a:lnTo>
                      <a:pt x="24" y="31"/>
                    </a:lnTo>
                    <a:lnTo>
                      <a:pt x="23" y="31"/>
                    </a:lnTo>
                    <a:lnTo>
                      <a:pt x="17" y="36"/>
                    </a:lnTo>
                    <a:lnTo>
                      <a:pt x="17" y="36"/>
                    </a:lnTo>
                    <a:lnTo>
                      <a:pt x="17" y="38"/>
                    </a:lnTo>
                    <a:lnTo>
                      <a:pt x="18" y="39"/>
                    </a:lnTo>
                    <a:lnTo>
                      <a:pt x="20" y="39"/>
                    </a:lnTo>
                    <a:lnTo>
                      <a:pt x="21" y="41"/>
                    </a:lnTo>
                    <a:lnTo>
                      <a:pt x="23" y="41"/>
                    </a:lnTo>
                    <a:lnTo>
                      <a:pt x="24" y="39"/>
                    </a:lnTo>
                    <a:lnTo>
                      <a:pt x="24" y="39"/>
                    </a:lnTo>
                    <a:lnTo>
                      <a:pt x="26" y="39"/>
                    </a:lnTo>
                    <a:lnTo>
                      <a:pt x="26" y="41"/>
                    </a:lnTo>
                    <a:lnTo>
                      <a:pt x="27" y="41"/>
                    </a:lnTo>
                    <a:lnTo>
                      <a:pt x="27" y="42"/>
                    </a:lnTo>
                    <a:lnTo>
                      <a:pt x="27" y="44"/>
                    </a:lnTo>
                    <a:lnTo>
                      <a:pt x="29" y="45"/>
                    </a:lnTo>
                    <a:lnTo>
                      <a:pt x="31" y="45"/>
                    </a:lnTo>
                    <a:lnTo>
                      <a:pt x="33" y="46"/>
                    </a:lnTo>
                    <a:lnTo>
                      <a:pt x="34" y="46"/>
                    </a:lnTo>
                    <a:lnTo>
                      <a:pt x="37" y="46"/>
                    </a:lnTo>
                    <a:lnTo>
                      <a:pt x="39" y="45"/>
                    </a:lnTo>
                    <a:lnTo>
                      <a:pt x="39" y="44"/>
                    </a:lnTo>
                    <a:lnTo>
                      <a:pt x="39" y="42"/>
                    </a:lnTo>
                    <a:lnTo>
                      <a:pt x="40" y="42"/>
                    </a:lnTo>
                    <a:lnTo>
                      <a:pt x="41" y="41"/>
                    </a:lnTo>
                    <a:lnTo>
                      <a:pt x="41" y="39"/>
                    </a:lnTo>
                    <a:lnTo>
                      <a:pt x="43" y="38"/>
                    </a:lnTo>
                    <a:lnTo>
                      <a:pt x="43" y="38"/>
                    </a:lnTo>
                    <a:lnTo>
                      <a:pt x="46" y="41"/>
                    </a:lnTo>
                    <a:lnTo>
                      <a:pt x="46" y="44"/>
                    </a:lnTo>
                    <a:lnTo>
                      <a:pt x="47" y="44"/>
                    </a:lnTo>
                    <a:lnTo>
                      <a:pt x="47" y="45"/>
                    </a:lnTo>
                    <a:lnTo>
                      <a:pt x="49" y="45"/>
                    </a:lnTo>
                    <a:lnTo>
                      <a:pt x="51" y="46"/>
                    </a:lnTo>
                    <a:lnTo>
                      <a:pt x="51" y="46"/>
                    </a:lnTo>
                    <a:lnTo>
                      <a:pt x="51" y="46"/>
                    </a:lnTo>
                    <a:lnTo>
                      <a:pt x="53" y="48"/>
                    </a:lnTo>
                    <a:lnTo>
                      <a:pt x="53" y="48"/>
                    </a:lnTo>
                    <a:lnTo>
                      <a:pt x="54" y="49"/>
                    </a:lnTo>
                    <a:lnTo>
                      <a:pt x="57" y="49"/>
                    </a:lnTo>
                    <a:lnTo>
                      <a:pt x="57" y="49"/>
                    </a:lnTo>
                    <a:lnTo>
                      <a:pt x="59" y="51"/>
                    </a:lnTo>
                    <a:lnTo>
                      <a:pt x="60" y="51"/>
                    </a:lnTo>
                    <a:lnTo>
                      <a:pt x="62" y="52"/>
                    </a:lnTo>
                    <a:lnTo>
                      <a:pt x="63" y="52"/>
                    </a:lnTo>
                    <a:lnTo>
                      <a:pt x="67" y="52"/>
                    </a:lnTo>
                    <a:lnTo>
                      <a:pt x="67" y="52"/>
                    </a:lnTo>
                    <a:lnTo>
                      <a:pt x="67" y="54"/>
                    </a:lnTo>
                    <a:lnTo>
                      <a:pt x="66" y="55"/>
                    </a:lnTo>
                    <a:lnTo>
                      <a:pt x="62" y="58"/>
                    </a:lnTo>
                    <a:lnTo>
                      <a:pt x="60" y="58"/>
                    </a:lnTo>
                    <a:lnTo>
                      <a:pt x="57" y="58"/>
                    </a:lnTo>
                    <a:lnTo>
                      <a:pt x="57" y="59"/>
                    </a:lnTo>
                    <a:lnTo>
                      <a:pt x="56" y="59"/>
                    </a:lnTo>
                    <a:lnTo>
                      <a:pt x="54" y="59"/>
                    </a:lnTo>
                    <a:lnTo>
                      <a:pt x="54" y="59"/>
                    </a:lnTo>
                    <a:lnTo>
                      <a:pt x="56" y="61"/>
                    </a:lnTo>
                    <a:lnTo>
                      <a:pt x="56" y="61"/>
                    </a:lnTo>
                    <a:lnTo>
                      <a:pt x="56" y="61"/>
                    </a:lnTo>
                    <a:lnTo>
                      <a:pt x="54" y="61"/>
                    </a:lnTo>
                    <a:lnTo>
                      <a:pt x="54" y="61"/>
                    </a:lnTo>
                    <a:lnTo>
                      <a:pt x="53" y="61"/>
                    </a:lnTo>
                    <a:lnTo>
                      <a:pt x="53" y="61"/>
                    </a:lnTo>
                    <a:lnTo>
                      <a:pt x="51" y="62"/>
                    </a:lnTo>
                    <a:lnTo>
                      <a:pt x="46" y="65"/>
                    </a:lnTo>
                    <a:lnTo>
                      <a:pt x="43" y="67"/>
                    </a:lnTo>
                    <a:lnTo>
                      <a:pt x="34" y="65"/>
                    </a:lnTo>
                    <a:lnTo>
                      <a:pt x="30" y="65"/>
                    </a:lnTo>
                    <a:lnTo>
                      <a:pt x="30" y="67"/>
                    </a:lnTo>
                    <a:lnTo>
                      <a:pt x="29" y="68"/>
                    </a:lnTo>
                    <a:lnTo>
                      <a:pt x="26" y="68"/>
                    </a:lnTo>
                    <a:lnTo>
                      <a:pt x="24" y="69"/>
                    </a:lnTo>
                    <a:lnTo>
                      <a:pt x="24" y="69"/>
                    </a:lnTo>
                    <a:lnTo>
                      <a:pt x="24" y="71"/>
                    </a:lnTo>
                    <a:lnTo>
                      <a:pt x="24" y="71"/>
                    </a:lnTo>
                    <a:lnTo>
                      <a:pt x="24" y="71"/>
                    </a:lnTo>
                    <a:lnTo>
                      <a:pt x="23" y="71"/>
                    </a:lnTo>
                    <a:lnTo>
                      <a:pt x="23" y="71"/>
                    </a:lnTo>
                    <a:lnTo>
                      <a:pt x="23" y="71"/>
                    </a:lnTo>
                    <a:lnTo>
                      <a:pt x="21" y="69"/>
                    </a:lnTo>
                    <a:lnTo>
                      <a:pt x="14" y="67"/>
                    </a:lnTo>
                    <a:lnTo>
                      <a:pt x="10" y="67"/>
                    </a:lnTo>
                    <a:lnTo>
                      <a:pt x="6" y="68"/>
                    </a:lnTo>
                    <a:lnTo>
                      <a:pt x="6" y="69"/>
                    </a:lnTo>
                    <a:lnTo>
                      <a:pt x="4" y="71"/>
                    </a:lnTo>
                    <a:lnTo>
                      <a:pt x="4" y="72"/>
                    </a:lnTo>
                    <a:lnTo>
                      <a:pt x="3" y="72"/>
                    </a:lnTo>
                    <a:lnTo>
                      <a:pt x="1" y="72"/>
                    </a:lnTo>
                    <a:lnTo>
                      <a:pt x="1" y="72"/>
                    </a:lnTo>
                    <a:lnTo>
                      <a:pt x="0" y="74"/>
                    </a:lnTo>
                    <a:lnTo>
                      <a:pt x="0" y="77"/>
                    </a:lnTo>
                    <a:lnTo>
                      <a:pt x="0" y="79"/>
                    </a:lnTo>
                    <a:lnTo>
                      <a:pt x="1" y="81"/>
                    </a:lnTo>
                    <a:lnTo>
                      <a:pt x="3" y="81"/>
                    </a:lnTo>
                    <a:lnTo>
                      <a:pt x="8" y="79"/>
                    </a:lnTo>
                    <a:lnTo>
                      <a:pt x="16" y="79"/>
                    </a:lnTo>
                    <a:lnTo>
                      <a:pt x="20" y="79"/>
                    </a:lnTo>
                    <a:lnTo>
                      <a:pt x="21" y="79"/>
                    </a:lnTo>
                    <a:lnTo>
                      <a:pt x="23" y="79"/>
                    </a:lnTo>
                    <a:lnTo>
                      <a:pt x="24" y="81"/>
                    </a:lnTo>
                    <a:lnTo>
                      <a:pt x="24" y="81"/>
                    </a:lnTo>
                    <a:lnTo>
                      <a:pt x="27" y="82"/>
                    </a:lnTo>
                    <a:lnTo>
                      <a:pt x="27" y="84"/>
                    </a:lnTo>
                    <a:lnTo>
                      <a:pt x="29" y="84"/>
                    </a:lnTo>
                    <a:lnTo>
                      <a:pt x="30" y="84"/>
                    </a:lnTo>
                    <a:lnTo>
                      <a:pt x="30" y="82"/>
                    </a:lnTo>
                    <a:lnTo>
                      <a:pt x="31" y="82"/>
                    </a:lnTo>
                    <a:lnTo>
                      <a:pt x="33" y="81"/>
                    </a:lnTo>
                    <a:lnTo>
                      <a:pt x="36" y="79"/>
                    </a:lnTo>
                    <a:lnTo>
                      <a:pt x="37" y="79"/>
                    </a:lnTo>
                    <a:lnTo>
                      <a:pt x="39" y="79"/>
                    </a:lnTo>
                    <a:lnTo>
                      <a:pt x="40" y="79"/>
                    </a:lnTo>
                    <a:lnTo>
                      <a:pt x="40" y="81"/>
                    </a:lnTo>
                    <a:lnTo>
                      <a:pt x="40" y="81"/>
                    </a:lnTo>
                    <a:lnTo>
                      <a:pt x="43" y="82"/>
                    </a:lnTo>
                    <a:lnTo>
                      <a:pt x="44" y="84"/>
                    </a:lnTo>
                    <a:lnTo>
                      <a:pt x="44" y="84"/>
                    </a:lnTo>
                    <a:lnTo>
                      <a:pt x="44" y="85"/>
                    </a:lnTo>
                    <a:lnTo>
                      <a:pt x="44" y="85"/>
                    </a:lnTo>
                    <a:lnTo>
                      <a:pt x="44" y="85"/>
                    </a:lnTo>
                    <a:lnTo>
                      <a:pt x="46" y="85"/>
                    </a:lnTo>
                    <a:lnTo>
                      <a:pt x="47" y="85"/>
                    </a:lnTo>
                    <a:lnTo>
                      <a:pt x="49" y="84"/>
                    </a:lnTo>
                    <a:lnTo>
                      <a:pt x="50" y="85"/>
                    </a:lnTo>
                    <a:lnTo>
                      <a:pt x="51" y="87"/>
                    </a:lnTo>
                    <a:lnTo>
                      <a:pt x="53" y="87"/>
                    </a:lnTo>
                    <a:lnTo>
                      <a:pt x="54" y="87"/>
                    </a:lnTo>
                    <a:lnTo>
                      <a:pt x="56" y="85"/>
                    </a:lnTo>
                    <a:lnTo>
                      <a:pt x="57" y="84"/>
                    </a:lnTo>
                    <a:lnTo>
                      <a:pt x="57" y="84"/>
                    </a:lnTo>
                    <a:lnTo>
                      <a:pt x="59" y="84"/>
                    </a:lnTo>
                    <a:lnTo>
                      <a:pt x="59" y="84"/>
                    </a:lnTo>
                    <a:lnTo>
                      <a:pt x="60" y="84"/>
                    </a:lnTo>
                    <a:lnTo>
                      <a:pt x="67" y="84"/>
                    </a:lnTo>
                    <a:lnTo>
                      <a:pt x="70" y="84"/>
                    </a:lnTo>
                    <a:lnTo>
                      <a:pt x="72" y="84"/>
                    </a:lnTo>
                    <a:lnTo>
                      <a:pt x="73" y="82"/>
                    </a:lnTo>
                    <a:lnTo>
                      <a:pt x="74" y="82"/>
                    </a:lnTo>
                    <a:lnTo>
                      <a:pt x="77" y="82"/>
                    </a:lnTo>
                    <a:lnTo>
                      <a:pt x="80" y="81"/>
                    </a:lnTo>
                    <a:lnTo>
                      <a:pt x="82" y="79"/>
                    </a:lnTo>
                    <a:lnTo>
                      <a:pt x="82" y="75"/>
                    </a:lnTo>
                    <a:lnTo>
                      <a:pt x="82" y="72"/>
                    </a:lnTo>
                    <a:lnTo>
                      <a:pt x="85" y="69"/>
                    </a:lnTo>
                    <a:lnTo>
                      <a:pt x="89" y="68"/>
                    </a:lnTo>
                    <a:lnTo>
                      <a:pt x="93" y="67"/>
                    </a:lnTo>
                    <a:lnTo>
                      <a:pt x="96" y="64"/>
                    </a:lnTo>
                    <a:lnTo>
                      <a:pt x="97" y="64"/>
                    </a:lnTo>
                    <a:lnTo>
                      <a:pt x="97" y="64"/>
                    </a:lnTo>
                    <a:lnTo>
                      <a:pt x="99" y="64"/>
                    </a:lnTo>
                    <a:lnTo>
                      <a:pt x="99" y="64"/>
                    </a:lnTo>
                    <a:lnTo>
                      <a:pt x="99" y="62"/>
                    </a:lnTo>
                    <a:lnTo>
                      <a:pt x="97" y="62"/>
                    </a:lnTo>
                    <a:lnTo>
                      <a:pt x="97" y="62"/>
                    </a:lnTo>
                    <a:lnTo>
                      <a:pt x="97" y="62"/>
                    </a:lnTo>
                    <a:lnTo>
                      <a:pt x="97" y="61"/>
                    </a:lnTo>
                    <a:lnTo>
                      <a:pt x="97" y="61"/>
                    </a:lnTo>
                    <a:lnTo>
                      <a:pt x="99" y="61"/>
                    </a:lnTo>
                    <a:lnTo>
                      <a:pt x="100" y="61"/>
                    </a:lnTo>
                    <a:lnTo>
                      <a:pt x="103" y="61"/>
                    </a:lnTo>
                    <a:lnTo>
                      <a:pt x="105" y="61"/>
                    </a:lnTo>
                    <a:lnTo>
                      <a:pt x="107" y="59"/>
                    </a:lnTo>
                    <a:lnTo>
                      <a:pt x="109" y="58"/>
                    </a:lnTo>
                    <a:lnTo>
                      <a:pt x="110" y="58"/>
                    </a:lnTo>
                    <a:lnTo>
                      <a:pt x="112" y="58"/>
                    </a:lnTo>
                    <a:lnTo>
                      <a:pt x="112" y="59"/>
                    </a:lnTo>
                    <a:lnTo>
                      <a:pt x="113" y="62"/>
                    </a:lnTo>
                    <a:lnTo>
                      <a:pt x="113" y="64"/>
                    </a:lnTo>
                    <a:lnTo>
                      <a:pt x="116" y="64"/>
                    </a:lnTo>
                    <a:lnTo>
                      <a:pt x="118" y="64"/>
                    </a:lnTo>
                    <a:lnTo>
                      <a:pt x="120" y="64"/>
                    </a:lnTo>
                    <a:lnTo>
                      <a:pt x="122" y="62"/>
                    </a:lnTo>
                    <a:lnTo>
                      <a:pt x="123" y="62"/>
                    </a:lnTo>
                    <a:lnTo>
                      <a:pt x="125" y="62"/>
                    </a:lnTo>
                    <a:lnTo>
                      <a:pt x="126" y="62"/>
                    </a:lnTo>
                    <a:lnTo>
                      <a:pt x="128" y="61"/>
                    </a:lnTo>
                    <a:lnTo>
                      <a:pt x="129" y="58"/>
                    </a:lnTo>
                    <a:lnTo>
                      <a:pt x="130" y="54"/>
                    </a:lnTo>
                    <a:lnTo>
                      <a:pt x="132" y="51"/>
                    </a:lnTo>
                    <a:lnTo>
                      <a:pt x="136" y="48"/>
                    </a:lnTo>
                    <a:lnTo>
                      <a:pt x="138" y="48"/>
                    </a:lnTo>
                    <a:lnTo>
                      <a:pt x="145" y="49"/>
                    </a:lnTo>
                    <a:lnTo>
                      <a:pt x="149" y="49"/>
                    </a:lnTo>
                    <a:lnTo>
                      <a:pt x="152" y="48"/>
                    </a:lnTo>
                    <a:lnTo>
                      <a:pt x="156" y="46"/>
                    </a:lnTo>
                    <a:lnTo>
                      <a:pt x="159" y="44"/>
                    </a:lnTo>
                    <a:lnTo>
                      <a:pt x="162" y="41"/>
                    </a:lnTo>
                    <a:lnTo>
                      <a:pt x="165" y="38"/>
                    </a:lnTo>
                    <a:lnTo>
                      <a:pt x="174" y="33"/>
                    </a:lnTo>
                    <a:lnTo>
                      <a:pt x="184" y="31"/>
                    </a:lnTo>
                    <a:lnTo>
                      <a:pt x="186" y="28"/>
                    </a:lnTo>
                    <a:lnTo>
                      <a:pt x="188" y="26"/>
                    </a:lnTo>
                    <a:lnTo>
                      <a:pt x="191" y="26"/>
                    </a:lnTo>
                    <a:lnTo>
                      <a:pt x="192" y="26"/>
                    </a:lnTo>
                    <a:lnTo>
                      <a:pt x="194" y="25"/>
                    </a:lnTo>
                    <a:lnTo>
                      <a:pt x="192" y="23"/>
                    </a:lnTo>
                    <a:lnTo>
                      <a:pt x="189" y="19"/>
                    </a:lnTo>
                    <a:lnTo>
                      <a:pt x="188" y="18"/>
                    </a:lnTo>
                    <a:close/>
                    <a:moveTo>
                      <a:pt x="24" y="75"/>
                    </a:moveTo>
                    <a:lnTo>
                      <a:pt x="23" y="75"/>
                    </a:lnTo>
                    <a:lnTo>
                      <a:pt x="23" y="74"/>
                    </a:lnTo>
                    <a:lnTo>
                      <a:pt x="21" y="74"/>
                    </a:lnTo>
                    <a:lnTo>
                      <a:pt x="23" y="74"/>
                    </a:lnTo>
                    <a:lnTo>
                      <a:pt x="24" y="74"/>
                    </a:lnTo>
                    <a:lnTo>
                      <a:pt x="26" y="74"/>
                    </a:lnTo>
                    <a:lnTo>
                      <a:pt x="26" y="74"/>
                    </a:lnTo>
                    <a:lnTo>
                      <a:pt x="24" y="75"/>
                    </a:lnTo>
                    <a:close/>
                    <a:moveTo>
                      <a:pt x="34" y="71"/>
                    </a:moveTo>
                    <a:lnTo>
                      <a:pt x="34" y="72"/>
                    </a:lnTo>
                    <a:lnTo>
                      <a:pt x="33" y="74"/>
                    </a:lnTo>
                    <a:lnTo>
                      <a:pt x="31" y="72"/>
                    </a:lnTo>
                    <a:lnTo>
                      <a:pt x="31" y="71"/>
                    </a:lnTo>
                    <a:lnTo>
                      <a:pt x="31" y="71"/>
                    </a:lnTo>
                    <a:lnTo>
                      <a:pt x="30" y="69"/>
                    </a:lnTo>
                    <a:lnTo>
                      <a:pt x="30" y="68"/>
                    </a:lnTo>
                    <a:lnTo>
                      <a:pt x="31" y="68"/>
                    </a:lnTo>
                    <a:lnTo>
                      <a:pt x="33" y="69"/>
                    </a:lnTo>
                    <a:lnTo>
                      <a:pt x="34" y="69"/>
                    </a:lnTo>
                    <a:lnTo>
                      <a:pt x="36" y="69"/>
                    </a:lnTo>
                    <a:lnTo>
                      <a:pt x="34" y="71"/>
                    </a:lnTo>
                    <a:close/>
                    <a:moveTo>
                      <a:pt x="44" y="72"/>
                    </a:moveTo>
                    <a:lnTo>
                      <a:pt x="44" y="72"/>
                    </a:lnTo>
                    <a:lnTo>
                      <a:pt x="44" y="72"/>
                    </a:lnTo>
                    <a:lnTo>
                      <a:pt x="43" y="72"/>
                    </a:lnTo>
                    <a:lnTo>
                      <a:pt x="43" y="71"/>
                    </a:lnTo>
                    <a:lnTo>
                      <a:pt x="44" y="71"/>
                    </a:lnTo>
                    <a:lnTo>
                      <a:pt x="44" y="71"/>
                    </a:lnTo>
                    <a:lnTo>
                      <a:pt x="44" y="71"/>
                    </a:lnTo>
                    <a:lnTo>
                      <a:pt x="44" y="7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63" name="Freeform 159">
                <a:extLst>
                  <a:ext uri="{FF2B5EF4-FFF2-40B4-BE49-F238E27FC236}">
                    <a16:creationId xmlns:a16="http://schemas.microsoft.com/office/drawing/2014/main" id="{DF3F69CE-4D44-6A9D-8898-5363E4785E1D}"/>
                  </a:ext>
                </a:extLst>
              </p:cNvPr>
              <p:cNvSpPr>
                <a:spLocks noEditPoints="1"/>
              </p:cNvSpPr>
              <p:nvPr/>
            </p:nvSpPr>
            <p:spPr bwMode="auto">
              <a:xfrm>
                <a:off x="8780749" y="4317754"/>
                <a:ext cx="83866" cy="36149"/>
              </a:xfrm>
              <a:custGeom>
                <a:avLst/>
                <a:gdLst>
                  <a:gd name="T0" fmla="*/ 2 w 58"/>
                  <a:gd name="T1" fmla="*/ 23 h 25"/>
                  <a:gd name="T2" fmla="*/ 0 w 58"/>
                  <a:gd name="T3" fmla="*/ 22 h 25"/>
                  <a:gd name="T4" fmla="*/ 2 w 58"/>
                  <a:gd name="T5" fmla="*/ 20 h 25"/>
                  <a:gd name="T6" fmla="*/ 5 w 58"/>
                  <a:gd name="T7" fmla="*/ 20 h 25"/>
                  <a:gd name="T8" fmla="*/ 8 w 58"/>
                  <a:gd name="T9" fmla="*/ 19 h 25"/>
                  <a:gd name="T10" fmla="*/ 6 w 58"/>
                  <a:gd name="T11" fmla="*/ 22 h 25"/>
                  <a:gd name="T12" fmla="*/ 5 w 58"/>
                  <a:gd name="T13" fmla="*/ 23 h 25"/>
                  <a:gd name="T14" fmla="*/ 2 w 58"/>
                  <a:gd name="T15" fmla="*/ 23 h 25"/>
                  <a:gd name="T16" fmla="*/ 28 w 58"/>
                  <a:gd name="T17" fmla="*/ 19 h 25"/>
                  <a:gd name="T18" fmla="*/ 48 w 58"/>
                  <a:gd name="T19" fmla="*/ 12 h 25"/>
                  <a:gd name="T20" fmla="*/ 54 w 58"/>
                  <a:gd name="T21" fmla="*/ 9 h 25"/>
                  <a:gd name="T22" fmla="*/ 58 w 58"/>
                  <a:gd name="T23" fmla="*/ 6 h 25"/>
                  <a:gd name="T24" fmla="*/ 56 w 58"/>
                  <a:gd name="T25" fmla="*/ 5 h 25"/>
                  <a:gd name="T26" fmla="*/ 54 w 58"/>
                  <a:gd name="T27" fmla="*/ 5 h 25"/>
                  <a:gd name="T28" fmla="*/ 52 w 58"/>
                  <a:gd name="T29" fmla="*/ 5 h 25"/>
                  <a:gd name="T30" fmla="*/ 41 w 58"/>
                  <a:gd name="T31" fmla="*/ 6 h 25"/>
                  <a:gd name="T32" fmla="*/ 31 w 58"/>
                  <a:gd name="T33" fmla="*/ 7 h 25"/>
                  <a:gd name="T34" fmla="*/ 28 w 58"/>
                  <a:gd name="T35" fmla="*/ 7 h 25"/>
                  <a:gd name="T36" fmla="*/ 25 w 58"/>
                  <a:gd name="T37" fmla="*/ 7 h 25"/>
                  <a:gd name="T38" fmla="*/ 22 w 58"/>
                  <a:gd name="T39" fmla="*/ 9 h 25"/>
                  <a:gd name="T40" fmla="*/ 21 w 58"/>
                  <a:gd name="T41" fmla="*/ 10 h 25"/>
                  <a:gd name="T42" fmla="*/ 18 w 58"/>
                  <a:gd name="T43" fmla="*/ 13 h 25"/>
                  <a:gd name="T44" fmla="*/ 16 w 58"/>
                  <a:gd name="T45" fmla="*/ 15 h 25"/>
                  <a:gd name="T46" fmla="*/ 16 w 58"/>
                  <a:gd name="T47" fmla="*/ 16 h 25"/>
                  <a:gd name="T48" fmla="*/ 19 w 58"/>
                  <a:gd name="T49" fmla="*/ 16 h 25"/>
                  <a:gd name="T50" fmla="*/ 21 w 58"/>
                  <a:gd name="T51" fmla="*/ 16 h 25"/>
                  <a:gd name="T52" fmla="*/ 19 w 58"/>
                  <a:gd name="T53" fmla="*/ 19 h 25"/>
                  <a:gd name="T54" fmla="*/ 19 w 58"/>
                  <a:gd name="T55" fmla="*/ 19 h 25"/>
                  <a:gd name="T56" fmla="*/ 18 w 58"/>
                  <a:gd name="T57" fmla="*/ 19 h 25"/>
                  <a:gd name="T58" fmla="*/ 18 w 58"/>
                  <a:gd name="T59" fmla="*/ 20 h 25"/>
                  <a:gd name="T60" fmla="*/ 18 w 58"/>
                  <a:gd name="T61" fmla="*/ 20 h 25"/>
                  <a:gd name="T62" fmla="*/ 18 w 58"/>
                  <a:gd name="T63" fmla="*/ 22 h 25"/>
                  <a:gd name="T64" fmla="*/ 19 w 58"/>
                  <a:gd name="T65" fmla="*/ 23 h 25"/>
                  <a:gd name="T66" fmla="*/ 19 w 58"/>
                  <a:gd name="T67" fmla="*/ 25 h 25"/>
                  <a:gd name="T68" fmla="*/ 23 w 58"/>
                  <a:gd name="T69" fmla="*/ 22 h 25"/>
                  <a:gd name="T70" fmla="*/ 28 w 58"/>
                  <a:gd name="T71" fmla="*/ 19 h 25"/>
                  <a:gd name="T72" fmla="*/ 28 w 58"/>
                  <a:gd name="T73" fmla="*/ 2 h 25"/>
                  <a:gd name="T74" fmla="*/ 28 w 58"/>
                  <a:gd name="T75" fmla="*/ 0 h 25"/>
                  <a:gd name="T76" fmla="*/ 29 w 58"/>
                  <a:gd name="T77" fmla="*/ 0 h 25"/>
                  <a:gd name="T78" fmla="*/ 29 w 58"/>
                  <a:gd name="T79" fmla="*/ 2 h 25"/>
                  <a:gd name="T80" fmla="*/ 28 w 58"/>
                  <a:gd name="T81" fmla="*/ 2 h 25"/>
                  <a:gd name="T82" fmla="*/ 28 w 58"/>
                  <a:gd name="T83" fmla="*/ 3 h 25"/>
                  <a:gd name="T84" fmla="*/ 26 w 58"/>
                  <a:gd name="T85" fmla="*/ 3 h 25"/>
                  <a:gd name="T86" fmla="*/ 26 w 58"/>
                  <a:gd name="T87" fmla="*/ 2 h 25"/>
                  <a:gd name="T88" fmla="*/ 28 w 58"/>
                  <a:gd name="T89"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25">
                    <a:moveTo>
                      <a:pt x="2" y="23"/>
                    </a:moveTo>
                    <a:lnTo>
                      <a:pt x="0" y="22"/>
                    </a:lnTo>
                    <a:lnTo>
                      <a:pt x="2" y="20"/>
                    </a:lnTo>
                    <a:lnTo>
                      <a:pt x="5" y="20"/>
                    </a:lnTo>
                    <a:lnTo>
                      <a:pt x="8" y="19"/>
                    </a:lnTo>
                    <a:lnTo>
                      <a:pt x="6" y="22"/>
                    </a:lnTo>
                    <a:lnTo>
                      <a:pt x="5" y="23"/>
                    </a:lnTo>
                    <a:lnTo>
                      <a:pt x="2" y="23"/>
                    </a:lnTo>
                    <a:close/>
                    <a:moveTo>
                      <a:pt x="28" y="19"/>
                    </a:moveTo>
                    <a:lnTo>
                      <a:pt x="48" y="12"/>
                    </a:lnTo>
                    <a:lnTo>
                      <a:pt x="54" y="9"/>
                    </a:lnTo>
                    <a:lnTo>
                      <a:pt x="58" y="6"/>
                    </a:lnTo>
                    <a:lnTo>
                      <a:pt x="56" y="5"/>
                    </a:lnTo>
                    <a:lnTo>
                      <a:pt x="54" y="5"/>
                    </a:lnTo>
                    <a:lnTo>
                      <a:pt x="52" y="5"/>
                    </a:lnTo>
                    <a:lnTo>
                      <a:pt x="41" y="6"/>
                    </a:lnTo>
                    <a:lnTo>
                      <a:pt x="31" y="7"/>
                    </a:lnTo>
                    <a:lnTo>
                      <a:pt x="28" y="7"/>
                    </a:lnTo>
                    <a:lnTo>
                      <a:pt x="25" y="7"/>
                    </a:lnTo>
                    <a:lnTo>
                      <a:pt x="22" y="9"/>
                    </a:lnTo>
                    <a:lnTo>
                      <a:pt x="21" y="10"/>
                    </a:lnTo>
                    <a:lnTo>
                      <a:pt x="18" y="13"/>
                    </a:lnTo>
                    <a:lnTo>
                      <a:pt x="16" y="15"/>
                    </a:lnTo>
                    <a:lnTo>
                      <a:pt x="16" y="16"/>
                    </a:lnTo>
                    <a:lnTo>
                      <a:pt x="19" y="16"/>
                    </a:lnTo>
                    <a:lnTo>
                      <a:pt x="21" y="16"/>
                    </a:lnTo>
                    <a:lnTo>
                      <a:pt x="19" y="19"/>
                    </a:lnTo>
                    <a:lnTo>
                      <a:pt x="19" y="19"/>
                    </a:lnTo>
                    <a:lnTo>
                      <a:pt x="18" y="19"/>
                    </a:lnTo>
                    <a:lnTo>
                      <a:pt x="18" y="20"/>
                    </a:lnTo>
                    <a:lnTo>
                      <a:pt x="18" y="20"/>
                    </a:lnTo>
                    <a:lnTo>
                      <a:pt x="18" y="22"/>
                    </a:lnTo>
                    <a:lnTo>
                      <a:pt x="19" y="23"/>
                    </a:lnTo>
                    <a:lnTo>
                      <a:pt x="19" y="25"/>
                    </a:lnTo>
                    <a:lnTo>
                      <a:pt x="23" y="22"/>
                    </a:lnTo>
                    <a:lnTo>
                      <a:pt x="28" y="19"/>
                    </a:lnTo>
                    <a:close/>
                    <a:moveTo>
                      <a:pt x="28" y="2"/>
                    </a:moveTo>
                    <a:lnTo>
                      <a:pt x="28" y="0"/>
                    </a:lnTo>
                    <a:lnTo>
                      <a:pt x="29" y="0"/>
                    </a:lnTo>
                    <a:lnTo>
                      <a:pt x="29" y="2"/>
                    </a:lnTo>
                    <a:lnTo>
                      <a:pt x="28" y="2"/>
                    </a:lnTo>
                    <a:lnTo>
                      <a:pt x="28" y="3"/>
                    </a:lnTo>
                    <a:lnTo>
                      <a:pt x="26" y="3"/>
                    </a:lnTo>
                    <a:lnTo>
                      <a:pt x="26" y="2"/>
                    </a:lnTo>
                    <a:lnTo>
                      <a:pt x="28" y="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56" name="Freeform 160">
                <a:extLst>
                  <a:ext uri="{FF2B5EF4-FFF2-40B4-BE49-F238E27FC236}">
                    <a16:creationId xmlns:a16="http://schemas.microsoft.com/office/drawing/2014/main" id="{190B4BCA-F2A5-235A-5CB2-8D0A29DF46C5}"/>
                  </a:ext>
                </a:extLst>
              </p:cNvPr>
              <p:cNvSpPr>
                <a:spLocks/>
              </p:cNvSpPr>
              <p:nvPr/>
            </p:nvSpPr>
            <p:spPr bwMode="auto">
              <a:xfrm>
                <a:off x="8513247" y="353115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57" name="Freeform 161">
                <a:extLst>
                  <a:ext uri="{FF2B5EF4-FFF2-40B4-BE49-F238E27FC236}">
                    <a16:creationId xmlns:a16="http://schemas.microsoft.com/office/drawing/2014/main" id="{DB2AB40B-36CA-5747-359A-CBB447BF6F9C}"/>
                  </a:ext>
                </a:extLst>
              </p:cNvPr>
              <p:cNvSpPr>
                <a:spLocks/>
              </p:cNvSpPr>
              <p:nvPr/>
            </p:nvSpPr>
            <p:spPr bwMode="auto">
              <a:xfrm>
                <a:off x="7859673" y="2607183"/>
                <a:ext cx="818413" cy="365828"/>
              </a:xfrm>
              <a:custGeom>
                <a:avLst/>
                <a:gdLst>
                  <a:gd name="T0" fmla="*/ 541 w 566"/>
                  <a:gd name="T1" fmla="*/ 108 h 253"/>
                  <a:gd name="T2" fmla="*/ 514 w 566"/>
                  <a:gd name="T3" fmla="*/ 111 h 253"/>
                  <a:gd name="T4" fmla="*/ 491 w 566"/>
                  <a:gd name="T5" fmla="*/ 111 h 253"/>
                  <a:gd name="T6" fmla="*/ 494 w 566"/>
                  <a:gd name="T7" fmla="*/ 91 h 253"/>
                  <a:gd name="T8" fmla="*/ 498 w 566"/>
                  <a:gd name="T9" fmla="*/ 56 h 253"/>
                  <a:gd name="T10" fmla="*/ 484 w 566"/>
                  <a:gd name="T11" fmla="*/ 58 h 253"/>
                  <a:gd name="T12" fmla="*/ 462 w 566"/>
                  <a:gd name="T13" fmla="*/ 51 h 253"/>
                  <a:gd name="T14" fmla="*/ 444 w 566"/>
                  <a:gd name="T15" fmla="*/ 67 h 253"/>
                  <a:gd name="T16" fmla="*/ 426 w 566"/>
                  <a:gd name="T17" fmla="*/ 71 h 253"/>
                  <a:gd name="T18" fmla="*/ 405 w 566"/>
                  <a:gd name="T19" fmla="*/ 78 h 253"/>
                  <a:gd name="T20" fmla="*/ 380 w 566"/>
                  <a:gd name="T21" fmla="*/ 74 h 253"/>
                  <a:gd name="T22" fmla="*/ 357 w 566"/>
                  <a:gd name="T23" fmla="*/ 68 h 253"/>
                  <a:gd name="T24" fmla="*/ 353 w 566"/>
                  <a:gd name="T25" fmla="*/ 58 h 253"/>
                  <a:gd name="T26" fmla="*/ 330 w 566"/>
                  <a:gd name="T27" fmla="*/ 48 h 253"/>
                  <a:gd name="T28" fmla="*/ 307 w 566"/>
                  <a:gd name="T29" fmla="*/ 45 h 253"/>
                  <a:gd name="T30" fmla="*/ 293 w 566"/>
                  <a:gd name="T31" fmla="*/ 48 h 253"/>
                  <a:gd name="T32" fmla="*/ 283 w 566"/>
                  <a:gd name="T33" fmla="*/ 52 h 253"/>
                  <a:gd name="T34" fmla="*/ 271 w 566"/>
                  <a:gd name="T35" fmla="*/ 49 h 253"/>
                  <a:gd name="T36" fmla="*/ 255 w 566"/>
                  <a:gd name="T37" fmla="*/ 42 h 253"/>
                  <a:gd name="T38" fmla="*/ 254 w 566"/>
                  <a:gd name="T39" fmla="*/ 32 h 253"/>
                  <a:gd name="T40" fmla="*/ 253 w 566"/>
                  <a:gd name="T41" fmla="*/ 21 h 253"/>
                  <a:gd name="T42" fmla="*/ 224 w 566"/>
                  <a:gd name="T43" fmla="*/ 10 h 253"/>
                  <a:gd name="T44" fmla="*/ 199 w 566"/>
                  <a:gd name="T45" fmla="*/ 3 h 253"/>
                  <a:gd name="T46" fmla="*/ 185 w 566"/>
                  <a:gd name="T47" fmla="*/ 12 h 253"/>
                  <a:gd name="T48" fmla="*/ 178 w 566"/>
                  <a:gd name="T49" fmla="*/ 23 h 253"/>
                  <a:gd name="T50" fmla="*/ 181 w 566"/>
                  <a:gd name="T51" fmla="*/ 39 h 253"/>
                  <a:gd name="T52" fmla="*/ 181 w 566"/>
                  <a:gd name="T53" fmla="*/ 55 h 253"/>
                  <a:gd name="T54" fmla="*/ 172 w 566"/>
                  <a:gd name="T55" fmla="*/ 59 h 253"/>
                  <a:gd name="T56" fmla="*/ 162 w 566"/>
                  <a:gd name="T57" fmla="*/ 59 h 253"/>
                  <a:gd name="T58" fmla="*/ 143 w 566"/>
                  <a:gd name="T59" fmla="*/ 56 h 253"/>
                  <a:gd name="T60" fmla="*/ 135 w 566"/>
                  <a:gd name="T61" fmla="*/ 58 h 253"/>
                  <a:gd name="T62" fmla="*/ 128 w 566"/>
                  <a:gd name="T63" fmla="*/ 56 h 253"/>
                  <a:gd name="T64" fmla="*/ 118 w 566"/>
                  <a:gd name="T65" fmla="*/ 52 h 253"/>
                  <a:gd name="T66" fmla="*/ 105 w 566"/>
                  <a:gd name="T67" fmla="*/ 41 h 253"/>
                  <a:gd name="T68" fmla="*/ 90 w 566"/>
                  <a:gd name="T69" fmla="*/ 35 h 253"/>
                  <a:gd name="T70" fmla="*/ 82 w 566"/>
                  <a:gd name="T71" fmla="*/ 35 h 253"/>
                  <a:gd name="T72" fmla="*/ 72 w 566"/>
                  <a:gd name="T73" fmla="*/ 38 h 253"/>
                  <a:gd name="T74" fmla="*/ 64 w 566"/>
                  <a:gd name="T75" fmla="*/ 42 h 253"/>
                  <a:gd name="T76" fmla="*/ 56 w 566"/>
                  <a:gd name="T77" fmla="*/ 46 h 253"/>
                  <a:gd name="T78" fmla="*/ 49 w 566"/>
                  <a:gd name="T79" fmla="*/ 51 h 253"/>
                  <a:gd name="T80" fmla="*/ 39 w 566"/>
                  <a:gd name="T81" fmla="*/ 56 h 253"/>
                  <a:gd name="T82" fmla="*/ 33 w 566"/>
                  <a:gd name="T83" fmla="*/ 59 h 253"/>
                  <a:gd name="T84" fmla="*/ 29 w 566"/>
                  <a:gd name="T85" fmla="*/ 67 h 253"/>
                  <a:gd name="T86" fmla="*/ 24 w 566"/>
                  <a:gd name="T87" fmla="*/ 69 h 253"/>
                  <a:gd name="T88" fmla="*/ 18 w 566"/>
                  <a:gd name="T89" fmla="*/ 71 h 253"/>
                  <a:gd name="T90" fmla="*/ 8 w 566"/>
                  <a:gd name="T91" fmla="*/ 69 h 253"/>
                  <a:gd name="T92" fmla="*/ 1 w 566"/>
                  <a:gd name="T93" fmla="*/ 78 h 253"/>
                  <a:gd name="T94" fmla="*/ 4 w 566"/>
                  <a:gd name="T95" fmla="*/ 88 h 253"/>
                  <a:gd name="T96" fmla="*/ 21 w 566"/>
                  <a:gd name="T97" fmla="*/ 105 h 253"/>
                  <a:gd name="T98" fmla="*/ 43 w 566"/>
                  <a:gd name="T99" fmla="*/ 114 h 253"/>
                  <a:gd name="T100" fmla="*/ 56 w 566"/>
                  <a:gd name="T101" fmla="*/ 150 h 253"/>
                  <a:gd name="T102" fmla="*/ 64 w 566"/>
                  <a:gd name="T103" fmla="*/ 174 h 253"/>
                  <a:gd name="T104" fmla="*/ 120 w 566"/>
                  <a:gd name="T105" fmla="*/ 190 h 253"/>
                  <a:gd name="T106" fmla="*/ 138 w 566"/>
                  <a:gd name="T107" fmla="*/ 202 h 253"/>
                  <a:gd name="T108" fmla="*/ 152 w 566"/>
                  <a:gd name="T109" fmla="*/ 227 h 253"/>
                  <a:gd name="T110" fmla="*/ 253 w 566"/>
                  <a:gd name="T111" fmla="*/ 240 h 253"/>
                  <a:gd name="T112" fmla="*/ 303 w 566"/>
                  <a:gd name="T113" fmla="*/ 253 h 253"/>
                  <a:gd name="T114" fmla="*/ 399 w 566"/>
                  <a:gd name="T115" fmla="*/ 226 h 253"/>
                  <a:gd name="T116" fmla="*/ 421 w 566"/>
                  <a:gd name="T117" fmla="*/ 180 h 253"/>
                  <a:gd name="T118" fmla="*/ 461 w 566"/>
                  <a:gd name="T119" fmla="*/ 179 h 253"/>
                  <a:gd name="T120" fmla="*/ 497 w 566"/>
                  <a:gd name="T121" fmla="*/ 161 h 253"/>
                  <a:gd name="T122" fmla="*/ 520 w 566"/>
                  <a:gd name="T123" fmla="*/ 144 h 253"/>
                  <a:gd name="T124" fmla="*/ 533 w 566"/>
                  <a:gd name="T125" fmla="*/ 13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253">
                    <a:moveTo>
                      <a:pt x="563" y="130"/>
                    </a:moveTo>
                    <a:lnTo>
                      <a:pt x="558" y="124"/>
                    </a:lnTo>
                    <a:lnTo>
                      <a:pt x="556" y="121"/>
                    </a:lnTo>
                    <a:lnTo>
                      <a:pt x="554" y="120"/>
                    </a:lnTo>
                    <a:lnTo>
                      <a:pt x="551" y="115"/>
                    </a:lnTo>
                    <a:lnTo>
                      <a:pt x="550" y="115"/>
                    </a:lnTo>
                    <a:lnTo>
                      <a:pt x="550" y="114"/>
                    </a:lnTo>
                    <a:lnTo>
                      <a:pt x="547" y="114"/>
                    </a:lnTo>
                    <a:lnTo>
                      <a:pt x="547" y="113"/>
                    </a:lnTo>
                    <a:lnTo>
                      <a:pt x="546" y="111"/>
                    </a:lnTo>
                    <a:lnTo>
                      <a:pt x="543" y="110"/>
                    </a:lnTo>
                    <a:lnTo>
                      <a:pt x="541" y="108"/>
                    </a:lnTo>
                    <a:lnTo>
                      <a:pt x="538" y="107"/>
                    </a:lnTo>
                    <a:lnTo>
                      <a:pt x="535" y="105"/>
                    </a:lnTo>
                    <a:lnTo>
                      <a:pt x="533" y="105"/>
                    </a:lnTo>
                    <a:lnTo>
                      <a:pt x="530" y="107"/>
                    </a:lnTo>
                    <a:lnTo>
                      <a:pt x="528" y="107"/>
                    </a:lnTo>
                    <a:lnTo>
                      <a:pt x="527" y="107"/>
                    </a:lnTo>
                    <a:lnTo>
                      <a:pt x="527" y="108"/>
                    </a:lnTo>
                    <a:lnTo>
                      <a:pt x="525" y="110"/>
                    </a:lnTo>
                    <a:lnTo>
                      <a:pt x="521" y="114"/>
                    </a:lnTo>
                    <a:lnTo>
                      <a:pt x="521" y="114"/>
                    </a:lnTo>
                    <a:lnTo>
                      <a:pt x="518" y="114"/>
                    </a:lnTo>
                    <a:lnTo>
                      <a:pt x="514" y="111"/>
                    </a:lnTo>
                    <a:lnTo>
                      <a:pt x="511" y="110"/>
                    </a:lnTo>
                    <a:lnTo>
                      <a:pt x="508" y="110"/>
                    </a:lnTo>
                    <a:lnTo>
                      <a:pt x="505" y="110"/>
                    </a:lnTo>
                    <a:lnTo>
                      <a:pt x="502" y="110"/>
                    </a:lnTo>
                    <a:lnTo>
                      <a:pt x="500" y="110"/>
                    </a:lnTo>
                    <a:lnTo>
                      <a:pt x="498" y="111"/>
                    </a:lnTo>
                    <a:lnTo>
                      <a:pt x="497" y="113"/>
                    </a:lnTo>
                    <a:lnTo>
                      <a:pt x="495" y="114"/>
                    </a:lnTo>
                    <a:lnTo>
                      <a:pt x="494" y="114"/>
                    </a:lnTo>
                    <a:lnTo>
                      <a:pt x="494" y="114"/>
                    </a:lnTo>
                    <a:lnTo>
                      <a:pt x="492" y="113"/>
                    </a:lnTo>
                    <a:lnTo>
                      <a:pt x="491" y="111"/>
                    </a:lnTo>
                    <a:lnTo>
                      <a:pt x="490" y="110"/>
                    </a:lnTo>
                    <a:lnTo>
                      <a:pt x="490" y="108"/>
                    </a:lnTo>
                    <a:lnTo>
                      <a:pt x="488" y="107"/>
                    </a:lnTo>
                    <a:lnTo>
                      <a:pt x="488" y="105"/>
                    </a:lnTo>
                    <a:lnTo>
                      <a:pt x="488" y="104"/>
                    </a:lnTo>
                    <a:lnTo>
                      <a:pt x="490" y="102"/>
                    </a:lnTo>
                    <a:lnTo>
                      <a:pt x="491" y="101"/>
                    </a:lnTo>
                    <a:lnTo>
                      <a:pt x="492" y="100"/>
                    </a:lnTo>
                    <a:lnTo>
                      <a:pt x="492" y="98"/>
                    </a:lnTo>
                    <a:lnTo>
                      <a:pt x="492" y="94"/>
                    </a:lnTo>
                    <a:lnTo>
                      <a:pt x="492" y="92"/>
                    </a:lnTo>
                    <a:lnTo>
                      <a:pt x="494" y="91"/>
                    </a:lnTo>
                    <a:lnTo>
                      <a:pt x="495" y="88"/>
                    </a:lnTo>
                    <a:lnTo>
                      <a:pt x="497" y="87"/>
                    </a:lnTo>
                    <a:lnTo>
                      <a:pt x="508" y="61"/>
                    </a:lnTo>
                    <a:lnTo>
                      <a:pt x="507" y="59"/>
                    </a:lnTo>
                    <a:lnTo>
                      <a:pt x="507" y="59"/>
                    </a:lnTo>
                    <a:lnTo>
                      <a:pt x="505" y="58"/>
                    </a:lnTo>
                    <a:lnTo>
                      <a:pt x="505" y="58"/>
                    </a:lnTo>
                    <a:lnTo>
                      <a:pt x="504" y="58"/>
                    </a:lnTo>
                    <a:lnTo>
                      <a:pt x="502" y="56"/>
                    </a:lnTo>
                    <a:lnTo>
                      <a:pt x="500" y="56"/>
                    </a:lnTo>
                    <a:lnTo>
                      <a:pt x="498" y="56"/>
                    </a:lnTo>
                    <a:lnTo>
                      <a:pt x="498" y="56"/>
                    </a:lnTo>
                    <a:lnTo>
                      <a:pt x="495" y="58"/>
                    </a:lnTo>
                    <a:lnTo>
                      <a:pt x="492" y="59"/>
                    </a:lnTo>
                    <a:lnTo>
                      <a:pt x="491" y="59"/>
                    </a:lnTo>
                    <a:lnTo>
                      <a:pt x="490" y="59"/>
                    </a:lnTo>
                    <a:lnTo>
                      <a:pt x="490" y="59"/>
                    </a:lnTo>
                    <a:lnTo>
                      <a:pt x="488" y="59"/>
                    </a:lnTo>
                    <a:lnTo>
                      <a:pt x="487" y="59"/>
                    </a:lnTo>
                    <a:lnTo>
                      <a:pt x="485" y="59"/>
                    </a:lnTo>
                    <a:lnTo>
                      <a:pt x="485" y="58"/>
                    </a:lnTo>
                    <a:lnTo>
                      <a:pt x="484" y="58"/>
                    </a:lnTo>
                    <a:lnTo>
                      <a:pt x="484" y="58"/>
                    </a:lnTo>
                    <a:lnTo>
                      <a:pt x="484" y="58"/>
                    </a:lnTo>
                    <a:lnTo>
                      <a:pt x="482" y="56"/>
                    </a:lnTo>
                    <a:lnTo>
                      <a:pt x="482" y="56"/>
                    </a:lnTo>
                    <a:lnTo>
                      <a:pt x="481" y="55"/>
                    </a:lnTo>
                    <a:lnTo>
                      <a:pt x="478" y="52"/>
                    </a:lnTo>
                    <a:lnTo>
                      <a:pt x="477" y="52"/>
                    </a:lnTo>
                    <a:lnTo>
                      <a:pt x="474" y="51"/>
                    </a:lnTo>
                    <a:lnTo>
                      <a:pt x="472" y="51"/>
                    </a:lnTo>
                    <a:lnTo>
                      <a:pt x="469" y="49"/>
                    </a:lnTo>
                    <a:lnTo>
                      <a:pt x="468" y="49"/>
                    </a:lnTo>
                    <a:lnTo>
                      <a:pt x="465" y="49"/>
                    </a:lnTo>
                    <a:lnTo>
                      <a:pt x="464" y="49"/>
                    </a:lnTo>
                    <a:lnTo>
                      <a:pt x="462" y="51"/>
                    </a:lnTo>
                    <a:lnTo>
                      <a:pt x="461" y="52"/>
                    </a:lnTo>
                    <a:lnTo>
                      <a:pt x="459" y="54"/>
                    </a:lnTo>
                    <a:lnTo>
                      <a:pt x="458" y="54"/>
                    </a:lnTo>
                    <a:lnTo>
                      <a:pt x="456" y="55"/>
                    </a:lnTo>
                    <a:lnTo>
                      <a:pt x="455" y="55"/>
                    </a:lnTo>
                    <a:lnTo>
                      <a:pt x="454" y="56"/>
                    </a:lnTo>
                    <a:lnTo>
                      <a:pt x="451" y="59"/>
                    </a:lnTo>
                    <a:lnTo>
                      <a:pt x="446" y="62"/>
                    </a:lnTo>
                    <a:lnTo>
                      <a:pt x="446" y="62"/>
                    </a:lnTo>
                    <a:lnTo>
                      <a:pt x="445" y="64"/>
                    </a:lnTo>
                    <a:lnTo>
                      <a:pt x="445" y="65"/>
                    </a:lnTo>
                    <a:lnTo>
                      <a:pt x="444" y="67"/>
                    </a:lnTo>
                    <a:lnTo>
                      <a:pt x="442" y="67"/>
                    </a:lnTo>
                    <a:lnTo>
                      <a:pt x="441" y="68"/>
                    </a:lnTo>
                    <a:lnTo>
                      <a:pt x="439" y="69"/>
                    </a:lnTo>
                    <a:lnTo>
                      <a:pt x="438" y="69"/>
                    </a:lnTo>
                    <a:lnTo>
                      <a:pt x="438" y="69"/>
                    </a:lnTo>
                    <a:lnTo>
                      <a:pt x="436" y="68"/>
                    </a:lnTo>
                    <a:lnTo>
                      <a:pt x="436" y="68"/>
                    </a:lnTo>
                    <a:lnTo>
                      <a:pt x="435" y="68"/>
                    </a:lnTo>
                    <a:lnTo>
                      <a:pt x="435" y="68"/>
                    </a:lnTo>
                    <a:lnTo>
                      <a:pt x="433" y="68"/>
                    </a:lnTo>
                    <a:lnTo>
                      <a:pt x="428" y="71"/>
                    </a:lnTo>
                    <a:lnTo>
                      <a:pt x="426" y="71"/>
                    </a:lnTo>
                    <a:lnTo>
                      <a:pt x="421" y="72"/>
                    </a:lnTo>
                    <a:lnTo>
                      <a:pt x="419" y="72"/>
                    </a:lnTo>
                    <a:lnTo>
                      <a:pt x="418" y="72"/>
                    </a:lnTo>
                    <a:lnTo>
                      <a:pt x="416" y="72"/>
                    </a:lnTo>
                    <a:lnTo>
                      <a:pt x="416" y="74"/>
                    </a:lnTo>
                    <a:lnTo>
                      <a:pt x="416" y="74"/>
                    </a:lnTo>
                    <a:lnTo>
                      <a:pt x="415" y="74"/>
                    </a:lnTo>
                    <a:lnTo>
                      <a:pt x="413" y="74"/>
                    </a:lnTo>
                    <a:lnTo>
                      <a:pt x="412" y="74"/>
                    </a:lnTo>
                    <a:lnTo>
                      <a:pt x="411" y="75"/>
                    </a:lnTo>
                    <a:lnTo>
                      <a:pt x="406" y="78"/>
                    </a:lnTo>
                    <a:lnTo>
                      <a:pt x="405" y="78"/>
                    </a:lnTo>
                    <a:lnTo>
                      <a:pt x="403" y="78"/>
                    </a:lnTo>
                    <a:lnTo>
                      <a:pt x="402" y="78"/>
                    </a:lnTo>
                    <a:lnTo>
                      <a:pt x="400" y="77"/>
                    </a:lnTo>
                    <a:lnTo>
                      <a:pt x="399" y="77"/>
                    </a:lnTo>
                    <a:lnTo>
                      <a:pt x="398" y="77"/>
                    </a:lnTo>
                    <a:lnTo>
                      <a:pt x="395" y="78"/>
                    </a:lnTo>
                    <a:lnTo>
                      <a:pt x="392" y="77"/>
                    </a:lnTo>
                    <a:lnTo>
                      <a:pt x="389" y="77"/>
                    </a:lnTo>
                    <a:lnTo>
                      <a:pt x="382" y="75"/>
                    </a:lnTo>
                    <a:lnTo>
                      <a:pt x="382" y="75"/>
                    </a:lnTo>
                    <a:lnTo>
                      <a:pt x="380" y="74"/>
                    </a:lnTo>
                    <a:lnTo>
                      <a:pt x="380" y="74"/>
                    </a:lnTo>
                    <a:lnTo>
                      <a:pt x="379" y="74"/>
                    </a:lnTo>
                    <a:lnTo>
                      <a:pt x="377" y="74"/>
                    </a:lnTo>
                    <a:lnTo>
                      <a:pt x="376" y="74"/>
                    </a:lnTo>
                    <a:lnTo>
                      <a:pt x="372" y="74"/>
                    </a:lnTo>
                    <a:lnTo>
                      <a:pt x="369" y="74"/>
                    </a:lnTo>
                    <a:lnTo>
                      <a:pt x="367" y="74"/>
                    </a:lnTo>
                    <a:lnTo>
                      <a:pt x="366" y="74"/>
                    </a:lnTo>
                    <a:lnTo>
                      <a:pt x="365" y="74"/>
                    </a:lnTo>
                    <a:lnTo>
                      <a:pt x="363" y="72"/>
                    </a:lnTo>
                    <a:lnTo>
                      <a:pt x="360" y="69"/>
                    </a:lnTo>
                    <a:lnTo>
                      <a:pt x="359" y="68"/>
                    </a:lnTo>
                    <a:lnTo>
                      <a:pt x="357" y="68"/>
                    </a:lnTo>
                    <a:lnTo>
                      <a:pt x="357" y="67"/>
                    </a:lnTo>
                    <a:lnTo>
                      <a:pt x="356" y="67"/>
                    </a:lnTo>
                    <a:lnTo>
                      <a:pt x="356" y="67"/>
                    </a:lnTo>
                    <a:lnTo>
                      <a:pt x="356" y="65"/>
                    </a:lnTo>
                    <a:lnTo>
                      <a:pt x="356" y="65"/>
                    </a:lnTo>
                    <a:lnTo>
                      <a:pt x="355" y="65"/>
                    </a:lnTo>
                    <a:lnTo>
                      <a:pt x="355" y="65"/>
                    </a:lnTo>
                    <a:lnTo>
                      <a:pt x="355" y="64"/>
                    </a:lnTo>
                    <a:lnTo>
                      <a:pt x="355" y="64"/>
                    </a:lnTo>
                    <a:lnTo>
                      <a:pt x="355" y="61"/>
                    </a:lnTo>
                    <a:lnTo>
                      <a:pt x="355" y="58"/>
                    </a:lnTo>
                    <a:lnTo>
                      <a:pt x="353" y="58"/>
                    </a:lnTo>
                    <a:lnTo>
                      <a:pt x="349" y="56"/>
                    </a:lnTo>
                    <a:lnTo>
                      <a:pt x="344" y="56"/>
                    </a:lnTo>
                    <a:lnTo>
                      <a:pt x="343" y="56"/>
                    </a:lnTo>
                    <a:lnTo>
                      <a:pt x="343" y="56"/>
                    </a:lnTo>
                    <a:lnTo>
                      <a:pt x="342" y="56"/>
                    </a:lnTo>
                    <a:lnTo>
                      <a:pt x="342" y="56"/>
                    </a:lnTo>
                    <a:lnTo>
                      <a:pt x="339" y="54"/>
                    </a:lnTo>
                    <a:lnTo>
                      <a:pt x="337" y="51"/>
                    </a:lnTo>
                    <a:lnTo>
                      <a:pt x="336" y="49"/>
                    </a:lnTo>
                    <a:lnTo>
                      <a:pt x="334" y="49"/>
                    </a:lnTo>
                    <a:lnTo>
                      <a:pt x="333" y="48"/>
                    </a:lnTo>
                    <a:lnTo>
                      <a:pt x="330" y="48"/>
                    </a:lnTo>
                    <a:lnTo>
                      <a:pt x="329" y="48"/>
                    </a:lnTo>
                    <a:lnTo>
                      <a:pt x="326" y="48"/>
                    </a:lnTo>
                    <a:lnTo>
                      <a:pt x="324" y="48"/>
                    </a:lnTo>
                    <a:lnTo>
                      <a:pt x="324" y="48"/>
                    </a:lnTo>
                    <a:lnTo>
                      <a:pt x="324" y="48"/>
                    </a:lnTo>
                    <a:lnTo>
                      <a:pt x="323" y="48"/>
                    </a:lnTo>
                    <a:lnTo>
                      <a:pt x="319" y="45"/>
                    </a:lnTo>
                    <a:lnTo>
                      <a:pt x="314" y="45"/>
                    </a:lnTo>
                    <a:lnTo>
                      <a:pt x="313" y="45"/>
                    </a:lnTo>
                    <a:lnTo>
                      <a:pt x="310" y="44"/>
                    </a:lnTo>
                    <a:lnTo>
                      <a:pt x="309" y="44"/>
                    </a:lnTo>
                    <a:lnTo>
                      <a:pt x="307" y="45"/>
                    </a:lnTo>
                    <a:lnTo>
                      <a:pt x="306" y="45"/>
                    </a:lnTo>
                    <a:lnTo>
                      <a:pt x="304" y="46"/>
                    </a:lnTo>
                    <a:lnTo>
                      <a:pt x="304" y="46"/>
                    </a:lnTo>
                    <a:lnTo>
                      <a:pt x="304" y="46"/>
                    </a:lnTo>
                    <a:lnTo>
                      <a:pt x="303" y="46"/>
                    </a:lnTo>
                    <a:lnTo>
                      <a:pt x="303" y="46"/>
                    </a:lnTo>
                    <a:lnTo>
                      <a:pt x="297" y="48"/>
                    </a:lnTo>
                    <a:lnTo>
                      <a:pt x="297" y="48"/>
                    </a:lnTo>
                    <a:lnTo>
                      <a:pt x="296" y="48"/>
                    </a:lnTo>
                    <a:lnTo>
                      <a:pt x="294" y="48"/>
                    </a:lnTo>
                    <a:lnTo>
                      <a:pt x="293" y="48"/>
                    </a:lnTo>
                    <a:lnTo>
                      <a:pt x="293" y="48"/>
                    </a:lnTo>
                    <a:lnTo>
                      <a:pt x="291" y="49"/>
                    </a:lnTo>
                    <a:lnTo>
                      <a:pt x="291" y="49"/>
                    </a:lnTo>
                    <a:lnTo>
                      <a:pt x="291" y="49"/>
                    </a:lnTo>
                    <a:lnTo>
                      <a:pt x="290" y="51"/>
                    </a:lnTo>
                    <a:lnTo>
                      <a:pt x="290" y="51"/>
                    </a:lnTo>
                    <a:lnTo>
                      <a:pt x="288" y="52"/>
                    </a:lnTo>
                    <a:lnTo>
                      <a:pt x="287" y="52"/>
                    </a:lnTo>
                    <a:lnTo>
                      <a:pt x="287" y="52"/>
                    </a:lnTo>
                    <a:lnTo>
                      <a:pt x="286" y="52"/>
                    </a:lnTo>
                    <a:lnTo>
                      <a:pt x="284" y="52"/>
                    </a:lnTo>
                    <a:lnTo>
                      <a:pt x="284" y="52"/>
                    </a:lnTo>
                    <a:lnTo>
                      <a:pt x="283" y="52"/>
                    </a:lnTo>
                    <a:lnTo>
                      <a:pt x="281" y="52"/>
                    </a:lnTo>
                    <a:lnTo>
                      <a:pt x="281" y="52"/>
                    </a:lnTo>
                    <a:lnTo>
                      <a:pt x="280" y="52"/>
                    </a:lnTo>
                    <a:lnTo>
                      <a:pt x="278" y="52"/>
                    </a:lnTo>
                    <a:lnTo>
                      <a:pt x="277" y="52"/>
                    </a:lnTo>
                    <a:lnTo>
                      <a:pt x="274" y="51"/>
                    </a:lnTo>
                    <a:lnTo>
                      <a:pt x="273" y="51"/>
                    </a:lnTo>
                    <a:lnTo>
                      <a:pt x="273" y="51"/>
                    </a:lnTo>
                    <a:lnTo>
                      <a:pt x="273" y="49"/>
                    </a:lnTo>
                    <a:lnTo>
                      <a:pt x="271" y="49"/>
                    </a:lnTo>
                    <a:lnTo>
                      <a:pt x="271" y="49"/>
                    </a:lnTo>
                    <a:lnTo>
                      <a:pt x="271" y="49"/>
                    </a:lnTo>
                    <a:lnTo>
                      <a:pt x="268" y="48"/>
                    </a:lnTo>
                    <a:lnTo>
                      <a:pt x="267" y="48"/>
                    </a:lnTo>
                    <a:lnTo>
                      <a:pt x="265" y="48"/>
                    </a:lnTo>
                    <a:lnTo>
                      <a:pt x="264" y="46"/>
                    </a:lnTo>
                    <a:lnTo>
                      <a:pt x="263" y="46"/>
                    </a:lnTo>
                    <a:lnTo>
                      <a:pt x="263" y="46"/>
                    </a:lnTo>
                    <a:lnTo>
                      <a:pt x="261" y="45"/>
                    </a:lnTo>
                    <a:lnTo>
                      <a:pt x="261" y="45"/>
                    </a:lnTo>
                    <a:lnTo>
                      <a:pt x="260" y="44"/>
                    </a:lnTo>
                    <a:lnTo>
                      <a:pt x="258" y="42"/>
                    </a:lnTo>
                    <a:lnTo>
                      <a:pt x="257" y="42"/>
                    </a:lnTo>
                    <a:lnTo>
                      <a:pt x="255" y="42"/>
                    </a:lnTo>
                    <a:lnTo>
                      <a:pt x="255" y="42"/>
                    </a:lnTo>
                    <a:lnTo>
                      <a:pt x="255" y="41"/>
                    </a:lnTo>
                    <a:lnTo>
                      <a:pt x="255" y="41"/>
                    </a:lnTo>
                    <a:lnTo>
                      <a:pt x="255" y="39"/>
                    </a:lnTo>
                    <a:lnTo>
                      <a:pt x="255" y="39"/>
                    </a:lnTo>
                    <a:lnTo>
                      <a:pt x="255" y="38"/>
                    </a:lnTo>
                    <a:lnTo>
                      <a:pt x="255" y="36"/>
                    </a:lnTo>
                    <a:lnTo>
                      <a:pt x="255" y="36"/>
                    </a:lnTo>
                    <a:lnTo>
                      <a:pt x="254" y="36"/>
                    </a:lnTo>
                    <a:lnTo>
                      <a:pt x="254" y="35"/>
                    </a:lnTo>
                    <a:lnTo>
                      <a:pt x="254" y="35"/>
                    </a:lnTo>
                    <a:lnTo>
                      <a:pt x="254" y="32"/>
                    </a:lnTo>
                    <a:lnTo>
                      <a:pt x="254" y="31"/>
                    </a:lnTo>
                    <a:lnTo>
                      <a:pt x="254" y="29"/>
                    </a:lnTo>
                    <a:lnTo>
                      <a:pt x="254" y="29"/>
                    </a:lnTo>
                    <a:lnTo>
                      <a:pt x="253" y="28"/>
                    </a:lnTo>
                    <a:lnTo>
                      <a:pt x="253" y="26"/>
                    </a:lnTo>
                    <a:lnTo>
                      <a:pt x="253" y="26"/>
                    </a:lnTo>
                    <a:lnTo>
                      <a:pt x="253" y="25"/>
                    </a:lnTo>
                    <a:lnTo>
                      <a:pt x="253" y="23"/>
                    </a:lnTo>
                    <a:lnTo>
                      <a:pt x="253" y="23"/>
                    </a:lnTo>
                    <a:lnTo>
                      <a:pt x="253" y="22"/>
                    </a:lnTo>
                    <a:lnTo>
                      <a:pt x="253" y="22"/>
                    </a:lnTo>
                    <a:lnTo>
                      <a:pt x="253" y="21"/>
                    </a:lnTo>
                    <a:lnTo>
                      <a:pt x="253" y="21"/>
                    </a:lnTo>
                    <a:lnTo>
                      <a:pt x="251" y="21"/>
                    </a:lnTo>
                    <a:lnTo>
                      <a:pt x="248" y="19"/>
                    </a:lnTo>
                    <a:lnTo>
                      <a:pt x="245" y="18"/>
                    </a:lnTo>
                    <a:lnTo>
                      <a:pt x="242" y="18"/>
                    </a:lnTo>
                    <a:lnTo>
                      <a:pt x="240" y="18"/>
                    </a:lnTo>
                    <a:lnTo>
                      <a:pt x="238" y="18"/>
                    </a:lnTo>
                    <a:lnTo>
                      <a:pt x="237" y="16"/>
                    </a:lnTo>
                    <a:lnTo>
                      <a:pt x="232" y="15"/>
                    </a:lnTo>
                    <a:lnTo>
                      <a:pt x="227" y="12"/>
                    </a:lnTo>
                    <a:lnTo>
                      <a:pt x="225" y="12"/>
                    </a:lnTo>
                    <a:lnTo>
                      <a:pt x="224" y="10"/>
                    </a:lnTo>
                    <a:lnTo>
                      <a:pt x="221" y="10"/>
                    </a:lnTo>
                    <a:lnTo>
                      <a:pt x="220" y="10"/>
                    </a:lnTo>
                    <a:lnTo>
                      <a:pt x="215" y="10"/>
                    </a:lnTo>
                    <a:lnTo>
                      <a:pt x="214" y="10"/>
                    </a:lnTo>
                    <a:lnTo>
                      <a:pt x="209" y="8"/>
                    </a:lnTo>
                    <a:lnTo>
                      <a:pt x="208" y="6"/>
                    </a:lnTo>
                    <a:lnTo>
                      <a:pt x="205" y="6"/>
                    </a:lnTo>
                    <a:lnTo>
                      <a:pt x="204" y="6"/>
                    </a:lnTo>
                    <a:lnTo>
                      <a:pt x="202" y="5"/>
                    </a:lnTo>
                    <a:lnTo>
                      <a:pt x="201" y="3"/>
                    </a:lnTo>
                    <a:lnTo>
                      <a:pt x="199" y="3"/>
                    </a:lnTo>
                    <a:lnTo>
                      <a:pt x="199" y="3"/>
                    </a:lnTo>
                    <a:lnTo>
                      <a:pt x="198" y="3"/>
                    </a:lnTo>
                    <a:lnTo>
                      <a:pt x="198" y="3"/>
                    </a:lnTo>
                    <a:lnTo>
                      <a:pt x="197" y="2"/>
                    </a:lnTo>
                    <a:lnTo>
                      <a:pt x="195" y="0"/>
                    </a:lnTo>
                    <a:lnTo>
                      <a:pt x="195" y="2"/>
                    </a:lnTo>
                    <a:lnTo>
                      <a:pt x="195" y="2"/>
                    </a:lnTo>
                    <a:lnTo>
                      <a:pt x="195" y="3"/>
                    </a:lnTo>
                    <a:lnTo>
                      <a:pt x="194" y="3"/>
                    </a:lnTo>
                    <a:lnTo>
                      <a:pt x="194" y="5"/>
                    </a:lnTo>
                    <a:lnTo>
                      <a:pt x="192" y="8"/>
                    </a:lnTo>
                    <a:lnTo>
                      <a:pt x="186" y="10"/>
                    </a:lnTo>
                    <a:lnTo>
                      <a:pt x="185" y="12"/>
                    </a:lnTo>
                    <a:lnTo>
                      <a:pt x="185" y="13"/>
                    </a:lnTo>
                    <a:lnTo>
                      <a:pt x="184" y="16"/>
                    </a:lnTo>
                    <a:lnTo>
                      <a:pt x="184" y="18"/>
                    </a:lnTo>
                    <a:lnTo>
                      <a:pt x="182" y="18"/>
                    </a:lnTo>
                    <a:lnTo>
                      <a:pt x="181" y="18"/>
                    </a:lnTo>
                    <a:lnTo>
                      <a:pt x="179" y="19"/>
                    </a:lnTo>
                    <a:lnTo>
                      <a:pt x="179" y="21"/>
                    </a:lnTo>
                    <a:lnTo>
                      <a:pt x="178" y="22"/>
                    </a:lnTo>
                    <a:lnTo>
                      <a:pt x="178" y="23"/>
                    </a:lnTo>
                    <a:lnTo>
                      <a:pt x="178" y="23"/>
                    </a:lnTo>
                    <a:lnTo>
                      <a:pt x="178" y="23"/>
                    </a:lnTo>
                    <a:lnTo>
                      <a:pt x="178" y="23"/>
                    </a:lnTo>
                    <a:lnTo>
                      <a:pt x="178" y="25"/>
                    </a:lnTo>
                    <a:lnTo>
                      <a:pt x="178" y="26"/>
                    </a:lnTo>
                    <a:lnTo>
                      <a:pt x="178" y="28"/>
                    </a:lnTo>
                    <a:lnTo>
                      <a:pt x="176" y="28"/>
                    </a:lnTo>
                    <a:lnTo>
                      <a:pt x="176" y="31"/>
                    </a:lnTo>
                    <a:lnTo>
                      <a:pt x="178" y="31"/>
                    </a:lnTo>
                    <a:lnTo>
                      <a:pt x="179" y="33"/>
                    </a:lnTo>
                    <a:lnTo>
                      <a:pt x="179" y="35"/>
                    </a:lnTo>
                    <a:lnTo>
                      <a:pt x="179" y="36"/>
                    </a:lnTo>
                    <a:lnTo>
                      <a:pt x="179" y="38"/>
                    </a:lnTo>
                    <a:lnTo>
                      <a:pt x="179" y="38"/>
                    </a:lnTo>
                    <a:lnTo>
                      <a:pt x="181" y="39"/>
                    </a:lnTo>
                    <a:lnTo>
                      <a:pt x="181" y="39"/>
                    </a:lnTo>
                    <a:lnTo>
                      <a:pt x="181" y="41"/>
                    </a:lnTo>
                    <a:lnTo>
                      <a:pt x="182" y="41"/>
                    </a:lnTo>
                    <a:lnTo>
                      <a:pt x="185" y="42"/>
                    </a:lnTo>
                    <a:lnTo>
                      <a:pt x="185" y="44"/>
                    </a:lnTo>
                    <a:lnTo>
                      <a:pt x="185" y="45"/>
                    </a:lnTo>
                    <a:lnTo>
                      <a:pt x="184" y="48"/>
                    </a:lnTo>
                    <a:lnTo>
                      <a:pt x="184" y="49"/>
                    </a:lnTo>
                    <a:lnTo>
                      <a:pt x="182" y="52"/>
                    </a:lnTo>
                    <a:lnTo>
                      <a:pt x="182" y="52"/>
                    </a:lnTo>
                    <a:lnTo>
                      <a:pt x="182" y="54"/>
                    </a:lnTo>
                    <a:lnTo>
                      <a:pt x="181" y="55"/>
                    </a:lnTo>
                    <a:lnTo>
                      <a:pt x="181" y="55"/>
                    </a:lnTo>
                    <a:lnTo>
                      <a:pt x="179" y="56"/>
                    </a:lnTo>
                    <a:lnTo>
                      <a:pt x="179" y="56"/>
                    </a:lnTo>
                    <a:lnTo>
                      <a:pt x="178" y="56"/>
                    </a:lnTo>
                    <a:lnTo>
                      <a:pt x="178" y="58"/>
                    </a:lnTo>
                    <a:lnTo>
                      <a:pt x="176" y="58"/>
                    </a:lnTo>
                    <a:lnTo>
                      <a:pt x="176" y="58"/>
                    </a:lnTo>
                    <a:lnTo>
                      <a:pt x="175" y="58"/>
                    </a:lnTo>
                    <a:lnTo>
                      <a:pt x="174" y="58"/>
                    </a:lnTo>
                    <a:lnTo>
                      <a:pt x="174" y="58"/>
                    </a:lnTo>
                    <a:lnTo>
                      <a:pt x="172" y="59"/>
                    </a:lnTo>
                    <a:lnTo>
                      <a:pt x="172" y="59"/>
                    </a:lnTo>
                    <a:lnTo>
                      <a:pt x="171" y="61"/>
                    </a:lnTo>
                    <a:lnTo>
                      <a:pt x="171" y="61"/>
                    </a:lnTo>
                    <a:lnTo>
                      <a:pt x="168" y="64"/>
                    </a:lnTo>
                    <a:lnTo>
                      <a:pt x="166" y="64"/>
                    </a:lnTo>
                    <a:lnTo>
                      <a:pt x="165" y="62"/>
                    </a:lnTo>
                    <a:lnTo>
                      <a:pt x="165" y="62"/>
                    </a:lnTo>
                    <a:lnTo>
                      <a:pt x="164" y="62"/>
                    </a:lnTo>
                    <a:lnTo>
                      <a:pt x="164" y="61"/>
                    </a:lnTo>
                    <a:lnTo>
                      <a:pt x="164" y="61"/>
                    </a:lnTo>
                    <a:lnTo>
                      <a:pt x="164" y="61"/>
                    </a:lnTo>
                    <a:lnTo>
                      <a:pt x="162" y="59"/>
                    </a:lnTo>
                    <a:lnTo>
                      <a:pt x="162" y="59"/>
                    </a:lnTo>
                    <a:lnTo>
                      <a:pt x="158" y="58"/>
                    </a:lnTo>
                    <a:lnTo>
                      <a:pt x="156" y="59"/>
                    </a:lnTo>
                    <a:lnTo>
                      <a:pt x="156" y="59"/>
                    </a:lnTo>
                    <a:lnTo>
                      <a:pt x="155" y="59"/>
                    </a:lnTo>
                    <a:lnTo>
                      <a:pt x="155" y="59"/>
                    </a:lnTo>
                    <a:lnTo>
                      <a:pt x="153" y="59"/>
                    </a:lnTo>
                    <a:lnTo>
                      <a:pt x="152" y="58"/>
                    </a:lnTo>
                    <a:lnTo>
                      <a:pt x="149" y="58"/>
                    </a:lnTo>
                    <a:lnTo>
                      <a:pt x="148" y="56"/>
                    </a:lnTo>
                    <a:lnTo>
                      <a:pt x="146" y="56"/>
                    </a:lnTo>
                    <a:lnTo>
                      <a:pt x="145" y="56"/>
                    </a:lnTo>
                    <a:lnTo>
                      <a:pt x="143" y="56"/>
                    </a:lnTo>
                    <a:lnTo>
                      <a:pt x="143" y="56"/>
                    </a:lnTo>
                    <a:lnTo>
                      <a:pt x="142" y="56"/>
                    </a:lnTo>
                    <a:lnTo>
                      <a:pt x="142" y="56"/>
                    </a:lnTo>
                    <a:lnTo>
                      <a:pt x="142" y="56"/>
                    </a:lnTo>
                    <a:lnTo>
                      <a:pt x="141" y="56"/>
                    </a:lnTo>
                    <a:lnTo>
                      <a:pt x="141" y="56"/>
                    </a:lnTo>
                    <a:lnTo>
                      <a:pt x="139" y="58"/>
                    </a:lnTo>
                    <a:lnTo>
                      <a:pt x="138" y="58"/>
                    </a:lnTo>
                    <a:lnTo>
                      <a:pt x="138" y="58"/>
                    </a:lnTo>
                    <a:lnTo>
                      <a:pt x="136" y="58"/>
                    </a:lnTo>
                    <a:lnTo>
                      <a:pt x="136" y="58"/>
                    </a:lnTo>
                    <a:lnTo>
                      <a:pt x="135" y="58"/>
                    </a:lnTo>
                    <a:lnTo>
                      <a:pt x="135" y="58"/>
                    </a:lnTo>
                    <a:lnTo>
                      <a:pt x="135" y="58"/>
                    </a:lnTo>
                    <a:lnTo>
                      <a:pt x="133" y="58"/>
                    </a:lnTo>
                    <a:lnTo>
                      <a:pt x="133" y="58"/>
                    </a:lnTo>
                    <a:lnTo>
                      <a:pt x="133" y="58"/>
                    </a:lnTo>
                    <a:lnTo>
                      <a:pt x="130" y="58"/>
                    </a:lnTo>
                    <a:lnTo>
                      <a:pt x="129" y="58"/>
                    </a:lnTo>
                    <a:lnTo>
                      <a:pt x="129" y="58"/>
                    </a:lnTo>
                    <a:lnTo>
                      <a:pt x="128" y="58"/>
                    </a:lnTo>
                    <a:lnTo>
                      <a:pt x="128" y="58"/>
                    </a:lnTo>
                    <a:lnTo>
                      <a:pt x="128" y="56"/>
                    </a:lnTo>
                    <a:lnTo>
                      <a:pt x="128" y="56"/>
                    </a:lnTo>
                    <a:lnTo>
                      <a:pt x="126" y="55"/>
                    </a:lnTo>
                    <a:lnTo>
                      <a:pt x="126" y="55"/>
                    </a:lnTo>
                    <a:lnTo>
                      <a:pt x="125" y="55"/>
                    </a:lnTo>
                    <a:lnTo>
                      <a:pt x="123" y="55"/>
                    </a:lnTo>
                    <a:lnTo>
                      <a:pt x="122" y="55"/>
                    </a:lnTo>
                    <a:lnTo>
                      <a:pt x="122" y="55"/>
                    </a:lnTo>
                    <a:lnTo>
                      <a:pt x="120" y="55"/>
                    </a:lnTo>
                    <a:lnTo>
                      <a:pt x="120" y="55"/>
                    </a:lnTo>
                    <a:lnTo>
                      <a:pt x="119" y="55"/>
                    </a:lnTo>
                    <a:lnTo>
                      <a:pt x="119" y="54"/>
                    </a:lnTo>
                    <a:lnTo>
                      <a:pt x="119" y="54"/>
                    </a:lnTo>
                    <a:lnTo>
                      <a:pt x="118" y="52"/>
                    </a:lnTo>
                    <a:lnTo>
                      <a:pt x="116" y="52"/>
                    </a:lnTo>
                    <a:lnTo>
                      <a:pt x="116" y="51"/>
                    </a:lnTo>
                    <a:lnTo>
                      <a:pt x="116" y="51"/>
                    </a:lnTo>
                    <a:lnTo>
                      <a:pt x="116" y="51"/>
                    </a:lnTo>
                    <a:lnTo>
                      <a:pt x="116" y="49"/>
                    </a:lnTo>
                    <a:lnTo>
                      <a:pt x="115" y="46"/>
                    </a:lnTo>
                    <a:lnTo>
                      <a:pt x="115" y="44"/>
                    </a:lnTo>
                    <a:lnTo>
                      <a:pt x="115" y="42"/>
                    </a:lnTo>
                    <a:lnTo>
                      <a:pt x="113" y="42"/>
                    </a:lnTo>
                    <a:lnTo>
                      <a:pt x="112" y="41"/>
                    </a:lnTo>
                    <a:lnTo>
                      <a:pt x="107" y="41"/>
                    </a:lnTo>
                    <a:lnTo>
                      <a:pt x="105" y="41"/>
                    </a:lnTo>
                    <a:lnTo>
                      <a:pt x="102" y="41"/>
                    </a:lnTo>
                    <a:lnTo>
                      <a:pt x="97" y="41"/>
                    </a:lnTo>
                    <a:lnTo>
                      <a:pt x="95" y="41"/>
                    </a:lnTo>
                    <a:lnTo>
                      <a:pt x="95" y="41"/>
                    </a:lnTo>
                    <a:lnTo>
                      <a:pt x="93" y="39"/>
                    </a:lnTo>
                    <a:lnTo>
                      <a:pt x="92" y="39"/>
                    </a:lnTo>
                    <a:lnTo>
                      <a:pt x="92" y="39"/>
                    </a:lnTo>
                    <a:lnTo>
                      <a:pt x="92" y="38"/>
                    </a:lnTo>
                    <a:lnTo>
                      <a:pt x="92" y="38"/>
                    </a:lnTo>
                    <a:lnTo>
                      <a:pt x="92" y="36"/>
                    </a:lnTo>
                    <a:lnTo>
                      <a:pt x="90" y="36"/>
                    </a:lnTo>
                    <a:lnTo>
                      <a:pt x="90" y="35"/>
                    </a:lnTo>
                    <a:lnTo>
                      <a:pt x="89" y="35"/>
                    </a:lnTo>
                    <a:lnTo>
                      <a:pt x="87" y="36"/>
                    </a:lnTo>
                    <a:lnTo>
                      <a:pt x="87" y="38"/>
                    </a:lnTo>
                    <a:lnTo>
                      <a:pt x="86" y="38"/>
                    </a:lnTo>
                    <a:lnTo>
                      <a:pt x="86" y="38"/>
                    </a:lnTo>
                    <a:lnTo>
                      <a:pt x="85" y="38"/>
                    </a:lnTo>
                    <a:lnTo>
                      <a:pt x="85" y="38"/>
                    </a:lnTo>
                    <a:lnTo>
                      <a:pt x="85" y="38"/>
                    </a:lnTo>
                    <a:lnTo>
                      <a:pt x="83" y="36"/>
                    </a:lnTo>
                    <a:lnTo>
                      <a:pt x="83" y="36"/>
                    </a:lnTo>
                    <a:lnTo>
                      <a:pt x="82" y="35"/>
                    </a:lnTo>
                    <a:lnTo>
                      <a:pt x="82" y="35"/>
                    </a:lnTo>
                    <a:lnTo>
                      <a:pt x="80" y="33"/>
                    </a:lnTo>
                    <a:lnTo>
                      <a:pt x="80" y="33"/>
                    </a:lnTo>
                    <a:lnTo>
                      <a:pt x="79" y="35"/>
                    </a:lnTo>
                    <a:lnTo>
                      <a:pt x="79" y="36"/>
                    </a:lnTo>
                    <a:lnTo>
                      <a:pt x="79" y="36"/>
                    </a:lnTo>
                    <a:lnTo>
                      <a:pt x="77" y="38"/>
                    </a:lnTo>
                    <a:lnTo>
                      <a:pt x="77" y="38"/>
                    </a:lnTo>
                    <a:lnTo>
                      <a:pt x="77" y="38"/>
                    </a:lnTo>
                    <a:lnTo>
                      <a:pt x="76" y="38"/>
                    </a:lnTo>
                    <a:lnTo>
                      <a:pt x="74" y="38"/>
                    </a:lnTo>
                    <a:lnTo>
                      <a:pt x="73" y="38"/>
                    </a:lnTo>
                    <a:lnTo>
                      <a:pt x="72" y="38"/>
                    </a:lnTo>
                    <a:lnTo>
                      <a:pt x="70" y="38"/>
                    </a:lnTo>
                    <a:lnTo>
                      <a:pt x="69" y="39"/>
                    </a:lnTo>
                    <a:lnTo>
                      <a:pt x="69" y="39"/>
                    </a:lnTo>
                    <a:lnTo>
                      <a:pt x="69" y="39"/>
                    </a:lnTo>
                    <a:lnTo>
                      <a:pt x="67" y="41"/>
                    </a:lnTo>
                    <a:lnTo>
                      <a:pt x="67" y="41"/>
                    </a:lnTo>
                    <a:lnTo>
                      <a:pt x="67" y="41"/>
                    </a:lnTo>
                    <a:lnTo>
                      <a:pt x="66" y="41"/>
                    </a:lnTo>
                    <a:lnTo>
                      <a:pt x="66" y="42"/>
                    </a:lnTo>
                    <a:lnTo>
                      <a:pt x="66" y="42"/>
                    </a:lnTo>
                    <a:lnTo>
                      <a:pt x="64" y="42"/>
                    </a:lnTo>
                    <a:lnTo>
                      <a:pt x="64" y="42"/>
                    </a:lnTo>
                    <a:lnTo>
                      <a:pt x="64" y="44"/>
                    </a:lnTo>
                    <a:lnTo>
                      <a:pt x="64" y="44"/>
                    </a:lnTo>
                    <a:lnTo>
                      <a:pt x="63" y="44"/>
                    </a:lnTo>
                    <a:lnTo>
                      <a:pt x="63" y="44"/>
                    </a:lnTo>
                    <a:lnTo>
                      <a:pt x="63" y="44"/>
                    </a:lnTo>
                    <a:lnTo>
                      <a:pt x="62" y="44"/>
                    </a:lnTo>
                    <a:lnTo>
                      <a:pt x="59" y="45"/>
                    </a:lnTo>
                    <a:lnTo>
                      <a:pt x="57" y="45"/>
                    </a:lnTo>
                    <a:lnTo>
                      <a:pt x="57" y="45"/>
                    </a:lnTo>
                    <a:lnTo>
                      <a:pt x="57" y="45"/>
                    </a:lnTo>
                    <a:lnTo>
                      <a:pt x="56" y="46"/>
                    </a:lnTo>
                    <a:lnTo>
                      <a:pt x="56" y="46"/>
                    </a:lnTo>
                    <a:lnTo>
                      <a:pt x="54" y="48"/>
                    </a:lnTo>
                    <a:lnTo>
                      <a:pt x="53" y="48"/>
                    </a:lnTo>
                    <a:lnTo>
                      <a:pt x="53" y="48"/>
                    </a:lnTo>
                    <a:lnTo>
                      <a:pt x="53" y="48"/>
                    </a:lnTo>
                    <a:lnTo>
                      <a:pt x="51" y="49"/>
                    </a:lnTo>
                    <a:lnTo>
                      <a:pt x="51" y="49"/>
                    </a:lnTo>
                    <a:lnTo>
                      <a:pt x="51" y="51"/>
                    </a:lnTo>
                    <a:lnTo>
                      <a:pt x="50" y="51"/>
                    </a:lnTo>
                    <a:lnTo>
                      <a:pt x="50" y="51"/>
                    </a:lnTo>
                    <a:lnTo>
                      <a:pt x="49" y="51"/>
                    </a:lnTo>
                    <a:lnTo>
                      <a:pt x="49" y="51"/>
                    </a:lnTo>
                    <a:lnTo>
                      <a:pt x="49" y="51"/>
                    </a:lnTo>
                    <a:lnTo>
                      <a:pt x="47" y="51"/>
                    </a:lnTo>
                    <a:lnTo>
                      <a:pt x="47" y="51"/>
                    </a:lnTo>
                    <a:lnTo>
                      <a:pt x="44" y="52"/>
                    </a:lnTo>
                    <a:lnTo>
                      <a:pt x="43" y="54"/>
                    </a:lnTo>
                    <a:lnTo>
                      <a:pt x="41" y="54"/>
                    </a:lnTo>
                    <a:lnTo>
                      <a:pt x="41" y="54"/>
                    </a:lnTo>
                    <a:lnTo>
                      <a:pt x="40" y="54"/>
                    </a:lnTo>
                    <a:lnTo>
                      <a:pt x="39" y="55"/>
                    </a:lnTo>
                    <a:lnTo>
                      <a:pt x="39" y="56"/>
                    </a:lnTo>
                    <a:lnTo>
                      <a:pt x="39" y="56"/>
                    </a:lnTo>
                    <a:lnTo>
                      <a:pt x="39" y="56"/>
                    </a:lnTo>
                    <a:lnTo>
                      <a:pt x="39" y="56"/>
                    </a:lnTo>
                    <a:lnTo>
                      <a:pt x="37" y="58"/>
                    </a:lnTo>
                    <a:lnTo>
                      <a:pt x="37" y="58"/>
                    </a:lnTo>
                    <a:lnTo>
                      <a:pt x="37" y="58"/>
                    </a:lnTo>
                    <a:lnTo>
                      <a:pt x="36" y="58"/>
                    </a:lnTo>
                    <a:lnTo>
                      <a:pt x="36" y="58"/>
                    </a:lnTo>
                    <a:lnTo>
                      <a:pt x="36" y="58"/>
                    </a:lnTo>
                    <a:lnTo>
                      <a:pt x="34" y="58"/>
                    </a:lnTo>
                    <a:lnTo>
                      <a:pt x="34" y="58"/>
                    </a:lnTo>
                    <a:lnTo>
                      <a:pt x="34" y="58"/>
                    </a:lnTo>
                    <a:lnTo>
                      <a:pt x="33" y="58"/>
                    </a:lnTo>
                    <a:lnTo>
                      <a:pt x="33" y="58"/>
                    </a:lnTo>
                    <a:lnTo>
                      <a:pt x="33" y="59"/>
                    </a:lnTo>
                    <a:lnTo>
                      <a:pt x="33" y="59"/>
                    </a:lnTo>
                    <a:lnTo>
                      <a:pt x="33" y="59"/>
                    </a:lnTo>
                    <a:lnTo>
                      <a:pt x="33" y="61"/>
                    </a:lnTo>
                    <a:lnTo>
                      <a:pt x="33" y="62"/>
                    </a:lnTo>
                    <a:lnTo>
                      <a:pt x="33" y="62"/>
                    </a:lnTo>
                    <a:lnTo>
                      <a:pt x="33" y="64"/>
                    </a:lnTo>
                    <a:lnTo>
                      <a:pt x="33" y="64"/>
                    </a:lnTo>
                    <a:lnTo>
                      <a:pt x="31" y="64"/>
                    </a:lnTo>
                    <a:lnTo>
                      <a:pt x="30" y="65"/>
                    </a:lnTo>
                    <a:lnTo>
                      <a:pt x="30" y="65"/>
                    </a:lnTo>
                    <a:lnTo>
                      <a:pt x="29" y="65"/>
                    </a:lnTo>
                    <a:lnTo>
                      <a:pt x="29" y="67"/>
                    </a:lnTo>
                    <a:lnTo>
                      <a:pt x="27" y="67"/>
                    </a:lnTo>
                    <a:lnTo>
                      <a:pt x="27" y="67"/>
                    </a:lnTo>
                    <a:lnTo>
                      <a:pt x="27" y="67"/>
                    </a:lnTo>
                    <a:lnTo>
                      <a:pt x="26" y="67"/>
                    </a:lnTo>
                    <a:lnTo>
                      <a:pt x="26" y="67"/>
                    </a:lnTo>
                    <a:lnTo>
                      <a:pt x="26" y="67"/>
                    </a:lnTo>
                    <a:lnTo>
                      <a:pt x="26" y="67"/>
                    </a:lnTo>
                    <a:lnTo>
                      <a:pt x="26" y="67"/>
                    </a:lnTo>
                    <a:lnTo>
                      <a:pt x="24" y="68"/>
                    </a:lnTo>
                    <a:lnTo>
                      <a:pt x="24" y="68"/>
                    </a:lnTo>
                    <a:lnTo>
                      <a:pt x="24" y="68"/>
                    </a:lnTo>
                    <a:lnTo>
                      <a:pt x="24" y="69"/>
                    </a:lnTo>
                    <a:lnTo>
                      <a:pt x="23" y="69"/>
                    </a:lnTo>
                    <a:lnTo>
                      <a:pt x="21" y="69"/>
                    </a:lnTo>
                    <a:lnTo>
                      <a:pt x="21" y="69"/>
                    </a:lnTo>
                    <a:lnTo>
                      <a:pt x="20" y="69"/>
                    </a:lnTo>
                    <a:lnTo>
                      <a:pt x="20" y="68"/>
                    </a:lnTo>
                    <a:lnTo>
                      <a:pt x="20" y="68"/>
                    </a:lnTo>
                    <a:lnTo>
                      <a:pt x="18" y="69"/>
                    </a:lnTo>
                    <a:lnTo>
                      <a:pt x="18" y="69"/>
                    </a:lnTo>
                    <a:lnTo>
                      <a:pt x="18" y="69"/>
                    </a:lnTo>
                    <a:lnTo>
                      <a:pt x="18" y="69"/>
                    </a:lnTo>
                    <a:lnTo>
                      <a:pt x="18" y="71"/>
                    </a:lnTo>
                    <a:lnTo>
                      <a:pt x="18" y="71"/>
                    </a:lnTo>
                    <a:lnTo>
                      <a:pt x="17" y="71"/>
                    </a:lnTo>
                    <a:lnTo>
                      <a:pt x="17" y="71"/>
                    </a:lnTo>
                    <a:lnTo>
                      <a:pt x="16" y="69"/>
                    </a:lnTo>
                    <a:lnTo>
                      <a:pt x="16" y="69"/>
                    </a:lnTo>
                    <a:lnTo>
                      <a:pt x="14" y="69"/>
                    </a:lnTo>
                    <a:lnTo>
                      <a:pt x="14" y="69"/>
                    </a:lnTo>
                    <a:lnTo>
                      <a:pt x="13" y="69"/>
                    </a:lnTo>
                    <a:lnTo>
                      <a:pt x="13" y="69"/>
                    </a:lnTo>
                    <a:lnTo>
                      <a:pt x="11" y="69"/>
                    </a:lnTo>
                    <a:lnTo>
                      <a:pt x="11" y="69"/>
                    </a:lnTo>
                    <a:lnTo>
                      <a:pt x="11" y="69"/>
                    </a:lnTo>
                    <a:lnTo>
                      <a:pt x="8" y="69"/>
                    </a:lnTo>
                    <a:lnTo>
                      <a:pt x="8" y="71"/>
                    </a:lnTo>
                    <a:lnTo>
                      <a:pt x="7" y="71"/>
                    </a:lnTo>
                    <a:lnTo>
                      <a:pt x="7" y="71"/>
                    </a:lnTo>
                    <a:lnTo>
                      <a:pt x="7" y="72"/>
                    </a:lnTo>
                    <a:lnTo>
                      <a:pt x="7" y="74"/>
                    </a:lnTo>
                    <a:lnTo>
                      <a:pt x="6" y="75"/>
                    </a:lnTo>
                    <a:lnTo>
                      <a:pt x="4" y="77"/>
                    </a:lnTo>
                    <a:lnTo>
                      <a:pt x="4" y="77"/>
                    </a:lnTo>
                    <a:lnTo>
                      <a:pt x="3" y="78"/>
                    </a:lnTo>
                    <a:lnTo>
                      <a:pt x="3" y="78"/>
                    </a:lnTo>
                    <a:lnTo>
                      <a:pt x="1" y="78"/>
                    </a:lnTo>
                    <a:lnTo>
                      <a:pt x="1" y="78"/>
                    </a:lnTo>
                    <a:lnTo>
                      <a:pt x="1" y="78"/>
                    </a:lnTo>
                    <a:lnTo>
                      <a:pt x="1" y="78"/>
                    </a:lnTo>
                    <a:lnTo>
                      <a:pt x="1" y="78"/>
                    </a:lnTo>
                    <a:lnTo>
                      <a:pt x="1" y="81"/>
                    </a:lnTo>
                    <a:lnTo>
                      <a:pt x="1" y="81"/>
                    </a:lnTo>
                    <a:lnTo>
                      <a:pt x="0" y="84"/>
                    </a:lnTo>
                    <a:lnTo>
                      <a:pt x="0" y="84"/>
                    </a:lnTo>
                    <a:lnTo>
                      <a:pt x="0" y="85"/>
                    </a:lnTo>
                    <a:lnTo>
                      <a:pt x="0" y="85"/>
                    </a:lnTo>
                    <a:lnTo>
                      <a:pt x="1" y="87"/>
                    </a:lnTo>
                    <a:lnTo>
                      <a:pt x="3" y="87"/>
                    </a:lnTo>
                    <a:lnTo>
                      <a:pt x="4" y="88"/>
                    </a:lnTo>
                    <a:lnTo>
                      <a:pt x="4" y="88"/>
                    </a:lnTo>
                    <a:lnTo>
                      <a:pt x="4" y="90"/>
                    </a:lnTo>
                    <a:lnTo>
                      <a:pt x="4" y="91"/>
                    </a:lnTo>
                    <a:lnTo>
                      <a:pt x="4" y="92"/>
                    </a:lnTo>
                    <a:lnTo>
                      <a:pt x="6" y="94"/>
                    </a:lnTo>
                    <a:lnTo>
                      <a:pt x="10" y="95"/>
                    </a:lnTo>
                    <a:lnTo>
                      <a:pt x="13" y="97"/>
                    </a:lnTo>
                    <a:lnTo>
                      <a:pt x="13" y="98"/>
                    </a:lnTo>
                    <a:lnTo>
                      <a:pt x="14" y="100"/>
                    </a:lnTo>
                    <a:lnTo>
                      <a:pt x="14" y="101"/>
                    </a:lnTo>
                    <a:lnTo>
                      <a:pt x="16" y="102"/>
                    </a:lnTo>
                    <a:lnTo>
                      <a:pt x="21" y="105"/>
                    </a:lnTo>
                    <a:lnTo>
                      <a:pt x="23" y="105"/>
                    </a:lnTo>
                    <a:lnTo>
                      <a:pt x="24" y="105"/>
                    </a:lnTo>
                    <a:lnTo>
                      <a:pt x="27" y="105"/>
                    </a:lnTo>
                    <a:lnTo>
                      <a:pt x="30" y="107"/>
                    </a:lnTo>
                    <a:lnTo>
                      <a:pt x="31" y="107"/>
                    </a:lnTo>
                    <a:lnTo>
                      <a:pt x="33" y="108"/>
                    </a:lnTo>
                    <a:lnTo>
                      <a:pt x="34" y="110"/>
                    </a:lnTo>
                    <a:lnTo>
                      <a:pt x="36" y="110"/>
                    </a:lnTo>
                    <a:lnTo>
                      <a:pt x="39" y="110"/>
                    </a:lnTo>
                    <a:lnTo>
                      <a:pt x="40" y="110"/>
                    </a:lnTo>
                    <a:lnTo>
                      <a:pt x="41" y="113"/>
                    </a:lnTo>
                    <a:lnTo>
                      <a:pt x="43" y="114"/>
                    </a:lnTo>
                    <a:lnTo>
                      <a:pt x="44" y="114"/>
                    </a:lnTo>
                    <a:lnTo>
                      <a:pt x="44" y="115"/>
                    </a:lnTo>
                    <a:lnTo>
                      <a:pt x="46" y="117"/>
                    </a:lnTo>
                    <a:lnTo>
                      <a:pt x="47" y="123"/>
                    </a:lnTo>
                    <a:lnTo>
                      <a:pt x="50" y="127"/>
                    </a:lnTo>
                    <a:lnTo>
                      <a:pt x="53" y="131"/>
                    </a:lnTo>
                    <a:lnTo>
                      <a:pt x="56" y="136"/>
                    </a:lnTo>
                    <a:lnTo>
                      <a:pt x="57" y="140"/>
                    </a:lnTo>
                    <a:lnTo>
                      <a:pt x="57" y="141"/>
                    </a:lnTo>
                    <a:lnTo>
                      <a:pt x="56" y="146"/>
                    </a:lnTo>
                    <a:lnTo>
                      <a:pt x="56" y="147"/>
                    </a:lnTo>
                    <a:lnTo>
                      <a:pt x="56" y="150"/>
                    </a:lnTo>
                    <a:lnTo>
                      <a:pt x="56" y="151"/>
                    </a:lnTo>
                    <a:lnTo>
                      <a:pt x="56" y="153"/>
                    </a:lnTo>
                    <a:lnTo>
                      <a:pt x="53" y="160"/>
                    </a:lnTo>
                    <a:lnTo>
                      <a:pt x="51" y="164"/>
                    </a:lnTo>
                    <a:lnTo>
                      <a:pt x="51" y="169"/>
                    </a:lnTo>
                    <a:lnTo>
                      <a:pt x="56" y="173"/>
                    </a:lnTo>
                    <a:lnTo>
                      <a:pt x="56" y="171"/>
                    </a:lnTo>
                    <a:lnTo>
                      <a:pt x="57" y="171"/>
                    </a:lnTo>
                    <a:lnTo>
                      <a:pt x="59" y="171"/>
                    </a:lnTo>
                    <a:lnTo>
                      <a:pt x="59" y="173"/>
                    </a:lnTo>
                    <a:lnTo>
                      <a:pt x="63" y="174"/>
                    </a:lnTo>
                    <a:lnTo>
                      <a:pt x="64" y="174"/>
                    </a:lnTo>
                    <a:lnTo>
                      <a:pt x="97" y="177"/>
                    </a:lnTo>
                    <a:lnTo>
                      <a:pt x="99" y="177"/>
                    </a:lnTo>
                    <a:lnTo>
                      <a:pt x="102" y="179"/>
                    </a:lnTo>
                    <a:lnTo>
                      <a:pt x="103" y="180"/>
                    </a:lnTo>
                    <a:lnTo>
                      <a:pt x="105" y="180"/>
                    </a:lnTo>
                    <a:lnTo>
                      <a:pt x="106" y="183"/>
                    </a:lnTo>
                    <a:lnTo>
                      <a:pt x="107" y="184"/>
                    </a:lnTo>
                    <a:lnTo>
                      <a:pt x="109" y="184"/>
                    </a:lnTo>
                    <a:lnTo>
                      <a:pt x="112" y="184"/>
                    </a:lnTo>
                    <a:lnTo>
                      <a:pt x="113" y="186"/>
                    </a:lnTo>
                    <a:lnTo>
                      <a:pt x="116" y="187"/>
                    </a:lnTo>
                    <a:lnTo>
                      <a:pt x="120" y="190"/>
                    </a:lnTo>
                    <a:lnTo>
                      <a:pt x="123" y="192"/>
                    </a:lnTo>
                    <a:lnTo>
                      <a:pt x="125" y="193"/>
                    </a:lnTo>
                    <a:lnTo>
                      <a:pt x="132" y="193"/>
                    </a:lnTo>
                    <a:lnTo>
                      <a:pt x="133" y="193"/>
                    </a:lnTo>
                    <a:lnTo>
                      <a:pt x="133" y="194"/>
                    </a:lnTo>
                    <a:lnTo>
                      <a:pt x="133" y="197"/>
                    </a:lnTo>
                    <a:lnTo>
                      <a:pt x="133" y="199"/>
                    </a:lnTo>
                    <a:lnTo>
                      <a:pt x="133" y="199"/>
                    </a:lnTo>
                    <a:lnTo>
                      <a:pt x="135" y="200"/>
                    </a:lnTo>
                    <a:lnTo>
                      <a:pt x="135" y="200"/>
                    </a:lnTo>
                    <a:lnTo>
                      <a:pt x="136" y="200"/>
                    </a:lnTo>
                    <a:lnTo>
                      <a:pt x="138" y="202"/>
                    </a:lnTo>
                    <a:lnTo>
                      <a:pt x="138" y="205"/>
                    </a:lnTo>
                    <a:lnTo>
                      <a:pt x="142" y="215"/>
                    </a:lnTo>
                    <a:lnTo>
                      <a:pt x="143" y="216"/>
                    </a:lnTo>
                    <a:lnTo>
                      <a:pt x="145" y="219"/>
                    </a:lnTo>
                    <a:lnTo>
                      <a:pt x="148" y="222"/>
                    </a:lnTo>
                    <a:lnTo>
                      <a:pt x="148" y="222"/>
                    </a:lnTo>
                    <a:lnTo>
                      <a:pt x="149" y="223"/>
                    </a:lnTo>
                    <a:lnTo>
                      <a:pt x="149" y="223"/>
                    </a:lnTo>
                    <a:lnTo>
                      <a:pt x="151" y="225"/>
                    </a:lnTo>
                    <a:lnTo>
                      <a:pt x="151" y="226"/>
                    </a:lnTo>
                    <a:lnTo>
                      <a:pt x="151" y="227"/>
                    </a:lnTo>
                    <a:lnTo>
                      <a:pt x="152" y="227"/>
                    </a:lnTo>
                    <a:lnTo>
                      <a:pt x="155" y="227"/>
                    </a:lnTo>
                    <a:lnTo>
                      <a:pt x="159" y="227"/>
                    </a:lnTo>
                    <a:lnTo>
                      <a:pt x="166" y="227"/>
                    </a:lnTo>
                    <a:lnTo>
                      <a:pt x="197" y="230"/>
                    </a:lnTo>
                    <a:lnTo>
                      <a:pt x="204" y="230"/>
                    </a:lnTo>
                    <a:lnTo>
                      <a:pt x="217" y="230"/>
                    </a:lnTo>
                    <a:lnTo>
                      <a:pt x="235" y="232"/>
                    </a:lnTo>
                    <a:lnTo>
                      <a:pt x="241" y="233"/>
                    </a:lnTo>
                    <a:lnTo>
                      <a:pt x="245" y="235"/>
                    </a:lnTo>
                    <a:lnTo>
                      <a:pt x="248" y="238"/>
                    </a:lnTo>
                    <a:lnTo>
                      <a:pt x="250" y="239"/>
                    </a:lnTo>
                    <a:lnTo>
                      <a:pt x="253" y="240"/>
                    </a:lnTo>
                    <a:lnTo>
                      <a:pt x="255" y="242"/>
                    </a:lnTo>
                    <a:lnTo>
                      <a:pt x="265" y="243"/>
                    </a:lnTo>
                    <a:lnTo>
                      <a:pt x="268" y="245"/>
                    </a:lnTo>
                    <a:lnTo>
                      <a:pt x="271" y="246"/>
                    </a:lnTo>
                    <a:lnTo>
                      <a:pt x="277" y="249"/>
                    </a:lnTo>
                    <a:lnTo>
                      <a:pt x="280" y="249"/>
                    </a:lnTo>
                    <a:lnTo>
                      <a:pt x="284" y="249"/>
                    </a:lnTo>
                    <a:lnTo>
                      <a:pt x="294" y="248"/>
                    </a:lnTo>
                    <a:lnTo>
                      <a:pt x="294" y="250"/>
                    </a:lnTo>
                    <a:lnTo>
                      <a:pt x="294" y="250"/>
                    </a:lnTo>
                    <a:lnTo>
                      <a:pt x="296" y="252"/>
                    </a:lnTo>
                    <a:lnTo>
                      <a:pt x="303" y="253"/>
                    </a:lnTo>
                    <a:lnTo>
                      <a:pt x="304" y="252"/>
                    </a:lnTo>
                    <a:lnTo>
                      <a:pt x="306" y="252"/>
                    </a:lnTo>
                    <a:lnTo>
                      <a:pt x="306" y="250"/>
                    </a:lnTo>
                    <a:lnTo>
                      <a:pt x="307" y="249"/>
                    </a:lnTo>
                    <a:lnTo>
                      <a:pt x="326" y="240"/>
                    </a:lnTo>
                    <a:lnTo>
                      <a:pt x="333" y="239"/>
                    </a:lnTo>
                    <a:lnTo>
                      <a:pt x="340" y="238"/>
                    </a:lnTo>
                    <a:lnTo>
                      <a:pt x="353" y="236"/>
                    </a:lnTo>
                    <a:lnTo>
                      <a:pt x="375" y="235"/>
                    </a:lnTo>
                    <a:lnTo>
                      <a:pt x="380" y="233"/>
                    </a:lnTo>
                    <a:lnTo>
                      <a:pt x="393" y="229"/>
                    </a:lnTo>
                    <a:lnTo>
                      <a:pt x="399" y="226"/>
                    </a:lnTo>
                    <a:lnTo>
                      <a:pt x="406" y="217"/>
                    </a:lnTo>
                    <a:lnTo>
                      <a:pt x="411" y="213"/>
                    </a:lnTo>
                    <a:lnTo>
                      <a:pt x="421" y="209"/>
                    </a:lnTo>
                    <a:lnTo>
                      <a:pt x="423" y="206"/>
                    </a:lnTo>
                    <a:lnTo>
                      <a:pt x="422" y="200"/>
                    </a:lnTo>
                    <a:lnTo>
                      <a:pt x="418" y="196"/>
                    </a:lnTo>
                    <a:lnTo>
                      <a:pt x="416" y="194"/>
                    </a:lnTo>
                    <a:lnTo>
                      <a:pt x="415" y="192"/>
                    </a:lnTo>
                    <a:lnTo>
                      <a:pt x="416" y="189"/>
                    </a:lnTo>
                    <a:lnTo>
                      <a:pt x="418" y="186"/>
                    </a:lnTo>
                    <a:lnTo>
                      <a:pt x="419" y="182"/>
                    </a:lnTo>
                    <a:lnTo>
                      <a:pt x="421" y="180"/>
                    </a:lnTo>
                    <a:lnTo>
                      <a:pt x="422" y="177"/>
                    </a:lnTo>
                    <a:lnTo>
                      <a:pt x="425" y="176"/>
                    </a:lnTo>
                    <a:lnTo>
                      <a:pt x="428" y="174"/>
                    </a:lnTo>
                    <a:lnTo>
                      <a:pt x="431" y="176"/>
                    </a:lnTo>
                    <a:lnTo>
                      <a:pt x="435" y="177"/>
                    </a:lnTo>
                    <a:lnTo>
                      <a:pt x="441" y="180"/>
                    </a:lnTo>
                    <a:lnTo>
                      <a:pt x="445" y="182"/>
                    </a:lnTo>
                    <a:lnTo>
                      <a:pt x="451" y="182"/>
                    </a:lnTo>
                    <a:lnTo>
                      <a:pt x="454" y="183"/>
                    </a:lnTo>
                    <a:lnTo>
                      <a:pt x="455" y="182"/>
                    </a:lnTo>
                    <a:lnTo>
                      <a:pt x="458" y="180"/>
                    </a:lnTo>
                    <a:lnTo>
                      <a:pt x="461" y="179"/>
                    </a:lnTo>
                    <a:lnTo>
                      <a:pt x="464" y="176"/>
                    </a:lnTo>
                    <a:lnTo>
                      <a:pt x="469" y="169"/>
                    </a:lnTo>
                    <a:lnTo>
                      <a:pt x="472" y="167"/>
                    </a:lnTo>
                    <a:lnTo>
                      <a:pt x="474" y="167"/>
                    </a:lnTo>
                    <a:lnTo>
                      <a:pt x="475" y="167"/>
                    </a:lnTo>
                    <a:lnTo>
                      <a:pt x="477" y="167"/>
                    </a:lnTo>
                    <a:lnTo>
                      <a:pt x="478" y="167"/>
                    </a:lnTo>
                    <a:lnTo>
                      <a:pt x="481" y="167"/>
                    </a:lnTo>
                    <a:lnTo>
                      <a:pt x="485" y="167"/>
                    </a:lnTo>
                    <a:lnTo>
                      <a:pt x="490" y="166"/>
                    </a:lnTo>
                    <a:lnTo>
                      <a:pt x="492" y="164"/>
                    </a:lnTo>
                    <a:lnTo>
                      <a:pt x="497" y="161"/>
                    </a:lnTo>
                    <a:lnTo>
                      <a:pt x="500" y="159"/>
                    </a:lnTo>
                    <a:lnTo>
                      <a:pt x="500" y="157"/>
                    </a:lnTo>
                    <a:lnTo>
                      <a:pt x="501" y="154"/>
                    </a:lnTo>
                    <a:lnTo>
                      <a:pt x="502" y="151"/>
                    </a:lnTo>
                    <a:lnTo>
                      <a:pt x="504" y="150"/>
                    </a:lnTo>
                    <a:lnTo>
                      <a:pt x="507" y="147"/>
                    </a:lnTo>
                    <a:lnTo>
                      <a:pt x="508" y="146"/>
                    </a:lnTo>
                    <a:lnTo>
                      <a:pt x="511" y="144"/>
                    </a:lnTo>
                    <a:lnTo>
                      <a:pt x="512" y="144"/>
                    </a:lnTo>
                    <a:lnTo>
                      <a:pt x="517" y="146"/>
                    </a:lnTo>
                    <a:lnTo>
                      <a:pt x="518" y="146"/>
                    </a:lnTo>
                    <a:lnTo>
                      <a:pt x="520" y="144"/>
                    </a:lnTo>
                    <a:lnTo>
                      <a:pt x="520" y="144"/>
                    </a:lnTo>
                    <a:lnTo>
                      <a:pt x="520" y="143"/>
                    </a:lnTo>
                    <a:lnTo>
                      <a:pt x="521" y="141"/>
                    </a:lnTo>
                    <a:lnTo>
                      <a:pt x="521" y="140"/>
                    </a:lnTo>
                    <a:lnTo>
                      <a:pt x="521" y="140"/>
                    </a:lnTo>
                    <a:lnTo>
                      <a:pt x="523" y="140"/>
                    </a:lnTo>
                    <a:lnTo>
                      <a:pt x="524" y="140"/>
                    </a:lnTo>
                    <a:lnTo>
                      <a:pt x="527" y="141"/>
                    </a:lnTo>
                    <a:lnTo>
                      <a:pt x="527" y="141"/>
                    </a:lnTo>
                    <a:lnTo>
                      <a:pt x="528" y="141"/>
                    </a:lnTo>
                    <a:lnTo>
                      <a:pt x="531" y="138"/>
                    </a:lnTo>
                    <a:lnTo>
                      <a:pt x="533" y="138"/>
                    </a:lnTo>
                    <a:lnTo>
                      <a:pt x="534" y="137"/>
                    </a:lnTo>
                    <a:lnTo>
                      <a:pt x="546" y="137"/>
                    </a:lnTo>
                    <a:lnTo>
                      <a:pt x="547" y="137"/>
                    </a:lnTo>
                    <a:lnTo>
                      <a:pt x="553" y="138"/>
                    </a:lnTo>
                    <a:lnTo>
                      <a:pt x="556" y="140"/>
                    </a:lnTo>
                    <a:lnTo>
                      <a:pt x="560" y="140"/>
                    </a:lnTo>
                    <a:lnTo>
                      <a:pt x="561" y="138"/>
                    </a:lnTo>
                    <a:lnTo>
                      <a:pt x="566" y="136"/>
                    </a:lnTo>
                    <a:lnTo>
                      <a:pt x="563" y="13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58" name="Freeform 162">
                <a:extLst>
                  <a:ext uri="{FF2B5EF4-FFF2-40B4-BE49-F238E27FC236}">
                    <a16:creationId xmlns:a16="http://schemas.microsoft.com/office/drawing/2014/main" id="{6B99605C-9E07-1095-301C-D3DA0843CFF1}"/>
                  </a:ext>
                </a:extLst>
              </p:cNvPr>
              <p:cNvSpPr>
                <a:spLocks/>
              </p:cNvSpPr>
              <p:nvPr/>
            </p:nvSpPr>
            <p:spPr bwMode="auto">
              <a:xfrm>
                <a:off x="7664468" y="3301244"/>
                <a:ext cx="205326" cy="112785"/>
              </a:xfrm>
              <a:custGeom>
                <a:avLst/>
                <a:gdLst>
                  <a:gd name="T0" fmla="*/ 13 w 142"/>
                  <a:gd name="T1" fmla="*/ 5 h 78"/>
                  <a:gd name="T2" fmla="*/ 4 w 142"/>
                  <a:gd name="T3" fmla="*/ 15 h 78"/>
                  <a:gd name="T4" fmla="*/ 3 w 142"/>
                  <a:gd name="T5" fmla="*/ 22 h 78"/>
                  <a:gd name="T6" fmla="*/ 0 w 142"/>
                  <a:gd name="T7" fmla="*/ 29 h 78"/>
                  <a:gd name="T8" fmla="*/ 4 w 142"/>
                  <a:gd name="T9" fmla="*/ 34 h 78"/>
                  <a:gd name="T10" fmla="*/ 7 w 142"/>
                  <a:gd name="T11" fmla="*/ 34 h 78"/>
                  <a:gd name="T12" fmla="*/ 8 w 142"/>
                  <a:gd name="T13" fmla="*/ 34 h 78"/>
                  <a:gd name="T14" fmla="*/ 11 w 142"/>
                  <a:gd name="T15" fmla="*/ 35 h 78"/>
                  <a:gd name="T16" fmla="*/ 24 w 142"/>
                  <a:gd name="T17" fmla="*/ 44 h 78"/>
                  <a:gd name="T18" fmla="*/ 30 w 142"/>
                  <a:gd name="T19" fmla="*/ 48 h 78"/>
                  <a:gd name="T20" fmla="*/ 31 w 142"/>
                  <a:gd name="T21" fmla="*/ 48 h 78"/>
                  <a:gd name="T22" fmla="*/ 34 w 142"/>
                  <a:gd name="T23" fmla="*/ 48 h 78"/>
                  <a:gd name="T24" fmla="*/ 36 w 142"/>
                  <a:gd name="T25" fmla="*/ 49 h 78"/>
                  <a:gd name="T26" fmla="*/ 41 w 142"/>
                  <a:gd name="T27" fmla="*/ 52 h 78"/>
                  <a:gd name="T28" fmla="*/ 46 w 142"/>
                  <a:gd name="T29" fmla="*/ 54 h 78"/>
                  <a:gd name="T30" fmla="*/ 51 w 142"/>
                  <a:gd name="T31" fmla="*/ 57 h 78"/>
                  <a:gd name="T32" fmla="*/ 56 w 142"/>
                  <a:gd name="T33" fmla="*/ 58 h 78"/>
                  <a:gd name="T34" fmla="*/ 60 w 142"/>
                  <a:gd name="T35" fmla="*/ 57 h 78"/>
                  <a:gd name="T36" fmla="*/ 66 w 142"/>
                  <a:gd name="T37" fmla="*/ 58 h 78"/>
                  <a:gd name="T38" fmla="*/ 67 w 142"/>
                  <a:gd name="T39" fmla="*/ 57 h 78"/>
                  <a:gd name="T40" fmla="*/ 70 w 142"/>
                  <a:gd name="T41" fmla="*/ 57 h 78"/>
                  <a:gd name="T42" fmla="*/ 80 w 142"/>
                  <a:gd name="T43" fmla="*/ 61 h 78"/>
                  <a:gd name="T44" fmla="*/ 80 w 142"/>
                  <a:gd name="T45" fmla="*/ 62 h 78"/>
                  <a:gd name="T46" fmla="*/ 83 w 142"/>
                  <a:gd name="T47" fmla="*/ 67 h 78"/>
                  <a:gd name="T48" fmla="*/ 87 w 142"/>
                  <a:gd name="T49" fmla="*/ 68 h 78"/>
                  <a:gd name="T50" fmla="*/ 89 w 142"/>
                  <a:gd name="T51" fmla="*/ 69 h 78"/>
                  <a:gd name="T52" fmla="*/ 90 w 142"/>
                  <a:gd name="T53" fmla="*/ 71 h 78"/>
                  <a:gd name="T54" fmla="*/ 96 w 142"/>
                  <a:gd name="T55" fmla="*/ 69 h 78"/>
                  <a:gd name="T56" fmla="*/ 100 w 142"/>
                  <a:gd name="T57" fmla="*/ 74 h 78"/>
                  <a:gd name="T58" fmla="*/ 105 w 142"/>
                  <a:gd name="T59" fmla="*/ 72 h 78"/>
                  <a:gd name="T60" fmla="*/ 113 w 142"/>
                  <a:gd name="T61" fmla="*/ 75 h 78"/>
                  <a:gd name="T62" fmla="*/ 122 w 142"/>
                  <a:gd name="T63" fmla="*/ 75 h 78"/>
                  <a:gd name="T64" fmla="*/ 122 w 142"/>
                  <a:gd name="T65" fmla="*/ 75 h 78"/>
                  <a:gd name="T66" fmla="*/ 125 w 142"/>
                  <a:gd name="T67" fmla="*/ 78 h 78"/>
                  <a:gd name="T68" fmla="*/ 128 w 142"/>
                  <a:gd name="T69" fmla="*/ 78 h 78"/>
                  <a:gd name="T70" fmla="*/ 132 w 142"/>
                  <a:gd name="T71" fmla="*/ 78 h 78"/>
                  <a:gd name="T72" fmla="*/ 136 w 142"/>
                  <a:gd name="T73" fmla="*/ 77 h 78"/>
                  <a:gd name="T74" fmla="*/ 139 w 142"/>
                  <a:gd name="T75" fmla="*/ 78 h 78"/>
                  <a:gd name="T76" fmla="*/ 141 w 142"/>
                  <a:gd name="T77" fmla="*/ 75 h 78"/>
                  <a:gd name="T78" fmla="*/ 142 w 142"/>
                  <a:gd name="T79" fmla="*/ 69 h 78"/>
                  <a:gd name="T80" fmla="*/ 141 w 142"/>
                  <a:gd name="T81" fmla="*/ 67 h 78"/>
                  <a:gd name="T82" fmla="*/ 139 w 142"/>
                  <a:gd name="T83" fmla="*/ 61 h 78"/>
                  <a:gd name="T84" fmla="*/ 142 w 142"/>
                  <a:gd name="T85" fmla="*/ 52 h 78"/>
                  <a:gd name="T86" fmla="*/ 141 w 142"/>
                  <a:gd name="T87" fmla="*/ 49 h 78"/>
                  <a:gd name="T88" fmla="*/ 123 w 142"/>
                  <a:gd name="T89" fmla="*/ 49 h 78"/>
                  <a:gd name="T90" fmla="*/ 115 w 142"/>
                  <a:gd name="T91" fmla="*/ 45 h 78"/>
                  <a:gd name="T92" fmla="*/ 110 w 142"/>
                  <a:gd name="T93" fmla="*/ 46 h 78"/>
                  <a:gd name="T94" fmla="*/ 105 w 142"/>
                  <a:gd name="T95" fmla="*/ 45 h 78"/>
                  <a:gd name="T96" fmla="*/ 102 w 142"/>
                  <a:gd name="T97" fmla="*/ 46 h 78"/>
                  <a:gd name="T98" fmla="*/ 93 w 142"/>
                  <a:gd name="T99" fmla="*/ 41 h 78"/>
                  <a:gd name="T100" fmla="*/ 89 w 142"/>
                  <a:gd name="T101" fmla="*/ 35 h 78"/>
                  <a:gd name="T102" fmla="*/ 82 w 142"/>
                  <a:gd name="T103" fmla="*/ 35 h 78"/>
                  <a:gd name="T104" fmla="*/ 72 w 142"/>
                  <a:gd name="T105" fmla="*/ 25 h 78"/>
                  <a:gd name="T106" fmla="*/ 66 w 142"/>
                  <a:gd name="T107" fmla="*/ 22 h 78"/>
                  <a:gd name="T108" fmla="*/ 56 w 142"/>
                  <a:gd name="T109" fmla="*/ 16 h 78"/>
                  <a:gd name="T110" fmla="*/ 33 w 142"/>
                  <a:gd name="T111" fmla="*/ 0 h 78"/>
                  <a:gd name="T112" fmla="*/ 23 w 142"/>
                  <a:gd name="T113" fmla="*/ 2 h 78"/>
                  <a:gd name="T114" fmla="*/ 16 w 142"/>
                  <a:gd name="T115" fmla="*/ 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2" h="78">
                    <a:moveTo>
                      <a:pt x="14" y="3"/>
                    </a:moveTo>
                    <a:lnTo>
                      <a:pt x="14" y="3"/>
                    </a:lnTo>
                    <a:lnTo>
                      <a:pt x="14" y="5"/>
                    </a:lnTo>
                    <a:lnTo>
                      <a:pt x="13" y="5"/>
                    </a:lnTo>
                    <a:lnTo>
                      <a:pt x="8" y="9"/>
                    </a:lnTo>
                    <a:lnTo>
                      <a:pt x="6" y="12"/>
                    </a:lnTo>
                    <a:lnTo>
                      <a:pt x="6" y="13"/>
                    </a:lnTo>
                    <a:lnTo>
                      <a:pt x="4" y="15"/>
                    </a:lnTo>
                    <a:lnTo>
                      <a:pt x="3" y="18"/>
                    </a:lnTo>
                    <a:lnTo>
                      <a:pt x="3" y="19"/>
                    </a:lnTo>
                    <a:lnTo>
                      <a:pt x="3" y="21"/>
                    </a:lnTo>
                    <a:lnTo>
                      <a:pt x="3" y="22"/>
                    </a:lnTo>
                    <a:lnTo>
                      <a:pt x="0" y="25"/>
                    </a:lnTo>
                    <a:lnTo>
                      <a:pt x="0" y="26"/>
                    </a:lnTo>
                    <a:lnTo>
                      <a:pt x="0" y="28"/>
                    </a:lnTo>
                    <a:lnTo>
                      <a:pt x="0" y="29"/>
                    </a:lnTo>
                    <a:lnTo>
                      <a:pt x="1" y="31"/>
                    </a:lnTo>
                    <a:lnTo>
                      <a:pt x="3" y="32"/>
                    </a:lnTo>
                    <a:lnTo>
                      <a:pt x="4" y="32"/>
                    </a:lnTo>
                    <a:lnTo>
                      <a:pt x="4" y="34"/>
                    </a:lnTo>
                    <a:lnTo>
                      <a:pt x="6" y="34"/>
                    </a:lnTo>
                    <a:lnTo>
                      <a:pt x="6" y="34"/>
                    </a:lnTo>
                    <a:lnTo>
                      <a:pt x="6" y="34"/>
                    </a:lnTo>
                    <a:lnTo>
                      <a:pt x="7" y="34"/>
                    </a:lnTo>
                    <a:lnTo>
                      <a:pt x="7" y="34"/>
                    </a:lnTo>
                    <a:lnTo>
                      <a:pt x="7" y="34"/>
                    </a:lnTo>
                    <a:lnTo>
                      <a:pt x="8" y="34"/>
                    </a:lnTo>
                    <a:lnTo>
                      <a:pt x="8" y="34"/>
                    </a:lnTo>
                    <a:lnTo>
                      <a:pt x="8" y="34"/>
                    </a:lnTo>
                    <a:lnTo>
                      <a:pt x="10" y="34"/>
                    </a:lnTo>
                    <a:lnTo>
                      <a:pt x="10" y="35"/>
                    </a:lnTo>
                    <a:lnTo>
                      <a:pt x="11" y="35"/>
                    </a:lnTo>
                    <a:lnTo>
                      <a:pt x="14" y="36"/>
                    </a:lnTo>
                    <a:lnTo>
                      <a:pt x="18" y="41"/>
                    </a:lnTo>
                    <a:lnTo>
                      <a:pt x="21" y="42"/>
                    </a:lnTo>
                    <a:lnTo>
                      <a:pt x="24" y="44"/>
                    </a:lnTo>
                    <a:lnTo>
                      <a:pt x="24" y="45"/>
                    </a:lnTo>
                    <a:lnTo>
                      <a:pt x="27" y="46"/>
                    </a:lnTo>
                    <a:lnTo>
                      <a:pt x="29" y="46"/>
                    </a:lnTo>
                    <a:lnTo>
                      <a:pt x="30" y="48"/>
                    </a:lnTo>
                    <a:lnTo>
                      <a:pt x="30" y="48"/>
                    </a:lnTo>
                    <a:lnTo>
                      <a:pt x="30" y="48"/>
                    </a:lnTo>
                    <a:lnTo>
                      <a:pt x="31" y="48"/>
                    </a:lnTo>
                    <a:lnTo>
                      <a:pt x="31" y="48"/>
                    </a:lnTo>
                    <a:lnTo>
                      <a:pt x="31" y="48"/>
                    </a:lnTo>
                    <a:lnTo>
                      <a:pt x="33" y="48"/>
                    </a:lnTo>
                    <a:lnTo>
                      <a:pt x="33" y="48"/>
                    </a:lnTo>
                    <a:lnTo>
                      <a:pt x="34" y="48"/>
                    </a:lnTo>
                    <a:lnTo>
                      <a:pt x="34" y="48"/>
                    </a:lnTo>
                    <a:lnTo>
                      <a:pt x="34" y="48"/>
                    </a:lnTo>
                    <a:lnTo>
                      <a:pt x="36" y="49"/>
                    </a:lnTo>
                    <a:lnTo>
                      <a:pt x="36" y="49"/>
                    </a:lnTo>
                    <a:lnTo>
                      <a:pt x="39" y="51"/>
                    </a:lnTo>
                    <a:lnTo>
                      <a:pt x="40" y="52"/>
                    </a:lnTo>
                    <a:lnTo>
                      <a:pt x="40" y="52"/>
                    </a:lnTo>
                    <a:lnTo>
                      <a:pt x="41" y="52"/>
                    </a:lnTo>
                    <a:lnTo>
                      <a:pt x="43" y="52"/>
                    </a:lnTo>
                    <a:lnTo>
                      <a:pt x="44" y="52"/>
                    </a:lnTo>
                    <a:lnTo>
                      <a:pt x="46" y="52"/>
                    </a:lnTo>
                    <a:lnTo>
                      <a:pt x="46" y="54"/>
                    </a:lnTo>
                    <a:lnTo>
                      <a:pt x="47" y="55"/>
                    </a:lnTo>
                    <a:lnTo>
                      <a:pt x="47" y="57"/>
                    </a:lnTo>
                    <a:lnTo>
                      <a:pt x="49" y="57"/>
                    </a:lnTo>
                    <a:lnTo>
                      <a:pt x="51" y="57"/>
                    </a:lnTo>
                    <a:lnTo>
                      <a:pt x="51" y="57"/>
                    </a:lnTo>
                    <a:lnTo>
                      <a:pt x="54" y="58"/>
                    </a:lnTo>
                    <a:lnTo>
                      <a:pt x="54" y="58"/>
                    </a:lnTo>
                    <a:lnTo>
                      <a:pt x="56" y="58"/>
                    </a:lnTo>
                    <a:lnTo>
                      <a:pt x="57" y="58"/>
                    </a:lnTo>
                    <a:lnTo>
                      <a:pt x="57" y="57"/>
                    </a:lnTo>
                    <a:lnTo>
                      <a:pt x="59" y="57"/>
                    </a:lnTo>
                    <a:lnTo>
                      <a:pt x="60" y="57"/>
                    </a:lnTo>
                    <a:lnTo>
                      <a:pt x="62" y="57"/>
                    </a:lnTo>
                    <a:lnTo>
                      <a:pt x="64" y="58"/>
                    </a:lnTo>
                    <a:lnTo>
                      <a:pt x="66" y="58"/>
                    </a:lnTo>
                    <a:lnTo>
                      <a:pt x="66" y="58"/>
                    </a:lnTo>
                    <a:lnTo>
                      <a:pt x="66" y="58"/>
                    </a:lnTo>
                    <a:lnTo>
                      <a:pt x="67" y="57"/>
                    </a:lnTo>
                    <a:lnTo>
                      <a:pt x="67" y="57"/>
                    </a:lnTo>
                    <a:lnTo>
                      <a:pt x="67" y="57"/>
                    </a:lnTo>
                    <a:lnTo>
                      <a:pt x="69" y="57"/>
                    </a:lnTo>
                    <a:lnTo>
                      <a:pt x="69" y="57"/>
                    </a:lnTo>
                    <a:lnTo>
                      <a:pt x="70" y="57"/>
                    </a:lnTo>
                    <a:lnTo>
                      <a:pt x="70" y="57"/>
                    </a:lnTo>
                    <a:lnTo>
                      <a:pt x="73" y="58"/>
                    </a:lnTo>
                    <a:lnTo>
                      <a:pt x="77" y="59"/>
                    </a:lnTo>
                    <a:lnTo>
                      <a:pt x="79" y="61"/>
                    </a:lnTo>
                    <a:lnTo>
                      <a:pt x="80" y="61"/>
                    </a:lnTo>
                    <a:lnTo>
                      <a:pt x="80" y="61"/>
                    </a:lnTo>
                    <a:lnTo>
                      <a:pt x="80" y="61"/>
                    </a:lnTo>
                    <a:lnTo>
                      <a:pt x="80" y="62"/>
                    </a:lnTo>
                    <a:lnTo>
                      <a:pt x="80" y="62"/>
                    </a:lnTo>
                    <a:lnTo>
                      <a:pt x="80" y="64"/>
                    </a:lnTo>
                    <a:lnTo>
                      <a:pt x="80" y="64"/>
                    </a:lnTo>
                    <a:lnTo>
                      <a:pt x="80" y="65"/>
                    </a:lnTo>
                    <a:lnTo>
                      <a:pt x="83" y="67"/>
                    </a:lnTo>
                    <a:lnTo>
                      <a:pt x="85" y="67"/>
                    </a:lnTo>
                    <a:lnTo>
                      <a:pt x="86" y="68"/>
                    </a:lnTo>
                    <a:lnTo>
                      <a:pt x="87" y="68"/>
                    </a:lnTo>
                    <a:lnTo>
                      <a:pt x="87" y="68"/>
                    </a:lnTo>
                    <a:lnTo>
                      <a:pt x="87" y="68"/>
                    </a:lnTo>
                    <a:lnTo>
                      <a:pt x="89" y="68"/>
                    </a:lnTo>
                    <a:lnTo>
                      <a:pt x="89" y="69"/>
                    </a:lnTo>
                    <a:lnTo>
                      <a:pt x="89" y="69"/>
                    </a:lnTo>
                    <a:lnTo>
                      <a:pt x="89" y="69"/>
                    </a:lnTo>
                    <a:lnTo>
                      <a:pt x="89" y="69"/>
                    </a:lnTo>
                    <a:lnTo>
                      <a:pt x="89" y="71"/>
                    </a:lnTo>
                    <a:lnTo>
                      <a:pt x="90" y="71"/>
                    </a:lnTo>
                    <a:lnTo>
                      <a:pt x="92" y="71"/>
                    </a:lnTo>
                    <a:lnTo>
                      <a:pt x="95" y="69"/>
                    </a:lnTo>
                    <a:lnTo>
                      <a:pt x="96" y="69"/>
                    </a:lnTo>
                    <a:lnTo>
                      <a:pt x="96" y="69"/>
                    </a:lnTo>
                    <a:lnTo>
                      <a:pt x="97" y="69"/>
                    </a:lnTo>
                    <a:lnTo>
                      <a:pt x="97" y="69"/>
                    </a:lnTo>
                    <a:lnTo>
                      <a:pt x="99" y="72"/>
                    </a:lnTo>
                    <a:lnTo>
                      <a:pt x="100" y="74"/>
                    </a:lnTo>
                    <a:lnTo>
                      <a:pt x="103" y="74"/>
                    </a:lnTo>
                    <a:lnTo>
                      <a:pt x="103" y="72"/>
                    </a:lnTo>
                    <a:lnTo>
                      <a:pt x="103" y="72"/>
                    </a:lnTo>
                    <a:lnTo>
                      <a:pt x="105" y="72"/>
                    </a:lnTo>
                    <a:lnTo>
                      <a:pt x="105" y="74"/>
                    </a:lnTo>
                    <a:lnTo>
                      <a:pt x="110" y="74"/>
                    </a:lnTo>
                    <a:lnTo>
                      <a:pt x="112" y="75"/>
                    </a:lnTo>
                    <a:lnTo>
                      <a:pt x="113" y="75"/>
                    </a:lnTo>
                    <a:lnTo>
                      <a:pt x="116" y="77"/>
                    </a:lnTo>
                    <a:lnTo>
                      <a:pt x="118" y="77"/>
                    </a:lnTo>
                    <a:lnTo>
                      <a:pt x="119" y="75"/>
                    </a:lnTo>
                    <a:lnTo>
                      <a:pt x="122" y="75"/>
                    </a:lnTo>
                    <a:lnTo>
                      <a:pt x="122" y="75"/>
                    </a:lnTo>
                    <a:lnTo>
                      <a:pt x="122" y="75"/>
                    </a:lnTo>
                    <a:lnTo>
                      <a:pt x="122" y="75"/>
                    </a:lnTo>
                    <a:lnTo>
                      <a:pt x="122" y="75"/>
                    </a:lnTo>
                    <a:lnTo>
                      <a:pt x="123" y="77"/>
                    </a:lnTo>
                    <a:lnTo>
                      <a:pt x="123" y="77"/>
                    </a:lnTo>
                    <a:lnTo>
                      <a:pt x="125" y="78"/>
                    </a:lnTo>
                    <a:lnTo>
                      <a:pt x="125" y="78"/>
                    </a:lnTo>
                    <a:lnTo>
                      <a:pt x="125" y="78"/>
                    </a:lnTo>
                    <a:lnTo>
                      <a:pt x="126" y="78"/>
                    </a:lnTo>
                    <a:lnTo>
                      <a:pt x="128" y="78"/>
                    </a:lnTo>
                    <a:lnTo>
                      <a:pt x="128" y="78"/>
                    </a:lnTo>
                    <a:lnTo>
                      <a:pt x="129" y="77"/>
                    </a:lnTo>
                    <a:lnTo>
                      <a:pt x="129" y="78"/>
                    </a:lnTo>
                    <a:lnTo>
                      <a:pt x="130" y="78"/>
                    </a:lnTo>
                    <a:lnTo>
                      <a:pt x="132" y="78"/>
                    </a:lnTo>
                    <a:lnTo>
                      <a:pt x="133" y="77"/>
                    </a:lnTo>
                    <a:lnTo>
                      <a:pt x="135" y="77"/>
                    </a:lnTo>
                    <a:lnTo>
                      <a:pt x="135" y="77"/>
                    </a:lnTo>
                    <a:lnTo>
                      <a:pt x="136" y="77"/>
                    </a:lnTo>
                    <a:lnTo>
                      <a:pt x="138" y="78"/>
                    </a:lnTo>
                    <a:lnTo>
                      <a:pt x="138" y="78"/>
                    </a:lnTo>
                    <a:lnTo>
                      <a:pt x="139" y="78"/>
                    </a:lnTo>
                    <a:lnTo>
                      <a:pt x="139" y="78"/>
                    </a:lnTo>
                    <a:lnTo>
                      <a:pt x="139" y="77"/>
                    </a:lnTo>
                    <a:lnTo>
                      <a:pt x="141" y="77"/>
                    </a:lnTo>
                    <a:lnTo>
                      <a:pt x="141" y="77"/>
                    </a:lnTo>
                    <a:lnTo>
                      <a:pt x="141" y="75"/>
                    </a:lnTo>
                    <a:lnTo>
                      <a:pt x="141" y="74"/>
                    </a:lnTo>
                    <a:lnTo>
                      <a:pt x="142" y="71"/>
                    </a:lnTo>
                    <a:lnTo>
                      <a:pt x="142" y="71"/>
                    </a:lnTo>
                    <a:lnTo>
                      <a:pt x="142" y="69"/>
                    </a:lnTo>
                    <a:lnTo>
                      <a:pt x="142" y="69"/>
                    </a:lnTo>
                    <a:lnTo>
                      <a:pt x="142" y="68"/>
                    </a:lnTo>
                    <a:lnTo>
                      <a:pt x="141" y="67"/>
                    </a:lnTo>
                    <a:lnTo>
                      <a:pt x="141" y="67"/>
                    </a:lnTo>
                    <a:lnTo>
                      <a:pt x="139" y="64"/>
                    </a:lnTo>
                    <a:lnTo>
                      <a:pt x="139" y="64"/>
                    </a:lnTo>
                    <a:lnTo>
                      <a:pt x="139" y="62"/>
                    </a:lnTo>
                    <a:lnTo>
                      <a:pt x="139" y="61"/>
                    </a:lnTo>
                    <a:lnTo>
                      <a:pt x="139" y="61"/>
                    </a:lnTo>
                    <a:lnTo>
                      <a:pt x="139" y="58"/>
                    </a:lnTo>
                    <a:lnTo>
                      <a:pt x="139" y="57"/>
                    </a:lnTo>
                    <a:lnTo>
                      <a:pt x="142" y="52"/>
                    </a:lnTo>
                    <a:lnTo>
                      <a:pt x="142" y="49"/>
                    </a:lnTo>
                    <a:lnTo>
                      <a:pt x="142" y="49"/>
                    </a:lnTo>
                    <a:lnTo>
                      <a:pt x="141" y="49"/>
                    </a:lnTo>
                    <a:lnTo>
                      <a:pt x="141" y="49"/>
                    </a:lnTo>
                    <a:lnTo>
                      <a:pt x="141" y="48"/>
                    </a:lnTo>
                    <a:lnTo>
                      <a:pt x="136" y="48"/>
                    </a:lnTo>
                    <a:lnTo>
                      <a:pt x="128" y="49"/>
                    </a:lnTo>
                    <a:lnTo>
                      <a:pt x="123" y="49"/>
                    </a:lnTo>
                    <a:lnTo>
                      <a:pt x="122" y="48"/>
                    </a:lnTo>
                    <a:lnTo>
                      <a:pt x="118" y="45"/>
                    </a:lnTo>
                    <a:lnTo>
                      <a:pt x="116" y="45"/>
                    </a:lnTo>
                    <a:lnTo>
                      <a:pt x="115" y="45"/>
                    </a:lnTo>
                    <a:lnTo>
                      <a:pt x="113" y="45"/>
                    </a:lnTo>
                    <a:lnTo>
                      <a:pt x="113" y="46"/>
                    </a:lnTo>
                    <a:lnTo>
                      <a:pt x="112" y="48"/>
                    </a:lnTo>
                    <a:lnTo>
                      <a:pt x="110" y="46"/>
                    </a:lnTo>
                    <a:lnTo>
                      <a:pt x="109" y="45"/>
                    </a:lnTo>
                    <a:lnTo>
                      <a:pt x="107" y="45"/>
                    </a:lnTo>
                    <a:lnTo>
                      <a:pt x="106" y="44"/>
                    </a:lnTo>
                    <a:lnTo>
                      <a:pt x="105" y="45"/>
                    </a:lnTo>
                    <a:lnTo>
                      <a:pt x="105" y="46"/>
                    </a:lnTo>
                    <a:lnTo>
                      <a:pt x="105" y="48"/>
                    </a:lnTo>
                    <a:lnTo>
                      <a:pt x="103" y="48"/>
                    </a:lnTo>
                    <a:lnTo>
                      <a:pt x="102" y="46"/>
                    </a:lnTo>
                    <a:lnTo>
                      <a:pt x="99" y="42"/>
                    </a:lnTo>
                    <a:lnTo>
                      <a:pt x="97" y="41"/>
                    </a:lnTo>
                    <a:lnTo>
                      <a:pt x="95" y="41"/>
                    </a:lnTo>
                    <a:lnTo>
                      <a:pt x="93" y="41"/>
                    </a:lnTo>
                    <a:lnTo>
                      <a:pt x="90" y="41"/>
                    </a:lnTo>
                    <a:lnTo>
                      <a:pt x="89" y="39"/>
                    </a:lnTo>
                    <a:lnTo>
                      <a:pt x="87" y="38"/>
                    </a:lnTo>
                    <a:lnTo>
                      <a:pt x="89" y="35"/>
                    </a:lnTo>
                    <a:lnTo>
                      <a:pt x="89" y="34"/>
                    </a:lnTo>
                    <a:lnTo>
                      <a:pt x="87" y="34"/>
                    </a:lnTo>
                    <a:lnTo>
                      <a:pt x="83" y="35"/>
                    </a:lnTo>
                    <a:lnTo>
                      <a:pt x="82" y="35"/>
                    </a:lnTo>
                    <a:lnTo>
                      <a:pt x="79" y="34"/>
                    </a:lnTo>
                    <a:lnTo>
                      <a:pt x="76" y="31"/>
                    </a:lnTo>
                    <a:lnTo>
                      <a:pt x="73" y="28"/>
                    </a:lnTo>
                    <a:lnTo>
                      <a:pt x="72" y="25"/>
                    </a:lnTo>
                    <a:lnTo>
                      <a:pt x="70" y="23"/>
                    </a:lnTo>
                    <a:lnTo>
                      <a:pt x="69" y="22"/>
                    </a:lnTo>
                    <a:lnTo>
                      <a:pt x="67" y="22"/>
                    </a:lnTo>
                    <a:lnTo>
                      <a:pt x="66" y="22"/>
                    </a:lnTo>
                    <a:lnTo>
                      <a:pt x="63" y="22"/>
                    </a:lnTo>
                    <a:lnTo>
                      <a:pt x="62" y="22"/>
                    </a:lnTo>
                    <a:lnTo>
                      <a:pt x="60" y="22"/>
                    </a:lnTo>
                    <a:lnTo>
                      <a:pt x="56" y="16"/>
                    </a:lnTo>
                    <a:lnTo>
                      <a:pt x="37" y="6"/>
                    </a:lnTo>
                    <a:lnTo>
                      <a:pt x="36" y="5"/>
                    </a:lnTo>
                    <a:lnTo>
                      <a:pt x="34" y="2"/>
                    </a:lnTo>
                    <a:lnTo>
                      <a:pt x="33" y="0"/>
                    </a:lnTo>
                    <a:lnTo>
                      <a:pt x="30" y="0"/>
                    </a:lnTo>
                    <a:lnTo>
                      <a:pt x="27" y="0"/>
                    </a:lnTo>
                    <a:lnTo>
                      <a:pt x="26" y="0"/>
                    </a:lnTo>
                    <a:lnTo>
                      <a:pt x="23" y="2"/>
                    </a:lnTo>
                    <a:lnTo>
                      <a:pt x="20" y="5"/>
                    </a:lnTo>
                    <a:lnTo>
                      <a:pt x="18" y="6"/>
                    </a:lnTo>
                    <a:lnTo>
                      <a:pt x="17" y="6"/>
                    </a:lnTo>
                    <a:lnTo>
                      <a:pt x="16" y="5"/>
                    </a:lnTo>
                    <a:lnTo>
                      <a:pt x="16" y="3"/>
                    </a:lnTo>
                    <a:lnTo>
                      <a:pt x="14" y="3"/>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59" name="Freeform 163">
                <a:extLst>
                  <a:ext uri="{FF2B5EF4-FFF2-40B4-BE49-F238E27FC236}">
                    <a16:creationId xmlns:a16="http://schemas.microsoft.com/office/drawing/2014/main" id="{0C16F5F3-5C2D-C33A-FF10-ED44F2B0D5E4}"/>
                  </a:ext>
                </a:extLst>
              </p:cNvPr>
              <p:cNvSpPr>
                <a:spLocks/>
              </p:cNvSpPr>
              <p:nvPr/>
            </p:nvSpPr>
            <p:spPr bwMode="auto">
              <a:xfrm>
                <a:off x="7884254" y="3357636"/>
                <a:ext cx="85312" cy="47717"/>
              </a:xfrm>
              <a:custGeom>
                <a:avLst/>
                <a:gdLst>
                  <a:gd name="T0" fmla="*/ 0 w 59"/>
                  <a:gd name="T1" fmla="*/ 23 h 33"/>
                  <a:gd name="T2" fmla="*/ 0 w 59"/>
                  <a:gd name="T3" fmla="*/ 25 h 33"/>
                  <a:gd name="T4" fmla="*/ 1 w 59"/>
                  <a:gd name="T5" fmla="*/ 25 h 33"/>
                  <a:gd name="T6" fmla="*/ 1 w 59"/>
                  <a:gd name="T7" fmla="*/ 26 h 33"/>
                  <a:gd name="T8" fmla="*/ 4 w 59"/>
                  <a:gd name="T9" fmla="*/ 29 h 33"/>
                  <a:gd name="T10" fmla="*/ 7 w 59"/>
                  <a:gd name="T11" fmla="*/ 30 h 33"/>
                  <a:gd name="T12" fmla="*/ 10 w 59"/>
                  <a:gd name="T13" fmla="*/ 30 h 33"/>
                  <a:gd name="T14" fmla="*/ 12 w 59"/>
                  <a:gd name="T15" fmla="*/ 30 h 33"/>
                  <a:gd name="T16" fmla="*/ 14 w 59"/>
                  <a:gd name="T17" fmla="*/ 32 h 33"/>
                  <a:gd name="T18" fmla="*/ 16 w 59"/>
                  <a:gd name="T19" fmla="*/ 32 h 33"/>
                  <a:gd name="T20" fmla="*/ 16 w 59"/>
                  <a:gd name="T21" fmla="*/ 32 h 33"/>
                  <a:gd name="T22" fmla="*/ 17 w 59"/>
                  <a:gd name="T23" fmla="*/ 32 h 33"/>
                  <a:gd name="T24" fmla="*/ 17 w 59"/>
                  <a:gd name="T25" fmla="*/ 33 h 33"/>
                  <a:gd name="T26" fmla="*/ 20 w 59"/>
                  <a:gd name="T27" fmla="*/ 32 h 33"/>
                  <a:gd name="T28" fmla="*/ 24 w 59"/>
                  <a:gd name="T29" fmla="*/ 30 h 33"/>
                  <a:gd name="T30" fmla="*/ 26 w 59"/>
                  <a:gd name="T31" fmla="*/ 29 h 33"/>
                  <a:gd name="T32" fmla="*/ 29 w 59"/>
                  <a:gd name="T33" fmla="*/ 29 h 33"/>
                  <a:gd name="T34" fmla="*/ 32 w 59"/>
                  <a:gd name="T35" fmla="*/ 30 h 33"/>
                  <a:gd name="T36" fmla="*/ 33 w 59"/>
                  <a:gd name="T37" fmla="*/ 30 h 33"/>
                  <a:gd name="T38" fmla="*/ 34 w 59"/>
                  <a:gd name="T39" fmla="*/ 32 h 33"/>
                  <a:gd name="T40" fmla="*/ 45 w 59"/>
                  <a:gd name="T41" fmla="*/ 30 h 33"/>
                  <a:gd name="T42" fmla="*/ 47 w 59"/>
                  <a:gd name="T43" fmla="*/ 29 h 33"/>
                  <a:gd name="T44" fmla="*/ 49 w 59"/>
                  <a:gd name="T45" fmla="*/ 30 h 33"/>
                  <a:gd name="T46" fmla="*/ 50 w 59"/>
                  <a:gd name="T47" fmla="*/ 30 h 33"/>
                  <a:gd name="T48" fmla="*/ 55 w 59"/>
                  <a:gd name="T49" fmla="*/ 30 h 33"/>
                  <a:gd name="T50" fmla="*/ 56 w 59"/>
                  <a:gd name="T51" fmla="*/ 29 h 33"/>
                  <a:gd name="T52" fmla="*/ 59 w 59"/>
                  <a:gd name="T53" fmla="*/ 28 h 33"/>
                  <a:gd name="T54" fmla="*/ 57 w 59"/>
                  <a:gd name="T55" fmla="*/ 26 h 33"/>
                  <a:gd name="T56" fmla="*/ 57 w 59"/>
                  <a:gd name="T57" fmla="*/ 25 h 33"/>
                  <a:gd name="T58" fmla="*/ 57 w 59"/>
                  <a:gd name="T59" fmla="*/ 25 h 33"/>
                  <a:gd name="T60" fmla="*/ 57 w 59"/>
                  <a:gd name="T61" fmla="*/ 22 h 33"/>
                  <a:gd name="T62" fmla="*/ 59 w 59"/>
                  <a:gd name="T63" fmla="*/ 20 h 33"/>
                  <a:gd name="T64" fmla="*/ 56 w 59"/>
                  <a:gd name="T65" fmla="*/ 18 h 33"/>
                  <a:gd name="T66" fmla="*/ 52 w 59"/>
                  <a:gd name="T67" fmla="*/ 18 h 33"/>
                  <a:gd name="T68" fmla="*/ 50 w 59"/>
                  <a:gd name="T69" fmla="*/ 16 h 33"/>
                  <a:gd name="T70" fmla="*/ 50 w 59"/>
                  <a:gd name="T71" fmla="*/ 13 h 33"/>
                  <a:gd name="T72" fmla="*/ 50 w 59"/>
                  <a:gd name="T73" fmla="*/ 9 h 33"/>
                  <a:gd name="T74" fmla="*/ 46 w 59"/>
                  <a:gd name="T75" fmla="*/ 7 h 33"/>
                  <a:gd name="T76" fmla="*/ 43 w 59"/>
                  <a:gd name="T77" fmla="*/ 7 h 33"/>
                  <a:gd name="T78" fmla="*/ 36 w 59"/>
                  <a:gd name="T79" fmla="*/ 6 h 33"/>
                  <a:gd name="T80" fmla="*/ 32 w 59"/>
                  <a:gd name="T81" fmla="*/ 6 h 33"/>
                  <a:gd name="T82" fmla="*/ 29 w 59"/>
                  <a:gd name="T83" fmla="*/ 5 h 33"/>
                  <a:gd name="T84" fmla="*/ 29 w 59"/>
                  <a:gd name="T85" fmla="*/ 3 h 33"/>
                  <a:gd name="T86" fmla="*/ 26 w 59"/>
                  <a:gd name="T87" fmla="*/ 2 h 33"/>
                  <a:gd name="T88" fmla="*/ 22 w 59"/>
                  <a:gd name="T89" fmla="*/ 0 h 33"/>
                  <a:gd name="T90" fmla="*/ 16 w 59"/>
                  <a:gd name="T91" fmla="*/ 3 h 33"/>
                  <a:gd name="T92" fmla="*/ 4 w 59"/>
                  <a:gd name="T93" fmla="*/ 16 h 33"/>
                  <a:gd name="T94" fmla="*/ 3 w 59"/>
                  <a:gd name="T95"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 h="33">
                    <a:moveTo>
                      <a:pt x="1" y="22"/>
                    </a:moveTo>
                    <a:lnTo>
                      <a:pt x="1" y="22"/>
                    </a:lnTo>
                    <a:lnTo>
                      <a:pt x="0" y="23"/>
                    </a:lnTo>
                    <a:lnTo>
                      <a:pt x="0" y="23"/>
                    </a:lnTo>
                    <a:lnTo>
                      <a:pt x="0" y="23"/>
                    </a:lnTo>
                    <a:lnTo>
                      <a:pt x="0" y="25"/>
                    </a:lnTo>
                    <a:lnTo>
                      <a:pt x="1" y="25"/>
                    </a:lnTo>
                    <a:lnTo>
                      <a:pt x="1" y="25"/>
                    </a:lnTo>
                    <a:lnTo>
                      <a:pt x="1" y="25"/>
                    </a:lnTo>
                    <a:lnTo>
                      <a:pt x="1" y="25"/>
                    </a:lnTo>
                    <a:lnTo>
                      <a:pt x="1" y="26"/>
                    </a:lnTo>
                    <a:lnTo>
                      <a:pt x="1" y="26"/>
                    </a:lnTo>
                    <a:lnTo>
                      <a:pt x="1" y="28"/>
                    </a:lnTo>
                    <a:lnTo>
                      <a:pt x="4" y="29"/>
                    </a:lnTo>
                    <a:lnTo>
                      <a:pt x="4" y="29"/>
                    </a:lnTo>
                    <a:lnTo>
                      <a:pt x="6" y="30"/>
                    </a:lnTo>
                    <a:lnTo>
                      <a:pt x="7" y="30"/>
                    </a:lnTo>
                    <a:lnTo>
                      <a:pt x="7" y="30"/>
                    </a:lnTo>
                    <a:lnTo>
                      <a:pt x="9" y="30"/>
                    </a:lnTo>
                    <a:lnTo>
                      <a:pt x="9" y="30"/>
                    </a:lnTo>
                    <a:lnTo>
                      <a:pt x="10" y="30"/>
                    </a:lnTo>
                    <a:lnTo>
                      <a:pt x="10" y="30"/>
                    </a:lnTo>
                    <a:lnTo>
                      <a:pt x="12" y="30"/>
                    </a:lnTo>
                    <a:lnTo>
                      <a:pt x="12" y="30"/>
                    </a:lnTo>
                    <a:lnTo>
                      <a:pt x="13" y="30"/>
                    </a:lnTo>
                    <a:lnTo>
                      <a:pt x="14" y="32"/>
                    </a:lnTo>
                    <a:lnTo>
                      <a:pt x="14" y="32"/>
                    </a:lnTo>
                    <a:lnTo>
                      <a:pt x="16" y="32"/>
                    </a:lnTo>
                    <a:lnTo>
                      <a:pt x="16" y="32"/>
                    </a:lnTo>
                    <a:lnTo>
                      <a:pt x="16" y="32"/>
                    </a:lnTo>
                    <a:lnTo>
                      <a:pt x="16" y="32"/>
                    </a:lnTo>
                    <a:lnTo>
                      <a:pt x="16" y="32"/>
                    </a:lnTo>
                    <a:lnTo>
                      <a:pt x="16" y="32"/>
                    </a:lnTo>
                    <a:lnTo>
                      <a:pt x="16" y="32"/>
                    </a:lnTo>
                    <a:lnTo>
                      <a:pt x="16" y="32"/>
                    </a:lnTo>
                    <a:lnTo>
                      <a:pt x="17" y="32"/>
                    </a:lnTo>
                    <a:lnTo>
                      <a:pt x="17" y="32"/>
                    </a:lnTo>
                    <a:lnTo>
                      <a:pt x="17" y="32"/>
                    </a:lnTo>
                    <a:lnTo>
                      <a:pt x="17" y="33"/>
                    </a:lnTo>
                    <a:lnTo>
                      <a:pt x="19" y="33"/>
                    </a:lnTo>
                    <a:lnTo>
                      <a:pt x="19" y="32"/>
                    </a:lnTo>
                    <a:lnTo>
                      <a:pt x="20" y="32"/>
                    </a:lnTo>
                    <a:lnTo>
                      <a:pt x="22" y="32"/>
                    </a:lnTo>
                    <a:lnTo>
                      <a:pt x="24" y="32"/>
                    </a:lnTo>
                    <a:lnTo>
                      <a:pt x="24" y="30"/>
                    </a:lnTo>
                    <a:lnTo>
                      <a:pt x="24" y="30"/>
                    </a:lnTo>
                    <a:lnTo>
                      <a:pt x="26" y="30"/>
                    </a:lnTo>
                    <a:lnTo>
                      <a:pt x="26" y="29"/>
                    </a:lnTo>
                    <a:lnTo>
                      <a:pt x="27" y="29"/>
                    </a:lnTo>
                    <a:lnTo>
                      <a:pt x="27" y="29"/>
                    </a:lnTo>
                    <a:lnTo>
                      <a:pt x="29" y="29"/>
                    </a:lnTo>
                    <a:lnTo>
                      <a:pt x="30" y="29"/>
                    </a:lnTo>
                    <a:lnTo>
                      <a:pt x="32" y="30"/>
                    </a:lnTo>
                    <a:lnTo>
                      <a:pt x="32" y="30"/>
                    </a:lnTo>
                    <a:lnTo>
                      <a:pt x="32" y="30"/>
                    </a:lnTo>
                    <a:lnTo>
                      <a:pt x="33" y="30"/>
                    </a:lnTo>
                    <a:lnTo>
                      <a:pt x="33" y="30"/>
                    </a:lnTo>
                    <a:lnTo>
                      <a:pt x="33" y="32"/>
                    </a:lnTo>
                    <a:lnTo>
                      <a:pt x="34" y="32"/>
                    </a:lnTo>
                    <a:lnTo>
                      <a:pt x="34" y="32"/>
                    </a:lnTo>
                    <a:lnTo>
                      <a:pt x="37" y="32"/>
                    </a:lnTo>
                    <a:lnTo>
                      <a:pt x="43" y="30"/>
                    </a:lnTo>
                    <a:lnTo>
                      <a:pt x="45" y="30"/>
                    </a:lnTo>
                    <a:lnTo>
                      <a:pt x="47" y="29"/>
                    </a:lnTo>
                    <a:lnTo>
                      <a:pt x="47" y="29"/>
                    </a:lnTo>
                    <a:lnTo>
                      <a:pt x="47" y="29"/>
                    </a:lnTo>
                    <a:lnTo>
                      <a:pt x="47" y="30"/>
                    </a:lnTo>
                    <a:lnTo>
                      <a:pt x="49" y="30"/>
                    </a:lnTo>
                    <a:lnTo>
                      <a:pt x="49" y="30"/>
                    </a:lnTo>
                    <a:lnTo>
                      <a:pt x="49" y="30"/>
                    </a:lnTo>
                    <a:lnTo>
                      <a:pt x="49" y="30"/>
                    </a:lnTo>
                    <a:lnTo>
                      <a:pt x="50" y="30"/>
                    </a:lnTo>
                    <a:lnTo>
                      <a:pt x="52" y="30"/>
                    </a:lnTo>
                    <a:lnTo>
                      <a:pt x="53" y="30"/>
                    </a:lnTo>
                    <a:lnTo>
                      <a:pt x="55" y="30"/>
                    </a:lnTo>
                    <a:lnTo>
                      <a:pt x="55" y="29"/>
                    </a:lnTo>
                    <a:lnTo>
                      <a:pt x="56" y="29"/>
                    </a:lnTo>
                    <a:lnTo>
                      <a:pt x="56" y="29"/>
                    </a:lnTo>
                    <a:lnTo>
                      <a:pt x="57" y="29"/>
                    </a:lnTo>
                    <a:lnTo>
                      <a:pt x="59" y="29"/>
                    </a:lnTo>
                    <a:lnTo>
                      <a:pt x="59" y="28"/>
                    </a:lnTo>
                    <a:lnTo>
                      <a:pt x="57" y="26"/>
                    </a:lnTo>
                    <a:lnTo>
                      <a:pt x="57" y="26"/>
                    </a:lnTo>
                    <a:lnTo>
                      <a:pt x="57" y="26"/>
                    </a:lnTo>
                    <a:lnTo>
                      <a:pt x="57" y="25"/>
                    </a:lnTo>
                    <a:lnTo>
                      <a:pt x="57" y="25"/>
                    </a:lnTo>
                    <a:lnTo>
                      <a:pt x="57" y="25"/>
                    </a:lnTo>
                    <a:lnTo>
                      <a:pt x="57" y="25"/>
                    </a:lnTo>
                    <a:lnTo>
                      <a:pt x="57" y="25"/>
                    </a:lnTo>
                    <a:lnTo>
                      <a:pt x="57" y="25"/>
                    </a:lnTo>
                    <a:lnTo>
                      <a:pt x="57" y="23"/>
                    </a:lnTo>
                    <a:lnTo>
                      <a:pt x="57" y="23"/>
                    </a:lnTo>
                    <a:lnTo>
                      <a:pt x="57" y="22"/>
                    </a:lnTo>
                    <a:lnTo>
                      <a:pt x="59" y="22"/>
                    </a:lnTo>
                    <a:lnTo>
                      <a:pt x="59" y="20"/>
                    </a:lnTo>
                    <a:lnTo>
                      <a:pt x="59" y="20"/>
                    </a:lnTo>
                    <a:lnTo>
                      <a:pt x="57" y="19"/>
                    </a:lnTo>
                    <a:lnTo>
                      <a:pt x="57" y="19"/>
                    </a:lnTo>
                    <a:lnTo>
                      <a:pt x="56" y="18"/>
                    </a:lnTo>
                    <a:lnTo>
                      <a:pt x="55" y="18"/>
                    </a:lnTo>
                    <a:lnTo>
                      <a:pt x="53" y="18"/>
                    </a:lnTo>
                    <a:lnTo>
                      <a:pt x="52" y="18"/>
                    </a:lnTo>
                    <a:lnTo>
                      <a:pt x="52" y="18"/>
                    </a:lnTo>
                    <a:lnTo>
                      <a:pt x="50" y="16"/>
                    </a:lnTo>
                    <a:lnTo>
                      <a:pt x="50" y="16"/>
                    </a:lnTo>
                    <a:lnTo>
                      <a:pt x="50" y="15"/>
                    </a:lnTo>
                    <a:lnTo>
                      <a:pt x="50" y="15"/>
                    </a:lnTo>
                    <a:lnTo>
                      <a:pt x="50" y="13"/>
                    </a:lnTo>
                    <a:lnTo>
                      <a:pt x="50" y="13"/>
                    </a:lnTo>
                    <a:lnTo>
                      <a:pt x="50" y="12"/>
                    </a:lnTo>
                    <a:lnTo>
                      <a:pt x="50" y="9"/>
                    </a:lnTo>
                    <a:lnTo>
                      <a:pt x="50" y="9"/>
                    </a:lnTo>
                    <a:lnTo>
                      <a:pt x="49" y="7"/>
                    </a:lnTo>
                    <a:lnTo>
                      <a:pt x="46" y="7"/>
                    </a:lnTo>
                    <a:lnTo>
                      <a:pt x="45" y="6"/>
                    </a:lnTo>
                    <a:lnTo>
                      <a:pt x="45" y="6"/>
                    </a:lnTo>
                    <a:lnTo>
                      <a:pt x="43" y="7"/>
                    </a:lnTo>
                    <a:lnTo>
                      <a:pt x="42" y="7"/>
                    </a:lnTo>
                    <a:lnTo>
                      <a:pt x="40" y="7"/>
                    </a:lnTo>
                    <a:lnTo>
                      <a:pt x="36" y="6"/>
                    </a:lnTo>
                    <a:lnTo>
                      <a:pt x="34" y="6"/>
                    </a:lnTo>
                    <a:lnTo>
                      <a:pt x="33" y="6"/>
                    </a:lnTo>
                    <a:lnTo>
                      <a:pt x="32" y="6"/>
                    </a:lnTo>
                    <a:lnTo>
                      <a:pt x="30" y="6"/>
                    </a:lnTo>
                    <a:lnTo>
                      <a:pt x="29" y="5"/>
                    </a:lnTo>
                    <a:lnTo>
                      <a:pt x="29" y="5"/>
                    </a:lnTo>
                    <a:lnTo>
                      <a:pt x="29" y="5"/>
                    </a:lnTo>
                    <a:lnTo>
                      <a:pt x="29" y="3"/>
                    </a:lnTo>
                    <a:lnTo>
                      <a:pt x="29" y="3"/>
                    </a:lnTo>
                    <a:lnTo>
                      <a:pt x="27" y="2"/>
                    </a:lnTo>
                    <a:lnTo>
                      <a:pt x="27" y="2"/>
                    </a:lnTo>
                    <a:lnTo>
                      <a:pt x="26" y="2"/>
                    </a:lnTo>
                    <a:lnTo>
                      <a:pt x="24" y="2"/>
                    </a:lnTo>
                    <a:lnTo>
                      <a:pt x="23" y="0"/>
                    </a:lnTo>
                    <a:lnTo>
                      <a:pt x="22" y="0"/>
                    </a:lnTo>
                    <a:lnTo>
                      <a:pt x="20" y="2"/>
                    </a:lnTo>
                    <a:lnTo>
                      <a:pt x="19" y="2"/>
                    </a:lnTo>
                    <a:lnTo>
                      <a:pt x="16" y="3"/>
                    </a:lnTo>
                    <a:lnTo>
                      <a:pt x="14" y="5"/>
                    </a:lnTo>
                    <a:lnTo>
                      <a:pt x="13" y="6"/>
                    </a:lnTo>
                    <a:lnTo>
                      <a:pt x="4" y="16"/>
                    </a:lnTo>
                    <a:lnTo>
                      <a:pt x="3" y="19"/>
                    </a:lnTo>
                    <a:lnTo>
                      <a:pt x="3" y="20"/>
                    </a:lnTo>
                    <a:lnTo>
                      <a:pt x="3" y="20"/>
                    </a:lnTo>
                    <a:lnTo>
                      <a:pt x="1" y="22"/>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60" name="Freeform 164">
                <a:extLst>
                  <a:ext uri="{FF2B5EF4-FFF2-40B4-BE49-F238E27FC236}">
                    <a16:creationId xmlns:a16="http://schemas.microsoft.com/office/drawing/2014/main" id="{A2D6C235-0916-2827-1E01-4A15C0A0F048}"/>
                  </a:ext>
                </a:extLst>
              </p:cNvPr>
              <p:cNvSpPr>
                <a:spLocks/>
              </p:cNvSpPr>
              <p:nvPr/>
            </p:nvSpPr>
            <p:spPr bwMode="auto">
              <a:xfrm>
                <a:off x="6292252" y="2958551"/>
                <a:ext cx="474275" cy="189421"/>
              </a:xfrm>
              <a:custGeom>
                <a:avLst/>
                <a:gdLst>
                  <a:gd name="T0" fmla="*/ 178 w 328"/>
                  <a:gd name="T1" fmla="*/ 128 h 131"/>
                  <a:gd name="T2" fmla="*/ 185 w 328"/>
                  <a:gd name="T3" fmla="*/ 122 h 131"/>
                  <a:gd name="T4" fmla="*/ 188 w 328"/>
                  <a:gd name="T5" fmla="*/ 111 h 131"/>
                  <a:gd name="T6" fmla="*/ 221 w 328"/>
                  <a:gd name="T7" fmla="*/ 112 h 131"/>
                  <a:gd name="T8" fmla="*/ 262 w 328"/>
                  <a:gd name="T9" fmla="*/ 105 h 131"/>
                  <a:gd name="T10" fmla="*/ 285 w 328"/>
                  <a:gd name="T11" fmla="*/ 105 h 131"/>
                  <a:gd name="T12" fmla="*/ 305 w 328"/>
                  <a:gd name="T13" fmla="*/ 101 h 131"/>
                  <a:gd name="T14" fmla="*/ 318 w 328"/>
                  <a:gd name="T15" fmla="*/ 107 h 131"/>
                  <a:gd name="T16" fmla="*/ 327 w 328"/>
                  <a:gd name="T17" fmla="*/ 99 h 131"/>
                  <a:gd name="T18" fmla="*/ 320 w 328"/>
                  <a:gd name="T19" fmla="*/ 89 h 131"/>
                  <a:gd name="T20" fmla="*/ 321 w 328"/>
                  <a:gd name="T21" fmla="*/ 79 h 131"/>
                  <a:gd name="T22" fmla="*/ 317 w 328"/>
                  <a:gd name="T23" fmla="*/ 66 h 131"/>
                  <a:gd name="T24" fmla="*/ 317 w 328"/>
                  <a:gd name="T25" fmla="*/ 58 h 131"/>
                  <a:gd name="T26" fmla="*/ 326 w 328"/>
                  <a:gd name="T27" fmla="*/ 51 h 131"/>
                  <a:gd name="T28" fmla="*/ 324 w 328"/>
                  <a:gd name="T29" fmla="*/ 46 h 131"/>
                  <a:gd name="T30" fmla="*/ 308 w 328"/>
                  <a:gd name="T31" fmla="*/ 41 h 131"/>
                  <a:gd name="T32" fmla="*/ 308 w 328"/>
                  <a:gd name="T33" fmla="*/ 30 h 131"/>
                  <a:gd name="T34" fmla="*/ 304 w 328"/>
                  <a:gd name="T35" fmla="*/ 20 h 131"/>
                  <a:gd name="T36" fmla="*/ 294 w 328"/>
                  <a:gd name="T37" fmla="*/ 12 h 131"/>
                  <a:gd name="T38" fmla="*/ 281 w 328"/>
                  <a:gd name="T39" fmla="*/ 12 h 131"/>
                  <a:gd name="T40" fmla="*/ 265 w 328"/>
                  <a:gd name="T41" fmla="*/ 16 h 131"/>
                  <a:gd name="T42" fmla="*/ 228 w 328"/>
                  <a:gd name="T43" fmla="*/ 22 h 131"/>
                  <a:gd name="T44" fmla="*/ 188 w 328"/>
                  <a:gd name="T45" fmla="*/ 16 h 131"/>
                  <a:gd name="T46" fmla="*/ 178 w 328"/>
                  <a:gd name="T47" fmla="*/ 16 h 131"/>
                  <a:gd name="T48" fmla="*/ 170 w 328"/>
                  <a:gd name="T49" fmla="*/ 7 h 131"/>
                  <a:gd name="T50" fmla="*/ 157 w 328"/>
                  <a:gd name="T51" fmla="*/ 0 h 131"/>
                  <a:gd name="T52" fmla="*/ 124 w 328"/>
                  <a:gd name="T53" fmla="*/ 2 h 131"/>
                  <a:gd name="T54" fmla="*/ 86 w 328"/>
                  <a:gd name="T55" fmla="*/ 20 h 131"/>
                  <a:gd name="T56" fmla="*/ 64 w 328"/>
                  <a:gd name="T57" fmla="*/ 19 h 131"/>
                  <a:gd name="T58" fmla="*/ 58 w 328"/>
                  <a:gd name="T59" fmla="*/ 28 h 131"/>
                  <a:gd name="T60" fmla="*/ 50 w 328"/>
                  <a:gd name="T61" fmla="*/ 35 h 131"/>
                  <a:gd name="T62" fmla="*/ 33 w 328"/>
                  <a:gd name="T63" fmla="*/ 35 h 131"/>
                  <a:gd name="T64" fmla="*/ 28 w 328"/>
                  <a:gd name="T65" fmla="*/ 38 h 131"/>
                  <a:gd name="T66" fmla="*/ 18 w 328"/>
                  <a:gd name="T67" fmla="*/ 35 h 131"/>
                  <a:gd name="T68" fmla="*/ 1 w 328"/>
                  <a:gd name="T69" fmla="*/ 48 h 131"/>
                  <a:gd name="T70" fmla="*/ 14 w 328"/>
                  <a:gd name="T71" fmla="*/ 55 h 131"/>
                  <a:gd name="T72" fmla="*/ 11 w 328"/>
                  <a:gd name="T73" fmla="*/ 62 h 131"/>
                  <a:gd name="T74" fmla="*/ 14 w 328"/>
                  <a:gd name="T75" fmla="*/ 66 h 131"/>
                  <a:gd name="T76" fmla="*/ 12 w 328"/>
                  <a:gd name="T77" fmla="*/ 76 h 131"/>
                  <a:gd name="T78" fmla="*/ 8 w 328"/>
                  <a:gd name="T79" fmla="*/ 76 h 131"/>
                  <a:gd name="T80" fmla="*/ 4 w 328"/>
                  <a:gd name="T81" fmla="*/ 79 h 131"/>
                  <a:gd name="T82" fmla="*/ 10 w 328"/>
                  <a:gd name="T83" fmla="*/ 84 h 131"/>
                  <a:gd name="T84" fmla="*/ 20 w 328"/>
                  <a:gd name="T85" fmla="*/ 91 h 131"/>
                  <a:gd name="T86" fmla="*/ 24 w 328"/>
                  <a:gd name="T87" fmla="*/ 102 h 131"/>
                  <a:gd name="T88" fmla="*/ 37 w 328"/>
                  <a:gd name="T89" fmla="*/ 107 h 131"/>
                  <a:gd name="T90" fmla="*/ 24 w 328"/>
                  <a:gd name="T91" fmla="*/ 112 h 131"/>
                  <a:gd name="T92" fmla="*/ 33 w 328"/>
                  <a:gd name="T93" fmla="*/ 114 h 131"/>
                  <a:gd name="T94" fmla="*/ 47 w 328"/>
                  <a:gd name="T95" fmla="*/ 112 h 131"/>
                  <a:gd name="T96" fmla="*/ 57 w 328"/>
                  <a:gd name="T97" fmla="*/ 122 h 131"/>
                  <a:gd name="T98" fmla="*/ 76 w 328"/>
                  <a:gd name="T99" fmla="*/ 121 h 131"/>
                  <a:gd name="T100" fmla="*/ 81 w 328"/>
                  <a:gd name="T101" fmla="*/ 110 h 131"/>
                  <a:gd name="T102" fmla="*/ 112 w 328"/>
                  <a:gd name="T103" fmla="*/ 124 h 131"/>
                  <a:gd name="T104" fmla="*/ 147 w 328"/>
                  <a:gd name="T105" fmla="*/ 112 h 131"/>
                  <a:gd name="T106" fmla="*/ 166 w 328"/>
                  <a:gd name="T107" fmla="*/ 114 h 131"/>
                  <a:gd name="T108" fmla="*/ 175 w 328"/>
                  <a:gd name="T109" fmla="*/ 115 h 131"/>
                  <a:gd name="T110" fmla="*/ 175 w 328"/>
                  <a:gd name="T111" fmla="*/ 1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8" h="131">
                    <a:moveTo>
                      <a:pt x="175" y="130"/>
                    </a:moveTo>
                    <a:lnTo>
                      <a:pt x="176" y="131"/>
                    </a:lnTo>
                    <a:lnTo>
                      <a:pt x="176" y="130"/>
                    </a:lnTo>
                    <a:lnTo>
                      <a:pt x="176" y="130"/>
                    </a:lnTo>
                    <a:lnTo>
                      <a:pt x="176" y="128"/>
                    </a:lnTo>
                    <a:lnTo>
                      <a:pt x="178" y="128"/>
                    </a:lnTo>
                    <a:lnTo>
                      <a:pt x="178" y="128"/>
                    </a:lnTo>
                    <a:lnTo>
                      <a:pt x="179" y="127"/>
                    </a:lnTo>
                    <a:lnTo>
                      <a:pt x="179" y="127"/>
                    </a:lnTo>
                    <a:lnTo>
                      <a:pt x="180" y="125"/>
                    </a:lnTo>
                    <a:lnTo>
                      <a:pt x="180" y="124"/>
                    </a:lnTo>
                    <a:lnTo>
                      <a:pt x="180" y="124"/>
                    </a:lnTo>
                    <a:lnTo>
                      <a:pt x="182" y="122"/>
                    </a:lnTo>
                    <a:lnTo>
                      <a:pt x="185" y="122"/>
                    </a:lnTo>
                    <a:lnTo>
                      <a:pt x="185" y="122"/>
                    </a:lnTo>
                    <a:lnTo>
                      <a:pt x="185" y="120"/>
                    </a:lnTo>
                    <a:lnTo>
                      <a:pt x="183" y="118"/>
                    </a:lnTo>
                    <a:lnTo>
                      <a:pt x="183" y="115"/>
                    </a:lnTo>
                    <a:lnTo>
                      <a:pt x="183" y="114"/>
                    </a:lnTo>
                    <a:lnTo>
                      <a:pt x="186" y="111"/>
                    </a:lnTo>
                    <a:lnTo>
                      <a:pt x="188" y="111"/>
                    </a:lnTo>
                    <a:lnTo>
                      <a:pt x="193" y="114"/>
                    </a:lnTo>
                    <a:lnTo>
                      <a:pt x="198" y="114"/>
                    </a:lnTo>
                    <a:lnTo>
                      <a:pt x="201" y="114"/>
                    </a:lnTo>
                    <a:lnTo>
                      <a:pt x="212" y="110"/>
                    </a:lnTo>
                    <a:lnTo>
                      <a:pt x="213" y="110"/>
                    </a:lnTo>
                    <a:lnTo>
                      <a:pt x="216" y="111"/>
                    </a:lnTo>
                    <a:lnTo>
                      <a:pt x="221" y="112"/>
                    </a:lnTo>
                    <a:lnTo>
                      <a:pt x="224" y="114"/>
                    </a:lnTo>
                    <a:lnTo>
                      <a:pt x="228" y="114"/>
                    </a:lnTo>
                    <a:lnTo>
                      <a:pt x="231" y="114"/>
                    </a:lnTo>
                    <a:lnTo>
                      <a:pt x="235" y="112"/>
                    </a:lnTo>
                    <a:lnTo>
                      <a:pt x="242" y="111"/>
                    </a:lnTo>
                    <a:lnTo>
                      <a:pt x="255" y="105"/>
                    </a:lnTo>
                    <a:lnTo>
                      <a:pt x="262" y="105"/>
                    </a:lnTo>
                    <a:lnTo>
                      <a:pt x="267" y="105"/>
                    </a:lnTo>
                    <a:lnTo>
                      <a:pt x="269" y="105"/>
                    </a:lnTo>
                    <a:lnTo>
                      <a:pt x="274" y="105"/>
                    </a:lnTo>
                    <a:lnTo>
                      <a:pt x="277" y="104"/>
                    </a:lnTo>
                    <a:lnTo>
                      <a:pt x="282" y="101"/>
                    </a:lnTo>
                    <a:lnTo>
                      <a:pt x="284" y="102"/>
                    </a:lnTo>
                    <a:lnTo>
                      <a:pt x="285" y="105"/>
                    </a:lnTo>
                    <a:lnTo>
                      <a:pt x="288" y="104"/>
                    </a:lnTo>
                    <a:lnTo>
                      <a:pt x="291" y="101"/>
                    </a:lnTo>
                    <a:lnTo>
                      <a:pt x="292" y="99"/>
                    </a:lnTo>
                    <a:lnTo>
                      <a:pt x="294" y="99"/>
                    </a:lnTo>
                    <a:lnTo>
                      <a:pt x="300" y="99"/>
                    </a:lnTo>
                    <a:lnTo>
                      <a:pt x="303" y="101"/>
                    </a:lnTo>
                    <a:lnTo>
                      <a:pt x="305" y="101"/>
                    </a:lnTo>
                    <a:lnTo>
                      <a:pt x="310" y="101"/>
                    </a:lnTo>
                    <a:lnTo>
                      <a:pt x="313" y="101"/>
                    </a:lnTo>
                    <a:lnTo>
                      <a:pt x="315" y="101"/>
                    </a:lnTo>
                    <a:lnTo>
                      <a:pt x="317" y="101"/>
                    </a:lnTo>
                    <a:lnTo>
                      <a:pt x="317" y="102"/>
                    </a:lnTo>
                    <a:lnTo>
                      <a:pt x="318" y="102"/>
                    </a:lnTo>
                    <a:lnTo>
                      <a:pt x="318" y="107"/>
                    </a:lnTo>
                    <a:lnTo>
                      <a:pt x="318" y="107"/>
                    </a:lnTo>
                    <a:lnTo>
                      <a:pt x="320" y="107"/>
                    </a:lnTo>
                    <a:lnTo>
                      <a:pt x="323" y="105"/>
                    </a:lnTo>
                    <a:lnTo>
                      <a:pt x="326" y="104"/>
                    </a:lnTo>
                    <a:lnTo>
                      <a:pt x="327" y="104"/>
                    </a:lnTo>
                    <a:lnTo>
                      <a:pt x="328" y="101"/>
                    </a:lnTo>
                    <a:lnTo>
                      <a:pt x="327" y="99"/>
                    </a:lnTo>
                    <a:lnTo>
                      <a:pt x="326" y="98"/>
                    </a:lnTo>
                    <a:lnTo>
                      <a:pt x="324" y="97"/>
                    </a:lnTo>
                    <a:lnTo>
                      <a:pt x="324" y="94"/>
                    </a:lnTo>
                    <a:lnTo>
                      <a:pt x="324" y="92"/>
                    </a:lnTo>
                    <a:lnTo>
                      <a:pt x="323" y="92"/>
                    </a:lnTo>
                    <a:lnTo>
                      <a:pt x="321" y="89"/>
                    </a:lnTo>
                    <a:lnTo>
                      <a:pt x="320" y="89"/>
                    </a:lnTo>
                    <a:lnTo>
                      <a:pt x="318" y="89"/>
                    </a:lnTo>
                    <a:lnTo>
                      <a:pt x="318" y="88"/>
                    </a:lnTo>
                    <a:lnTo>
                      <a:pt x="318" y="87"/>
                    </a:lnTo>
                    <a:lnTo>
                      <a:pt x="318" y="87"/>
                    </a:lnTo>
                    <a:lnTo>
                      <a:pt x="321" y="82"/>
                    </a:lnTo>
                    <a:lnTo>
                      <a:pt x="321" y="81"/>
                    </a:lnTo>
                    <a:lnTo>
                      <a:pt x="321" y="79"/>
                    </a:lnTo>
                    <a:lnTo>
                      <a:pt x="320" y="79"/>
                    </a:lnTo>
                    <a:lnTo>
                      <a:pt x="320" y="78"/>
                    </a:lnTo>
                    <a:lnTo>
                      <a:pt x="318" y="76"/>
                    </a:lnTo>
                    <a:lnTo>
                      <a:pt x="318" y="72"/>
                    </a:lnTo>
                    <a:lnTo>
                      <a:pt x="318" y="71"/>
                    </a:lnTo>
                    <a:lnTo>
                      <a:pt x="317" y="66"/>
                    </a:lnTo>
                    <a:lnTo>
                      <a:pt x="317" y="66"/>
                    </a:lnTo>
                    <a:lnTo>
                      <a:pt x="317" y="64"/>
                    </a:lnTo>
                    <a:lnTo>
                      <a:pt x="317" y="64"/>
                    </a:lnTo>
                    <a:lnTo>
                      <a:pt x="317" y="62"/>
                    </a:lnTo>
                    <a:lnTo>
                      <a:pt x="315" y="61"/>
                    </a:lnTo>
                    <a:lnTo>
                      <a:pt x="315" y="59"/>
                    </a:lnTo>
                    <a:lnTo>
                      <a:pt x="315" y="58"/>
                    </a:lnTo>
                    <a:lnTo>
                      <a:pt x="317" y="58"/>
                    </a:lnTo>
                    <a:lnTo>
                      <a:pt x="320" y="58"/>
                    </a:lnTo>
                    <a:lnTo>
                      <a:pt x="321" y="56"/>
                    </a:lnTo>
                    <a:lnTo>
                      <a:pt x="321" y="55"/>
                    </a:lnTo>
                    <a:lnTo>
                      <a:pt x="323" y="53"/>
                    </a:lnTo>
                    <a:lnTo>
                      <a:pt x="323" y="51"/>
                    </a:lnTo>
                    <a:lnTo>
                      <a:pt x="324" y="51"/>
                    </a:lnTo>
                    <a:lnTo>
                      <a:pt x="326" y="51"/>
                    </a:lnTo>
                    <a:lnTo>
                      <a:pt x="326" y="51"/>
                    </a:lnTo>
                    <a:lnTo>
                      <a:pt x="327" y="52"/>
                    </a:lnTo>
                    <a:lnTo>
                      <a:pt x="328" y="52"/>
                    </a:lnTo>
                    <a:lnTo>
                      <a:pt x="328" y="52"/>
                    </a:lnTo>
                    <a:lnTo>
                      <a:pt x="328" y="51"/>
                    </a:lnTo>
                    <a:lnTo>
                      <a:pt x="326" y="49"/>
                    </a:lnTo>
                    <a:lnTo>
                      <a:pt x="324" y="46"/>
                    </a:lnTo>
                    <a:lnTo>
                      <a:pt x="321" y="45"/>
                    </a:lnTo>
                    <a:lnTo>
                      <a:pt x="318" y="43"/>
                    </a:lnTo>
                    <a:lnTo>
                      <a:pt x="315" y="43"/>
                    </a:lnTo>
                    <a:lnTo>
                      <a:pt x="314" y="43"/>
                    </a:lnTo>
                    <a:lnTo>
                      <a:pt x="311" y="43"/>
                    </a:lnTo>
                    <a:lnTo>
                      <a:pt x="308" y="42"/>
                    </a:lnTo>
                    <a:lnTo>
                      <a:pt x="308" y="41"/>
                    </a:lnTo>
                    <a:lnTo>
                      <a:pt x="308" y="39"/>
                    </a:lnTo>
                    <a:lnTo>
                      <a:pt x="308" y="38"/>
                    </a:lnTo>
                    <a:lnTo>
                      <a:pt x="307" y="38"/>
                    </a:lnTo>
                    <a:lnTo>
                      <a:pt x="307" y="35"/>
                    </a:lnTo>
                    <a:lnTo>
                      <a:pt x="307" y="35"/>
                    </a:lnTo>
                    <a:lnTo>
                      <a:pt x="308" y="33"/>
                    </a:lnTo>
                    <a:lnTo>
                      <a:pt x="308" y="30"/>
                    </a:lnTo>
                    <a:lnTo>
                      <a:pt x="310" y="29"/>
                    </a:lnTo>
                    <a:lnTo>
                      <a:pt x="308" y="28"/>
                    </a:lnTo>
                    <a:lnTo>
                      <a:pt x="308" y="25"/>
                    </a:lnTo>
                    <a:lnTo>
                      <a:pt x="307" y="23"/>
                    </a:lnTo>
                    <a:lnTo>
                      <a:pt x="305" y="23"/>
                    </a:lnTo>
                    <a:lnTo>
                      <a:pt x="305" y="22"/>
                    </a:lnTo>
                    <a:lnTo>
                      <a:pt x="304" y="20"/>
                    </a:lnTo>
                    <a:lnTo>
                      <a:pt x="304" y="20"/>
                    </a:lnTo>
                    <a:lnTo>
                      <a:pt x="304" y="19"/>
                    </a:lnTo>
                    <a:lnTo>
                      <a:pt x="303" y="19"/>
                    </a:lnTo>
                    <a:lnTo>
                      <a:pt x="303" y="19"/>
                    </a:lnTo>
                    <a:lnTo>
                      <a:pt x="300" y="18"/>
                    </a:lnTo>
                    <a:lnTo>
                      <a:pt x="295" y="13"/>
                    </a:lnTo>
                    <a:lnTo>
                      <a:pt x="294" y="12"/>
                    </a:lnTo>
                    <a:lnTo>
                      <a:pt x="291" y="10"/>
                    </a:lnTo>
                    <a:lnTo>
                      <a:pt x="290" y="10"/>
                    </a:lnTo>
                    <a:lnTo>
                      <a:pt x="290" y="12"/>
                    </a:lnTo>
                    <a:lnTo>
                      <a:pt x="288" y="13"/>
                    </a:lnTo>
                    <a:lnTo>
                      <a:pt x="287" y="13"/>
                    </a:lnTo>
                    <a:lnTo>
                      <a:pt x="287" y="13"/>
                    </a:lnTo>
                    <a:lnTo>
                      <a:pt x="281" y="12"/>
                    </a:lnTo>
                    <a:lnTo>
                      <a:pt x="280" y="13"/>
                    </a:lnTo>
                    <a:lnTo>
                      <a:pt x="277" y="13"/>
                    </a:lnTo>
                    <a:lnTo>
                      <a:pt x="275" y="13"/>
                    </a:lnTo>
                    <a:lnTo>
                      <a:pt x="274" y="13"/>
                    </a:lnTo>
                    <a:lnTo>
                      <a:pt x="271" y="12"/>
                    </a:lnTo>
                    <a:lnTo>
                      <a:pt x="268" y="15"/>
                    </a:lnTo>
                    <a:lnTo>
                      <a:pt x="265" y="16"/>
                    </a:lnTo>
                    <a:lnTo>
                      <a:pt x="252" y="23"/>
                    </a:lnTo>
                    <a:lnTo>
                      <a:pt x="248" y="23"/>
                    </a:lnTo>
                    <a:lnTo>
                      <a:pt x="245" y="25"/>
                    </a:lnTo>
                    <a:lnTo>
                      <a:pt x="242" y="23"/>
                    </a:lnTo>
                    <a:lnTo>
                      <a:pt x="234" y="22"/>
                    </a:lnTo>
                    <a:lnTo>
                      <a:pt x="231" y="22"/>
                    </a:lnTo>
                    <a:lnTo>
                      <a:pt x="228" y="22"/>
                    </a:lnTo>
                    <a:lnTo>
                      <a:pt x="219" y="23"/>
                    </a:lnTo>
                    <a:lnTo>
                      <a:pt x="216" y="25"/>
                    </a:lnTo>
                    <a:lnTo>
                      <a:pt x="213" y="25"/>
                    </a:lnTo>
                    <a:lnTo>
                      <a:pt x="198" y="20"/>
                    </a:lnTo>
                    <a:lnTo>
                      <a:pt x="193" y="19"/>
                    </a:lnTo>
                    <a:lnTo>
                      <a:pt x="191" y="18"/>
                    </a:lnTo>
                    <a:lnTo>
                      <a:pt x="188" y="16"/>
                    </a:lnTo>
                    <a:lnTo>
                      <a:pt x="185" y="16"/>
                    </a:lnTo>
                    <a:lnTo>
                      <a:pt x="183" y="16"/>
                    </a:lnTo>
                    <a:lnTo>
                      <a:pt x="183" y="16"/>
                    </a:lnTo>
                    <a:lnTo>
                      <a:pt x="182" y="18"/>
                    </a:lnTo>
                    <a:lnTo>
                      <a:pt x="180" y="18"/>
                    </a:lnTo>
                    <a:lnTo>
                      <a:pt x="179" y="16"/>
                    </a:lnTo>
                    <a:lnTo>
                      <a:pt x="178" y="16"/>
                    </a:lnTo>
                    <a:lnTo>
                      <a:pt x="178" y="15"/>
                    </a:lnTo>
                    <a:lnTo>
                      <a:pt x="176" y="13"/>
                    </a:lnTo>
                    <a:lnTo>
                      <a:pt x="176" y="12"/>
                    </a:lnTo>
                    <a:lnTo>
                      <a:pt x="175" y="10"/>
                    </a:lnTo>
                    <a:lnTo>
                      <a:pt x="175" y="9"/>
                    </a:lnTo>
                    <a:lnTo>
                      <a:pt x="173" y="7"/>
                    </a:lnTo>
                    <a:lnTo>
                      <a:pt x="170" y="7"/>
                    </a:lnTo>
                    <a:lnTo>
                      <a:pt x="168" y="9"/>
                    </a:lnTo>
                    <a:lnTo>
                      <a:pt x="166" y="9"/>
                    </a:lnTo>
                    <a:lnTo>
                      <a:pt x="163" y="9"/>
                    </a:lnTo>
                    <a:lnTo>
                      <a:pt x="160" y="6"/>
                    </a:lnTo>
                    <a:lnTo>
                      <a:pt x="159" y="3"/>
                    </a:lnTo>
                    <a:lnTo>
                      <a:pt x="159" y="0"/>
                    </a:lnTo>
                    <a:lnTo>
                      <a:pt x="157" y="0"/>
                    </a:lnTo>
                    <a:lnTo>
                      <a:pt x="156" y="0"/>
                    </a:lnTo>
                    <a:lnTo>
                      <a:pt x="155" y="0"/>
                    </a:lnTo>
                    <a:lnTo>
                      <a:pt x="153" y="2"/>
                    </a:lnTo>
                    <a:lnTo>
                      <a:pt x="150" y="2"/>
                    </a:lnTo>
                    <a:lnTo>
                      <a:pt x="146" y="2"/>
                    </a:lnTo>
                    <a:lnTo>
                      <a:pt x="130" y="2"/>
                    </a:lnTo>
                    <a:lnTo>
                      <a:pt x="124" y="2"/>
                    </a:lnTo>
                    <a:lnTo>
                      <a:pt x="119" y="3"/>
                    </a:lnTo>
                    <a:lnTo>
                      <a:pt x="113" y="6"/>
                    </a:lnTo>
                    <a:lnTo>
                      <a:pt x="97" y="13"/>
                    </a:lnTo>
                    <a:lnTo>
                      <a:pt x="94" y="16"/>
                    </a:lnTo>
                    <a:lnTo>
                      <a:pt x="91" y="19"/>
                    </a:lnTo>
                    <a:lnTo>
                      <a:pt x="89" y="20"/>
                    </a:lnTo>
                    <a:lnTo>
                      <a:pt x="86" y="20"/>
                    </a:lnTo>
                    <a:lnTo>
                      <a:pt x="83" y="20"/>
                    </a:lnTo>
                    <a:lnTo>
                      <a:pt x="76" y="19"/>
                    </a:lnTo>
                    <a:lnTo>
                      <a:pt x="73" y="19"/>
                    </a:lnTo>
                    <a:lnTo>
                      <a:pt x="71" y="19"/>
                    </a:lnTo>
                    <a:lnTo>
                      <a:pt x="68" y="19"/>
                    </a:lnTo>
                    <a:lnTo>
                      <a:pt x="67" y="20"/>
                    </a:lnTo>
                    <a:lnTo>
                      <a:pt x="64" y="19"/>
                    </a:lnTo>
                    <a:lnTo>
                      <a:pt x="58" y="19"/>
                    </a:lnTo>
                    <a:lnTo>
                      <a:pt x="56" y="19"/>
                    </a:lnTo>
                    <a:lnTo>
                      <a:pt x="53" y="19"/>
                    </a:lnTo>
                    <a:lnTo>
                      <a:pt x="51" y="22"/>
                    </a:lnTo>
                    <a:lnTo>
                      <a:pt x="53" y="25"/>
                    </a:lnTo>
                    <a:lnTo>
                      <a:pt x="54" y="26"/>
                    </a:lnTo>
                    <a:lnTo>
                      <a:pt x="58" y="28"/>
                    </a:lnTo>
                    <a:lnTo>
                      <a:pt x="63" y="28"/>
                    </a:lnTo>
                    <a:lnTo>
                      <a:pt x="66" y="28"/>
                    </a:lnTo>
                    <a:lnTo>
                      <a:pt x="61" y="30"/>
                    </a:lnTo>
                    <a:lnTo>
                      <a:pt x="51" y="30"/>
                    </a:lnTo>
                    <a:lnTo>
                      <a:pt x="47" y="33"/>
                    </a:lnTo>
                    <a:lnTo>
                      <a:pt x="48" y="33"/>
                    </a:lnTo>
                    <a:lnTo>
                      <a:pt x="50" y="35"/>
                    </a:lnTo>
                    <a:lnTo>
                      <a:pt x="51" y="36"/>
                    </a:lnTo>
                    <a:lnTo>
                      <a:pt x="50" y="36"/>
                    </a:lnTo>
                    <a:lnTo>
                      <a:pt x="47" y="36"/>
                    </a:lnTo>
                    <a:lnTo>
                      <a:pt x="41" y="36"/>
                    </a:lnTo>
                    <a:lnTo>
                      <a:pt x="34" y="36"/>
                    </a:lnTo>
                    <a:lnTo>
                      <a:pt x="31" y="36"/>
                    </a:lnTo>
                    <a:lnTo>
                      <a:pt x="33" y="35"/>
                    </a:lnTo>
                    <a:lnTo>
                      <a:pt x="31" y="33"/>
                    </a:lnTo>
                    <a:lnTo>
                      <a:pt x="30" y="33"/>
                    </a:lnTo>
                    <a:lnTo>
                      <a:pt x="28" y="35"/>
                    </a:lnTo>
                    <a:lnTo>
                      <a:pt x="28" y="35"/>
                    </a:lnTo>
                    <a:lnTo>
                      <a:pt x="30" y="36"/>
                    </a:lnTo>
                    <a:lnTo>
                      <a:pt x="30" y="36"/>
                    </a:lnTo>
                    <a:lnTo>
                      <a:pt x="28" y="38"/>
                    </a:lnTo>
                    <a:lnTo>
                      <a:pt x="27" y="38"/>
                    </a:lnTo>
                    <a:lnTo>
                      <a:pt x="25" y="38"/>
                    </a:lnTo>
                    <a:lnTo>
                      <a:pt x="24" y="38"/>
                    </a:lnTo>
                    <a:lnTo>
                      <a:pt x="22" y="38"/>
                    </a:lnTo>
                    <a:lnTo>
                      <a:pt x="21" y="36"/>
                    </a:lnTo>
                    <a:lnTo>
                      <a:pt x="21" y="35"/>
                    </a:lnTo>
                    <a:lnTo>
                      <a:pt x="18" y="35"/>
                    </a:lnTo>
                    <a:lnTo>
                      <a:pt x="14" y="36"/>
                    </a:lnTo>
                    <a:lnTo>
                      <a:pt x="11" y="36"/>
                    </a:lnTo>
                    <a:lnTo>
                      <a:pt x="8" y="38"/>
                    </a:lnTo>
                    <a:lnTo>
                      <a:pt x="5" y="41"/>
                    </a:lnTo>
                    <a:lnTo>
                      <a:pt x="4" y="42"/>
                    </a:lnTo>
                    <a:lnTo>
                      <a:pt x="1" y="45"/>
                    </a:lnTo>
                    <a:lnTo>
                      <a:pt x="1" y="48"/>
                    </a:lnTo>
                    <a:lnTo>
                      <a:pt x="0" y="55"/>
                    </a:lnTo>
                    <a:lnTo>
                      <a:pt x="1" y="56"/>
                    </a:lnTo>
                    <a:lnTo>
                      <a:pt x="2" y="56"/>
                    </a:lnTo>
                    <a:lnTo>
                      <a:pt x="11" y="53"/>
                    </a:lnTo>
                    <a:lnTo>
                      <a:pt x="12" y="53"/>
                    </a:lnTo>
                    <a:lnTo>
                      <a:pt x="14" y="55"/>
                    </a:lnTo>
                    <a:lnTo>
                      <a:pt x="14" y="55"/>
                    </a:lnTo>
                    <a:lnTo>
                      <a:pt x="12" y="56"/>
                    </a:lnTo>
                    <a:lnTo>
                      <a:pt x="12" y="58"/>
                    </a:lnTo>
                    <a:lnTo>
                      <a:pt x="11" y="59"/>
                    </a:lnTo>
                    <a:lnTo>
                      <a:pt x="11" y="59"/>
                    </a:lnTo>
                    <a:lnTo>
                      <a:pt x="11" y="59"/>
                    </a:lnTo>
                    <a:lnTo>
                      <a:pt x="11" y="61"/>
                    </a:lnTo>
                    <a:lnTo>
                      <a:pt x="11" y="62"/>
                    </a:lnTo>
                    <a:lnTo>
                      <a:pt x="12" y="64"/>
                    </a:lnTo>
                    <a:lnTo>
                      <a:pt x="12" y="64"/>
                    </a:lnTo>
                    <a:lnTo>
                      <a:pt x="12" y="65"/>
                    </a:lnTo>
                    <a:lnTo>
                      <a:pt x="12" y="65"/>
                    </a:lnTo>
                    <a:lnTo>
                      <a:pt x="12" y="66"/>
                    </a:lnTo>
                    <a:lnTo>
                      <a:pt x="12" y="66"/>
                    </a:lnTo>
                    <a:lnTo>
                      <a:pt x="14" y="66"/>
                    </a:lnTo>
                    <a:lnTo>
                      <a:pt x="15" y="68"/>
                    </a:lnTo>
                    <a:lnTo>
                      <a:pt x="15" y="69"/>
                    </a:lnTo>
                    <a:lnTo>
                      <a:pt x="14" y="69"/>
                    </a:lnTo>
                    <a:lnTo>
                      <a:pt x="12" y="71"/>
                    </a:lnTo>
                    <a:lnTo>
                      <a:pt x="12" y="71"/>
                    </a:lnTo>
                    <a:lnTo>
                      <a:pt x="11" y="74"/>
                    </a:lnTo>
                    <a:lnTo>
                      <a:pt x="12" y="76"/>
                    </a:lnTo>
                    <a:lnTo>
                      <a:pt x="15" y="76"/>
                    </a:lnTo>
                    <a:lnTo>
                      <a:pt x="18" y="78"/>
                    </a:lnTo>
                    <a:lnTo>
                      <a:pt x="15" y="78"/>
                    </a:lnTo>
                    <a:lnTo>
                      <a:pt x="11" y="78"/>
                    </a:lnTo>
                    <a:lnTo>
                      <a:pt x="10" y="79"/>
                    </a:lnTo>
                    <a:lnTo>
                      <a:pt x="8" y="78"/>
                    </a:lnTo>
                    <a:lnTo>
                      <a:pt x="8" y="76"/>
                    </a:lnTo>
                    <a:lnTo>
                      <a:pt x="8" y="75"/>
                    </a:lnTo>
                    <a:lnTo>
                      <a:pt x="7" y="74"/>
                    </a:lnTo>
                    <a:lnTo>
                      <a:pt x="5" y="74"/>
                    </a:lnTo>
                    <a:lnTo>
                      <a:pt x="4" y="75"/>
                    </a:lnTo>
                    <a:lnTo>
                      <a:pt x="4" y="79"/>
                    </a:lnTo>
                    <a:lnTo>
                      <a:pt x="4" y="79"/>
                    </a:lnTo>
                    <a:lnTo>
                      <a:pt x="4" y="79"/>
                    </a:lnTo>
                    <a:lnTo>
                      <a:pt x="4" y="81"/>
                    </a:lnTo>
                    <a:lnTo>
                      <a:pt x="4" y="82"/>
                    </a:lnTo>
                    <a:lnTo>
                      <a:pt x="4" y="82"/>
                    </a:lnTo>
                    <a:lnTo>
                      <a:pt x="7" y="84"/>
                    </a:lnTo>
                    <a:lnTo>
                      <a:pt x="8" y="84"/>
                    </a:lnTo>
                    <a:lnTo>
                      <a:pt x="8" y="84"/>
                    </a:lnTo>
                    <a:lnTo>
                      <a:pt x="10" y="84"/>
                    </a:lnTo>
                    <a:lnTo>
                      <a:pt x="10" y="82"/>
                    </a:lnTo>
                    <a:lnTo>
                      <a:pt x="10" y="82"/>
                    </a:lnTo>
                    <a:lnTo>
                      <a:pt x="11" y="84"/>
                    </a:lnTo>
                    <a:lnTo>
                      <a:pt x="14" y="85"/>
                    </a:lnTo>
                    <a:lnTo>
                      <a:pt x="18" y="87"/>
                    </a:lnTo>
                    <a:lnTo>
                      <a:pt x="20" y="88"/>
                    </a:lnTo>
                    <a:lnTo>
                      <a:pt x="20" y="91"/>
                    </a:lnTo>
                    <a:lnTo>
                      <a:pt x="18" y="92"/>
                    </a:lnTo>
                    <a:lnTo>
                      <a:pt x="17" y="94"/>
                    </a:lnTo>
                    <a:lnTo>
                      <a:pt x="17" y="95"/>
                    </a:lnTo>
                    <a:lnTo>
                      <a:pt x="21" y="99"/>
                    </a:lnTo>
                    <a:lnTo>
                      <a:pt x="21" y="99"/>
                    </a:lnTo>
                    <a:lnTo>
                      <a:pt x="24" y="101"/>
                    </a:lnTo>
                    <a:lnTo>
                      <a:pt x="24" y="102"/>
                    </a:lnTo>
                    <a:lnTo>
                      <a:pt x="24" y="104"/>
                    </a:lnTo>
                    <a:lnTo>
                      <a:pt x="22" y="104"/>
                    </a:lnTo>
                    <a:lnTo>
                      <a:pt x="20" y="105"/>
                    </a:lnTo>
                    <a:lnTo>
                      <a:pt x="20" y="107"/>
                    </a:lnTo>
                    <a:lnTo>
                      <a:pt x="24" y="107"/>
                    </a:lnTo>
                    <a:lnTo>
                      <a:pt x="28" y="107"/>
                    </a:lnTo>
                    <a:lnTo>
                      <a:pt x="37" y="107"/>
                    </a:lnTo>
                    <a:lnTo>
                      <a:pt x="34" y="110"/>
                    </a:lnTo>
                    <a:lnTo>
                      <a:pt x="33" y="110"/>
                    </a:lnTo>
                    <a:lnTo>
                      <a:pt x="31" y="111"/>
                    </a:lnTo>
                    <a:lnTo>
                      <a:pt x="30" y="111"/>
                    </a:lnTo>
                    <a:lnTo>
                      <a:pt x="27" y="111"/>
                    </a:lnTo>
                    <a:lnTo>
                      <a:pt x="25" y="111"/>
                    </a:lnTo>
                    <a:lnTo>
                      <a:pt x="24" y="112"/>
                    </a:lnTo>
                    <a:lnTo>
                      <a:pt x="25" y="114"/>
                    </a:lnTo>
                    <a:lnTo>
                      <a:pt x="28" y="112"/>
                    </a:lnTo>
                    <a:lnTo>
                      <a:pt x="34" y="112"/>
                    </a:lnTo>
                    <a:lnTo>
                      <a:pt x="34" y="112"/>
                    </a:lnTo>
                    <a:lnTo>
                      <a:pt x="34" y="114"/>
                    </a:lnTo>
                    <a:lnTo>
                      <a:pt x="34" y="114"/>
                    </a:lnTo>
                    <a:lnTo>
                      <a:pt x="33" y="114"/>
                    </a:lnTo>
                    <a:lnTo>
                      <a:pt x="35" y="114"/>
                    </a:lnTo>
                    <a:lnTo>
                      <a:pt x="38" y="111"/>
                    </a:lnTo>
                    <a:lnTo>
                      <a:pt x="41" y="111"/>
                    </a:lnTo>
                    <a:lnTo>
                      <a:pt x="43" y="111"/>
                    </a:lnTo>
                    <a:lnTo>
                      <a:pt x="44" y="112"/>
                    </a:lnTo>
                    <a:lnTo>
                      <a:pt x="45" y="112"/>
                    </a:lnTo>
                    <a:lnTo>
                      <a:pt x="47" y="112"/>
                    </a:lnTo>
                    <a:lnTo>
                      <a:pt x="50" y="112"/>
                    </a:lnTo>
                    <a:lnTo>
                      <a:pt x="51" y="114"/>
                    </a:lnTo>
                    <a:lnTo>
                      <a:pt x="51" y="115"/>
                    </a:lnTo>
                    <a:lnTo>
                      <a:pt x="53" y="117"/>
                    </a:lnTo>
                    <a:lnTo>
                      <a:pt x="53" y="118"/>
                    </a:lnTo>
                    <a:lnTo>
                      <a:pt x="54" y="121"/>
                    </a:lnTo>
                    <a:lnTo>
                      <a:pt x="57" y="122"/>
                    </a:lnTo>
                    <a:lnTo>
                      <a:pt x="60" y="124"/>
                    </a:lnTo>
                    <a:lnTo>
                      <a:pt x="63" y="124"/>
                    </a:lnTo>
                    <a:lnTo>
                      <a:pt x="64" y="124"/>
                    </a:lnTo>
                    <a:lnTo>
                      <a:pt x="68" y="122"/>
                    </a:lnTo>
                    <a:lnTo>
                      <a:pt x="71" y="121"/>
                    </a:lnTo>
                    <a:lnTo>
                      <a:pt x="74" y="121"/>
                    </a:lnTo>
                    <a:lnTo>
                      <a:pt x="76" y="121"/>
                    </a:lnTo>
                    <a:lnTo>
                      <a:pt x="76" y="121"/>
                    </a:lnTo>
                    <a:lnTo>
                      <a:pt x="77" y="118"/>
                    </a:lnTo>
                    <a:lnTo>
                      <a:pt x="77" y="117"/>
                    </a:lnTo>
                    <a:lnTo>
                      <a:pt x="77" y="114"/>
                    </a:lnTo>
                    <a:lnTo>
                      <a:pt x="78" y="111"/>
                    </a:lnTo>
                    <a:lnTo>
                      <a:pt x="80" y="110"/>
                    </a:lnTo>
                    <a:lnTo>
                      <a:pt x="81" y="110"/>
                    </a:lnTo>
                    <a:lnTo>
                      <a:pt x="86" y="110"/>
                    </a:lnTo>
                    <a:lnTo>
                      <a:pt x="91" y="111"/>
                    </a:lnTo>
                    <a:lnTo>
                      <a:pt x="96" y="112"/>
                    </a:lnTo>
                    <a:lnTo>
                      <a:pt x="100" y="115"/>
                    </a:lnTo>
                    <a:lnTo>
                      <a:pt x="104" y="118"/>
                    </a:lnTo>
                    <a:lnTo>
                      <a:pt x="107" y="121"/>
                    </a:lnTo>
                    <a:lnTo>
                      <a:pt x="112" y="124"/>
                    </a:lnTo>
                    <a:lnTo>
                      <a:pt x="116" y="125"/>
                    </a:lnTo>
                    <a:lnTo>
                      <a:pt x="126" y="124"/>
                    </a:lnTo>
                    <a:lnTo>
                      <a:pt x="132" y="124"/>
                    </a:lnTo>
                    <a:lnTo>
                      <a:pt x="136" y="121"/>
                    </a:lnTo>
                    <a:lnTo>
                      <a:pt x="139" y="118"/>
                    </a:lnTo>
                    <a:lnTo>
                      <a:pt x="145" y="114"/>
                    </a:lnTo>
                    <a:lnTo>
                      <a:pt x="147" y="112"/>
                    </a:lnTo>
                    <a:lnTo>
                      <a:pt x="149" y="111"/>
                    </a:lnTo>
                    <a:lnTo>
                      <a:pt x="152" y="111"/>
                    </a:lnTo>
                    <a:lnTo>
                      <a:pt x="155" y="111"/>
                    </a:lnTo>
                    <a:lnTo>
                      <a:pt x="159" y="114"/>
                    </a:lnTo>
                    <a:lnTo>
                      <a:pt x="160" y="115"/>
                    </a:lnTo>
                    <a:lnTo>
                      <a:pt x="163" y="115"/>
                    </a:lnTo>
                    <a:lnTo>
                      <a:pt x="166" y="114"/>
                    </a:lnTo>
                    <a:lnTo>
                      <a:pt x="169" y="111"/>
                    </a:lnTo>
                    <a:lnTo>
                      <a:pt x="170" y="111"/>
                    </a:lnTo>
                    <a:lnTo>
                      <a:pt x="173" y="110"/>
                    </a:lnTo>
                    <a:lnTo>
                      <a:pt x="175" y="110"/>
                    </a:lnTo>
                    <a:lnTo>
                      <a:pt x="176" y="111"/>
                    </a:lnTo>
                    <a:lnTo>
                      <a:pt x="178" y="114"/>
                    </a:lnTo>
                    <a:lnTo>
                      <a:pt x="175" y="115"/>
                    </a:lnTo>
                    <a:lnTo>
                      <a:pt x="173" y="117"/>
                    </a:lnTo>
                    <a:lnTo>
                      <a:pt x="172" y="120"/>
                    </a:lnTo>
                    <a:lnTo>
                      <a:pt x="170" y="121"/>
                    </a:lnTo>
                    <a:lnTo>
                      <a:pt x="172" y="127"/>
                    </a:lnTo>
                    <a:lnTo>
                      <a:pt x="172" y="128"/>
                    </a:lnTo>
                    <a:lnTo>
                      <a:pt x="173" y="130"/>
                    </a:lnTo>
                    <a:lnTo>
                      <a:pt x="175" y="130"/>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61" name="Freeform 165">
                <a:extLst>
                  <a:ext uri="{FF2B5EF4-FFF2-40B4-BE49-F238E27FC236}">
                    <a16:creationId xmlns:a16="http://schemas.microsoft.com/office/drawing/2014/main" id="{2755D9D9-09E6-4033-4269-29B365A3AEE9}"/>
                  </a:ext>
                </a:extLst>
              </p:cNvPr>
              <p:cNvSpPr>
                <a:spLocks noEditPoints="1"/>
              </p:cNvSpPr>
              <p:nvPr/>
            </p:nvSpPr>
            <p:spPr bwMode="auto">
              <a:xfrm>
                <a:off x="6899555" y="2495844"/>
                <a:ext cx="949996" cy="508978"/>
              </a:xfrm>
              <a:custGeom>
                <a:avLst/>
                <a:gdLst>
                  <a:gd name="T0" fmla="*/ 5 w 657"/>
                  <a:gd name="T1" fmla="*/ 253 h 352"/>
                  <a:gd name="T2" fmla="*/ 654 w 657"/>
                  <a:gd name="T3" fmla="*/ 154 h 352"/>
                  <a:gd name="T4" fmla="*/ 645 w 657"/>
                  <a:gd name="T5" fmla="*/ 139 h 352"/>
                  <a:gd name="T6" fmla="*/ 622 w 657"/>
                  <a:gd name="T7" fmla="*/ 144 h 352"/>
                  <a:gd name="T8" fmla="*/ 615 w 657"/>
                  <a:gd name="T9" fmla="*/ 132 h 352"/>
                  <a:gd name="T10" fmla="*/ 601 w 657"/>
                  <a:gd name="T11" fmla="*/ 119 h 352"/>
                  <a:gd name="T12" fmla="*/ 580 w 657"/>
                  <a:gd name="T13" fmla="*/ 109 h 352"/>
                  <a:gd name="T14" fmla="*/ 565 w 657"/>
                  <a:gd name="T15" fmla="*/ 115 h 352"/>
                  <a:gd name="T16" fmla="*/ 546 w 657"/>
                  <a:gd name="T17" fmla="*/ 108 h 352"/>
                  <a:gd name="T18" fmla="*/ 540 w 657"/>
                  <a:gd name="T19" fmla="*/ 99 h 352"/>
                  <a:gd name="T20" fmla="*/ 532 w 657"/>
                  <a:gd name="T21" fmla="*/ 109 h 352"/>
                  <a:gd name="T22" fmla="*/ 507 w 657"/>
                  <a:gd name="T23" fmla="*/ 76 h 352"/>
                  <a:gd name="T24" fmla="*/ 471 w 657"/>
                  <a:gd name="T25" fmla="*/ 21 h 352"/>
                  <a:gd name="T26" fmla="*/ 444 w 657"/>
                  <a:gd name="T27" fmla="*/ 34 h 352"/>
                  <a:gd name="T28" fmla="*/ 421 w 657"/>
                  <a:gd name="T29" fmla="*/ 41 h 352"/>
                  <a:gd name="T30" fmla="*/ 412 w 657"/>
                  <a:gd name="T31" fmla="*/ 36 h 352"/>
                  <a:gd name="T32" fmla="*/ 405 w 657"/>
                  <a:gd name="T33" fmla="*/ 31 h 352"/>
                  <a:gd name="T34" fmla="*/ 389 w 657"/>
                  <a:gd name="T35" fmla="*/ 24 h 352"/>
                  <a:gd name="T36" fmla="*/ 372 w 657"/>
                  <a:gd name="T37" fmla="*/ 23 h 352"/>
                  <a:gd name="T38" fmla="*/ 359 w 657"/>
                  <a:gd name="T39" fmla="*/ 3 h 352"/>
                  <a:gd name="T40" fmla="*/ 333 w 657"/>
                  <a:gd name="T41" fmla="*/ 0 h 352"/>
                  <a:gd name="T42" fmla="*/ 318 w 657"/>
                  <a:gd name="T43" fmla="*/ 10 h 352"/>
                  <a:gd name="T44" fmla="*/ 300 w 657"/>
                  <a:gd name="T45" fmla="*/ 14 h 352"/>
                  <a:gd name="T46" fmla="*/ 267 w 657"/>
                  <a:gd name="T47" fmla="*/ 20 h 352"/>
                  <a:gd name="T48" fmla="*/ 254 w 657"/>
                  <a:gd name="T49" fmla="*/ 23 h 352"/>
                  <a:gd name="T50" fmla="*/ 239 w 657"/>
                  <a:gd name="T51" fmla="*/ 27 h 352"/>
                  <a:gd name="T52" fmla="*/ 213 w 657"/>
                  <a:gd name="T53" fmla="*/ 31 h 352"/>
                  <a:gd name="T54" fmla="*/ 196 w 657"/>
                  <a:gd name="T55" fmla="*/ 34 h 352"/>
                  <a:gd name="T56" fmla="*/ 198 w 657"/>
                  <a:gd name="T57" fmla="*/ 43 h 352"/>
                  <a:gd name="T58" fmla="*/ 197 w 657"/>
                  <a:gd name="T59" fmla="*/ 46 h 352"/>
                  <a:gd name="T60" fmla="*/ 213 w 657"/>
                  <a:gd name="T61" fmla="*/ 56 h 352"/>
                  <a:gd name="T62" fmla="*/ 190 w 657"/>
                  <a:gd name="T63" fmla="*/ 63 h 352"/>
                  <a:gd name="T64" fmla="*/ 184 w 657"/>
                  <a:gd name="T65" fmla="*/ 77 h 352"/>
                  <a:gd name="T66" fmla="*/ 180 w 657"/>
                  <a:gd name="T67" fmla="*/ 85 h 352"/>
                  <a:gd name="T68" fmla="*/ 203 w 657"/>
                  <a:gd name="T69" fmla="*/ 99 h 352"/>
                  <a:gd name="T70" fmla="*/ 178 w 657"/>
                  <a:gd name="T71" fmla="*/ 112 h 352"/>
                  <a:gd name="T72" fmla="*/ 170 w 657"/>
                  <a:gd name="T73" fmla="*/ 119 h 352"/>
                  <a:gd name="T74" fmla="*/ 141 w 657"/>
                  <a:gd name="T75" fmla="*/ 105 h 352"/>
                  <a:gd name="T76" fmla="*/ 128 w 657"/>
                  <a:gd name="T77" fmla="*/ 108 h 352"/>
                  <a:gd name="T78" fmla="*/ 107 w 657"/>
                  <a:gd name="T79" fmla="*/ 113 h 352"/>
                  <a:gd name="T80" fmla="*/ 55 w 657"/>
                  <a:gd name="T81" fmla="*/ 215 h 352"/>
                  <a:gd name="T82" fmla="*/ 48 w 657"/>
                  <a:gd name="T83" fmla="*/ 246 h 352"/>
                  <a:gd name="T84" fmla="*/ 25 w 657"/>
                  <a:gd name="T85" fmla="*/ 263 h 352"/>
                  <a:gd name="T86" fmla="*/ 10 w 657"/>
                  <a:gd name="T87" fmla="*/ 270 h 352"/>
                  <a:gd name="T88" fmla="*/ 28 w 657"/>
                  <a:gd name="T89" fmla="*/ 296 h 352"/>
                  <a:gd name="T90" fmla="*/ 46 w 657"/>
                  <a:gd name="T91" fmla="*/ 306 h 352"/>
                  <a:gd name="T92" fmla="*/ 79 w 657"/>
                  <a:gd name="T93" fmla="*/ 317 h 352"/>
                  <a:gd name="T94" fmla="*/ 196 w 657"/>
                  <a:gd name="T95" fmla="*/ 271 h 352"/>
                  <a:gd name="T96" fmla="*/ 265 w 657"/>
                  <a:gd name="T97" fmla="*/ 286 h 352"/>
                  <a:gd name="T98" fmla="*/ 290 w 657"/>
                  <a:gd name="T99" fmla="*/ 323 h 352"/>
                  <a:gd name="T100" fmla="*/ 318 w 657"/>
                  <a:gd name="T101" fmla="*/ 349 h 352"/>
                  <a:gd name="T102" fmla="*/ 333 w 657"/>
                  <a:gd name="T103" fmla="*/ 338 h 352"/>
                  <a:gd name="T104" fmla="*/ 359 w 657"/>
                  <a:gd name="T105" fmla="*/ 319 h 352"/>
                  <a:gd name="T106" fmla="*/ 389 w 657"/>
                  <a:gd name="T107" fmla="*/ 304 h 352"/>
                  <a:gd name="T108" fmla="*/ 428 w 657"/>
                  <a:gd name="T109" fmla="*/ 296 h 352"/>
                  <a:gd name="T110" fmla="*/ 516 w 657"/>
                  <a:gd name="T111" fmla="*/ 309 h 352"/>
                  <a:gd name="T112" fmla="*/ 535 w 657"/>
                  <a:gd name="T113" fmla="*/ 303 h 352"/>
                  <a:gd name="T114" fmla="*/ 533 w 657"/>
                  <a:gd name="T115" fmla="*/ 264 h 352"/>
                  <a:gd name="T116" fmla="*/ 559 w 657"/>
                  <a:gd name="T117" fmla="*/ 248 h 352"/>
                  <a:gd name="T118" fmla="*/ 572 w 657"/>
                  <a:gd name="T119" fmla="*/ 243 h 352"/>
                  <a:gd name="T120" fmla="*/ 605 w 657"/>
                  <a:gd name="T121" fmla="*/ 207 h 352"/>
                  <a:gd name="T122" fmla="*/ 626 w 657"/>
                  <a:gd name="T123" fmla="*/ 201 h 352"/>
                  <a:gd name="T124" fmla="*/ 647 w 657"/>
                  <a:gd name="T125" fmla="*/ 16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7" h="352">
                    <a:moveTo>
                      <a:pt x="2" y="256"/>
                    </a:moveTo>
                    <a:lnTo>
                      <a:pt x="3" y="257"/>
                    </a:lnTo>
                    <a:lnTo>
                      <a:pt x="2" y="257"/>
                    </a:lnTo>
                    <a:lnTo>
                      <a:pt x="0" y="256"/>
                    </a:lnTo>
                    <a:lnTo>
                      <a:pt x="0" y="253"/>
                    </a:lnTo>
                    <a:lnTo>
                      <a:pt x="2" y="251"/>
                    </a:lnTo>
                    <a:lnTo>
                      <a:pt x="0" y="253"/>
                    </a:lnTo>
                    <a:lnTo>
                      <a:pt x="0" y="254"/>
                    </a:lnTo>
                    <a:lnTo>
                      <a:pt x="2" y="256"/>
                    </a:lnTo>
                    <a:close/>
                    <a:moveTo>
                      <a:pt x="6" y="254"/>
                    </a:moveTo>
                    <a:lnTo>
                      <a:pt x="6" y="253"/>
                    </a:lnTo>
                    <a:lnTo>
                      <a:pt x="6" y="251"/>
                    </a:lnTo>
                    <a:lnTo>
                      <a:pt x="5" y="251"/>
                    </a:lnTo>
                    <a:lnTo>
                      <a:pt x="5" y="253"/>
                    </a:lnTo>
                    <a:lnTo>
                      <a:pt x="5" y="253"/>
                    </a:lnTo>
                    <a:lnTo>
                      <a:pt x="5" y="254"/>
                    </a:lnTo>
                    <a:lnTo>
                      <a:pt x="5" y="254"/>
                    </a:lnTo>
                    <a:lnTo>
                      <a:pt x="6" y="254"/>
                    </a:lnTo>
                    <a:close/>
                    <a:moveTo>
                      <a:pt x="46" y="241"/>
                    </a:moveTo>
                    <a:lnTo>
                      <a:pt x="45" y="243"/>
                    </a:lnTo>
                    <a:lnTo>
                      <a:pt x="46" y="244"/>
                    </a:lnTo>
                    <a:lnTo>
                      <a:pt x="46" y="243"/>
                    </a:lnTo>
                    <a:lnTo>
                      <a:pt x="46" y="241"/>
                    </a:lnTo>
                    <a:close/>
                    <a:moveTo>
                      <a:pt x="655" y="156"/>
                    </a:moveTo>
                    <a:lnTo>
                      <a:pt x="655" y="155"/>
                    </a:lnTo>
                    <a:lnTo>
                      <a:pt x="655" y="155"/>
                    </a:lnTo>
                    <a:lnTo>
                      <a:pt x="655" y="154"/>
                    </a:lnTo>
                    <a:lnTo>
                      <a:pt x="654" y="154"/>
                    </a:lnTo>
                    <a:lnTo>
                      <a:pt x="652" y="152"/>
                    </a:lnTo>
                    <a:lnTo>
                      <a:pt x="651" y="152"/>
                    </a:lnTo>
                    <a:lnTo>
                      <a:pt x="651" y="152"/>
                    </a:lnTo>
                    <a:lnTo>
                      <a:pt x="649" y="151"/>
                    </a:lnTo>
                    <a:lnTo>
                      <a:pt x="647" y="146"/>
                    </a:lnTo>
                    <a:lnTo>
                      <a:pt x="647" y="145"/>
                    </a:lnTo>
                    <a:lnTo>
                      <a:pt x="645" y="145"/>
                    </a:lnTo>
                    <a:lnTo>
                      <a:pt x="645" y="145"/>
                    </a:lnTo>
                    <a:lnTo>
                      <a:pt x="644" y="145"/>
                    </a:lnTo>
                    <a:lnTo>
                      <a:pt x="644" y="142"/>
                    </a:lnTo>
                    <a:lnTo>
                      <a:pt x="645" y="142"/>
                    </a:lnTo>
                    <a:lnTo>
                      <a:pt x="645" y="141"/>
                    </a:lnTo>
                    <a:lnTo>
                      <a:pt x="645" y="141"/>
                    </a:lnTo>
                    <a:lnTo>
                      <a:pt x="645" y="139"/>
                    </a:lnTo>
                    <a:lnTo>
                      <a:pt x="644" y="139"/>
                    </a:lnTo>
                    <a:lnTo>
                      <a:pt x="642" y="141"/>
                    </a:lnTo>
                    <a:lnTo>
                      <a:pt x="641" y="142"/>
                    </a:lnTo>
                    <a:lnTo>
                      <a:pt x="639" y="144"/>
                    </a:lnTo>
                    <a:lnTo>
                      <a:pt x="638" y="144"/>
                    </a:lnTo>
                    <a:lnTo>
                      <a:pt x="636" y="146"/>
                    </a:lnTo>
                    <a:lnTo>
                      <a:pt x="635" y="146"/>
                    </a:lnTo>
                    <a:lnTo>
                      <a:pt x="632" y="146"/>
                    </a:lnTo>
                    <a:lnTo>
                      <a:pt x="631" y="145"/>
                    </a:lnTo>
                    <a:lnTo>
                      <a:pt x="631" y="145"/>
                    </a:lnTo>
                    <a:lnTo>
                      <a:pt x="628" y="144"/>
                    </a:lnTo>
                    <a:lnTo>
                      <a:pt x="624" y="144"/>
                    </a:lnTo>
                    <a:lnTo>
                      <a:pt x="624" y="144"/>
                    </a:lnTo>
                    <a:lnTo>
                      <a:pt x="622" y="144"/>
                    </a:lnTo>
                    <a:lnTo>
                      <a:pt x="621" y="144"/>
                    </a:lnTo>
                    <a:lnTo>
                      <a:pt x="621" y="144"/>
                    </a:lnTo>
                    <a:lnTo>
                      <a:pt x="619" y="144"/>
                    </a:lnTo>
                    <a:lnTo>
                      <a:pt x="619" y="144"/>
                    </a:lnTo>
                    <a:lnTo>
                      <a:pt x="619" y="142"/>
                    </a:lnTo>
                    <a:lnTo>
                      <a:pt x="618" y="141"/>
                    </a:lnTo>
                    <a:lnTo>
                      <a:pt x="616" y="139"/>
                    </a:lnTo>
                    <a:lnTo>
                      <a:pt x="616" y="138"/>
                    </a:lnTo>
                    <a:lnTo>
                      <a:pt x="616" y="136"/>
                    </a:lnTo>
                    <a:lnTo>
                      <a:pt x="615" y="136"/>
                    </a:lnTo>
                    <a:lnTo>
                      <a:pt x="615" y="135"/>
                    </a:lnTo>
                    <a:lnTo>
                      <a:pt x="615" y="135"/>
                    </a:lnTo>
                    <a:lnTo>
                      <a:pt x="615" y="133"/>
                    </a:lnTo>
                    <a:lnTo>
                      <a:pt x="615" y="132"/>
                    </a:lnTo>
                    <a:lnTo>
                      <a:pt x="614" y="131"/>
                    </a:lnTo>
                    <a:lnTo>
                      <a:pt x="614" y="131"/>
                    </a:lnTo>
                    <a:lnTo>
                      <a:pt x="612" y="131"/>
                    </a:lnTo>
                    <a:lnTo>
                      <a:pt x="611" y="131"/>
                    </a:lnTo>
                    <a:lnTo>
                      <a:pt x="611" y="129"/>
                    </a:lnTo>
                    <a:lnTo>
                      <a:pt x="609" y="129"/>
                    </a:lnTo>
                    <a:lnTo>
                      <a:pt x="608" y="128"/>
                    </a:lnTo>
                    <a:lnTo>
                      <a:pt x="608" y="128"/>
                    </a:lnTo>
                    <a:lnTo>
                      <a:pt x="605" y="128"/>
                    </a:lnTo>
                    <a:lnTo>
                      <a:pt x="603" y="126"/>
                    </a:lnTo>
                    <a:lnTo>
                      <a:pt x="602" y="125"/>
                    </a:lnTo>
                    <a:lnTo>
                      <a:pt x="601" y="122"/>
                    </a:lnTo>
                    <a:lnTo>
                      <a:pt x="601" y="121"/>
                    </a:lnTo>
                    <a:lnTo>
                      <a:pt x="601" y="119"/>
                    </a:lnTo>
                    <a:lnTo>
                      <a:pt x="601" y="118"/>
                    </a:lnTo>
                    <a:lnTo>
                      <a:pt x="599" y="118"/>
                    </a:lnTo>
                    <a:lnTo>
                      <a:pt x="599" y="116"/>
                    </a:lnTo>
                    <a:lnTo>
                      <a:pt x="595" y="112"/>
                    </a:lnTo>
                    <a:lnTo>
                      <a:pt x="592" y="109"/>
                    </a:lnTo>
                    <a:lnTo>
                      <a:pt x="589" y="108"/>
                    </a:lnTo>
                    <a:lnTo>
                      <a:pt x="586" y="106"/>
                    </a:lnTo>
                    <a:lnTo>
                      <a:pt x="585" y="106"/>
                    </a:lnTo>
                    <a:lnTo>
                      <a:pt x="583" y="106"/>
                    </a:lnTo>
                    <a:lnTo>
                      <a:pt x="583" y="108"/>
                    </a:lnTo>
                    <a:lnTo>
                      <a:pt x="582" y="108"/>
                    </a:lnTo>
                    <a:lnTo>
                      <a:pt x="580" y="109"/>
                    </a:lnTo>
                    <a:lnTo>
                      <a:pt x="580" y="109"/>
                    </a:lnTo>
                    <a:lnTo>
                      <a:pt x="580" y="109"/>
                    </a:lnTo>
                    <a:lnTo>
                      <a:pt x="579" y="109"/>
                    </a:lnTo>
                    <a:lnTo>
                      <a:pt x="579" y="109"/>
                    </a:lnTo>
                    <a:lnTo>
                      <a:pt x="576" y="109"/>
                    </a:lnTo>
                    <a:lnTo>
                      <a:pt x="575" y="110"/>
                    </a:lnTo>
                    <a:lnTo>
                      <a:pt x="575" y="110"/>
                    </a:lnTo>
                    <a:lnTo>
                      <a:pt x="575" y="112"/>
                    </a:lnTo>
                    <a:lnTo>
                      <a:pt x="573" y="112"/>
                    </a:lnTo>
                    <a:lnTo>
                      <a:pt x="573" y="113"/>
                    </a:lnTo>
                    <a:lnTo>
                      <a:pt x="572" y="113"/>
                    </a:lnTo>
                    <a:lnTo>
                      <a:pt x="570" y="113"/>
                    </a:lnTo>
                    <a:lnTo>
                      <a:pt x="568" y="113"/>
                    </a:lnTo>
                    <a:lnTo>
                      <a:pt x="566" y="115"/>
                    </a:lnTo>
                    <a:lnTo>
                      <a:pt x="565" y="115"/>
                    </a:lnTo>
                    <a:lnTo>
                      <a:pt x="565" y="115"/>
                    </a:lnTo>
                    <a:lnTo>
                      <a:pt x="562" y="113"/>
                    </a:lnTo>
                    <a:lnTo>
                      <a:pt x="558" y="113"/>
                    </a:lnTo>
                    <a:lnTo>
                      <a:pt x="556" y="113"/>
                    </a:lnTo>
                    <a:lnTo>
                      <a:pt x="555" y="113"/>
                    </a:lnTo>
                    <a:lnTo>
                      <a:pt x="553" y="113"/>
                    </a:lnTo>
                    <a:lnTo>
                      <a:pt x="553" y="113"/>
                    </a:lnTo>
                    <a:lnTo>
                      <a:pt x="553" y="110"/>
                    </a:lnTo>
                    <a:lnTo>
                      <a:pt x="552" y="109"/>
                    </a:lnTo>
                    <a:lnTo>
                      <a:pt x="552" y="108"/>
                    </a:lnTo>
                    <a:lnTo>
                      <a:pt x="550" y="108"/>
                    </a:lnTo>
                    <a:lnTo>
                      <a:pt x="549" y="108"/>
                    </a:lnTo>
                    <a:lnTo>
                      <a:pt x="547" y="108"/>
                    </a:lnTo>
                    <a:lnTo>
                      <a:pt x="547" y="108"/>
                    </a:lnTo>
                    <a:lnTo>
                      <a:pt x="546" y="108"/>
                    </a:lnTo>
                    <a:lnTo>
                      <a:pt x="546" y="108"/>
                    </a:lnTo>
                    <a:lnTo>
                      <a:pt x="546" y="105"/>
                    </a:lnTo>
                    <a:lnTo>
                      <a:pt x="547" y="103"/>
                    </a:lnTo>
                    <a:lnTo>
                      <a:pt x="547" y="103"/>
                    </a:lnTo>
                    <a:lnTo>
                      <a:pt x="547" y="102"/>
                    </a:lnTo>
                    <a:lnTo>
                      <a:pt x="547" y="102"/>
                    </a:lnTo>
                    <a:lnTo>
                      <a:pt x="546" y="102"/>
                    </a:lnTo>
                    <a:lnTo>
                      <a:pt x="545" y="102"/>
                    </a:lnTo>
                    <a:lnTo>
                      <a:pt x="543" y="100"/>
                    </a:lnTo>
                    <a:lnTo>
                      <a:pt x="543" y="100"/>
                    </a:lnTo>
                    <a:lnTo>
                      <a:pt x="543" y="99"/>
                    </a:lnTo>
                    <a:lnTo>
                      <a:pt x="542" y="99"/>
                    </a:lnTo>
                    <a:lnTo>
                      <a:pt x="540" y="99"/>
                    </a:lnTo>
                    <a:lnTo>
                      <a:pt x="540" y="99"/>
                    </a:lnTo>
                    <a:lnTo>
                      <a:pt x="539" y="99"/>
                    </a:lnTo>
                    <a:lnTo>
                      <a:pt x="539" y="99"/>
                    </a:lnTo>
                    <a:lnTo>
                      <a:pt x="537" y="100"/>
                    </a:lnTo>
                    <a:lnTo>
                      <a:pt x="537" y="100"/>
                    </a:lnTo>
                    <a:lnTo>
                      <a:pt x="536" y="102"/>
                    </a:lnTo>
                    <a:lnTo>
                      <a:pt x="535" y="102"/>
                    </a:lnTo>
                    <a:lnTo>
                      <a:pt x="535" y="103"/>
                    </a:lnTo>
                    <a:lnTo>
                      <a:pt x="535" y="106"/>
                    </a:lnTo>
                    <a:lnTo>
                      <a:pt x="535" y="108"/>
                    </a:lnTo>
                    <a:lnTo>
                      <a:pt x="535" y="109"/>
                    </a:lnTo>
                    <a:lnTo>
                      <a:pt x="533" y="109"/>
                    </a:lnTo>
                    <a:lnTo>
                      <a:pt x="533" y="109"/>
                    </a:lnTo>
                    <a:lnTo>
                      <a:pt x="532" y="109"/>
                    </a:lnTo>
                    <a:lnTo>
                      <a:pt x="532" y="109"/>
                    </a:lnTo>
                    <a:lnTo>
                      <a:pt x="530" y="110"/>
                    </a:lnTo>
                    <a:lnTo>
                      <a:pt x="529" y="110"/>
                    </a:lnTo>
                    <a:lnTo>
                      <a:pt x="529" y="112"/>
                    </a:lnTo>
                    <a:lnTo>
                      <a:pt x="529" y="113"/>
                    </a:lnTo>
                    <a:lnTo>
                      <a:pt x="527" y="113"/>
                    </a:lnTo>
                    <a:lnTo>
                      <a:pt x="527" y="112"/>
                    </a:lnTo>
                    <a:lnTo>
                      <a:pt x="526" y="112"/>
                    </a:lnTo>
                    <a:lnTo>
                      <a:pt x="526" y="110"/>
                    </a:lnTo>
                    <a:lnTo>
                      <a:pt x="519" y="96"/>
                    </a:lnTo>
                    <a:lnTo>
                      <a:pt x="517" y="93"/>
                    </a:lnTo>
                    <a:lnTo>
                      <a:pt x="514" y="89"/>
                    </a:lnTo>
                    <a:lnTo>
                      <a:pt x="514" y="86"/>
                    </a:lnTo>
                    <a:lnTo>
                      <a:pt x="512" y="82"/>
                    </a:lnTo>
                    <a:lnTo>
                      <a:pt x="507" y="76"/>
                    </a:lnTo>
                    <a:lnTo>
                      <a:pt x="503" y="70"/>
                    </a:lnTo>
                    <a:lnTo>
                      <a:pt x="497" y="60"/>
                    </a:lnTo>
                    <a:lnTo>
                      <a:pt x="496" y="57"/>
                    </a:lnTo>
                    <a:lnTo>
                      <a:pt x="489" y="49"/>
                    </a:lnTo>
                    <a:lnTo>
                      <a:pt x="487" y="47"/>
                    </a:lnTo>
                    <a:lnTo>
                      <a:pt x="471" y="36"/>
                    </a:lnTo>
                    <a:lnTo>
                      <a:pt x="468" y="34"/>
                    </a:lnTo>
                    <a:lnTo>
                      <a:pt x="467" y="33"/>
                    </a:lnTo>
                    <a:lnTo>
                      <a:pt x="466" y="31"/>
                    </a:lnTo>
                    <a:lnTo>
                      <a:pt x="464" y="29"/>
                    </a:lnTo>
                    <a:lnTo>
                      <a:pt x="468" y="29"/>
                    </a:lnTo>
                    <a:lnTo>
                      <a:pt x="470" y="27"/>
                    </a:lnTo>
                    <a:lnTo>
                      <a:pt x="471" y="24"/>
                    </a:lnTo>
                    <a:lnTo>
                      <a:pt x="471" y="21"/>
                    </a:lnTo>
                    <a:lnTo>
                      <a:pt x="470" y="21"/>
                    </a:lnTo>
                    <a:lnTo>
                      <a:pt x="468" y="23"/>
                    </a:lnTo>
                    <a:lnTo>
                      <a:pt x="466" y="24"/>
                    </a:lnTo>
                    <a:lnTo>
                      <a:pt x="461" y="24"/>
                    </a:lnTo>
                    <a:lnTo>
                      <a:pt x="461" y="24"/>
                    </a:lnTo>
                    <a:lnTo>
                      <a:pt x="460" y="26"/>
                    </a:lnTo>
                    <a:lnTo>
                      <a:pt x="460" y="26"/>
                    </a:lnTo>
                    <a:lnTo>
                      <a:pt x="454" y="29"/>
                    </a:lnTo>
                    <a:lnTo>
                      <a:pt x="451" y="30"/>
                    </a:lnTo>
                    <a:lnTo>
                      <a:pt x="447" y="30"/>
                    </a:lnTo>
                    <a:lnTo>
                      <a:pt x="447" y="30"/>
                    </a:lnTo>
                    <a:lnTo>
                      <a:pt x="445" y="31"/>
                    </a:lnTo>
                    <a:lnTo>
                      <a:pt x="445" y="33"/>
                    </a:lnTo>
                    <a:lnTo>
                      <a:pt x="444" y="34"/>
                    </a:lnTo>
                    <a:lnTo>
                      <a:pt x="443" y="34"/>
                    </a:lnTo>
                    <a:lnTo>
                      <a:pt x="441" y="36"/>
                    </a:lnTo>
                    <a:lnTo>
                      <a:pt x="440" y="36"/>
                    </a:lnTo>
                    <a:lnTo>
                      <a:pt x="437" y="36"/>
                    </a:lnTo>
                    <a:lnTo>
                      <a:pt x="434" y="37"/>
                    </a:lnTo>
                    <a:lnTo>
                      <a:pt x="434" y="37"/>
                    </a:lnTo>
                    <a:lnTo>
                      <a:pt x="431" y="40"/>
                    </a:lnTo>
                    <a:lnTo>
                      <a:pt x="430" y="41"/>
                    </a:lnTo>
                    <a:lnTo>
                      <a:pt x="430" y="43"/>
                    </a:lnTo>
                    <a:lnTo>
                      <a:pt x="428" y="44"/>
                    </a:lnTo>
                    <a:lnTo>
                      <a:pt x="427" y="43"/>
                    </a:lnTo>
                    <a:lnTo>
                      <a:pt x="425" y="41"/>
                    </a:lnTo>
                    <a:lnTo>
                      <a:pt x="423" y="41"/>
                    </a:lnTo>
                    <a:lnTo>
                      <a:pt x="421" y="41"/>
                    </a:lnTo>
                    <a:lnTo>
                      <a:pt x="420" y="41"/>
                    </a:lnTo>
                    <a:lnTo>
                      <a:pt x="418" y="41"/>
                    </a:lnTo>
                    <a:lnTo>
                      <a:pt x="417" y="41"/>
                    </a:lnTo>
                    <a:lnTo>
                      <a:pt x="415" y="43"/>
                    </a:lnTo>
                    <a:lnTo>
                      <a:pt x="414" y="43"/>
                    </a:lnTo>
                    <a:lnTo>
                      <a:pt x="412" y="44"/>
                    </a:lnTo>
                    <a:lnTo>
                      <a:pt x="411" y="46"/>
                    </a:lnTo>
                    <a:lnTo>
                      <a:pt x="411" y="44"/>
                    </a:lnTo>
                    <a:lnTo>
                      <a:pt x="410" y="43"/>
                    </a:lnTo>
                    <a:lnTo>
                      <a:pt x="410" y="41"/>
                    </a:lnTo>
                    <a:lnTo>
                      <a:pt x="410" y="39"/>
                    </a:lnTo>
                    <a:lnTo>
                      <a:pt x="410" y="37"/>
                    </a:lnTo>
                    <a:lnTo>
                      <a:pt x="411" y="37"/>
                    </a:lnTo>
                    <a:lnTo>
                      <a:pt x="412" y="36"/>
                    </a:lnTo>
                    <a:lnTo>
                      <a:pt x="414" y="36"/>
                    </a:lnTo>
                    <a:lnTo>
                      <a:pt x="417" y="34"/>
                    </a:lnTo>
                    <a:lnTo>
                      <a:pt x="417" y="31"/>
                    </a:lnTo>
                    <a:lnTo>
                      <a:pt x="417" y="31"/>
                    </a:lnTo>
                    <a:lnTo>
                      <a:pt x="415" y="30"/>
                    </a:lnTo>
                    <a:lnTo>
                      <a:pt x="415" y="30"/>
                    </a:lnTo>
                    <a:lnTo>
                      <a:pt x="414" y="31"/>
                    </a:lnTo>
                    <a:lnTo>
                      <a:pt x="414" y="31"/>
                    </a:lnTo>
                    <a:lnTo>
                      <a:pt x="412" y="33"/>
                    </a:lnTo>
                    <a:lnTo>
                      <a:pt x="411" y="33"/>
                    </a:lnTo>
                    <a:lnTo>
                      <a:pt x="410" y="33"/>
                    </a:lnTo>
                    <a:lnTo>
                      <a:pt x="408" y="33"/>
                    </a:lnTo>
                    <a:lnTo>
                      <a:pt x="407" y="33"/>
                    </a:lnTo>
                    <a:lnTo>
                      <a:pt x="405" y="31"/>
                    </a:lnTo>
                    <a:lnTo>
                      <a:pt x="405" y="31"/>
                    </a:lnTo>
                    <a:lnTo>
                      <a:pt x="402" y="30"/>
                    </a:lnTo>
                    <a:lnTo>
                      <a:pt x="398" y="29"/>
                    </a:lnTo>
                    <a:lnTo>
                      <a:pt x="397" y="29"/>
                    </a:lnTo>
                    <a:lnTo>
                      <a:pt x="397" y="30"/>
                    </a:lnTo>
                    <a:lnTo>
                      <a:pt x="397" y="31"/>
                    </a:lnTo>
                    <a:lnTo>
                      <a:pt x="394" y="33"/>
                    </a:lnTo>
                    <a:lnTo>
                      <a:pt x="394" y="30"/>
                    </a:lnTo>
                    <a:lnTo>
                      <a:pt x="394" y="29"/>
                    </a:lnTo>
                    <a:lnTo>
                      <a:pt x="392" y="27"/>
                    </a:lnTo>
                    <a:lnTo>
                      <a:pt x="391" y="26"/>
                    </a:lnTo>
                    <a:lnTo>
                      <a:pt x="391" y="26"/>
                    </a:lnTo>
                    <a:lnTo>
                      <a:pt x="391" y="24"/>
                    </a:lnTo>
                    <a:lnTo>
                      <a:pt x="389" y="24"/>
                    </a:lnTo>
                    <a:lnTo>
                      <a:pt x="388" y="24"/>
                    </a:lnTo>
                    <a:lnTo>
                      <a:pt x="388" y="27"/>
                    </a:lnTo>
                    <a:lnTo>
                      <a:pt x="385" y="27"/>
                    </a:lnTo>
                    <a:lnTo>
                      <a:pt x="384" y="27"/>
                    </a:lnTo>
                    <a:lnTo>
                      <a:pt x="382" y="27"/>
                    </a:lnTo>
                    <a:lnTo>
                      <a:pt x="381" y="27"/>
                    </a:lnTo>
                    <a:lnTo>
                      <a:pt x="378" y="29"/>
                    </a:lnTo>
                    <a:lnTo>
                      <a:pt x="377" y="29"/>
                    </a:lnTo>
                    <a:lnTo>
                      <a:pt x="374" y="29"/>
                    </a:lnTo>
                    <a:lnTo>
                      <a:pt x="371" y="27"/>
                    </a:lnTo>
                    <a:lnTo>
                      <a:pt x="369" y="26"/>
                    </a:lnTo>
                    <a:lnTo>
                      <a:pt x="371" y="24"/>
                    </a:lnTo>
                    <a:lnTo>
                      <a:pt x="371" y="24"/>
                    </a:lnTo>
                    <a:lnTo>
                      <a:pt x="372" y="23"/>
                    </a:lnTo>
                    <a:lnTo>
                      <a:pt x="372" y="21"/>
                    </a:lnTo>
                    <a:lnTo>
                      <a:pt x="372" y="18"/>
                    </a:lnTo>
                    <a:lnTo>
                      <a:pt x="372" y="17"/>
                    </a:lnTo>
                    <a:lnTo>
                      <a:pt x="371" y="14"/>
                    </a:lnTo>
                    <a:lnTo>
                      <a:pt x="369" y="13"/>
                    </a:lnTo>
                    <a:lnTo>
                      <a:pt x="368" y="8"/>
                    </a:lnTo>
                    <a:lnTo>
                      <a:pt x="368" y="7"/>
                    </a:lnTo>
                    <a:lnTo>
                      <a:pt x="368" y="6"/>
                    </a:lnTo>
                    <a:lnTo>
                      <a:pt x="367" y="6"/>
                    </a:lnTo>
                    <a:lnTo>
                      <a:pt x="367" y="4"/>
                    </a:lnTo>
                    <a:lnTo>
                      <a:pt x="365" y="3"/>
                    </a:lnTo>
                    <a:lnTo>
                      <a:pt x="365" y="1"/>
                    </a:lnTo>
                    <a:lnTo>
                      <a:pt x="362" y="3"/>
                    </a:lnTo>
                    <a:lnTo>
                      <a:pt x="359" y="3"/>
                    </a:lnTo>
                    <a:lnTo>
                      <a:pt x="358" y="3"/>
                    </a:lnTo>
                    <a:lnTo>
                      <a:pt x="356" y="4"/>
                    </a:lnTo>
                    <a:lnTo>
                      <a:pt x="355" y="6"/>
                    </a:lnTo>
                    <a:lnTo>
                      <a:pt x="354" y="6"/>
                    </a:lnTo>
                    <a:lnTo>
                      <a:pt x="354" y="4"/>
                    </a:lnTo>
                    <a:lnTo>
                      <a:pt x="352" y="4"/>
                    </a:lnTo>
                    <a:lnTo>
                      <a:pt x="351" y="4"/>
                    </a:lnTo>
                    <a:lnTo>
                      <a:pt x="348" y="3"/>
                    </a:lnTo>
                    <a:lnTo>
                      <a:pt x="348" y="3"/>
                    </a:lnTo>
                    <a:lnTo>
                      <a:pt x="346" y="1"/>
                    </a:lnTo>
                    <a:lnTo>
                      <a:pt x="345" y="1"/>
                    </a:lnTo>
                    <a:lnTo>
                      <a:pt x="345" y="1"/>
                    </a:lnTo>
                    <a:lnTo>
                      <a:pt x="342" y="1"/>
                    </a:lnTo>
                    <a:lnTo>
                      <a:pt x="333" y="0"/>
                    </a:lnTo>
                    <a:lnTo>
                      <a:pt x="331" y="1"/>
                    </a:lnTo>
                    <a:lnTo>
                      <a:pt x="328" y="3"/>
                    </a:lnTo>
                    <a:lnTo>
                      <a:pt x="326" y="4"/>
                    </a:lnTo>
                    <a:lnTo>
                      <a:pt x="323" y="4"/>
                    </a:lnTo>
                    <a:lnTo>
                      <a:pt x="322" y="4"/>
                    </a:lnTo>
                    <a:lnTo>
                      <a:pt x="321" y="6"/>
                    </a:lnTo>
                    <a:lnTo>
                      <a:pt x="321" y="6"/>
                    </a:lnTo>
                    <a:lnTo>
                      <a:pt x="321" y="7"/>
                    </a:lnTo>
                    <a:lnTo>
                      <a:pt x="321" y="8"/>
                    </a:lnTo>
                    <a:lnTo>
                      <a:pt x="321" y="8"/>
                    </a:lnTo>
                    <a:lnTo>
                      <a:pt x="319" y="8"/>
                    </a:lnTo>
                    <a:lnTo>
                      <a:pt x="319" y="10"/>
                    </a:lnTo>
                    <a:lnTo>
                      <a:pt x="318" y="10"/>
                    </a:lnTo>
                    <a:lnTo>
                      <a:pt x="318" y="10"/>
                    </a:lnTo>
                    <a:lnTo>
                      <a:pt x="315" y="10"/>
                    </a:lnTo>
                    <a:lnTo>
                      <a:pt x="313" y="10"/>
                    </a:lnTo>
                    <a:lnTo>
                      <a:pt x="313" y="10"/>
                    </a:lnTo>
                    <a:lnTo>
                      <a:pt x="313" y="10"/>
                    </a:lnTo>
                    <a:lnTo>
                      <a:pt x="312" y="11"/>
                    </a:lnTo>
                    <a:lnTo>
                      <a:pt x="312" y="11"/>
                    </a:lnTo>
                    <a:lnTo>
                      <a:pt x="310" y="11"/>
                    </a:lnTo>
                    <a:lnTo>
                      <a:pt x="310" y="11"/>
                    </a:lnTo>
                    <a:lnTo>
                      <a:pt x="309" y="11"/>
                    </a:lnTo>
                    <a:lnTo>
                      <a:pt x="309" y="11"/>
                    </a:lnTo>
                    <a:lnTo>
                      <a:pt x="305" y="13"/>
                    </a:lnTo>
                    <a:lnTo>
                      <a:pt x="303" y="13"/>
                    </a:lnTo>
                    <a:lnTo>
                      <a:pt x="300" y="14"/>
                    </a:lnTo>
                    <a:lnTo>
                      <a:pt x="300" y="14"/>
                    </a:lnTo>
                    <a:lnTo>
                      <a:pt x="300" y="14"/>
                    </a:lnTo>
                    <a:lnTo>
                      <a:pt x="295" y="14"/>
                    </a:lnTo>
                    <a:lnTo>
                      <a:pt x="286" y="17"/>
                    </a:lnTo>
                    <a:lnTo>
                      <a:pt x="283" y="17"/>
                    </a:lnTo>
                    <a:lnTo>
                      <a:pt x="279" y="16"/>
                    </a:lnTo>
                    <a:lnTo>
                      <a:pt x="279" y="16"/>
                    </a:lnTo>
                    <a:lnTo>
                      <a:pt x="276" y="17"/>
                    </a:lnTo>
                    <a:lnTo>
                      <a:pt x="272" y="17"/>
                    </a:lnTo>
                    <a:lnTo>
                      <a:pt x="272" y="18"/>
                    </a:lnTo>
                    <a:lnTo>
                      <a:pt x="270" y="18"/>
                    </a:lnTo>
                    <a:lnTo>
                      <a:pt x="269" y="18"/>
                    </a:lnTo>
                    <a:lnTo>
                      <a:pt x="269" y="20"/>
                    </a:lnTo>
                    <a:lnTo>
                      <a:pt x="269" y="20"/>
                    </a:lnTo>
                    <a:lnTo>
                      <a:pt x="267" y="20"/>
                    </a:lnTo>
                    <a:lnTo>
                      <a:pt x="266" y="23"/>
                    </a:lnTo>
                    <a:lnTo>
                      <a:pt x="266" y="23"/>
                    </a:lnTo>
                    <a:lnTo>
                      <a:pt x="265" y="24"/>
                    </a:lnTo>
                    <a:lnTo>
                      <a:pt x="263" y="23"/>
                    </a:lnTo>
                    <a:lnTo>
                      <a:pt x="262" y="23"/>
                    </a:lnTo>
                    <a:lnTo>
                      <a:pt x="262" y="23"/>
                    </a:lnTo>
                    <a:lnTo>
                      <a:pt x="260" y="23"/>
                    </a:lnTo>
                    <a:lnTo>
                      <a:pt x="259" y="24"/>
                    </a:lnTo>
                    <a:lnTo>
                      <a:pt x="259" y="24"/>
                    </a:lnTo>
                    <a:lnTo>
                      <a:pt x="257" y="24"/>
                    </a:lnTo>
                    <a:lnTo>
                      <a:pt x="257" y="24"/>
                    </a:lnTo>
                    <a:lnTo>
                      <a:pt x="256" y="24"/>
                    </a:lnTo>
                    <a:lnTo>
                      <a:pt x="254" y="24"/>
                    </a:lnTo>
                    <a:lnTo>
                      <a:pt x="254" y="23"/>
                    </a:lnTo>
                    <a:lnTo>
                      <a:pt x="253" y="23"/>
                    </a:lnTo>
                    <a:lnTo>
                      <a:pt x="253" y="23"/>
                    </a:lnTo>
                    <a:lnTo>
                      <a:pt x="252" y="23"/>
                    </a:lnTo>
                    <a:lnTo>
                      <a:pt x="250" y="24"/>
                    </a:lnTo>
                    <a:lnTo>
                      <a:pt x="250" y="24"/>
                    </a:lnTo>
                    <a:lnTo>
                      <a:pt x="249" y="24"/>
                    </a:lnTo>
                    <a:lnTo>
                      <a:pt x="247" y="26"/>
                    </a:lnTo>
                    <a:lnTo>
                      <a:pt x="244" y="26"/>
                    </a:lnTo>
                    <a:lnTo>
                      <a:pt x="243" y="26"/>
                    </a:lnTo>
                    <a:lnTo>
                      <a:pt x="243" y="27"/>
                    </a:lnTo>
                    <a:lnTo>
                      <a:pt x="242" y="26"/>
                    </a:lnTo>
                    <a:lnTo>
                      <a:pt x="240" y="26"/>
                    </a:lnTo>
                    <a:lnTo>
                      <a:pt x="240" y="27"/>
                    </a:lnTo>
                    <a:lnTo>
                      <a:pt x="239" y="27"/>
                    </a:lnTo>
                    <a:lnTo>
                      <a:pt x="236" y="27"/>
                    </a:lnTo>
                    <a:lnTo>
                      <a:pt x="233" y="29"/>
                    </a:lnTo>
                    <a:lnTo>
                      <a:pt x="233" y="29"/>
                    </a:lnTo>
                    <a:lnTo>
                      <a:pt x="232" y="29"/>
                    </a:lnTo>
                    <a:lnTo>
                      <a:pt x="232" y="29"/>
                    </a:lnTo>
                    <a:lnTo>
                      <a:pt x="230" y="29"/>
                    </a:lnTo>
                    <a:lnTo>
                      <a:pt x="230" y="30"/>
                    </a:lnTo>
                    <a:lnTo>
                      <a:pt x="226" y="30"/>
                    </a:lnTo>
                    <a:lnTo>
                      <a:pt x="221" y="30"/>
                    </a:lnTo>
                    <a:lnTo>
                      <a:pt x="220" y="31"/>
                    </a:lnTo>
                    <a:lnTo>
                      <a:pt x="219" y="31"/>
                    </a:lnTo>
                    <a:lnTo>
                      <a:pt x="216" y="31"/>
                    </a:lnTo>
                    <a:lnTo>
                      <a:pt x="214" y="31"/>
                    </a:lnTo>
                    <a:lnTo>
                      <a:pt x="213" y="31"/>
                    </a:lnTo>
                    <a:lnTo>
                      <a:pt x="211" y="31"/>
                    </a:lnTo>
                    <a:lnTo>
                      <a:pt x="211" y="31"/>
                    </a:lnTo>
                    <a:lnTo>
                      <a:pt x="211" y="33"/>
                    </a:lnTo>
                    <a:lnTo>
                      <a:pt x="210" y="33"/>
                    </a:lnTo>
                    <a:lnTo>
                      <a:pt x="210" y="33"/>
                    </a:lnTo>
                    <a:lnTo>
                      <a:pt x="207" y="33"/>
                    </a:lnTo>
                    <a:lnTo>
                      <a:pt x="201" y="31"/>
                    </a:lnTo>
                    <a:lnTo>
                      <a:pt x="198" y="31"/>
                    </a:lnTo>
                    <a:lnTo>
                      <a:pt x="198" y="31"/>
                    </a:lnTo>
                    <a:lnTo>
                      <a:pt x="197" y="31"/>
                    </a:lnTo>
                    <a:lnTo>
                      <a:pt x="197" y="31"/>
                    </a:lnTo>
                    <a:lnTo>
                      <a:pt x="196" y="33"/>
                    </a:lnTo>
                    <a:lnTo>
                      <a:pt x="196" y="33"/>
                    </a:lnTo>
                    <a:lnTo>
                      <a:pt x="196" y="34"/>
                    </a:lnTo>
                    <a:lnTo>
                      <a:pt x="196" y="34"/>
                    </a:lnTo>
                    <a:lnTo>
                      <a:pt x="196" y="37"/>
                    </a:lnTo>
                    <a:lnTo>
                      <a:pt x="194" y="39"/>
                    </a:lnTo>
                    <a:lnTo>
                      <a:pt x="194" y="39"/>
                    </a:lnTo>
                    <a:lnTo>
                      <a:pt x="194" y="40"/>
                    </a:lnTo>
                    <a:lnTo>
                      <a:pt x="193" y="40"/>
                    </a:lnTo>
                    <a:lnTo>
                      <a:pt x="193" y="41"/>
                    </a:lnTo>
                    <a:lnTo>
                      <a:pt x="194" y="41"/>
                    </a:lnTo>
                    <a:lnTo>
                      <a:pt x="196" y="41"/>
                    </a:lnTo>
                    <a:lnTo>
                      <a:pt x="196" y="43"/>
                    </a:lnTo>
                    <a:lnTo>
                      <a:pt x="197" y="43"/>
                    </a:lnTo>
                    <a:lnTo>
                      <a:pt x="197" y="43"/>
                    </a:lnTo>
                    <a:lnTo>
                      <a:pt x="198" y="43"/>
                    </a:lnTo>
                    <a:lnTo>
                      <a:pt x="198" y="43"/>
                    </a:lnTo>
                    <a:lnTo>
                      <a:pt x="200" y="41"/>
                    </a:lnTo>
                    <a:lnTo>
                      <a:pt x="201" y="41"/>
                    </a:lnTo>
                    <a:lnTo>
                      <a:pt x="201" y="41"/>
                    </a:lnTo>
                    <a:lnTo>
                      <a:pt x="201" y="43"/>
                    </a:lnTo>
                    <a:lnTo>
                      <a:pt x="203" y="43"/>
                    </a:lnTo>
                    <a:lnTo>
                      <a:pt x="203" y="43"/>
                    </a:lnTo>
                    <a:lnTo>
                      <a:pt x="203" y="44"/>
                    </a:lnTo>
                    <a:lnTo>
                      <a:pt x="203" y="44"/>
                    </a:lnTo>
                    <a:lnTo>
                      <a:pt x="201" y="44"/>
                    </a:lnTo>
                    <a:lnTo>
                      <a:pt x="201" y="44"/>
                    </a:lnTo>
                    <a:lnTo>
                      <a:pt x="200" y="44"/>
                    </a:lnTo>
                    <a:lnTo>
                      <a:pt x="198" y="44"/>
                    </a:lnTo>
                    <a:lnTo>
                      <a:pt x="198" y="44"/>
                    </a:lnTo>
                    <a:lnTo>
                      <a:pt x="197" y="46"/>
                    </a:lnTo>
                    <a:lnTo>
                      <a:pt x="197" y="46"/>
                    </a:lnTo>
                    <a:lnTo>
                      <a:pt x="197" y="46"/>
                    </a:lnTo>
                    <a:lnTo>
                      <a:pt x="196" y="47"/>
                    </a:lnTo>
                    <a:lnTo>
                      <a:pt x="196" y="49"/>
                    </a:lnTo>
                    <a:lnTo>
                      <a:pt x="197" y="49"/>
                    </a:lnTo>
                    <a:lnTo>
                      <a:pt x="197" y="49"/>
                    </a:lnTo>
                    <a:lnTo>
                      <a:pt x="201" y="50"/>
                    </a:lnTo>
                    <a:lnTo>
                      <a:pt x="203" y="50"/>
                    </a:lnTo>
                    <a:lnTo>
                      <a:pt x="204" y="50"/>
                    </a:lnTo>
                    <a:lnTo>
                      <a:pt x="206" y="52"/>
                    </a:lnTo>
                    <a:lnTo>
                      <a:pt x="207" y="52"/>
                    </a:lnTo>
                    <a:lnTo>
                      <a:pt x="211" y="53"/>
                    </a:lnTo>
                    <a:lnTo>
                      <a:pt x="213" y="54"/>
                    </a:lnTo>
                    <a:lnTo>
                      <a:pt x="213" y="56"/>
                    </a:lnTo>
                    <a:lnTo>
                      <a:pt x="211" y="56"/>
                    </a:lnTo>
                    <a:lnTo>
                      <a:pt x="211" y="56"/>
                    </a:lnTo>
                    <a:lnTo>
                      <a:pt x="211" y="57"/>
                    </a:lnTo>
                    <a:lnTo>
                      <a:pt x="210" y="57"/>
                    </a:lnTo>
                    <a:lnTo>
                      <a:pt x="209" y="57"/>
                    </a:lnTo>
                    <a:lnTo>
                      <a:pt x="206" y="57"/>
                    </a:lnTo>
                    <a:lnTo>
                      <a:pt x="201" y="56"/>
                    </a:lnTo>
                    <a:lnTo>
                      <a:pt x="200" y="56"/>
                    </a:lnTo>
                    <a:lnTo>
                      <a:pt x="196" y="56"/>
                    </a:lnTo>
                    <a:lnTo>
                      <a:pt x="194" y="57"/>
                    </a:lnTo>
                    <a:lnTo>
                      <a:pt x="193" y="59"/>
                    </a:lnTo>
                    <a:lnTo>
                      <a:pt x="191" y="60"/>
                    </a:lnTo>
                    <a:lnTo>
                      <a:pt x="190" y="62"/>
                    </a:lnTo>
                    <a:lnTo>
                      <a:pt x="190" y="63"/>
                    </a:lnTo>
                    <a:lnTo>
                      <a:pt x="190" y="63"/>
                    </a:lnTo>
                    <a:lnTo>
                      <a:pt x="190" y="64"/>
                    </a:lnTo>
                    <a:lnTo>
                      <a:pt x="190" y="66"/>
                    </a:lnTo>
                    <a:lnTo>
                      <a:pt x="191" y="69"/>
                    </a:lnTo>
                    <a:lnTo>
                      <a:pt x="193" y="70"/>
                    </a:lnTo>
                    <a:lnTo>
                      <a:pt x="193" y="72"/>
                    </a:lnTo>
                    <a:lnTo>
                      <a:pt x="193" y="73"/>
                    </a:lnTo>
                    <a:lnTo>
                      <a:pt x="191" y="75"/>
                    </a:lnTo>
                    <a:lnTo>
                      <a:pt x="188" y="76"/>
                    </a:lnTo>
                    <a:lnTo>
                      <a:pt x="188" y="76"/>
                    </a:lnTo>
                    <a:lnTo>
                      <a:pt x="187" y="77"/>
                    </a:lnTo>
                    <a:lnTo>
                      <a:pt x="187" y="77"/>
                    </a:lnTo>
                    <a:lnTo>
                      <a:pt x="186" y="77"/>
                    </a:lnTo>
                    <a:lnTo>
                      <a:pt x="184" y="77"/>
                    </a:lnTo>
                    <a:lnTo>
                      <a:pt x="184" y="77"/>
                    </a:lnTo>
                    <a:lnTo>
                      <a:pt x="183" y="77"/>
                    </a:lnTo>
                    <a:lnTo>
                      <a:pt x="183" y="77"/>
                    </a:lnTo>
                    <a:lnTo>
                      <a:pt x="183" y="79"/>
                    </a:lnTo>
                    <a:lnTo>
                      <a:pt x="181" y="79"/>
                    </a:lnTo>
                    <a:lnTo>
                      <a:pt x="180" y="80"/>
                    </a:lnTo>
                    <a:lnTo>
                      <a:pt x="180" y="80"/>
                    </a:lnTo>
                    <a:lnTo>
                      <a:pt x="178" y="80"/>
                    </a:lnTo>
                    <a:lnTo>
                      <a:pt x="177" y="82"/>
                    </a:lnTo>
                    <a:lnTo>
                      <a:pt x="177" y="82"/>
                    </a:lnTo>
                    <a:lnTo>
                      <a:pt x="176" y="83"/>
                    </a:lnTo>
                    <a:lnTo>
                      <a:pt x="177" y="83"/>
                    </a:lnTo>
                    <a:lnTo>
                      <a:pt x="177" y="83"/>
                    </a:lnTo>
                    <a:lnTo>
                      <a:pt x="180" y="85"/>
                    </a:lnTo>
                    <a:lnTo>
                      <a:pt x="181" y="86"/>
                    </a:lnTo>
                    <a:lnTo>
                      <a:pt x="183" y="86"/>
                    </a:lnTo>
                    <a:lnTo>
                      <a:pt x="183" y="87"/>
                    </a:lnTo>
                    <a:lnTo>
                      <a:pt x="183" y="89"/>
                    </a:lnTo>
                    <a:lnTo>
                      <a:pt x="184" y="89"/>
                    </a:lnTo>
                    <a:lnTo>
                      <a:pt x="186" y="90"/>
                    </a:lnTo>
                    <a:lnTo>
                      <a:pt x="190" y="92"/>
                    </a:lnTo>
                    <a:lnTo>
                      <a:pt x="191" y="92"/>
                    </a:lnTo>
                    <a:lnTo>
                      <a:pt x="193" y="93"/>
                    </a:lnTo>
                    <a:lnTo>
                      <a:pt x="200" y="95"/>
                    </a:lnTo>
                    <a:lnTo>
                      <a:pt x="201" y="98"/>
                    </a:lnTo>
                    <a:lnTo>
                      <a:pt x="203" y="98"/>
                    </a:lnTo>
                    <a:lnTo>
                      <a:pt x="203" y="99"/>
                    </a:lnTo>
                    <a:lnTo>
                      <a:pt x="203" y="99"/>
                    </a:lnTo>
                    <a:lnTo>
                      <a:pt x="203" y="100"/>
                    </a:lnTo>
                    <a:lnTo>
                      <a:pt x="201" y="105"/>
                    </a:lnTo>
                    <a:lnTo>
                      <a:pt x="201" y="108"/>
                    </a:lnTo>
                    <a:lnTo>
                      <a:pt x="200" y="110"/>
                    </a:lnTo>
                    <a:lnTo>
                      <a:pt x="196" y="113"/>
                    </a:lnTo>
                    <a:lnTo>
                      <a:pt x="193" y="115"/>
                    </a:lnTo>
                    <a:lnTo>
                      <a:pt x="191" y="115"/>
                    </a:lnTo>
                    <a:lnTo>
                      <a:pt x="190" y="115"/>
                    </a:lnTo>
                    <a:lnTo>
                      <a:pt x="187" y="116"/>
                    </a:lnTo>
                    <a:lnTo>
                      <a:pt x="184" y="116"/>
                    </a:lnTo>
                    <a:lnTo>
                      <a:pt x="183" y="115"/>
                    </a:lnTo>
                    <a:lnTo>
                      <a:pt x="181" y="115"/>
                    </a:lnTo>
                    <a:lnTo>
                      <a:pt x="180" y="113"/>
                    </a:lnTo>
                    <a:lnTo>
                      <a:pt x="178" y="112"/>
                    </a:lnTo>
                    <a:lnTo>
                      <a:pt x="178" y="112"/>
                    </a:lnTo>
                    <a:lnTo>
                      <a:pt x="177" y="110"/>
                    </a:lnTo>
                    <a:lnTo>
                      <a:pt x="177" y="110"/>
                    </a:lnTo>
                    <a:lnTo>
                      <a:pt x="177" y="110"/>
                    </a:lnTo>
                    <a:lnTo>
                      <a:pt x="176" y="110"/>
                    </a:lnTo>
                    <a:lnTo>
                      <a:pt x="176" y="112"/>
                    </a:lnTo>
                    <a:lnTo>
                      <a:pt x="174" y="112"/>
                    </a:lnTo>
                    <a:lnTo>
                      <a:pt x="174" y="113"/>
                    </a:lnTo>
                    <a:lnTo>
                      <a:pt x="174" y="113"/>
                    </a:lnTo>
                    <a:lnTo>
                      <a:pt x="174" y="115"/>
                    </a:lnTo>
                    <a:lnTo>
                      <a:pt x="173" y="116"/>
                    </a:lnTo>
                    <a:lnTo>
                      <a:pt x="173" y="118"/>
                    </a:lnTo>
                    <a:lnTo>
                      <a:pt x="171" y="119"/>
                    </a:lnTo>
                    <a:lnTo>
                      <a:pt x="170" y="119"/>
                    </a:lnTo>
                    <a:lnTo>
                      <a:pt x="167" y="121"/>
                    </a:lnTo>
                    <a:lnTo>
                      <a:pt x="167" y="119"/>
                    </a:lnTo>
                    <a:lnTo>
                      <a:pt x="167" y="119"/>
                    </a:lnTo>
                    <a:lnTo>
                      <a:pt x="167" y="119"/>
                    </a:lnTo>
                    <a:lnTo>
                      <a:pt x="167" y="118"/>
                    </a:lnTo>
                    <a:lnTo>
                      <a:pt x="165" y="116"/>
                    </a:lnTo>
                    <a:lnTo>
                      <a:pt x="163" y="116"/>
                    </a:lnTo>
                    <a:lnTo>
                      <a:pt x="158" y="115"/>
                    </a:lnTo>
                    <a:lnTo>
                      <a:pt x="154" y="113"/>
                    </a:lnTo>
                    <a:lnTo>
                      <a:pt x="148" y="106"/>
                    </a:lnTo>
                    <a:lnTo>
                      <a:pt x="144" y="105"/>
                    </a:lnTo>
                    <a:lnTo>
                      <a:pt x="144" y="105"/>
                    </a:lnTo>
                    <a:lnTo>
                      <a:pt x="141" y="105"/>
                    </a:lnTo>
                    <a:lnTo>
                      <a:pt x="141" y="105"/>
                    </a:lnTo>
                    <a:lnTo>
                      <a:pt x="140" y="105"/>
                    </a:lnTo>
                    <a:lnTo>
                      <a:pt x="138" y="105"/>
                    </a:lnTo>
                    <a:lnTo>
                      <a:pt x="138" y="105"/>
                    </a:lnTo>
                    <a:lnTo>
                      <a:pt x="137" y="105"/>
                    </a:lnTo>
                    <a:lnTo>
                      <a:pt x="137" y="105"/>
                    </a:lnTo>
                    <a:lnTo>
                      <a:pt x="135" y="106"/>
                    </a:lnTo>
                    <a:lnTo>
                      <a:pt x="135" y="108"/>
                    </a:lnTo>
                    <a:lnTo>
                      <a:pt x="134" y="109"/>
                    </a:lnTo>
                    <a:lnTo>
                      <a:pt x="132" y="109"/>
                    </a:lnTo>
                    <a:lnTo>
                      <a:pt x="131" y="109"/>
                    </a:lnTo>
                    <a:lnTo>
                      <a:pt x="131" y="109"/>
                    </a:lnTo>
                    <a:lnTo>
                      <a:pt x="130" y="109"/>
                    </a:lnTo>
                    <a:lnTo>
                      <a:pt x="130" y="109"/>
                    </a:lnTo>
                    <a:lnTo>
                      <a:pt x="128" y="108"/>
                    </a:lnTo>
                    <a:lnTo>
                      <a:pt x="127" y="106"/>
                    </a:lnTo>
                    <a:lnTo>
                      <a:pt x="125" y="105"/>
                    </a:lnTo>
                    <a:lnTo>
                      <a:pt x="122" y="105"/>
                    </a:lnTo>
                    <a:lnTo>
                      <a:pt x="119" y="106"/>
                    </a:lnTo>
                    <a:lnTo>
                      <a:pt x="117" y="108"/>
                    </a:lnTo>
                    <a:lnTo>
                      <a:pt x="115" y="106"/>
                    </a:lnTo>
                    <a:lnTo>
                      <a:pt x="114" y="106"/>
                    </a:lnTo>
                    <a:lnTo>
                      <a:pt x="112" y="106"/>
                    </a:lnTo>
                    <a:lnTo>
                      <a:pt x="112" y="108"/>
                    </a:lnTo>
                    <a:lnTo>
                      <a:pt x="108" y="110"/>
                    </a:lnTo>
                    <a:lnTo>
                      <a:pt x="108" y="110"/>
                    </a:lnTo>
                    <a:lnTo>
                      <a:pt x="108" y="112"/>
                    </a:lnTo>
                    <a:lnTo>
                      <a:pt x="107" y="112"/>
                    </a:lnTo>
                    <a:lnTo>
                      <a:pt x="107" y="113"/>
                    </a:lnTo>
                    <a:lnTo>
                      <a:pt x="107" y="113"/>
                    </a:lnTo>
                    <a:lnTo>
                      <a:pt x="107" y="115"/>
                    </a:lnTo>
                    <a:lnTo>
                      <a:pt x="105" y="115"/>
                    </a:lnTo>
                    <a:lnTo>
                      <a:pt x="105" y="115"/>
                    </a:lnTo>
                    <a:lnTo>
                      <a:pt x="104" y="116"/>
                    </a:lnTo>
                    <a:lnTo>
                      <a:pt x="102" y="118"/>
                    </a:lnTo>
                    <a:lnTo>
                      <a:pt x="104" y="125"/>
                    </a:lnTo>
                    <a:lnTo>
                      <a:pt x="104" y="149"/>
                    </a:lnTo>
                    <a:lnTo>
                      <a:pt x="86" y="164"/>
                    </a:lnTo>
                    <a:lnTo>
                      <a:pt x="81" y="182"/>
                    </a:lnTo>
                    <a:lnTo>
                      <a:pt x="82" y="198"/>
                    </a:lnTo>
                    <a:lnTo>
                      <a:pt x="71" y="211"/>
                    </a:lnTo>
                    <a:lnTo>
                      <a:pt x="55" y="214"/>
                    </a:lnTo>
                    <a:lnTo>
                      <a:pt x="55" y="215"/>
                    </a:lnTo>
                    <a:lnTo>
                      <a:pt x="53" y="217"/>
                    </a:lnTo>
                    <a:lnTo>
                      <a:pt x="53" y="218"/>
                    </a:lnTo>
                    <a:lnTo>
                      <a:pt x="53" y="220"/>
                    </a:lnTo>
                    <a:lnTo>
                      <a:pt x="55" y="223"/>
                    </a:lnTo>
                    <a:lnTo>
                      <a:pt x="55" y="224"/>
                    </a:lnTo>
                    <a:lnTo>
                      <a:pt x="55" y="227"/>
                    </a:lnTo>
                    <a:lnTo>
                      <a:pt x="53" y="231"/>
                    </a:lnTo>
                    <a:lnTo>
                      <a:pt x="51" y="237"/>
                    </a:lnTo>
                    <a:lnTo>
                      <a:pt x="49" y="240"/>
                    </a:lnTo>
                    <a:lnTo>
                      <a:pt x="51" y="243"/>
                    </a:lnTo>
                    <a:lnTo>
                      <a:pt x="53" y="244"/>
                    </a:lnTo>
                    <a:lnTo>
                      <a:pt x="56" y="246"/>
                    </a:lnTo>
                    <a:lnTo>
                      <a:pt x="52" y="247"/>
                    </a:lnTo>
                    <a:lnTo>
                      <a:pt x="48" y="246"/>
                    </a:lnTo>
                    <a:lnTo>
                      <a:pt x="43" y="246"/>
                    </a:lnTo>
                    <a:lnTo>
                      <a:pt x="39" y="244"/>
                    </a:lnTo>
                    <a:lnTo>
                      <a:pt x="30" y="244"/>
                    </a:lnTo>
                    <a:lnTo>
                      <a:pt x="28" y="246"/>
                    </a:lnTo>
                    <a:lnTo>
                      <a:pt x="23" y="247"/>
                    </a:lnTo>
                    <a:lnTo>
                      <a:pt x="23" y="247"/>
                    </a:lnTo>
                    <a:lnTo>
                      <a:pt x="20" y="253"/>
                    </a:lnTo>
                    <a:lnTo>
                      <a:pt x="19" y="254"/>
                    </a:lnTo>
                    <a:lnTo>
                      <a:pt x="18" y="254"/>
                    </a:lnTo>
                    <a:lnTo>
                      <a:pt x="18" y="256"/>
                    </a:lnTo>
                    <a:lnTo>
                      <a:pt x="18" y="257"/>
                    </a:lnTo>
                    <a:lnTo>
                      <a:pt x="19" y="260"/>
                    </a:lnTo>
                    <a:lnTo>
                      <a:pt x="22" y="261"/>
                    </a:lnTo>
                    <a:lnTo>
                      <a:pt x="25" y="263"/>
                    </a:lnTo>
                    <a:lnTo>
                      <a:pt x="26" y="264"/>
                    </a:lnTo>
                    <a:lnTo>
                      <a:pt x="25" y="264"/>
                    </a:lnTo>
                    <a:lnTo>
                      <a:pt x="22" y="266"/>
                    </a:lnTo>
                    <a:lnTo>
                      <a:pt x="20" y="266"/>
                    </a:lnTo>
                    <a:lnTo>
                      <a:pt x="19" y="264"/>
                    </a:lnTo>
                    <a:lnTo>
                      <a:pt x="16" y="263"/>
                    </a:lnTo>
                    <a:lnTo>
                      <a:pt x="15" y="263"/>
                    </a:lnTo>
                    <a:lnTo>
                      <a:pt x="12" y="261"/>
                    </a:lnTo>
                    <a:lnTo>
                      <a:pt x="7" y="263"/>
                    </a:lnTo>
                    <a:lnTo>
                      <a:pt x="5" y="264"/>
                    </a:lnTo>
                    <a:lnTo>
                      <a:pt x="5" y="267"/>
                    </a:lnTo>
                    <a:lnTo>
                      <a:pt x="6" y="269"/>
                    </a:lnTo>
                    <a:lnTo>
                      <a:pt x="7" y="270"/>
                    </a:lnTo>
                    <a:lnTo>
                      <a:pt x="10" y="270"/>
                    </a:lnTo>
                    <a:lnTo>
                      <a:pt x="13" y="271"/>
                    </a:lnTo>
                    <a:lnTo>
                      <a:pt x="15" y="274"/>
                    </a:lnTo>
                    <a:lnTo>
                      <a:pt x="18" y="280"/>
                    </a:lnTo>
                    <a:lnTo>
                      <a:pt x="19" y="283"/>
                    </a:lnTo>
                    <a:lnTo>
                      <a:pt x="22" y="287"/>
                    </a:lnTo>
                    <a:lnTo>
                      <a:pt x="22" y="289"/>
                    </a:lnTo>
                    <a:lnTo>
                      <a:pt x="23" y="292"/>
                    </a:lnTo>
                    <a:lnTo>
                      <a:pt x="23" y="293"/>
                    </a:lnTo>
                    <a:lnTo>
                      <a:pt x="23" y="294"/>
                    </a:lnTo>
                    <a:lnTo>
                      <a:pt x="23" y="294"/>
                    </a:lnTo>
                    <a:lnTo>
                      <a:pt x="23" y="296"/>
                    </a:lnTo>
                    <a:lnTo>
                      <a:pt x="25" y="296"/>
                    </a:lnTo>
                    <a:lnTo>
                      <a:pt x="26" y="296"/>
                    </a:lnTo>
                    <a:lnTo>
                      <a:pt x="28" y="296"/>
                    </a:lnTo>
                    <a:lnTo>
                      <a:pt x="29" y="297"/>
                    </a:lnTo>
                    <a:lnTo>
                      <a:pt x="30" y="297"/>
                    </a:lnTo>
                    <a:lnTo>
                      <a:pt x="32" y="300"/>
                    </a:lnTo>
                    <a:lnTo>
                      <a:pt x="32" y="302"/>
                    </a:lnTo>
                    <a:lnTo>
                      <a:pt x="33" y="302"/>
                    </a:lnTo>
                    <a:lnTo>
                      <a:pt x="33" y="302"/>
                    </a:lnTo>
                    <a:lnTo>
                      <a:pt x="35" y="302"/>
                    </a:lnTo>
                    <a:lnTo>
                      <a:pt x="36" y="302"/>
                    </a:lnTo>
                    <a:lnTo>
                      <a:pt x="41" y="303"/>
                    </a:lnTo>
                    <a:lnTo>
                      <a:pt x="42" y="303"/>
                    </a:lnTo>
                    <a:lnTo>
                      <a:pt x="43" y="303"/>
                    </a:lnTo>
                    <a:lnTo>
                      <a:pt x="43" y="303"/>
                    </a:lnTo>
                    <a:lnTo>
                      <a:pt x="45" y="303"/>
                    </a:lnTo>
                    <a:lnTo>
                      <a:pt x="46" y="306"/>
                    </a:lnTo>
                    <a:lnTo>
                      <a:pt x="46" y="309"/>
                    </a:lnTo>
                    <a:lnTo>
                      <a:pt x="45" y="312"/>
                    </a:lnTo>
                    <a:lnTo>
                      <a:pt x="43" y="317"/>
                    </a:lnTo>
                    <a:lnTo>
                      <a:pt x="43" y="320"/>
                    </a:lnTo>
                    <a:lnTo>
                      <a:pt x="43" y="323"/>
                    </a:lnTo>
                    <a:lnTo>
                      <a:pt x="43" y="326"/>
                    </a:lnTo>
                    <a:lnTo>
                      <a:pt x="48" y="323"/>
                    </a:lnTo>
                    <a:lnTo>
                      <a:pt x="52" y="320"/>
                    </a:lnTo>
                    <a:lnTo>
                      <a:pt x="56" y="317"/>
                    </a:lnTo>
                    <a:lnTo>
                      <a:pt x="61" y="316"/>
                    </a:lnTo>
                    <a:lnTo>
                      <a:pt x="66" y="315"/>
                    </a:lnTo>
                    <a:lnTo>
                      <a:pt x="71" y="315"/>
                    </a:lnTo>
                    <a:lnTo>
                      <a:pt x="74" y="315"/>
                    </a:lnTo>
                    <a:lnTo>
                      <a:pt x="79" y="317"/>
                    </a:lnTo>
                    <a:lnTo>
                      <a:pt x="82" y="320"/>
                    </a:lnTo>
                    <a:lnTo>
                      <a:pt x="85" y="323"/>
                    </a:lnTo>
                    <a:lnTo>
                      <a:pt x="94" y="335"/>
                    </a:lnTo>
                    <a:lnTo>
                      <a:pt x="95" y="336"/>
                    </a:lnTo>
                    <a:lnTo>
                      <a:pt x="97" y="338"/>
                    </a:lnTo>
                    <a:lnTo>
                      <a:pt x="98" y="338"/>
                    </a:lnTo>
                    <a:lnTo>
                      <a:pt x="102" y="336"/>
                    </a:lnTo>
                    <a:lnTo>
                      <a:pt x="105" y="336"/>
                    </a:lnTo>
                    <a:lnTo>
                      <a:pt x="105" y="254"/>
                    </a:lnTo>
                    <a:lnTo>
                      <a:pt x="148" y="241"/>
                    </a:lnTo>
                    <a:lnTo>
                      <a:pt x="150" y="241"/>
                    </a:lnTo>
                    <a:lnTo>
                      <a:pt x="193" y="267"/>
                    </a:lnTo>
                    <a:lnTo>
                      <a:pt x="194" y="269"/>
                    </a:lnTo>
                    <a:lnTo>
                      <a:pt x="196" y="271"/>
                    </a:lnTo>
                    <a:lnTo>
                      <a:pt x="197" y="273"/>
                    </a:lnTo>
                    <a:lnTo>
                      <a:pt x="197" y="274"/>
                    </a:lnTo>
                    <a:lnTo>
                      <a:pt x="209" y="287"/>
                    </a:lnTo>
                    <a:lnTo>
                      <a:pt x="211" y="289"/>
                    </a:lnTo>
                    <a:lnTo>
                      <a:pt x="214" y="289"/>
                    </a:lnTo>
                    <a:lnTo>
                      <a:pt x="226" y="286"/>
                    </a:lnTo>
                    <a:lnTo>
                      <a:pt x="229" y="286"/>
                    </a:lnTo>
                    <a:lnTo>
                      <a:pt x="236" y="286"/>
                    </a:lnTo>
                    <a:lnTo>
                      <a:pt x="250" y="287"/>
                    </a:lnTo>
                    <a:lnTo>
                      <a:pt x="254" y="287"/>
                    </a:lnTo>
                    <a:lnTo>
                      <a:pt x="257" y="286"/>
                    </a:lnTo>
                    <a:lnTo>
                      <a:pt x="260" y="284"/>
                    </a:lnTo>
                    <a:lnTo>
                      <a:pt x="262" y="284"/>
                    </a:lnTo>
                    <a:lnTo>
                      <a:pt x="265" y="286"/>
                    </a:lnTo>
                    <a:lnTo>
                      <a:pt x="272" y="293"/>
                    </a:lnTo>
                    <a:lnTo>
                      <a:pt x="273" y="294"/>
                    </a:lnTo>
                    <a:lnTo>
                      <a:pt x="276" y="300"/>
                    </a:lnTo>
                    <a:lnTo>
                      <a:pt x="277" y="302"/>
                    </a:lnTo>
                    <a:lnTo>
                      <a:pt x="279" y="302"/>
                    </a:lnTo>
                    <a:lnTo>
                      <a:pt x="280" y="300"/>
                    </a:lnTo>
                    <a:lnTo>
                      <a:pt x="283" y="299"/>
                    </a:lnTo>
                    <a:lnTo>
                      <a:pt x="282" y="313"/>
                    </a:lnTo>
                    <a:lnTo>
                      <a:pt x="282" y="317"/>
                    </a:lnTo>
                    <a:lnTo>
                      <a:pt x="282" y="320"/>
                    </a:lnTo>
                    <a:lnTo>
                      <a:pt x="283" y="320"/>
                    </a:lnTo>
                    <a:lnTo>
                      <a:pt x="289" y="322"/>
                    </a:lnTo>
                    <a:lnTo>
                      <a:pt x="289" y="322"/>
                    </a:lnTo>
                    <a:lnTo>
                      <a:pt x="290" y="323"/>
                    </a:lnTo>
                    <a:lnTo>
                      <a:pt x="290" y="325"/>
                    </a:lnTo>
                    <a:lnTo>
                      <a:pt x="292" y="332"/>
                    </a:lnTo>
                    <a:lnTo>
                      <a:pt x="292" y="336"/>
                    </a:lnTo>
                    <a:lnTo>
                      <a:pt x="293" y="339"/>
                    </a:lnTo>
                    <a:lnTo>
                      <a:pt x="298" y="340"/>
                    </a:lnTo>
                    <a:lnTo>
                      <a:pt x="309" y="339"/>
                    </a:lnTo>
                    <a:lnTo>
                      <a:pt x="313" y="339"/>
                    </a:lnTo>
                    <a:lnTo>
                      <a:pt x="316" y="340"/>
                    </a:lnTo>
                    <a:lnTo>
                      <a:pt x="316" y="340"/>
                    </a:lnTo>
                    <a:lnTo>
                      <a:pt x="318" y="342"/>
                    </a:lnTo>
                    <a:lnTo>
                      <a:pt x="318" y="343"/>
                    </a:lnTo>
                    <a:lnTo>
                      <a:pt x="316" y="346"/>
                    </a:lnTo>
                    <a:lnTo>
                      <a:pt x="318" y="348"/>
                    </a:lnTo>
                    <a:lnTo>
                      <a:pt x="318" y="349"/>
                    </a:lnTo>
                    <a:lnTo>
                      <a:pt x="319" y="349"/>
                    </a:lnTo>
                    <a:lnTo>
                      <a:pt x="322" y="350"/>
                    </a:lnTo>
                    <a:lnTo>
                      <a:pt x="323" y="350"/>
                    </a:lnTo>
                    <a:lnTo>
                      <a:pt x="325" y="352"/>
                    </a:lnTo>
                    <a:lnTo>
                      <a:pt x="325" y="352"/>
                    </a:lnTo>
                    <a:lnTo>
                      <a:pt x="326" y="350"/>
                    </a:lnTo>
                    <a:lnTo>
                      <a:pt x="326" y="349"/>
                    </a:lnTo>
                    <a:lnTo>
                      <a:pt x="326" y="348"/>
                    </a:lnTo>
                    <a:lnTo>
                      <a:pt x="326" y="348"/>
                    </a:lnTo>
                    <a:lnTo>
                      <a:pt x="328" y="346"/>
                    </a:lnTo>
                    <a:lnTo>
                      <a:pt x="328" y="343"/>
                    </a:lnTo>
                    <a:lnTo>
                      <a:pt x="329" y="342"/>
                    </a:lnTo>
                    <a:lnTo>
                      <a:pt x="332" y="339"/>
                    </a:lnTo>
                    <a:lnTo>
                      <a:pt x="333" y="338"/>
                    </a:lnTo>
                    <a:lnTo>
                      <a:pt x="335" y="338"/>
                    </a:lnTo>
                    <a:lnTo>
                      <a:pt x="335" y="335"/>
                    </a:lnTo>
                    <a:lnTo>
                      <a:pt x="336" y="335"/>
                    </a:lnTo>
                    <a:lnTo>
                      <a:pt x="336" y="333"/>
                    </a:lnTo>
                    <a:lnTo>
                      <a:pt x="338" y="333"/>
                    </a:lnTo>
                    <a:lnTo>
                      <a:pt x="339" y="333"/>
                    </a:lnTo>
                    <a:lnTo>
                      <a:pt x="344" y="329"/>
                    </a:lnTo>
                    <a:lnTo>
                      <a:pt x="345" y="329"/>
                    </a:lnTo>
                    <a:lnTo>
                      <a:pt x="351" y="326"/>
                    </a:lnTo>
                    <a:lnTo>
                      <a:pt x="354" y="325"/>
                    </a:lnTo>
                    <a:lnTo>
                      <a:pt x="355" y="323"/>
                    </a:lnTo>
                    <a:lnTo>
                      <a:pt x="355" y="322"/>
                    </a:lnTo>
                    <a:lnTo>
                      <a:pt x="356" y="320"/>
                    </a:lnTo>
                    <a:lnTo>
                      <a:pt x="359" y="319"/>
                    </a:lnTo>
                    <a:lnTo>
                      <a:pt x="359" y="319"/>
                    </a:lnTo>
                    <a:lnTo>
                      <a:pt x="361" y="320"/>
                    </a:lnTo>
                    <a:lnTo>
                      <a:pt x="362" y="319"/>
                    </a:lnTo>
                    <a:lnTo>
                      <a:pt x="364" y="319"/>
                    </a:lnTo>
                    <a:lnTo>
                      <a:pt x="368" y="316"/>
                    </a:lnTo>
                    <a:lnTo>
                      <a:pt x="368" y="313"/>
                    </a:lnTo>
                    <a:lnTo>
                      <a:pt x="369" y="310"/>
                    </a:lnTo>
                    <a:lnTo>
                      <a:pt x="371" y="307"/>
                    </a:lnTo>
                    <a:lnTo>
                      <a:pt x="374" y="304"/>
                    </a:lnTo>
                    <a:lnTo>
                      <a:pt x="377" y="304"/>
                    </a:lnTo>
                    <a:lnTo>
                      <a:pt x="379" y="303"/>
                    </a:lnTo>
                    <a:lnTo>
                      <a:pt x="384" y="303"/>
                    </a:lnTo>
                    <a:lnTo>
                      <a:pt x="387" y="303"/>
                    </a:lnTo>
                    <a:lnTo>
                      <a:pt x="389" y="304"/>
                    </a:lnTo>
                    <a:lnTo>
                      <a:pt x="402" y="309"/>
                    </a:lnTo>
                    <a:lnTo>
                      <a:pt x="408" y="310"/>
                    </a:lnTo>
                    <a:lnTo>
                      <a:pt x="408" y="310"/>
                    </a:lnTo>
                    <a:lnTo>
                      <a:pt x="410" y="312"/>
                    </a:lnTo>
                    <a:lnTo>
                      <a:pt x="411" y="312"/>
                    </a:lnTo>
                    <a:lnTo>
                      <a:pt x="412" y="312"/>
                    </a:lnTo>
                    <a:lnTo>
                      <a:pt x="412" y="307"/>
                    </a:lnTo>
                    <a:lnTo>
                      <a:pt x="412" y="304"/>
                    </a:lnTo>
                    <a:lnTo>
                      <a:pt x="414" y="300"/>
                    </a:lnTo>
                    <a:lnTo>
                      <a:pt x="417" y="297"/>
                    </a:lnTo>
                    <a:lnTo>
                      <a:pt x="420" y="296"/>
                    </a:lnTo>
                    <a:lnTo>
                      <a:pt x="423" y="294"/>
                    </a:lnTo>
                    <a:lnTo>
                      <a:pt x="425" y="294"/>
                    </a:lnTo>
                    <a:lnTo>
                      <a:pt x="428" y="296"/>
                    </a:lnTo>
                    <a:lnTo>
                      <a:pt x="440" y="300"/>
                    </a:lnTo>
                    <a:lnTo>
                      <a:pt x="444" y="302"/>
                    </a:lnTo>
                    <a:lnTo>
                      <a:pt x="447" y="303"/>
                    </a:lnTo>
                    <a:lnTo>
                      <a:pt x="450" y="303"/>
                    </a:lnTo>
                    <a:lnTo>
                      <a:pt x="451" y="303"/>
                    </a:lnTo>
                    <a:lnTo>
                      <a:pt x="453" y="303"/>
                    </a:lnTo>
                    <a:lnTo>
                      <a:pt x="454" y="302"/>
                    </a:lnTo>
                    <a:lnTo>
                      <a:pt x="456" y="300"/>
                    </a:lnTo>
                    <a:lnTo>
                      <a:pt x="458" y="300"/>
                    </a:lnTo>
                    <a:lnTo>
                      <a:pt x="467" y="300"/>
                    </a:lnTo>
                    <a:lnTo>
                      <a:pt x="473" y="300"/>
                    </a:lnTo>
                    <a:lnTo>
                      <a:pt x="496" y="302"/>
                    </a:lnTo>
                    <a:lnTo>
                      <a:pt x="512" y="304"/>
                    </a:lnTo>
                    <a:lnTo>
                      <a:pt x="516" y="309"/>
                    </a:lnTo>
                    <a:lnTo>
                      <a:pt x="517" y="310"/>
                    </a:lnTo>
                    <a:lnTo>
                      <a:pt x="519" y="312"/>
                    </a:lnTo>
                    <a:lnTo>
                      <a:pt x="520" y="312"/>
                    </a:lnTo>
                    <a:lnTo>
                      <a:pt x="524" y="312"/>
                    </a:lnTo>
                    <a:lnTo>
                      <a:pt x="526" y="312"/>
                    </a:lnTo>
                    <a:lnTo>
                      <a:pt x="527" y="313"/>
                    </a:lnTo>
                    <a:lnTo>
                      <a:pt x="530" y="317"/>
                    </a:lnTo>
                    <a:lnTo>
                      <a:pt x="532" y="315"/>
                    </a:lnTo>
                    <a:lnTo>
                      <a:pt x="532" y="313"/>
                    </a:lnTo>
                    <a:lnTo>
                      <a:pt x="530" y="310"/>
                    </a:lnTo>
                    <a:lnTo>
                      <a:pt x="530" y="307"/>
                    </a:lnTo>
                    <a:lnTo>
                      <a:pt x="532" y="304"/>
                    </a:lnTo>
                    <a:lnTo>
                      <a:pt x="533" y="303"/>
                    </a:lnTo>
                    <a:lnTo>
                      <a:pt x="535" y="303"/>
                    </a:lnTo>
                    <a:lnTo>
                      <a:pt x="537" y="302"/>
                    </a:lnTo>
                    <a:lnTo>
                      <a:pt x="533" y="300"/>
                    </a:lnTo>
                    <a:lnTo>
                      <a:pt x="536" y="297"/>
                    </a:lnTo>
                    <a:lnTo>
                      <a:pt x="539" y="296"/>
                    </a:lnTo>
                    <a:lnTo>
                      <a:pt x="540" y="296"/>
                    </a:lnTo>
                    <a:lnTo>
                      <a:pt x="540" y="294"/>
                    </a:lnTo>
                    <a:lnTo>
                      <a:pt x="540" y="293"/>
                    </a:lnTo>
                    <a:lnTo>
                      <a:pt x="539" y="292"/>
                    </a:lnTo>
                    <a:lnTo>
                      <a:pt x="539" y="292"/>
                    </a:lnTo>
                    <a:lnTo>
                      <a:pt x="537" y="284"/>
                    </a:lnTo>
                    <a:lnTo>
                      <a:pt x="535" y="274"/>
                    </a:lnTo>
                    <a:lnTo>
                      <a:pt x="533" y="271"/>
                    </a:lnTo>
                    <a:lnTo>
                      <a:pt x="533" y="267"/>
                    </a:lnTo>
                    <a:lnTo>
                      <a:pt x="533" y="264"/>
                    </a:lnTo>
                    <a:lnTo>
                      <a:pt x="535" y="261"/>
                    </a:lnTo>
                    <a:lnTo>
                      <a:pt x="535" y="260"/>
                    </a:lnTo>
                    <a:lnTo>
                      <a:pt x="533" y="259"/>
                    </a:lnTo>
                    <a:lnTo>
                      <a:pt x="526" y="257"/>
                    </a:lnTo>
                    <a:lnTo>
                      <a:pt x="524" y="256"/>
                    </a:lnTo>
                    <a:lnTo>
                      <a:pt x="529" y="254"/>
                    </a:lnTo>
                    <a:lnTo>
                      <a:pt x="532" y="253"/>
                    </a:lnTo>
                    <a:lnTo>
                      <a:pt x="542" y="251"/>
                    </a:lnTo>
                    <a:lnTo>
                      <a:pt x="546" y="250"/>
                    </a:lnTo>
                    <a:lnTo>
                      <a:pt x="550" y="247"/>
                    </a:lnTo>
                    <a:lnTo>
                      <a:pt x="555" y="246"/>
                    </a:lnTo>
                    <a:lnTo>
                      <a:pt x="558" y="246"/>
                    </a:lnTo>
                    <a:lnTo>
                      <a:pt x="559" y="247"/>
                    </a:lnTo>
                    <a:lnTo>
                      <a:pt x="559" y="248"/>
                    </a:lnTo>
                    <a:lnTo>
                      <a:pt x="560" y="250"/>
                    </a:lnTo>
                    <a:lnTo>
                      <a:pt x="562" y="250"/>
                    </a:lnTo>
                    <a:lnTo>
                      <a:pt x="563" y="250"/>
                    </a:lnTo>
                    <a:lnTo>
                      <a:pt x="566" y="250"/>
                    </a:lnTo>
                    <a:lnTo>
                      <a:pt x="569" y="250"/>
                    </a:lnTo>
                    <a:lnTo>
                      <a:pt x="570" y="250"/>
                    </a:lnTo>
                    <a:lnTo>
                      <a:pt x="570" y="250"/>
                    </a:lnTo>
                    <a:lnTo>
                      <a:pt x="572" y="250"/>
                    </a:lnTo>
                    <a:lnTo>
                      <a:pt x="573" y="248"/>
                    </a:lnTo>
                    <a:lnTo>
                      <a:pt x="573" y="248"/>
                    </a:lnTo>
                    <a:lnTo>
                      <a:pt x="573" y="246"/>
                    </a:lnTo>
                    <a:lnTo>
                      <a:pt x="573" y="244"/>
                    </a:lnTo>
                    <a:lnTo>
                      <a:pt x="573" y="244"/>
                    </a:lnTo>
                    <a:lnTo>
                      <a:pt x="572" y="243"/>
                    </a:lnTo>
                    <a:lnTo>
                      <a:pt x="570" y="243"/>
                    </a:lnTo>
                    <a:lnTo>
                      <a:pt x="569" y="241"/>
                    </a:lnTo>
                    <a:lnTo>
                      <a:pt x="568" y="240"/>
                    </a:lnTo>
                    <a:lnTo>
                      <a:pt x="568" y="238"/>
                    </a:lnTo>
                    <a:lnTo>
                      <a:pt x="569" y="237"/>
                    </a:lnTo>
                    <a:lnTo>
                      <a:pt x="570" y="234"/>
                    </a:lnTo>
                    <a:lnTo>
                      <a:pt x="579" y="210"/>
                    </a:lnTo>
                    <a:lnTo>
                      <a:pt x="580" y="204"/>
                    </a:lnTo>
                    <a:lnTo>
                      <a:pt x="580" y="204"/>
                    </a:lnTo>
                    <a:lnTo>
                      <a:pt x="583" y="202"/>
                    </a:lnTo>
                    <a:lnTo>
                      <a:pt x="586" y="204"/>
                    </a:lnTo>
                    <a:lnTo>
                      <a:pt x="593" y="207"/>
                    </a:lnTo>
                    <a:lnTo>
                      <a:pt x="598" y="207"/>
                    </a:lnTo>
                    <a:lnTo>
                      <a:pt x="605" y="207"/>
                    </a:lnTo>
                    <a:lnTo>
                      <a:pt x="609" y="208"/>
                    </a:lnTo>
                    <a:lnTo>
                      <a:pt x="609" y="208"/>
                    </a:lnTo>
                    <a:lnTo>
                      <a:pt x="611" y="210"/>
                    </a:lnTo>
                    <a:lnTo>
                      <a:pt x="611" y="211"/>
                    </a:lnTo>
                    <a:lnTo>
                      <a:pt x="612" y="211"/>
                    </a:lnTo>
                    <a:lnTo>
                      <a:pt x="615" y="210"/>
                    </a:lnTo>
                    <a:lnTo>
                      <a:pt x="616" y="210"/>
                    </a:lnTo>
                    <a:lnTo>
                      <a:pt x="618" y="207"/>
                    </a:lnTo>
                    <a:lnTo>
                      <a:pt x="619" y="207"/>
                    </a:lnTo>
                    <a:lnTo>
                      <a:pt x="621" y="205"/>
                    </a:lnTo>
                    <a:lnTo>
                      <a:pt x="622" y="205"/>
                    </a:lnTo>
                    <a:lnTo>
                      <a:pt x="624" y="205"/>
                    </a:lnTo>
                    <a:lnTo>
                      <a:pt x="625" y="204"/>
                    </a:lnTo>
                    <a:lnTo>
                      <a:pt x="626" y="201"/>
                    </a:lnTo>
                    <a:lnTo>
                      <a:pt x="626" y="200"/>
                    </a:lnTo>
                    <a:lnTo>
                      <a:pt x="625" y="190"/>
                    </a:lnTo>
                    <a:lnTo>
                      <a:pt x="625" y="185"/>
                    </a:lnTo>
                    <a:lnTo>
                      <a:pt x="625" y="182"/>
                    </a:lnTo>
                    <a:lnTo>
                      <a:pt x="626" y="178"/>
                    </a:lnTo>
                    <a:lnTo>
                      <a:pt x="626" y="177"/>
                    </a:lnTo>
                    <a:lnTo>
                      <a:pt x="628" y="175"/>
                    </a:lnTo>
                    <a:lnTo>
                      <a:pt x="629" y="174"/>
                    </a:lnTo>
                    <a:lnTo>
                      <a:pt x="631" y="174"/>
                    </a:lnTo>
                    <a:lnTo>
                      <a:pt x="635" y="172"/>
                    </a:lnTo>
                    <a:lnTo>
                      <a:pt x="639" y="172"/>
                    </a:lnTo>
                    <a:lnTo>
                      <a:pt x="642" y="169"/>
                    </a:lnTo>
                    <a:lnTo>
                      <a:pt x="645" y="167"/>
                    </a:lnTo>
                    <a:lnTo>
                      <a:pt x="647" y="162"/>
                    </a:lnTo>
                    <a:lnTo>
                      <a:pt x="647" y="159"/>
                    </a:lnTo>
                    <a:lnTo>
                      <a:pt x="647" y="158"/>
                    </a:lnTo>
                    <a:lnTo>
                      <a:pt x="648" y="156"/>
                    </a:lnTo>
                    <a:lnTo>
                      <a:pt x="651" y="156"/>
                    </a:lnTo>
                    <a:lnTo>
                      <a:pt x="652" y="156"/>
                    </a:lnTo>
                    <a:lnTo>
                      <a:pt x="654" y="156"/>
                    </a:lnTo>
                    <a:lnTo>
                      <a:pt x="657" y="156"/>
                    </a:lnTo>
                    <a:lnTo>
                      <a:pt x="655" y="15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62" name="Freeform 166">
                <a:extLst>
                  <a:ext uri="{FF2B5EF4-FFF2-40B4-BE49-F238E27FC236}">
                    <a16:creationId xmlns:a16="http://schemas.microsoft.com/office/drawing/2014/main" id="{A464D197-84DC-24EE-BDE7-BAAA5EBBBF09}"/>
                  </a:ext>
                </a:extLst>
              </p:cNvPr>
              <p:cNvSpPr>
                <a:spLocks noEditPoints="1"/>
              </p:cNvSpPr>
              <p:nvPr/>
            </p:nvSpPr>
            <p:spPr bwMode="auto">
              <a:xfrm>
                <a:off x="6559755" y="1266778"/>
                <a:ext cx="3905538" cy="1719247"/>
              </a:xfrm>
              <a:custGeom>
                <a:avLst/>
                <a:gdLst>
                  <a:gd name="T0" fmla="*/ 873 w 2701"/>
                  <a:gd name="T1" fmla="*/ 269 h 1189"/>
                  <a:gd name="T2" fmla="*/ 961 w 2701"/>
                  <a:gd name="T3" fmla="*/ 6 h 1189"/>
                  <a:gd name="T4" fmla="*/ 1035 w 2701"/>
                  <a:gd name="T5" fmla="*/ 204 h 1189"/>
                  <a:gd name="T6" fmla="*/ 1857 w 2701"/>
                  <a:gd name="T7" fmla="*/ 271 h 1189"/>
                  <a:gd name="T8" fmla="*/ 1791 w 2701"/>
                  <a:gd name="T9" fmla="*/ 209 h 1189"/>
                  <a:gd name="T10" fmla="*/ 1966 w 2701"/>
                  <a:gd name="T11" fmla="*/ 246 h 1189"/>
                  <a:gd name="T12" fmla="*/ 2309 w 2701"/>
                  <a:gd name="T13" fmla="*/ 436 h 1189"/>
                  <a:gd name="T14" fmla="*/ 1114 w 2701"/>
                  <a:gd name="T15" fmla="*/ 131 h 1189"/>
                  <a:gd name="T16" fmla="*/ 1117 w 2701"/>
                  <a:gd name="T17" fmla="*/ 127 h 1189"/>
                  <a:gd name="T18" fmla="*/ 1084 w 2701"/>
                  <a:gd name="T19" fmla="*/ 69 h 1189"/>
                  <a:gd name="T20" fmla="*/ 2075 w 2701"/>
                  <a:gd name="T21" fmla="*/ 1002 h 1189"/>
                  <a:gd name="T22" fmla="*/ 1924 w 2701"/>
                  <a:gd name="T23" fmla="*/ 1121 h 1189"/>
                  <a:gd name="T24" fmla="*/ 579 w 2701"/>
                  <a:gd name="T25" fmla="*/ 525 h 1189"/>
                  <a:gd name="T26" fmla="*/ 14 w 2701"/>
                  <a:gd name="T27" fmla="*/ 1096 h 1189"/>
                  <a:gd name="T28" fmla="*/ 142 w 2701"/>
                  <a:gd name="T29" fmla="*/ 1156 h 1189"/>
                  <a:gd name="T30" fmla="*/ 194 w 2701"/>
                  <a:gd name="T31" fmla="*/ 1129 h 1189"/>
                  <a:gd name="T32" fmla="*/ 2622 w 2701"/>
                  <a:gd name="T33" fmla="*/ 529 h 1189"/>
                  <a:gd name="T34" fmla="*/ 2402 w 2701"/>
                  <a:gd name="T35" fmla="*/ 440 h 1189"/>
                  <a:gd name="T36" fmla="*/ 2109 w 2701"/>
                  <a:gd name="T37" fmla="*/ 400 h 1189"/>
                  <a:gd name="T38" fmla="*/ 1835 w 2701"/>
                  <a:gd name="T39" fmla="*/ 351 h 1189"/>
                  <a:gd name="T40" fmla="*/ 1679 w 2701"/>
                  <a:gd name="T41" fmla="*/ 388 h 1189"/>
                  <a:gd name="T42" fmla="*/ 1582 w 2701"/>
                  <a:gd name="T43" fmla="*/ 322 h 1189"/>
                  <a:gd name="T44" fmla="*/ 1384 w 2701"/>
                  <a:gd name="T45" fmla="*/ 312 h 1189"/>
                  <a:gd name="T46" fmla="*/ 1233 w 2701"/>
                  <a:gd name="T47" fmla="*/ 331 h 1189"/>
                  <a:gd name="T48" fmla="*/ 1289 w 2701"/>
                  <a:gd name="T49" fmla="*/ 187 h 1189"/>
                  <a:gd name="T50" fmla="*/ 1107 w 2701"/>
                  <a:gd name="T51" fmla="*/ 220 h 1189"/>
                  <a:gd name="T52" fmla="*/ 935 w 2701"/>
                  <a:gd name="T53" fmla="*/ 239 h 1189"/>
                  <a:gd name="T54" fmla="*/ 854 w 2701"/>
                  <a:gd name="T55" fmla="*/ 312 h 1189"/>
                  <a:gd name="T56" fmla="*/ 803 w 2701"/>
                  <a:gd name="T57" fmla="*/ 398 h 1189"/>
                  <a:gd name="T58" fmla="*/ 679 w 2701"/>
                  <a:gd name="T59" fmla="*/ 374 h 1189"/>
                  <a:gd name="T60" fmla="*/ 719 w 2701"/>
                  <a:gd name="T61" fmla="*/ 490 h 1189"/>
                  <a:gd name="T62" fmla="*/ 632 w 2701"/>
                  <a:gd name="T63" fmla="*/ 499 h 1189"/>
                  <a:gd name="T64" fmla="*/ 537 w 2701"/>
                  <a:gd name="T65" fmla="*/ 421 h 1189"/>
                  <a:gd name="T66" fmla="*/ 446 w 2701"/>
                  <a:gd name="T67" fmla="*/ 903 h 1189"/>
                  <a:gd name="T68" fmla="*/ 495 w 2701"/>
                  <a:gd name="T69" fmla="*/ 873 h 1189"/>
                  <a:gd name="T70" fmla="*/ 623 w 2701"/>
                  <a:gd name="T71" fmla="*/ 877 h 1189"/>
                  <a:gd name="T72" fmla="*/ 749 w 2701"/>
                  <a:gd name="T73" fmla="*/ 939 h 1189"/>
                  <a:gd name="T74" fmla="*/ 844 w 2701"/>
                  <a:gd name="T75" fmla="*/ 979 h 1189"/>
                  <a:gd name="T76" fmla="*/ 917 w 2701"/>
                  <a:gd name="T77" fmla="*/ 998 h 1189"/>
                  <a:gd name="T78" fmla="*/ 966 w 2701"/>
                  <a:gd name="T79" fmla="*/ 968 h 1189"/>
                  <a:gd name="T80" fmla="*/ 1042 w 2701"/>
                  <a:gd name="T81" fmla="*/ 983 h 1189"/>
                  <a:gd name="T82" fmla="*/ 1103 w 2701"/>
                  <a:gd name="T83" fmla="*/ 933 h 1189"/>
                  <a:gd name="T84" fmla="*/ 1203 w 2701"/>
                  <a:gd name="T85" fmla="*/ 973 h 1189"/>
                  <a:gd name="T86" fmla="*/ 1344 w 2701"/>
                  <a:gd name="T87" fmla="*/ 991 h 1189"/>
                  <a:gd name="T88" fmla="*/ 1460 w 2701"/>
                  <a:gd name="T89" fmla="*/ 955 h 1189"/>
                  <a:gd name="T90" fmla="*/ 1572 w 2701"/>
                  <a:gd name="T91" fmla="*/ 913 h 1189"/>
                  <a:gd name="T92" fmla="*/ 1636 w 2701"/>
                  <a:gd name="T93" fmla="*/ 1002 h 1189"/>
                  <a:gd name="T94" fmla="*/ 1717 w 2701"/>
                  <a:gd name="T95" fmla="*/ 1047 h 1189"/>
                  <a:gd name="T96" fmla="*/ 1661 w 2701"/>
                  <a:gd name="T97" fmla="*/ 1114 h 1189"/>
                  <a:gd name="T98" fmla="*/ 1788 w 2701"/>
                  <a:gd name="T99" fmla="*/ 1067 h 1189"/>
                  <a:gd name="T100" fmla="*/ 1791 w 2701"/>
                  <a:gd name="T101" fmla="*/ 883 h 1189"/>
                  <a:gd name="T102" fmla="*/ 1956 w 2701"/>
                  <a:gd name="T103" fmla="*/ 752 h 1189"/>
                  <a:gd name="T104" fmla="*/ 2071 w 2701"/>
                  <a:gd name="T105" fmla="*/ 756 h 1189"/>
                  <a:gd name="T106" fmla="*/ 2217 w 2701"/>
                  <a:gd name="T107" fmla="*/ 687 h 1189"/>
                  <a:gd name="T108" fmla="*/ 2137 w 2701"/>
                  <a:gd name="T109" fmla="*/ 788 h 1189"/>
                  <a:gd name="T110" fmla="*/ 2214 w 2701"/>
                  <a:gd name="T111" fmla="*/ 827 h 1189"/>
                  <a:gd name="T112" fmla="*/ 2280 w 2701"/>
                  <a:gd name="T113" fmla="*/ 722 h 1189"/>
                  <a:gd name="T114" fmla="*/ 2503 w 2701"/>
                  <a:gd name="T115" fmla="*/ 669 h 1189"/>
                  <a:gd name="T116" fmla="*/ 2456 w 2701"/>
                  <a:gd name="T117" fmla="*/ 595 h 1189"/>
                  <a:gd name="T118" fmla="*/ 2542 w 2701"/>
                  <a:gd name="T119" fmla="*/ 557 h 1189"/>
                  <a:gd name="T120" fmla="*/ 2651 w 2701"/>
                  <a:gd name="T121" fmla="*/ 564 h 1189"/>
                  <a:gd name="T122" fmla="*/ 1875 w 2701"/>
                  <a:gd name="T123" fmla="*/ 906 h 1189"/>
                  <a:gd name="T124" fmla="*/ 1880 w 2701"/>
                  <a:gd name="T125" fmla="*/ 1070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01" h="1189">
                    <a:moveTo>
                      <a:pt x="820" y="301"/>
                    </a:moveTo>
                    <a:lnTo>
                      <a:pt x="811" y="299"/>
                    </a:lnTo>
                    <a:lnTo>
                      <a:pt x="814" y="298"/>
                    </a:lnTo>
                    <a:lnTo>
                      <a:pt x="818" y="298"/>
                    </a:lnTo>
                    <a:lnTo>
                      <a:pt x="823" y="298"/>
                    </a:lnTo>
                    <a:lnTo>
                      <a:pt x="826" y="299"/>
                    </a:lnTo>
                    <a:lnTo>
                      <a:pt x="823" y="301"/>
                    </a:lnTo>
                    <a:lnTo>
                      <a:pt x="820" y="301"/>
                    </a:lnTo>
                    <a:close/>
                    <a:moveTo>
                      <a:pt x="844" y="288"/>
                    </a:moveTo>
                    <a:lnTo>
                      <a:pt x="849" y="285"/>
                    </a:lnTo>
                    <a:lnTo>
                      <a:pt x="846" y="285"/>
                    </a:lnTo>
                    <a:lnTo>
                      <a:pt x="843" y="285"/>
                    </a:lnTo>
                    <a:lnTo>
                      <a:pt x="841" y="286"/>
                    </a:lnTo>
                    <a:lnTo>
                      <a:pt x="840" y="286"/>
                    </a:lnTo>
                    <a:lnTo>
                      <a:pt x="843" y="289"/>
                    </a:lnTo>
                    <a:lnTo>
                      <a:pt x="844" y="288"/>
                    </a:lnTo>
                    <a:close/>
                    <a:moveTo>
                      <a:pt x="807" y="301"/>
                    </a:moveTo>
                    <a:lnTo>
                      <a:pt x="808" y="301"/>
                    </a:lnTo>
                    <a:lnTo>
                      <a:pt x="810" y="299"/>
                    </a:lnTo>
                    <a:lnTo>
                      <a:pt x="808" y="298"/>
                    </a:lnTo>
                    <a:lnTo>
                      <a:pt x="807" y="298"/>
                    </a:lnTo>
                    <a:lnTo>
                      <a:pt x="805" y="298"/>
                    </a:lnTo>
                    <a:lnTo>
                      <a:pt x="803" y="298"/>
                    </a:lnTo>
                    <a:lnTo>
                      <a:pt x="804" y="299"/>
                    </a:lnTo>
                    <a:lnTo>
                      <a:pt x="807" y="301"/>
                    </a:lnTo>
                    <a:close/>
                    <a:moveTo>
                      <a:pt x="747" y="348"/>
                    </a:moveTo>
                    <a:lnTo>
                      <a:pt x="752" y="348"/>
                    </a:lnTo>
                    <a:lnTo>
                      <a:pt x="754" y="342"/>
                    </a:lnTo>
                    <a:lnTo>
                      <a:pt x="754" y="341"/>
                    </a:lnTo>
                    <a:lnTo>
                      <a:pt x="752" y="338"/>
                    </a:lnTo>
                    <a:lnTo>
                      <a:pt x="751" y="335"/>
                    </a:lnTo>
                    <a:lnTo>
                      <a:pt x="748" y="335"/>
                    </a:lnTo>
                    <a:lnTo>
                      <a:pt x="747" y="335"/>
                    </a:lnTo>
                    <a:lnTo>
                      <a:pt x="744" y="337"/>
                    </a:lnTo>
                    <a:lnTo>
                      <a:pt x="738" y="342"/>
                    </a:lnTo>
                    <a:lnTo>
                      <a:pt x="741" y="345"/>
                    </a:lnTo>
                    <a:lnTo>
                      <a:pt x="747" y="348"/>
                    </a:lnTo>
                    <a:close/>
                    <a:moveTo>
                      <a:pt x="758" y="26"/>
                    </a:moveTo>
                    <a:lnTo>
                      <a:pt x="765" y="25"/>
                    </a:lnTo>
                    <a:lnTo>
                      <a:pt x="770" y="22"/>
                    </a:lnTo>
                    <a:lnTo>
                      <a:pt x="767" y="20"/>
                    </a:lnTo>
                    <a:lnTo>
                      <a:pt x="762" y="19"/>
                    </a:lnTo>
                    <a:lnTo>
                      <a:pt x="759" y="19"/>
                    </a:lnTo>
                    <a:lnTo>
                      <a:pt x="751" y="19"/>
                    </a:lnTo>
                    <a:lnTo>
                      <a:pt x="749" y="19"/>
                    </a:lnTo>
                    <a:lnTo>
                      <a:pt x="748" y="20"/>
                    </a:lnTo>
                    <a:lnTo>
                      <a:pt x="747" y="20"/>
                    </a:lnTo>
                    <a:lnTo>
                      <a:pt x="745" y="23"/>
                    </a:lnTo>
                    <a:lnTo>
                      <a:pt x="745" y="25"/>
                    </a:lnTo>
                    <a:lnTo>
                      <a:pt x="745" y="26"/>
                    </a:lnTo>
                    <a:lnTo>
                      <a:pt x="749" y="28"/>
                    </a:lnTo>
                    <a:lnTo>
                      <a:pt x="758" y="26"/>
                    </a:lnTo>
                    <a:close/>
                    <a:moveTo>
                      <a:pt x="791" y="250"/>
                    </a:moveTo>
                    <a:lnTo>
                      <a:pt x="793" y="250"/>
                    </a:lnTo>
                    <a:lnTo>
                      <a:pt x="794" y="250"/>
                    </a:lnTo>
                    <a:lnTo>
                      <a:pt x="795" y="249"/>
                    </a:lnTo>
                    <a:lnTo>
                      <a:pt x="795" y="250"/>
                    </a:lnTo>
                    <a:lnTo>
                      <a:pt x="795" y="252"/>
                    </a:lnTo>
                    <a:lnTo>
                      <a:pt x="797" y="252"/>
                    </a:lnTo>
                    <a:lnTo>
                      <a:pt x="797" y="253"/>
                    </a:lnTo>
                    <a:lnTo>
                      <a:pt x="798" y="250"/>
                    </a:lnTo>
                    <a:lnTo>
                      <a:pt x="798" y="249"/>
                    </a:lnTo>
                    <a:lnTo>
                      <a:pt x="800" y="248"/>
                    </a:lnTo>
                    <a:lnTo>
                      <a:pt x="801" y="248"/>
                    </a:lnTo>
                    <a:lnTo>
                      <a:pt x="800" y="239"/>
                    </a:lnTo>
                    <a:lnTo>
                      <a:pt x="798" y="239"/>
                    </a:lnTo>
                    <a:lnTo>
                      <a:pt x="797" y="240"/>
                    </a:lnTo>
                    <a:lnTo>
                      <a:pt x="795" y="242"/>
                    </a:lnTo>
                    <a:lnTo>
                      <a:pt x="795" y="245"/>
                    </a:lnTo>
                    <a:lnTo>
                      <a:pt x="795" y="245"/>
                    </a:lnTo>
                    <a:lnTo>
                      <a:pt x="794" y="245"/>
                    </a:lnTo>
                    <a:lnTo>
                      <a:pt x="793" y="243"/>
                    </a:lnTo>
                    <a:lnTo>
                      <a:pt x="793" y="243"/>
                    </a:lnTo>
                    <a:lnTo>
                      <a:pt x="790" y="246"/>
                    </a:lnTo>
                    <a:lnTo>
                      <a:pt x="790" y="248"/>
                    </a:lnTo>
                    <a:lnTo>
                      <a:pt x="790" y="249"/>
                    </a:lnTo>
                    <a:lnTo>
                      <a:pt x="791" y="250"/>
                    </a:lnTo>
                    <a:close/>
                    <a:moveTo>
                      <a:pt x="876" y="271"/>
                    </a:moveTo>
                    <a:lnTo>
                      <a:pt x="883" y="272"/>
                    </a:lnTo>
                    <a:lnTo>
                      <a:pt x="884" y="272"/>
                    </a:lnTo>
                    <a:lnTo>
                      <a:pt x="886" y="271"/>
                    </a:lnTo>
                    <a:lnTo>
                      <a:pt x="887" y="268"/>
                    </a:lnTo>
                    <a:lnTo>
                      <a:pt x="887" y="266"/>
                    </a:lnTo>
                    <a:lnTo>
                      <a:pt x="886" y="265"/>
                    </a:lnTo>
                    <a:lnTo>
                      <a:pt x="883" y="265"/>
                    </a:lnTo>
                    <a:lnTo>
                      <a:pt x="877" y="265"/>
                    </a:lnTo>
                    <a:lnTo>
                      <a:pt x="876" y="266"/>
                    </a:lnTo>
                    <a:lnTo>
                      <a:pt x="873" y="268"/>
                    </a:lnTo>
                    <a:lnTo>
                      <a:pt x="873" y="269"/>
                    </a:lnTo>
                    <a:lnTo>
                      <a:pt x="874" y="271"/>
                    </a:lnTo>
                    <a:lnTo>
                      <a:pt x="876" y="271"/>
                    </a:lnTo>
                    <a:close/>
                    <a:moveTo>
                      <a:pt x="968" y="49"/>
                    </a:moveTo>
                    <a:lnTo>
                      <a:pt x="969" y="51"/>
                    </a:lnTo>
                    <a:lnTo>
                      <a:pt x="972" y="52"/>
                    </a:lnTo>
                    <a:lnTo>
                      <a:pt x="975" y="52"/>
                    </a:lnTo>
                    <a:lnTo>
                      <a:pt x="978" y="55"/>
                    </a:lnTo>
                    <a:lnTo>
                      <a:pt x="979" y="56"/>
                    </a:lnTo>
                    <a:lnTo>
                      <a:pt x="982" y="56"/>
                    </a:lnTo>
                    <a:lnTo>
                      <a:pt x="991" y="59"/>
                    </a:lnTo>
                    <a:lnTo>
                      <a:pt x="1001" y="64"/>
                    </a:lnTo>
                    <a:lnTo>
                      <a:pt x="1004" y="64"/>
                    </a:lnTo>
                    <a:lnTo>
                      <a:pt x="1008" y="64"/>
                    </a:lnTo>
                    <a:lnTo>
                      <a:pt x="1012" y="62"/>
                    </a:lnTo>
                    <a:lnTo>
                      <a:pt x="1018" y="59"/>
                    </a:lnTo>
                    <a:lnTo>
                      <a:pt x="1022" y="58"/>
                    </a:lnTo>
                    <a:lnTo>
                      <a:pt x="1055" y="54"/>
                    </a:lnTo>
                    <a:lnTo>
                      <a:pt x="1063" y="52"/>
                    </a:lnTo>
                    <a:lnTo>
                      <a:pt x="1068" y="46"/>
                    </a:lnTo>
                    <a:lnTo>
                      <a:pt x="1065" y="45"/>
                    </a:lnTo>
                    <a:lnTo>
                      <a:pt x="1064" y="42"/>
                    </a:lnTo>
                    <a:lnTo>
                      <a:pt x="1063" y="39"/>
                    </a:lnTo>
                    <a:lnTo>
                      <a:pt x="1063" y="36"/>
                    </a:lnTo>
                    <a:lnTo>
                      <a:pt x="1067" y="33"/>
                    </a:lnTo>
                    <a:lnTo>
                      <a:pt x="1071" y="33"/>
                    </a:lnTo>
                    <a:lnTo>
                      <a:pt x="1075" y="32"/>
                    </a:lnTo>
                    <a:lnTo>
                      <a:pt x="1077" y="29"/>
                    </a:lnTo>
                    <a:lnTo>
                      <a:pt x="1074" y="28"/>
                    </a:lnTo>
                    <a:lnTo>
                      <a:pt x="1071" y="26"/>
                    </a:lnTo>
                    <a:lnTo>
                      <a:pt x="1064" y="23"/>
                    </a:lnTo>
                    <a:lnTo>
                      <a:pt x="1060" y="22"/>
                    </a:lnTo>
                    <a:lnTo>
                      <a:pt x="1058" y="20"/>
                    </a:lnTo>
                    <a:lnTo>
                      <a:pt x="1057" y="19"/>
                    </a:lnTo>
                    <a:lnTo>
                      <a:pt x="1055" y="18"/>
                    </a:lnTo>
                    <a:lnTo>
                      <a:pt x="1054" y="16"/>
                    </a:lnTo>
                    <a:lnTo>
                      <a:pt x="1054" y="15"/>
                    </a:lnTo>
                    <a:lnTo>
                      <a:pt x="1052" y="13"/>
                    </a:lnTo>
                    <a:lnTo>
                      <a:pt x="1051" y="10"/>
                    </a:lnTo>
                    <a:lnTo>
                      <a:pt x="1041" y="2"/>
                    </a:lnTo>
                    <a:lnTo>
                      <a:pt x="1040" y="2"/>
                    </a:lnTo>
                    <a:lnTo>
                      <a:pt x="1035" y="0"/>
                    </a:lnTo>
                    <a:lnTo>
                      <a:pt x="1032" y="0"/>
                    </a:lnTo>
                    <a:lnTo>
                      <a:pt x="1031" y="0"/>
                    </a:lnTo>
                    <a:lnTo>
                      <a:pt x="1029" y="2"/>
                    </a:lnTo>
                    <a:lnTo>
                      <a:pt x="1028" y="3"/>
                    </a:lnTo>
                    <a:lnTo>
                      <a:pt x="1027" y="6"/>
                    </a:lnTo>
                    <a:lnTo>
                      <a:pt x="1025" y="8"/>
                    </a:lnTo>
                    <a:lnTo>
                      <a:pt x="1024" y="9"/>
                    </a:lnTo>
                    <a:lnTo>
                      <a:pt x="1022" y="10"/>
                    </a:lnTo>
                    <a:lnTo>
                      <a:pt x="1021" y="10"/>
                    </a:lnTo>
                    <a:lnTo>
                      <a:pt x="1008" y="15"/>
                    </a:lnTo>
                    <a:lnTo>
                      <a:pt x="998" y="16"/>
                    </a:lnTo>
                    <a:lnTo>
                      <a:pt x="995" y="18"/>
                    </a:lnTo>
                    <a:lnTo>
                      <a:pt x="992" y="19"/>
                    </a:lnTo>
                    <a:lnTo>
                      <a:pt x="989" y="20"/>
                    </a:lnTo>
                    <a:lnTo>
                      <a:pt x="986" y="23"/>
                    </a:lnTo>
                    <a:lnTo>
                      <a:pt x="985" y="26"/>
                    </a:lnTo>
                    <a:lnTo>
                      <a:pt x="984" y="29"/>
                    </a:lnTo>
                    <a:lnTo>
                      <a:pt x="986" y="29"/>
                    </a:lnTo>
                    <a:lnTo>
                      <a:pt x="989" y="29"/>
                    </a:lnTo>
                    <a:lnTo>
                      <a:pt x="995" y="28"/>
                    </a:lnTo>
                    <a:lnTo>
                      <a:pt x="988" y="35"/>
                    </a:lnTo>
                    <a:lnTo>
                      <a:pt x="985" y="38"/>
                    </a:lnTo>
                    <a:lnTo>
                      <a:pt x="982" y="39"/>
                    </a:lnTo>
                    <a:lnTo>
                      <a:pt x="975" y="41"/>
                    </a:lnTo>
                    <a:lnTo>
                      <a:pt x="972" y="41"/>
                    </a:lnTo>
                    <a:lnTo>
                      <a:pt x="968" y="42"/>
                    </a:lnTo>
                    <a:lnTo>
                      <a:pt x="966" y="45"/>
                    </a:lnTo>
                    <a:lnTo>
                      <a:pt x="965" y="48"/>
                    </a:lnTo>
                    <a:lnTo>
                      <a:pt x="968" y="49"/>
                    </a:lnTo>
                    <a:close/>
                    <a:moveTo>
                      <a:pt x="1005" y="69"/>
                    </a:moveTo>
                    <a:lnTo>
                      <a:pt x="975" y="62"/>
                    </a:lnTo>
                    <a:lnTo>
                      <a:pt x="968" y="62"/>
                    </a:lnTo>
                    <a:lnTo>
                      <a:pt x="962" y="62"/>
                    </a:lnTo>
                    <a:lnTo>
                      <a:pt x="956" y="65"/>
                    </a:lnTo>
                    <a:lnTo>
                      <a:pt x="958" y="69"/>
                    </a:lnTo>
                    <a:lnTo>
                      <a:pt x="961" y="71"/>
                    </a:lnTo>
                    <a:lnTo>
                      <a:pt x="976" y="78"/>
                    </a:lnTo>
                    <a:lnTo>
                      <a:pt x="979" y="78"/>
                    </a:lnTo>
                    <a:lnTo>
                      <a:pt x="986" y="78"/>
                    </a:lnTo>
                    <a:lnTo>
                      <a:pt x="994" y="77"/>
                    </a:lnTo>
                    <a:lnTo>
                      <a:pt x="999" y="74"/>
                    </a:lnTo>
                    <a:lnTo>
                      <a:pt x="1005" y="69"/>
                    </a:lnTo>
                    <a:close/>
                    <a:moveTo>
                      <a:pt x="942" y="12"/>
                    </a:moveTo>
                    <a:lnTo>
                      <a:pt x="955" y="13"/>
                    </a:lnTo>
                    <a:lnTo>
                      <a:pt x="959" y="13"/>
                    </a:lnTo>
                    <a:lnTo>
                      <a:pt x="962" y="12"/>
                    </a:lnTo>
                    <a:lnTo>
                      <a:pt x="966" y="9"/>
                    </a:lnTo>
                    <a:lnTo>
                      <a:pt x="961" y="6"/>
                    </a:lnTo>
                    <a:lnTo>
                      <a:pt x="950" y="5"/>
                    </a:lnTo>
                    <a:lnTo>
                      <a:pt x="940" y="5"/>
                    </a:lnTo>
                    <a:lnTo>
                      <a:pt x="936" y="9"/>
                    </a:lnTo>
                    <a:lnTo>
                      <a:pt x="938" y="10"/>
                    </a:lnTo>
                    <a:lnTo>
                      <a:pt x="942" y="12"/>
                    </a:lnTo>
                    <a:close/>
                    <a:moveTo>
                      <a:pt x="928" y="173"/>
                    </a:moveTo>
                    <a:lnTo>
                      <a:pt x="930" y="171"/>
                    </a:lnTo>
                    <a:lnTo>
                      <a:pt x="932" y="170"/>
                    </a:lnTo>
                    <a:lnTo>
                      <a:pt x="930" y="169"/>
                    </a:lnTo>
                    <a:lnTo>
                      <a:pt x="928" y="169"/>
                    </a:lnTo>
                    <a:lnTo>
                      <a:pt x="925" y="170"/>
                    </a:lnTo>
                    <a:lnTo>
                      <a:pt x="923" y="171"/>
                    </a:lnTo>
                    <a:lnTo>
                      <a:pt x="926" y="173"/>
                    </a:lnTo>
                    <a:lnTo>
                      <a:pt x="928" y="173"/>
                    </a:lnTo>
                    <a:close/>
                    <a:moveTo>
                      <a:pt x="1045" y="179"/>
                    </a:moveTo>
                    <a:lnTo>
                      <a:pt x="1048" y="177"/>
                    </a:lnTo>
                    <a:lnTo>
                      <a:pt x="1051" y="177"/>
                    </a:lnTo>
                    <a:lnTo>
                      <a:pt x="1052" y="174"/>
                    </a:lnTo>
                    <a:lnTo>
                      <a:pt x="1052" y="173"/>
                    </a:lnTo>
                    <a:lnTo>
                      <a:pt x="1050" y="173"/>
                    </a:lnTo>
                    <a:lnTo>
                      <a:pt x="1044" y="174"/>
                    </a:lnTo>
                    <a:lnTo>
                      <a:pt x="1034" y="176"/>
                    </a:lnTo>
                    <a:lnTo>
                      <a:pt x="1031" y="177"/>
                    </a:lnTo>
                    <a:lnTo>
                      <a:pt x="1042" y="179"/>
                    </a:lnTo>
                    <a:lnTo>
                      <a:pt x="1045" y="179"/>
                    </a:lnTo>
                    <a:close/>
                    <a:moveTo>
                      <a:pt x="524" y="411"/>
                    </a:moveTo>
                    <a:lnTo>
                      <a:pt x="524" y="410"/>
                    </a:lnTo>
                    <a:lnTo>
                      <a:pt x="524" y="410"/>
                    </a:lnTo>
                    <a:lnTo>
                      <a:pt x="524" y="410"/>
                    </a:lnTo>
                    <a:lnTo>
                      <a:pt x="523" y="411"/>
                    </a:lnTo>
                    <a:lnTo>
                      <a:pt x="523" y="413"/>
                    </a:lnTo>
                    <a:lnTo>
                      <a:pt x="524" y="416"/>
                    </a:lnTo>
                    <a:lnTo>
                      <a:pt x="524" y="417"/>
                    </a:lnTo>
                    <a:lnTo>
                      <a:pt x="525" y="419"/>
                    </a:lnTo>
                    <a:lnTo>
                      <a:pt x="525" y="416"/>
                    </a:lnTo>
                    <a:lnTo>
                      <a:pt x="525" y="414"/>
                    </a:lnTo>
                    <a:lnTo>
                      <a:pt x="524" y="411"/>
                    </a:lnTo>
                    <a:close/>
                    <a:moveTo>
                      <a:pt x="589" y="337"/>
                    </a:moveTo>
                    <a:lnTo>
                      <a:pt x="591" y="335"/>
                    </a:lnTo>
                    <a:lnTo>
                      <a:pt x="606" y="332"/>
                    </a:lnTo>
                    <a:lnTo>
                      <a:pt x="612" y="331"/>
                    </a:lnTo>
                    <a:lnTo>
                      <a:pt x="614" y="331"/>
                    </a:lnTo>
                    <a:lnTo>
                      <a:pt x="614" y="328"/>
                    </a:lnTo>
                    <a:lnTo>
                      <a:pt x="613" y="324"/>
                    </a:lnTo>
                    <a:lnTo>
                      <a:pt x="610" y="321"/>
                    </a:lnTo>
                    <a:lnTo>
                      <a:pt x="604" y="318"/>
                    </a:lnTo>
                    <a:lnTo>
                      <a:pt x="600" y="318"/>
                    </a:lnTo>
                    <a:lnTo>
                      <a:pt x="594" y="318"/>
                    </a:lnTo>
                    <a:lnTo>
                      <a:pt x="591" y="318"/>
                    </a:lnTo>
                    <a:lnTo>
                      <a:pt x="590" y="319"/>
                    </a:lnTo>
                    <a:lnTo>
                      <a:pt x="587" y="321"/>
                    </a:lnTo>
                    <a:lnTo>
                      <a:pt x="587" y="324"/>
                    </a:lnTo>
                    <a:lnTo>
                      <a:pt x="587" y="328"/>
                    </a:lnTo>
                    <a:lnTo>
                      <a:pt x="586" y="332"/>
                    </a:lnTo>
                    <a:lnTo>
                      <a:pt x="586" y="334"/>
                    </a:lnTo>
                    <a:lnTo>
                      <a:pt x="587" y="335"/>
                    </a:lnTo>
                    <a:lnTo>
                      <a:pt x="589" y="337"/>
                    </a:lnTo>
                    <a:close/>
                    <a:moveTo>
                      <a:pt x="718" y="353"/>
                    </a:moveTo>
                    <a:lnTo>
                      <a:pt x="716" y="354"/>
                    </a:lnTo>
                    <a:lnTo>
                      <a:pt x="714" y="357"/>
                    </a:lnTo>
                    <a:lnTo>
                      <a:pt x="712" y="357"/>
                    </a:lnTo>
                    <a:lnTo>
                      <a:pt x="709" y="360"/>
                    </a:lnTo>
                    <a:lnTo>
                      <a:pt x="708" y="361"/>
                    </a:lnTo>
                    <a:lnTo>
                      <a:pt x="709" y="363"/>
                    </a:lnTo>
                    <a:lnTo>
                      <a:pt x="712" y="364"/>
                    </a:lnTo>
                    <a:lnTo>
                      <a:pt x="716" y="364"/>
                    </a:lnTo>
                    <a:lnTo>
                      <a:pt x="721" y="363"/>
                    </a:lnTo>
                    <a:lnTo>
                      <a:pt x="724" y="363"/>
                    </a:lnTo>
                    <a:lnTo>
                      <a:pt x="726" y="360"/>
                    </a:lnTo>
                    <a:lnTo>
                      <a:pt x="734" y="357"/>
                    </a:lnTo>
                    <a:lnTo>
                      <a:pt x="731" y="354"/>
                    </a:lnTo>
                    <a:lnTo>
                      <a:pt x="728" y="353"/>
                    </a:lnTo>
                    <a:lnTo>
                      <a:pt x="724" y="351"/>
                    </a:lnTo>
                    <a:lnTo>
                      <a:pt x="719" y="351"/>
                    </a:lnTo>
                    <a:lnTo>
                      <a:pt x="718" y="353"/>
                    </a:lnTo>
                    <a:close/>
                    <a:moveTo>
                      <a:pt x="1045" y="209"/>
                    </a:moveTo>
                    <a:lnTo>
                      <a:pt x="1048" y="210"/>
                    </a:lnTo>
                    <a:lnTo>
                      <a:pt x="1050" y="209"/>
                    </a:lnTo>
                    <a:lnTo>
                      <a:pt x="1051" y="206"/>
                    </a:lnTo>
                    <a:lnTo>
                      <a:pt x="1051" y="206"/>
                    </a:lnTo>
                    <a:lnTo>
                      <a:pt x="1054" y="206"/>
                    </a:lnTo>
                    <a:lnTo>
                      <a:pt x="1052" y="204"/>
                    </a:lnTo>
                    <a:lnTo>
                      <a:pt x="1050" y="203"/>
                    </a:lnTo>
                    <a:lnTo>
                      <a:pt x="1042" y="203"/>
                    </a:lnTo>
                    <a:lnTo>
                      <a:pt x="1040" y="203"/>
                    </a:lnTo>
                    <a:lnTo>
                      <a:pt x="1038" y="203"/>
                    </a:lnTo>
                    <a:lnTo>
                      <a:pt x="1037" y="204"/>
                    </a:lnTo>
                    <a:lnTo>
                      <a:pt x="1037" y="204"/>
                    </a:lnTo>
                    <a:lnTo>
                      <a:pt x="1035" y="204"/>
                    </a:lnTo>
                    <a:lnTo>
                      <a:pt x="1032" y="204"/>
                    </a:lnTo>
                    <a:lnTo>
                      <a:pt x="1032" y="204"/>
                    </a:lnTo>
                    <a:lnTo>
                      <a:pt x="1031" y="206"/>
                    </a:lnTo>
                    <a:lnTo>
                      <a:pt x="1041" y="207"/>
                    </a:lnTo>
                    <a:lnTo>
                      <a:pt x="1045" y="209"/>
                    </a:lnTo>
                    <a:close/>
                    <a:moveTo>
                      <a:pt x="695" y="82"/>
                    </a:moveTo>
                    <a:lnTo>
                      <a:pt x="696" y="82"/>
                    </a:lnTo>
                    <a:lnTo>
                      <a:pt x="698" y="82"/>
                    </a:lnTo>
                    <a:lnTo>
                      <a:pt x="701" y="84"/>
                    </a:lnTo>
                    <a:lnTo>
                      <a:pt x="702" y="84"/>
                    </a:lnTo>
                    <a:lnTo>
                      <a:pt x="703" y="84"/>
                    </a:lnTo>
                    <a:lnTo>
                      <a:pt x="703" y="84"/>
                    </a:lnTo>
                    <a:lnTo>
                      <a:pt x="703" y="85"/>
                    </a:lnTo>
                    <a:lnTo>
                      <a:pt x="703" y="85"/>
                    </a:lnTo>
                    <a:lnTo>
                      <a:pt x="708" y="85"/>
                    </a:lnTo>
                    <a:lnTo>
                      <a:pt x="719" y="85"/>
                    </a:lnTo>
                    <a:lnTo>
                      <a:pt x="716" y="82"/>
                    </a:lnTo>
                    <a:lnTo>
                      <a:pt x="714" y="82"/>
                    </a:lnTo>
                    <a:lnTo>
                      <a:pt x="699" y="81"/>
                    </a:lnTo>
                    <a:lnTo>
                      <a:pt x="696" y="79"/>
                    </a:lnTo>
                    <a:lnTo>
                      <a:pt x="695" y="79"/>
                    </a:lnTo>
                    <a:lnTo>
                      <a:pt x="693" y="79"/>
                    </a:lnTo>
                    <a:lnTo>
                      <a:pt x="693" y="81"/>
                    </a:lnTo>
                    <a:lnTo>
                      <a:pt x="695" y="82"/>
                    </a:lnTo>
                    <a:close/>
                    <a:moveTo>
                      <a:pt x="696" y="317"/>
                    </a:moveTo>
                    <a:lnTo>
                      <a:pt x="693" y="318"/>
                    </a:lnTo>
                    <a:lnTo>
                      <a:pt x="696" y="319"/>
                    </a:lnTo>
                    <a:lnTo>
                      <a:pt x="699" y="319"/>
                    </a:lnTo>
                    <a:lnTo>
                      <a:pt x="702" y="319"/>
                    </a:lnTo>
                    <a:lnTo>
                      <a:pt x="705" y="319"/>
                    </a:lnTo>
                    <a:lnTo>
                      <a:pt x="699" y="317"/>
                    </a:lnTo>
                    <a:lnTo>
                      <a:pt x="696" y="317"/>
                    </a:lnTo>
                    <a:close/>
                    <a:moveTo>
                      <a:pt x="686" y="319"/>
                    </a:moveTo>
                    <a:lnTo>
                      <a:pt x="689" y="318"/>
                    </a:lnTo>
                    <a:lnTo>
                      <a:pt x="693" y="317"/>
                    </a:lnTo>
                    <a:lnTo>
                      <a:pt x="689" y="317"/>
                    </a:lnTo>
                    <a:lnTo>
                      <a:pt x="686" y="317"/>
                    </a:lnTo>
                    <a:lnTo>
                      <a:pt x="682" y="318"/>
                    </a:lnTo>
                    <a:lnTo>
                      <a:pt x="680" y="319"/>
                    </a:lnTo>
                    <a:lnTo>
                      <a:pt x="683" y="319"/>
                    </a:lnTo>
                    <a:lnTo>
                      <a:pt x="686" y="319"/>
                    </a:lnTo>
                    <a:close/>
                    <a:moveTo>
                      <a:pt x="662" y="340"/>
                    </a:moveTo>
                    <a:lnTo>
                      <a:pt x="665" y="341"/>
                    </a:lnTo>
                    <a:lnTo>
                      <a:pt x="668" y="342"/>
                    </a:lnTo>
                    <a:lnTo>
                      <a:pt x="669" y="342"/>
                    </a:lnTo>
                    <a:lnTo>
                      <a:pt x="669" y="341"/>
                    </a:lnTo>
                    <a:lnTo>
                      <a:pt x="668" y="340"/>
                    </a:lnTo>
                    <a:lnTo>
                      <a:pt x="669" y="338"/>
                    </a:lnTo>
                    <a:lnTo>
                      <a:pt x="669" y="337"/>
                    </a:lnTo>
                    <a:lnTo>
                      <a:pt x="670" y="337"/>
                    </a:lnTo>
                    <a:lnTo>
                      <a:pt x="672" y="335"/>
                    </a:lnTo>
                    <a:lnTo>
                      <a:pt x="673" y="335"/>
                    </a:lnTo>
                    <a:lnTo>
                      <a:pt x="669" y="334"/>
                    </a:lnTo>
                    <a:lnTo>
                      <a:pt x="663" y="334"/>
                    </a:lnTo>
                    <a:lnTo>
                      <a:pt x="659" y="334"/>
                    </a:lnTo>
                    <a:lnTo>
                      <a:pt x="660" y="338"/>
                    </a:lnTo>
                    <a:lnTo>
                      <a:pt x="662" y="340"/>
                    </a:lnTo>
                    <a:close/>
                    <a:moveTo>
                      <a:pt x="1113" y="78"/>
                    </a:moveTo>
                    <a:lnTo>
                      <a:pt x="1113" y="81"/>
                    </a:lnTo>
                    <a:lnTo>
                      <a:pt x="1114" y="81"/>
                    </a:lnTo>
                    <a:lnTo>
                      <a:pt x="1116" y="81"/>
                    </a:lnTo>
                    <a:lnTo>
                      <a:pt x="1117" y="79"/>
                    </a:lnTo>
                    <a:lnTo>
                      <a:pt x="1119" y="78"/>
                    </a:lnTo>
                    <a:lnTo>
                      <a:pt x="1114" y="78"/>
                    </a:lnTo>
                    <a:lnTo>
                      <a:pt x="1113" y="78"/>
                    </a:lnTo>
                    <a:close/>
                    <a:moveTo>
                      <a:pt x="1765" y="253"/>
                    </a:moveTo>
                    <a:lnTo>
                      <a:pt x="1765" y="255"/>
                    </a:lnTo>
                    <a:lnTo>
                      <a:pt x="1768" y="258"/>
                    </a:lnTo>
                    <a:lnTo>
                      <a:pt x="1771" y="261"/>
                    </a:lnTo>
                    <a:lnTo>
                      <a:pt x="1776" y="263"/>
                    </a:lnTo>
                    <a:lnTo>
                      <a:pt x="1779" y="266"/>
                    </a:lnTo>
                    <a:lnTo>
                      <a:pt x="1782" y="272"/>
                    </a:lnTo>
                    <a:lnTo>
                      <a:pt x="1785" y="273"/>
                    </a:lnTo>
                    <a:lnTo>
                      <a:pt x="1788" y="275"/>
                    </a:lnTo>
                    <a:lnTo>
                      <a:pt x="1799" y="278"/>
                    </a:lnTo>
                    <a:lnTo>
                      <a:pt x="1804" y="279"/>
                    </a:lnTo>
                    <a:lnTo>
                      <a:pt x="1805" y="278"/>
                    </a:lnTo>
                    <a:lnTo>
                      <a:pt x="1808" y="275"/>
                    </a:lnTo>
                    <a:lnTo>
                      <a:pt x="1811" y="268"/>
                    </a:lnTo>
                    <a:lnTo>
                      <a:pt x="1812" y="266"/>
                    </a:lnTo>
                    <a:lnTo>
                      <a:pt x="1815" y="268"/>
                    </a:lnTo>
                    <a:lnTo>
                      <a:pt x="1818" y="269"/>
                    </a:lnTo>
                    <a:lnTo>
                      <a:pt x="1824" y="271"/>
                    </a:lnTo>
                    <a:lnTo>
                      <a:pt x="1832" y="271"/>
                    </a:lnTo>
                    <a:lnTo>
                      <a:pt x="1850" y="265"/>
                    </a:lnTo>
                    <a:lnTo>
                      <a:pt x="1851" y="265"/>
                    </a:lnTo>
                    <a:lnTo>
                      <a:pt x="1854" y="266"/>
                    </a:lnTo>
                    <a:lnTo>
                      <a:pt x="1854" y="266"/>
                    </a:lnTo>
                    <a:lnTo>
                      <a:pt x="1857" y="271"/>
                    </a:lnTo>
                    <a:lnTo>
                      <a:pt x="1858" y="271"/>
                    </a:lnTo>
                    <a:lnTo>
                      <a:pt x="1862" y="272"/>
                    </a:lnTo>
                    <a:lnTo>
                      <a:pt x="1865" y="271"/>
                    </a:lnTo>
                    <a:lnTo>
                      <a:pt x="1872" y="266"/>
                    </a:lnTo>
                    <a:lnTo>
                      <a:pt x="1870" y="263"/>
                    </a:lnTo>
                    <a:lnTo>
                      <a:pt x="1865" y="259"/>
                    </a:lnTo>
                    <a:lnTo>
                      <a:pt x="1862" y="258"/>
                    </a:lnTo>
                    <a:lnTo>
                      <a:pt x="1861" y="255"/>
                    </a:lnTo>
                    <a:lnTo>
                      <a:pt x="1858" y="250"/>
                    </a:lnTo>
                    <a:lnTo>
                      <a:pt x="1857" y="248"/>
                    </a:lnTo>
                    <a:lnTo>
                      <a:pt x="1855" y="243"/>
                    </a:lnTo>
                    <a:lnTo>
                      <a:pt x="1855" y="242"/>
                    </a:lnTo>
                    <a:lnTo>
                      <a:pt x="1854" y="233"/>
                    </a:lnTo>
                    <a:lnTo>
                      <a:pt x="1854" y="232"/>
                    </a:lnTo>
                    <a:lnTo>
                      <a:pt x="1855" y="232"/>
                    </a:lnTo>
                    <a:lnTo>
                      <a:pt x="1857" y="230"/>
                    </a:lnTo>
                    <a:lnTo>
                      <a:pt x="1860" y="229"/>
                    </a:lnTo>
                    <a:lnTo>
                      <a:pt x="1864" y="227"/>
                    </a:lnTo>
                    <a:lnTo>
                      <a:pt x="1867" y="227"/>
                    </a:lnTo>
                    <a:lnTo>
                      <a:pt x="1870" y="229"/>
                    </a:lnTo>
                    <a:lnTo>
                      <a:pt x="1870" y="230"/>
                    </a:lnTo>
                    <a:lnTo>
                      <a:pt x="1870" y="232"/>
                    </a:lnTo>
                    <a:lnTo>
                      <a:pt x="1870" y="233"/>
                    </a:lnTo>
                    <a:lnTo>
                      <a:pt x="1868" y="235"/>
                    </a:lnTo>
                    <a:lnTo>
                      <a:pt x="1867" y="238"/>
                    </a:lnTo>
                    <a:lnTo>
                      <a:pt x="1865" y="239"/>
                    </a:lnTo>
                    <a:lnTo>
                      <a:pt x="1865" y="240"/>
                    </a:lnTo>
                    <a:lnTo>
                      <a:pt x="1865" y="245"/>
                    </a:lnTo>
                    <a:lnTo>
                      <a:pt x="1865" y="248"/>
                    </a:lnTo>
                    <a:lnTo>
                      <a:pt x="1867" y="250"/>
                    </a:lnTo>
                    <a:lnTo>
                      <a:pt x="1868" y="253"/>
                    </a:lnTo>
                    <a:lnTo>
                      <a:pt x="1871" y="256"/>
                    </a:lnTo>
                    <a:lnTo>
                      <a:pt x="1874" y="259"/>
                    </a:lnTo>
                    <a:lnTo>
                      <a:pt x="1877" y="261"/>
                    </a:lnTo>
                    <a:lnTo>
                      <a:pt x="1887" y="262"/>
                    </a:lnTo>
                    <a:lnTo>
                      <a:pt x="1890" y="262"/>
                    </a:lnTo>
                    <a:lnTo>
                      <a:pt x="1894" y="261"/>
                    </a:lnTo>
                    <a:lnTo>
                      <a:pt x="1895" y="259"/>
                    </a:lnTo>
                    <a:lnTo>
                      <a:pt x="1901" y="253"/>
                    </a:lnTo>
                    <a:lnTo>
                      <a:pt x="1903" y="252"/>
                    </a:lnTo>
                    <a:lnTo>
                      <a:pt x="1901" y="248"/>
                    </a:lnTo>
                    <a:lnTo>
                      <a:pt x="1901" y="248"/>
                    </a:lnTo>
                    <a:lnTo>
                      <a:pt x="1901" y="248"/>
                    </a:lnTo>
                    <a:lnTo>
                      <a:pt x="1901" y="246"/>
                    </a:lnTo>
                    <a:lnTo>
                      <a:pt x="1901" y="245"/>
                    </a:lnTo>
                    <a:lnTo>
                      <a:pt x="1903" y="245"/>
                    </a:lnTo>
                    <a:lnTo>
                      <a:pt x="1904" y="243"/>
                    </a:lnTo>
                    <a:lnTo>
                      <a:pt x="1906" y="242"/>
                    </a:lnTo>
                    <a:lnTo>
                      <a:pt x="1907" y="240"/>
                    </a:lnTo>
                    <a:lnTo>
                      <a:pt x="1911" y="239"/>
                    </a:lnTo>
                    <a:lnTo>
                      <a:pt x="1908" y="235"/>
                    </a:lnTo>
                    <a:lnTo>
                      <a:pt x="1904" y="232"/>
                    </a:lnTo>
                    <a:lnTo>
                      <a:pt x="1894" y="227"/>
                    </a:lnTo>
                    <a:lnTo>
                      <a:pt x="1885" y="223"/>
                    </a:lnTo>
                    <a:lnTo>
                      <a:pt x="1883" y="222"/>
                    </a:lnTo>
                    <a:lnTo>
                      <a:pt x="1881" y="222"/>
                    </a:lnTo>
                    <a:lnTo>
                      <a:pt x="1880" y="222"/>
                    </a:lnTo>
                    <a:lnTo>
                      <a:pt x="1875" y="223"/>
                    </a:lnTo>
                    <a:lnTo>
                      <a:pt x="1871" y="223"/>
                    </a:lnTo>
                    <a:lnTo>
                      <a:pt x="1867" y="223"/>
                    </a:lnTo>
                    <a:lnTo>
                      <a:pt x="1864" y="222"/>
                    </a:lnTo>
                    <a:lnTo>
                      <a:pt x="1860" y="219"/>
                    </a:lnTo>
                    <a:lnTo>
                      <a:pt x="1852" y="213"/>
                    </a:lnTo>
                    <a:lnTo>
                      <a:pt x="1847" y="210"/>
                    </a:lnTo>
                    <a:lnTo>
                      <a:pt x="1844" y="210"/>
                    </a:lnTo>
                    <a:lnTo>
                      <a:pt x="1841" y="210"/>
                    </a:lnTo>
                    <a:lnTo>
                      <a:pt x="1837" y="215"/>
                    </a:lnTo>
                    <a:lnTo>
                      <a:pt x="1835" y="216"/>
                    </a:lnTo>
                    <a:lnTo>
                      <a:pt x="1835" y="217"/>
                    </a:lnTo>
                    <a:lnTo>
                      <a:pt x="1834" y="219"/>
                    </a:lnTo>
                    <a:lnTo>
                      <a:pt x="1834" y="222"/>
                    </a:lnTo>
                    <a:lnTo>
                      <a:pt x="1834" y="227"/>
                    </a:lnTo>
                    <a:lnTo>
                      <a:pt x="1832" y="232"/>
                    </a:lnTo>
                    <a:lnTo>
                      <a:pt x="1831" y="233"/>
                    </a:lnTo>
                    <a:lnTo>
                      <a:pt x="1827" y="232"/>
                    </a:lnTo>
                    <a:lnTo>
                      <a:pt x="1825" y="229"/>
                    </a:lnTo>
                    <a:lnTo>
                      <a:pt x="1825" y="227"/>
                    </a:lnTo>
                    <a:lnTo>
                      <a:pt x="1824" y="225"/>
                    </a:lnTo>
                    <a:lnTo>
                      <a:pt x="1822" y="223"/>
                    </a:lnTo>
                    <a:lnTo>
                      <a:pt x="1822" y="223"/>
                    </a:lnTo>
                    <a:lnTo>
                      <a:pt x="1819" y="223"/>
                    </a:lnTo>
                    <a:lnTo>
                      <a:pt x="1819" y="223"/>
                    </a:lnTo>
                    <a:lnTo>
                      <a:pt x="1818" y="223"/>
                    </a:lnTo>
                    <a:lnTo>
                      <a:pt x="1816" y="222"/>
                    </a:lnTo>
                    <a:lnTo>
                      <a:pt x="1815" y="220"/>
                    </a:lnTo>
                    <a:lnTo>
                      <a:pt x="1812" y="217"/>
                    </a:lnTo>
                    <a:lnTo>
                      <a:pt x="1801" y="209"/>
                    </a:lnTo>
                    <a:lnTo>
                      <a:pt x="1796" y="207"/>
                    </a:lnTo>
                    <a:lnTo>
                      <a:pt x="1791" y="209"/>
                    </a:lnTo>
                    <a:lnTo>
                      <a:pt x="1786" y="210"/>
                    </a:lnTo>
                    <a:lnTo>
                      <a:pt x="1783" y="213"/>
                    </a:lnTo>
                    <a:lnTo>
                      <a:pt x="1781" y="215"/>
                    </a:lnTo>
                    <a:lnTo>
                      <a:pt x="1778" y="215"/>
                    </a:lnTo>
                    <a:lnTo>
                      <a:pt x="1776" y="216"/>
                    </a:lnTo>
                    <a:lnTo>
                      <a:pt x="1775" y="217"/>
                    </a:lnTo>
                    <a:lnTo>
                      <a:pt x="1773" y="220"/>
                    </a:lnTo>
                    <a:lnTo>
                      <a:pt x="1775" y="222"/>
                    </a:lnTo>
                    <a:lnTo>
                      <a:pt x="1775" y="225"/>
                    </a:lnTo>
                    <a:lnTo>
                      <a:pt x="1776" y="226"/>
                    </a:lnTo>
                    <a:lnTo>
                      <a:pt x="1772" y="226"/>
                    </a:lnTo>
                    <a:lnTo>
                      <a:pt x="1771" y="226"/>
                    </a:lnTo>
                    <a:lnTo>
                      <a:pt x="1769" y="229"/>
                    </a:lnTo>
                    <a:lnTo>
                      <a:pt x="1769" y="233"/>
                    </a:lnTo>
                    <a:lnTo>
                      <a:pt x="1769" y="238"/>
                    </a:lnTo>
                    <a:lnTo>
                      <a:pt x="1769" y="248"/>
                    </a:lnTo>
                    <a:lnTo>
                      <a:pt x="1768" y="248"/>
                    </a:lnTo>
                    <a:lnTo>
                      <a:pt x="1766" y="248"/>
                    </a:lnTo>
                    <a:lnTo>
                      <a:pt x="1765" y="248"/>
                    </a:lnTo>
                    <a:lnTo>
                      <a:pt x="1763" y="248"/>
                    </a:lnTo>
                    <a:lnTo>
                      <a:pt x="1763" y="249"/>
                    </a:lnTo>
                    <a:lnTo>
                      <a:pt x="1763" y="252"/>
                    </a:lnTo>
                    <a:lnTo>
                      <a:pt x="1765" y="253"/>
                    </a:lnTo>
                    <a:close/>
                    <a:moveTo>
                      <a:pt x="1814" y="322"/>
                    </a:moveTo>
                    <a:lnTo>
                      <a:pt x="1818" y="322"/>
                    </a:lnTo>
                    <a:lnTo>
                      <a:pt x="1824" y="319"/>
                    </a:lnTo>
                    <a:lnTo>
                      <a:pt x="1828" y="319"/>
                    </a:lnTo>
                    <a:lnTo>
                      <a:pt x="1831" y="319"/>
                    </a:lnTo>
                    <a:lnTo>
                      <a:pt x="1835" y="321"/>
                    </a:lnTo>
                    <a:lnTo>
                      <a:pt x="1838" y="321"/>
                    </a:lnTo>
                    <a:lnTo>
                      <a:pt x="1839" y="322"/>
                    </a:lnTo>
                    <a:lnTo>
                      <a:pt x="1844" y="324"/>
                    </a:lnTo>
                    <a:lnTo>
                      <a:pt x="1845" y="325"/>
                    </a:lnTo>
                    <a:lnTo>
                      <a:pt x="1848" y="325"/>
                    </a:lnTo>
                    <a:lnTo>
                      <a:pt x="1875" y="328"/>
                    </a:lnTo>
                    <a:lnTo>
                      <a:pt x="1877" y="328"/>
                    </a:lnTo>
                    <a:lnTo>
                      <a:pt x="1878" y="325"/>
                    </a:lnTo>
                    <a:lnTo>
                      <a:pt x="1878" y="321"/>
                    </a:lnTo>
                    <a:lnTo>
                      <a:pt x="1877" y="318"/>
                    </a:lnTo>
                    <a:lnTo>
                      <a:pt x="1874" y="315"/>
                    </a:lnTo>
                    <a:lnTo>
                      <a:pt x="1864" y="309"/>
                    </a:lnTo>
                    <a:lnTo>
                      <a:pt x="1860" y="308"/>
                    </a:lnTo>
                    <a:lnTo>
                      <a:pt x="1857" y="307"/>
                    </a:lnTo>
                    <a:lnTo>
                      <a:pt x="1852" y="307"/>
                    </a:lnTo>
                    <a:lnTo>
                      <a:pt x="1848" y="307"/>
                    </a:lnTo>
                    <a:lnTo>
                      <a:pt x="1841" y="307"/>
                    </a:lnTo>
                    <a:lnTo>
                      <a:pt x="1837" y="308"/>
                    </a:lnTo>
                    <a:lnTo>
                      <a:pt x="1834" y="309"/>
                    </a:lnTo>
                    <a:lnTo>
                      <a:pt x="1828" y="315"/>
                    </a:lnTo>
                    <a:lnTo>
                      <a:pt x="1825" y="318"/>
                    </a:lnTo>
                    <a:lnTo>
                      <a:pt x="1821" y="319"/>
                    </a:lnTo>
                    <a:lnTo>
                      <a:pt x="1812" y="321"/>
                    </a:lnTo>
                    <a:lnTo>
                      <a:pt x="1814" y="322"/>
                    </a:lnTo>
                    <a:close/>
                    <a:moveTo>
                      <a:pt x="1928" y="256"/>
                    </a:moveTo>
                    <a:lnTo>
                      <a:pt x="1934" y="259"/>
                    </a:lnTo>
                    <a:lnTo>
                      <a:pt x="1943" y="263"/>
                    </a:lnTo>
                    <a:lnTo>
                      <a:pt x="1951" y="266"/>
                    </a:lnTo>
                    <a:lnTo>
                      <a:pt x="1954" y="268"/>
                    </a:lnTo>
                    <a:lnTo>
                      <a:pt x="1959" y="271"/>
                    </a:lnTo>
                    <a:lnTo>
                      <a:pt x="1962" y="272"/>
                    </a:lnTo>
                    <a:lnTo>
                      <a:pt x="1967" y="273"/>
                    </a:lnTo>
                    <a:lnTo>
                      <a:pt x="1979" y="275"/>
                    </a:lnTo>
                    <a:lnTo>
                      <a:pt x="1986" y="273"/>
                    </a:lnTo>
                    <a:lnTo>
                      <a:pt x="1992" y="273"/>
                    </a:lnTo>
                    <a:lnTo>
                      <a:pt x="1997" y="271"/>
                    </a:lnTo>
                    <a:lnTo>
                      <a:pt x="2000" y="269"/>
                    </a:lnTo>
                    <a:lnTo>
                      <a:pt x="2003" y="268"/>
                    </a:lnTo>
                    <a:lnTo>
                      <a:pt x="2005" y="266"/>
                    </a:lnTo>
                    <a:lnTo>
                      <a:pt x="2006" y="263"/>
                    </a:lnTo>
                    <a:lnTo>
                      <a:pt x="2007" y="258"/>
                    </a:lnTo>
                    <a:lnTo>
                      <a:pt x="2006" y="258"/>
                    </a:lnTo>
                    <a:lnTo>
                      <a:pt x="2006" y="258"/>
                    </a:lnTo>
                    <a:lnTo>
                      <a:pt x="2005" y="258"/>
                    </a:lnTo>
                    <a:lnTo>
                      <a:pt x="2003" y="259"/>
                    </a:lnTo>
                    <a:lnTo>
                      <a:pt x="2003" y="259"/>
                    </a:lnTo>
                    <a:lnTo>
                      <a:pt x="2002" y="259"/>
                    </a:lnTo>
                    <a:lnTo>
                      <a:pt x="2000" y="259"/>
                    </a:lnTo>
                    <a:lnTo>
                      <a:pt x="1999" y="258"/>
                    </a:lnTo>
                    <a:lnTo>
                      <a:pt x="1995" y="255"/>
                    </a:lnTo>
                    <a:lnTo>
                      <a:pt x="1992" y="253"/>
                    </a:lnTo>
                    <a:lnTo>
                      <a:pt x="1990" y="253"/>
                    </a:lnTo>
                    <a:lnTo>
                      <a:pt x="1982" y="252"/>
                    </a:lnTo>
                    <a:lnTo>
                      <a:pt x="1979" y="253"/>
                    </a:lnTo>
                    <a:lnTo>
                      <a:pt x="1973" y="253"/>
                    </a:lnTo>
                    <a:lnTo>
                      <a:pt x="1972" y="253"/>
                    </a:lnTo>
                    <a:lnTo>
                      <a:pt x="1969" y="253"/>
                    </a:lnTo>
                    <a:lnTo>
                      <a:pt x="1967" y="252"/>
                    </a:lnTo>
                    <a:lnTo>
                      <a:pt x="1967" y="248"/>
                    </a:lnTo>
                    <a:lnTo>
                      <a:pt x="1966" y="246"/>
                    </a:lnTo>
                    <a:lnTo>
                      <a:pt x="1964" y="245"/>
                    </a:lnTo>
                    <a:lnTo>
                      <a:pt x="1951" y="243"/>
                    </a:lnTo>
                    <a:lnTo>
                      <a:pt x="1949" y="243"/>
                    </a:lnTo>
                    <a:lnTo>
                      <a:pt x="1946" y="245"/>
                    </a:lnTo>
                    <a:lnTo>
                      <a:pt x="1944" y="246"/>
                    </a:lnTo>
                    <a:lnTo>
                      <a:pt x="1941" y="248"/>
                    </a:lnTo>
                    <a:lnTo>
                      <a:pt x="1939" y="248"/>
                    </a:lnTo>
                    <a:lnTo>
                      <a:pt x="1937" y="246"/>
                    </a:lnTo>
                    <a:lnTo>
                      <a:pt x="1936" y="243"/>
                    </a:lnTo>
                    <a:lnTo>
                      <a:pt x="1936" y="242"/>
                    </a:lnTo>
                    <a:lnTo>
                      <a:pt x="1936" y="239"/>
                    </a:lnTo>
                    <a:lnTo>
                      <a:pt x="1933" y="236"/>
                    </a:lnTo>
                    <a:lnTo>
                      <a:pt x="1931" y="236"/>
                    </a:lnTo>
                    <a:lnTo>
                      <a:pt x="1930" y="239"/>
                    </a:lnTo>
                    <a:lnTo>
                      <a:pt x="1928" y="242"/>
                    </a:lnTo>
                    <a:lnTo>
                      <a:pt x="1927" y="246"/>
                    </a:lnTo>
                    <a:lnTo>
                      <a:pt x="1926" y="250"/>
                    </a:lnTo>
                    <a:lnTo>
                      <a:pt x="1926" y="253"/>
                    </a:lnTo>
                    <a:lnTo>
                      <a:pt x="1927" y="256"/>
                    </a:lnTo>
                    <a:lnTo>
                      <a:pt x="1928" y="256"/>
                    </a:lnTo>
                    <a:close/>
                    <a:moveTo>
                      <a:pt x="1977" y="190"/>
                    </a:moveTo>
                    <a:lnTo>
                      <a:pt x="1979" y="189"/>
                    </a:lnTo>
                    <a:lnTo>
                      <a:pt x="1982" y="186"/>
                    </a:lnTo>
                    <a:lnTo>
                      <a:pt x="1983" y="186"/>
                    </a:lnTo>
                    <a:lnTo>
                      <a:pt x="1973" y="186"/>
                    </a:lnTo>
                    <a:lnTo>
                      <a:pt x="1969" y="187"/>
                    </a:lnTo>
                    <a:lnTo>
                      <a:pt x="1964" y="190"/>
                    </a:lnTo>
                    <a:lnTo>
                      <a:pt x="1974" y="190"/>
                    </a:lnTo>
                    <a:lnTo>
                      <a:pt x="1977" y="190"/>
                    </a:lnTo>
                    <a:close/>
                    <a:moveTo>
                      <a:pt x="1769" y="386"/>
                    </a:moveTo>
                    <a:lnTo>
                      <a:pt x="1766" y="387"/>
                    </a:lnTo>
                    <a:lnTo>
                      <a:pt x="1768" y="388"/>
                    </a:lnTo>
                    <a:lnTo>
                      <a:pt x="1769" y="388"/>
                    </a:lnTo>
                    <a:lnTo>
                      <a:pt x="1771" y="388"/>
                    </a:lnTo>
                    <a:lnTo>
                      <a:pt x="1772" y="388"/>
                    </a:lnTo>
                    <a:lnTo>
                      <a:pt x="1776" y="390"/>
                    </a:lnTo>
                    <a:lnTo>
                      <a:pt x="1779" y="390"/>
                    </a:lnTo>
                    <a:lnTo>
                      <a:pt x="1781" y="387"/>
                    </a:lnTo>
                    <a:lnTo>
                      <a:pt x="1779" y="386"/>
                    </a:lnTo>
                    <a:lnTo>
                      <a:pt x="1775" y="384"/>
                    </a:lnTo>
                    <a:lnTo>
                      <a:pt x="1769" y="386"/>
                    </a:lnTo>
                    <a:close/>
                    <a:moveTo>
                      <a:pt x="1743" y="246"/>
                    </a:moveTo>
                    <a:lnTo>
                      <a:pt x="1746" y="245"/>
                    </a:lnTo>
                    <a:lnTo>
                      <a:pt x="1748" y="243"/>
                    </a:lnTo>
                    <a:lnTo>
                      <a:pt x="1748" y="242"/>
                    </a:lnTo>
                    <a:lnTo>
                      <a:pt x="1746" y="240"/>
                    </a:lnTo>
                    <a:lnTo>
                      <a:pt x="1746" y="239"/>
                    </a:lnTo>
                    <a:lnTo>
                      <a:pt x="1748" y="238"/>
                    </a:lnTo>
                    <a:lnTo>
                      <a:pt x="1750" y="235"/>
                    </a:lnTo>
                    <a:lnTo>
                      <a:pt x="1749" y="233"/>
                    </a:lnTo>
                    <a:lnTo>
                      <a:pt x="1746" y="230"/>
                    </a:lnTo>
                    <a:lnTo>
                      <a:pt x="1745" y="229"/>
                    </a:lnTo>
                    <a:lnTo>
                      <a:pt x="1743" y="225"/>
                    </a:lnTo>
                    <a:lnTo>
                      <a:pt x="1742" y="222"/>
                    </a:lnTo>
                    <a:lnTo>
                      <a:pt x="1740" y="226"/>
                    </a:lnTo>
                    <a:lnTo>
                      <a:pt x="1740" y="229"/>
                    </a:lnTo>
                    <a:lnTo>
                      <a:pt x="1739" y="235"/>
                    </a:lnTo>
                    <a:lnTo>
                      <a:pt x="1739" y="238"/>
                    </a:lnTo>
                    <a:lnTo>
                      <a:pt x="1737" y="243"/>
                    </a:lnTo>
                    <a:lnTo>
                      <a:pt x="1737" y="246"/>
                    </a:lnTo>
                    <a:lnTo>
                      <a:pt x="1740" y="246"/>
                    </a:lnTo>
                    <a:lnTo>
                      <a:pt x="1743" y="246"/>
                    </a:lnTo>
                    <a:close/>
                    <a:moveTo>
                      <a:pt x="1822" y="304"/>
                    </a:moveTo>
                    <a:lnTo>
                      <a:pt x="1825" y="305"/>
                    </a:lnTo>
                    <a:lnTo>
                      <a:pt x="1828" y="305"/>
                    </a:lnTo>
                    <a:lnTo>
                      <a:pt x="1831" y="305"/>
                    </a:lnTo>
                    <a:lnTo>
                      <a:pt x="1834" y="304"/>
                    </a:lnTo>
                    <a:lnTo>
                      <a:pt x="1835" y="301"/>
                    </a:lnTo>
                    <a:lnTo>
                      <a:pt x="1837" y="298"/>
                    </a:lnTo>
                    <a:lnTo>
                      <a:pt x="1834" y="294"/>
                    </a:lnTo>
                    <a:lnTo>
                      <a:pt x="1828" y="294"/>
                    </a:lnTo>
                    <a:lnTo>
                      <a:pt x="1822" y="295"/>
                    </a:lnTo>
                    <a:lnTo>
                      <a:pt x="1819" y="299"/>
                    </a:lnTo>
                    <a:lnTo>
                      <a:pt x="1821" y="302"/>
                    </a:lnTo>
                    <a:lnTo>
                      <a:pt x="1822" y="304"/>
                    </a:lnTo>
                    <a:close/>
                    <a:moveTo>
                      <a:pt x="2311" y="443"/>
                    </a:moveTo>
                    <a:lnTo>
                      <a:pt x="2316" y="446"/>
                    </a:lnTo>
                    <a:lnTo>
                      <a:pt x="2325" y="447"/>
                    </a:lnTo>
                    <a:lnTo>
                      <a:pt x="2328" y="447"/>
                    </a:lnTo>
                    <a:lnTo>
                      <a:pt x="2329" y="447"/>
                    </a:lnTo>
                    <a:lnTo>
                      <a:pt x="2331" y="447"/>
                    </a:lnTo>
                    <a:lnTo>
                      <a:pt x="2332" y="446"/>
                    </a:lnTo>
                    <a:lnTo>
                      <a:pt x="2332" y="444"/>
                    </a:lnTo>
                    <a:lnTo>
                      <a:pt x="2335" y="440"/>
                    </a:lnTo>
                    <a:lnTo>
                      <a:pt x="2332" y="439"/>
                    </a:lnTo>
                    <a:lnTo>
                      <a:pt x="2326" y="436"/>
                    </a:lnTo>
                    <a:lnTo>
                      <a:pt x="2318" y="434"/>
                    </a:lnTo>
                    <a:lnTo>
                      <a:pt x="2313" y="434"/>
                    </a:lnTo>
                    <a:lnTo>
                      <a:pt x="2309" y="436"/>
                    </a:lnTo>
                    <a:lnTo>
                      <a:pt x="2306" y="439"/>
                    </a:lnTo>
                    <a:lnTo>
                      <a:pt x="2306" y="442"/>
                    </a:lnTo>
                    <a:lnTo>
                      <a:pt x="2311" y="443"/>
                    </a:lnTo>
                    <a:close/>
                    <a:moveTo>
                      <a:pt x="2042" y="212"/>
                    </a:moveTo>
                    <a:lnTo>
                      <a:pt x="2043" y="210"/>
                    </a:lnTo>
                    <a:lnTo>
                      <a:pt x="2043" y="207"/>
                    </a:lnTo>
                    <a:lnTo>
                      <a:pt x="2042" y="207"/>
                    </a:lnTo>
                    <a:lnTo>
                      <a:pt x="2041" y="207"/>
                    </a:lnTo>
                    <a:lnTo>
                      <a:pt x="2038" y="209"/>
                    </a:lnTo>
                    <a:lnTo>
                      <a:pt x="2041" y="212"/>
                    </a:lnTo>
                    <a:lnTo>
                      <a:pt x="2042" y="212"/>
                    </a:lnTo>
                    <a:close/>
                    <a:moveTo>
                      <a:pt x="2502" y="409"/>
                    </a:moveTo>
                    <a:lnTo>
                      <a:pt x="2503" y="407"/>
                    </a:lnTo>
                    <a:lnTo>
                      <a:pt x="2507" y="407"/>
                    </a:lnTo>
                    <a:lnTo>
                      <a:pt x="2512" y="406"/>
                    </a:lnTo>
                    <a:lnTo>
                      <a:pt x="2513" y="406"/>
                    </a:lnTo>
                    <a:lnTo>
                      <a:pt x="2517" y="404"/>
                    </a:lnTo>
                    <a:lnTo>
                      <a:pt x="2522" y="403"/>
                    </a:lnTo>
                    <a:lnTo>
                      <a:pt x="2524" y="404"/>
                    </a:lnTo>
                    <a:lnTo>
                      <a:pt x="2527" y="404"/>
                    </a:lnTo>
                    <a:lnTo>
                      <a:pt x="2532" y="406"/>
                    </a:lnTo>
                    <a:lnTo>
                      <a:pt x="2536" y="404"/>
                    </a:lnTo>
                    <a:lnTo>
                      <a:pt x="2547" y="403"/>
                    </a:lnTo>
                    <a:lnTo>
                      <a:pt x="2558" y="401"/>
                    </a:lnTo>
                    <a:lnTo>
                      <a:pt x="2562" y="400"/>
                    </a:lnTo>
                    <a:lnTo>
                      <a:pt x="2565" y="396"/>
                    </a:lnTo>
                    <a:lnTo>
                      <a:pt x="2563" y="394"/>
                    </a:lnTo>
                    <a:lnTo>
                      <a:pt x="2560" y="391"/>
                    </a:lnTo>
                    <a:lnTo>
                      <a:pt x="2550" y="387"/>
                    </a:lnTo>
                    <a:lnTo>
                      <a:pt x="2547" y="386"/>
                    </a:lnTo>
                    <a:lnTo>
                      <a:pt x="2543" y="386"/>
                    </a:lnTo>
                    <a:lnTo>
                      <a:pt x="2539" y="386"/>
                    </a:lnTo>
                    <a:lnTo>
                      <a:pt x="2533" y="384"/>
                    </a:lnTo>
                    <a:lnTo>
                      <a:pt x="2526" y="386"/>
                    </a:lnTo>
                    <a:lnTo>
                      <a:pt x="2519" y="387"/>
                    </a:lnTo>
                    <a:lnTo>
                      <a:pt x="2512" y="390"/>
                    </a:lnTo>
                    <a:lnTo>
                      <a:pt x="2506" y="393"/>
                    </a:lnTo>
                    <a:lnTo>
                      <a:pt x="2502" y="396"/>
                    </a:lnTo>
                    <a:lnTo>
                      <a:pt x="2499" y="398"/>
                    </a:lnTo>
                    <a:lnTo>
                      <a:pt x="2497" y="401"/>
                    </a:lnTo>
                    <a:lnTo>
                      <a:pt x="2497" y="404"/>
                    </a:lnTo>
                    <a:lnTo>
                      <a:pt x="2499" y="407"/>
                    </a:lnTo>
                    <a:lnTo>
                      <a:pt x="2502" y="409"/>
                    </a:lnTo>
                    <a:close/>
                    <a:moveTo>
                      <a:pt x="2190" y="455"/>
                    </a:moveTo>
                    <a:lnTo>
                      <a:pt x="2188" y="456"/>
                    </a:lnTo>
                    <a:lnTo>
                      <a:pt x="2190" y="457"/>
                    </a:lnTo>
                    <a:lnTo>
                      <a:pt x="2190" y="459"/>
                    </a:lnTo>
                    <a:lnTo>
                      <a:pt x="2193" y="459"/>
                    </a:lnTo>
                    <a:lnTo>
                      <a:pt x="2194" y="460"/>
                    </a:lnTo>
                    <a:lnTo>
                      <a:pt x="2194" y="460"/>
                    </a:lnTo>
                    <a:lnTo>
                      <a:pt x="2194" y="463"/>
                    </a:lnTo>
                    <a:lnTo>
                      <a:pt x="2196" y="462"/>
                    </a:lnTo>
                    <a:lnTo>
                      <a:pt x="2196" y="460"/>
                    </a:lnTo>
                    <a:lnTo>
                      <a:pt x="2193" y="456"/>
                    </a:lnTo>
                    <a:lnTo>
                      <a:pt x="2193" y="455"/>
                    </a:lnTo>
                    <a:lnTo>
                      <a:pt x="2193" y="453"/>
                    </a:lnTo>
                    <a:lnTo>
                      <a:pt x="2193" y="452"/>
                    </a:lnTo>
                    <a:lnTo>
                      <a:pt x="2193" y="450"/>
                    </a:lnTo>
                    <a:lnTo>
                      <a:pt x="2194" y="450"/>
                    </a:lnTo>
                    <a:lnTo>
                      <a:pt x="2196" y="450"/>
                    </a:lnTo>
                    <a:lnTo>
                      <a:pt x="2197" y="449"/>
                    </a:lnTo>
                    <a:lnTo>
                      <a:pt x="2197" y="446"/>
                    </a:lnTo>
                    <a:lnTo>
                      <a:pt x="2196" y="446"/>
                    </a:lnTo>
                    <a:lnTo>
                      <a:pt x="2194" y="446"/>
                    </a:lnTo>
                    <a:lnTo>
                      <a:pt x="2190" y="449"/>
                    </a:lnTo>
                    <a:lnTo>
                      <a:pt x="2188" y="450"/>
                    </a:lnTo>
                    <a:lnTo>
                      <a:pt x="2190" y="453"/>
                    </a:lnTo>
                    <a:lnTo>
                      <a:pt x="2190" y="455"/>
                    </a:lnTo>
                    <a:close/>
                    <a:moveTo>
                      <a:pt x="2178" y="409"/>
                    </a:moveTo>
                    <a:lnTo>
                      <a:pt x="2180" y="409"/>
                    </a:lnTo>
                    <a:lnTo>
                      <a:pt x="2181" y="409"/>
                    </a:lnTo>
                    <a:lnTo>
                      <a:pt x="2181" y="407"/>
                    </a:lnTo>
                    <a:lnTo>
                      <a:pt x="2180" y="406"/>
                    </a:lnTo>
                    <a:lnTo>
                      <a:pt x="2178" y="404"/>
                    </a:lnTo>
                    <a:lnTo>
                      <a:pt x="2177" y="406"/>
                    </a:lnTo>
                    <a:lnTo>
                      <a:pt x="2177" y="407"/>
                    </a:lnTo>
                    <a:lnTo>
                      <a:pt x="2178" y="409"/>
                    </a:lnTo>
                    <a:close/>
                    <a:moveTo>
                      <a:pt x="1057" y="204"/>
                    </a:moveTo>
                    <a:lnTo>
                      <a:pt x="1057" y="207"/>
                    </a:lnTo>
                    <a:lnTo>
                      <a:pt x="1058" y="207"/>
                    </a:lnTo>
                    <a:lnTo>
                      <a:pt x="1061" y="206"/>
                    </a:lnTo>
                    <a:lnTo>
                      <a:pt x="1061" y="204"/>
                    </a:lnTo>
                    <a:lnTo>
                      <a:pt x="1061" y="202"/>
                    </a:lnTo>
                    <a:lnTo>
                      <a:pt x="1060" y="200"/>
                    </a:lnTo>
                    <a:lnTo>
                      <a:pt x="1058" y="202"/>
                    </a:lnTo>
                    <a:lnTo>
                      <a:pt x="1057" y="204"/>
                    </a:lnTo>
                    <a:close/>
                    <a:moveTo>
                      <a:pt x="1117" y="127"/>
                    </a:moveTo>
                    <a:lnTo>
                      <a:pt x="1116" y="130"/>
                    </a:lnTo>
                    <a:lnTo>
                      <a:pt x="1114" y="131"/>
                    </a:lnTo>
                    <a:lnTo>
                      <a:pt x="1113" y="134"/>
                    </a:lnTo>
                    <a:lnTo>
                      <a:pt x="1110" y="135"/>
                    </a:lnTo>
                    <a:lnTo>
                      <a:pt x="1107" y="137"/>
                    </a:lnTo>
                    <a:lnTo>
                      <a:pt x="1104" y="143"/>
                    </a:lnTo>
                    <a:lnTo>
                      <a:pt x="1101" y="144"/>
                    </a:lnTo>
                    <a:lnTo>
                      <a:pt x="1108" y="147"/>
                    </a:lnTo>
                    <a:lnTo>
                      <a:pt x="1116" y="147"/>
                    </a:lnTo>
                    <a:lnTo>
                      <a:pt x="1123" y="144"/>
                    </a:lnTo>
                    <a:lnTo>
                      <a:pt x="1130" y="141"/>
                    </a:lnTo>
                    <a:lnTo>
                      <a:pt x="1136" y="138"/>
                    </a:lnTo>
                    <a:lnTo>
                      <a:pt x="1144" y="137"/>
                    </a:lnTo>
                    <a:lnTo>
                      <a:pt x="1152" y="137"/>
                    </a:lnTo>
                    <a:lnTo>
                      <a:pt x="1159" y="137"/>
                    </a:lnTo>
                    <a:lnTo>
                      <a:pt x="1159" y="137"/>
                    </a:lnTo>
                    <a:lnTo>
                      <a:pt x="1162" y="138"/>
                    </a:lnTo>
                    <a:lnTo>
                      <a:pt x="1163" y="138"/>
                    </a:lnTo>
                    <a:lnTo>
                      <a:pt x="1164" y="137"/>
                    </a:lnTo>
                    <a:lnTo>
                      <a:pt x="1166" y="135"/>
                    </a:lnTo>
                    <a:lnTo>
                      <a:pt x="1167" y="135"/>
                    </a:lnTo>
                    <a:lnTo>
                      <a:pt x="1172" y="135"/>
                    </a:lnTo>
                    <a:lnTo>
                      <a:pt x="1179" y="135"/>
                    </a:lnTo>
                    <a:lnTo>
                      <a:pt x="1198" y="133"/>
                    </a:lnTo>
                    <a:lnTo>
                      <a:pt x="1205" y="130"/>
                    </a:lnTo>
                    <a:lnTo>
                      <a:pt x="1208" y="124"/>
                    </a:lnTo>
                    <a:lnTo>
                      <a:pt x="1208" y="121"/>
                    </a:lnTo>
                    <a:lnTo>
                      <a:pt x="1208" y="118"/>
                    </a:lnTo>
                    <a:lnTo>
                      <a:pt x="1206" y="117"/>
                    </a:lnTo>
                    <a:lnTo>
                      <a:pt x="1205" y="114"/>
                    </a:lnTo>
                    <a:lnTo>
                      <a:pt x="1203" y="114"/>
                    </a:lnTo>
                    <a:lnTo>
                      <a:pt x="1200" y="112"/>
                    </a:lnTo>
                    <a:lnTo>
                      <a:pt x="1199" y="114"/>
                    </a:lnTo>
                    <a:lnTo>
                      <a:pt x="1196" y="114"/>
                    </a:lnTo>
                    <a:lnTo>
                      <a:pt x="1193" y="112"/>
                    </a:lnTo>
                    <a:lnTo>
                      <a:pt x="1193" y="111"/>
                    </a:lnTo>
                    <a:lnTo>
                      <a:pt x="1193" y="110"/>
                    </a:lnTo>
                    <a:lnTo>
                      <a:pt x="1192" y="108"/>
                    </a:lnTo>
                    <a:lnTo>
                      <a:pt x="1190" y="107"/>
                    </a:lnTo>
                    <a:lnTo>
                      <a:pt x="1186" y="105"/>
                    </a:lnTo>
                    <a:lnTo>
                      <a:pt x="1185" y="105"/>
                    </a:lnTo>
                    <a:lnTo>
                      <a:pt x="1183" y="104"/>
                    </a:lnTo>
                    <a:lnTo>
                      <a:pt x="1183" y="102"/>
                    </a:lnTo>
                    <a:lnTo>
                      <a:pt x="1182" y="101"/>
                    </a:lnTo>
                    <a:lnTo>
                      <a:pt x="1179" y="101"/>
                    </a:lnTo>
                    <a:lnTo>
                      <a:pt x="1176" y="101"/>
                    </a:lnTo>
                    <a:lnTo>
                      <a:pt x="1175" y="102"/>
                    </a:lnTo>
                    <a:lnTo>
                      <a:pt x="1170" y="104"/>
                    </a:lnTo>
                    <a:lnTo>
                      <a:pt x="1167" y="105"/>
                    </a:lnTo>
                    <a:lnTo>
                      <a:pt x="1164" y="105"/>
                    </a:lnTo>
                    <a:lnTo>
                      <a:pt x="1163" y="107"/>
                    </a:lnTo>
                    <a:lnTo>
                      <a:pt x="1160" y="111"/>
                    </a:lnTo>
                    <a:lnTo>
                      <a:pt x="1159" y="112"/>
                    </a:lnTo>
                    <a:lnTo>
                      <a:pt x="1156" y="114"/>
                    </a:lnTo>
                    <a:lnTo>
                      <a:pt x="1157" y="111"/>
                    </a:lnTo>
                    <a:lnTo>
                      <a:pt x="1163" y="102"/>
                    </a:lnTo>
                    <a:lnTo>
                      <a:pt x="1164" y="98"/>
                    </a:lnTo>
                    <a:lnTo>
                      <a:pt x="1164" y="97"/>
                    </a:lnTo>
                    <a:lnTo>
                      <a:pt x="1166" y="95"/>
                    </a:lnTo>
                    <a:lnTo>
                      <a:pt x="1167" y="95"/>
                    </a:lnTo>
                    <a:lnTo>
                      <a:pt x="1167" y="95"/>
                    </a:lnTo>
                    <a:lnTo>
                      <a:pt x="1169" y="94"/>
                    </a:lnTo>
                    <a:lnTo>
                      <a:pt x="1164" y="89"/>
                    </a:lnTo>
                    <a:lnTo>
                      <a:pt x="1157" y="88"/>
                    </a:lnTo>
                    <a:lnTo>
                      <a:pt x="1152" y="89"/>
                    </a:lnTo>
                    <a:lnTo>
                      <a:pt x="1153" y="97"/>
                    </a:lnTo>
                    <a:lnTo>
                      <a:pt x="1150" y="95"/>
                    </a:lnTo>
                    <a:lnTo>
                      <a:pt x="1149" y="94"/>
                    </a:lnTo>
                    <a:lnTo>
                      <a:pt x="1146" y="92"/>
                    </a:lnTo>
                    <a:lnTo>
                      <a:pt x="1144" y="91"/>
                    </a:lnTo>
                    <a:lnTo>
                      <a:pt x="1143" y="92"/>
                    </a:lnTo>
                    <a:lnTo>
                      <a:pt x="1141" y="92"/>
                    </a:lnTo>
                    <a:lnTo>
                      <a:pt x="1141" y="94"/>
                    </a:lnTo>
                    <a:lnTo>
                      <a:pt x="1141" y="95"/>
                    </a:lnTo>
                    <a:lnTo>
                      <a:pt x="1140" y="95"/>
                    </a:lnTo>
                    <a:lnTo>
                      <a:pt x="1139" y="97"/>
                    </a:lnTo>
                    <a:lnTo>
                      <a:pt x="1137" y="97"/>
                    </a:lnTo>
                    <a:lnTo>
                      <a:pt x="1136" y="98"/>
                    </a:lnTo>
                    <a:lnTo>
                      <a:pt x="1134" y="100"/>
                    </a:lnTo>
                    <a:lnTo>
                      <a:pt x="1133" y="102"/>
                    </a:lnTo>
                    <a:lnTo>
                      <a:pt x="1130" y="108"/>
                    </a:lnTo>
                    <a:lnTo>
                      <a:pt x="1129" y="111"/>
                    </a:lnTo>
                    <a:lnTo>
                      <a:pt x="1129" y="114"/>
                    </a:lnTo>
                    <a:lnTo>
                      <a:pt x="1130" y="115"/>
                    </a:lnTo>
                    <a:lnTo>
                      <a:pt x="1129" y="115"/>
                    </a:lnTo>
                    <a:lnTo>
                      <a:pt x="1126" y="115"/>
                    </a:lnTo>
                    <a:lnTo>
                      <a:pt x="1123" y="115"/>
                    </a:lnTo>
                    <a:lnTo>
                      <a:pt x="1121" y="117"/>
                    </a:lnTo>
                    <a:lnTo>
                      <a:pt x="1120" y="118"/>
                    </a:lnTo>
                    <a:lnTo>
                      <a:pt x="1119" y="121"/>
                    </a:lnTo>
                    <a:lnTo>
                      <a:pt x="1117" y="127"/>
                    </a:lnTo>
                    <a:close/>
                    <a:moveTo>
                      <a:pt x="1075" y="66"/>
                    </a:moveTo>
                    <a:lnTo>
                      <a:pt x="1077" y="65"/>
                    </a:lnTo>
                    <a:lnTo>
                      <a:pt x="1080" y="64"/>
                    </a:lnTo>
                    <a:lnTo>
                      <a:pt x="1074" y="58"/>
                    </a:lnTo>
                    <a:lnTo>
                      <a:pt x="1068" y="56"/>
                    </a:lnTo>
                    <a:lnTo>
                      <a:pt x="1063" y="56"/>
                    </a:lnTo>
                    <a:lnTo>
                      <a:pt x="1052" y="59"/>
                    </a:lnTo>
                    <a:lnTo>
                      <a:pt x="1047" y="59"/>
                    </a:lnTo>
                    <a:lnTo>
                      <a:pt x="1038" y="59"/>
                    </a:lnTo>
                    <a:lnTo>
                      <a:pt x="1035" y="59"/>
                    </a:lnTo>
                    <a:lnTo>
                      <a:pt x="1035" y="59"/>
                    </a:lnTo>
                    <a:lnTo>
                      <a:pt x="1032" y="62"/>
                    </a:lnTo>
                    <a:lnTo>
                      <a:pt x="1032" y="62"/>
                    </a:lnTo>
                    <a:lnTo>
                      <a:pt x="1031" y="62"/>
                    </a:lnTo>
                    <a:lnTo>
                      <a:pt x="1029" y="62"/>
                    </a:lnTo>
                    <a:lnTo>
                      <a:pt x="1028" y="61"/>
                    </a:lnTo>
                    <a:lnTo>
                      <a:pt x="1027" y="61"/>
                    </a:lnTo>
                    <a:lnTo>
                      <a:pt x="1025" y="61"/>
                    </a:lnTo>
                    <a:lnTo>
                      <a:pt x="1025" y="61"/>
                    </a:lnTo>
                    <a:lnTo>
                      <a:pt x="1025" y="61"/>
                    </a:lnTo>
                    <a:lnTo>
                      <a:pt x="1024" y="62"/>
                    </a:lnTo>
                    <a:lnTo>
                      <a:pt x="1021" y="64"/>
                    </a:lnTo>
                    <a:lnTo>
                      <a:pt x="1017" y="66"/>
                    </a:lnTo>
                    <a:lnTo>
                      <a:pt x="1015" y="68"/>
                    </a:lnTo>
                    <a:lnTo>
                      <a:pt x="1014" y="71"/>
                    </a:lnTo>
                    <a:lnTo>
                      <a:pt x="1012" y="72"/>
                    </a:lnTo>
                    <a:lnTo>
                      <a:pt x="1009" y="75"/>
                    </a:lnTo>
                    <a:lnTo>
                      <a:pt x="1008" y="77"/>
                    </a:lnTo>
                    <a:lnTo>
                      <a:pt x="998" y="81"/>
                    </a:lnTo>
                    <a:lnTo>
                      <a:pt x="995" y="82"/>
                    </a:lnTo>
                    <a:lnTo>
                      <a:pt x="992" y="85"/>
                    </a:lnTo>
                    <a:lnTo>
                      <a:pt x="995" y="87"/>
                    </a:lnTo>
                    <a:lnTo>
                      <a:pt x="1006" y="88"/>
                    </a:lnTo>
                    <a:lnTo>
                      <a:pt x="1009" y="88"/>
                    </a:lnTo>
                    <a:lnTo>
                      <a:pt x="1011" y="89"/>
                    </a:lnTo>
                    <a:lnTo>
                      <a:pt x="1012" y="89"/>
                    </a:lnTo>
                    <a:lnTo>
                      <a:pt x="1019" y="101"/>
                    </a:lnTo>
                    <a:lnTo>
                      <a:pt x="1022" y="102"/>
                    </a:lnTo>
                    <a:lnTo>
                      <a:pt x="1025" y="104"/>
                    </a:lnTo>
                    <a:lnTo>
                      <a:pt x="1028" y="105"/>
                    </a:lnTo>
                    <a:lnTo>
                      <a:pt x="1031" y="104"/>
                    </a:lnTo>
                    <a:lnTo>
                      <a:pt x="1032" y="104"/>
                    </a:lnTo>
                    <a:lnTo>
                      <a:pt x="1034" y="102"/>
                    </a:lnTo>
                    <a:lnTo>
                      <a:pt x="1035" y="102"/>
                    </a:lnTo>
                    <a:lnTo>
                      <a:pt x="1037" y="104"/>
                    </a:lnTo>
                    <a:lnTo>
                      <a:pt x="1040" y="107"/>
                    </a:lnTo>
                    <a:lnTo>
                      <a:pt x="1041" y="107"/>
                    </a:lnTo>
                    <a:lnTo>
                      <a:pt x="1045" y="107"/>
                    </a:lnTo>
                    <a:lnTo>
                      <a:pt x="1054" y="107"/>
                    </a:lnTo>
                    <a:lnTo>
                      <a:pt x="1058" y="108"/>
                    </a:lnTo>
                    <a:lnTo>
                      <a:pt x="1067" y="112"/>
                    </a:lnTo>
                    <a:lnTo>
                      <a:pt x="1071" y="114"/>
                    </a:lnTo>
                    <a:lnTo>
                      <a:pt x="1078" y="115"/>
                    </a:lnTo>
                    <a:lnTo>
                      <a:pt x="1085" y="115"/>
                    </a:lnTo>
                    <a:lnTo>
                      <a:pt x="1101" y="114"/>
                    </a:lnTo>
                    <a:lnTo>
                      <a:pt x="1106" y="112"/>
                    </a:lnTo>
                    <a:lnTo>
                      <a:pt x="1110" y="111"/>
                    </a:lnTo>
                    <a:lnTo>
                      <a:pt x="1113" y="108"/>
                    </a:lnTo>
                    <a:lnTo>
                      <a:pt x="1111" y="104"/>
                    </a:lnTo>
                    <a:lnTo>
                      <a:pt x="1110" y="102"/>
                    </a:lnTo>
                    <a:lnTo>
                      <a:pt x="1106" y="101"/>
                    </a:lnTo>
                    <a:lnTo>
                      <a:pt x="1104" y="101"/>
                    </a:lnTo>
                    <a:lnTo>
                      <a:pt x="1100" y="97"/>
                    </a:lnTo>
                    <a:lnTo>
                      <a:pt x="1097" y="95"/>
                    </a:lnTo>
                    <a:lnTo>
                      <a:pt x="1098" y="94"/>
                    </a:lnTo>
                    <a:lnTo>
                      <a:pt x="1101" y="95"/>
                    </a:lnTo>
                    <a:lnTo>
                      <a:pt x="1103" y="95"/>
                    </a:lnTo>
                    <a:lnTo>
                      <a:pt x="1106" y="95"/>
                    </a:lnTo>
                    <a:lnTo>
                      <a:pt x="1107" y="94"/>
                    </a:lnTo>
                    <a:lnTo>
                      <a:pt x="1108" y="92"/>
                    </a:lnTo>
                    <a:lnTo>
                      <a:pt x="1110" y="84"/>
                    </a:lnTo>
                    <a:lnTo>
                      <a:pt x="1110" y="81"/>
                    </a:lnTo>
                    <a:lnTo>
                      <a:pt x="1111" y="77"/>
                    </a:lnTo>
                    <a:lnTo>
                      <a:pt x="1116" y="75"/>
                    </a:lnTo>
                    <a:lnTo>
                      <a:pt x="1114" y="72"/>
                    </a:lnTo>
                    <a:lnTo>
                      <a:pt x="1113" y="71"/>
                    </a:lnTo>
                    <a:lnTo>
                      <a:pt x="1111" y="69"/>
                    </a:lnTo>
                    <a:lnTo>
                      <a:pt x="1104" y="65"/>
                    </a:lnTo>
                    <a:lnTo>
                      <a:pt x="1101" y="64"/>
                    </a:lnTo>
                    <a:lnTo>
                      <a:pt x="1100" y="64"/>
                    </a:lnTo>
                    <a:lnTo>
                      <a:pt x="1097" y="62"/>
                    </a:lnTo>
                    <a:lnTo>
                      <a:pt x="1093" y="62"/>
                    </a:lnTo>
                    <a:lnTo>
                      <a:pt x="1090" y="62"/>
                    </a:lnTo>
                    <a:lnTo>
                      <a:pt x="1088" y="62"/>
                    </a:lnTo>
                    <a:lnTo>
                      <a:pt x="1088" y="64"/>
                    </a:lnTo>
                    <a:lnTo>
                      <a:pt x="1087" y="66"/>
                    </a:lnTo>
                    <a:lnTo>
                      <a:pt x="1087" y="68"/>
                    </a:lnTo>
                    <a:lnTo>
                      <a:pt x="1085" y="69"/>
                    </a:lnTo>
                    <a:lnTo>
                      <a:pt x="1084" y="69"/>
                    </a:lnTo>
                    <a:lnTo>
                      <a:pt x="1081" y="69"/>
                    </a:lnTo>
                    <a:lnTo>
                      <a:pt x="1080" y="71"/>
                    </a:lnTo>
                    <a:lnTo>
                      <a:pt x="1078" y="71"/>
                    </a:lnTo>
                    <a:lnTo>
                      <a:pt x="1077" y="72"/>
                    </a:lnTo>
                    <a:lnTo>
                      <a:pt x="1074" y="74"/>
                    </a:lnTo>
                    <a:lnTo>
                      <a:pt x="1073" y="75"/>
                    </a:lnTo>
                    <a:lnTo>
                      <a:pt x="1071" y="74"/>
                    </a:lnTo>
                    <a:lnTo>
                      <a:pt x="1073" y="72"/>
                    </a:lnTo>
                    <a:lnTo>
                      <a:pt x="1075" y="66"/>
                    </a:lnTo>
                    <a:close/>
                    <a:moveTo>
                      <a:pt x="1226" y="137"/>
                    </a:moveTo>
                    <a:lnTo>
                      <a:pt x="1231" y="135"/>
                    </a:lnTo>
                    <a:lnTo>
                      <a:pt x="1232" y="134"/>
                    </a:lnTo>
                    <a:lnTo>
                      <a:pt x="1231" y="133"/>
                    </a:lnTo>
                    <a:lnTo>
                      <a:pt x="1229" y="133"/>
                    </a:lnTo>
                    <a:lnTo>
                      <a:pt x="1228" y="133"/>
                    </a:lnTo>
                    <a:lnTo>
                      <a:pt x="1226" y="134"/>
                    </a:lnTo>
                    <a:lnTo>
                      <a:pt x="1223" y="135"/>
                    </a:lnTo>
                    <a:lnTo>
                      <a:pt x="1220" y="135"/>
                    </a:lnTo>
                    <a:lnTo>
                      <a:pt x="1220" y="137"/>
                    </a:lnTo>
                    <a:lnTo>
                      <a:pt x="1223" y="137"/>
                    </a:lnTo>
                    <a:lnTo>
                      <a:pt x="1226" y="137"/>
                    </a:lnTo>
                    <a:close/>
                    <a:moveTo>
                      <a:pt x="1068" y="189"/>
                    </a:moveTo>
                    <a:lnTo>
                      <a:pt x="1067" y="189"/>
                    </a:lnTo>
                    <a:lnTo>
                      <a:pt x="1067" y="190"/>
                    </a:lnTo>
                    <a:lnTo>
                      <a:pt x="1068" y="192"/>
                    </a:lnTo>
                    <a:lnTo>
                      <a:pt x="1070" y="192"/>
                    </a:lnTo>
                    <a:lnTo>
                      <a:pt x="1071" y="192"/>
                    </a:lnTo>
                    <a:lnTo>
                      <a:pt x="1070" y="189"/>
                    </a:lnTo>
                    <a:lnTo>
                      <a:pt x="1068" y="189"/>
                    </a:lnTo>
                    <a:close/>
                    <a:moveTo>
                      <a:pt x="1243" y="169"/>
                    </a:moveTo>
                    <a:lnTo>
                      <a:pt x="1242" y="170"/>
                    </a:lnTo>
                    <a:lnTo>
                      <a:pt x="1243" y="171"/>
                    </a:lnTo>
                    <a:lnTo>
                      <a:pt x="1245" y="171"/>
                    </a:lnTo>
                    <a:lnTo>
                      <a:pt x="1249" y="170"/>
                    </a:lnTo>
                    <a:lnTo>
                      <a:pt x="1248" y="169"/>
                    </a:lnTo>
                    <a:lnTo>
                      <a:pt x="1245" y="169"/>
                    </a:lnTo>
                    <a:lnTo>
                      <a:pt x="1243" y="169"/>
                    </a:lnTo>
                    <a:close/>
                    <a:moveTo>
                      <a:pt x="1465" y="335"/>
                    </a:moveTo>
                    <a:lnTo>
                      <a:pt x="1467" y="335"/>
                    </a:lnTo>
                    <a:lnTo>
                      <a:pt x="1470" y="334"/>
                    </a:lnTo>
                    <a:lnTo>
                      <a:pt x="1467" y="332"/>
                    </a:lnTo>
                    <a:lnTo>
                      <a:pt x="1465" y="331"/>
                    </a:lnTo>
                    <a:lnTo>
                      <a:pt x="1462" y="331"/>
                    </a:lnTo>
                    <a:lnTo>
                      <a:pt x="1459" y="332"/>
                    </a:lnTo>
                    <a:lnTo>
                      <a:pt x="1462" y="335"/>
                    </a:lnTo>
                    <a:lnTo>
                      <a:pt x="1465" y="335"/>
                    </a:lnTo>
                    <a:close/>
                    <a:moveTo>
                      <a:pt x="1544" y="308"/>
                    </a:moveTo>
                    <a:lnTo>
                      <a:pt x="1546" y="308"/>
                    </a:lnTo>
                    <a:lnTo>
                      <a:pt x="1548" y="307"/>
                    </a:lnTo>
                    <a:lnTo>
                      <a:pt x="1546" y="305"/>
                    </a:lnTo>
                    <a:lnTo>
                      <a:pt x="1545" y="305"/>
                    </a:lnTo>
                    <a:lnTo>
                      <a:pt x="1542" y="305"/>
                    </a:lnTo>
                    <a:lnTo>
                      <a:pt x="1542" y="305"/>
                    </a:lnTo>
                    <a:lnTo>
                      <a:pt x="1542" y="308"/>
                    </a:lnTo>
                    <a:lnTo>
                      <a:pt x="1544" y="308"/>
                    </a:lnTo>
                    <a:close/>
                    <a:moveTo>
                      <a:pt x="1739" y="298"/>
                    </a:moveTo>
                    <a:lnTo>
                      <a:pt x="1745" y="304"/>
                    </a:lnTo>
                    <a:lnTo>
                      <a:pt x="1748" y="305"/>
                    </a:lnTo>
                    <a:lnTo>
                      <a:pt x="1750" y="305"/>
                    </a:lnTo>
                    <a:lnTo>
                      <a:pt x="1752" y="304"/>
                    </a:lnTo>
                    <a:lnTo>
                      <a:pt x="1748" y="301"/>
                    </a:lnTo>
                    <a:lnTo>
                      <a:pt x="1745" y="298"/>
                    </a:lnTo>
                    <a:lnTo>
                      <a:pt x="1740" y="296"/>
                    </a:lnTo>
                    <a:lnTo>
                      <a:pt x="1736" y="294"/>
                    </a:lnTo>
                    <a:lnTo>
                      <a:pt x="1737" y="296"/>
                    </a:lnTo>
                    <a:lnTo>
                      <a:pt x="1739" y="298"/>
                    </a:lnTo>
                    <a:close/>
                    <a:moveTo>
                      <a:pt x="1226" y="140"/>
                    </a:moveTo>
                    <a:lnTo>
                      <a:pt x="1245" y="143"/>
                    </a:lnTo>
                    <a:lnTo>
                      <a:pt x="1248" y="143"/>
                    </a:lnTo>
                    <a:lnTo>
                      <a:pt x="1249" y="140"/>
                    </a:lnTo>
                    <a:lnTo>
                      <a:pt x="1245" y="138"/>
                    </a:lnTo>
                    <a:lnTo>
                      <a:pt x="1239" y="137"/>
                    </a:lnTo>
                    <a:lnTo>
                      <a:pt x="1232" y="138"/>
                    </a:lnTo>
                    <a:lnTo>
                      <a:pt x="1226" y="140"/>
                    </a:lnTo>
                    <a:close/>
                    <a:moveTo>
                      <a:pt x="1327" y="192"/>
                    </a:moveTo>
                    <a:lnTo>
                      <a:pt x="1332" y="196"/>
                    </a:lnTo>
                    <a:lnTo>
                      <a:pt x="1334" y="196"/>
                    </a:lnTo>
                    <a:lnTo>
                      <a:pt x="1334" y="197"/>
                    </a:lnTo>
                    <a:lnTo>
                      <a:pt x="1335" y="196"/>
                    </a:lnTo>
                    <a:lnTo>
                      <a:pt x="1337" y="194"/>
                    </a:lnTo>
                    <a:lnTo>
                      <a:pt x="1335" y="192"/>
                    </a:lnTo>
                    <a:lnTo>
                      <a:pt x="1331" y="190"/>
                    </a:lnTo>
                    <a:lnTo>
                      <a:pt x="1328" y="190"/>
                    </a:lnTo>
                    <a:lnTo>
                      <a:pt x="1324" y="190"/>
                    </a:lnTo>
                    <a:lnTo>
                      <a:pt x="1325" y="192"/>
                    </a:lnTo>
                    <a:lnTo>
                      <a:pt x="1327" y="192"/>
                    </a:lnTo>
                    <a:close/>
                    <a:moveTo>
                      <a:pt x="2075" y="996"/>
                    </a:moveTo>
                    <a:lnTo>
                      <a:pt x="2075" y="1001"/>
                    </a:lnTo>
                    <a:lnTo>
                      <a:pt x="2075" y="1002"/>
                    </a:lnTo>
                    <a:lnTo>
                      <a:pt x="2076" y="1002"/>
                    </a:lnTo>
                    <a:lnTo>
                      <a:pt x="2078" y="1001"/>
                    </a:lnTo>
                    <a:lnTo>
                      <a:pt x="2078" y="999"/>
                    </a:lnTo>
                    <a:lnTo>
                      <a:pt x="2078" y="998"/>
                    </a:lnTo>
                    <a:lnTo>
                      <a:pt x="2079" y="996"/>
                    </a:lnTo>
                    <a:lnTo>
                      <a:pt x="2079" y="994"/>
                    </a:lnTo>
                    <a:lnTo>
                      <a:pt x="2076" y="994"/>
                    </a:lnTo>
                    <a:lnTo>
                      <a:pt x="2075" y="996"/>
                    </a:lnTo>
                    <a:close/>
                    <a:moveTo>
                      <a:pt x="2065" y="1012"/>
                    </a:moveTo>
                    <a:lnTo>
                      <a:pt x="2065" y="1014"/>
                    </a:lnTo>
                    <a:lnTo>
                      <a:pt x="2063" y="1015"/>
                    </a:lnTo>
                    <a:lnTo>
                      <a:pt x="2063" y="1015"/>
                    </a:lnTo>
                    <a:lnTo>
                      <a:pt x="2063" y="1015"/>
                    </a:lnTo>
                    <a:lnTo>
                      <a:pt x="2063" y="1015"/>
                    </a:lnTo>
                    <a:lnTo>
                      <a:pt x="2065" y="1014"/>
                    </a:lnTo>
                    <a:lnTo>
                      <a:pt x="2068" y="1012"/>
                    </a:lnTo>
                    <a:lnTo>
                      <a:pt x="2066" y="1011"/>
                    </a:lnTo>
                    <a:lnTo>
                      <a:pt x="2065" y="1012"/>
                    </a:lnTo>
                    <a:close/>
                    <a:moveTo>
                      <a:pt x="1928" y="1134"/>
                    </a:moveTo>
                    <a:lnTo>
                      <a:pt x="1928" y="1134"/>
                    </a:lnTo>
                    <a:lnTo>
                      <a:pt x="1927" y="1134"/>
                    </a:lnTo>
                    <a:lnTo>
                      <a:pt x="1928" y="1134"/>
                    </a:lnTo>
                    <a:lnTo>
                      <a:pt x="1928" y="1134"/>
                    </a:lnTo>
                    <a:lnTo>
                      <a:pt x="1928" y="1134"/>
                    </a:lnTo>
                    <a:lnTo>
                      <a:pt x="1928" y="1134"/>
                    </a:lnTo>
                    <a:lnTo>
                      <a:pt x="1928" y="1134"/>
                    </a:lnTo>
                    <a:close/>
                    <a:moveTo>
                      <a:pt x="2026" y="1060"/>
                    </a:moveTo>
                    <a:lnTo>
                      <a:pt x="2023" y="1061"/>
                    </a:lnTo>
                    <a:lnTo>
                      <a:pt x="2025" y="1063"/>
                    </a:lnTo>
                    <a:lnTo>
                      <a:pt x="2029" y="1060"/>
                    </a:lnTo>
                    <a:lnTo>
                      <a:pt x="2033" y="1054"/>
                    </a:lnTo>
                    <a:lnTo>
                      <a:pt x="2030" y="1055"/>
                    </a:lnTo>
                    <a:lnTo>
                      <a:pt x="2026" y="1060"/>
                    </a:lnTo>
                    <a:close/>
                    <a:moveTo>
                      <a:pt x="2105" y="960"/>
                    </a:moveTo>
                    <a:lnTo>
                      <a:pt x="2104" y="962"/>
                    </a:lnTo>
                    <a:lnTo>
                      <a:pt x="2102" y="963"/>
                    </a:lnTo>
                    <a:lnTo>
                      <a:pt x="2104" y="966"/>
                    </a:lnTo>
                    <a:lnTo>
                      <a:pt x="2105" y="966"/>
                    </a:lnTo>
                    <a:lnTo>
                      <a:pt x="2107" y="965"/>
                    </a:lnTo>
                    <a:lnTo>
                      <a:pt x="2107" y="963"/>
                    </a:lnTo>
                    <a:lnTo>
                      <a:pt x="2107" y="960"/>
                    </a:lnTo>
                    <a:lnTo>
                      <a:pt x="2105" y="960"/>
                    </a:lnTo>
                    <a:close/>
                    <a:moveTo>
                      <a:pt x="2092" y="962"/>
                    </a:moveTo>
                    <a:lnTo>
                      <a:pt x="2092" y="960"/>
                    </a:lnTo>
                    <a:lnTo>
                      <a:pt x="2092" y="959"/>
                    </a:lnTo>
                    <a:lnTo>
                      <a:pt x="2091" y="959"/>
                    </a:lnTo>
                    <a:lnTo>
                      <a:pt x="2089" y="959"/>
                    </a:lnTo>
                    <a:lnTo>
                      <a:pt x="2089" y="960"/>
                    </a:lnTo>
                    <a:lnTo>
                      <a:pt x="2091" y="962"/>
                    </a:lnTo>
                    <a:lnTo>
                      <a:pt x="2091" y="962"/>
                    </a:lnTo>
                    <a:lnTo>
                      <a:pt x="2092" y="962"/>
                    </a:lnTo>
                    <a:close/>
                    <a:moveTo>
                      <a:pt x="2098" y="965"/>
                    </a:moveTo>
                    <a:lnTo>
                      <a:pt x="2097" y="966"/>
                    </a:lnTo>
                    <a:lnTo>
                      <a:pt x="2095" y="969"/>
                    </a:lnTo>
                    <a:lnTo>
                      <a:pt x="2094" y="972"/>
                    </a:lnTo>
                    <a:lnTo>
                      <a:pt x="2091" y="973"/>
                    </a:lnTo>
                    <a:lnTo>
                      <a:pt x="2088" y="975"/>
                    </a:lnTo>
                    <a:lnTo>
                      <a:pt x="2086" y="975"/>
                    </a:lnTo>
                    <a:lnTo>
                      <a:pt x="2085" y="978"/>
                    </a:lnTo>
                    <a:lnTo>
                      <a:pt x="2085" y="978"/>
                    </a:lnTo>
                    <a:lnTo>
                      <a:pt x="2085" y="979"/>
                    </a:lnTo>
                    <a:lnTo>
                      <a:pt x="2085" y="981"/>
                    </a:lnTo>
                    <a:lnTo>
                      <a:pt x="2086" y="982"/>
                    </a:lnTo>
                    <a:lnTo>
                      <a:pt x="2088" y="982"/>
                    </a:lnTo>
                    <a:lnTo>
                      <a:pt x="2089" y="982"/>
                    </a:lnTo>
                    <a:lnTo>
                      <a:pt x="2089" y="981"/>
                    </a:lnTo>
                    <a:lnTo>
                      <a:pt x="2091" y="979"/>
                    </a:lnTo>
                    <a:lnTo>
                      <a:pt x="2092" y="978"/>
                    </a:lnTo>
                    <a:lnTo>
                      <a:pt x="2095" y="978"/>
                    </a:lnTo>
                    <a:lnTo>
                      <a:pt x="2097" y="976"/>
                    </a:lnTo>
                    <a:lnTo>
                      <a:pt x="2097" y="975"/>
                    </a:lnTo>
                    <a:lnTo>
                      <a:pt x="2098" y="975"/>
                    </a:lnTo>
                    <a:lnTo>
                      <a:pt x="2099" y="972"/>
                    </a:lnTo>
                    <a:lnTo>
                      <a:pt x="2101" y="969"/>
                    </a:lnTo>
                    <a:lnTo>
                      <a:pt x="2101" y="968"/>
                    </a:lnTo>
                    <a:lnTo>
                      <a:pt x="2101" y="965"/>
                    </a:lnTo>
                    <a:lnTo>
                      <a:pt x="2101" y="963"/>
                    </a:lnTo>
                    <a:lnTo>
                      <a:pt x="2098" y="965"/>
                    </a:lnTo>
                    <a:close/>
                    <a:moveTo>
                      <a:pt x="1927" y="1116"/>
                    </a:moveTo>
                    <a:lnTo>
                      <a:pt x="1924" y="1116"/>
                    </a:lnTo>
                    <a:lnTo>
                      <a:pt x="1924" y="1116"/>
                    </a:lnTo>
                    <a:lnTo>
                      <a:pt x="1920" y="1121"/>
                    </a:lnTo>
                    <a:lnTo>
                      <a:pt x="1914" y="1129"/>
                    </a:lnTo>
                    <a:lnTo>
                      <a:pt x="1913" y="1132"/>
                    </a:lnTo>
                    <a:lnTo>
                      <a:pt x="1916" y="1134"/>
                    </a:lnTo>
                    <a:lnTo>
                      <a:pt x="1916" y="1132"/>
                    </a:lnTo>
                    <a:lnTo>
                      <a:pt x="1917" y="1129"/>
                    </a:lnTo>
                    <a:lnTo>
                      <a:pt x="1923" y="1123"/>
                    </a:lnTo>
                    <a:lnTo>
                      <a:pt x="1924" y="1121"/>
                    </a:lnTo>
                    <a:lnTo>
                      <a:pt x="1931" y="1119"/>
                    </a:lnTo>
                    <a:lnTo>
                      <a:pt x="1933" y="1117"/>
                    </a:lnTo>
                    <a:lnTo>
                      <a:pt x="1930" y="1117"/>
                    </a:lnTo>
                    <a:lnTo>
                      <a:pt x="1927" y="1116"/>
                    </a:lnTo>
                    <a:close/>
                    <a:moveTo>
                      <a:pt x="1934" y="1130"/>
                    </a:moveTo>
                    <a:lnTo>
                      <a:pt x="1933" y="1132"/>
                    </a:lnTo>
                    <a:lnTo>
                      <a:pt x="1934" y="1133"/>
                    </a:lnTo>
                    <a:lnTo>
                      <a:pt x="1936" y="1133"/>
                    </a:lnTo>
                    <a:lnTo>
                      <a:pt x="1937" y="1132"/>
                    </a:lnTo>
                    <a:lnTo>
                      <a:pt x="1937" y="1132"/>
                    </a:lnTo>
                    <a:lnTo>
                      <a:pt x="1939" y="1130"/>
                    </a:lnTo>
                    <a:lnTo>
                      <a:pt x="1937" y="1130"/>
                    </a:lnTo>
                    <a:lnTo>
                      <a:pt x="1934" y="1130"/>
                    </a:lnTo>
                    <a:close/>
                    <a:moveTo>
                      <a:pt x="2006" y="758"/>
                    </a:moveTo>
                    <a:lnTo>
                      <a:pt x="2005" y="758"/>
                    </a:lnTo>
                    <a:lnTo>
                      <a:pt x="2005" y="758"/>
                    </a:lnTo>
                    <a:lnTo>
                      <a:pt x="2005" y="758"/>
                    </a:lnTo>
                    <a:lnTo>
                      <a:pt x="2002" y="761"/>
                    </a:lnTo>
                    <a:lnTo>
                      <a:pt x="2002" y="761"/>
                    </a:lnTo>
                    <a:lnTo>
                      <a:pt x="2003" y="762"/>
                    </a:lnTo>
                    <a:lnTo>
                      <a:pt x="2003" y="761"/>
                    </a:lnTo>
                    <a:lnTo>
                      <a:pt x="2005" y="761"/>
                    </a:lnTo>
                    <a:lnTo>
                      <a:pt x="2006" y="759"/>
                    </a:lnTo>
                    <a:lnTo>
                      <a:pt x="2006" y="759"/>
                    </a:lnTo>
                    <a:lnTo>
                      <a:pt x="2006" y="758"/>
                    </a:lnTo>
                    <a:close/>
                    <a:moveTo>
                      <a:pt x="1972" y="1091"/>
                    </a:moveTo>
                    <a:lnTo>
                      <a:pt x="1970" y="1093"/>
                    </a:lnTo>
                    <a:lnTo>
                      <a:pt x="1967" y="1094"/>
                    </a:lnTo>
                    <a:lnTo>
                      <a:pt x="1964" y="1097"/>
                    </a:lnTo>
                    <a:lnTo>
                      <a:pt x="1963" y="1097"/>
                    </a:lnTo>
                    <a:lnTo>
                      <a:pt x="1960" y="1097"/>
                    </a:lnTo>
                    <a:lnTo>
                      <a:pt x="1959" y="1097"/>
                    </a:lnTo>
                    <a:lnTo>
                      <a:pt x="1959" y="1096"/>
                    </a:lnTo>
                    <a:lnTo>
                      <a:pt x="1957" y="1096"/>
                    </a:lnTo>
                    <a:lnTo>
                      <a:pt x="1956" y="1096"/>
                    </a:lnTo>
                    <a:lnTo>
                      <a:pt x="1956" y="1096"/>
                    </a:lnTo>
                    <a:lnTo>
                      <a:pt x="1954" y="1098"/>
                    </a:lnTo>
                    <a:lnTo>
                      <a:pt x="1954" y="1100"/>
                    </a:lnTo>
                    <a:lnTo>
                      <a:pt x="1946" y="1106"/>
                    </a:lnTo>
                    <a:lnTo>
                      <a:pt x="1946" y="1107"/>
                    </a:lnTo>
                    <a:lnTo>
                      <a:pt x="1944" y="1109"/>
                    </a:lnTo>
                    <a:lnTo>
                      <a:pt x="1943" y="1110"/>
                    </a:lnTo>
                    <a:lnTo>
                      <a:pt x="1943" y="1111"/>
                    </a:lnTo>
                    <a:lnTo>
                      <a:pt x="1941" y="1113"/>
                    </a:lnTo>
                    <a:lnTo>
                      <a:pt x="1940" y="1114"/>
                    </a:lnTo>
                    <a:lnTo>
                      <a:pt x="1939" y="1116"/>
                    </a:lnTo>
                    <a:lnTo>
                      <a:pt x="1939" y="1117"/>
                    </a:lnTo>
                    <a:lnTo>
                      <a:pt x="1951" y="1107"/>
                    </a:lnTo>
                    <a:lnTo>
                      <a:pt x="1951" y="1106"/>
                    </a:lnTo>
                    <a:lnTo>
                      <a:pt x="1951" y="1106"/>
                    </a:lnTo>
                    <a:lnTo>
                      <a:pt x="1951" y="1106"/>
                    </a:lnTo>
                    <a:lnTo>
                      <a:pt x="1951" y="1104"/>
                    </a:lnTo>
                    <a:lnTo>
                      <a:pt x="1951" y="1104"/>
                    </a:lnTo>
                    <a:lnTo>
                      <a:pt x="1953" y="1104"/>
                    </a:lnTo>
                    <a:lnTo>
                      <a:pt x="1954" y="1104"/>
                    </a:lnTo>
                    <a:lnTo>
                      <a:pt x="1963" y="1098"/>
                    </a:lnTo>
                    <a:lnTo>
                      <a:pt x="1964" y="1098"/>
                    </a:lnTo>
                    <a:lnTo>
                      <a:pt x="1970" y="1097"/>
                    </a:lnTo>
                    <a:lnTo>
                      <a:pt x="1973" y="1096"/>
                    </a:lnTo>
                    <a:lnTo>
                      <a:pt x="1972" y="1093"/>
                    </a:lnTo>
                    <a:lnTo>
                      <a:pt x="1972" y="1091"/>
                    </a:lnTo>
                    <a:close/>
                    <a:moveTo>
                      <a:pt x="1999" y="1075"/>
                    </a:moveTo>
                    <a:lnTo>
                      <a:pt x="1995" y="1078"/>
                    </a:lnTo>
                    <a:lnTo>
                      <a:pt x="1990" y="1081"/>
                    </a:lnTo>
                    <a:lnTo>
                      <a:pt x="1986" y="1086"/>
                    </a:lnTo>
                    <a:lnTo>
                      <a:pt x="1983" y="1090"/>
                    </a:lnTo>
                    <a:lnTo>
                      <a:pt x="1986" y="1090"/>
                    </a:lnTo>
                    <a:lnTo>
                      <a:pt x="1989" y="1088"/>
                    </a:lnTo>
                    <a:lnTo>
                      <a:pt x="2003" y="1075"/>
                    </a:lnTo>
                    <a:lnTo>
                      <a:pt x="2000" y="1075"/>
                    </a:lnTo>
                    <a:lnTo>
                      <a:pt x="1999" y="1075"/>
                    </a:lnTo>
                    <a:close/>
                    <a:moveTo>
                      <a:pt x="2046" y="1040"/>
                    </a:moveTo>
                    <a:lnTo>
                      <a:pt x="2046" y="1040"/>
                    </a:lnTo>
                    <a:lnTo>
                      <a:pt x="2046" y="1040"/>
                    </a:lnTo>
                    <a:lnTo>
                      <a:pt x="2046" y="1041"/>
                    </a:lnTo>
                    <a:lnTo>
                      <a:pt x="2046" y="1041"/>
                    </a:lnTo>
                    <a:lnTo>
                      <a:pt x="2048" y="1040"/>
                    </a:lnTo>
                    <a:lnTo>
                      <a:pt x="2048" y="1038"/>
                    </a:lnTo>
                    <a:lnTo>
                      <a:pt x="2046" y="1040"/>
                    </a:lnTo>
                    <a:close/>
                    <a:moveTo>
                      <a:pt x="538" y="447"/>
                    </a:moveTo>
                    <a:lnTo>
                      <a:pt x="534" y="449"/>
                    </a:lnTo>
                    <a:lnTo>
                      <a:pt x="537" y="450"/>
                    </a:lnTo>
                    <a:lnTo>
                      <a:pt x="538" y="449"/>
                    </a:lnTo>
                    <a:lnTo>
                      <a:pt x="538" y="447"/>
                    </a:lnTo>
                    <a:close/>
                    <a:moveTo>
                      <a:pt x="587" y="526"/>
                    </a:moveTo>
                    <a:lnTo>
                      <a:pt x="586" y="526"/>
                    </a:lnTo>
                    <a:lnTo>
                      <a:pt x="584" y="525"/>
                    </a:lnTo>
                    <a:lnTo>
                      <a:pt x="581" y="525"/>
                    </a:lnTo>
                    <a:lnTo>
                      <a:pt x="579" y="525"/>
                    </a:lnTo>
                    <a:lnTo>
                      <a:pt x="577" y="525"/>
                    </a:lnTo>
                    <a:lnTo>
                      <a:pt x="579" y="528"/>
                    </a:lnTo>
                    <a:lnTo>
                      <a:pt x="581" y="532"/>
                    </a:lnTo>
                    <a:lnTo>
                      <a:pt x="586" y="534"/>
                    </a:lnTo>
                    <a:lnTo>
                      <a:pt x="589" y="531"/>
                    </a:lnTo>
                    <a:lnTo>
                      <a:pt x="587" y="531"/>
                    </a:lnTo>
                    <a:lnTo>
                      <a:pt x="587" y="529"/>
                    </a:lnTo>
                    <a:lnTo>
                      <a:pt x="587" y="529"/>
                    </a:lnTo>
                    <a:lnTo>
                      <a:pt x="587" y="528"/>
                    </a:lnTo>
                    <a:lnTo>
                      <a:pt x="587" y="526"/>
                    </a:lnTo>
                    <a:lnTo>
                      <a:pt x="587" y="526"/>
                    </a:lnTo>
                    <a:close/>
                    <a:moveTo>
                      <a:pt x="2249" y="756"/>
                    </a:moveTo>
                    <a:lnTo>
                      <a:pt x="2247" y="756"/>
                    </a:lnTo>
                    <a:lnTo>
                      <a:pt x="2246" y="758"/>
                    </a:lnTo>
                    <a:lnTo>
                      <a:pt x="2239" y="761"/>
                    </a:lnTo>
                    <a:lnTo>
                      <a:pt x="2236" y="761"/>
                    </a:lnTo>
                    <a:lnTo>
                      <a:pt x="2234" y="764"/>
                    </a:lnTo>
                    <a:lnTo>
                      <a:pt x="2234" y="766"/>
                    </a:lnTo>
                    <a:lnTo>
                      <a:pt x="2233" y="771"/>
                    </a:lnTo>
                    <a:lnTo>
                      <a:pt x="2229" y="774"/>
                    </a:lnTo>
                    <a:lnTo>
                      <a:pt x="2230" y="774"/>
                    </a:lnTo>
                    <a:lnTo>
                      <a:pt x="2233" y="772"/>
                    </a:lnTo>
                    <a:lnTo>
                      <a:pt x="2239" y="768"/>
                    </a:lnTo>
                    <a:lnTo>
                      <a:pt x="2247" y="765"/>
                    </a:lnTo>
                    <a:lnTo>
                      <a:pt x="2250" y="764"/>
                    </a:lnTo>
                    <a:lnTo>
                      <a:pt x="2250" y="759"/>
                    </a:lnTo>
                    <a:lnTo>
                      <a:pt x="2250" y="756"/>
                    </a:lnTo>
                    <a:lnTo>
                      <a:pt x="2249" y="756"/>
                    </a:lnTo>
                    <a:close/>
                    <a:moveTo>
                      <a:pt x="1338" y="285"/>
                    </a:moveTo>
                    <a:lnTo>
                      <a:pt x="1332" y="284"/>
                    </a:lnTo>
                    <a:lnTo>
                      <a:pt x="1327" y="284"/>
                    </a:lnTo>
                    <a:lnTo>
                      <a:pt x="1325" y="285"/>
                    </a:lnTo>
                    <a:lnTo>
                      <a:pt x="1325" y="285"/>
                    </a:lnTo>
                    <a:lnTo>
                      <a:pt x="1325" y="286"/>
                    </a:lnTo>
                    <a:lnTo>
                      <a:pt x="1324" y="289"/>
                    </a:lnTo>
                    <a:lnTo>
                      <a:pt x="1322" y="289"/>
                    </a:lnTo>
                    <a:lnTo>
                      <a:pt x="1321" y="291"/>
                    </a:lnTo>
                    <a:lnTo>
                      <a:pt x="1318" y="291"/>
                    </a:lnTo>
                    <a:lnTo>
                      <a:pt x="1317" y="291"/>
                    </a:lnTo>
                    <a:lnTo>
                      <a:pt x="1320" y="294"/>
                    </a:lnTo>
                    <a:lnTo>
                      <a:pt x="1325" y="296"/>
                    </a:lnTo>
                    <a:lnTo>
                      <a:pt x="1331" y="298"/>
                    </a:lnTo>
                    <a:lnTo>
                      <a:pt x="1335" y="299"/>
                    </a:lnTo>
                    <a:lnTo>
                      <a:pt x="1338" y="299"/>
                    </a:lnTo>
                    <a:lnTo>
                      <a:pt x="1340" y="299"/>
                    </a:lnTo>
                    <a:lnTo>
                      <a:pt x="1343" y="296"/>
                    </a:lnTo>
                    <a:lnTo>
                      <a:pt x="1347" y="294"/>
                    </a:lnTo>
                    <a:lnTo>
                      <a:pt x="1348" y="292"/>
                    </a:lnTo>
                    <a:lnTo>
                      <a:pt x="1350" y="289"/>
                    </a:lnTo>
                    <a:lnTo>
                      <a:pt x="1345" y="286"/>
                    </a:lnTo>
                    <a:lnTo>
                      <a:pt x="1338" y="285"/>
                    </a:lnTo>
                    <a:close/>
                    <a:moveTo>
                      <a:pt x="161" y="1104"/>
                    </a:moveTo>
                    <a:lnTo>
                      <a:pt x="136" y="1084"/>
                    </a:lnTo>
                    <a:lnTo>
                      <a:pt x="110" y="1073"/>
                    </a:lnTo>
                    <a:lnTo>
                      <a:pt x="93" y="1058"/>
                    </a:lnTo>
                    <a:lnTo>
                      <a:pt x="82" y="1055"/>
                    </a:lnTo>
                    <a:lnTo>
                      <a:pt x="46" y="1055"/>
                    </a:lnTo>
                    <a:lnTo>
                      <a:pt x="44" y="1057"/>
                    </a:lnTo>
                    <a:lnTo>
                      <a:pt x="40" y="1060"/>
                    </a:lnTo>
                    <a:lnTo>
                      <a:pt x="31" y="1061"/>
                    </a:lnTo>
                    <a:lnTo>
                      <a:pt x="31" y="1063"/>
                    </a:lnTo>
                    <a:lnTo>
                      <a:pt x="33" y="1065"/>
                    </a:lnTo>
                    <a:lnTo>
                      <a:pt x="28" y="1064"/>
                    </a:lnTo>
                    <a:lnTo>
                      <a:pt x="26" y="1064"/>
                    </a:lnTo>
                    <a:lnTo>
                      <a:pt x="24" y="1065"/>
                    </a:lnTo>
                    <a:lnTo>
                      <a:pt x="23" y="1065"/>
                    </a:lnTo>
                    <a:lnTo>
                      <a:pt x="21" y="1065"/>
                    </a:lnTo>
                    <a:lnTo>
                      <a:pt x="20" y="1065"/>
                    </a:lnTo>
                    <a:lnTo>
                      <a:pt x="20" y="1068"/>
                    </a:lnTo>
                    <a:lnTo>
                      <a:pt x="21" y="1070"/>
                    </a:lnTo>
                    <a:lnTo>
                      <a:pt x="27" y="1073"/>
                    </a:lnTo>
                    <a:lnTo>
                      <a:pt x="30" y="1077"/>
                    </a:lnTo>
                    <a:lnTo>
                      <a:pt x="33" y="1078"/>
                    </a:lnTo>
                    <a:lnTo>
                      <a:pt x="30" y="1078"/>
                    </a:lnTo>
                    <a:lnTo>
                      <a:pt x="28" y="1078"/>
                    </a:lnTo>
                    <a:lnTo>
                      <a:pt x="27" y="1080"/>
                    </a:lnTo>
                    <a:lnTo>
                      <a:pt x="26" y="1081"/>
                    </a:lnTo>
                    <a:lnTo>
                      <a:pt x="24" y="1080"/>
                    </a:lnTo>
                    <a:lnTo>
                      <a:pt x="23" y="1080"/>
                    </a:lnTo>
                    <a:lnTo>
                      <a:pt x="21" y="1084"/>
                    </a:lnTo>
                    <a:lnTo>
                      <a:pt x="20" y="1086"/>
                    </a:lnTo>
                    <a:lnTo>
                      <a:pt x="18" y="1088"/>
                    </a:lnTo>
                    <a:lnTo>
                      <a:pt x="17" y="1088"/>
                    </a:lnTo>
                    <a:lnTo>
                      <a:pt x="17" y="1090"/>
                    </a:lnTo>
                    <a:lnTo>
                      <a:pt x="17" y="1091"/>
                    </a:lnTo>
                    <a:lnTo>
                      <a:pt x="17" y="1093"/>
                    </a:lnTo>
                    <a:lnTo>
                      <a:pt x="17" y="1094"/>
                    </a:lnTo>
                    <a:lnTo>
                      <a:pt x="16" y="1096"/>
                    </a:lnTo>
                    <a:lnTo>
                      <a:pt x="14" y="1096"/>
                    </a:lnTo>
                    <a:lnTo>
                      <a:pt x="11" y="1097"/>
                    </a:lnTo>
                    <a:lnTo>
                      <a:pt x="8" y="1096"/>
                    </a:lnTo>
                    <a:lnTo>
                      <a:pt x="6" y="1094"/>
                    </a:lnTo>
                    <a:lnTo>
                      <a:pt x="4" y="1094"/>
                    </a:lnTo>
                    <a:lnTo>
                      <a:pt x="1" y="1096"/>
                    </a:lnTo>
                    <a:lnTo>
                      <a:pt x="6" y="1097"/>
                    </a:lnTo>
                    <a:lnTo>
                      <a:pt x="4" y="1098"/>
                    </a:lnTo>
                    <a:lnTo>
                      <a:pt x="1" y="1098"/>
                    </a:lnTo>
                    <a:lnTo>
                      <a:pt x="0" y="1100"/>
                    </a:lnTo>
                    <a:lnTo>
                      <a:pt x="0" y="1101"/>
                    </a:lnTo>
                    <a:lnTo>
                      <a:pt x="1" y="1101"/>
                    </a:lnTo>
                    <a:lnTo>
                      <a:pt x="7" y="1103"/>
                    </a:lnTo>
                    <a:lnTo>
                      <a:pt x="10" y="1104"/>
                    </a:lnTo>
                    <a:lnTo>
                      <a:pt x="11" y="1106"/>
                    </a:lnTo>
                    <a:lnTo>
                      <a:pt x="13" y="1109"/>
                    </a:lnTo>
                    <a:lnTo>
                      <a:pt x="14" y="1110"/>
                    </a:lnTo>
                    <a:lnTo>
                      <a:pt x="16" y="1111"/>
                    </a:lnTo>
                    <a:lnTo>
                      <a:pt x="17" y="1111"/>
                    </a:lnTo>
                    <a:lnTo>
                      <a:pt x="20" y="1111"/>
                    </a:lnTo>
                    <a:lnTo>
                      <a:pt x="20" y="1111"/>
                    </a:lnTo>
                    <a:lnTo>
                      <a:pt x="21" y="1111"/>
                    </a:lnTo>
                    <a:lnTo>
                      <a:pt x="23" y="1113"/>
                    </a:lnTo>
                    <a:lnTo>
                      <a:pt x="24" y="1114"/>
                    </a:lnTo>
                    <a:lnTo>
                      <a:pt x="27" y="1116"/>
                    </a:lnTo>
                    <a:lnTo>
                      <a:pt x="28" y="1117"/>
                    </a:lnTo>
                    <a:lnTo>
                      <a:pt x="33" y="1119"/>
                    </a:lnTo>
                    <a:lnTo>
                      <a:pt x="36" y="1120"/>
                    </a:lnTo>
                    <a:lnTo>
                      <a:pt x="37" y="1121"/>
                    </a:lnTo>
                    <a:lnTo>
                      <a:pt x="41" y="1124"/>
                    </a:lnTo>
                    <a:lnTo>
                      <a:pt x="54" y="1136"/>
                    </a:lnTo>
                    <a:lnTo>
                      <a:pt x="59" y="1140"/>
                    </a:lnTo>
                    <a:lnTo>
                      <a:pt x="59" y="1139"/>
                    </a:lnTo>
                    <a:lnTo>
                      <a:pt x="60" y="1137"/>
                    </a:lnTo>
                    <a:lnTo>
                      <a:pt x="60" y="1137"/>
                    </a:lnTo>
                    <a:lnTo>
                      <a:pt x="60" y="1137"/>
                    </a:lnTo>
                    <a:lnTo>
                      <a:pt x="62" y="1136"/>
                    </a:lnTo>
                    <a:lnTo>
                      <a:pt x="63" y="1137"/>
                    </a:lnTo>
                    <a:lnTo>
                      <a:pt x="69" y="1137"/>
                    </a:lnTo>
                    <a:lnTo>
                      <a:pt x="69" y="1137"/>
                    </a:lnTo>
                    <a:lnTo>
                      <a:pt x="70" y="1137"/>
                    </a:lnTo>
                    <a:lnTo>
                      <a:pt x="74" y="1139"/>
                    </a:lnTo>
                    <a:lnTo>
                      <a:pt x="76" y="1140"/>
                    </a:lnTo>
                    <a:lnTo>
                      <a:pt x="77" y="1140"/>
                    </a:lnTo>
                    <a:lnTo>
                      <a:pt x="79" y="1140"/>
                    </a:lnTo>
                    <a:lnTo>
                      <a:pt x="80" y="1142"/>
                    </a:lnTo>
                    <a:lnTo>
                      <a:pt x="83" y="1142"/>
                    </a:lnTo>
                    <a:lnTo>
                      <a:pt x="86" y="1143"/>
                    </a:lnTo>
                    <a:lnTo>
                      <a:pt x="87" y="1144"/>
                    </a:lnTo>
                    <a:lnTo>
                      <a:pt x="89" y="1144"/>
                    </a:lnTo>
                    <a:lnTo>
                      <a:pt x="90" y="1144"/>
                    </a:lnTo>
                    <a:lnTo>
                      <a:pt x="95" y="1144"/>
                    </a:lnTo>
                    <a:lnTo>
                      <a:pt x="97" y="1144"/>
                    </a:lnTo>
                    <a:lnTo>
                      <a:pt x="99" y="1144"/>
                    </a:lnTo>
                    <a:lnTo>
                      <a:pt x="102" y="1144"/>
                    </a:lnTo>
                    <a:lnTo>
                      <a:pt x="102" y="1144"/>
                    </a:lnTo>
                    <a:lnTo>
                      <a:pt x="103" y="1144"/>
                    </a:lnTo>
                    <a:lnTo>
                      <a:pt x="105" y="1146"/>
                    </a:lnTo>
                    <a:lnTo>
                      <a:pt x="105" y="1146"/>
                    </a:lnTo>
                    <a:lnTo>
                      <a:pt x="107" y="1146"/>
                    </a:lnTo>
                    <a:lnTo>
                      <a:pt x="109" y="1146"/>
                    </a:lnTo>
                    <a:lnTo>
                      <a:pt x="112" y="1147"/>
                    </a:lnTo>
                    <a:lnTo>
                      <a:pt x="113" y="1149"/>
                    </a:lnTo>
                    <a:lnTo>
                      <a:pt x="118" y="1152"/>
                    </a:lnTo>
                    <a:lnTo>
                      <a:pt x="119" y="1152"/>
                    </a:lnTo>
                    <a:lnTo>
                      <a:pt x="120" y="1153"/>
                    </a:lnTo>
                    <a:lnTo>
                      <a:pt x="122" y="1153"/>
                    </a:lnTo>
                    <a:lnTo>
                      <a:pt x="123" y="1154"/>
                    </a:lnTo>
                    <a:lnTo>
                      <a:pt x="125" y="1154"/>
                    </a:lnTo>
                    <a:lnTo>
                      <a:pt x="125" y="1154"/>
                    </a:lnTo>
                    <a:lnTo>
                      <a:pt x="125" y="1154"/>
                    </a:lnTo>
                    <a:lnTo>
                      <a:pt x="126" y="1154"/>
                    </a:lnTo>
                    <a:lnTo>
                      <a:pt x="125" y="1156"/>
                    </a:lnTo>
                    <a:lnTo>
                      <a:pt x="125" y="1156"/>
                    </a:lnTo>
                    <a:lnTo>
                      <a:pt x="125" y="1157"/>
                    </a:lnTo>
                    <a:lnTo>
                      <a:pt x="125" y="1159"/>
                    </a:lnTo>
                    <a:lnTo>
                      <a:pt x="126" y="1159"/>
                    </a:lnTo>
                    <a:lnTo>
                      <a:pt x="128" y="1159"/>
                    </a:lnTo>
                    <a:lnTo>
                      <a:pt x="128" y="1159"/>
                    </a:lnTo>
                    <a:lnTo>
                      <a:pt x="129" y="1159"/>
                    </a:lnTo>
                    <a:lnTo>
                      <a:pt x="130" y="1157"/>
                    </a:lnTo>
                    <a:lnTo>
                      <a:pt x="135" y="1156"/>
                    </a:lnTo>
                    <a:lnTo>
                      <a:pt x="138" y="1154"/>
                    </a:lnTo>
                    <a:lnTo>
                      <a:pt x="138" y="1154"/>
                    </a:lnTo>
                    <a:lnTo>
                      <a:pt x="138" y="1154"/>
                    </a:lnTo>
                    <a:lnTo>
                      <a:pt x="139" y="1154"/>
                    </a:lnTo>
                    <a:lnTo>
                      <a:pt x="139" y="1154"/>
                    </a:lnTo>
                    <a:lnTo>
                      <a:pt x="141" y="1154"/>
                    </a:lnTo>
                    <a:lnTo>
                      <a:pt x="141" y="1156"/>
                    </a:lnTo>
                    <a:lnTo>
                      <a:pt x="142" y="1156"/>
                    </a:lnTo>
                    <a:lnTo>
                      <a:pt x="142" y="1156"/>
                    </a:lnTo>
                    <a:lnTo>
                      <a:pt x="143" y="1157"/>
                    </a:lnTo>
                    <a:lnTo>
                      <a:pt x="143" y="1156"/>
                    </a:lnTo>
                    <a:lnTo>
                      <a:pt x="143" y="1154"/>
                    </a:lnTo>
                    <a:lnTo>
                      <a:pt x="143" y="1154"/>
                    </a:lnTo>
                    <a:lnTo>
                      <a:pt x="145" y="1154"/>
                    </a:lnTo>
                    <a:lnTo>
                      <a:pt x="145" y="1154"/>
                    </a:lnTo>
                    <a:lnTo>
                      <a:pt x="145" y="1154"/>
                    </a:lnTo>
                    <a:lnTo>
                      <a:pt x="148" y="1156"/>
                    </a:lnTo>
                    <a:lnTo>
                      <a:pt x="149" y="1156"/>
                    </a:lnTo>
                    <a:lnTo>
                      <a:pt x="152" y="1159"/>
                    </a:lnTo>
                    <a:lnTo>
                      <a:pt x="153" y="1159"/>
                    </a:lnTo>
                    <a:lnTo>
                      <a:pt x="155" y="1159"/>
                    </a:lnTo>
                    <a:lnTo>
                      <a:pt x="156" y="1159"/>
                    </a:lnTo>
                    <a:lnTo>
                      <a:pt x="158" y="1160"/>
                    </a:lnTo>
                    <a:lnTo>
                      <a:pt x="158" y="1160"/>
                    </a:lnTo>
                    <a:lnTo>
                      <a:pt x="159" y="1160"/>
                    </a:lnTo>
                    <a:lnTo>
                      <a:pt x="159" y="1160"/>
                    </a:lnTo>
                    <a:lnTo>
                      <a:pt x="159" y="1162"/>
                    </a:lnTo>
                    <a:lnTo>
                      <a:pt x="159" y="1162"/>
                    </a:lnTo>
                    <a:lnTo>
                      <a:pt x="159" y="1162"/>
                    </a:lnTo>
                    <a:lnTo>
                      <a:pt x="158" y="1166"/>
                    </a:lnTo>
                    <a:lnTo>
                      <a:pt x="158" y="1167"/>
                    </a:lnTo>
                    <a:lnTo>
                      <a:pt x="159" y="1167"/>
                    </a:lnTo>
                    <a:lnTo>
                      <a:pt x="162" y="1169"/>
                    </a:lnTo>
                    <a:lnTo>
                      <a:pt x="163" y="1170"/>
                    </a:lnTo>
                    <a:lnTo>
                      <a:pt x="165" y="1170"/>
                    </a:lnTo>
                    <a:lnTo>
                      <a:pt x="166" y="1172"/>
                    </a:lnTo>
                    <a:lnTo>
                      <a:pt x="168" y="1172"/>
                    </a:lnTo>
                    <a:lnTo>
                      <a:pt x="169" y="1173"/>
                    </a:lnTo>
                    <a:lnTo>
                      <a:pt x="172" y="1173"/>
                    </a:lnTo>
                    <a:lnTo>
                      <a:pt x="172" y="1173"/>
                    </a:lnTo>
                    <a:lnTo>
                      <a:pt x="172" y="1173"/>
                    </a:lnTo>
                    <a:lnTo>
                      <a:pt x="172" y="1173"/>
                    </a:lnTo>
                    <a:lnTo>
                      <a:pt x="172" y="1173"/>
                    </a:lnTo>
                    <a:lnTo>
                      <a:pt x="174" y="1175"/>
                    </a:lnTo>
                    <a:lnTo>
                      <a:pt x="174" y="1175"/>
                    </a:lnTo>
                    <a:lnTo>
                      <a:pt x="174" y="1175"/>
                    </a:lnTo>
                    <a:lnTo>
                      <a:pt x="174" y="1175"/>
                    </a:lnTo>
                    <a:lnTo>
                      <a:pt x="175" y="1176"/>
                    </a:lnTo>
                    <a:lnTo>
                      <a:pt x="175" y="1176"/>
                    </a:lnTo>
                    <a:lnTo>
                      <a:pt x="176" y="1175"/>
                    </a:lnTo>
                    <a:lnTo>
                      <a:pt x="178" y="1176"/>
                    </a:lnTo>
                    <a:lnTo>
                      <a:pt x="178" y="1176"/>
                    </a:lnTo>
                    <a:lnTo>
                      <a:pt x="179" y="1177"/>
                    </a:lnTo>
                    <a:lnTo>
                      <a:pt x="179" y="1177"/>
                    </a:lnTo>
                    <a:lnTo>
                      <a:pt x="181" y="1179"/>
                    </a:lnTo>
                    <a:lnTo>
                      <a:pt x="181" y="1179"/>
                    </a:lnTo>
                    <a:lnTo>
                      <a:pt x="182" y="1179"/>
                    </a:lnTo>
                    <a:lnTo>
                      <a:pt x="182" y="1180"/>
                    </a:lnTo>
                    <a:lnTo>
                      <a:pt x="184" y="1182"/>
                    </a:lnTo>
                    <a:lnTo>
                      <a:pt x="185" y="1182"/>
                    </a:lnTo>
                    <a:lnTo>
                      <a:pt x="185" y="1183"/>
                    </a:lnTo>
                    <a:lnTo>
                      <a:pt x="185" y="1183"/>
                    </a:lnTo>
                    <a:lnTo>
                      <a:pt x="186" y="1183"/>
                    </a:lnTo>
                    <a:lnTo>
                      <a:pt x="186" y="1185"/>
                    </a:lnTo>
                    <a:lnTo>
                      <a:pt x="186" y="1186"/>
                    </a:lnTo>
                    <a:lnTo>
                      <a:pt x="186" y="1186"/>
                    </a:lnTo>
                    <a:lnTo>
                      <a:pt x="186" y="1186"/>
                    </a:lnTo>
                    <a:lnTo>
                      <a:pt x="188" y="1188"/>
                    </a:lnTo>
                    <a:lnTo>
                      <a:pt x="189" y="1188"/>
                    </a:lnTo>
                    <a:lnTo>
                      <a:pt x="191" y="1188"/>
                    </a:lnTo>
                    <a:lnTo>
                      <a:pt x="192" y="1188"/>
                    </a:lnTo>
                    <a:lnTo>
                      <a:pt x="192" y="1189"/>
                    </a:lnTo>
                    <a:lnTo>
                      <a:pt x="194" y="1189"/>
                    </a:lnTo>
                    <a:lnTo>
                      <a:pt x="197" y="1189"/>
                    </a:lnTo>
                    <a:lnTo>
                      <a:pt x="198" y="1188"/>
                    </a:lnTo>
                    <a:lnTo>
                      <a:pt x="199" y="1186"/>
                    </a:lnTo>
                    <a:lnTo>
                      <a:pt x="199" y="1185"/>
                    </a:lnTo>
                    <a:lnTo>
                      <a:pt x="201" y="1183"/>
                    </a:lnTo>
                    <a:lnTo>
                      <a:pt x="201" y="1183"/>
                    </a:lnTo>
                    <a:lnTo>
                      <a:pt x="202" y="1183"/>
                    </a:lnTo>
                    <a:lnTo>
                      <a:pt x="202" y="1182"/>
                    </a:lnTo>
                    <a:lnTo>
                      <a:pt x="205" y="1182"/>
                    </a:lnTo>
                    <a:lnTo>
                      <a:pt x="205" y="1180"/>
                    </a:lnTo>
                    <a:lnTo>
                      <a:pt x="207" y="1179"/>
                    </a:lnTo>
                    <a:lnTo>
                      <a:pt x="208" y="1176"/>
                    </a:lnTo>
                    <a:lnTo>
                      <a:pt x="209" y="1175"/>
                    </a:lnTo>
                    <a:lnTo>
                      <a:pt x="207" y="1172"/>
                    </a:lnTo>
                    <a:lnTo>
                      <a:pt x="205" y="1170"/>
                    </a:lnTo>
                    <a:lnTo>
                      <a:pt x="201" y="1165"/>
                    </a:lnTo>
                    <a:lnTo>
                      <a:pt x="197" y="1157"/>
                    </a:lnTo>
                    <a:lnTo>
                      <a:pt x="197" y="1157"/>
                    </a:lnTo>
                    <a:lnTo>
                      <a:pt x="195" y="1153"/>
                    </a:lnTo>
                    <a:lnTo>
                      <a:pt x="192" y="1150"/>
                    </a:lnTo>
                    <a:lnTo>
                      <a:pt x="191" y="1149"/>
                    </a:lnTo>
                    <a:lnTo>
                      <a:pt x="191" y="1147"/>
                    </a:lnTo>
                    <a:lnTo>
                      <a:pt x="191" y="1143"/>
                    </a:lnTo>
                    <a:lnTo>
                      <a:pt x="194" y="1129"/>
                    </a:lnTo>
                    <a:lnTo>
                      <a:pt x="192" y="1130"/>
                    </a:lnTo>
                    <a:lnTo>
                      <a:pt x="191" y="1133"/>
                    </a:lnTo>
                    <a:lnTo>
                      <a:pt x="191" y="1137"/>
                    </a:lnTo>
                    <a:lnTo>
                      <a:pt x="189" y="1132"/>
                    </a:lnTo>
                    <a:lnTo>
                      <a:pt x="188" y="1127"/>
                    </a:lnTo>
                    <a:lnTo>
                      <a:pt x="186" y="1121"/>
                    </a:lnTo>
                    <a:lnTo>
                      <a:pt x="182" y="1119"/>
                    </a:lnTo>
                    <a:lnTo>
                      <a:pt x="178" y="1117"/>
                    </a:lnTo>
                    <a:lnTo>
                      <a:pt x="176" y="1116"/>
                    </a:lnTo>
                    <a:lnTo>
                      <a:pt x="178" y="1113"/>
                    </a:lnTo>
                    <a:lnTo>
                      <a:pt x="178" y="1111"/>
                    </a:lnTo>
                    <a:lnTo>
                      <a:pt x="181" y="1109"/>
                    </a:lnTo>
                    <a:lnTo>
                      <a:pt x="176" y="1107"/>
                    </a:lnTo>
                    <a:lnTo>
                      <a:pt x="161" y="1104"/>
                    </a:lnTo>
                    <a:close/>
                    <a:moveTo>
                      <a:pt x="1762" y="858"/>
                    </a:moveTo>
                    <a:lnTo>
                      <a:pt x="1759" y="860"/>
                    </a:lnTo>
                    <a:lnTo>
                      <a:pt x="1765" y="860"/>
                    </a:lnTo>
                    <a:lnTo>
                      <a:pt x="1766" y="860"/>
                    </a:lnTo>
                    <a:lnTo>
                      <a:pt x="1768" y="857"/>
                    </a:lnTo>
                    <a:lnTo>
                      <a:pt x="1765" y="857"/>
                    </a:lnTo>
                    <a:lnTo>
                      <a:pt x="1763" y="857"/>
                    </a:lnTo>
                    <a:lnTo>
                      <a:pt x="1762" y="858"/>
                    </a:lnTo>
                    <a:close/>
                    <a:moveTo>
                      <a:pt x="1775" y="854"/>
                    </a:moveTo>
                    <a:lnTo>
                      <a:pt x="1773" y="856"/>
                    </a:lnTo>
                    <a:lnTo>
                      <a:pt x="1772" y="858"/>
                    </a:lnTo>
                    <a:lnTo>
                      <a:pt x="1769" y="861"/>
                    </a:lnTo>
                    <a:lnTo>
                      <a:pt x="1769" y="864"/>
                    </a:lnTo>
                    <a:lnTo>
                      <a:pt x="1771" y="863"/>
                    </a:lnTo>
                    <a:lnTo>
                      <a:pt x="1772" y="863"/>
                    </a:lnTo>
                    <a:lnTo>
                      <a:pt x="1772" y="863"/>
                    </a:lnTo>
                    <a:lnTo>
                      <a:pt x="1773" y="863"/>
                    </a:lnTo>
                    <a:lnTo>
                      <a:pt x="1775" y="864"/>
                    </a:lnTo>
                    <a:lnTo>
                      <a:pt x="1775" y="866"/>
                    </a:lnTo>
                    <a:lnTo>
                      <a:pt x="1776" y="866"/>
                    </a:lnTo>
                    <a:lnTo>
                      <a:pt x="1778" y="867"/>
                    </a:lnTo>
                    <a:lnTo>
                      <a:pt x="1781" y="866"/>
                    </a:lnTo>
                    <a:lnTo>
                      <a:pt x="1782" y="863"/>
                    </a:lnTo>
                    <a:lnTo>
                      <a:pt x="1783" y="860"/>
                    </a:lnTo>
                    <a:lnTo>
                      <a:pt x="1786" y="858"/>
                    </a:lnTo>
                    <a:lnTo>
                      <a:pt x="1776" y="854"/>
                    </a:lnTo>
                    <a:lnTo>
                      <a:pt x="1775" y="854"/>
                    </a:lnTo>
                    <a:close/>
                    <a:moveTo>
                      <a:pt x="2701" y="548"/>
                    </a:moveTo>
                    <a:lnTo>
                      <a:pt x="2700" y="547"/>
                    </a:lnTo>
                    <a:lnTo>
                      <a:pt x="2698" y="545"/>
                    </a:lnTo>
                    <a:lnTo>
                      <a:pt x="2697" y="545"/>
                    </a:lnTo>
                    <a:lnTo>
                      <a:pt x="2693" y="545"/>
                    </a:lnTo>
                    <a:lnTo>
                      <a:pt x="2694" y="542"/>
                    </a:lnTo>
                    <a:lnTo>
                      <a:pt x="2691" y="541"/>
                    </a:lnTo>
                    <a:lnTo>
                      <a:pt x="2688" y="541"/>
                    </a:lnTo>
                    <a:lnTo>
                      <a:pt x="2685" y="542"/>
                    </a:lnTo>
                    <a:lnTo>
                      <a:pt x="2687" y="539"/>
                    </a:lnTo>
                    <a:lnTo>
                      <a:pt x="2685" y="536"/>
                    </a:lnTo>
                    <a:lnTo>
                      <a:pt x="2684" y="535"/>
                    </a:lnTo>
                    <a:lnTo>
                      <a:pt x="2672" y="526"/>
                    </a:lnTo>
                    <a:lnTo>
                      <a:pt x="2668" y="522"/>
                    </a:lnTo>
                    <a:lnTo>
                      <a:pt x="2665" y="519"/>
                    </a:lnTo>
                    <a:lnTo>
                      <a:pt x="2662" y="518"/>
                    </a:lnTo>
                    <a:lnTo>
                      <a:pt x="2644" y="515"/>
                    </a:lnTo>
                    <a:lnTo>
                      <a:pt x="2645" y="516"/>
                    </a:lnTo>
                    <a:lnTo>
                      <a:pt x="2648" y="516"/>
                    </a:lnTo>
                    <a:lnTo>
                      <a:pt x="2649" y="518"/>
                    </a:lnTo>
                    <a:lnTo>
                      <a:pt x="2652" y="518"/>
                    </a:lnTo>
                    <a:lnTo>
                      <a:pt x="2649" y="519"/>
                    </a:lnTo>
                    <a:lnTo>
                      <a:pt x="2642" y="518"/>
                    </a:lnTo>
                    <a:lnTo>
                      <a:pt x="2639" y="518"/>
                    </a:lnTo>
                    <a:lnTo>
                      <a:pt x="2639" y="519"/>
                    </a:lnTo>
                    <a:lnTo>
                      <a:pt x="2641" y="521"/>
                    </a:lnTo>
                    <a:lnTo>
                      <a:pt x="2639" y="522"/>
                    </a:lnTo>
                    <a:lnTo>
                      <a:pt x="2639" y="522"/>
                    </a:lnTo>
                    <a:lnTo>
                      <a:pt x="2638" y="522"/>
                    </a:lnTo>
                    <a:lnTo>
                      <a:pt x="2638" y="521"/>
                    </a:lnTo>
                    <a:lnTo>
                      <a:pt x="2638" y="521"/>
                    </a:lnTo>
                    <a:lnTo>
                      <a:pt x="2638" y="518"/>
                    </a:lnTo>
                    <a:lnTo>
                      <a:pt x="2639" y="516"/>
                    </a:lnTo>
                    <a:lnTo>
                      <a:pt x="2639" y="515"/>
                    </a:lnTo>
                    <a:lnTo>
                      <a:pt x="2641" y="515"/>
                    </a:lnTo>
                    <a:lnTo>
                      <a:pt x="2634" y="512"/>
                    </a:lnTo>
                    <a:lnTo>
                      <a:pt x="2632" y="512"/>
                    </a:lnTo>
                    <a:lnTo>
                      <a:pt x="2629" y="512"/>
                    </a:lnTo>
                    <a:lnTo>
                      <a:pt x="2616" y="513"/>
                    </a:lnTo>
                    <a:lnTo>
                      <a:pt x="2618" y="515"/>
                    </a:lnTo>
                    <a:lnTo>
                      <a:pt x="2622" y="516"/>
                    </a:lnTo>
                    <a:lnTo>
                      <a:pt x="2625" y="518"/>
                    </a:lnTo>
                    <a:lnTo>
                      <a:pt x="2625" y="519"/>
                    </a:lnTo>
                    <a:lnTo>
                      <a:pt x="2626" y="522"/>
                    </a:lnTo>
                    <a:lnTo>
                      <a:pt x="2626" y="524"/>
                    </a:lnTo>
                    <a:lnTo>
                      <a:pt x="2625" y="526"/>
                    </a:lnTo>
                    <a:lnTo>
                      <a:pt x="2624" y="528"/>
                    </a:lnTo>
                    <a:lnTo>
                      <a:pt x="2622" y="529"/>
                    </a:lnTo>
                    <a:lnTo>
                      <a:pt x="2624" y="531"/>
                    </a:lnTo>
                    <a:lnTo>
                      <a:pt x="2625" y="532"/>
                    </a:lnTo>
                    <a:lnTo>
                      <a:pt x="2629" y="534"/>
                    </a:lnTo>
                    <a:lnTo>
                      <a:pt x="2629" y="535"/>
                    </a:lnTo>
                    <a:lnTo>
                      <a:pt x="2629" y="538"/>
                    </a:lnTo>
                    <a:lnTo>
                      <a:pt x="2628" y="539"/>
                    </a:lnTo>
                    <a:lnTo>
                      <a:pt x="2626" y="541"/>
                    </a:lnTo>
                    <a:lnTo>
                      <a:pt x="2626" y="542"/>
                    </a:lnTo>
                    <a:lnTo>
                      <a:pt x="2625" y="542"/>
                    </a:lnTo>
                    <a:lnTo>
                      <a:pt x="2625" y="538"/>
                    </a:lnTo>
                    <a:lnTo>
                      <a:pt x="2625" y="535"/>
                    </a:lnTo>
                    <a:lnTo>
                      <a:pt x="2625" y="534"/>
                    </a:lnTo>
                    <a:lnTo>
                      <a:pt x="2622" y="535"/>
                    </a:lnTo>
                    <a:lnTo>
                      <a:pt x="2621" y="536"/>
                    </a:lnTo>
                    <a:lnTo>
                      <a:pt x="2619" y="539"/>
                    </a:lnTo>
                    <a:lnTo>
                      <a:pt x="2619" y="536"/>
                    </a:lnTo>
                    <a:lnTo>
                      <a:pt x="2618" y="534"/>
                    </a:lnTo>
                    <a:lnTo>
                      <a:pt x="2618" y="532"/>
                    </a:lnTo>
                    <a:lnTo>
                      <a:pt x="2616" y="531"/>
                    </a:lnTo>
                    <a:lnTo>
                      <a:pt x="2615" y="531"/>
                    </a:lnTo>
                    <a:lnTo>
                      <a:pt x="2614" y="531"/>
                    </a:lnTo>
                    <a:lnTo>
                      <a:pt x="2611" y="529"/>
                    </a:lnTo>
                    <a:lnTo>
                      <a:pt x="2611" y="529"/>
                    </a:lnTo>
                    <a:lnTo>
                      <a:pt x="2611" y="528"/>
                    </a:lnTo>
                    <a:lnTo>
                      <a:pt x="2611" y="525"/>
                    </a:lnTo>
                    <a:lnTo>
                      <a:pt x="2612" y="524"/>
                    </a:lnTo>
                    <a:lnTo>
                      <a:pt x="2612" y="522"/>
                    </a:lnTo>
                    <a:lnTo>
                      <a:pt x="2612" y="521"/>
                    </a:lnTo>
                    <a:lnTo>
                      <a:pt x="2612" y="519"/>
                    </a:lnTo>
                    <a:lnTo>
                      <a:pt x="2612" y="518"/>
                    </a:lnTo>
                    <a:lnTo>
                      <a:pt x="2611" y="515"/>
                    </a:lnTo>
                    <a:lnTo>
                      <a:pt x="2609" y="513"/>
                    </a:lnTo>
                    <a:lnTo>
                      <a:pt x="2609" y="512"/>
                    </a:lnTo>
                    <a:lnTo>
                      <a:pt x="2611" y="508"/>
                    </a:lnTo>
                    <a:lnTo>
                      <a:pt x="2611" y="506"/>
                    </a:lnTo>
                    <a:lnTo>
                      <a:pt x="2611" y="503"/>
                    </a:lnTo>
                    <a:lnTo>
                      <a:pt x="2608" y="503"/>
                    </a:lnTo>
                    <a:lnTo>
                      <a:pt x="2605" y="505"/>
                    </a:lnTo>
                    <a:lnTo>
                      <a:pt x="2602" y="505"/>
                    </a:lnTo>
                    <a:lnTo>
                      <a:pt x="2605" y="499"/>
                    </a:lnTo>
                    <a:lnTo>
                      <a:pt x="2601" y="495"/>
                    </a:lnTo>
                    <a:lnTo>
                      <a:pt x="2569" y="480"/>
                    </a:lnTo>
                    <a:lnTo>
                      <a:pt x="2568" y="480"/>
                    </a:lnTo>
                    <a:lnTo>
                      <a:pt x="2566" y="480"/>
                    </a:lnTo>
                    <a:lnTo>
                      <a:pt x="2563" y="480"/>
                    </a:lnTo>
                    <a:lnTo>
                      <a:pt x="2562" y="480"/>
                    </a:lnTo>
                    <a:lnTo>
                      <a:pt x="2563" y="479"/>
                    </a:lnTo>
                    <a:lnTo>
                      <a:pt x="2563" y="479"/>
                    </a:lnTo>
                    <a:lnTo>
                      <a:pt x="2565" y="479"/>
                    </a:lnTo>
                    <a:lnTo>
                      <a:pt x="2560" y="476"/>
                    </a:lnTo>
                    <a:lnTo>
                      <a:pt x="2558" y="475"/>
                    </a:lnTo>
                    <a:lnTo>
                      <a:pt x="2553" y="472"/>
                    </a:lnTo>
                    <a:lnTo>
                      <a:pt x="2549" y="472"/>
                    </a:lnTo>
                    <a:lnTo>
                      <a:pt x="2552" y="473"/>
                    </a:lnTo>
                    <a:lnTo>
                      <a:pt x="2558" y="476"/>
                    </a:lnTo>
                    <a:lnTo>
                      <a:pt x="2559" y="478"/>
                    </a:lnTo>
                    <a:lnTo>
                      <a:pt x="2559" y="478"/>
                    </a:lnTo>
                    <a:lnTo>
                      <a:pt x="2558" y="479"/>
                    </a:lnTo>
                    <a:lnTo>
                      <a:pt x="2556" y="479"/>
                    </a:lnTo>
                    <a:lnTo>
                      <a:pt x="2555" y="479"/>
                    </a:lnTo>
                    <a:lnTo>
                      <a:pt x="2555" y="476"/>
                    </a:lnTo>
                    <a:lnTo>
                      <a:pt x="2550" y="473"/>
                    </a:lnTo>
                    <a:lnTo>
                      <a:pt x="2545" y="472"/>
                    </a:lnTo>
                    <a:lnTo>
                      <a:pt x="2543" y="469"/>
                    </a:lnTo>
                    <a:lnTo>
                      <a:pt x="2543" y="469"/>
                    </a:lnTo>
                    <a:lnTo>
                      <a:pt x="2545" y="470"/>
                    </a:lnTo>
                    <a:lnTo>
                      <a:pt x="2546" y="470"/>
                    </a:lnTo>
                    <a:lnTo>
                      <a:pt x="2546" y="470"/>
                    </a:lnTo>
                    <a:lnTo>
                      <a:pt x="2539" y="466"/>
                    </a:lnTo>
                    <a:lnTo>
                      <a:pt x="2522" y="460"/>
                    </a:lnTo>
                    <a:lnTo>
                      <a:pt x="2510" y="456"/>
                    </a:lnTo>
                    <a:lnTo>
                      <a:pt x="2503" y="453"/>
                    </a:lnTo>
                    <a:lnTo>
                      <a:pt x="2502" y="453"/>
                    </a:lnTo>
                    <a:lnTo>
                      <a:pt x="2499" y="452"/>
                    </a:lnTo>
                    <a:lnTo>
                      <a:pt x="2497" y="450"/>
                    </a:lnTo>
                    <a:lnTo>
                      <a:pt x="2461" y="443"/>
                    </a:lnTo>
                    <a:lnTo>
                      <a:pt x="2456" y="442"/>
                    </a:lnTo>
                    <a:lnTo>
                      <a:pt x="2451" y="440"/>
                    </a:lnTo>
                    <a:lnTo>
                      <a:pt x="2450" y="439"/>
                    </a:lnTo>
                    <a:lnTo>
                      <a:pt x="2447" y="439"/>
                    </a:lnTo>
                    <a:lnTo>
                      <a:pt x="2444" y="439"/>
                    </a:lnTo>
                    <a:lnTo>
                      <a:pt x="2438" y="440"/>
                    </a:lnTo>
                    <a:lnTo>
                      <a:pt x="2433" y="440"/>
                    </a:lnTo>
                    <a:lnTo>
                      <a:pt x="2415" y="439"/>
                    </a:lnTo>
                    <a:lnTo>
                      <a:pt x="2412" y="439"/>
                    </a:lnTo>
                    <a:lnTo>
                      <a:pt x="2408" y="437"/>
                    </a:lnTo>
                    <a:lnTo>
                      <a:pt x="2405" y="437"/>
                    </a:lnTo>
                    <a:lnTo>
                      <a:pt x="2404" y="437"/>
                    </a:lnTo>
                    <a:lnTo>
                      <a:pt x="2402" y="440"/>
                    </a:lnTo>
                    <a:lnTo>
                      <a:pt x="2401" y="440"/>
                    </a:lnTo>
                    <a:lnTo>
                      <a:pt x="2398" y="440"/>
                    </a:lnTo>
                    <a:lnTo>
                      <a:pt x="2388" y="436"/>
                    </a:lnTo>
                    <a:lnTo>
                      <a:pt x="2377" y="433"/>
                    </a:lnTo>
                    <a:lnTo>
                      <a:pt x="2354" y="432"/>
                    </a:lnTo>
                    <a:lnTo>
                      <a:pt x="2354" y="436"/>
                    </a:lnTo>
                    <a:lnTo>
                      <a:pt x="2354" y="437"/>
                    </a:lnTo>
                    <a:lnTo>
                      <a:pt x="2354" y="440"/>
                    </a:lnTo>
                    <a:lnTo>
                      <a:pt x="2352" y="442"/>
                    </a:lnTo>
                    <a:lnTo>
                      <a:pt x="2349" y="444"/>
                    </a:lnTo>
                    <a:lnTo>
                      <a:pt x="2348" y="446"/>
                    </a:lnTo>
                    <a:lnTo>
                      <a:pt x="2354" y="446"/>
                    </a:lnTo>
                    <a:lnTo>
                      <a:pt x="2355" y="446"/>
                    </a:lnTo>
                    <a:lnTo>
                      <a:pt x="2355" y="447"/>
                    </a:lnTo>
                    <a:lnTo>
                      <a:pt x="2356" y="449"/>
                    </a:lnTo>
                    <a:lnTo>
                      <a:pt x="2356" y="450"/>
                    </a:lnTo>
                    <a:lnTo>
                      <a:pt x="2356" y="450"/>
                    </a:lnTo>
                    <a:lnTo>
                      <a:pt x="2361" y="455"/>
                    </a:lnTo>
                    <a:lnTo>
                      <a:pt x="2362" y="457"/>
                    </a:lnTo>
                    <a:lnTo>
                      <a:pt x="2362" y="459"/>
                    </a:lnTo>
                    <a:lnTo>
                      <a:pt x="2358" y="463"/>
                    </a:lnTo>
                    <a:lnTo>
                      <a:pt x="2351" y="465"/>
                    </a:lnTo>
                    <a:lnTo>
                      <a:pt x="2344" y="466"/>
                    </a:lnTo>
                    <a:lnTo>
                      <a:pt x="2339" y="466"/>
                    </a:lnTo>
                    <a:lnTo>
                      <a:pt x="2336" y="465"/>
                    </a:lnTo>
                    <a:lnTo>
                      <a:pt x="2335" y="463"/>
                    </a:lnTo>
                    <a:lnTo>
                      <a:pt x="2333" y="460"/>
                    </a:lnTo>
                    <a:lnTo>
                      <a:pt x="2332" y="459"/>
                    </a:lnTo>
                    <a:lnTo>
                      <a:pt x="2331" y="457"/>
                    </a:lnTo>
                    <a:lnTo>
                      <a:pt x="2326" y="456"/>
                    </a:lnTo>
                    <a:lnTo>
                      <a:pt x="2318" y="455"/>
                    </a:lnTo>
                    <a:lnTo>
                      <a:pt x="2316" y="453"/>
                    </a:lnTo>
                    <a:lnTo>
                      <a:pt x="2315" y="453"/>
                    </a:lnTo>
                    <a:lnTo>
                      <a:pt x="2313" y="450"/>
                    </a:lnTo>
                    <a:lnTo>
                      <a:pt x="2312" y="447"/>
                    </a:lnTo>
                    <a:lnTo>
                      <a:pt x="2311" y="446"/>
                    </a:lnTo>
                    <a:lnTo>
                      <a:pt x="2308" y="444"/>
                    </a:lnTo>
                    <a:lnTo>
                      <a:pt x="2305" y="443"/>
                    </a:lnTo>
                    <a:lnTo>
                      <a:pt x="2300" y="444"/>
                    </a:lnTo>
                    <a:lnTo>
                      <a:pt x="2290" y="447"/>
                    </a:lnTo>
                    <a:lnTo>
                      <a:pt x="2286" y="449"/>
                    </a:lnTo>
                    <a:lnTo>
                      <a:pt x="2260" y="446"/>
                    </a:lnTo>
                    <a:lnTo>
                      <a:pt x="2252" y="446"/>
                    </a:lnTo>
                    <a:lnTo>
                      <a:pt x="2249" y="446"/>
                    </a:lnTo>
                    <a:lnTo>
                      <a:pt x="2242" y="443"/>
                    </a:lnTo>
                    <a:lnTo>
                      <a:pt x="2239" y="443"/>
                    </a:lnTo>
                    <a:lnTo>
                      <a:pt x="2210" y="446"/>
                    </a:lnTo>
                    <a:lnTo>
                      <a:pt x="2203" y="447"/>
                    </a:lnTo>
                    <a:lnTo>
                      <a:pt x="2197" y="450"/>
                    </a:lnTo>
                    <a:lnTo>
                      <a:pt x="2196" y="455"/>
                    </a:lnTo>
                    <a:lnTo>
                      <a:pt x="2196" y="456"/>
                    </a:lnTo>
                    <a:lnTo>
                      <a:pt x="2196" y="459"/>
                    </a:lnTo>
                    <a:lnTo>
                      <a:pt x="2197" y="460"/>
                    </a:lnTo>
                    <a:lnTo>
                      <a:pt x="2196" y="462"/>
                    </a:lnTo>
                    <a:lnTo>
                      <a:pt x="2196" y="463"/>
                    </a:lnTo>
                    <a:lnTo>
                      <a:pt x="2194" y="463"/>
                    </a:lnTo>
                    <a:lnTo>
                      <a:pt x="2194" y="465"/>
                    </a:lnTo>
                    <a:lnTo>
                      <a:pt x="2190" y="469"/>
                    </a:lnTo>
                    <a:lnTo>
                      <a:pt x="2187" y="470"/>
                    </a:lnTo>
                    <a:lnTo>
                      <a:pt x="2184" y="472"/>
                    </a:lnTo>
                    <a:lnTo>
                      <a:pt x="2188" y="469"/>
                    </a:lnTo>
                    <a:lnTo>
                      <a:pt x="2191" y="467"/>
                    </a:lnTo>
                    <a:lnTo>
                      <a:pt x="2191" y="465"/>
                    </a:lnTo>
                    <a:lnTo>
                      <a:pt x="2191" y="462"/>
                    </a:lnTo>
                    <a:lnTo>
                      <a:pt x="2190" y="460"/>
                    </a:lnTo>
                    <a:lnTo>
                      <a:pt x="2188" y="459"/>
                    </a:lnTo>
                    <a:lnTo>
                      <a:pt x="2187" y="457"/>
                    </a:lnTo>
                    <a:lnTo>
                      <a:pt x="2187" y="456"/>
                    </a:lnTo>
                    <a:lnTo>
                      <a:pt x="2186" y="450"/>
                    </a:lnTo>
                    <a:lnTo>
                      <a:pt x="2186" y="447"/>
                    </a:lnTo>
                    <a:lnTo>
                      <a:pt x="2183" y="446"/>
                    </a:lnTo>
                    <a:lnTo>
                      <a:pt x="2181" y="444"/>
                    </a:lnTo>
                    <a:lnTo>
                      <a:pt x="2168" y="443"/>
                    </a:lnTo>
                    <a:lnTo>
                      <a:pt x="2167" y="442"/>
                    </a:lnTo>
                    <a:lnTo>
                      <a:pt x="2164" y="440"/>
                    </a:lnTo>
                    <a:lnTo>
                      <a:pt x="2164" y="439"/>
                    </a:lnTo>
                    <a:lnTo>
                      <a:pt x="2165" y="436"/>
                    </a:lnTo>
                    <a:lnTo>
                      <a:pt x="2167" y="430"/>
                    </a:lnTo>
                    <a:lnTo>
                      <a:pt x="2168" y="426"/>
                    </a:lnTo>
                    <a:lnTo>
                      <a:pt x="2168" y="424"/>
                    </a:lnTo>
                    <a:lnTo>
                      <a:pt x="2168" y="421"/>
                    </a:lnTo>
                    <a:lnTo>
                      <a:pt x="2167" y="419"/>
                    </a:lnTo>
                    <a:lnTo>
                      <a:pt x="2167" y="417"/>
                    </a:lnTo>
                    <a:lnTo>
                      <a:pt x="2165" y="414"/>
                    </a:lnTo>
                    <a:lnTo>
                      <a:pt x="2163" y="413"/>
                    </a:lnTo>
                    <a:lnTo>
                      <a:pt x="2154" y="407"/>
                    </a:lnTo>
                    <a:lnTo>
                      <a:pt x="2142" y="403"/>
                    </a:lnTo>
                    <a:lnTo>
                      <a:pt x="2132" y="401"/>
                    </a:lnTo>
                    <a:lnTo>
                      <a:pt x="2109" y="400"/>
                    </a:lnTo>
                    <a:lnTo>
                      <a:pt x="2085" y="401"/>
                    </a:lnTo>
                    <a:lnTo>
                      <a:pt x="2041" y="409"/>
                    </a:lnTo>
                    <a:lnTo>
                      <a:pt x="2038" y="407"/>
                    </a:lnTo>
                    <a:lnTo>
                      <a:pt x="2033" y="407"/>
                    </a:lnTo>
                    <a:lnTo>
                      <a:pt x="2025" y="403"/>
                    </a:lnTo>
                    <a:lnTo>
                      <a:pt x="2028" y="403"/>
                    </a:lnTo>
                    <a:lnTo>
                      <a:pt x="2029" y="403"/>
                    </a:lnTo>
                    <a:lnTo>
                      <a:pt x="2030" y="401"/>
                    </a:lnTo>
                    <a:lnTo>
                      <a:pt x="2022" y="396"/>
                    </a:lnTo>
                    <a:lnTo>
                      <a:pt x="2013" y="393"/>
                    </a:lnTo>
                    <a:lnTo>
                      <a:pt x="2005" y="393"/>
                    </a:lnTo>
                    <a:lnTo>
                      <a:pt x="1995" y="396"/>
                    </a:lnTo>
                    <a:lnTo>
                      <a:pt x="2002" y="391"/>
                    </a:lnTo>
                    <a:lnTo>
                      <a:pt x="2003" y="390"/>
                    </a:lnTo>
                    <a:lnTo>
                      <a:pt x="2005" y="387"/>
                    </a:lnTo>
                    <a:lnTo>
                      <a:pt x="2003" y="387"/>
                    </a:lnTo>
                    <a:lnTo>
                      <a:pt x="1997" y="387"/>
                    </a:lnTo>
                    <a:lnTo>
                      <a:pt x="1993" y="386"/>
                    </a:lnTo>
                    <a:lnTo>
                      <a:pt x="1985" y="383"/>
                    </a:lnTo>
                    <a:lnTo>
                      <a:pt x="1974" y="381"/>
                    </a:lnTo>
                    <a:lnTo>
                      <a:pt x="1976" y="380"/>
                    </a:lnTo>
                    <a:lnTo>
                      <a:pt x="1980" y="378"/>
                    </a:lnTo>
                    <a:lnTo>
                      <a:pt x="1985" y="377"/>
                    </a:lnTo>
                    <a:lnTo>
                      <a:pt x="1990" y="377"/>
                    </a:lnTo>
                    <a:lnTo>
                      <a:pt x="1992" y="377"/>
                    </a:lnTo>
                    <a:lnTo>
                      <a:pt x="1993" y="374"/>
                    </a:lnTo>
                    <a:lnTo>
                      <a:pt x="1993" y="373"/>
                    </a:lnTo>
                    <a:lnTo>
                      <a:pt x="1990" y="371"/>
                    </a:lnTo>
                    <a:lnTo>
                      <a:pt x="1989" y="368"/>
                    </a:lnTo>
                    <a:lnTo>
                      <a:pt x="1986" y="368"/>
                    </a:lnTo>
                    <a:lnTo>
                      <a:pt x="1982" y="365"/>
                    </a:lnTo>
                    <a:lnTo>
                      <a:pt x="1976" y="364"/>
                    </a:lnTo>
                    <a:lnTo>
                      <a:pt x="1964" y="363"/>
                    </a:lnTo>
                    <a:lnTo>
                      <a:pt x="1953" y="361"/>
                    </a:lnTo>
                    <a:lnTo>
                      <a:pt x="1947" y="361"/>
                    </a:lnTo>
                    <a:lnTo>
                      <a:pt x="1943" y="363"/>
                    </a:lnTo>
                    <a:lnTo>
                      <a:pt x="1939" y="367"/>
                    </a:lnTo>
                    <a:lnTo>
                      <a:pt x="1930" y="374"/>
                    </a:lnTo>
                    <a:lnTo>
                      <a:pt x="1926" y="377"/>
                    </a:lnTo>
                    <a:lnTo>
                      <a:pt x="1921" y="380"/>
                    </a:lnTo>
                    <a:lnTo>
                      <a:pt x="1914" y="381"/>
                    </a:lnTo>
                    <a:lnTo>
                      <a:pt x="1908" y="381"/>
                    </a:lnTo>
                    <a:lnTo>
                      <a:pt x="1906" y="380"/>
                    </a:lnTo>
                    <a:lnTo>
                      <a:pt x="1906" y="378"/>
                    </a:lnTo>
                    <a:lnTo>
                      <a:pt x="1906" y="377"/>
                    </a:lnTo>
                    <a:lnTo>
                      <a:pt x="1907" y="375"/>
                    </a:lnTo>
                    <a:lnTo>
                      <a:pt x="1907" y="374"/>
                    </a:lnTo>
                    <a:lnTo>
                      <a:pt x="1910" y="374"/>
                    </a:lnTo>
                    <a:lnTo>
                      <a:pt x="1913" y="375"/>
                    </a:lnTo>
                    <a:lnTo>
                      <a:pt x="1916" y="375"/>
                    </a:lnTo>
                    <a:lnTo>
                      <a:pt x="1918" y="374"/>
                    </a:lnTo>
                    <a:lnTo>
                      <a:pt x="1918" y="373"/>
                    </a:lnTo>
                    <a:lnTo>
                      <a:pt x="1917" y="370"/>
                    </a:lnTo>
                    <a:lnTo>
                      <a:pt x="1917" y="367"/>
                    </a:lnTo>
                    <a:lnTo>
                      <a:pt x="1918" y="365"/>
                    </a:lnTo>
                    <a:lnTo>
                      <a:pt x="1920" y="365"/>
                    </a:lnTo>
                    <a:lnTo>
                      <a:pt x="1924" y="367"/>
                    </a:lnTo>
                    <a:lnTo>
                      <a:pt x="1927" y="368"/>
                    </a:lnTo>
                    <a:lnTo>
                      <a:pt x="1923" y="374"/>
                    </a:lnTo>
                    <a:lnTo>
                      <a:pt x="1927" y="373"/>
                    </a:lnTo>
                    <a:lnTo>
                      <a:pt x="1931" y="370"/>
                    </a:lnTo>
                    <a:lnTo>
                      <a:pt x="1936" y="367"/>
                    </a:lnTo>
                    <a:lnTo>
                      <a:pt x="1937" y="363"/>
                    </a:lnTo>
                    <a:lnTo>
                      <a:pt x="1910" y="364"/>
                    </a:lnTo>
                    <a:lnTo>
                      <a:pt x="1900" y="367"/>
                    </a:lnTo>
                    <a:lnTo>
                      <a:pt x="1894" y="367"/>
                    </a:lnTo>
                    <a:lnTo>
                      <a:pt x="1891" y="364"/>
                    </a:lnTo>
                    <a:lnTo>
                      <a:pt x="1894" y="364"/>
                    </a:lnTo>
                    <a:lnTo>
                      <a:pt x="1901" y="361"/>
                    </a:lnTo>
                    <a:lnTo>
                      <a:pt x="1904" y="360"/>
                    </a:lnTo>
                    <a:lnTo>
                      <a:pt x="1908" y="360"/>
                    </a:lnTo>
                    <a:lnTo>
                      <a:pt x="1923" y="361"/>
                    </a:lnTo>
                    <a:lnTo>
                      <a:pt x="1926" y="361"/>
                    </a:lnTo>
                    <a:lnTo>
                      <a:pt x="1927" y="361"/>
                    </a:lnTo>
                    <a:lnTo>
                      <a:pt x="1928" y="360"/>
                    </a:lnTo>
                    <a:lnTo>
                      <a:pt x="1927" y="358"/>
                    </a:lnTo>
                    <a:lnTo>
                      <a:pt x="1924" y="357"/>
                    </a:lnTo>
                    <a:lnTo>
                      <a:pt x="1911" y="354"/>
                    </a:lnTo>
                    <a:lnTo>
                      <a:pt x="1878" y="350"/>
                    </a:lnTo>
                    <a:lnTo>
                      <a:pt x="1852" y="348"/>
                    </a:lnTo>
                    <a:lnTo>
                      <a:pt x="1844" y="345"/>
                    </a:lnTo>
                    <a:lnTo>
                      <a:pt x="1837" y="342"/>
                    </a:lnTo>
                    <a:lnTo>
                      <a:pt x="1834" y="341"/>
                    </a:lnTo>
                    <a:lnTo>
                      <a:pt x="1829" y="342"/>
                    </a:lnTo>
                    <a:lnTo>
                      <a:pt x="1829" y="344"/>
                    </a:lnTo>
                    <a:lnTo>
                      <a:pt x="1829" y="344"/>
                    </a:lnTo>
                    <a:lnTo>
                      <a:pt x="1832" y="347"/>
                    </a:lnTo>
                    <a:lnTo>
                      <a:pt x="1834" y="348"/>
                    </a:lnTo>
                    <a:lnTo>
                      <a:pt x="1835" y="351"/>
                    </a:lnTo>
                    <a:lnTo>
                      <a:pt x="1837" y="353"/>
                    </a:lnTo>
                    <a:lnTo>
                      <a:pt x="1829" y="355"/>
                    </a:lnTo>
                    <a:lnTo>
                      <a:pt x="1827" y="355"/>
                    </a:lnTo>
                    <a:lnTo>
                      <a:pt x="1824" y="357"/>
                    </a:lnTo>
                    <a:lnTo>
                      <a:pt x="1815" y="355"/>
                    </a:lnTo>
                    <a:lnTo>
                      <a:pt x="1811" y="357"/>
                    </a:lnTo>
                    <a:lnTo>
                      <a:pt x="1808" y="358"/>
                    </a:lnTo>
                    <a:lnTo>
                      <a:pt x="1805" y="358"/>
                    </a:lnTo>
                    <a:lnTo>
                      <a:pt x="1804" y="360"/>
                    </a:lnTo>
                    <a:lnTo>
                      <a:pt x="1802" y="363"/>
                    </a:lnTo>
                    <a:lnTo>
                      <a:pt x="1802" y="364"/>
                    </a:lnTo>
                    <a:lnTo>
                      <a:pt x="1802" y="365"/>
                    </a:lnTo>
                    <a:lnTo>
                      <a:pt x="1804" y="367"/>
                    </a:lnTo>
                    <a:lnTo>
                      <a:pt x="1805" y="367"/>
                    </a:lnTo>
                    <a:lnTo>
                      <a:pt x="1806" y="367"/>
                    </a:lnTo>
                    <a:lnTo>
                      <a:pt x="1814" y="365"/>
                    </a:lnTo>
                    <a:lnTo>
                      <a:pt x="1816" y="365"/>
                    </a:lnTo>
                    <a:lnTo>
                      <a:pt x="1821" y="367"/>
                    </a:lnTo>
                    <a:lnTo>
                      <a:pt x="1816" y="367"/>
                    </a:lnTo>
                    <a:lnTo>
                      <a:pt x="1815" y="368"/>
                    </a:lnTo>
                    <a:lnTo>
                      <a:pt x="1814" y="370"/>
                    </a:lnTo>
                    <a:lnTo>
                      <a:pt x="1811" y="373"/>
                    </a:lnTo>
                    <a:lnTo>
                      <a:pt x="1808" y="373"/>
                    </a:lnTo>
                    <a:lnTo>
                      <a:pt x="1806" y="374"/>
                    </a:lnTo>
                    <a:lnTo>
                      <a:pt x="1808" y="374"/>
                    </a:lnTo>
                    <a:lnTo>
                      <a:pt x="1809" y="374"/>
                    </a:lnTo>
                    <a:lnTo>
                      <a:pt x="1811" y="375"/>
                    </a:lnTo>
                    <a:lnTo>
                      <a:pt x="1812" y="375"/>
                    </a:lnTo>
                    <a:lnTo>
                      <a:pt x="1812" y="377"/>
                    </a:lnTo>
                    <a:lnTo>
                      <a:pt x="1812" y="377"/>
                    </a:lnTo>
                    <a:lnTo>
                      <a:pt x="1812" y="380"/>
                    </a:lnTo>
                    <a:lnTo>
                      <a:pt x="1814" y="381"/>
                    </a:lnTo>
                    <a:lnTo>
                      <a:pt x="1816" y="386"/>
                    </a:lnTo>
                    <a:lnTo>
                      <a:pt x="1816" y="388"/>
                    </a:lnTo>
                    <a:lnTo>
                      <a:pt x="1806" y="390"/>
                    </a:lnTo>
                    <a:lnTo>
                      <a:pt x="1804" y="390"/>
                    </a:lnTo>
                    <a:lnTo>
                      <a:pt x="1801" y="387"/>
                    </a:lnTo>
                    <a:lnTo>
                      <a:pt x="1798" y="386"/>
                    </a:lnTo>
                    <a:lnTo>
                      <a:pt x="1796" y="384"/>
                    </a:lnTo>
                    <a:lnTo>
                      <a:pt x="1793" y="384"/>
                    </a:lnTo>
                    <a:lnTo>
                      <a:pt x="1792" y="384"/>
                    </a:lnTo>
                    <a:lnTo>
                      <a:pt x="1792" y="386"/>
                    </a:lnTo>
                    <a:lnTo>
                      <a:pt x="1791" y="386"/>
                    </a:lnTo>
                    <a:lnTo>
                      <a:pt x="1791" y="386"/>
                    </a:lnTo>
                    <a:lnTo>
                      <a:pt x="1788" y="384"/>
                    </a:lnTo>
                    <a:lnTo>
                      <a:pt x="1788" y="384"/>
                    </a:lnTo>
                    <a:lnTo>
                      <a:pt x="1786" y="384"/>
                    </a:lnTo>
                    <a:lnTo>
                      <a:pt x="1785" y="386"/>
                    </a:lnTo>
                    <a:lnTo>
                      <a:pt x="1783" y="386"/>
                    </a:lnTo>
                    <a:lnTo>
                      <a:pt x="1783" y="387"/>
                    </a:lnTo>
                    <a:lnTo>
                      <a:pt x="1781" y="390"/>
                    </a:lnTo>
                    <a:lnTo>
                      <a:pt x="1782" y="391"/>
                    </a:lnTo>
                    <a:lnTo>
                      <a:pt x="1785" y="391"/>
                    </a:lnTo>
                    <a:lnTo>
                      <a:pt x="1788" y="393"/>
                    </a:lnTo>
                    <a:lnTo>
                      <a:pt x="1785" y="393"/>
                    </a:lnTo>
                    <a:lnTo>
                      <a:pt x="1782" y="396"/>
                    </a:lnTo>
                    <a:lnTo>
                      <a:pt x="1779" y="396"/>
                    </a:lnTo>
                    <a:lnTo>
                      <a:pt x="1781" y="397"/>
                    </a:lnTo>
                    <a:lnTo>
                      <a:pt x="1782" y="398"/>
                    </a:lnTo>
                    <a:lnTo>
                      <a:pt x="1778" y="397"/>
                    </a:lnTo>
                    <a:lnTo>
                      <a:pt x="1773" y="396"/>
                    </a:lnTo>
                    <a:lnTo>
                      <a:pt x="1771" y="393"/>
                    </a:lnTo>
                    <a:lnTo>
                      <a:pt x="1766" y="390"/>
                    </a:lnTo>
                    <a:lnTo>
                      <a:pt x="1756" y="386"/>
                    </a:lnTo>
                    <a:lnTo>
                      <a:pt x="1750" y="384"/>
                    </a:lnTo>
                    <a:lnTo>
                      <a:pt x="1746" y="384"/>
                    </a:lnTo>
                    <a:lnTo>
                      <a:pt x="1743" y="384"/>
                    </a:lnTo>
                    <a:lnTo>
                      <a:pt x="1740" y="384"/>
                    </a:lnTo>
                    <a:lnTo>
                      <a:pt x="1736" y="386"/>
                    </a:lnTo>
                    <a:lnTo>
                      <a:pt x="1729" y="387"/>
                    </a:lnTo>
                    <a:lnTo>
                      <a:pt x="1726" y="388"/>
                    </a:lnTo>
                    <a:lnTo>
                      <a:pt x="1725" y="390"/>
                    </a:lnTo>
                    <a:lnTo>
                      <a:pt x="1725" y="390"/>
                    </a:lnTo>
                    <a:lnTo>
                      <a:pt x="1723" y="391"/>
                    </a:lnTo>
                    <a:lnTo>
                      <a:pt x="1722" y="391"/>
                    </a:lnTo>
                    <a:lnTo>
                      <a:pt x="1713" y="391"/>
                    </a:lnTo>
                    <a:lnTo>
                      <a:pt x="1709" y="390"/>
                    </a:lnTo>
                    <a:lnTo>
                      <a:pt x="1706" y="390"/>
                    </a:lnTo>
                    <a:lnTo>
                      <a:pt x="1702" y="387"/>
                    </a:lnTo>
                    <a:lnTo>
                      <a:pt x="1697" y="386"/>
                    </a:lnTo>
                    <a:lnTo>
                      <a:pt x="1693" y="381"/>
                    </a:lnTo>
                    <a:lnTo>
                      <a:pt x="1690" y="378"/>
                    </a:lnTo>
                    <a:lnTo>
                      <a:pt x="1689" y="377"/>
                    </a:lnTo>
                    <a:lnTo>
                      <a:pt x="1687" y="375"/>
                    </a:lnTo>
                    <a:lnTo>
                      <a:pt x="1686" y="375"/>
                    </a:lnTo>
                    <a:lnTo>
                      <a:pt x="1684" y="378"/>
                    </a:lnTo>
                    <a:lnTo>
                      <a:pt x="1683" y="380"/>
                    </a:lnTo>
                    <a:lnTo>
                      <a:pt x="1681" y="383"/>
                    </a:lnTo>
                    <a:lnTo>
                      <a:pt x="1679" y="388"/>
                    </a:lnTo>
                    <a:lnTo>
                      <a:pt x="1677" y="393"/>
                    </a:lnTo>
                    <a:lnTo>
                      <a:pt x="1677" y="393"/>
                    </a:lnTo>
                    <a:lnTo>
                      <a:pt x="1677" y="394"/>
                    </a:lnTo>
                    <a:lnTo>
                      <a:pt x="1677" y="394"/>
                    </a:lnTo>
                    <a:lnTo>
                      <a:pt x="1677" y="396"/>
                    </a:lnTo>
                    <a:lnTo>
                      <a:pt x="1676" y="396"/>
                    </a:lnTo>
                    <a:lnTo>
                      <a:pt x="1671" y="403"/>
                    </a:lnTo>
                    <a:lnTo>
                      <a:pt x="1667" y="407"/>
                    </a:lnTo>
                    <a:lnTo>
                      <a:pt x="1666" y="409"/>
                    </a:lnTo>
                    <a:lnTo>
                      <a:pt x="1664" y="410"/>
                    </a:lnTo>
                    <a:lnTo>
                      <a:pt x="1661" y="410"/>
                    </a:lnTo>
                    <a:lnTo>
                      <a:pt x="1659" y="410"/>
                    </a:lnTo>
                    <a:lnTo>
                      <a:pt x="1657" y="409"/>
                    </a:lnTo>
                    <a:lnTo>
                      <a:pt x="1657" y="406"/>
                    </a:lnTo>
                    <a:lnTo>
                      <a:pt x="1656" y="404"/>
                    </a:lnTo>
                    <a:lnTo>
                      <a:pt x="1654" y="404"/>
                    </a:lnTo>
                    <a:lnTo>
                      <a:pt x="1653" y="406"/>
                    </a:lnTo>
                    <a:lnTo>
                      <a:pt x="1651" y="406"/>
                    </a:lnTo>
                    <a:lnTo>
                      <a:pt x="1651" y="406"/>
                    </a:lnTo>
                    <a:lnTo>
                      <a:pt x="1650" y="406"/>
                    </a:lnTo>
                    <a:lnTo>
                      <a:pt x="1648" y="406"/>
                    </a:lnTo>
                    <a:lnTo>
                      <a:pt x="1647" y="404"/>
                    </a:lnTo>
                    <a:lnTo>
                      <a:pt x="1646" y="404"/>
                    </a:lnTo>
                    <a:lnTo>
                      <a:pt x="1643" y="401"/>
                    </a:lnTo>
                    <a:lnTo>
                      <a:pt x="1643" y="401"/>
                    </a:lnTo>
                    <a:lnTo>
                      <a:pt x="1641" y="400"/>
                    </a:lnTo>
                    <a:lnTo>
                      <a:pt x="1638" y="400"/>
                    </a:lnTo>
                    <a:lnTo>
                      <a:pt x="1637" y="398"/>
                    </a:lnTo>
                    <a:lnTo>
                      <a:pt x="1636" y="397"/>
                    </a:lnTo>
                    <a:lnTo>
                      <a:pt x="1628" y="387"/>
                    </a:lnTo>
                    <a:lnTo>
                      <a:pt x="1627" y="386"/>
                    </a:lnTo>
                    <a:lnTo>
                      <a:pt x="1625" y="384"/>
                    </a:lnTo>
                    <a:lnTo>
                      <a:pt x="1624" y="384"/>
                    </a:lnTo>
                    <a:lnTo>
                      <a:pt x="1623" y="384"/>
                    </a:lnTo>
                    <a:lnTo>
                      <a:pt x="1623" y="384"/>
                    </a:lnTo>
                    <a:lnTo>
                      <a:pt x="1621" y="383"/>
                    </a:lnTo>
                    <a:lnTo>
                      <a:pt x="1624" y="381"/>
                    </a:lnTo>
                    <a:lnTo>
                      <a:pt x="1627" y="380"/>
                    </a:lnTo>
                    <a:lnTo>
                      <a:pt x="1630" y="380"/>
                    </a:lnTo>
                    <a:lnTo>
                      <a:pt x="1633" y="380"/>
                    </a:lnTo>
                    <a:lnTo>
                      <a:pt x="1628" y="375"/>
                    </a:lnTo>
                    <a:lnTo>
                      <a:pt x="1625" y="374"/>
                    </a:lnTo>
                    <a:lnTo>
                      <a:pt x="1627" y="375"/>
                    </a:lnTo>
                    <a:lnTo>
                      <a:pt x="1625" y="378"/>
                    </a:lnTo>
                    <a:lnTo>
                      <a:pt x="1624" y="380"/>
                    </a:lnTo>
                    <a:lnTo>
                      <a:pt x="1623" y="380"/>
                    </a:lnTo>
                    <a:lnTo>
                      <a:pt x="1620" y="378"/>
                    </a:lnTo>
                    <a:lnTo>
                      <a:pt x="1614" y="371"/>
                    </a:lnTo>
                    <a:lnTo>
                      <a:pt x="1604" y="363"/>
                    </a:lnTo>
                    <a:lnTo>
                      <a:pt x="1601" y="360"/>
                    </a:lnTo>
                    <a:lnTo>
                      <a:pt x="1604" y="360"/>
                    </a:lnTo>
                    <a:lnTo>
                      <a:pt x="1608" y="361"/>
                    </a:lnTo>
                    <a:lnTo>
                      <a:pt x="1614" y="364"/>
                    </a:lnTo>
                    <a:lnTo>
                      <a:pt x="1621" y="368"/>
                    </a:lnTo>
                    <a:lnTo>
                      <a:pt x="1624" y="370"/>
                    </a:lnTo>
                    <a:lnTo>
                      <a:pt x="1628" y="370"/>
                    </a:lnTo>
                    <a:lnTo>
                      <a:pt x="1631" y="367"/>
                    </a:lnTo>
                    <a:lnTo>
                      <a:pt x="1631" y="364"/>
                    </a:lnTo>
                    <a:lnTo>
                      <a:pt x="1631" y="361"/>
                    </a:lnTo>
                    <a:lnTo>
                      <a:pt x="1628" y="358"/>
                    </a:lnTo>
                    <a:lnTo>
                      <a:pt x="1625" y="357"/>
                    </a:lnTo>
                    <a:lnTo>
                      <a:pt x="1617" y="357"/>
                    </a:lnTo>
                    <a:lnTo>
                      <a:pt x="1614" y="355"/>
                    </a:lnTo>
                    <a:lnTo>
                      <a:pt x="1621" y="353"/>
                    </a:lnTo>
                    <a:lnTo>
                      <a:pt x="1625" y="351"/>
                    </a:lnTo>
                    <a:lnTo>
                      <a:pt x="1628" y="350"/>
                    </a:lnTo>
                    <a:lnTo>
                      <a:pt x="1628" y="345"/>
                    </a:lnTo>
                    <a:lnTo>
                      <a:pt x="1624" y="344"/>
                    </a:lnTo>
                    <a:lnTo>
                      <a:pt x="1617" y="342"/>
                    </a:lnTo>
                    <a:lnTo>
                      <a:pt x="1623" y="338"/>
                    </a:lnTo>
                    <a:lnTo>
                      <a:pt x="1624" y="337"/>
                    </a:lnTo>
                    <a:lnTo>
                      <a:pt x="1625" y="334"/>
                    </a:lnTo>
                    <a:lnTo>
                      <a:pt x="1623" y="334"/>
                    </a:lnTo>
                    <a:lnTo>
                      <a:pt x="1623" y="332"/>
                    </a:lnTo>
                    <a:lnTo>
                      <a:pt x="1621" y="331"/>
                    </a:lnTo>
                    <a:lnTo>
                      <a:pt x="1621" y="330"/>
                    </a:lnTo>
                    <a:lnTo>
                      <a:pt x="1618" y="328"/>
                    </a:lnTo>
                    <a:lnTo>
                      <a:pt x="1615" y="327"/>
                    </a:lnTo>
                    <a:lnTo>
                      <a:pt x="1611" y="327"/>
                    </a:lnTo>
                    <a:lnTo>
                      <a:pt x="1611" y="324"/>
                    </a:lnTo>
                    <a:lnTo>
                      <a:pt x="1608" y="321"/>
                    </a:lnTo>
                    <a:lnTo>
                      <a:pt x="1605" y="319"/>
                    </a:lnTo>
                    <a:lnTo>
                      <a:pt x="1601" y="318"/>
                    </a:lnTo>
                    <a:lnTo>
                      <a:pt x="1594" y="317"/>
                    </a:lnTo>
                    <a:lnTo>
                      <a:pt x="1591" y="317"/>
                    </a:lnTo>
                    <a:lnTo>
                      <a:pt x="1590" y="318"/>
                    </a:lnTo>
                    <a:lnTo>
                      <a:pt x="1588" y="318"/>
                    </a:lnTo>
                    <a:lnTo>
                      <a:pt x="1584" y="321"/>
                    </a:lnTo>
                    <a:lnTo>
                      <a:pt x="1582" y="322"/>
                    </a:lnTo>
                    <a:lnTo>
                      <a:pt x="1581" y="322"/>
                    </a:lnTo>
                    <a:lnTo>
                      <a:pt x="1580" y="322"/>
                    </a:lnTo>
                    <a:lnTo>
                      <a:pt x="1577" y="321"/>
                    </a:lnTo>
                    <a:lnTo>
                      <a:pt x="1577" y="321"/>
                    </a:lnTo>
                    <a:lnTo>
                      <a:pt x="1577" y="321"/>
                    </a:lnTo>
                    <a:lnTo>
                      <a:pt x="1577" y="319"/>
                    </a:lnTo>
                    <a:lnTo>
                      <a:pt x="1577" y="319"/>
                    </a:lnTo>
                    <a:lnTo>
                      <a:pt x="1577" y="319"/>
                    </a:lnTo>
                    <a:lnTo>
                      <a:pt x="1577" y="318"/>
                    </a:lnTo>
                    <a:lnTo>
                      <a:pt x="1575" y="318"/>
                    </a:lnTo>
                    <a:lnTo>
                      <a:pt x="1575" y="318"/>
                    </a:lnTo>
                    <a:lnTo>
                      <a:pt x="1571" y="318"/>
                    </a:lnTo>
                    <a:lnTo>
                      <a:pt x="1567" y="319"/>
                    </a:lnTo>
                    <a:lnTo>
                      <a:pt x="1564" y="319"/>
                    </a:lnTo>
                    <a:lnTo>
                      <a:pt x="1562" y="317"/>
                    </a:lnTo>
                    <a:lnTo>
                      <a:pt x="1558" y="314"/>
                    </a:lnTo>
                    <a:lnTo>
                      <a:pt x="1551" y="312"/>
                    </a:lnTo>
                    <a:lnTo>
                      <a:pt x="1546" y="311"/>
                    </a:lnTo>
                    <a:lnTo>
                      <a:pt x="1545" y="311"/>
                    </a:lnTo>
                    <a:lnTo>
                      <a:pt x="1542" y="311"/>
                    </a:lnTo>
                    <a:lnTo>
                      <a:pt x="1541" y="311"/>
                    </a:lnTo>
                    <a:lnTo>
                      <a:pt x="1535" y="312"/>
                    </a:lnTo>
                    <a:lnTo>
                      <a:pt x="1534" y="312"/>
                    </a:lnTo>
                    <a:lnTo>
                      <a:pt x="1534" y="314"/>
                    </a:lnTo>
                    <a:lnTo>
                      <a:pt x="1532" y="314"/>
                    </a:lnTo>
                    <a:lnTo>
                      <a:pt x="1532" y="314"/>
                    </a:lnTo>
                    <a:lnTo>
                      <a:pt x="1531" y="314"/>
                    </a:lnTo>
                    <a:lnTo>
                      <a:pt x="1529" y="314"/>
                    </a:lnTo>
                    <a:lnTo>
                      <a:pt x="1528" y="314"/>
                    </a:lnTo>
                    <a:lnTo>
                      <a:pt x="1526" y="314"/>
                    </a:lnTo>
                    <a:lnTo>
                      <a:pt x="1525" y="315"/>
                    </a:lnTo>
                    <a:lnTo>
                      <a:pt x="1524" y="318"/>
                    </a:lnTo>
                    <a:lnTo>
                      <a:pt x="1524" y="319"/>
                    </a:lnTo>
                    <a:lnTo>
                      <a:pt x="1525" y="322"/>
                    </a:lnTo>
                    <a:lnTo>
                      <a:pt x="1526" y="327"/>
                    </a:lnTo>
                    <a:lnTo>
                      <a:pt x="1529" y="330"/>
                    </a:lnTo>
                    <a:lnTo>
                      <a:pt x="1529" y="330"/>
                    </a:lnTo>
                    <a:lnTo>
                      <a:pt x="1529" y="330"/>
                    </a:lnTo>
                    <a:lnTo>
                      <a:pt x="1528" y="331"/>
                    </a:lnTo>
                    <a:lnTo>
                      <a:pt x="1528" y="331"/>
                    </a:lnTo>
                    <a:lnTo>
                      <a:pt x="1528" y="331"/>
                    </a:lnTo>
                    <a:lnTo>
                      <a:pt x="1525" y="335"/>
                    </a:lnTo>
                    <a:lnTo>
                      <a:pt x="1525" y="337"/>
                    </a:lnTo>
                    <a:lnTo>
                      <a:pt x="1524" y="338"/>
                    </a:lnTo>
                    <a:lnTo>
                      <a:pt x="1521" y="340"/>
                    </a:lnTo>
                    <a:lnTo>
                      <a:pt x="1519" y="340"/>
                    </a:lnTo>
                    <a:lnTo>
                      <a:pt x="1512" y="337"/>
                    </a:lnTo>
                    <a:lnTo>
                      <a:pt x="1512" y="337"/>
                    </a:lnTo>
                    <a:lnTo>
                      <a:pt x="1511" y="337"/>
                    </a:lnTo>
                    <a:lnTo>
                      <a:pt x="1509" y="338"/>
                    </a:lnTo>
                    <a:lnTo>
                      <a:pt x="1511" y="340"/>
                    </a:lnTo>
                    <a:lnTo>
                      <a:pt x="1512" y="340"/>
                    </a:lnTo>
                    <a:lnTo>
                      <a:pt x="1513" y="340"/>
                    </a:lnTo>
                    <a:lnTo>
                      <a:pt x="1513" y="341"/>
                    </a:lnTo>
                    <a:lnTo>
                      <a:pt x="1513" y="342"/>
                    </a:lnTo>
                    <a:lnTo>
                      <a:pt x="1512" y="342"/>
                    </a:lnTo>
                    <a:lnTo>
                      <a:pt x="1511" y="342"/>
                    </a:lnTo>
                    <a:lnTo>
                      <a:pt x="1508" y="342"/>
                    </a:lnTo>
                    <a:lnTo>
                      <a:pt x="1505" y="342"/>
                    </a:lnTo>
                    <a:lnTo>
                      <a:pt x="1503" y="342"/>
                    </a:lnTo>
                    <a:lnTo>
                      <a:pt x="1501" y="341"/>
                    </a:lnTo>
                    <a:lnTo>
                      <a:pt x="1499" y="341"/>
                    </a:lnTo>
                    <a:lnTo>
                      <a:pt x="1498" y="340"/>
                    </a:lnTo>
                    <a:lnTo>
                      <a:pt x="1498" y="340"/>
                    </a:lnTo>
                    <a:lnTo>
                      <a:pt x="1496" y="338"/>
                    </a:lnTo>
                    <a:lnTo>
                      <a:pt x="1490" y="340"/>
                    </a:lnTo>
                    <a:lnTo>
                      <a:pt x="1486" y="340"/>
                    </a:lnTo>
                    <a:lnTo>
                      <a:pt x="1483" y="340"/>
                    </a:lnTo>
                    <a:lnTo>
                      <a:pt x="1480" y="340"/>
                    </a:lnTo>
                    <a:lnTo>
                      <a:pt x="1478" y="338"/>
                    </a:lnTo>
                    <a:lnTo>
                      <a:pt x="1475" y="338"/>
                    </a:lnTo>
                    <a:lnTo>
                      <a:pt x="1466" y="340"/>
                    </a:lnTo>
                    <a:lnTo>
                      <a:pt x="1463" y="338"/>
                    </a:lnTo>
                    <a:lnTo>
                      <a:pt x="1460" y="338"/>
                    </a:lnTo>
                    <a:lnTo>
                      <a:pt x="1455" y="335"/>
                    </a:lnTo>
                    <a:lnTo>
                      <a:pt x="1446" y="332"/>
                    </a:lnTo>
                    <a:lnTo>
                      <a:pt x="1440" y="330"/>
                    </a:lnTo>
                    <a:lnTo>
                      <a:pt x="1439" y="328"/>
                    </a:lnTo>
                    <a:lnTo>
                      <a:pt x="1437" y="325"/>
                    </a:lnTo>
                    <a:lnTo>
                      <a:pt x="1437" y="322"/>
                    </a:lnTo>
                    <a:lnTo>
                      <a:pt x="1439" y="319"/>
                    </a:lnTo>
                    <a:lnTo>
                      <a:pt x="1442" y="319"/>
                    </a:lnTo>
                    <a:lnTo>
                      <a:pt x="1447" y="318"/>
                    </a:lnTo>
                    <a:lnTo>
                      <a:pt x="1443" y="317"/>
                    </a:lnTo>
                    <a:lnTo>
                      <a:pt x="1436" y="315"/>
                    </a:lnTo>
                    <a:lnTo>
                      <a:pt x="1424" y="315"/>
                    </a:lnTo>
                    <a:lnTo>
                      <a:pt x="1403" y="314"/>
                    </a:lnTo>
                    <a:lnTo>
                      <a:pt x="1387" y="312"/>
                    </a:lnTo>
                    <a:lnTo>
                      <a:pt x="1384" y="312"/>
                    </a:lnTo>
                    <a:lnTo>
                      <a:pt x="1376" y="315"/>
                    </a:lnTo>
                    <a:lnTo>
                      <a:pt x="1373" y="315"/>
                    </a:lnTo>
                    <a:lnTo>
                      <a:pt x="1366" y="315"/>
                    </a:lnTo>
                    <a:lnTo>
                      <a:pt x="1363" y="315"/>
                    </a:lnTo>
                    <a:lnTo>
                      <a:pt x="1351" y="318"/>
                    </a:lnTo>
                    <a:lnTo>
                      <a:pt x="1353" y="319"/>
                    </a:lnTo>
                    <a:lnTo>
                      <a:pt x="1354" y="321"/>
                    </a:lnTo>
                    <a:lnTo>
                      <a:pt x="1358" y="324"/>
                    </a:lnTo>
                    <a:lnTo>
                      <a:pt x="1355" y="325"/>
                    </a:lnTo>
                    <a:lnTo>
                      <a:pt x="1353" y="327"/>
                    </a:lnTo>
                    <a:lnTo>
                      <a:pt x="1353" y="328"/>
                    </a:lnTo>
                    <a:lnTo>
                      <a:pt x="1353" y="330"/>
                    </a:lnTo>
                    <a:lnTo>
                      <a:pt x="1351" y="335"/>
                    </a:lnTo>
                    <a:lnTo>
                      <a:pt x="1351" y="337"/>
                    </a:lnTo>
                    <a:lnTo>
                      <a:pt x="1347" y="344"/>
                    </a:lnTo>
                    <a:lnTo>
                      <a:pt x="1347" y="345"/>
                    </a:lnTo>
                    <a:lnTo>
                      <a:pt x="1348" y="348"/>
                    </a:lnTo>
                    <a:lnTo>
                      <a:pt x="1350" y="348"/>
                    </a:lnTo>
                    <a:lnTo>
                      <a:pt x="1355" y="351"/>
                    </a:lnTo>
                    <a:lnTo>
                      <a:pt x="1353" y="351"/>
                    </a:lnTo>
                    <a:lnTo>
                      <a:pt x="1350" y="351"/>
                    </a:lnTo>
                    <a:lnTo>
                      <a:pt x="1347" y="350"/>
                    </a:lnTo>
                    <a:lnTo>
                      <a:pt x="1345" y="348"/>
                    </a:lnTo>
                    <a:lnTo>
                      <a:pt x="1345" y="345"/>
                    </a:lnTo>
                    <a:lnTo>
                      <a:pt x="1345" y="344"/>
                    </a:lnTo>
                    <a:lnTo>
                      <a:pt x="1350" y="340"/>
                    </a:lnTo>
                    <a:lnTo>
                      <a:pt x="1350" y="337"/>
                    </a:lnTo>
                    <a:lnTo>
                      <a:pt x="1351" y="335"/>
                    </a:lnTo>
                    <a:lnTo>
                      <a:pt x="1351" y="325"/>
                    </a:lnTo>
                    <a:lnTo>
                      <a:pt x="1351" y="324"/>
                    </a:lnTo>
                    <a:lnTo>
                      <a:pt x="1351" y="322"/>
                    </a:lnTo>
                    <a:lnTo>
                      <a:pt x="1350" y="322"/>
                    </a:lnTo>
                    <a:lnTo>
                      <a:pt x="1347" y="321"/>
                    </a:lnTo>
                    <a:lnTo>
                      <a:pt x="1345" y="319"/>
                    </a:lnTo>
                    <a:lnTo>
                      <a:pt x="1348" y="317"/>
                    </a:lnTo>
                    <a:lnTo>
                      <a:pt x="1348" y="315"/>
                    </a:lnTo>
                    <a:lnTo>
                      <a:pt x="1348" y="314"/>
                    </a:lnTo>
                    <a:lnTo>
                      <a:pt x="1348" y="311"/>
                    </a:lnTo>
                    <a:lnTo>
                      <a:pt x="1347" y="309"/>
                    </a:lnTo>
                    <a:lnTo>
                      <a:pt x="1344" y="307"/>
                    </a:lnTo>
                    <a:lnTo>
                      <a:pt x="1343" y="305"/>
                    </a:lnTo>
                    <a:lnTo>
                      <a:pt x="1340" y="304"/>
                    </a:lnTo>
                    <a:lnTo>
                      <a:pt x="1341" y="307"/>
                    </a:lnTo>
                    <a:lnTo>
                      <a:pt x="1341" y="308"/>
                    </a:lnTo>
                    <a:lnTo>
                      <a:pt x="1341" y="309"/>
                    </a:lnTo>
                    <a:lnTo>
                      <a:pt x="1338" y="311"/>
                    </a:lnTo>
                    <a:lnTo>
                      <a:pt x="1337" y="312"/>
                    </a:lnTo>
                    <a:lnTo>
                      <a:pt x="1334" y="312"/>
                    </a:lnTo>
                    <a:lnTo>
                      <a:pt x="1328" y="312"/>
                    </a:lnTo>
                    <a:lnTo>
                      <a:pt x="1324" y="311"/>
                    </a:lnTo>
                    <a:lnTo>
                      <a:pt x="1318" y="311"/>
                    </a:lnTo>
                    <a:lnTo>
                      <a:pt x="1314" y="308"/>
                    </a:lnTo>
                    <a:lnTo>
                      <a:pt x="1311" y="304"/>
                    </a:lnTo>
                    <a:lnTo>
                      <a:pt x="1315" y="302"/>
                    </a:lnTo>
                    <a:lnTo>
                      <a:pt x="1317" y="302"/>
                    </a:lnTo>
                    <a:lnTo>
                      <a:pt x="1314" y="301"/>
                    </a:lnTo>
                    <a:lnTo>
                      <a:pt x="1311" y="301"/>
                    </a:lnTo>
                    <a:lnTo>
                      <a:pt x="1310" y="301"/>
                    </a:lnTo>
                    <a:lnTo>
                      <a:pt x="1310" y="302"/>
                    </a:lnTo>
                    <a:lnTo>
                      <a:pt x="1308" y="304"/>
                    </a:lnTo>
                    <a:lnTo>
                      <a:pt x="1308" y="305"/>
                    </a:lnTo>
                    <a:lnTo>
                      <a:pt x="1308" y="305"/>
                    </a:lnTo>
                    <a:lnTo>
                      <a:pt x="1307" y="305"/>
                    </a:lnTo>
                    <a:lnTo>
                      <a:pt x="1301" y="304"/>
                    </a:lnTo>
                    <a:lnTo>
                      <a:pt x="1297" y="304"/>
                    </a:lnTo>
                    <a:lnTo>
                      <a:pt x="1292" y="304"/>
                    </a:lnTo>
                    <a:lnTo>
                      <a:pt x="1288" y="305"/>
                    </a:lnTo>
                    <a:lnTo>
                      <a:pt x="1285" y="308"/>
                    </a:lnTo>
                    <a:lnTo>
                      <a:pt x="1285" y="309"/>
                    </a:lnTo>
                    <a:lnTo>
                      <a:pt x="1287" y="311"/>
                    </a:lnTo>
                    <a:lnTo>
                      <a:pt x="1291" y="312"/>
                    </a:lnTo>
                    <a:lnTo>
                      <a:pt x="1294" y="311"/>
                    </a:lnTo>
                    <a:lnTo>
                      <a:pt x="1298" y="311"/>
                    </a:lnTo>
                    <a:lnTo>
                      <a:pt x="1302" y="311"/>
                    </a:lnTo>
                    <a:lnTo>
                      <a:pt x="1305" y="311"/>
                    </a:lnTo>
                    <a:lnTo>
                      <a:pt x="1302" y="314"/>
                    </a:lnTo>
                    <a:lnTo>
                      <a:pt x="1288" y="318"/>
                    </a:lnTo>
                    <a:lnTo>
                      <a:pt x="1285" y="319"/>
                    </a:lnTo>
                    <a:lnTo>
                      <a:pt x="1284" y="319"/>
                    </a:lnTo>
                    <a:lnTo>
                      <a:pt x="1282" y="319"/>
                    </a:lnTo>
                    <a:lnTo>
                      <a:pt x="1279" y="319"/>
                    </a:lnTo>
                    <a:lnTo>
                      <a:pt x="1278" y="319"/>
                    </a:lnTo>
                    <a:lnTo>
                      <a:pt x="1276" y="319"/>
                    </a:lnTo>
                    <a:lnTo>
                      <a:pt x="1274" y="321"/>
                    </a:lnTo>
                    <a:lnTo>
                      <a:pt x="1272" y="322"/>
                    </a:lnTo>
                    <a:lnTo>
                      <a:pt x="1259" y="327"/>
                    </a:lnTo>
                    <a:lnTo>
                      <a:pt x="1254" y="328"/>
                    </a:lnTo>
                    <a:lnTo>
                      <a:pt x="1246" y="331"/>
                    </a:lnTo>
                    <a:lnTo>
                      <a:pt x="1233" y="331"/>
                    </a:lnTo>
                    <a:lnTo>
                      <a:pt x="1226" y="332"/>
                    </a:lnTo>
                    <a:lnTo>
                      <a:pt x="1223" y="335"/>
                    </a:lnTo>
                    <a:lnTo>
                      <a:pt x="1220" y="340"/>
                    </a:lnTo>
                    <a:lnTo>
                      <a:pt x="1218" y="342"/>
                    </a:lnTo>
                    <a:lnTo>
                      <a:pt x="1215" y="344"/>
                    </a:lnTo>
                    <a:lnTo>
                      <a:pt x="1212" y="345"/>
                    </a:lnTo>
                    <a:lnTo>
                      <a:pt x="1208" y="345"/>
                    </a:lnTo>
                    <a:lnTo>
                      <a:pt x="1205" y="347"/>
                    </a:lnTo>
                    <a:lnTo>
                      <a:pt x="1209" y="342"/>
                    </a:lnTo>
                    <a:lnTo>
                      <a:pt x="1212" y="341"/>
                    </a:lnTo>
                    <a:lnTo>
                      <a:pt x="1213" y="340"/>
                    </a:lnTo>
                    <a:lnTo>
                      <a:pt x="1216" y="335"/>
                    </a:lnTo>
                    <a:lnTo>
                      <a:pt x="1220" y="328"/>
                    </a:lnTo>
                    <a:lnTo>
                      <a:pt x="1222" y="325"/>
                    </a:lnTo>
                    <a:lnTo>
                      <a:pt x="1225" y="324"/>
                    </a:lnTo>
                    <a:lnTo>
                      <a:pt x="1231" y="324"/>
                    </a:lnTo>
                    <a:lnTo>
                      <a:pt x="1233" y="322"/>
                    </a:lnTo>
                    <a:lnTo>
                      <a:pt x="1238" y="318"/>
                    </a:lnTo>
                    <a:lnTo>
                      <a:pt x="1241" y="315"/>
                    </a:lnTo>
                    <a:lnTo>
                      <a:pt x="1243" y="315"/>
                    </a:lnTo>
                    <a:lnTo>
                      <a:pt x="1255" y="314"/>
                    </a:lnTo>
                    <a:lnTo>
                      <a:pt x="1258" y="312"/>
                    </a:lnTo>
                    <a:lnTo>
                      <a:pt x="1261" y="311"/>
                    </a:lnTo>
                    <a:lnTo>
                      <a:pt x="1271" y="304"/>
                    </a:lnTo>
                    <a:lnTo>
                      <a:pt x="1282" y="299"/>
                    </a:lnTo>
                    <a:lnTo>
                      <a:pt x="1287" y="296"/>
                    </a:lnTo>
                    <a:lnTo>
                      <a:pt x="1287" y="292"/>
                    </a:lnTo>
                    <a:lnTo>
                      <a:pt x="1292" y="291"/>
                    </a:lnTo>
                    <a:lnTo>
                      <a:pt x="1294" y="289"/>
                    </a:lnTo>
                    <a:lnTo>
                      <a:pt x="1295" y="289"/>
                    </a:lnTo>
                    <a:lnTo>
                      <a:pt x="1297" y="286"/>
                    </a:lnTo>
                    <a:lnTo>
                      <a:pt x="1298" y="286"/>
                    </a:lnTo>
                    <a:lnTo>
                      <a:pt x="1314" y="278"/>
                    </a:lnTo>
                    <a:lnTo>
                      <a:pt x="1320" y="276"/>
                    </a:lnTo>
                    <a:lnTo>
                      <a:pt x="1322" y="275"/>
                    </a:lnTo>
                    <a:lnTo>
                      <a:pt x="1340" y="263"/>
                    </a:lnTo>
                    <a:lnTo>
                      <a:pt x="1345" y="259"/>
                    </a:lnTo>
                    <a:lnTo>
                      <a:pt x="1350" y="255"/>
                    </a:lnTo>
                    <a:lnTo>
                      <a:pt x="1354" y="249"/>
                    </a:lnTo>
                    <a:lnTo>
                      <a:pt x="1355" y="245"/>
                    </a:lnTo>
                    <a:lnTo>
                      <a:pt x="1354" y="243"/>
                    </a:lnTo>
                    <a:lnTo>
                      <a:pt x="1350" y="239"/>
                    </a:lnTo>
                    <a:lnTo>
                      <a:pt x="1347" y="235"/>
                    </a:lnTo>
                    <a:lnTo>
                      <a:pt x="1345" y="235"/>
                    </a:lnTo>
                    <a:lnTo>
                      <a:pt x="1341" y="236"/>
                    </a:lnTo>
                    <a:lnTo>
                      <a:pt x="1340" y="232"/>
                    </a:lnTo>
                    <a:lnTo>
                      <a:pt x="1338" y="229"/>
                    </a:lnTo>
                    <a:lnTo>
                      <a:pt x="1337" y="226"/>
                    </a:lnTo>
                    <a:lnTo>
                      <a:pt x="1334" y="223"/>
                    </a:lnTo>
                    <a:lnTo>
                      <a:pt x="1334" y="222"/>
                    </a:lnTo>
                    <a:lnTo>
                      <a:pt x="1335" y="223"/>
                    </a:lnTo>
                    <a:lnTo>
                      <a:pt x="1338" y="225"/>
                    </a:lnTo>
                    <a:lnTo>
                      <a:pt x="1343" y="227"/>
                    </a:lnTo>
                    <a:lnTo>
                      <a:pt x="1345" y="229"/>
                    </a:lnTo>
                    <a:lnTo>
                      <a:pt x="1348" y="230"/>
                    </a:lnTo>
                    <a:lnTo>
                      <a:pt x="1350" y="232"/>
                    </a:lnTo>
                    <a:lnTo>
                      <a:pt x="1351" y="233"/>
                    </a:lnTo>
                    <a:lnTo>
                      <a:pt x="1351" y="236"/>
                    </a:lnTo>
                    <a:lnTo>
                      <a:pt x="1354" y="235"/>
                    </a:lnTo>
                    <a:lnTo>
                      <a:pt x="1355" y="229"/>
                    </a:lnTo>
                    <a:lnTo>
                      <a:pt x="1357" y="223"/>
                    </a:lnTo>
                    <a:lnTo>
                      <a:pt x="1357" y="219"/>
                    </a:lnTo>
                    <a:lnTo>
                      <a:pt x="1353" y="220"/>
                    </a:lnTo>
                    <a:lnTo>
                      <a:pt x="1351" y="216"/>
                    </a:lnTo>
                    <a:lnTo>
                      <a:pt x="1350" y="210"/>
                    </a:lnTo>
                    <a:lnTo>
                      <a:pt x="1347" y="206"/>
                    </a:lnTo>
                    <a:lnTo>
                      <a:pt x="1343" y="206"/>
                    </a:lnTo>
                    <a:lnTo>
                      <a:pt x="1344" y="207"/>
                    </a:lnTo>
                    <a:lnTo>
                      <a:pt x="1343" y="210"/>
                    </a:lnTo>
                    <a:lnTo>
                      <a:pt x="1340" y="213"/>
                    </a:lnTo>
                    <a:lnTo>
                      <a:pt x="1337" y="213"/>
                    </a:lnTo>
                    <a:lnTo>
                      <a:pt x="1338" y="212"/>
                    </a:lnTo>
                    <a:lnTo>
                      <a:pt x="1338" y="210"/>
                    </a:lnTo>
                    <a:lnTo>
                      <a:pt x="1338" y="209"/>
                    </a:lnTo>
                    <a:lnTo>
                      <a:pt x="1337" y="202"/>
                    </a:lnTo>
                    <a:lnTo>
                      <a:pt x="1335" y="200"/>
                    </a:lnTo>
                    <a:lnTo>
                      <a:pt x="1334" y="199"/>
                    </a:lnTo>
                    <a:lnTo>
                      <a:pt x="1330" y="199"/>
                    </a:lnTo>
                    <a:lnTo>
                      <a:pt x="1327" y="199"/>
                    </a:lnTo>
                    <a:lnTo>
                      <a:pt x="1324" y="200"/>
                    </a:lnTo>
                    <a:lnTo>
                      <a:pt x="1325" y="196"/>
                    </a:lnTo>
                    <a:lnTo>
                      <a:pt x="1325" y="194"/>
                    </a:lnTo>
                    <a:lnTo>
                      <a:pt x="1322" y="193"/>
                    </a:lnTo>
                    <a:lnTo>
                      <a:pt x="1315" y="189"/>
                    </a:lnTo>
                    <a:lnTo>
                      <a:pt x="1311" y="189"/>
                    </a:lnTo>
                    <a:lnTo>
                      <a:pt x="1308" y="187"/>
                    </a:lnTo>
                    <a:lnTo>
                      <a:pt x="1304" y="187"/>
                    </a:lnTo>
                    <a:lnTo>
                      <a:pt x="1301" y="187"/>
                    </a:lnTo>
                    <a:lnTo>
                      <a:pt x="1289" y="187"/>
                    </a:lnTo>
                    <a:lnTo>
                      <a:pt x="1287" y="187"/>
                    </a:lnTo>
                    <a:lnTo>
                      <a:pt x="1279" y="187"/>
                    </a:lnTo>
                    <a:lnTo>
                      <a:pt x="1261" y="187"/>
                    </a:lnTo>
                    <a:lnTo>
                      <a:pt x="1256" y="187"/>
                    </a:lnTo>
                    <a:lnTo>
                      <a:pt x="1255" y="189"/>
                    </a:lnTo>
                    <a:lnTo>
                      <a:pt x="1254" y="192"/>
                    </a:lnTo>
                    <a:lnTo>
                      <a:pt x="1251" y="193"/>
                    </a:lnTo>
                    <a:lnTo>
                      <a:pt x="1248" y="194"/>
                    </a:lnTo>
                    <a:lnTo>
                      <a:pt x="1245" y="194"/>
                    </a:lnTo>
                    <a:lnTo>
                      <a:pt x="1242" y="194"/>
                    </a:lnTo>
                    <a:lnTo>
                      <a:pt x="1238" y="194"/>
                    </a:lnTo>
                    <a:lnTo>
                      <a:pt x="1235" y="196"/>
                    </a:lnTo>
                    <a:lnTo>
                      <a:pt x="1231" y="196"/>
                    </a:lnTo>
                    <a:lnTo>
                      <a:pt x="1228" y="194"/>
                    </a:lnTo>
                    <a:lnTo>
                      <a:pt x="1226" y="192"/>
                    </a:lnTo>
                    <a:lnTo>
                      <a:pt x="1228" y="192"/>
                    </a:lnTo>
                    <a:lnTo>
                      <a:pt x="1231" y="193"/>
                    </a:lnTo>
                    <a:lnTo>
                      <a:pt x="1231" y="193"/>
                    </a:lnTo>
                    <a:lnTo>
                      <a:pt x="1232" y="192"/>
                    </a:lnTo>
                    <a:lnTo>
                      <a:pt x="1236" y="187"/>
                    </a:lnTo>
                    <a:lnTo>
                      <a:pt x="1245" y="180"/>
                    </a:lnTo>
                    <a:lnTo>
                      <a:pt x="1242" y="179"/>
                    </a:lnTo>
                    <a:lnTo>
                      <a:pt x="1239" y="177"/>
                    </a:lnTo>
                    <a:lnTo>
                      <a:pt x="1232" y="177"/>
                    </a:lnTo>
                    <a:lnTo>
                      <a:pt x="1229" y="177"/>
                    </a:lnTo>
                    <a:lnTo>
                      <a:pt x="1226" y="177"/>
                    </a:lnTo>
                    <a:lnTo>
                      <a:pt x="1223" y="177"/>
                    </a:lnTo>
                    <a:lnTo>
                      <a:pt x="1222" y="177"/>
                    </a:lnTo>
                    <a:lnTo>
                      <a:pt x="1218" y="179"/>
                    </a:lnTo>
                    <a:lnTo>
                      <a:pt x="1216" y="179"/>
                    </a:lnTo>
                    <a:lnTo>
                      <a:pt x="1215" y="177"/>
                    </a:lnTo>
                    <a:lnTo>
                      <a:pt x="1215" y="177"/>
                    </a:lnTo>
                    <a:lnTo>
                      <a:pt x="1213" y="176"/>
                    </a:lnTo>
                    <a:lnTo>
                      <a:pt x="1213" y="176"/>
                    </a:lnTo>
                    <a:lnTo>
                      <a:pt x="1212" y="174"/>
                    </a:lnTo>
                    <a:lnTo>
                      <a:pt x="1206" y="176"/>
                    </a:lnTo>
                    <a:lnTo>
                      <a:pt x="1187" y="176"/>
                    </a:lnTo>
                    <a:lnTo>
                      <a:pt x="1192" y="174"/>
                    </a:lnTo>
                    <a:lnTo>
                      <a:pt x="1205" y="171"/>
                    </a:lnTo>
                    <a:lnTo>
                      <a:pt x="1209" y="171"/>
                    </a:lnTo>
                    <a:lnTo>
                      <a:pt x="1216" y="169"/>
                    </a:lnTo>
                    <a:lnTo>
                      <a:pt x="1220" y="167"/>
                    </a:lnTo>
                    <a:lnTo>
                      <a:pt x="1218" y="164"/>
                    </a:lnTo>
                    <a:lnTo>
                      <a:pt x="1215" y="163"/>
                    </a:lnTo>
                    <a:lnTo>
                      <a:pt x="1206" y="163"/>
                    </a:lnTo>
                    <a:lnTo>
                      <a:pt x="1202" y="161"/>
                    </a:lnTo>
                    <a:lnTo>
                      <a:pt x="1195" y="158"/>
                    </a:lnTo>
                    <a:lnTo>
                      <a:pt x="1189" y="158"/>
                    </a:lnTo>
                    <a:lnTo>
                      <a:pt x="1186" y="157"/>
                    </a:lnTo>
                    <a:lnTo>
                      <a:pt x="1183" y="158"/>
                    </a:lnTo>
                    <a:lnTo>
                      <a:pt x="1179" y="160"/>
                    </a:lnTo>
                    <a:lnTo>
                      <a:pt x="1176" y="160"/>
                    </a:lnTo>
                    <a:lnTo>
                      <a:pt x="1164" y="163"/>
                    </a:lnTo>
                    <a:lnTo>
                      <a:pt x="1160" y="164"/>
                    </a:lnTo>
                    <a:lnTo>
                      <a:pt x="1141" y="171"/>
                    </a:lnTo>
                    <a:lnTo>
                      <a:pt x="1133" y="177"/>
                    </a:lnTo>
                    <a:lnTo>
                      <a:pt x="1131" y="179"/>
                    </a:lnTo>
                    <a:lnTo>
                      <a:pt x="1130" y="180"/>
                    </a:lnTo>
                    <a:lnTo>
                      <a:pt x="1130" y="181"/>
                    </a:lnTo>
                    <a:lnTo>
                      <a:pt x="1131" y="186"/>
                    </a:lnTo>
                    <a:lnTo>
                      <a:pt x="1133" y="187"/>
                    </a:lnTo>
                    <a:lnTo>
                      <a:pt x="1133" y="189"/>
                    </a:lnTo>
                    <a:lnTo>
                      <a:pt x="1131" y="190"/>
                    </a:lnTo>
                    <a:lnTo>
                      <a:pt x="1131" y="192"/>
                    </a:lnTo>
                    <a:lnTo>
                      <a:pt x="1131" y="193"/>
                    </a:lnTo>
                    <a:lnTo>
                      <a:pt x="1131" y="194"/>
                    </a:lnTo>
                    <a:lnTo>
                      <a:pt x="1133" y="194"/>
                    </a:lnTo>
                    <a:lnTo>
                      <a:pt x="1136" y="194"/>
                    </a:lnTo>
                    <a:lnTo>
                      <a:pt x="1143" y="196"/>
                    </a:lnTo>
                    <a:lnTo>
                      <a:pt x="1141" y="197"/>
                    </a:lnTo>
                    <a:lnTo>
                      <a:pt x="1139" y="197"/>
                    </a:lnTo>
                    <a:lnTo>
                      <a:pt x="1127" y="194"/>
                    </a:lnTo>
                    <a:lnTo>
                      <a:pt x="1126" y="194"/>
                    </a:lnTo>
                    <a:lnTo>
                      <a:pt x="1124" y="194"/>
                    </a:lnTo>
                    <a:lnTo>
                      <a:pt x="1121" y="196"/>
                    </a:lnTo>
                    <a:lnTo>
                      <a:pt x="1119" y="196"/>
                    </a:lnTo>
                    <a:lnTo>
                      <a:pt x="1106" y="196"/>
                    </a:lnTo>
                    <a:lnTo>
                      <a:pt x="1100" y="194"/>
                    </a:lnTo>
                    <a:lnTo>
                      <a:pt x="1096" y="194"/>
                    </a:lnTo>
                    <a:lnTo>
                      <a:pt x="1093" y="196"/>
                    </a:lnTo>
                    <a:lnTo>
                      <a:pt x="1103" y="202"/>
                    </a:lnTo>
                    <a:lnTo>
                      <a:pt x="1107" y="204"/>
                    </a:lnTo>
                    <a:lnTo>
                      <a:pt x="1110" y="209"/>
                    </a:lnTo>
                    <a:lnTo>
                      <a:pt x="1111" y="213"/>
                    </a:lnTo>
                    <a:lnTo>
                      <a:pt x="1110" y="219"/>
                    </a:lnTo>
                    <a:lnTo>
                      <a:pt x="1108" y="223"/>
                    </a:lnTo>
                    <a:lnTo>
                      <a:pt x="1104" y="225"/>
                    </a:lnTo>
                    <a:lnTo>
                      <a:pt x="1106" y="223"/>
                    </a:lnTo>
                    <a:lnTo>
                      <a:pt x="1107" y="220"/>
                    </a:lnTo>
                    <a:lnTo>
                      <a:pt x="1108" y="219"/>
                    </a:lnTo>
                    <a:lnTo>
                      <a:pt x="1108" y="216"/>
                    </a:lnTo>
                    <a:lnTo>
                      <a:pt x="1108" y="215"/>
                    </a:lnTo>
                    <a:lnTo>
                      <a:pt x="1108" y="213"/>
                    </a:lnTo>
                    <a:lnTo>
                      <a:pt x="1107" y="212"/>
                    </a:lnTo>
                    <a:lnTo>
                      <a:pt x="1106" y="210"/>
                    </a:lnTo>
                    <a:lnTo>
                      <a:pt x="1104" y="209"/>
                    </a:lnTo>
                    <a:lnTo>
                      <a:pt x="1098" y="207"/>
                    </a:lnTo>
                    <a:lnTo>
                      <a:pt x="1096" y="206"/>
                    </a:lnTo>
                    <a:lnTo>
                      <a:pt x="1093" y="206"/>
                    </a:lnTo>
                    <a:lnTo>
                      <a:pt x="1091" y="206"/>
                    </a:lnTo>
                    <a:lnTo>
                      <a:pt x="1088" y="206"/>
                    </a:lnTo>
                    <a:lnTo>
                      <a:pt x="1084" y="209"/>
                    </a:lnTo>
                    <a:lnTo>
                      <a:pt x="1078" y="210"/>
                    </a:lnTo>
                    <a:lnTo>
                      <a:pt x="1077" y="212"/>
                    </a:lnTo>
                    <a:lnTo>
                      <a:pt x="1074" y="212"/>
                    </a:lnTo>
                    <a:lnTo>
                      <a:pt x="1073" y="212"/>
                    </a:lnTo>
                    <a:lnTo>
                      <a:pt x="1073" y="213"/>
                    </a:lnTo>
                    <a:lnTo>
                      <a:pt x="1073" y="215"/>
                    </a:lnTo>
                    <a:lnTo>
                      <a:pt x="1071" y="216"/>
                    </a:lnTo>
                    <a:lnTo>
                      <a:pt x="1070" y="216"/>
                    </a:lnTo>
                    <a:lnTo>
                      <a:pt x="1070" y="216"/>
                    </a:lnTo>
                    <a:lnTo>
                      <a:pt x="1067" y="215"/>
                    </a:lnTo>
                    <a:lnTo>
                      <a:pt x="1067" y="215"/>
                    </a:lnTo>
                    <a:lnTo>
                      <a:pt x="1065" y="215"/>
                    </a:lnTo>
                    <a:lnTo>
                      <a:pt x="1064" y="215"/>
                    </a:lnTo>
                    <a:lnTo>
                      <a:pt x="1063" y="216"/>
                    </a:lnTo>
                    <a:lnTo>
                      <a:pt x="1060" y="217"/>
                    </a:lnTo>
                    <a:lnTo>
                      <a:pt x="1058" y="219"/>
                    </a:lnTo>
                    <a:lnTo>
                      <a:pt x="1052" y="220"/>
                    </a:lnTo>
                    <a:lnTo>
                      <a:pt x="1052" y="216"/>
                    </a:lnTo>
                    <a:lnTo>
                      <a:pt x="1048" y="216"/>
                    </a:lnTo>
                    <a:lnTo>
                      <a:pt x="1042" y="219"/>
                    </a:lnTo>
                    <a:lnTo>
                      <a:pt x="1038" y="220"/>
                    </a:lnTo>
                    <a:lnTo>
                      <a:pt x="1042" y="216"/>
                    </a:lnTo>
                    <a:lnTo>
                      <a:pt x="1044" y="215"/>
                    </a:lnTo>
                    <a:lnTo>
                      <a:pt x="1045" y="212"/>
                    </a:lnTo>
                    <a:lnTo>
                      <a:pt x="1042" y="210"/>
                    </a:lnTo>
                    <a:lnTo>
                      <a:pt x="1038" y="210"/>
                    </a:lnTo>
                    <a:lnTo>
                      <a:pt x="1035" y="209"/>
                    </a:lnTo>
                    <a:lnTo>
                      <a:pt x="1008" y="210"/>
                    </a:lnTo>
                    <a:lnTo>
                      <a:pt x="1005" y="212"/>
                    </a:lnTo>
                    <a:lnTo>
                      <a:pt x="1005" y="212"/>
                    </a:lnTo>
                    <a:lnTo>
                      <a:pt x="1004" y="213"/>
                    </a:lnTo>
                    <a:lnTo>
                      <a:pt x="1002" y="213"/>
                    </a:lnTo>
                    <a:lnTo>
                      <a:pt x="1001" y="213"/>
                    </a:lnTo>
                    <a:lnTo>
                      <a:pt x="999" y="212"/>
                    </a:lnTo>
                    <a:lnTo>
                      <a:pt x="998" y="212"/>
                    </a:lnTo>
                    <a:lnTo>
                      <a:pt x="996" y="212"/>
                    </a:lnTo>
                    <a:lnTo>
                      <a:pt x="995" y="212"/>
                    </a:lnTo>
                    <a:lnTo>
                      <a:pt x="994" y="213"/>
                    </a:lnTo>
                    <a:lnTo>
                      <a:pt x="992" y="215"/>
                    </a:lnTo>
                    <a:lnTo>
                      <a:pt x="992" y="213"/>
                    </a:lnTo>
                    <a:lnTo>
                      <a:pt x="991" y="213"/>
                    </a:lnTo>
                    <a:lnTo>
                      <a:pt x="991" y="212"/>
                    </a:lnTo>
                    <a:lnTo>
                      <a:pt x="989" y="215"/>
                    </a:lnTo>
                    <a:lnTo>
                      <a:pt x="989" y="216"/>
                    </a:lnTo>
                    <a:lnTo>
                      <a:pt x="988" y="219"/>
                    </a:lnTo>
                    <a:lnTo>
                      <a:pt x="989" y="220"/>
                    </a:lnTo>
                    <a:lnTo>
                      <a:pt x="991" y="220"/>
                    </a:lnTo>
                    <a:lnTo>
                      <a:pt x="992" y="219"/>
                    </a:lnTo>
                    <a:lnTo>
                      <a:pt x="992" y="219"/>
                    </a:lnTo>
                    <a:lnTo>
                      <a:pt x="992" y="219"/>
                    </a:lnTo>
                    <a:lnTo>
                      <a:pt x="994" y="217"/>
                    </a:lnTo>
                    <a:lnTo>
                      <a:pt x="994" y="217"/>
                    </a:lnTo>
                    <a:lnTo>
                      <a:pt x="995" y="219"/>
                    </a:lnTo>
                    <a:lnTo>
                      <a:pt x="996" y="219"/>
                    </a:lnTo>
                    <a:lnTo>
                      <a:pt x="998" y="219"/>
                    </a:lnTo>
                    <a:lnTo>
                      <a:pt x="998" y="219"/>
                    </a:lnTo>
                    <a:lnTo>
                      <a:pt x="999" y="219"/>
                    </a:lnTo>
                    <a:lnTo>
                      <a:pt x="999" y="217"/>
                    </a:lnTo>
                    <a:lnTo>
                      <a:pt x="1001" y="217"/>
                    </a:lnTo>
                    <a:lnTo>
                      <a:pt x="1001" y="217"/>
                    </a:lnTo>
                    <a:lnTo>
                      <a:pt x="1002" y="217"/>
                    </a:lnTo>
                    <a:lnTo>
                      <a:pt x="1002" y="219"/>
                    </a:lnTo>
                    <a:lnTo>
                      <a:pt x="1011" y="217"/>
                    </a:lnTo>
                    <a:lnTo>
                      <a:pt x="1009" y="220"/>
                    </a:lnTo>
                    <a:lnTo>
                      <a:pt x="1005" y="222"/>
                    </a:lnTo>
                    <a:lnTo>
                      <a:pt x="979" y="227"/>
                    </a:lnTo>
                    <a:lnTo>
                      <a:pt x="972" y="227"/>
                    </a:lnTo>
                    <a:lnTo>
                      <a:pt x="969" y="229"/>
                    </a:lnTo>
                    <a:lnTo>
                      <a:pt x="965" y="230"/>
                    </a:lnTo>
                    <a:lnTo>
                      <a:pt x="963" y="232"/>
                    </a:lnTo>
                    <a:lnTo>
                      <a:pt x="961" y="232"/>
                    </a:lnTo>
                    <a:lnTo>
                      <a:pt x="950" y="233"/>
                    </a:lnTo>
                    <a:lnTo>
                      <a:pt x="946" y="233"/>
                    </a:lnTo>
                    <a:lnTo>
                      <a:pt x="942" y="235"/>
                    </a:lnTo>
                    <a:lnTo>
                      <a:pt x="940" y="236"/>
                    </a:lnTo>
                    <a:lnTo>
                      <a:pt x="935" y="239"/>
                    </a:lnTo>
                    <a:lnTo>
                      <a:pt x="932" y="240"/>
                    </a:lnTo>
                    <a:lnTo>
                      <a:pt x="930" y="242"/>
                    </a:lnTo>
                    <a:lnTo>
                      <a:pt x="926" y="242"/>
                    </a:lnTo>
                    <a:lnTo>
                      <a:pt x="922" y="243"/>
                    </a:lnTo>
                    <a:lnTo>
                      <a:pt x="919" y="245"/>
                    </a:lnTo>
                    <a:lnTo>
                      <a:pt x="912" y="250"/>
                    </a:lnTo>
                    <a:lnTo>
                      <a:pt x="905" y="255"/>
                    </a:lnTo>
                    <a:lnTo>
                      <a:pt x="900" y="258"/>
                    </a:lnTo>
                    <a:lnTo>
                      <a:pt x="897" y="259"/>
                    </a:lnTo>
                    <a:lnTo>
                      <a:pt x="894" y="258"/>
                    </a:lnTo>
                    <a:lnTo>
                      <a:pt x="890" y="256"/>
                    </a:lnTo>
                    <a:lnTo>
                      <a:pt x="889" y="256"/>
                    </a:lnTo>
                    <a:lnTo>
                      <a:pt x="886" y="256"/>
                    </a:lnTo>
                    <a:lnTo>
                      <a:pt x="884" y="258"/>
                    </a:lnTo>
                    <a:lnTo>
                      <a:pt x="884" y="259"/>
                    </a:lnTo>
                    <a:lnTo>
                      <a:pt x="884" y="262"/>
                    </a:lnTo>
                    <a:lnTo>
                      <a:pt x="886" y="262"/>
                    </a:lnTo>
                    <a:lnTo>
                      <a:pt x="889" y="262"/>
                    </a:lnTo>
                    <a:lnTo>
                      <a:pt x="892" y="262"/>
                    </a:lnTo>
                    <a:lnTo>
                      <a:pt x="893" y="263"/>
                    </a:lnTo>
                    <a:lnTo>
                      <a:pt x="893" y="266"/>
                    </a:lnTo>
                    <a:lnTo>
                      <a:pt x="892" y="269"/>
                    </a:lnTo>
                    <a:lnTo>
                      <a:pt x="884" y="276"/>
                    </a:lnTo>
                    <a:lnTo>
                      <a:pt x="882" y="278"/>
                    </a:lnTo>
                    <a:lnTo>
                      <a:pt x="880" y="278"/>
                    </a:lnTo>
                    <a:lnTo>
                      <a:pt x="877" y="278"/>
                    </a:lnTo>
                    <a:lnTo>
                      <a:pt x="876" y="276"/>
                    </a:lnTo>
                    <a:lnTo>
                      <a:pt x="871" y="272"/>
                    </a:lnTo>
                    <a:lnTo>
                      <a:pt x="870" y="273"/>
                    </a:lnTo>
                    <a:lnTo>
                      <a:pt x="870" y="275"/>
                    </a:lnTo>
                    <a:lnTo>
                      <a:pt x="869" y="276"/>
                    </a:lnTo>
                    <a:lnTo>
                      <a:pt x="867" y="276"/>
                    </a:lnTo>
                    <a:lnTo>
                      <a:pt x="866" y="276"/>
                    </a:lnTo>
                    <a:lnTo>
                      <a:pt x="866" y="276"/>
                    </a:lnTo>
                    <a:lnTo>
                      <a:pt x="864" y="276"/>
                    </a:lnTo>
                    <a:lnTo>
                      <a:pt x="864" y="279"/>
                    </a:lnTo>
                    <a:lnTo>
                      <a:pt x="871" y="281"/>
                    </a:lnTo>
                    <a:lnTo>
                      <a:pt x="877" y="284"/>
                    </a:lnTo>
                    <a:lnTo>
                      <a:pt x="883" y="286"/>
                    </a:lnTo>
                    <a:lnTo>
                      <a:pt x="889" y="291"/>
                    </a:lnTo>
                    <a:lnTo>
                      <a:pt x="886" y="291"/>
                    </a:lnTo>
                    <a:lnTo>
                      <a:pt x="884" y="292"/>
                    </a:lnTo>
                    <a:lnTo>
                      <a:pt x="883" y="292"/>
                    </a:lnTo>
                    <a:lnTo>
                      <a:pt x="882" y="291"/>
                    </a:lnTo>
                    <a:lnTo>
                      <a:pt x="879" y="288"/>
                    </a:lnTo>
                    <a:lnTo>
                      <a:pt x="877" y="288"/>
                    </a:lnTo>
                    <a:lnTo>
                      <a:pt x="874" y="288"/>
                    </a:lnTo>
                    <a:lnTo>
                      <a:pt x="871" y="288"/>
                    </a:lnTo>
                    <a:lnTo>
                      <a:pt x="870" y="289"/>
                    </a:lnTo>
                    <a:lnTo>
                      <a:pt x="867" y="292"/>
                    </a:lnTo>
                    <a:lnTo>
                      <a:pt x="871" y="294"/>
                    </a:lnTo>
                    <a:lnTo>
                      <a:pt x="874" y="295"/>
                    </a:lnTo>
                    <a:lnTo>
                      <a:pt x="879" y="295"/>
                    </a:lnTo>
                    <a:lnTo>
                      <a:pt x="882" y="298"/>
                    </a:lnTo>
                    <a:lnTo>
                      <a:pt x="887" y="305"/>
                    </a:lnTo>
                    <a:lnTo>
                      <a:pt x="889" y="307"/>
                    </a:lnTo>
                    <a:lnTo>
                      <a:pt x="890" y="308"/>
                    </a:lnTo>
                    <a:lnTo>
                      <a:pt x="893" y="308"/>
                    </a:lnTo>
                    <a:lnTo>
                      <a:pt x="896" y="309"/>
                    </a:lnTo>
                    <a:lnTo>
                      <a:pt x="893" y="311"/>
                    </a:lnTo>
                    <a:lnTo>
                      <a:pt x="889" y="314"/>
                    </a:lnTo>
                    <a:lnTo>
                      <a:pt x="886" y="315"/>
                    </a:lnTo>
                    <a:lnTo>
                      <a:pt x="882" y="315"/>
                    </a:lnTo>
                    <a:lnTo>
                      <a:pt x="874" y="317"/>
                    </a:lnTo>
                    <a:lnTo>
                      <a:pt x="870" y="317"/>
                    </a:lnTo>
                    <a:lnTo>
                      <a:pt x="867" y="321"/>
                    </a:lnTo>
                    <a:lnTo>
                      <a:pt x="870" y="325"/>
                    </a:lnTo>
                    <a:lnTo>
                      <a:pt x="880" y="332"/>
                    </a:lnTo>
                    <a:lnTo>
                      <a:pt x="879" y="332"/>
                    </a:lnTo>
                    <a:lnTo>
                      <a:pt x="876" y="331"/>
                    </a:lnTo>
                    <a:lnTo>
                      <a:pt x="870" y="327"/>
                    </a:lnTo>
                    <a:lnTo>
                      <a:pt x="866" y="324"/>
                    </a:lnTo>
                    <a:lnTo>
                      <a:pt x="864" y="322"/>
                    </a:lnTo>
                    <a:lnTo>
                      <a:pt x="864" y="319"/>
                    </a:lnTo>
                    <a:lnTo>
                      <a:pt x="866" y="318"/>
                    </a:lnTo>
                    <a:lnTo>
                      <a:pt x="869" y="317"/>
                    </a:lnTo>
                    <a:lnTo>
                      <a:pt x="874" y="315"/>
                    </a:lnTo>
                    <a:lnTo>
                      <a:pt x="877" y="314"/>
                    </a:lnTo>
                    <a:lnTo>
                      <a:pt x="886" y="308"/>
                    </a:lnTo>
                    <a:lnTo>
                      <a:pt x="883" y="307"/>
                    </a:lnTo>
                    <a:lnTo>
                      <a:pt x="877" y="307"/>
                    </a:lnTo>
                    <a:lnTo>
                      <a:pt x="864" y="308"/>
                    </a:lnTo>
                    <a:lnTo>
                      <a:pt x="863" y="308"/>
                    </a:lnTo>
                    <a:lnTo>
                      <a:pt x="860" y="309"/>
                    </a:lnTo>
                    <a:lnTo>
                      <a:pt x="860" y="309"/>
                    </a:lnTo>
                    <a:lnTo>
                      <a:pt x="859" y="311"/>
                    </a:lnTo>
                    <a:lnTo>
                      <a:pt x="857" y="311"/>
                    </a:lnTo>
                    <a:lnTo>
                      <a:pt x="856" y="312"/>
                    </a:lnTo>
                    <a:lnTo>
                      <a:pt x="854" y="312"/>
                    </a:lnTo>
                    <a:lnTo>
                      <a:pt x="851" y="312"/>
                    </a:lnTo>
                    <a:lnTo>
                      <a:pt x="846" y="311"/>
                    </a:lnTo>
                    <a:lnTo>
                      <a:pt x="844" y="311"/>
                    </a:lnTo>
                    <a:lnTo>
                      <a:pt x="775" y="315"/>
                    </a:lnTo>
                    <a:lnTo>
                      <a:pt x="774" y="317"/>
                    </a:lnTo>
                    <a:lnTo>
                      <a:pt x="772" y="317"/>
                    </a:lnTo>
                    <a:lnTo>
                      <a:pt x="772" y="318"/>
                    </a:lnTo>
                    <a:lnTo>
                      <a:pt x="771" y="319"/>
                    </a:lnTo>
                    <a:lnTo>
                      <a:pt x="771" y="321"/>
                    </a:lnTo>
                    <a:lnTo>
                      <a:pt x="770" y="322"/>
                    </a:lnTo>
                    <a:lnTo>
                      <a:pt x="770" y="322"/>
                    </a:lnTo>
                    <a:lnTo>
                      <a:pt x="770" y="324"/>
                    </a:lnTo>
                    <a:lnTo>
                      <a:pt x="770" y="327"/>
                    </a:lnTo>
                    <a:lnTo>
                      <a:pt x="770" y="331"/>
                    </a:lnTo>
                    <a:lnTo>
                      <a:pt x="771" y="334"/>
                    </a:lnTo>
                    <a:lnTo>
                      <a:pt x="772" y="334"/>
                    </a:lnTo>
                    <a:lnTo>
                      <a:pt x="774" y="335"/>
                    </a:lnTo>
                    <a:lnTo>
                      <a:pt x="775" y="337"/>
                    </a:lnTo>
                    <a:lnTo>
                      <a:pt x="777" y="338"/>
                    </a:lnTo>
                    <a:lnTo>
                      <a:pt x="777" y="340"/>
                    </a:lnTo>
                    <a:lnTo>
                      <a:pt x="777" y="341"/>
                    </a:lnTo>
                    <a:lnTo>
                      <a:pt x="774" y="347"/>
                    </a:lnTo>
                    <a:lnTo>
                      <a:pt x="774" y="348"/>
                    </a:lnTo>
                    <a:lnTo>
                      <a:pt x="775" y="351"/>
                    </a:lnTo>
                    <a:lnTo>
                      <a:pt x="777" y="354"/>
                    </a:lnTo>
                    <a:lnTo>
                      <a:pt x="778" y="357"/>
                    </a:lnTo>
                    <a:lnTo>
                      <a:pt x="781" y="360"/>
                    </a:lnTo>
                    <a:lnTo>
                      <a:pt x="785" y="361"/>
                    </a:lnTo>
                    <a:lnTo>
                      <a:pt x="793" y="361"/>
                    </a:lnTo>
                    <a:lnTo>
                      <a:pt x="797" y="363"/>
                    </a:lnTo>
                    <a:lnTo>
                      <a:pt x="801" y="365"/>
                    </a:lnTo>
                    <a:lnTo>
                      <a:pt x="801" y="367"/>
                    </a:lnTo>
                    <a:lnTo>
                      <a:pt x="803" y="370"/>
                    </a:lnTo>
                    <a:lnTo>
                      <a:pt x="804" y="370"/>
                    </a:lnTo>
                    <a:lnTo>
                      <a:pt x="805" y="373"/>
                    </a:lnTo>
                    <a:lnTo>
                      <a:pt x="807" y="374"/>
                    </a:lnTo>
                    <a:lnTo>
                      <a:pt x="808" y="374"/>
                    </a:lnTo>
                    <a:lnTo>
                      <a:pt x="811" y="375"/>
                    </a:lnTo>
                    <a:lnTo>
                      <a:pt x="820" y="377"/>
                    </a:lnTo>
                    <a:lnTo>
                      <a:pt x="823" y="378"/>
                    </a:lnTo>
                    <a:lnTo>
                      <a:pt x="824" y="383"/>
                    </a:lnTo>
                    <a:lnTo>
                      <a:pt x="824" y="387"/>
                    </a:lnTo>
                    <a:lnTo>
                      <a:pt x="823" y="390"/>
                    </a:lnTo>
                    <a:lnTo>
                      <a:pt x="820" y="393"/>
                    </a:lnTo>
                    <a:lnTo>
                      <a:pt x="818" y="396"/>
                    </a:lnTo>
                    <a:lnTo>
                      <a:pt x="818" y="398"/>
                    </a:lnTo>
                    <a:lnTo>
                      <a:pt x="818" y="400"/>
                    </a:lnTo>
                    <a:lnTo>
                      <a:pt x="821" y="403"/>
                    </a:lnTo>
                    <a:lnTo>
                      <a:pt x="823" y="407"/>
                    </a:lnTo>
                    <a:lnTo>
                      <a:pt x="826" y="410"/>
                    </a:lnTo>
                    <a:lnTo>
                      <a:pt x="827" y="414"/>
                    </a:lnTo>
                    <a:lnTo>
                      <a:pt x="827" y="419"/>
                    </a:lnTo>
                    <a:lnTo>
                      <a:pt x="826" y="421"/>
                    </a:lnTo>
                    <a:lnTo>
                      <a:pt x="821" y="424"/>
                    </a:lnTo>
                    <a:lnTo>
                      <a:pt x="821" y="424"/>
                    </a:lnTo>
                    <a:lnTo>
                      <a:pt x="820" y="424"/>
                    </a:lnTo>
                    <a:lnTo>
                      <a:pt x="818" y="424"/>
                    </a:lnTo>
                    <a:lnTo>
                      <a:pt x="817" y="426"/>
                    </a:lnTo>
                    <a:lnTo>
                      <a:pt x="817" y="426"/>
                    </a:lnTo>
                    <a:lnTo>
                      <a:pt x="817" y="427"/>
                    </a:lnTo>
                    <a:lnTo>
                      <a:pt x="817" y="427"/>
                    </a:lnTo>
                    <a:lnTo>
                      <a:pt x="817" y="429"/>
                    </a:lnTo>
                    <a:lnTo>
                      <a:pt x="817" y="430"/>
                    </a:lnTo>
                    <a:lnTo>
                      <a:pt x="815" y="432"/>
                    </a:lnTo>
                    <a:lnTo>
                      <a:pt x="814" y="432"/>
                    </a:lnTo>
                    <a:lnTo>
                      <a:pt x="813" y="432"/>
                    </a:lnTo>
                    <a:lnTo>
                      <a:pt x="810" y="427"/>
                    </a:lnTo>
                    <a:lnTo>
                      <a:pt x="811" y="424"/>
                    </a:lnTo>
                    <a:lnTo>
                      <a:pt x="814" y="420"/>
                    </a:lnTo>
                    <a:lnTo>
                      <a:pt x="815" y="416"/>
                    </a:lnTo>
                    <a:lnTo>
                      <a:pt x="815" y="411"/>
                    </a:lnTo>
                    <a:lnTo>
                      <a:pt x="815" y="407"/>
                    </a:lnTo>
                    <a:lnTo>
                      <a:pt x="813" y="404"/>
                    </a:lnTo>
                    <a:lnTo>
                      <a:pt x="808" y="406"/>
                    </a:lnTo>
                    <a:lnTo>
                      <a:pt x="807" y="407"/>
                    </a:lnTo>
                    <a:lnTo>
                      <a:pt x="804" y="413"/>
                    </a:lnTo>
                    <a:lnTo>
                      <a:pt x="803" y="417"/>
                    </a:lnTo>
                    <a:lnTo>
                      <a:pt x="801" y="419"/>
                    </a:lnTo>
                    <a:lnTo>
                      <a:pt x="801" y="421"/>
                    </a:lnTo>
                    <a:lnTo>
                      <a:pt x="801" y="419"/>
                    </a:lnTo>
                    <a:lnTo>
                      <a:pt x="801" y="417"/>
                    </a:lnTo>
                    <a:lnTo>
                      <a:pt x="801" y="414"/>
                    </a:lnTo>
                    <a:lnTo>
                      <a:pt x="803" y="411"/>
                    </a:lnTo>
                    <a:lnTo>
                      <a:pt x="803" y="409"/>
                    </a:lnTo>
                    <a:lnTo>
                      <a:pt x="803" y="407"/>
                    </a:lnTo>
                    <a:lnTo>
                      <a:pt x="803" y="404"/>
                    </a:lnTo>
                    <a:lnTo>
                      <a:pt x="801" y="401"/>
                    </a:lnTo>
                    <a:lnTo>
                      <a:pt x="801" y="401"/>
                    </a:lnTo>
                    <a:lnTo>
                      <a:pt x="803" y="398"/>
                    </a:lnTo>
                    <a:lnTo>
                      <a:pt x="803" y="397"/>
                    </a:lnTo>
                    <a:lnTo>
                      <a:pt x="804" y="396"/>
                    </a:lnTo>
                    <a:lnTo>
                      <a:pt x="804" y="396"/>
                    </a:lnTo>
                    <a:lnTo>
                      <a:pt x="813" y="390"/>
                    </a:lnTo>
                    <a:lnTo>
                      <a:pt x="815" y="388"/>
                    </a:lnTo>
                    <a:lnTo>
                      <a:pt x="817" y="387"/>
                    </a:lnTo>
                    <a:lnTo>
                      <a:pt x="818" y="384"/>
                    </a:lnTo>
                    <a:lnTo>
                      <a:pt x="818" y="383"/>
                    </a:lnTo>
                    <a:lnTo>
                      <a:pt x="817" y="381"/>
                    </a:lnTo>
                    <a:lnTo>
                      <a:pt x="814" y="380"/>
                    </a:lnTo>
                    <a:lnTo>
                      <a:pt x="813" y="380"/>
                    </a:lnTo>
                    <a:lnTo>
                      <a:pt x="810" y="380"/>
                    </a:lnTo>
                    <a:lnTo>
                      <a:pt x="797" y="381"/>
                    </a:lnTo>
                    <a:lnTo>
                      <a:pt x="791" y="380"/>
                    </a:lnTo>
                    <a:lnTo>
                      <a:pt x="787" y="378"/>
                    </a:lnTo>
                    <a:lnTo>
                      <a:pt x="781" y="375"/>
                    </a:lnTo>
                    <a:lnTo>
                      <a:pt x="780" y="374"/>
                    </a:lnTo>
                    <a:lnTo>
                      <a:pt x="777" y="373"/>
                    </a:lnTo>
                    <a:lnTo>
                      <a:pt x="777" y="371"/>
                    </a:lnTo>
                    <a:lnTo>
                      <a:pt x="775" y="371"/>
                    </a:lnTo>
                    <a:lnTo>
                      <a:pt x="775" y="370"/>
                    </a:lnTo>
                    <a:lnTo>
                      <a:pt x="774" y="370"/>
                    </a:lnTo>
                    <a:lnTo>
                      <a:pt x="774" y="368"/>
                    </a:lnTo>
                    <a:lnTo>
                      <a:pt x="772" y="368"/>
                    </a:lnTo>
                    <a:lnTo>
                      <a:pt x="762" y="365"/>
                    </a:lnTo>
                    <a:lnTo>
                      <a:pt x="759" y="364"/>
                    </a:lnTo>
                    <a:lnTo>
                      <a:pt x="754" y="361"/>
                    </a:lnTo>
                    <a:lnTo>
                      <a:pt x="751" y="360"/>
                    </a:lnTo>
                    <a:lnTo>
                      <a:pt x="748" y="360"/>
                    </a:lnTo>
                    <a:lnTo>
                      <a:pt x="737" y="360"/>
                    </a:lnTo>
                    <a:lnTo>
                      <a:pt x="731" y="361"/>
                    </a:lnTo>
                    <a:lnTo>
                      <a:pt x="718" y="367"/>
                    </a:lnTo>
                    <a:lnTo>
                      <a:pt x="718" y="367"/>
                    </a:lnTo>
                    <a:lnTo>
                      <a:pt x="718" y="370"/>
                    </a:lnTo>
                    <a:lnTo>
                      <a:pt x="721" y="370"/>
                    </a:lnTo>
                    <a:lnTo>
                      <a:pt x="724" y="370"/>
                    </a:lnTo>
                    <a:lnTo>
                      <a:pt x="726" y="370"/>
                    </a:lnTo>
                    <a:lnTo>
                      <a:pt x="729" y="371"/>
                    </a:lnTo>
                    <a:lnTo>
                      <a:pt x="731" y="373"/>
                    </a:lnTo>
                    <a:lnTo>
                      <a:pt x="729" y="374"/>
                    </a:lnTo>
                    <a:lnTo>
                      <a:pt x="728" y="375"/>
                    </a:lnTo>
                    <a:lnTo>
                      <a:pt x="725" y="377"/>
                    </a:lnTo>
                    <a:lnTo>
                      <a:pt x="721" y="377"/>
                    </a:lnTo>
                    <a:lnTo>
                      <a:pt x="718" y="377"/>
                    </a:lnTo>
                    <a:lnTo>
                      <a:pt x="709" y="373"/>
                    </a:lnTo>
                    <a:lnTo>
                      <a:pt x="703" y="373"/>
                    </a:lnTo>
                    <a:lnTo>
                      <a:pt x="699" y="373"/>
                    </a:lnTo>
                    <a:lnTo>
                      <a:pt x="692" y="375"/>
                    </a:lnTo>
                    <a:lnTo>
                      <a:pt x="696" y="383"/>
                    </a:lnTo>
                    <a:lnTo>
                      <a:pt x="698" y="384"/>
                    </a:lnTo>
                    <a:lnTo>
                      <a:pt x="702" y="387"/>
                    </a:lnTo>
                    <a:lnTo>
                      <a:pt x="715" y="393"/>
                    </a:lnTo>
                    <a:lnTo>
                      <a:pt x="719" y="393"/>
                    </a:lnTo>
                    <a:lnTo>
                      <a:pt x="721" y="394"/>
                    </a:lnTo>
                    <a:lnTo>
                      <a:pt x="725" y="393"/>
                    </a:lnTo>
                    <a:lnTo>
                      <a:pt x="726" y="393"/>
                    </a:lnTo>
                    <a:lnTo>
                      <a:pt x="729" y="394"/>
                    </a:lnTo>
                    <a:lnTo>
                      <a:pt x="731" y="396"/>
                    </a:lnTo>
                    <a:lnTo>
                      <a:pt x="734" y="398"/>
                    </a:lnTo>
                    <a:lnTo>
                      <a:pt x="737" y="401"/>
                    </a:lnTo>
                    <a:lnTo>
                      <a:pt x="739" y="403"/>
                    </a:lnTo>
                    <a:lnTo>
                      <a:pt x="747" y="403"/>
                    </a:lnTo>
                    <a:lnTo>
                      <a:pt x="742" y="406"/>
                    </a:lnTo>
                    <a:lnTo>
                      <a:pt x="738" y="406"/>
                    </a:lnTo>
                    <a:lnTo>
                      <a:pt x="732" y="404"/>
                    </a:lnTo>
                    <a:lnTo>
                      <a:pt x="728" y="403"/>
                    </a:lnTo>
                    <a:lnTo>
                      <a:pt x="722" y="398"/>
                    </a:lnTo>
                    <a:lnTo>
                      <a:pt x="719" y="397"/>
                    </a:lnTo>
                    <a:lnTo>
                      <a:pt x="718" y="397"/>
                    </a:lnTo>
                    <a:lnTo>
                      <a:pt x="711" y="397"/>
                    </a:lnTo>
                    <a:lnTo>
                      <a:pt x="709" y="397"/>
                    </a:lnTo>
                    <a:lnTo>
                      <a:pt x="709" y="398"/>
                    </a:lnTo>
                    <a:lnTo>
                      <a:pt x="709" y="398"/>
                    </a:lnTo>
                    <a:lnTo>
                      <a:pt x="706" y="398"/>
                    </a:lnTo>
                    <a:lnTo>
                      <a:pt x="702" y="397"/>
                    </a:lnTo>
                    <a:lnTo>
                      <a:pt x="701" y="397"/>
                    </a:lnTo>
                    <a:lnTo>
                      <a:pt x="695" y="396"/>
                    </a:lnTo>
                    <a:lnTo>
                      <a:pt x="683" y="394"/>
                    </a:lnTo>
                    <a:lnTo>
                      <a:pt x="682" y="393"/>
                    </a:lnTo>
                    <a:lnTo>
                      <a:pt x="680" y="391"/>
                    </a:lnTo>
                    <a:lnTo>
                      <a:pt x="679" y="390"/>
                    </a:lnTo>
                    <a:lnTo>
                      <a:pt x="680" y="388"/>
                    </a:lnTo>
                    <a:lnTo>
                      <a:pt x="682" y="387"/>
                    </a:lnTo>
                    <a:lnTo>
                      <a:pt x="683" y="384"/>
                    </a:lnTo>
                    <a:lnTo>
                      <a:pt x="682" y="381"/>
                    </a:lnTo>
                    <a:lnTo>
                      <a:pt x="680" y="380"/>
                    </a:lnTo>
                    <a:lnTo>
                      <a:pt x="679" y="378"/>
                    </a:lnTo>
                    <a:lnTo>
                      <a:pt x="679" y="375"/>
                    </a:lnTo>
                    <a:lnTo>
                      <a:pt x="679" y="374"/>
                    </a:lnTo>
                    <a:lnTo>
                      <a:pt x="679" y="374"/>
                    </a:lnTo>
                    <a:lnTo>
                      <a:pt x="680" y="374"/>
                    </a:lnTo>
                    <a:lnTo>
                      <a:pt x="680" y="373"/>
                    </a:lnTo>
                    <a:lnTo>
                      <a:pt x="683" y="367"/>
                    </a:lnTo>
                    <a:lnTo>
                      <a:pt x="686" y="364"/>
                    </a:lnTo>
                    <a:lnTo>
                      <a:pt x="686" y="363"/>
                    </a:lnTo>
                    <a:lnTo>
                      <a:pt x="686" y="361"/>
                    </a:lnTo>
                    <a:lnTo>
                      <a:pt x="686" y="360"/>
                    </a:lnTo>
                    <a:lnTo>
                      <a:pt x="685" y="358"/>
                    </a:lnTo>
                    <a:lnTo>
                      <a:pt x="685" y="357"/>
                    </a:lnTo>
                    <a:lnTo>
                      <a:pt x="685" y="357"/>
                    </a:lnTo>
                    <a:lnTo>
                      <a:pt x="685" y="354"/>
                    </a:lnTo>
                    <a:lnTo>
                      <a:pt x="685" y="353"/>
                    </a:lnTo>
                    <a:lnTo>
                      <a:pt x="683" y="351"/>
                    </a:lnTo>
                    <a:lnTo>
                      <a:pt x="682" y="348"/>
                    </a:lnTo>
                    <a:lnTo>
                      <a:pt x="680" y="347"/>
                    </a:lnTo>
                    <a:lnTo>
                      <a:pt x="679" y="345"/>
                    </a:lnTo>
                    <a:lnTo>
                      <a:pt x="678" y="344"/>
                    </a:lnTo>
                    <a:lnTo>
                      <a:pt x="675" y="344"/>
                    </a:lnTo>
                    <a:lnTo>
                      <a:pt x="672" y="344"/>
                    </a:lnTo>
                    <a:lnTo>
                      <a:pt x="670" y="345"/>
                    </a:lnTo>
                    <a:lnTo>
                      <a:pt x="670" y="347"/>
                    </a:lnTo>
                    <a:lnTo>
                      <a:pt x="675" y="354"/>
                    </a:lnTo>
                    <a:lnTo>
                      <a:pt x="676" y="357"/>
                    </a:lnTo>
                    <a:lnTo>
                      <a:pt x="676" y="360"/>
                    </a:lnTo>
                    <a:lnTo>
                      <a:pt x="676" y="363"/>
                    </a:lnTo>
                    <a:lnTo>
                      <a:pt x="676" y="365"/>
                    </a:lnTo>
                    <a:lnTo>
                      <a:pt x="673" y="368"/>
                    </a:lnTo>
                    <a:lnTo>
                      <a:pt x="669" y="371"/>
                    </a:lnTo>
                    <a:lnTo>
                      <a:pt x="665" y="373"/>
                    </a:lnTo>
                    <a:lnTo>
                      <a:pt x="655" y="375"/>
                    </a:lnTo>
                    <a:lnTo>
                      <a:pt x="653" y="375"/>
                    </a:lnTo>
                    <a:lnTo>
                      <a:pt x="650" y="377"/>
                    </a:lnTo>
                    <a:lnTo>
                      <a:pt x="649" y="380"/>
                    </a:lnTo>
                    <a:lnTo>
                      <a:pt x="646" y="383"/>
                    </a:lnTo>
                    <a:lnTo>
                      <a:pt x="643" y="386"/>
                    </a:lnTo>
                    <a:lnTo>
                      <a:pt x="642" y="388"/>
                    </a:lnTo>
                    <a:lnTo>
                      <a:pt x="642" y="390"/>
                    </a:lnTo>
                    <a:lnTo>
                      <a:pt x="642" y="391"/>
                    </a:lnTo>
                    <a:lnTo>
                      <a:pt x="646" y="393"/>
                    </a:lnTo>
                    <a:lnTo>
                      <a:pt x="647" y="396"/>
                    </a:lnTo>
                    <a:lnTo>
                      <a:pt x="649" y="397"/>
                    </a:lnTo>
                    <a:lnTo>
                      <a:pt x="652" y="401"/>
                    </a:lnTo>
                    <a:lnTo>
                      <a:pt x="660" y="410"/>
                    </a:lnTo>
                    <a:lnTo>
                      <a:pt x="662" y="414"/>
                    </a:lnTo>
                    <a:lnTo>
                      <a:pt x="660" y="420"/>
                    </a:lnTo>
                    <a:lnTo>
                      <a:pt x="655" y="429"/>
                    </a:lnTo>
                    <a:lnTo>
                      <a:pt x="652" y="433"/>
                    </a:lnTo>
                    <a:lnTo>
                      <a:pt x="649" y="442"/>
                    </a:lnTo>
                    <a:lnTo>
                      <a:pt x="649" y="443"/>
                    </a:lnTo>
                    <a:lnTo>
                      <a:pt x="650" y="444"/>
                    </a:lnTo>
                    <a:lnTo>
                      <a:pt x="650" y="446"/>
                    </a:lnTo>
                    <a:lnTo>
                      <a:pt x="652" y="447"/>
                    </a:lnTo>
                    <a:lnTo>
                      <a:pt x="653" y="447"/>
                    </a:lnTo>
                    <a:lnTo>
                      <a:pt x="653" y="449"/>
                    </a:lnTo>
                    <a:lnTo>
                      <a:pt x="655" y="449"/>
                    </a:lnTo>
                    <a:lnTo>
                      <a:pt x="655" y="452"/>
                    </a:lnTo>
                    <a:lnTo>
                      <a:pt x="653" y="453"/>
                    </a:lnTo>
                    <a:lnTo>
                      <a:pt x="653" y="455"/>
                    </a:lnTo>
                    <a:lnTo>
                      <a:pt x="655" y="457"/>
                    </a:lnTo>
                    <a:lnTo>
                      <a:pt x="656" y="457"/>
                    </a:lnTo>
                    <a:lnTo>
                      <a:pt x="660" y="457"/>
                    </a:lnTo>
                    <a:lnTo>
                      <a:pt x="663" y="457"/>
                    </a:lnTo>
                    <a:lnTo>
                      <a:pt x="670" y="459"/>
                    </a:lnTo>
                    <a:lnTo>
                      <a:pt x="673" y="457"/>
                    </a:lnTo>
                    <a:lnTo>
                      <a:pt x="676" y="457"/>
                    </a:lnTo>
                    <a:lnTo>
                      <a:pt x="679" y="456"/>
                    </a:lnTo>
                    <a:lnTo>
                      <a:pt x="682" y="455"/>
                    </a:lnTo>
                    <a:lnTo>
                      <a:pt x="683" y="455"/>
                    </a:lnTo>
                    <a:lnTo>
                      <a:pt x="686" y="455"/>
                    </a:lnTo>
                    <a:lnTo>
                      <a:pt x="692" y="455"/>
                    </a:lnTo>
                    <a:lnTo>
                      <a:pt x="698" y="456"/>
                    </a:lnTo>
                    <a:lnTo>
                      <a:pt x="721" y="463"/>
                    </a:lnTo>
                    <a:lnTo>
                      <a:pt x="721" y="463"/>
                    </a:lnTo>
                    <a:lnTo>
                      <a:pt x="722" y="465"/>
                    </a:lnTo>
                    <a:lnTo>
                      <a:pt x="722" y="469"/>
                    </a:lnTo>
                    <a:lnTo>
                      <a:pt x="725" y="473"/>
                    </a:lnTo>
                    <a:lnTo>
                      <a:pt x="726" y="476"/>
                    </a:lnTo>
                    <a:lnTo>
                      <a:pt x="726" y="479"/>
                    </a:lnTo>
                    <a:lnTo>
                      <a:pt x="726" y="480"/>
                    </a:lnTo>
                    <a:lnTo>
                      <a:pt x="725" y="480"/>
                    </a:lnTo>
                    <a:lnTo>
                      <a:pt x="724" y="480"/>
                    </a:lnTo>
                    <a:lnTo>
                      <a:pt x="722" y="480"/>
                    </a:lnTo>
                    <a:lnTo>
                      <a:pt x="722" y="482"/>
                    </a:lnTo>
                    <a:lnTo>
                      <a:pt x="721" y="483"/>
                    </a:lnTo>
                    <a:lnTo>
                      <a:pt x="719" y="485"/>
                    </a:lnTo>
                    <a:lnTo>
                      <a:pt x="719" y="486"/>
                    </a:lnTo>
                    <a:lnTo>
                      <a:pt x="719" y="488"/>
                    </a:lnTo>
                    <a:lnTo>
                      <a:pt x="719" y="490"/>
                    </a:lnTo>
                    <a:lnTo>
                      <a:pt x="719" y="492"/>
                    </a:lnTo>
                    <a:lnTo>
                      <a:pt x="722" y="493"/>
                    </a:lnTo>
                    <a:lnTo>
                      <a:pt x="726" y="495"/>
                    </a:lnTo>
                    <a:lnTo>
                      <a:pt x="739" y="496"/>
                    </a:lnTo>
                    <a:lnTo>
                      <a:pt x="744" y="499"/>
                    </a:lnTo>
                    <a:lnTo>
                      <a:pt x="731" y="499"/>
                    </a:lnTo>
                    <a:lnTo>
                      <a:pt x="725" y="499"/>
                    </a:lnTo>
                    <a:lnTo>
                      <a:pt x="719" y="496"/>
                    </a:lnTo>
                    <a:lnTo>
                      <a:pt x="715" y="495"/>
                    </a:lnTo>
                    <a:lnTo>
                      <a:pt x="714" y="493"/>
                    </a:lnTo>
                    <a:lnTo>
                      <a:pt x="714" y="492"/>
                    </a:lnTo>
                    <a:lnTo>
                      <a:pt x="714" y="492"/>
                    </a:lnTo>
                    <a:lnTo>
                      <a:pt x="714" y="488"/>
                    </a:lnTo>
                    <a:lnTo>
                      <a:pt x="715" y="482"/>
                    </a:lnTo>
                    <a:lnTo>
                      <a:pt x="715" y="478"/>
                    </a:lnTo>
                    <a:lnTo>
                      <a:pt x="714" y="475"/>
                    </a:lnTo>
                    <a:lnTo>
                      <a:pt x="712" y="472"/>
                    </a:lnTo>
                    <a:lnTo>
                      <a:pt x="709" y="469"/>
                    </a:lnTo>
                    <a:lnTo>
                      <a:pt x="705" y="466"/>
                    </a:lnTo>
                    <a:lnTo>
                      <a:pt x="702" y="463"/>
                    </a:lnTo>
                    <a:lnTo>
                      <a:pt x="701" y="462"/>
                    </a:lnTo>
                    <a:lnTo>
                      <a:pt x="698" y="460"/>
                    </a:lnTo>
                    <a:lnTo>
                      <a:pt x="693" y="460"/>
                    </a:lnTo>
                    <a:lnTo>
                      <a:pt x="680" y="463"/>
                    </a:lnTo>
                    <a:lnTo>
                      <a:pt x="673" y="465"/>
                    </a:lnTo>
                    <a:lnTo>
                      <a:pt x="668" y="466"/>
                    </a:lnTo>
                    <a:lnTo>
                      <a:pt x="663" y="472"/>
                    </a:lnTo>
                    <a:lnTo>
                      <a:pt x="665" y="478"/>
                    </a:lnTo>
                    <a:lnTo>
                      <a:pt x="669" y="483"/>
                    </a:lnTo>
                    <a:lnTo>
                      <a:pt x="670" y="489"/>
                    </a:lnTo>
                    <a:lnTo>
                      <a:pt x="669" y="495"/>
                    </a:lnTo>
                    <a:lnTo>
                      <a:pt x="665" y="499"/>
                    </a:lnTo>
                    <a:lnTo>
                      <a:pt x="659" y="503"/>
                    </a:lnTo>
                    <a:lnTo>
                      <a:pt x="656" y="509"/>
                    </a:lnTo>
                    <a:lnTo>
                      <a:pt x="653" y="515"/>
                    </a:lnTo>
                    <a:lnTo>
                      <a:pt x="649" y="519"/>
                    </a:lnTo>
                    <a:lnTo>
                      <a:pt x="645" y="524"/>
                    </a:lnTo>
                    <a:lnTo>
                      <a:pt x="632" y="529"/>
                    </a:lnTo>
                    <a:lnTo>
                      <a:pt x="629" y="532"/>
                    </a:lnTo>
                    <a:lnTo>
                      <a:pt x="627" y="535"/>
                    </a:lnTo>
                    <a:lnTo>
                      <a:pt x="627" y="538"/>
                    </a:lnTo>
                    <a:lnTo>
                      <a:pt x="626" y="541"/>
                    </a:lnTo>
                    <a:lnTo>
                      <a:pt x="623" y="542"/>
                    </a:lnTo>
                    <a:lnTo>
                      <a:pt x="620" y="542"/>
                    </a:lnTo>
                    <a:lnTo>
                      <a:pt x="616" y="541"/>
                    </a:lnTo>
                    <a:lnTo>
                      <a:pt x="610" y="538"/>
                    </a:lnTo>
                    <a:lnTo>
                      <a:pt x="606" y="538"/>
                    </a:lnTo>
                    <a:lnTo>
                      <a:pt x="594" y="538"/>
                    </a:lnTo>
                    <a:lnTo>
                      <a:pt x="590" y="538"/>
                    </a:lnTo>
                    <a:lnTo>
                      <a:pt x="589" y="538"/>
                    </a:lnTo>
                    <a:lnTo>
                      <a:pt x="583" y="535"/>
                    </a:lnTo>
                    <a:lnTo>
                      <a:pt x="581" y="534"/>
                    </a:lnTo>
                    <a:lnTo>
                      <a:pt x="577" y="534"/>
                    </a:lnTo>
                    <a:lnTo>
                      <a:pt x="576" y="532"/>
                    </a:lnTo>
                    <a:lnTo>
                      <a:pt x="573" y="531"/>
                    </a:lnTo>
                    <a:lnTo>
                      <a:pt x="571" y="529"/>
                    </a:lnTo>
                    <a:lnTo>
                      <a:pt x="571" y="526"/>
                    </a:lnTo>
                    <a:lnTo>
                      <a:pt x="568" y="524"/>
                    </a:lnTo>
                    <a:lnTo>
                      <a:pt x="571" y="522"/>
                    </a:lnTo>
                    <a:lnTo>
                      <a:pt x="573" y="522"/>
                    </a:lnTo>
                    <a:lnTo>
                      <a:pt x="577" y="522"/>
                    </a:lnTo>
                    <a:lnTo>
                      <a:pt x="583" y="522"/>
                    </a:lnTo>
                    <a:lnTo>
                      <a:pt x="586" y="522"/>
                    </a:lnTo>
                    <a:lnTo>
                      <a:pt x="587" y="524"/>
                    </a:lnTo>
                    <a:lnTo>
                      <a:pt x="590" y="526"/>
                    </a:lnTo>
                    <a:lnTo>
                      <a:pt x="591" y="526"/>
                    </a:lnTo>
                    <a:lnTo>
                      <a:pt x="594" y="526"/>
                    </a:lnTo>
                    <a:lnTo>
                      <a:pt x="597" y="525"/>
                    </a:lnTo>
                    <a:lnTo>
                      <a:pt x="599" y="525"/>
                    </a:lnTo>
                    <a:lnTo>
                      <a:pt x="594" y="526"/>
                    </a:lnTo>
                    <a:lnTo>
                      <a:pt x="594" y="528"/>
                    </a:lnTo>
                    <a:lnTo>
                      <a:pt x="593" y="531"/>
                    </a:lnTo>
                    <a:lnTo>
                      <a:pt x="596" y="532"/>
                    </a:lnTo>
                    <a:lnTo>
                      <a:pt x="599" y="532"/>
                    </a:lnTo>
                    <a:lnTo>
                      <a:pt x="602" y="532"/>
                    </a:lnTo>
                    <a:lnTo>
                      <a:pt x="603" y="531"/>
                    </a:lnTo>
                    <a:lnTo>
                      <a:pt x="604" y="531"/>
                    </a:lnTo>
                    <a:lnTo>
                      <a:pt x="606" y="529"/>
                    </a:lnTo>
                    <a:lnTo>
                      <a:pt x="607" y="528"/>
                    </a:lnTo>
                    <a:lnTo>
                      <a:pt x="612" y="526"/>
                    </a:lnTo>
                    <a:lnTo>
                      <a:pt x="613" y="526"/>
                    </a:lnTo>
                    <a:lnTo>
                      <a:pt x="613" y="525"/>
                    </a:lnTo>
                    <a:lnTo>
                      <a:pt x="613" y="522"/>
                    </a:lnTo>
                    <a:lnTo>
                      <a:pt x="610" y="518"/>
                    </a:lnTo>
                    <a:lnTo>
                      <a:pt x="616" y="518"/>
                    </a:lnTo>
                    <a:lnTo>
                      <a:pt x="619" y="516"/>
                    </a:lnTo>
                    <a:lnTo>
                      <a:pt x="622" y="513"/>
                    </a:lnTo>
                    <a:lnTo>
                      <a:pt x="630" y="501"/>
                    </a:lnTo>
                    <a:lnTo>
                      <a:pt x="632" y="499"/>
                    </a:lnTo>
                    <a:lnTo>
                      <a:pt x="633" y="498"/>
                    </a:lnTo>
                    <a:lnTo>
                      <a:pt x="636" y="496"/>
                    </a:lnTo>
                    <a:lnTo>
                      <a:pt x="639" y="495"/>
                    </a:lnTo>
                    <a:lnTo>
                      <a:pt x="640" y="492"/>
                    </a:lnTo>
                    <a:lnTo>
                      <a:pt x="642" y="488"/>
                    </a:lnTo>
                    <a:lnTo>
                      <a:pt x="642" y="483"/>
                    </a:lnTo>
                    <a:lnTo>
                      <a:pt x="643" y="480"/>
                    </a:lnTo>
                    <a:lnTo>
                      <a:pt x="646" y="476"/>
                    </a:lnTo>
                    <a:lnTo>
                      <a:pt x="647" y="475"/>
                    </a:lnTo>
                    <a:lnTo>
                      <a:pt x="649" y="472"/>
                    </a:lnTo>
                    <a:lnTo>
                      <a:pt x="645" y="469"/>
                    </a:lnTo>
                    <a:lnTo>
                      <a:pt x="637" y="466"/>
                    </a:lnTo>
                    <a:lnTo>
                      <a:pt x="633" y="463"/>
                    </a:lnTo>
                    <a:lnTo>
                      <a:pt x="632" y="459"/>
                    </a:lnTo>
                    <a:lnTo>
                      <a:pt x="630" y="455"/>
                    </a:lnTo>
                    <a:lnTo>
                      <a:pt x="632" y="446"/>
                    </a:lnTo>
                    <a:lnTo>
                      <a:pt x="632" y="442"/>
                    </a:lnTo>
                    <a:lnTo>
                      <a:pt x="630" y="427"/>
                    </a:lnTo>
                    <a:lnTo>
                      <a:pt x="632" y="424"/>
                    </a:lnTo>
                    <a:lnTo>
                      <a:pt x="633" y="420"/>
                    </a:lnTo>
                    <a:lnTo>
                      <a:pt x="635" y="419"/>
                    </a:lnTo>
                    <a:lnTo>
                      <a:pt x="635" y="416"/>
                    </a:lnTo>
                    <a:lnTo>
                      <a:pt x="635" y="410"/>
                    </a:lnTo>
                    <a:lnTo>
                      <a:pt x="635" y="406"/>
                    </a:lnTo>
                    <a:lnTo>
                      <a:pt x="633" y="403"/>
                    </a:lnTo>
                    <a:lnTo>
                      <a:pt x="633" y="400"/>
                    </a:lnTo>
                    <a:lnTo>
                      <a:pt x="632" y="398"/>
                    </a:lnTo>
                    <a:lnTo>
                      <a:pt x="630" y="397"/>
                    </a:lnTo>
                    <a:lnTo>
                      <a:pt x="626" y="396"/>
                    </a:lnTo>
                    <a:lnTo>
                      <a:pt x="623" y="394"/>
                    </a:lnTo>
                    <a:lnTo>
                      <a:pt x="622" y="393"/>
                    </a:lnTo>
                    <a:lnTo>
                      <a:pt x="620" y="391"/>
                    </a:lnTo>
                    <a:lnTo>
                      <a:pt x="620" y="390"/>
                    </a:lnTo>
                    <a:lnTo>
                      <a:pt x="619" y="388"/>
                    </a:lnTo>
                    <a:lnTo>
                      <a:pt x="620" y="386"/>
                    </a:lnTo>
                    <a:lnTo>
                      <a:pt x="622" y="386"/>
                    </a:lnTo>
                    <a:lnTo>
                      <a:pt x="624" y="384"/>
                    </a:lnTo>
                    <a:lnTo>
                      <a:pt x="626" y="383"/>
                    </a:lnTo>
                    <a:lnTo>
                      <a:pt x="627" y="380"/>
                    </a:lnTo>
                    <a:lnTo>
                      <a:pt x="630" y="375"/>
                    </a:lnTo>
                    <a:lnTo>
                      <a:pt x="632" y="371"/>
                    </a:lnTo>
                    <a:lnTo>
                      <a:pt x="635" y="364"/>
                    </a:lnTo>
                    <a:lnTo>
                      <a:pt x="636" y="358"/>
                    </a:lnTo>
                    <a:lnTo>
                      <a:pt x="636" y="353"/>
                    </a:lnTo>
                    <a:lnTo>
                      <a:pt x="636" y="350"/>
                    </a:lnTo>
                    <a:lnTo>
                      <a:pt x="633" y="347"/>
                    </a:lnTo>
                    <a:lnTo>
                      <a:pt x="629" y="345"/>
                    </a:lnTo>
                    <a:lnTo>
                      <a:pt x="620" y="344"/>
                    </a:lnTo>
                    <a:lnTo>
                      <a:pt x="617" y="344"/>
                    </a:lnTo>
                    <a:lnTo>
                      <a:pt x="614" y="341"/>
                    </a:lnTo>
                    <a:lnTo>
                      <a:pt x="612" y="341"/>
                    </a:lnTo>
                    <a:lnTo>
                      <a:pt x="609" y="341"/>
                    </a:lnTo>
                    <a:lnTo>
                      <a:pt x="600" y="342"/>
                    </a:lnTo>
                    <a:lnTo>
                      <a:pt x="591" y="341"/>
                    </a:lnTo>
                    <a:lnTo>
                      <a:pt x="584" y="342"/>
                    </a:lnTo>
                    <a:lnTo>
                      <a:pt x="583" y="342"/>
                    </a:lnTo>
                    <a:lnTo>
                      <a:pt x="581" y="341"/>
                    </a:lnTo>
                    <a:lnTo>
                      <a:pt x="581" y="340"/>
                    </a:lnTo>
                    <a:lnTo>
                      <a:pt x="581" y="340"/>
                    </a:lnTo>
                    <a:lnTo>
                      <a:pt x="581" y="338"/>
                    </a:lnTo>
                    <a:lnTo>
                      <a:pt x="580" y="338"/>
                    </a:lnTo>
                    <a:lnTo>
                      <a:pt x="577" y="338"/>
                    </a:lnTo>
                    <a:lnTo>
                      <a:pt x="576" y="340"/>
                    </a:lnTo>
                    <a:lnTo>
                      <a:pt x="574" y="341"/>
                    </a:lnTo>
                    <a:lnTo>
                      <a:pt x="568" y="350"/>
                    </a:lnTo>
                    <a:lnTo>
                      <a:pt x="563" y="371"/>
                    </a:lnTo>
                    <a:lnTo>
                      <a:pt x="557" y="381"/>
                    </a:lnTo>
                    <a:lnTo>
                      <a:pt x="553" y="384"/>
                    </a:lnTo>
                    <a:lnTo>
                      <a:pt x="548" y="387"/>
                    </a:lnTo>
                    <a:lnTo>
                      <a:pt x="544" y="390"/>
                    </a:lnTo>
                    <a:lnTo>
                      <a:pt x="535" y="394"/>
                    </a:lnTo>
                    <a:lnTo>
                      <a:pt x="533" y="394"/>
                    </a:lnTo>
                    <a:lnTo>
                      <a:pt x="531" y="396"/>
                    </a:lnTo>
                    <a:lnTo>
                      <a:pt x="530" y="398"/>
                    </a:lnTo>
                    <a:lnTo>
                      <a:pt x="528" y="400"/>
                    </a:lnTo>
                    <a:lnTo>
                      <a:pt x="528" y="401"/>
                    </a:lnTo>
                    <a:lnTo>
                      <a:pt x="531" y="401"/>
                    </a:lnTo>
                    <a:lnTo>
                      <a:pt x="530" y="403"/>
                    </a:lnTo>
                    <a:lnTo>
                      <a:pt x="530" y="404"/>
                    </a:lnTo>
                    <a:lnTo>
                      <a:pt x="528" y="406"/>
                    </a:lnTo>
                    <a:lnTo>
                      <a:pt x="528" y="407"/>
                    </a:lnTo>
                    <a:lnTo>
                      <a:pt x="528" y="409"/>
                    </a:lnTo>
                    <a:lnTo>
                      <a:pt x="531" y="409"/>
                    </a:lnTo>
                    <a:lnTo>
                      <a:pt x="533" y="409"/>
                    </a:lnTo>
                    <a:lnTo>
                      <a:pt x="534" y="409"/>
                    </a:lnTo>
                    <a:lnTo>
                      <a:pt x="538" y="410"/>
                    </a:lnTo>
                    <a:lnTo>
                      <a:pt x="538" y="413"/>
                    </a:lnTo>
                    <a:lnTo>
                      <a:pt x="538" y="417"/>
                    </a:lnTo>
                    <a:lnTo>
                      <a:pt x="537" y="421"/>
                    </a:lnTo>
                    <a:lnTo>
                      <a:pt x="537" y="424"/>
                    </a:lnTo>
                    <a:lnTo>
                      <a:pt x="537" y="426"/>
                    </a:lnTo>
                    <a:lnTo>
                      <a:pt x="537" y="432"/>
                    </a:lnTo>
                    <a:lnTo>
                      <a:pt x="537" y="432"/>
                    </a:lnTo>
                    <a:lnTo>
                      <a:pt x="535" y="433"/>
                    </a:lnTo>
                    <a:lnTo>
                      <a:pt x="534" y="434"/>
                    </a:lnTo>
                    <a:lnTo>
                      <a:pt x="534" y="434"/>
                    </a:lnTo>
                    <a:lnTo>
                      <a:pt x="534" y="434"/>
                    </a:lnTo>
                    <a:lnTo>
                      <a:pt x="533" y="434"/>
                    </a:lnTo>
                    <a:lnTo>
                      <a:pt x="533" y="436"/>
                    </a:lnTo>
                    <a:lnTo>
                      <a:pt x="531" y="436"/>
                    </a:lnTo>
                    <a:lnTo>
                      <a:pt x="531" y="437"/>
                    </a:lnTo>
                    <a:lnTo>
                      <a:pt x="530" y="442"/>
                    </a:lnTo>
                    <a:lnTo>
                      <a:pt x="530" y="444"/>
                    </a:lnTo>
                    <a:lnTo>
                      <a:pt x="531" y="446"/>
                    </a:lnTo>
                    <a:lnTo>
                      <a:pt x="531" y="447"/>
                    </a:lnTo>
                    <a:lnTo>
                      <a:pt x="535" y="444"/>
                    </a:lnTo>
                    <a:lnTo>
                      <a:pt x="543" y="446"/>
                    </a:lnTo>
                    <a:lnTo>
                      <a:pt x="548" y="447"/>
                    </a:lnTo>
                    <a:lnTo>
                      <a:pt x="553" y="450"/>
                    </a:lnTo>
                    <a:lnTo>
                      <a:pt x="553" y="453"/>
                    </a:lnTo>
                    <a:lnTo>
                      <a:pt x="554" y="455"/>
                    </a:lnTo>
                    <a:lnTo>
                      <a:pt x="556" y="457"/>
                    </a:lnTo>
                    <a:lnTo>
                      <a:pt x="557" y="457"/>
                    </a:lnTo>
                    <a:lnTo>
                      <a:pt x="557" y="459"/>
                    </a:lnTo>
                    <a:lnTo>
                      <a:pt x="558" y="460"/>
                    </a:lnTo>
                    <a:lnTo>
                      <a:pt x="560" y="460"/>
                    </a:lnTo>
                    <a:lnTo>
                      <a:pt x="563" y="462"/>
                    </a:lnTo>
                    <a:lnTo>
                      <a:pt x="566" y="462"/>
                    </a:lnTo>
                    <a:lnTo>
                      <a:pt x="568" y="462"/>
                    </a:lnTo>
                    <a:lnTo>
                      <a:pt x="571" y="462"/>
                    </a:lnTo>
                    <a:lnTo>
                      <a:pt x="566" y="472"/>
                    </a:lnTo>
                    <a:lnTo>
                      <a:pt x="561" y="476"/>
                    </a:lnTo>
                    <a:lnTo>
                      <a:pt x="557" y="478"/>
                    </a:lnTo>
                    <a:lnTo>
                      <a:pt x="561" y="492"/>
                    </a:lnTo>
                    <a:lnTo>
                      <a:pt x="548" y="512"/>
                    </a:lnTo>
                    <a:lnTo>
                      <a:pt x="521" y="535"/>
                    </a:lnTo>
                    <a:lnTo>
                      <a:pt x="502" y="567"/>
                    </a:lnTo>
                    <a:lnTo>
                      <a:pt x="464" y="600"/>
                    </a:lnTo>
                    <a:lnTo>
                      <a:pt x="433" y="637"/>
                    </a:lnTo>
                    <a:lnTo>
                      <a:pt x="432" y="677"/>
                    </a:lnTo>
                    <a:lnTo>
                      <a:pt x="425" y="719"/>
                    </a:lnTo>
                    <a:lnTo>
                      <a:pt x="428" y="743"/>
                    </a:lnTo>
                    <a:lnTo>
                      <a:pt x="432" y="768"/>
                    </a:lnTo>
                    <a:lnTo>
                      <a:pt x="423" y="843"/>
                    </a:lnTo>
                    <a:lnTo>
                      <a:pt x="406" y="883"/>
                    </a:lnTo>
                    <a:lnTo>
                      <a:pt x="409" y="913"/>
                    </a:lnTo>
                    <a:lnTo>
                      <a:pt x="409" y="926"/>
                    </a:lnTo>
                    <a:lnTo>
                      <a:pt x="412" y="932"/>
                    </a:lnTo>
                    <a:lnTo>
                      <a:pt x="412" y="932"/>
                    </a:lnTo>
                    <a:lnTo>
                      <a:pt x="413" y="930"/>
                    </a:lnTo>
                    <a:lnTo>
                      <a:pt x="415" y="930"/>
                    </a:lnTo>
                    <a:lnTo>
                      <a:pt x="415" y="930"/>
                    </a:lnTo>
                    <a:lnTo>
                      <a:pt x="416" y="929"/>
                    </a:lnTo>
                    <a:lnTo>
                      <a:pt x="418" y="929"/>
                    </a:lnTo>
                    <a:lnTo>
                      <a:pt x="418" y="927"/>
                    </a:lnTo>
                    <a:lnTo>
                      <a:pt x="418" y="927"/>
                    </a:lnTo>
                    <a:lnTo>
                      <a:pt x="419" y="927"/>
                    </a:lnTo>
                    <a:lnTo>
                      <a:pt x="419" y="927"/>
                    </a:lnTo>
                    <a:lnTo>
                      <a:pt x="421" y="927"/>
                    </a:lnTo>
                    <a:lnTo>
                      <a:pt x="422" y="927"/>
                    </a:lnTo>
                    <a:lnTo>
                      <a:pt x="422" y="927"/>
                    </a:lnTo>
                    <a:lnTo>
                      <a:pt x="423" y="926"/>
                    </a:lnTo>
                    <a:lnTo>
                      <a:pt x="423" y="926"/>
                    </a:lnTo>
                    <a:lnTo>
                      <a:pt x="426" y="925"/>
                    </a:lnTo>
                    <a:lnTo>
                      <a:pt x="428" y="923"/>
                    </a:lnTo>
                    <a:lnTo>
                      <a:pt x="428" y="922"/>
                    </a:lnTo>
                    <a:lnTo>
                      <a:pt x="428" y="920"/>
                    </a:lnTo>
                    <a:lnTo>
                      <a:pt x="426" y="919"/>
                    </a:lnTo>
                    <a:lnTo>
                      <a:pt x="425" y="916"/>
                    </a:lnTo>
                    <a:lnTo>
                      <a:pt x="425" y="914"/>
                    </a:lnTo>
                    <a:lnTo>
                      <a:pt x="425" y="913"/>
                    </a:lnTo>
                    <a:lnTo>
                      <a:pt x="425" y="913"/>
                    </a:lnTo>
                    <a:lnTo>
                      <a:pt x="425" y="912"/>
                    </a:lnTo>
                    <a:lnTo>
                      <a:pt x="426" y="910"/>
                    </a:lnTo>
                    <a:lnTo>
                      <a:pt x="428" y="909"/>
                    </a:lnTo>
                    <a:lnTo>
                      <a:pt x="429" y="907"/>
                    </a:lnTo>
                    <a:lnTo>
                      <a:pt x="431" y="906"/>
                    </a:lnTo>
                    <a:lnTo>
                      <a:pt x="435" y="906"/>
                    </a:lnTo>
                    <a:lnTo>
                      <a:pt x="436" y="906"/>
                    </a:lnTo>
                    <a:lnTo>
                      <a:pt x="441" y="907"/>
                    </a:lnTo>
                    <a:lnTo>
                      <a:pt x="444" y="907"/>
                    </a:lnTo>
                    <a:lnTo>
                      <a:pt x="445" y="907"/>
                    </a:lnTo>
                    <a:lnTo>
                      <a:pt x="446" y="907"/>
                    </a:lnTo>
                    <a:lnTo>
                      <a:pt x="446" y="906"/>
                    </a:lnTo>
                    <a:lnTo>
                      <a:pt x="446" y="906"/>
                    </a:lnTo>
                    <a:lnTo>
                      <a:pt x="448" y="906"/>
                    </a:lnTo>
                    <a:lnTo>
                      <a:pt x="448" y="904"/>
                    </a:lnTo>
                    <a:lnTo>
                      <a:pt x="446" y="903"/>
                    </a:lnTo>
                    <a:lnTo>
                      <a:pt x="442" y="902"/>
                    </a:lnTo>
                    <a:lnTo>
                      <a:pt x="441" y="902"/>
                    </a:lnTo>
                    <a:lnTo>
                      <a:pt x="439" y="900"/>
                    </a:lnTo>
                    <a:lnTo>
                      <a:pt x="438" y="900"/>
                    </a:lnTo>
                    <a:lnTo>
                      <a:pt x="436" y="900"/>
                    </a:lnTo>
                    <a:lnTo>
                      <a:pt x="432" y="899"/>
                    </a:lnTo>
                    <a:lnTo>
                      <a:pt x="432" y="899"/>
                    </a:lnTo>
                    <a:lnTo>
                      <a:pt x="431" y="899"/>
                    </a:lnTo>
                    <a:lnTo>
                      <a:pt x="431" y="897"/>
                    </a:lnTo>
                    <a:lnTo>
                      <a:pt x="432" y="896"/>
                    </a:lnTo>
                    <a:lnTo>
                      <a:pt x="432" y="896"/>
                    </a:lnTo>
                    <a:lnTo>
                      <a:pt x="432" y="896"/>
                    </a:lnTo>
                    <a:lnTo>
                      <a:pt x="433" y="894"/>
                    </a:lnTo>
                    <a:lnTo>
                      <a:pt x="433" y="894"/>
                    </a:lnTo>
                    <a:lnTo>
                      <a:pt x="435" y="894"/>
                    </a:lnTo>
                    <a:lnTo>
                      <a:pt x="436" y="894"/>
                    </a:lnTo>
                    <a:lnTo>
                      <a:pt x="436" y="894"/>
                    </a:lnTo>
                    <a:lnTo>
                      <a:pt x="438" y="894"/>
                    </a:lnTo>
                    <a:lnTo>
                      <a:pt x="438" y="894"/>
                    </a:lnTo>
                    <a:lnTo>
                      <a:pt x="438" y="893"/>
                    </a:lnTo>
                    <a:lnTo>
                      <a:pt x="438" y="893"/>
                    </a:lnTo>
                    <a:lnTo>
                      <a:pt x="436" y="893"/>
                    </a:lnTo>
                    <a:lnTo>
                      <a:pt x="436" y="891"/>
                    </a:lnTo>
                    <a:lnTo>
                      <a:pt x="436" y="891"/>
                    </a:lnTo>
                    <a:lnTo>
                      <a:pt x="435" y="891"/>
                    </a:lnTo>
                    <a:lnTo>
                      <a:pt x="433" y="893"/>
                    </a:lnTo>
                    <a:lnTo>
                      <a:pt x="433" y="893"/>
                    </a:lnTo>
                    <a:lnTo>
                      <a:pt x="432" y="893"/>
                    </a:lnTo>
                    <a:lnTo>
                      <a:pt x="432" y="893"/>
                    </a:lnTo>
                    <a:lnTo>
                      <a:pt x="431" y="893"/>
                    </a:lnTo>
                    <a:lnTo>
                      <a:pt x="431" y="891"/>
                    </a:lnTo>
                    <a:lnTo>
                      <a:pt x="429" y="891"/>
                    </a:lnTo>
                    <a:lnTo>
                      <a:pt x="428" y="891"/>
                    </a:lnTo>
                    <a:lnTo>
                      <a:pt x="428" y="890"/>
                    </a:lnTo>
                    <a:lnTo>
                      <a:pt x="429" y="890"/>
                    </a:lnTo>
                    <a:lnTo>
                      <a:pt x="429" y="889"/>
                    </a:lnTo>
                    <a:lnTo>
                      <a:pt x="429" y="889"/>
                    </a:lnTo>
                    <a:lnTo>
                      <a:pt x="431" y="887"/>
                    </a:lnTo>
                    <a:lnTo>
                      <a:pt x="431" y="884"/>
                    </a:lnTo>
                    <a:lnTo>
                      <a:pt x="431" y="884"/>
                    </a:lnTo>
                    <a:lnTo>
                      <a:pt x="431" y="883"/>
                    </a:lnTo>
                    <a:lnTo>
                      <a:pt x="431" y="883"/>
                    </a:lnTo>
                    <a:lnTo>
                      <a:pt x="432" y="881"/>
                    </a:lnTo>
                    <a:lnTo>
                      <a:pt x="432" y="881"/>
                    </a:lnTo>
                    <a:lnTo>
                      <a:pt x="433" y="881"/>
                    </a:lnTo>
                    <a:lnTo>
                      <a:pt x="433" y="881"/>
                    </a:lnTo>
                    <a:lnTo>
                      <a:pt x="436" y="881"/>
                    </a:lnTo>
                    <a:lnTo>
                      <a:pt x="442" y="883"/>
                    </a:lnTo>
                    <a:lnTo>
                      <a:pt x="445" y="883"/>
                    </a:lnTo>
                    <a:lnTo>
                      <a:pt x="445" y="883"/>
                    </a:lnTo>
                    <a:lnTo>
                      <a:pt x="446" y="883"/>
                    </a:lnTo>
                    <a:lnTo>
                      <a:pt x="446" y="881"/>
                    </a:lnTo>
                    <a:lnTo>
                      <a:pt x="446" y="881"/>
                    </a:lnTo>
                    <a:lnTo>
                      <a:pt x="448" y="881"/>
                    </a:lnTo>
                    <a:lnTo>
                      <a:pt x="449" y="881"/>
                    </a:lnTo>
                    <a:lnTo>
                      <a:pt x="451" y="881"/>
                    </a:lnTo>
                    <a:lnTo>
                      <a:pt x="454" y="881"/>
                    </a:lnTo>
                    <a:lnTo>
                      <a:pt x="455" y="881"/>
                    </a:lnTo>
                    <a:lnTo>
                      <a:pt x="456" y="880"/>
                    </a:lnTo>
                    <a:lnTo>
                      <a:pt x="461" y="880"/>
                    </a:lnTo>
                    <a:lnTo>
                      <a:pt x="465" y="880"/>
                    </a:lnTo>
                    <a:lnTo>
                      <a:pt x="465" y="879"/>
                    </a:lnTo>
                    <a:lnTo>
                      <a:pt x="467" y="879"/>
                    </a:lnTo>
                    <a:lnTo>
                      <a:pt x="467" y="879"/>
                    </a:lnTo>
                    <a:lnTo>
                      <a:pt x="468" y="879"/>
                    </a:lnTo>
                    <a:lnTo>
                      <a:pt x="468" y="879"/>
                    </a:lnTo>
                    <a:lnTo>
                      <a:pt x="471" y="877"/>
                    </a:lnTo>
                    <a:lnTo>
                      <a:pt x="474" y="877"/>
                    </a:lnTo>
                    <a:lnTo>
                      <a:pt x="475" y="877"/>
                    </a:lnTo>
                    <a:lnTo>
                      <a:pt x="475" y="876"/>
                    </a:lnTo>
                    <a:lnTo>
                      <a:pt x="477" y="876"/>
                    </a:lnTo>
                    <a:lnTo>
                      <a:pt x="478" y="877"/>
                    </a:lnTo>
                    <a:lnTo>
                      <a:pt x="478" y="876"/>
                    </a:lnTo>
                    <a:lnTo>
                      <a:pt x="479" y="876"/>
                    </a:lnTo>
                    <a:lnTo>
                      <a:pt x="482" y="876"/>
                    </a:lnTo>
                    <a:lnTo>
                      <a:pt x="484" y="874"/>
                    </a:lnTo>
                    <a:lnTo>
                      <a:pt x="485" y="874"/>
                    </a:lnTo>
                    <a:lnTo>
                      <a:pt x="485" y="874"/>
                    </a:lnTo>
                    <a:lnTo>
                      <a:pt x="487" y="873"/>
                    </a:lnTo>
                    <a:lnTo>
                      <a:pt x="488" y="873"/>
                    </a:lnTo>
                    <a:lnTo>
                      <a:pt x="488" y="873"/>
                    </a:lnTo>
                    <a:lnTo>
                      <a:pt x="489" y="873"/>
                    </a:lnTo>
                    <a:lnTo>
                      <a:pt x="489" y="874"/>
                    </a:lnTo>
                    <a:lnTo>
                      <a:pt x="491" y="874"/>
                    </a:lnTo>
                    <a:lnTo>
                      <a:pt x="492" y="874"/>
                    </a:lnTo>
                    <a:lnTo>
                      <a:pt x="492" y="874"/>
                    </a:lnTo>
                    <a:lnTo>
                      <a:pt x="494" y="874"/>
                    </a:lnTo>
                    <a:lnTo>
                      <a:pt x="494" y="874"/>
                    </a:lnTo>
                    <a:lnTo>
                      <a:pt x="495" y="873"/>
                    </a:lnTo>
                    <a:lnTo>
                      <a:pt x="497" y="873"/>
                    </a:lnTo>
                    <a:lnTo>
                      <a:pt x="497" y="873"/>
                    </a:lnTo>
                    <a:lnTo>
                      <a:pt x="498" y="873"/>
                    </a:lnTo>
                    <a:lnTo>
                      <a:pt x="500" y="874"/>
                    </a:lnTo>
                    <a:lnTo>
                      <a:pt x="501" y="873"/>
                    </a:lnTo>
                    <a:lnTo>
                      <a:pt x="501" y="873"/>
                    </a:lnTo>
                    <a:lnTo>
                      <a:pt x="502" y="870"/>
                    </a:lnTo>
                    <a:lnTo>
                      <a:pt x="504" y="870"/>
                    </a:lnTo>
                    <a:lnTo>
                      <a:pt x="504" y="870"/>
                    </a:lnTo>
                    <a:lnTo>
                      <a:pt x="504" y="868"/>
                    </a:lnTo>
                    <a:lnTo>
                      <a:pt x="505" y="868"/>
                    </a:lnTo>
                    <a:lnTo>
                      <a:pt x="507" y="868"/>
                    </a:lnTo>
                    <a:lnTo>
                      <a:pt x="507" y="867"/>
                    </a:lnTo>
                    <a:lnTo>
                      <a:pt x="511" y="867"/>
                    </a:lnTo>
                    <a:lnTo>
                      <a:pt x="514" y="866"/>
                    </a:lnTo>
                    <a:lnTo>
                      <a:pt x="514" y="866"/>
                    </a:lnTo>
                    <a:lnTo>
                      <a:pt x="518" y="867"/>
                    </a:lnTo>
                    <a:lnTo>
                      <a:pt x="521" y="867"/>
                    </a:lnTo>
                    <a:lnTo>
                      <a:pt x="530" y="864"/>
                    </a:lnTo>
                    <a:lnTo>
                      <a:pt x="535" y="864"/>
                    </a:lnTo>
                    <a:lnTo>
                      <a:pt x="535" y="864"/>
                    </a:lnTo>
                    <a:lnTo>
                      <a:pt x="535" y="864"/>
                    </a:lnTo>
                    <a:lnTo>
                      <a:pt x="538" y="863"/>
                    </a:lnTo>
                    <a:lnTo>
                      <a:pt x="540" y="863"/>
                    </a:lnTo>
                    <a:lnTo>
                      <a:pt x="544" y="861"/>
                    </a:lnTo>
                    <a:lnTo>
                      <a:pt x="544" y="861"/>
                    </a:lnTo>
                    <a:lnTo>
                      <a:pt x="545" y="861"/>
                    </a:lnTo>
                    <a:lnTo>
                      <a:pt x="545" y="861"/>
                    </a:lnTo>
                    <a:lnTo>
                      <a:pt x="547" y="861"/>
                    </a:lnTo>
                    <a:lnTo>
                      <a:pt x="547" y="861"/>
                    </a:lnTo>
                    <a:lnTo>
                      <a:pt x="548" y="860"/>
                    </a:lnTo>
                    <a:lnTo>
                      <a:pt x="548" y="860"/>
                    </a:lnTo>
                    <a:lnTo>
                      <a:pt x="548" y="860"/>
                    </a:lnTo>
                    <a:lnTo>
                      <a:pt x="550" y="860"/>
                    </a:lnTo>
                    <a:lnTo>
                      <a:pt x="553" y="860"/>
                    </a:lnTo>
                    <a:lnTo>
                      <a:pt x="553" y="860"/>
                    </a:lnTo>
                    <a:lnTo>
                      <a:pt x="554" y="860"/>
                    </a:lnTo>
                    <a:lnTo>
                      <a:pt x="554" y="858"/>
                    </a:lnTo>
                    <a:lnTo>
                      <a:pt x="556" y="858"/>
                    </a:lnTo>
                    <a:lnTo>
                      <a:pt x="556" y="858"/>
                    </a:lnTo>
                    <a:lnTo>
                      <a:pt x="556" y="857"/>
                    </a:lnTo>
                    <a:lnTo>
                      <a:pt x="556" y="856"/>
                    </a:lnTo>
                    <a:lnTo>
                      <a:pt x="556" y="856"/>
                    </a:lnTo>
                    <a:lnTo>
                      <a:pt x="557" y="854"/>
                    </a:lnTo>
                    <a:lnTo>
                      <a:pt x="558" y="854"/>
                    </a:lnTo>
                    <a:lnTo>
                      <a:pt x="561" y="854"/>
                    </a:lnTo>
                    <a:lnTo>
                      <a:pt x="563" y="853"/>
                    </a:lnTo>
                    <a:lnTo>
                      <a:pt x="566" y="851"/>
                    </a:lnTo>
                    <a:lnTo>
                      <a:pt x="568" y="850"/>
                    </a:lnTo>
                    <a:lnTo>
                      <a:pt x="577" y="851"/>
                    </a:lnTo>
                    <a:lnTo>
                      <a:pt x="580" y="851"/>
                    </a:lnTo>
                    <a:lnTo>
                      <a:pt x="580" y="851"/>
                    </a:lnTo>
                    <a:lnTo>
                      <a:pt x="581" y="851"/>
                    </a:lnTo>
                    <a:lnTo>
                      <a:pt x="583" y="853"/>
                    </a:lnTo>
                    <a:lnTo>
                      <a:pt x="583" y="853"/>
                    </a:lnTo>
                    <a:lnTo>
                      <a:pt x="586" y="854"/>
                    </a:lnTo>
                    <a:lnTo>
                      <a:pt x="587" y="854"/>
                    </a:lnTo>
                    <a:lnTo>
                      <a:pt x="589" y="854"/>
                    </a:lnTo>
                    <a:lnTo>
                      <a:pt x="589" y="856"/>
                    </a:lnTo>
                    <a:lnTo>
                      <a:pt x="590" y="856"/>
                    </a:lnTo>
                    <a:lnTo>
                      <a:pt x="591" y="854"/>
                    </a:lnTo>
                    <a:lnTo>
                      <a:pt x="593" y="853"/>
                    </a:lnTo>
                    <a:lnTo>
                      <a:pt x="594" y="853"/>
                    </a:lnTo>
                    <a:lnTo>
                      <a:pt x="597" y="853"/>
                    </a:lnTo>
                    <a:lnTo>
                      <a:pt x="600" y="851"/>
                    </a:lnTo>
                    <a:lnTo>
                      <a:pt x="600" y="853"/>
                    </a:lnTo>
                    <a:lnTo>
                      <a:pt x="602" y="854"/>
                    </a:lnTo>
                    <a:lnTo>
                      <a:pt x="602" y="856"/>
                    </a:lnTo>
                    <a:lnTo>
                      <a:pt x="603" y="856"/>
                    </a:lnTo>
                    <a:lnTo>
                      <a:pt x="603" y="857"/>
                    </a:lnTo>
                    <a:lnTo>
                      <a:pt x="603" y="858"/>
                    </a:lnTo>
                    <a:lnTo>
                      <a:pt x="604" y="863"/>
                    </a:lnTo>
                    <a:lnTo>
                      <a:pt x="606" y="864"/>
                    </a:lnTo>
                    <a:lnTo>
                      <a:pt x="607" y="867"/>
                    </a:lnTo>
                    <a:lnTo>
                      <a:pt x="607" y="868"/>
                    </a:lnTo>
                    <a:lnTo>
                      <a:pt x="607" y="871"/>
                    </a:lnTo>
                    <a:lnTo>
                      <a:pt x="607" y="873"/>
                    </a:lnTo>
                    <a:lnTo>
                      <a:pt x="606" y="874"/>
                    </a:lnTo>
                    <a:lnTo>
                      <a:pt x="606" y="874"/>
                    </a:lnTo>
                    <a:lnTo>
                      <a:pt x="604" y="876"/>
                    </a:lnTo>
                    <a:lnTo>
                      <a:pt x="606" y="877"/>
                    </a:lnTo>
                    <a:lnTo>
                      <a:pt x="609" y="879"/>
                    </a:lnTo>
                    <a:lnTo>
                      <a:pt x="612" y="879"/>
                    </a:lnTo>
                    <a:lnTo>
                      <a:pt x="613" y="879"/>
                    </a:lnTo>
                    <a:lnTo>
                      <a:pt x="616" y="877"/>
                    </a:lnTo>
                    <a:lnTo>
                      <a:pt x="617" y="877"/>
                    </a:lnTo>
                    <a:lnTo>
                      <a:pt x="619" y="877"/>
                    </a:lnTo>
                    <a:lnTo>
                      <a:pt x="620" y="877"/>
                    </a:lnTo>
                    <a:lnTo>
                      <a:pt x="623" y="877"/>
                    </a:lnTo>
                    <a:lnTo>
                      <a:pt x="623" y="874"/>
                    </a:lnTo>
                    <a:lnTo>
                      <a:pt x="624" y="874"/>
                    </a:lnTo>
                    <a:lnTo>
                      <a:pt x="626" y="874"/>
                    </a:lnTo>
                    <a:lnTo>
                      <a:pt x="626" y="876"/>
                    </a:lnTo>
                    <a:lnTo>
                      <a:pt x="626" y="876"/>
                    </a:lnTo>
                    <a:lnTo>
                      <a:pt x="627" y="877"/>
                    </a:lnTo>
                    <a:lnTo>
                      <a:pt x="629" y="879"/>
                    </a:lnTo>
                    <a:lnTo>
                      <a:pt x="629" y="880"/>
                    </a:lnTo>
                    <a:lnTo>
                      <a:pt x="629" y="883"/>
                    </a:lnTo>
                    <a:lnTo>
                      <a:pt x="632" y="881"/>
                    </a:lnTo>
                    <a:lnTo>
                      <a:pt x="632" y="880"/>
                    </a:lnTo>
                    <a:lnTo>
                      <a:pt x="632" y="879"/>
                    </a:lnTo>
                    <a:lnTo>
                      <a:pt x="633" y="879"/>
                    </a:lnTo>
                    <a:lnTo>
                      <a:pt x="637" y="880"/>
                    </a:lnTo>
                    <a:lnTo>
                      <a:pt x="640" y="881"/>
                    </a:lnTo>
                    <a:lnTo>
                      <a:pt x="640" y="881"/>
                    </a:lnTo>
                    <a:lnTo>
                      <a:pt x="642" y="883"/>
                    </a:lnTo>
                    <a:lnTo>
                      <a:pt x="643" y="883"/>
                    </a:lnTo>
                    <a:lnTo>
                      <a:pt x="645" y="883"/>
                    </a:lnTo>
                    <a:lnTo>
                      <a:pt x="646" y="883"/>
                    </a:lnTo>
                    <a:lnTo>
                      <a:pt x="647" y="883"/>
                    </a:lnTo>
                    <a:lnTo>
                      <a:pt x="649" y="881"/>
                    </a:lnTo>
                    <a:lnTo>
                      <a:pt x="649" y="881"/>
                    </a:lnTo>
                    <a:lnTo>
                      <a:pt x="650" y="880"/>
                    </a:lnTo>
                    <a:lnTo>
                      <a:pt x="650" y="880"/>
                    </a:lnTo>
                    <a:lnTo>
                      <a:pt x="652" y="881"/>
                    </a:lnTo>
                    <a:lnTo>
                      <a:pt x="652" y="881"/>
                    </a:lnTo>
                    <a:lnTo>
                      <a:pt x="652" y="884"/>
                    </a:lnTo>
                    <a:lnTo>
                      <a:pt x="649" y="886"/>
                    </a:lnTo>
                    <a:lnTo>
                      <a:pt x="647" y="886"/>
                    </a:lnTo>
                    <a:lnTo>
                      <a:pt x="646" y="887"/>
                    </a:lnTo>
                    <a:lnTo>
                      <a:pt x="645" y="887"/>
                    </a:lnTo>
                    <a:lnTo>
                      <a:pt x="645" y="889"/>
                    </a:lnTo>
                    <a:lnTo>
                      <a:pt x="645" y="891"/>
                    </a:lnTo>
                    <a:lnTo>
                      <a:pt x="645" y="893"/>
                    </a:lnTo>
                    <a:lnTo>
                      <a:pt x="646" y="894"/>
                    </a:lnTo>
                    <a:lnTo>
                      <a:pt x="646" y="896"/>
                    </a:lnTo>
                    <a:lnTo>
                      <a:pt x="647" y="894"/>
                    </a:lnTo>
                    <a:lnTo>
                      <a:pt x="649" y="893"/>
                    </a:lnTo>
                    <a:lnTo>
                      <a:pt x="650" y="893"/>
                    </a:lnTo>
                    <a:lnTo>
                      <a:pt x="652" y="891"/>
                    </a:lnTo>
                    <a:lnTo>
                      <a:pt x="653" y="891"/>
                    </a:lnTo>
                    <a:lnTo>
                      <a:pt x="655" y="891"/>
                    </a:lnTo>
                    <a:lnTo>
                      <a:pt x="656" y="891"/>
                    </a:lnTo>
                    <a:lnTo>
                      <a:pt x="658" y="891"/>
                    </a:lnTo>
                    <a:lnTo>
                      <a:pt x="660" y="891"/>
                    </a:lnTo>
                    <a:lnTo>
                      <a:pt x="662" y="893"/>
                    </a:lnTo>
                    <a:lnTo>
                      <a:pt x="663" y="894"/>
                    </a:lnTo>
                    <a:lnTo>
                      <a:pt x="665" y="893"/>
                    </a:lnTo>
                    <a:lnTo>
                      <a:pt x="665" y="891"/>
                    </a:lnTo>
                    <a:lnTo>
                      <a:pt x="666" y="890"/>
                    </a:lnTo>
                    <a:lnTo>
                      <a:pt x="669" y="887"/>
                    </a:lnTo>
                    <a:lnTo>
                      <a:pt x="669" y="887"/>
                    </a:lnTo>
                    <a:lnTo>
                      <a:pt x="672" y="886"/>
                    </a:lnTo>
                    <a:lnTo>
                      <a:pt x="675" y="886"/>
                    </a:lnTo>
                    <a:lnTo>
                      <a:pt x="676" y="886"/>
                    </a:lnTo>
                    <a:lnTo>
                      <a:pt x="678" y="884"/>
                    </a:lnTo>
                    <a:lnTo>
                      <a:pt x="679" y="884"/>
                    </a:lnTo>
                    <a:lnTo>
                      <a:pt x="680" y="883"/>
                    </a:lnTo>
                    <a:lnTo>
                      <a:pt x="680" y="881"/>
                    </a:lnTo>
                    <a:lnTo>
                      <a:pt x="682" y="880"/>
                    </a:lnTo>
                    <a:lnTo>
                      <a:pt x="682" y="880"/>
                    </a:lnTo>
                    <a:lnTo>
                      <a:pt x="686" y="880"/>
                    </a:lnTo>
                    <a:lnTo>
                      <a:pt x="689" y="879"/>
                    </a:lnTo>
                    <a:lnTo>
                      <a:pt x="695" y="876"/>
                    </a:lnTo>
                    <a:lnTo>
                      <a:pt x="695" y="876"/>
                    </a:lnTo>
                    <a:lnTo>
                      <a:pt x="696" y="874"/>
                    </a:lnTo>
                    <a:lnTo>
                      <a:pt x="696" y="874"/>
                    </a:lnTo>
                    <a:lnTo>
                      <a:pt x="701" y="874"/>
                    </a:lnTo>
                    <a:lnTo>
                      <a:pt x="703" y="873"/>
                    </a:lnTo>
                    <a:lnTo>
                      <a:pt x="705" y="871"/>
                    </a:lnTo>
                    <a:lnTo>
                      <a:pt x="706" y="871"/>
                    </a:lnTo>
                    <a:lnTo>
                      <a:pt x="706" y="874"/>
                    </a:lnTo>
                    <a:lnTo>
                      <a:pt x="705" y="877"/>
                    </a:lnTo>
                    <a:lnTo>
                      <a:pt x="703" y="879"/>
                    </a:lnTo>
                    <a:lnTo>
                      <a:pt x="699" y="879"/>
                    </a:lnTo>
                    <a:lnTo>
                      <a:pt x="701" y="881"/>
                    </a:lnTo>
                    <a:lnTo>
                      <a:pt x="702" y="883"/>
                    </a:lnTo>
                    <a:lnTo>
                      <a:pt x="703" y="884"/>
                    </a:lnTo>
                    <a:lnTo>
                      <a:pt x="706" y="886"/>
                    </a:lnTo>
                    <a:lnTo>
                      <a:pt x="722" y="897"/>
                    </a:lnTo>
                    <a:lnTo>
                      <a:pt x="724" y="899"/>
                    </a:lnTo>
                    <a:lnTo>
                      <a:pt x="731" y="907"/>
                    </a:lnTo>
                    <a:lnTo>
                      <a:pt x="732" y="910"/>
                    </a:lnTo>
                    <a:lnTo>
                      <a:pt x="738" y="920"/>
                    </a:lnTo>
                    <a:lnTo>
                      <a:pt x="742" y="926"/>
                    </a:lnTo>
                    <a:lnTo>
                      <a:pt x="747" y="932"/>
                    </a:lnTo>
                    <a:lnTo>
                      <a:pt x="749" y="936"/>
                    </a:lnTo>
                    <a:lnTo>
                      <a:pt x="749" y="939"/>
                    </a:lnTo>
                    <a:lnTo>
                      <a:pt x="752" y="943"/>
                    </a:lnTo>
                    <a:lnTo>
                      <a:pt x="754" y="946"/>
                    </a:lnTo>
                    <a:lnTo>
                      <a:pt x="761" y="960"/>
                    </a:lnTo>
                    <a:lnTo>
                      <a:pt x="761" y="962"/>
                    </a:lnTo>
                    <a:lnTo>
                      <a:pt x="762" y="962"/>
                    </a:lnTo>
                    <a:lnTo>
                      <a:pt x="762" y="963"/>
                    </a:lnTo>
                    <a:lnTo>
                      <a:pt x="764" y="963"/>
                    </a:lnTo>
                    <a:lnTo>
                      <a:pt x="764" y="962"/>
                    </a:lnTo>
                    <a:lnTo>
                      <a:pt x="764" y="960"/>
                    </a:lnTo>
                    <a:lnTo>
                      <a:pt x="765" y="960"/>
                    </a:lnTo>
                    <a:lnTo>
                      <a:pt x="767" y="959"/>
                    </a:lnTo>
                    <a:lnTo>
                      <a:pt x="767" y="959"/>
                    </a:lnTo>
                    <a:lnTo>
                      <a:pt x="768" y="959"/>
                    </a:lnTo>
                    <a:lnTo>
                      <a:pt x="768" y="959"/>
                    </a:lnTo>
                    <a:lnTo>
                      <a:pt x="770" y="959"/>
                    </a:lnTo>
                    <a:lnTo>
                      <a:pt x="770" y="958"/>
                    </a:lnTo>
                    <a:lnTo>
                      <a:pt x="770" y="956"/>
                    </a:lnTo>
                    <a:lnTo>
                      <a:pt x="770" y="953"/>
                    </a:lnTo>
                    <a:lnTo>
                      <a:pt x="770" y="952"/>
                    </a:lnTo>
                    <a:lnTo>
                      <a:pt x="771" y="952"/>
                    </a:lnTo>
                    <a:lnTo>
                      <a:pt x="772" y="950"/>
                    </a:lnTo>
                    <a:lnTo>
                      <a:pt x="772" y="950"/>
                    </a:lnTo>
                    <a:lnTo>
                      <a:pt x="774" y="949"/>
                    </a:lnTo>
                    <a:lnTo>
                      <a:pt x="774" y="949"/>
                    </a:lnTo>
                    <a:lnTo>
                      <a:pt x="775" y="949"/>
                    </a:lnTo>
                    <a:lnTo>
                      <a:pt x="775" y="949"/>
                    </a:lnTo>
                    <a:lnTo>
                      <a:pt x="777" y="949"/>
                    </a:lnTo>
                    <a:lnTo>
                      <a:pt x="778" y="949"/>
                    </a:lnTo>
                    <a:lnTo>
                      <a:pt x="778" y="950"/>
                    </a:lnTo>
                    <a:lnTo>
                      <a:pt x="778" y="950"/>
                    </a:lnTo>
                    <a:lnTo>
                      <a:pt x="780" y="952"/>
                    </a:lnTo>
                    <a:lnTo>
                      <a:pt x="781" y="952"/>
                    </a:lnTo>
                    <a:lnTo>
                      <a:pt x="782" y="952"/>
                    </a:lnTo>
                    <a:lnTo>
                      <a:pt x="782" y="952"/>
                    </a:lnTo>
                    <a:lnTo>
                      <a:pt x="782" y="953"/>
                    </a:lnTo>
                    <a:lnTo>
                      <a:pt x="782" y="953"/>
                    </a:lnTo>
                    <a:lnTo>
                      <a:pt x="781" y="955"/>
                    </a:lnTo>
                    <a:lnTo>
                      <a:pt x="781" y="958"/>
                    </a:lnTo>
                    <a:lnTo>
                      <a:pt x="781" y="958"/>
                    </a:lnTo>
                    <a:lnTo>
                      <a:pt x="782" y="958"/>
                    </a:lnTo>
                    <a:lnTo>
                      <a:pt x="782" y="958"/>
                    </a:lnTo>
                    <a:lnTo>
                      <a:pt x="784" y="958"/>
                    </a:lnTo>
                    <a:lnTo>
                      <a:pt x="785" y="958"/>
                    </a:lnTo>
                    <a:lnTo>
                      <a:pt x="787" y="958"/>
                    </a:lnTo>
                    <a:lnTo>
                      <a:pt x="787" y="959"/>
                    </a:lnTo>
                    <a:lnTo>
                      <a:pt x="788" y="960"/>
                    </a:lnTo>
                    <a:lnTo>
                      <a:pt x="788" y="963"/>
                    </a:lnTo>
                    <a:lnTo>
                      <a:pt x="788" y="963"/>
                    </a:lnTo>
                    <a:lnTo>
                      <a:pt x="790" y="963"/>
                    </a:lnTo>
                    <a:lnTo>
                      <a:pt x="791" y="963"/>
                    </a:lnTo>
                    <a:lnTo>
                      <a:pt x="793" y="963"/>
                    </a:lnTo>
                    <a:lnTo>
                      <a:pt x="797" y="963"/>
                    </a:lnTo>
                    <a:lnTo>
                      <a:pt x="800" y="965"/>
                    </a:lnTo>
                    <a:lnTo>
                      <a:pt x="800" y="965"/>
                    </a:lnTo>
                    <a:lnTo>
                      <a:pt x="801" y="965"/>
                    </a:lnTo>
                    <a:lnTo>
                      <a:pt x="803" y="963"/>
                    </a:lnTo>
                    <a:lnTo>
                      <a:pt x="805" y="963"/>
                    </a:lnTo>
                    <a:lnTo>
                      <a:pt x="807" y="963"/>
                    </a:lnTo>
                    <a:lnTo>
                      <a:pt x="808" y="963"/>
                    </a:lnTo>
                    <a:lnTo>
                      <a:pt x="808" y="962"/>
                    </a:lnTo>
                    <a:lnTo>
                      <a:pt x="810" y="962"/>
                    </a:lnTo>
                    <a:lnTo>
                      <a:pt x="810" y="960"/>
                    </a:lnTo>
                    <a:lnTo>
                      <a:pt x="810" y="960"/>
                    </a:lnTo>
                    <a:lnTo>
                      <a:pt x="811" y="959"/>
                    </a:lnTo>
                    <a:lnTo>
                      <a:pt x="814" y="959"/>
                    </a:lnTo>
                    <a:lnTo>
                      <a:pt x="814" y="959"/>
                    </a:lnTo>
                    <a:lnTo>
                      <a:pt x="815" y="959"/>
                    </a:lnTo>
                    <a:lnTo>
                      <a:pt x="815" y="959"/>
                    </a:lnTo>
                    <a:lnTo>
                      <a:pt x="815" y="959"/>
                    </a:lnTo>
                    <a:lnTo>
                      <a:pt x="817" y="958"/>
                    </a:lnTo>
                    <a:lnTo>
                      <a:pt x="818" y="958"/>
                    </a:lnTo>
                    <a:lnTo>
                      <a:pt x="818" y="956"/>
                    </a:lnTo>
                    <a:lnTo>
                      <a:pt x="820" y="956"/>
                    </a:lnTo>
                    <a:lnTo>
                      <a:pt x="821" y="956"/>
                    </a:lnTo>
                    <a:lnTo>
                      <a:pt x="824" y="958"/>
                    </a:lnTo>
                    <a:lnTo>
                      <a:pt x="827" y="959"/>
                    </a:lnTo>
                    <a:lnTo>
                      <a:pt x="830" y="962"/>
                    </a:lnTo>
                    <a:lnTo>
                      <a:pt x="834" y="966"/>
                    </a:lnTo>
                    <a:lnTo>
                      <a:pt x="834" y="968"/>
                    </a:lnTo>
                    <a:lnTo>
                      <a:pt x="836" y="968"/>
                    </a:lnTo>
                    <a:lnTo>
                      <a:pt x="836" y="969"/>
                    </a:lnTo>
                    <a:lnTo>
                      <a:pt x="836" y="971"/>
                    </a:lnTo>
                    <a:lnTo>
                      <a:pt x="836" y="972"/>
                    </a:lnTo>
                    <a:lnTo>
                      <a:pt x="837" y="975"/>
                    </a:lnTo>
                    <a:lnTo>
                      <a:pt x="838" y="976"/>
                    </a:lnTo>
                    <a:lnTo>
                      <a:pt x="840" y="978"/>
                    </a:lnTo>
                    <a:lnTo>
                      <a:pt x="843" y="978"/>
                    </a:lnTo>
                    <a:lnTo>
                      <a:pt x="843" y="978"/>
                    </a:lnTo>
                    <a:lnTo>
                      <a:pt x="844" y="979"/>
                    </a:lnTo>
                    <a:lnTo>
                      <a:pt x="846" y="979"/>
                    </a:lnTo>
                    <a:lnTo>
                      <a:pt x="846" y="981"/>
                    </a:lnTo>
                    <a:lnTo>
                      <a:pt x="847" y="981"/>
                    </a:lnTo>
                    <a:lnTo>
                      <a:pt x="849" y="981"/>
                    </a:lnTo>
                    <a:lnTo>
                      <a:pt x="849" y="981"/>
                    </a:lnTo>
                    <a:lnTo>
                      <a:pt x="850" y="982"/>
                    </a:lnTo>
                    <a:lnTo>
                      <a:pt x="850" y="983"/>
                    </a:lnTo>
                    <a:lnTo>
                      <a:pt x="850" y="985"/>
                    </a:lnTo>
                    <a:lnTo>
                      <a:pt x="850" y="985"/>
                    </a:lnTo>
                    <a:lnTo>
                      <a:pt x="850" y="986"/>
                    </a:lnTo>
                    <a:lnTo>
                      <a:pt x="851" y="986"/>
                    </a:lnTo>
                    <a:lnTo>
                      <a:pt x="851" y="988"/>
                    </a:lnTo>
                    <a:lnTo>
                      <a:pt x="851" y="989"/>
                    </a:lnTo>
                    <a:lnTo>
                      <a:pt x="853" y="991"/>
                    </a:lnTo>
                    <a:lnTo>
                      <a:pt x="854" y="992"/>
                    </a:lnTo>
                    <a:lnTo>
                      <a:pt x="854" y="994"/>
                    </a:lnTo>
                    <a:lnTo>
                      <a:pt x="854" y="994"/>
                    </a:lnTo>
                    <a:lnTo>
                      <a:pt x="856" y="994"/>
                    </a:lnTo>
                    <a:lnTo>
                      <a:pt x="856" y="994"/>
                    </a:lnTo>
                    <a:lnTo>
                      <a:pt x="857" y="994"/>
                    </a:lnTo>
                    <a:lnTo>
                      <a:pt x="859" y="994"/>
                    </a:lnTo>
                    <a:lnTo>
                      <a:pt x="859" y="994"/>
                    </a:lnTo>
                    <a:lnTo>
                      <a:pt x="863" y="994"/>
                    </a:lnTo>
                    <a:lnTo>
                      <a:pt x="866" y="995"/>
                    </a:lnTo>
                    <a:lnTo>
                      <a:pt x="866" y="995"/>
                    </a:lnTo>
                    <a:lnTo>
                      <a:pt x="867" y="996"/>
                    </a:lnTo>
                    <a:lnTo>
                      <a:pt x="870" y="996"/>
                    </a:lnTo>
                    <a:lnTo>
                      <a:pt x="871" y="996"/>
                    </a:lnTo>
                    <a:lnTo>
                      <a:pt x="873" y="994"/>
                    </a:lnTo>
                    <a:lnTo>
                      <a:pt x="874" y="994"/>
                    </a:lnTo>
                    <a:lnTo>
                      <a:pt x="876" y="992"/>
                    </a:lnTo>
                    <a:lnTo>
                      <a:pt x="877" y="991"/>
                    </a:lnTo>
                    <a:lnTo>
                      <a:pt x="879" y="989"/>
                    </a:lnTo>
                    <a:lnTo>
                      <a:pt x="880" y="989"/>
                    </a:lnTo>
                    <a:lnTo>
                      <a:pt x="880" y="991"/>
                    </a:lnTo>
                    <a:lnTo>
                      <a:pt x="880" y="991"/>
                    </a:lnTo>
                    <a:lnTo>
                      <a:pt x="880" y="992"/>
                    </a:lnTo>
                    <a:lnTo>
                      <a:pt x="879" y="992"/>
                    </a:lnTo>
                    <a:lnTo>
                      <a:pt x="879" y="995"/>
                    </a:lnTo>
                    <a:lnTo>
                      <a:pt x="880" y="995"/>
                    </a:lnTo>
                    <a:lnTo>
                      <a:pt x="880" y="995"/>
                    </a:lnTo>
                    <a:lnTo>
                      <a:pt x="882" y="995"/>
                    </a:lnTo>
                    <a:lnTo>
                      <a:pt x="882" y="996"/>
                    </a:lnTo>
                    <a:lnTo>
                      <a:pt x="884" y="1001"/>
                    </a:lnTo>
                    <a:lnTo>
                      <a:pt x="886" y="1002"/>
                    </a:lnTo>
                    <a:lnTo>
                      <a:pt x="886" y="1002"/>
                    </a:lnTo>
                    <a:lnTo>
                      <a:pt x="887" y="1002"/>
                    </a:lnTo>
                    <a:lnTo>
                      <a:pt x="889" y="1004"/>
                    </a:lnTo>
                    <a:lnTo>
                      <a:pt x="890" y="1004"/>
                    </a:lnTo>
                    <a:lnTo>
                      <a:pt x="890" y="1005"/>
                    </a:lnTo>
                    <a:lnTo>
                      <a:pt x="890" y="1005"/>
                    </a:lnTo>
                    <a:lnTo>
                      <a:pt x="890" y="1006"/>
                    </a:lnTo>
                    <a:lnTo>
                      <a:pt x="892" y="1006"/>
                    </a:lnTo>
                    <a:lnTo>
                      <a:pt x="892" y="1006"/>
                    </a:lnTo>
                    <a:lnTo>
                      <a:pt x="892" y="1006"/>
                    </a:lnTo>
                    <a:lnTo>
                      <a:pt x="893" y="1006"/>
                    </a:lnTo>
                    <a:lnTo>
                      <a:pt x="893" y="1006"/>
                    </a:lnTo>
                    <a:lnTo>
                      <a:pt x="894" y="1005"/>
                    </a:lnTo>
                    <a:lnTo>
                      <a:pt x="896" y="1005"/>
                    </a:lnTo>
                    <a:lnTo>
                      <a:pt x="897" y="1005"/>
                    </a:lnTo>
                    <a:lnTo>
                      <a:pt x="899" y="1005"/>
                    </a:lnTo>
                    <a:lnTo>
                      <a:pt x="900" y="1005"/>
                    </a:lnTo>
                    <a:lnTo>
                      <a:pt x="900" y="1005"/>
                    </a:lnTo>
                    <a:lnTo>
                      <a:pt x="900" y="1005"/>
                    </a:lnTo>
                    <a:lnTo>
                      <a:pt x="900" y="1005"/>
                    </a:lnTo>
                    <a:lnTo>
                      <a:pt x="902" y="1005"/>
                    </a:lnTo>
                    <a:lnTo>
                      <a:pt x="902" y="1005"/>
                    </a:lnTo>
                    <a:lnTo>
                      <a:pt x="903" y="1004"/>
                    </a:lnTo>
                    <a:lnTo>
                      <a:pt x="903" y="1004"/>
                    </a:lnTo>
                    <a:lnTo>
                      <a:pt x="905" y="1002"/>
                    </a:lnTo>
                    <a:lnTo>
                      <a:pt x="906" y="1001"/>
                    </a:lnTo>
                    <a:lnTo>
                      <a:pt x="906" y="999"/>
                    </a:lnTo>
                    <a:lnTo>
                      <a:pt x="906" y="998"/>
                    </a:lnTo>
                    <a:lnTo>
                      <a:pt x="906" y="998"/>
                    </a:lnTo>
                    <a:lnTo>
                      <a:pt x="907" y="998"/>
                    </a:lnTo>
                    <a:lnTo>
                      <a:pt x="907" y="996"/>
                    </a:lnTo>
                    <a:lnTo>
                      <a:pt x="910" y="996"/>
                    </a:lnTo>
                    <a:lnTo>
                      <a:pt x="910" y="996"/>
                    </a:lnTo>
                    <a:lnTo>
                      <a:pt x="910" y="996"/>
                    </a:lnTo>
                    <a:lnTo>
                      <a:pt x="912" y="996"/>
                    </a:lnTo>
                    <a:lnTo>
                      <a:pt x="912" y="996"/>
                    </a:lnTo>
                    <a:lnTo>
                      <a:pt x="913" y="996"/>
                    </a:lnTo>
                    <a:lnTo>
                      <a:pt x="913" y="996"/>
                    </a:lnTo>
                    <a:lnTo>
                      <a:pt x="915" y="996"/>
                    </a:lnTo>
                    <a:lnTo>
                      <a:pt x="915" y="996"/>
                    </a:lnTo>
                    <a:lnTo>
                      <a:pt x="916" y="998"/>
                    </a:lnTo>
                    <a:lnTo>
                      <a:pt x="916" y="998"/>
                    </a:lnTo>
                    <a:lnTo>
                      <a:pt x="917" y="998"/>
                    </a:lnTo>
                    <a:lnTo>
                      <a:pt x="917" y="998"/>
                    </a:lnTo>
                    <a:lnTo>
                      <a:pt x="917" y="996"/>
                    </a:lnTo>
                    <a:lnTo>
                      <a:pt x="917" y="996"/>
                    </a:lnTo>
                    <a:lnTo>
                      <a:pt x="917" y="996"/>
                    </a:lnTo>
                    <a:lnTo>
                      <a:pt x="917" y="996"/>
                    </a:lnTo>
                    <a:lnTo>
                      <a:pt x="919" y="995"/>
                    </a:lnTo>
                    <a:lnTo>
                      <a:pt x="919" y="995"/>
                    </a:lnTo>
                    <a:lnTo>
                      <a:pt x="919" y="996"/>
                    </a:lnTo>
                    <a:lnTo>
                      <a:pt x="920" y="996"/>
                    </a:lnTo>
                    <a:lnTo>
                      <a:pt x="920" y="996"/>
                    </a:lnTo>
                    <a:lnTo>
                      <a:pt x="922" y="996"/>
                    </a:lnTo>
                    <a:lnTo>
                      <a:pt x="923" y="996"/>
                    </a:lnTo>
                    <a:lnTo>
                      <a:pt x="923" y="995"/>
                    </a:lnTo>
                    <a:lnTo>
                      <a:pt x="923" y="995"/>
                    </a:lnTo>
                    <a:lnTo>
                      <a:pt x="923" y="995"/>
                    </a:lnTo>
                    <a:lnTo>
                      <a:pt x="925" y="994"/>
                    </a:lnTo>
                    <a:lnTo>
                      <a:pt x="925" y="994"/>
                    </a:lnTo>
                    <a:lnTo>
                      <a:pt x="925" y="994"/>
                    </a:lnTo>
                    <a:lnTo>
                      <a:pt x="925" y="994"/>
                    </a:lnTo>
                    <a:lnTo>
                      <a:pt x="925" y="994"/>
                    </a:lnTo>
                    <a:lnTo>
                      <a:pt x="926" y="994"/>
                    </a:lnTo>
                    <a:lnTo>
                      <a:pt x="926" y="994"/>
                    </a:lnTo>
                    <a:lnTo>
                      <a:pt x="926" y="994"/>
                    </a:lnTo>
                    <a:lnTo>
                      <a:pt x="928" y="994"/>
                    </a:lnTo>
                    <a:lnTo>
                      <a:pt x="928" y="992"/>
                    </a:lnTo>
                    <a:lnTo>
                      <a:pt x="929" y="992"/>
                    </a:lnTo>
                    <a:lnTo>
                      <a:pt x="929" y="992"/>
                    </a:lnTo>
                    <a:lnTo>
                      <a:pt x="930" y="991"/>
                    </a:lnTo>
                    <a:lnTo>
                      <a:pt x="932" y="991"/>
                    </a:lnTo>
                    <a:lnTo>
                      <a:pt x="932" y="991"/>
                    </a:lnTo>
                    <a:lnTo>
                      <a:pt x="932" y="989"/>
                    </a:lnTo>
                    <a:lnTo>
                      <a:pt x="932" y="989"/>
                    </a:lnTo>
                    <a:lnTo>
                      <a:pt x="932" y="988"/>
                    </a:lnTo>
                    <a:lnTo>
                      <a:pt x="932" y="986"/>
                    </a:lnTo>
                    <a:lnTo>
                      <a:pt x="932" y="986"/>
                    </a:lnTo>
                    <a:lnTo>
                      <a:pt x="932" y="986"/>
                    </a:lnTo>
                    <a:lnTo>
                      <a:pt x="932" y="985"/>
                    </a:lnTo>
                    <a:lnTo>
                      <a:pt x="932" y="985"/>
                    </a:lnTo>
                    <a:lnTo>
                      <a:pt x="933" y="985"/>
                    </a:lnTo>
                    <a:lnTo>
                      <a:pt x="933" y="985"/>
                    </a:lnTo>
                    <a:lnTo>
                      <a:pt x="933" y="985"/>
                    </a:lnTo>
                    <a:lnTo>
                      <a:pt x="935" y="985"/>
                    </a:lnTo>
                    <a:lnTo>
                      <a:pt x="935" y="985"/>
                    </a:lnTo>
                    <a:lnTo>
                      <a:pt x="935" y="985"/>
                    </a:lnTo>
                    <a:lnTo>
                      <a:pt x="936" y="985"/>
                    </a:lnTo>
                    <a:lnTo>
                      <a:pt x="936" y="985"/>
                    </a:lnTo>
                    <a:lnTo>
                      <a:pt x="936" y="985"/>
                    </a:lnTo>
                    <a:lnTo>
                      <a:pt x="938" y="983"/>
                    </a:lnTo>
                    <a:lnTo>
                      <a:pt x="938" y="983"/>
                    </a:lnTo>
                    <a:lnTo>
                      <a:pt x="938" y="983"/>
                    </a:lnTo>
                    <a:lnTo>
                      <a:pt x="938" y="983"/>
                    </a:lnTo>
                    <a:lnTo>
                      <a:pt x="938" y="982"/>
                    </a:lnTo>
                    <a:lnTo>
                      <a:pt x="939" y="981"/>
                    </a:lnTo>
                    <a:lnTo>
                      <a:pt x="940" y="981"/>
                    </a:lnTo>
                    <a:lnTo>
                      <a:pt x="940" y="981"/>
                    </a:lnTo>
                    <a:lnTo>
                      <a:pt x="942" y="981"/>
                    </a:lnTo>
                    <a:lnTo>
                      <a:pt x="943" y="979"/>
                    </a:lnTo>
                    <a:lnTo>
                      <a:pt x="946" y="978"/>
                    </a:lnTo>
                    <a:lnTo>
                      <a:pt x="946" y="978"/>
                    </a:lnTo>
                    <a:lnTo>
                      <a:pt x="948" y="978"/>
                    </a:lnTo>
                    <a:lnTo>
                      <a:pt x="948" y="978"/>
                    </a:lnTo>
                    <a:lnTo>
                      <a:pt x="948" y="978"/>
                    </a:lnTo>
                    <a:lnTo>
                      <a:pt x="949" y="978"/>
                    </a:lnTo>
                    <a:lnTo>
                      <a:pt x="949" y="978"/>
                    </a:lnTo>
                    <a:lnTo>
                      <a:pt x="950" y="978"/>
                    </a:lnTo>
                    <a:lnTo>
                      <a:pt x="950" y="976"/>
                    </a:lnTo>
                    <a:lnTo>
                      <a:pt x="950" y="976"/>
                    </a:lnTo>
                    <a:lnTo>
                      <a:pt x="952" y="975"/>
                    </a:lnTo>
                    <a:lnTo>
                      <a:pt x="952" y="975"/>
                    </a:lnTo>
                    <a:lnTo>
                      <a:pt x="952" y="975"/>
                    </a:lnTo>
                    <a:lnTo>
                      <a:pt x="953" y="975"/>
                    </a:lnTo>
                    <a:lnTo>
                      <a:pt x="955" y="973"/>
                    </a:lnTo>
                    <a:lnTo>
                      <a:pt x="955" y="973"/>
                    </a:lnTo>
                    <a:lnTo>
                      <a:pt x="956" y="972"/>
                    </a:lnTo>
                    <a:lnTo>
                      <a:pt x="956" y="972"/>
                    </a:lnTo>
                    <a:lnTo>
                      <a:pt x="956" y="972"/>
                    </a:lnTo>
                    <a:lnTo>
                      <a:pt x="958" y="972"/>
                    </a:lnTo>
                    <a:lnTo>
                      <a:pt x="961" y="971"/>
                    </a:lnTo>
                    <a:lnTo>
                      <a:pt x="962" y="971"/>
                    </a:lnTo>
                    <a:lnTo>
                      <a:pt x="962" y="971"/>
                    </a:lnTo>
                    <a:lnTo>
                      <a:pt x="962" y="971"/>
                    </a:lnTo>
                    <a:lnTo>
                      <a:pt x="963" y="971"/>
                    </a:lnTo>
                    <a:lnTo>
                      <a:pt x="963" y="971"/>
                    </a:lnTo>
                    <a:lnTo>
                      <a:pt x="963" y="969"/>
                    </a:lnTo>
                    <a:lnTo>
                      <a:pt x="963" y="969"/>
                    </a:lnTo>
                    <a:lnTo>
                      <a:pt x="965" y="969"/>
                    </a:lnTo>
                    <a:lnTo>
                      <a:pt x="965" y="969"/>
                    </a:lnTo>
                    <a:lnTo>
                      <a:pt x="965" y="968"/>
                    </a:lnTo>
                    <a:lnTo>
                      <a:pt x="966" y="968"/>
                    </a:lnTo>
                    <a:lnTo>
                      <a:pt x="966" y="968"/>
                    </a:lnTo>
                    <a:lnTo>
                      <a:pt x="966" y="968"/>
                    </a:lnTo>
                    <a:lnTo>
                      <a:pt x="968" y="966"/>
                    </a:lnTo>
                    <a:lnTo>
                      <a:pt x="968" y="966"/>
                    </a:lnTo>
                    <a:lnTo>
                      <a:pt x="968" y="966"/>
                    </a:lnTo>
                    <a:lnTo>
                      <a:pt x="969" y="965"/>
                    </a:lnTo>
                    <a:lnTo>
                      <a:pt x="971" y="965"/>
                    </a:lnTo>
                    <a:lnTo>
                      <a:pt x="972" y="965"/>
                    </a:lnTo>
                    <a:lnTo>
                      <a:pt x="973" y="965"/>
                    </a:lnTo>
                    <a:lnTo>
                      <a:pt x="975" y="965"/>
                    </a:lnTo>
                    <a:lnTo>
                      <a:pt x="976" y="965"/>
                    </a:lnTo>
                    <a:lnTo>
                      <a:pt x="976" y="965"/>
                    </a:lnTo>
                    <a:lnTo>
                      <a:pt x="976" y="965"/>
                    </a:lnTo>
                    <a:lnTo>
                      <a:pt x="978" y="963"/>
                    </a:lnTo>
                    <a:lnTo>
                      <a:pt x="978" y="963"/>
                    </a:lnTo>
                    <a:lnTo>
                      <a:pt x="978" y="962"/>
                    </a:lnTo>
                    <a:lnTo>
                      <a:pt x="979" y="960"/>
                    </a:lnTo>
                    <a:lnTo>
                      <a:pt x="979" y="960"/>
                    </a:lnTo>
                    <a:lnTo>
                      <a:pt x="981" y="962"/>
                    </a:lnTo>
                    <a:lnTo>
                      <a:pt x="981" y="962"/>
                    </a:lnTo>
                    <a:lnTo>
                      <a:pt x="982" y="963"/>
                    </a:lnTo>
                    <a:lnTo>
                      <a:pt x="982" y="963"/>
                    </a:lnTo>
                    <a:lnTo>
                      <a:pt x="984" y="965"/>
                    </a:lnTo>
                    <a:lnTo>
                      <a:pt x="984" y="965"/>
                    </a:lnTo>
                    <a:lnTo>
                      <a:pt x="984" y="965"/>
                    </a:lnTo>
                    <a:lnTo>
                      <a:pt x="985" y="965"/>
                    </a:lnTo>
                    <a:lnTo>
                      <a:pt x="985" y="965"/>
                    </a:lnTo>
                    <a:lnTo>
                      <a:pt x="986" y="965"/>
                    </a:lnTo>
                    <a:lnTo>
                      <a:pt x="986" y="963"/>
                    </a:lnTo>
                    <a:lnTo>
                      <a:pt x="988" y="962"/>
                    </a:lnTo>
                    <a:lnTo>
                      <a:pt x="989" y="962"/>
                    </a:lnTo>
                    <a:lnTo>
                      <a:pt x="989" y="963"/>
                    </a:lnTo>
                    <a:lnTo>
                      <a:pt x="991" y="963"/>
                    </a:lnTo>
                    <a:lnTo>
                      <a:pt x="991" y="965"/>
                    </a:lnTo>
                    <a:lnTo>
                      <a:pt x="991" y="965"/>
                    </a:lnTo>
                    <a:lnTo>
                      <a:pt x="991" y="966"/>
                    </a:lnTo>
                    <a:lnTo>
                      <a:pt x="991" y="966"/>
                    </a:lnTo>
                    <a:lnTo>
                      <a:pt x="992" y="966"/>
                    </a:lnTo>
                    <a:lnTo>
                      <a:pt x="994" y="968"/>
                    </a:lnTo>
                    <a:lnTo>
                      <a:pt x="994" y="968"/>
                    </a:lnTo>
                    <a:lnTo>
                      <a:pt x="996" y="968"/>
                    </a:lnTo>
                    <a:lnTo>
                      <a:pt x="1001" y="968"/>
                    </a:lnTo>
                    <a:lnTo>
                      <a:pt x="1004" y="968"/>
                    </a:lnTo>
                    <a:lnTo>
                      <a:pt x="1006" y="968"/>
                    </a:lnTo>
                    <a:lnTo>
                      <a:pt x="1011" y="968"/>
                    </a:lnTo>
                    <a:lnTo>
                      <a:pt x="1012" y="969"/>
                    </a:lnTo>
                    <a:lnTo>
                      <a:pt x="1014" y="969"/>
                    </a:lnTo>
                    <a:lnTo>
                      <a:pt x="1014" y="971"/>
                    </a:lnTo>
                    <a:lnTo>
                      <a:pt x="1014" y="973"/>
                    </a:lnTo>
                    <a:lnTo>
                      <a:pt x="1015" y="976"/>
                    </a:lnTo>
                    <a:lnTo>
                      <a:pt x="1015" y="978"/>
                    </a:lnTo>
                    <a:lnTo>
                      <a:pt x="1015" y="978"/>
                    </a:lnTo>
                    <a:lnTo>
                      <a:pt x="1015" y="978"/>
                    </a:lnTo>
                    <a:lnTo>
                      <a:pt x="1015" y="979"/>
                    </a:lnTo>
                    <a:lnTo>
                      <a:pt x="1017" y="979"/>
                    </a:lnTo>
                    <a:lnTo>
                      <a:pt x="1018" y="981"/>
                    </a:lnTo>
                    <a:lnTo>
                      <a:pt x="1018" y="981"/>
                    </a:lnTo>
                    <a:lnTo>
                      <a:pt x="1018" y="982"/>
                    </a:lnTo>
                    <a:lnTo>
                      <a:pt x="1019" y="982"/>
                    </a:lnTo>
                    <a:lnTo>
                      <a:pt x="1019" y="982"/>
                    </a:lnTo>
                    <a:lnTo>
                      <a:pt x="1021" y="982"/>
                    </a:lnTo>
                    <a:lnTo>
                      <a:pt x="1021" y="982"/>
                    </a:lnTo>
                    <a:lnTo>
                      <a:pt x="1022" y="982"/>
                    </a:lnTo>
                    <a:lnTo>
                      <a:pt x="1024" y="982"/>
                    </a:lnTo>
                    <a:lnTo>
                      <a:pt x="1025" y="982"/>
                    </a:lnTo>
                    <a:lnTo>
                      <a:pt x="1025" y="982"/>
                    </a:lnTo>
                    <a:lnTo>
                      <a:pt x="1027" y="983"/>
                    </a:lnTo>
                    <a:lnTo>
                      <a:pt x="1027" y="983"/>
                    </a:lnTo>
                    <a:lnTo>
                      <a:pt x="1027" y="985"/>
                    </a:lnTo>
                    <a:lnTo>
                      <a:pt x="1027" y="985"/>
                    </a:lnTo>
                    <a:lnTo>
                      <a:pt x="1028" y="985"/>
                    </a:lnTo>
                    <a:lnTo>
                      <a:pt x="1028" y="985"/>
                    </a:lnTo>
                    <a:lnTo>
                      <a:pt x="1029" y="985"/>
                    </a:lnTo>
                    <a:lnTo>
                      <a:pt x="1032" y="985"/>
                    </a:lnTo>
                    <a:lnTo>
                      <a:pt x="1032" y="985"/>
                    </a:lnTo>
                    <a:lnTo>
                      <a:pt x="1032" y="985"/>
                    </a:lnTo>
                    <a:lnTo>
                      <a:pt x="1034" y="985"/>
                    </a:lnTo>
                    <a:lnTo>
                      <a:pt x="1034" y="985"/>
                    </a:lnTo>
                    <a:lnTo>
                      <a:pt x="1034" y="985"/>
                    </a:lnTo>
                    <a:lnTo>
                      <a:pt x="1035" y="985"/>
                    </a:lnTo>
                    <a:lnTo>
                      <a:pt x="1035" y="985"/>
                    </a:lnTo>
                    <a:lnTo>
                      <a:pt x="1037" y="985"/>
                    </a:lnTo>
                    <a:lnTo>
                      <a:pt x="1037" y="985"/>
                    </a:lnTo>
                    <a:lnTo>
                      <a:pt x="1038" y="985"/>
                    </a:lnTo>
                    <a:lnTo>
                      <a:pt x="1040" y="983"/>
                    </a:lnTo>
                    <a:lnTo>
                      <a:pt x="1040" y="983"/>
                    </a:lnTo>
                    <a:lnTo>
                      <a:pt x="1041" y="983"/>
                    </a:lnTo>
                    <a:lnTo>
                      <a:pt x="1041" y="983"/>
                    </a:lnTo>
                    <a:lnTo>
                      <a:pt x="1041" y="983"/>
                    </a:lnTo>
                    <a:lnTo>
                      <a:pt x="1042" y="983"/>
                    </a:lnTo>
                    <a:lnTo>
                      <a:pt x="1042" y="983"/>
                    </a:lnTo>
                    <a:lnTo>
                      <a:pt x="1044" y="983"/>
                    </a:lnTo>
                    <a:lnTo>
                      <a:pt x="1045" y="983"/>
                    </a:lnTo>
                    <a:lnTo>
                      <a:pt x="1047" y="983"/>
                    </a:lnTo>
                    <a:lnTo>
                      <a:pt x="1048" y="985"/>
                    </a:lnTo>
                    <a:lnTo>
                      <a:pt x="1051" y="985"/>
                    </a:lnTo>
                    <a:lnTo>
                      <a:pt x="1052" y="986"/>
                    </a:lnTo>
                    <a:lnTo>
                      <a:pt x="1054" y="986"/>
                    </a:lnTo>
                    <a:lnTo>
                      <a:pt x="1054" y="986"/>
                    </a:lnTo>
                    <a:lnTo>
                      <a:pt x="1055" y="986"/>
                    </a:lnTo>
                    <a:lnTo>
                      <a:pt x="1055" y="986"/>
                    </a:lnTo>
                    <a:lnTo>
                      <a:pt x="1057" y="985"/>
                    </a:lnTo>
                    <a:lnTo>
                      <a:pt x="1061" y="986"/>
                    </a:lnTo>
                    <a:lnTo>
                      <a:pt x="1061" y="986"/>
                    </a:lnTo>
                    <a:lnTo>
                      <a:pt x="1063" y="988"/>
                    </a:lnTo>
                    <a:lnTo>
                      <a:pt x="1063" y="988"/>
                    </a:lnTo>
                    <a:lnTo>
                      <a:pt x="1063" y="988"/>
                    </a:lnTo>
                    <a:lnTo>
                      <a:pt x="1063" y="989"/>
                    </a:lnTo>
                    <a:lnTo>
                      <a:pt x="1064" y="989"/>
                    </a:lnTo>
                    <a:lnTo>
                      <a:pt x="1064" y="989"/>
                    </a:lnTo>
                    <a:lnTo>
                      <a:pt x="1065" y="991"/>
                    </a:lnTo>
                    <a:lnTo>
                      <a:pt x="1067" y="991"/>
                    </a:lnTo>
                    <a:lnTo>
                      <a:pt x="1070" y="988"/>
                    </a:lnTo>
                    <a:lnTo>
                      <a:pt x="1070" y="988"/>
                    </a:lnTo>
                    <a:lnTo>
                      <a:pt x="1071" y="986"/>
                    </a:lnTo>
                    <a:lnTo>
                      <a:pt x="1071" y="986"/>
                    </a:lnTo>
                    <a:lnTo>
                      <a:pt x="1073" y="985"/>
                    </a:lnTo>
                    <a:lnTo>
                      <a:pt x="1073" y="985"/>
                    </a:lnTo>
                    <a:lnTo>
                      <a:pt x="1074" y="985"/>
                    </a:lnTo>
                    <a:lnTo>
                      <a:pt x="1075" y="985"/>
                    </a:lnTo>
                    <a:lnTo>
                      <a:pt x="1075" y="985"/>
                    </a:lnTo>
                    <a:lnTo>
                      <a:pt x="1077" y="985"/>
                    </a:lnTo>
                    <a:lnTo>
                      <a:pt x="1077" y="983"/>
                    </a:lnTo>
                    <a:lnTo>
                      <a:pt x="1078" y="983"/>
                    </a:lnTo>
                    <a:lnTo>
                      <a:pt x="1078" y="983"/>
                    </a:lnTo>
                    <a:lnTo>
                      <a:pt x="1080" y="982"/>
                    </a:lnTo>
                    <a:lnTo>
                      <a:pt x="1080" y="982"/>
                    </a:lnTo>
                    <a:lnTo>
                      <a:pt x="1081" y="981"/>
                    </a:lnTo>
                    <a:lnTo>
                      <a:pt x="1081" y="979"/>
                    </a:lnTo>
                    <a:lnTo>
                      <a:pt x="1081" y="979"/>
                    </a:lnTo>
                    <a:lnTo>
                      <a:pt x="1083" y="976"/>
                    </a:lnTo>
                    <a:lnTo>
                      <a:pt x="1083" y="975"/>
                    </a:lnTo>
                    <a:lnTo>
                      <a:pt x="1084" y="972"/>
                    </a:lnTo>
                    <a:lnTo>
                      <a:pt x="1084" y="971"/>
                    </a:lnTo>
                    <a:lnTo>
                      <a:pt x="1084" y="969"/>
                    </a:lnTo>
                    <a:lnTo>
                      <a:pt x="1081" y="968"/>
                    </a:lnTo>
                    <a:lnTo>
                      <a:pt x="1080" y="968"/>
                    </a:lnTo>
                    <a:lnTo>
                      <a:pt x="1080" y="966"/>
                    </a:lnTo>
                    <a:lnTo>
                      <a:pt x="1080" y="966"/>
                    </a:lnTo>
                    <a:lnTo>
                      <a:pt x="1078" y="965"/>
                    </a:lnTo>
                    <a:lnTo>
                      <a:pt x="1078" y="965"/>
                    </a:lnTo>
                    <a:lnTo>
                      <a:pt x="1078" y="963"/>
                    </a:lnTo>
                    <a:lnTo>
                      <a:pt x="1078" y="962"/>
                    </a:lnTo>
                    <a:lnTo>
                      <a:pt x="1078" y="960"/>
                    </a:lnTo>
                    <a:lnTo>
                      <a:pt x="1077" y="958"/>
                    </a:lnTo>
                    <a:lnTo>
                      <a:pt x="1075" y="958"/>
                    </a:lnTo>
                    <a:lnTo>
                      <a:pt x="1075" y="955"/>
                    </a:lnTo>
                    <a:lnTo>
                      <a:pt x="1077" y="955"/>
                    </a:lnTo>
                    <a:lnTo>
                      <a:pt x="1077" y="953"/>
                    </a:lnTo>
                    <a:lnTo>
                      <a:pt x="1077" y="952"/>
                    </a:lnTo>
                    <a:lnTo>
                      <a:pt x="1077" y="950"/>
                    </a:lnTo>
                    <a:lnTo>
                      <a:pt x="1077" y="950"/>
                    </a:lnTo>
                    <a:lnTo>
                      <a:pt x="1077" y="950"/>
                    </a:lnTo>
                    <a:lnTo>
                      <a:pt x="1077" y="950"/>
                    </a:lnTo>
                    <a:lnTo>
                      <a:pt x="1077" y="949"/>
                    </a:lnTo>
                    <a:lnTo>
                      <a:pt x="1078" y="948"/>
                    </a:lnTo>
                    <a:lnTo>
                      <a:pt x="1078" y="946"/>
                    </a:lnTo>
                    <a:lnTo>
                      <a:pt x="1080" y="945"/>
                    </a:lnTo>
                    <a:lnTo>
                      <a:pt x="1081" y="945"/>
                    </a:lnTo>
                    <a:lnTo>
                      <a:pt x="1083" y="945"/>
                    </a:lnTo>
                    <a:lnTo>
                      <a:pt x="1083" y="943"/>
                    </a:lnTo>
                    <a:lnTo>
                      <a:pt x="1084" y="940"/>
                    </a:lnTo>
                    <a:lnTo>
                      <a:pt x="1084" y="939"/>
                    </a:lnTo>
                    <a:lnTo>
                      <a:pt x="1085" y="937"/>
                    </a:lnTo>
                    <a:lnTo>
                      <a:pt x="1091" y="935"/>
                    </a:lnTo>
                    <a:lnTo>
                      <a:pt x="1093" y="932"/>
                    </a:lnTo>
                    <a:lnTo>
                      <a:pt x="1093" y="930"/>
                    </a:lnTo>
                    <a:lnTo>
                      <a:pt x="1094" y="930"/>
                    </a:lnTo>
                    <a:lnTo>
                      <a:pt x="1094" y="929"/>
                    </a:lnTo>
                    <a:lnTo>
                      <a:pt x="1094" y="929"/>
                    </a:lnTo>
                    <a:lnTo>
                      <a:pt x="1094" y="927"/>
                    </a:lnTo>
                    <a:lnTo>
                      <a:pt x="1096" y="929"/>
                    </a:lnTo>
                    <a:lnTo>
                      <a:pt x="1097" y="930"/>
                    </a:lnTo>
                    <a:lnTo>
                      <a:pt x="1097" y="930"/>
                    </a:lnTo>
                    <a:lnTo>
                      <a:pt x="1098" y="930"/>
                    </a:lnTo>
                    <a:lnTo>
                      <a:pt x="1098" y="930"/>
                    </a:lnTo>
                    <a:lnTo>
                      <a:pt x="1100" y="930"/>
                    </a:lnTo>
                    <a:lnTo>
                      <a:pt x="1101" y="932"/>
                    </a:lnTo>
                    <a:lnTo>
                      <a:pt x="1103" y="933"/>
                    </a:lnTo>
                    <a:lnTo>
                      <a:pt x="1104" y="933"/>
                    </a:lnTo>
                    <a:lnTo>
                      <a:pt x="1107" y="933"/>
                    </a:lnTo>
                    <a:lnTo>
                      <a:pt x="1108" y="935"/>
                    </a:lnTo>
                    <a:lnTo>
                      <a:pt x="1113" y="937"/>
                    </a:lnTo>
                    <a:lnTo>
                      <a:pt x="1114" y="937"/>
                    </a:lnTo>
                    <a:lnTo>
                      <a:pt x="1119" y="937"/>
                    </a:lnTo>
                    <a:lnTo>
                      <a:pt x="1120" y="937"/>
                    </a:lnTo>
                    <a:lnTo>
                      <a:pt x="1123" y="937"/>
                    </a:lnTo>
                    <a:lnTo>
                      <a:pt x="1124" y="939"/>
                    </a:lnTo>
                    <a:lnTo>
                      <a:pt x="1126" y="939"/>
                    </a:lnTo>
                    <a:lnTo>
                      <a:pt x="1131" y="942"/>
                    </a:lnTo>
                    <a:lnTo>
                      <a:pt x="1136" y="943"/>
                    </a:lnTo>
                    <a:lnTo>
                      <a:pt x="1137" y="945"/>
                    </a:lnTo>
                    <a:lnTo>
                      <a:pt x="1139" y="945"/>
                    </a:lnTo>
                    <a:lnTo>
                      <a:pt x="1141" y="945"/>
                    </a:lnTo>
                    <a:lnTo>
                      <a:pt x="1144" y="945"/>
                    </a:lnTo>
                    <a:lnTo>
                      <a:pt x="1147" y="946"/>
                    </a:lnTo>
                    <a:lnTo>
                      <a:pt x="1150" y="948"/>
                    </a:lnTo>
                    <a:lnTo>
                      <a:pt x="1152" y="948"/>
                    </a:lnTo>
                    <a:lnTo>
                      <a:pt x="1152" y="948"/>
                    </a:lnTo>
                    <a:lnTo>
                      <a:pt x="1152" y="949"/>
                    </a:lnTo>
                    <a:lnTo>
                      <a:pt x="1152" y="949"/>
                    </a:lnTo>
                    <a:lnTo>
                      <a:pt x="1152" y="950"/>
                    </a:lnTo>
                    <a:lnTo>
                      <a:pt x="1152" y="950"/>
                    </a:lnTo>
                    <a:lnTo>
                      <a:pt x="1152" y="952"/>
                    </a:lnTo>
                    <a:lnTo>
                      <a:pt x="1152" y="953"/>
                    </a:lnTo>
                    <a:lnTo>
                      <a:pt x="1152" y="953"/>
                    </a:lnTo>
                    <a:lnTo>
                      <a:pt x="1152" y="955"/>
                    </a:lnTo>
                    <a:lnTo>
                      <a:pt x="1153" y="956"/>
                    </a:lnTo>
                    <a:lnTo>
                      <a:pt x="1153" y="956"/>
                    </a:lnTo>
                    <a:lnTo>
                      <a:pt x="1153" y="958"/>
                    </a:lnTo>
                    <a:lnTo>
                      <a:pt x="1153" y="959"/>
                    </a:lnTo>
                    <a:lnTo>
                      <a:pt x="1153" y="962"/>
                    </a:lnTo>
                    <a:lnTo>
                      <a:pt x="1153" y="962"/>
                    </a:lnTo>
                    <a:lnTo>
                      <a:pt x="1153" y="963"/>
                    </a:lnTo>
                    <a:lnTo>
                      <a:pt x="1154" y="963"/>
                    </a:lnTo>
                    <a:lnTo>
                      <a:pt x="1154" y="963"/>
                    </a:lnTo>
                    <a:lnTo>
                      <a:pt x="1154" y="965"/>
                    </a:lnTo>
                    <a:lnTo>
                      <a:pt x="1154" y="966"/>
                    </a:lnTo>
                    <a:lnTo>
                      <a:pt x="1154" y="966"/>
                    </a:lnTo>
                    <a:lnTo>
                      <a:pt x="1154" y="968"/>
                    </a:lnTo>
                    <a:lnTo>
                      <a:pt x="1154" y="968"/>
                    </a:lnTo>
                    <a:lnTo>
                      <a:pt x="1154" y="969"/>
                    </a:lnTo>
                    <a:lnTo>
                      <a:pt x="1154" y="969"/>
                    </a:lnTo>
                    <a:lnTo>
                      <a:pt x="1156" y="969"/>
                    </a:lnTo>
                    <a:lnTo>
                      <a:pt x="1157" y="969"/>
                    </a:lnTo>
                    <a:lnTo>
                      <a:pt x="1159" y="971"/>
                    </a:lnTo>
                    <a:lnTo>
                      <a:pt x="1160" y="972"/>
                    </a:lnTo>
                    <a:lnTo>
                      <a:pt x="1160" y="972"/>
                    </a:lnTo>
                    <a:lnTo>
                      <a:pt x="1162" y="973"/>
                    </a:lnTo>
                    <a:lnTo>
                      <a:pt x="1162" y="973"/>
                    </a:lnTo>
                    <a:lnTo>
                      <a:pt x="1163" y="973"/>
                    </a:lnTo>
                    <a:lnTo>
                      <a:pt x="1164" y="975"/>
                    </a:lnTo>
                    <a:lnTo>
                      <a:pt x="1166" y="975"/>
                    </a:lnTo>
                    <a:lnTo>
                      <a:pt x="1167" y="975"/>
                    </a:lnTo>
                    <a:lnTo>
                      <a:pt x="1170" y="976"/>
                    </a:lnTo>
                    <a:lnTo>
                      <a:pt x="1170" y="976"/>
                    </a:lnTo>
                    <a:lnTo>
                      <a:pt x="1170" y="976"/>
                    </a:lnTo>
                    <a:lnTo>
                      <a:pt x="1172" y="976"/>
                    </a:lnTo>
                    <a:lnTo>
                      <a:pt x="1172" y="978"/>
                    </a:lnTo>
                    <a:lnTo>
                      <a:pt x="1172" y="978"/>
                    </a:lnTo>
                    <a:lnTo>
                      <a:pt x="1173" y="978"/>
                    </a:lnTo>
                    <a:lnTo>
                      <a:pt x="1176" y="979"/>
                    </a:lnTo>
                    <a:lnTo>
                      <a:pt x="1177" y="979"/>
                    </a:lnTo>
                    <a:lnTo>
                      <a:pt x="1179" y="979"/>
                    </a:lnTo>
                    <a:lnTo>
                      <a:pt x="1180" y="979"/>
                    </a:lnTo>
                    <a:lnTo>
                      <a:pt x="1180" y="979"/>
                    </a:lnTo>
                    <a:lnTo>
                      <a:pt x="1182" y="979"/>
                    </a:lnTo>
                    <a:lnTo>
                      <a:pt x="1183" y="979"/>
                    </a:lnTo>
                    <a:lnTo>
                      <a:pt x="1183" y="979"/>
                    </a:lnTo>
                    <a:lnTo>
                      <a:pt x="1185" y="979"/>
                    </a:lnTo>
                    <a:lnTo>
                      <a:pt x="1186" y="979"/>
                    </a:lnTo>
                    <a:lnTo>
                      <a:pt x="1186" y="979"/>
                    </a:lnTo>
                    <a:lnTo>
                      <a:pt x="1187" y="979"/>
                    </a:lnTo>
                    <a:lnTo>
                      <a:pt x="1189" y="978"/>
                    </a:lnTo>
                    <a:lnTo>
                      <a:pt x="1189" y="978"/>
                    </a:lnTo>
                    <a:lnTo>
                      <a:pt x="1190" y="976"/>
                    </a:lnTo>
                    <a:lnTo>
                      <a:pt x="1190" y="976"/>
                    </a:lnTo>
                    <a:lnTo>
                      <a:pt x="1190" y="976"/>
                    </a:lnTo>
                    <a:lnTo>
                      <a:pt x="1192" y="975"/>
                    </a:lnTo>
                    <a:lnTo>
                      <a:pt x="1192" y="975"/>
                    </a:lnTo>
                    <a:lnTo>
                      <a:pt x="1193" y="975"/>
                    </a:lnTo>
                    <a:lnTo>
                      <a:pt x="1195" y="975"/>
                    </a:lnTo>
                    <a:lnTo>
                      <a:pt x="1196" y="975"/>
                    </a:lnTo>
                    <a:lnTo>
                      <a:pt x="1196" y="975"/>
                    </a:lnTo>
                    <a:lnTo>
                      <a:pt x="1202" y="973"/>
                    </a:lnTo>
                    <a:lnTo>
                      <a:pt x="1202" y="973"/>
                    </a:lnTo>
                    <a:lnTo>
                      <a:pt x="1203" y="973"/>
                    </a:lnTo>
                    <a:lnTo>
                      <a:pt x="1203" y="973"/>
                    </a:lnTo>
                    <a:lnTo>
                      <a:pt x="1203" y="973"/>
                    </a:lnTo>
                    <a:lnTo>
                      <a:pt x="1205" y="972"/>
                    </a:lnTo>
                    <a:lnTo>
                      <a:pt x="1206" y="972"/>
                    </a:lnTo>
                    <a:lnTo>
                      <a:pt x="1208" y="971"/>
                    </a:lnTo>
                    <a:lnTo>
                      <a:pt x="1209" y="971"/>
                    </a:lnTo>
                    <a:lnTo>
                      <a:pt x="1212" y="972"/>
                    </a:lnTo>
                    <a:lnTo>
                      <a:pt x="1213" y="972"/>
                    </a:lnTo>
                    <a:lnTo>
                      <a:pt x="1218" y="972"/>
                    </a:lnTo>
                    <a:lnTo>
                      <a:pt x="1222" y="975"/>
                    </a:lnTo>
                    <a:lnTo>
                      <a:pt x="1223" y="975"/>
                    </a:lnTo>
                    <a:lnTo>
                      <a:pt x="1223" y="975"/>
                    </a:lnTo>
                    <a:lnTo>
                      <a:pt x="1223" y="975"/>
                    </a:lnTo>
                    <a:lnTo>
                      <a:pt x="1225" y="975"/>
                    </a:lnTo>
                    <a:lnTo>
                      <a:pt x="1228" y="975"/>
                    </a:lnTo>
                    <a:lnTo>
                      <a:pt x="1229" y="975"/>
                    </a:lnTo>
                    <a:lnTo>
                      <a:pt x="1232" y="975"/>
                    </a:lnTo>
                    <a:lnTo>
                      <a:pt x="1233" y="976"/>
                    </a:lnTo>
                    <a:lnTo>
                      <a:pt x="1235" y="976"/>
                    </a:lnTo>
                    <a:lnTo>
                      <a:pt x="1236" y="978"/>
                    </a:lnTo>
                    <a:lnTo>
                      <a:pt x="1238" y="981"/>
                    </a:lnTo>
                    <a:lnTo>
                      <a:pt x="1241" y="983"/>
                    </a:lnTo>
                    <a:lnTo>
                      <a:pt x="1241" y="983"/>
                    </a:lnTo>
                    <a:lnTo>
                      <a:pt x="1242" y="983"/>
                    </a:lnTo>
                    <a:lnTo>
                      <a:pt x="1242" y="983"/>
                    </a:lnTo>
                    <a:lnTo>
                      <a:pt x="1243" y="983"/>
                    </a:lnTo>
                    <a:lnTo>
                      <a:pt x="1248" y="983"/>
                    </a:lnTo>
                    <a:lnTo>
                      <a:pt x="1252" y="985"/>
                    </a:lnTo>
                    <a:lnTo>
                      <a:pt x="1254" y="985"/>
                    </a:lnTo>
                    <a:lnTo>
                      <a:pt x="1254" y="988"/>
                    </a:lnTo>
                    <a:lnTo>
                      <a:pt x="1254" y="991"/>
                    </a:lnTo>
                    <a:lnTo>
                      <a:pt x="1254" y="991"/>
                    </a:lnTo>
                    <a:lnTo>
                      <a:pt x="1254" y="992"/>
                    </a:lnTo>
                    <a:lnTo>
                      <a:pt x="1254" y="992"/>
                    </a:lnTo>
                    <a:lnTo>
                      <a:pt x="1255" y="992"/>
                    </a:lnTo>
                    <a:lnTo>
                      <a:pt x="1255" y="992"/>
                    </a:lnTo>
                    <a:lnTo>
                      <a:pt x="1255" y="994"/>
                    </a:lnTo>
                    <a:lnTo>
                      <a:pt x="1255" y="994"/>
                    </a:lnTo>
                    <a:lnTo>
                      <a:pt x="1256" y="994"/>
                    </a:lnTo>
                    <a:lnTo>
                      <a:pt x="1256" y="995"/>
                    </a:lnTo>
                    <a:lnTo>
                      <a:pt x="1258" y="995"/>
                    </a:lnTo>
                    <a:lnTo>
                      <a:pt x="1259" y="996"/>
                    </a:lnTo>
                    <a:lnTo>
                      <a:pt x="1262" y="999"/>
                    </a:lnTo>
                    <a:lnTo>
                      <a:pt x="1264" y="1001"/>
                    </a:lnTo>
                    <a:lnTo>
                      <a:pt x="1265" y="1001"/>
                    </a:lnTo>
                    <a:lnTo>
                      <a:pt x="1266" y="1001"/>
                    </a:lnTo>
                    <a:lnTo>
                      <a:pt x="1268" y="1001"/>
                    </a:lnTo>
                    <a:lnTo>
                      <a:pt x="1271" y="1001"/>
                    </a:lnTo>
                    <a:lnTo>
                      <a:pt x="1275" y="1001"/>
                    </a:lnTo>
                    <a:lnTo>
                      <a:pt x="1276" y="1001"/>
                    </a:lnTo>
                    <a:lnTo>
                      <a:pt x="1278" y="1001"/>
                    </a:lnTo>
                    <a:lnTo>
                      <a:pt x="1279" y="1001"/>
                    </a:lnTo>
                    <a:lnTo>
                      <a:pt x="1279" y="1001"/>
                    </a:lnTo>
                    <a:lnTo>
                      <a:pt x="1281" y="1002"/>
                    </a:lnTo>
                    <a:lnTo>
                      <a:pt x="1281" y="1002"/>
                    </a:lnTo>
                    <a:lnTo>
                      <a:pt x="1288" y="1004"/>
                    </a:lnTo>
                    <a:lnTo>
                      <a:pt x="1291" y="1004"/>
                    </a:lnTo>
                    <a:lnTo>
                      <a:pt x="1294" y="1005"/>
                    </a:lnTo>
                    <a:lnTo>
                      <a:pt x="1297" y="1004"/>
                    </a:lnTo>
                    <a:lnTo>
                      <a:pt x="1298" y="1004"/>
                    </a:lnTo>
                    <a:lnTo>
                      <a:pt x="1299" y="1004"/>
                    </a:lnTo>
                    <a:lnTo>
                      <a:pt x="1301" y="1005"/>
                    </a:lnTo>
                    <a:lnTo>
                      <a:pt x="1302" y="1005"/>
                    </a:lnTo>
                    <a:lnTo>
                      <a:pt x="1304" y="1005"/>
                    </a:lnTo>
                    <a:lnTo>
                      <a:pt x="1305" y="1005"/>
                    </a:lnTo>
                    <a:lnTo>
                      <a:pt x="1310" y="1002"/>
                    </a:lnTo>
                    <a:lnTo>
                      <a:pt x="1311" y="1001"/>
                    </a:lnTo>
                    <a:lnTo>
                      <a:pt x="1312" y="1001"/>
                    </a:lnTo>
                    <a:lnTo>
                      <a:pt x="1314" y="1001"/>
                    </a:lnTo>
                    <a:lnTo>
                      <a:pt x="1315" y="1001"/>
                    </a:lnTo>
                    <a:lnTo>
                      <a:pt x="1315" y="1001"/>
                    </a:lnTo>
                    <a:lnTo>
                      <a:pt x="1315" y="999"/>
                    </a:lnTo>
                    <a:lnTo>
                      <a:pt x="1317" y="999"/>
                    </a:lnTo>
                    <a:lnTo>
                      <a:pt x="1318" y="999"/>
                    </a:lnTo>
                    <a:lnTo>
                      <a:pt x="1320" y="999"/>
                    </a:lnTo>
                    <a:lnTo>
                      <a:pt x="1325" y="998"/>
                    </a:lnTo>
                    <a:lnTo>
                      <a:pt x="1327" y="998"/>
                    </a:lnTo>
                    <a:lnTo>
                      <a:pt x="1332" y="995"/>
                    </a:lnTo>
                    <a:lnTo>
                      <a:pt x="1334" y="995"/>
                    </a:lnTo>
                    <a:lnTo>
                      <a:pt x="1334" y="995"/>
                    </a:lnTo>
                    <a:lnTo>
                      <a:pt x="1335" y="995"/>
                    </a:lnTo>
                    <a:lnTo>
                      <a:pt x="1335" y="995"/>
                    </a:lnTo>
                    <a:lnTo>
                      <a:pt x="1337" y="996"/>
                    </a:lnTo>
                    <a:lnTo>
                      <a:pt x="1337" y="996"/>
                    </a:lnTo>
                    <a:lnTo>
                      <a:pt x="1338" y="996"/>
                    </a:lnTo>
                    <a:lnTo>
                      <a:pt x="1340" y="995"/>
                    </a:lnTo>
                    <a:lnTo>
                      <a:pt x="1341" y="994"/>
                    </a:lnTo>
                    <a:lnTo>
                      <a:pt x="1343" y="994"/>
                    </a:lnTo>
                    <a:lnTo>
                      <a:pt x="1344" y="992"/>
                    </a:lnTo>
                    <a:lnTo>
                      <a:pt x="1344" y="991"/>
                    </a:lnTo>
                    <a:lnTo>
                      <a:pt x="1345" y="989"/>
                    </a:lnTo>
                    <a:lnTo>
                      <a:pt x="1345" y="989"/>
                    </a:lnTo>
                    <a:lnTo>
                      <a:pt x="1350" y="986"/>
                    </a:lnTo>
                    <a:lnTo>
                      <a:pt x="1353" y="983"/>
                    </a:lnTo>
                    <a:lnTo>
                      <a:pt x="1354" y="982"/>
                    </a:lnTo>
                    <a:lnTo>
                      <a:pt x="1355" y="982"/>
                    </a:lnTo>
                    <a:lnTo>
                      <a:pt x="1357" y="981"/>
                    </a:lnTo>
                    <a:lnTo>
                      <a:pt x="1358" y="981"/>
                    </a:lnTo>
                    <a:lnTo>
                      <a:pt x="1360" y="979"/>
                    </a:lnTo>
                    <a:lnTo>
                      <a:pt x="1361" y="978"/>
                    </a:lnTo>
                    <a:lnTo>
                      <a:pt x="1363" y="976"/>
                    </a:lnTo>
                    <a:lnTo>
                      <a:pt x="1364" y="976"/>
                    </a:lnTo>
                    <a:lnTo>
                      <a:pt x="1367" y="976"/>
                    </a:lnTo>
                    <a:lnTo>
                      <a:pt x="1368" y="976"/>
                    </a:lnTo>
                    <a:lnTo>
                      <a:pt x="1371" y="978"/>
                    </a:lnTo>
                    <a:lnTo>
                      <a:pt x="1373" y="978"/>
                    </a:lnTo>
                    <a:lnTo>
                      <a:pt x="1376" y="979"/>
                    </a:lnTo>
                    <a:lnTo>
                      <a:pt x="1377" y="979"/>
                    </a:lnTo>
                    <a:lnTo>
                      <a:pt x="1380" y="982"/>
                    </a:lnTo>
                    <a:lnTo>
                      <a:pt x="1381" y="983"/>
                    </a:lnTo>
                    <a:lnTo>
                      <a:pt x="1381" y="983"/>
                    </a:lnTo>
                    <a:lnTo>
                      <a:pt x="1383" y="985"/>
                    </a:lnTo>
                    <a:lnTo>
                      <a:pt x="1383" y="985"/>
                    </a:lnTo>
                    <a:lnTo>
                      <a:pt x="1383" y="985"/>
                    </a:lnTo>
                    <a:lnTo>
                      <a:pt x="1384" y="985"/>
                    </a:lnTo>
                    <a:lnTo>
                      <a:pt x="1384" y="986"/>
                    </a:lnTo>
                    <a:lnTo>
                      <a:pt x="1386" y="986"/>
                    </a:lnTo>
                    <a:lnTo>
                      <a:pt x="1387" y="986"/>
                    </a:lnTo>
                    <a:lnTo>
                      <a:pt x="1389" y="986"/>
                    </a:lnTo>
                    <a:lnTo>
                      <a:pt x="1389" y="986"/>
                    </a:lnTo>
                    <a:lnTo>
                      <a:pt x="1390" y="986"/>
                    </a:lnTo>
                    <a:lnTo>
                      <a:pt x="1391" y="986"/>
                    </a:lnTo>
                    <a:lnTo>
                      <a:pt x="1394" y="985"/>
                    </a:lnTo>
                    <a:lnTo>
                      <a:pt x="1397" y="983"/>
                    </a:lnTo>
                    <a:lnTo>
                      <a:pt x="1397" y="983"/>
                    </a:lnTo>
                    <a:lnTo>
                      <a:pt x="1399" y="983"/>
                    </a:lnTo>
                    <a:lnTo>
                      <a:pt x="1401" y="983"/>
                    </a:lnTo>
                    <a:lnTo>
                      <a:pt x="1403" y="985"/>
                    </a:lnTo>
                    <a:lnTo>
                      <a:pt x="1404" y="985"/>
                    </a:lnTo>
                    <a:lnTo>
                      <a:pt x="1404" y="985"/>
                    </a:lnTo>
                    <a:lnTo>
                      <a:pt x="1406" y="986"/>
                    </a:lnTo>
                    <a:lnTo>
                      <a:pt x="1406" y="986"/>
                    </a:lnTo>
                    <a:lnTo>
                      <a:pt x="1407" y="988"/>
                    </a:lnTo>
                    <a:lnTo>
                      <a:pt x="1409" y="989"/>
                    </a:lnTo>
                    <a:lnTo>
                      <a:pt x="1411" y="991"/>
                    </a:lnTo>
                    <a:lnTo>
                      <a:pt x="1413" y="991"/>
                    </a:lnTo>
                    <a:lnTo>
                      <a:pt x="1426" y="995"/>
                    </a:lnTo>
                    <a:lnTo>
                      <a:pt x="1427" y="995"/>
                    </a:lnTo>
                    <a:lnTo>
                      <a:pt x="1429" y="995"/>
                    </a:lnTo>
                    <a:lnTo>
                      <a:pt x="1432" y="994"/>
                    </a:lnTo>
                    <a:lnTo>
                      <a:pt x="1439" y="988"/>
                    </a:lnTo>
                    <a:lnTo>
                      <a:pt x="1443" y="985"/>
                    </a:lnTo>
                    <a:lnTo>
                      <a:pt x="1447" y="983"/>
                    </a:lnTo>
                    <a:lnTo>
                      <a:pt x="1450" y="983"/>
                    </a:lnTo>
                    <a:lnTo>
                      <a:pt x="1452" y="982"/>
                    </a:lnTo>
                    <a:lnTo>
                      <a:pt x="1452" y="982"/>
                    </a:lnTo>
                    <a:lnTo>
                      <a:pt x="1453" y="982"/>
                    </a:lnTo>
                    <a:lnTo>
                      <a:pt x="1453" y="981"/>
                    </a:lnTo>
                    <a:lnTo>
                      <a:pt x="1453" y="981"/>
                    </a:lnTo>
                    <a:lnTo>
                      <a:pt x="1453" y="979"/>
                    </a:lnTo>
                    <a:lnTo>
                      <a:pt x="1453" y="979"/>
                    </a:lnTo>
                    <a:lnTo>
                      <a:pt x="1455" y="978"/>
                    </a:lnTo>
                    <a:lnTo>
                      <a:pt x="1455" y="978"/>
                    </a:lnTo>
                    <a:lnTo>
                      <a:pt x="1455" y="976"/>
                    </a:lnTo>
                    <a:lnTo>
                      <a:pt x="1455" y="976"/>
                    </a:lnTo>
                    <a:lnTo>
                      <a:pt x="1455" y="976"/>
                    </a:lnTo>
                    <a:lnTo>
                      <a:pt x="1453" y="975"/>
                    </a:lnTo>
                    <a:lnTo>
                      <a:pt x="1453" y="975"/>
                    </a:lnTo>
                    <a:lnTo>
                      <a:pt x="1453" y="973"/>
                    </a:lnTo>
                    <a:lnTo>
                      <a:pt x="1453" y="973"/>
                    </a:lnTo>
                    <a:lnTo>
                      <a:pt x="1452" y="973"/>
                    </a:lnTo>
                    <a:lnTo>
                      <a:pt x="1452" y="973"/>
                    </a:lnTo>
                    <a:lnTo>
                      <a:pt x="1450" y="972"/>
                    </a:lnTo>
                    <a:lnTo>
                      <a:pt x="1452" y="972"/>
                    </a:lnTo>
                    <a:lnTo>
                      <a:pt x="1452" y="971"/>
                    </a:lnTo>
                    <a:lnTo>
                      <a:pt x="1453" y="971"/>
                    </a:lnTo>
                    <a:lnTo>
                      <a:pt x="1453" y="969"/>
                    </a:lnTo>
                    <a:lnTo>
                      <a:pt x="1453" y="969"/>
                    </a:lnTo>
                    <a:lnTo>
                      <a:pt x="1453" y="968"/>
                    </a:lnTo>
                    <a:lnTo>
                      <a:pt x="1456" y="963"/>
                    </a:lnTo>
                    <a:lnTo>
                      <a:pt x="1457" y="962"/>
                    </a:lnTo>
                    <a:lnTo>
                      <a:pt x="1457" y="962"/>
                    </a:lnTo>
                    <a:lnTo>
                      <a:pt x="1457" y="960"/>
                    </a:lnTo>
                    <a:lnTo>
                      <a:pt x="1457" y="959"/>
                    </a:lnTo>
                    <a:lnTo>
                      <a:pt x="1457" y="959"/>
                    </a:lnTo>
                    <a:lnTo>
                      <a:pt x="1457" y="958"/>
                    </a:lnTo>
                    <a:lnTo>
                      <a:pt x="1459" y="958"/>
                    </a:lnTo>
                    <a:lnTo>
                      <a:pt x="1460" y="956"/>
                    </a:lnTo>
                    <a:lnTo>
                      <a:pt x="1460" y="955"/>
                    </a:lnTo>
                    <a:lnTo>
                      <a:pt x="1460" y="955"/>
                    </a:lnTo>
                    <a:lnTo>
                      <a:pt x="1462" y="953"/>
                    </a:lnTo>
                    <a:lnTo>
                      <a:pt x="1462" y="952"/>
                    </a:lnTo>
                    <a:lnTo>
                      <a:pt x="1462" y="952"/>
                    </a:lnTo>
                    <a:lnTo>
                      <a:pt x="1462" y="950"/>
                    </a:lnTo>
                    <a:lnTo>
                      <a:pt x="1462" y="949"/>
                    </a:lnTo>
                    <a:lnTo>
                      <a:pt x="1463" y="948"/>
                    </a:lnTo>
                    <a:lnTo>
                      <a:pt x="1465" y="946"/>
                    </a:lnTo>
                    <a:lnTo>
                      <a:pt x="1466" y="945"/>
                    </a:lnTo>
                    <a:lnTo>
                      <a:pt x="1466" y="940"/>
                    </a:lnTo>
                    <a:lnTo>
                      <a:pt x="1469" y="939"/>
                    </a:lnTo>
                    <a:lnTo>
                      <a:pt x="1470" y="937"/>
                    </a:lnTo>
                    <a:lnTo>
                      <a:pt x="1472" y="936"/>
                    </a:lnTo>
                    <a:lnTo>
                      <a:pt x="1473" y="936"/>
                    </a:lnTo>
                    <a:lnTo>
                      <a:pt x="1475" y="935"/>
                    </a:lnTo>
                    <a:lnTo>
                      <a:pt x="1475" y="935"/>
                    </a:lnTo>
                    <a:lnTo>
                      <a:pt x="1476" y="933"/>
                    </a:lnTo>
                    <a:lnTo>
                      <a:pt x="1476" y="932"/>
                    </a:lnTo>
                    <a:lnTo>
                      <a:pt x="1478" y="932"/>
                    </a:lnTo>
                    <a:lnTo>
                      <a:pt x="1478" y="930"/>
                    </a:lnTo>
                    <a:lnTo>
                      <a:pt x="1478" y="930"/>
                    </a:lnTo>
                    <a:lnTo>
                      <a:pt x="1479" y="929"/>
                    </a:lnTo>
                    <a:lnTo>
                      <a:pt x="1479" y="927"/>
                    </a:lnTo>
                    <a:lnTo>
                      <a:pt x="1479" y="927"/>
                    </a:lnTo>
                    <a:lnTo>
                      <a:pt x="1479" y="926"/>
                    </a:lnTo>
                    <a:lnTo>
                      <a:pt x="1478" y="923"/>
                    </a:lnTo>
                    <a:lnTo>
                      <a:pt x="1478" y="922"/>
                    </a:lnTo>
                    <a:lnTo>
                      <a:pt x="1478" y="920"/>
                    </a:lnTo>
                    <a:lnTo>
                      <a:pt x="1478" y="919"/>
                    </a:lnTo>
                    <a:lnTo>
                      <a:pt x="1478" y="916"/>
                    </a:lnTo>
                    <a:lnTo>
                      <a:pt x="1475" y="916"/>
                    </a:lnTo>
                    <a:lnTo>
                      <a:pt x="1472" y="914"/>
                    </a:lnTo>
                    <a:lnTo>
                      <a:pt x="1470" y="916"/>
                    </a:lnTo>
                    <a:lnTo>
                      <a:pt x="1469" y="916"/>
                    </a:lnTo>
                    <a:lnTo>
                      <a:pt x="1467" y="916"/>
                    </a:lnTo>
                    <a:lnTo>
                      <a:pt x="1467" y="914"/>
                    </a:lnTo>
                    <a:lnTo>
                      <a:pt x="1466" y="914"/>
                    </a:lnTo>
                    <a:lnTo>
                      <a:pt x="1466" y="913"/>
                    </a:lnTo>
                    <a:lnTo>
                      <a:pt x="1467" y="912"/>
                    </a:lnTo>
                    <a:lnTo>
                      <a:pt x="1469" y="910"/>
                    </a:lnTo>
                    <a:lnTo>
                      <a:pt x="1470" y="910"/>
                    </a:lnTo>
                    <a:lnTo>
                      <a:pt x="1472" y="909"/>
                    </a:lnTo>
                    <a:lnTo>
                      <a:pt x="1478" y="902"/>
                    </a:lnTo>
                    <a:lnTo>
                      <a:pt x="1480" y="900"/>
                    </a:lnTo>
                    <a:lnTo>
                      <a:pt x="1483" y="899"/>
                    </a:lnTo>
                    <a:lnTo>
                      <a:pt x="1486" y="899"/>
                    </a:lnTo>
                    <a:lnTo>
                      <a:pt x="1490" y="899"/>
                    </a:lnTo>
                    <a:lnTo>
                      <a:pt x="1506" y="894"/>
                    </a:lnTo>
                    <a:lnTo>
                      <a:pt x="1509" y="894"/>
                    </a:lnTo>
                    <a:lnTo>
                      <a:pt x="1512" y="894"/>
                    </a:lnTo>
                    <a:lnTo>
                      <a:pt x="1513" y="894"/>
                    </a:lnTo>
                    <a:lnTo>
                      <a:pt x="1516" y="894"/>
                    </a:lnTo>
                    <a:lnTo>
                      <a:pt x="1518" y="894"/>
                    </a:lnTo>
                    <a:lnTo>
                      <a:pt x="1519" y="893"/>
                    </a:lnTo>
                    <a:lnTo>
                      <a:pt x="1521" y="893"/>
                    </a:lnTo>
                    <a:lnTo>
                      <a:pt x="1522" y="893"/>
                    </a:lnTo>
                    <a:lnTo>
                      <a:pt x="1524" y="893"/>
                    </a:lnTo>
                    <a:lnTo>
                      <a:pt x="1525" y="893"/>
                    </a:lnTo>
                    <a:lnTo>
                      <a:pt x="1525" y="893"/>
                    </a:lnTo>
                    <a:lnTo>
                      <a:pt x="1526" y="893"/>
                    </a:lnTo>
                    <a:lnTo>
                      <a:pt x="1526" y="893"/>
                    </a:lnTo>
                    <a:lnTo>
                      <a:pt x="1528" y="893"/>
                    </a:lnTo>
                    <a:lnTo>
                      <a:pt x="1529" y="893"/>
                    </a:lnTo>
                    <a:lnTo>
                      <a:pt x="1529" y="893"/>
                    </a:lnTo>
                    <a:lnTo>
                      <a:pt x="1531" y="893"/>
                    </a:lnTo>
                    <a:lnTo>
                      <a:pt x="1531" y="893"/>
                    </a:lnTo>
                    <a:lnTo>
                      <a:pt x="1536" y="896"/>
                    </a:lnTo>
                    <a:lnTo>
                      <a:pt x="1536" y="897"/>
                    </a:lnTo>
                    <a:lnTo>
                      <a:pt x="1538" y="897"/>
                    </a:lnTo>
                    <a:lnTo>
                      <a:pt x="1541" y="897"/>
                    </a:lnTo>
                    <a:lnTo>
                      <a:pt x="1542" y="900"/>
                    </a:lnTo>
                    <a:lnTo>
                      <a:pt x="1544" y="900"/>
                    </a:lnTo>
                    <a:lnTo>
                      <a:pt x="1546" y="902"/>
                    </a:lnTo>
                    <a:lnTo>
                      <a:pt x="1549" y="903"/>
                    </a:lnTo>
                    <a:lnTo>
                      <a:pt x="1551" y="903"/>
                    </a:lnTo>
                    <a:lnTo>
                      <a:pt x="1552" y="902"/>
                    </a:lnTo>
                    <a:lnTo>
                      <a:pt x="1554" y="902"/>
                    </a:lnTo>
                    <a:lnTo>
                      <a:pt x="1555" y="902"/>
                    </a:lnTo>
                    <a:lnTo>
                      <a:pt x="1557" y="902"/>
                    </a:lnTo>
                    <a:lnTo>
                      <a:pt x="1558" y="902"/>
                    </a:lnTo>
                    <a:lnTo>
                      <a:pt x="1559" y="903"/>
                    </a:lnTo>
                    <a:lnTo>
                      <a:pt x="1561" y="904"/>
                    </a:lnTo>
                    <a:lnTo>
                      <a:pt x="1564" y="904"/>
                    </a:lnTo>
                    <a:lnTo>
                      <a:pt x="1565" y="906"/>
                    </a:lnTo>
                    <a:lnTo>
                      <a:pt x="1567" y="909"/>
                    </a:lnTo>
                    <a:lnTo>
                      <a:pt x="1569" y="909"/>
                    </a:lnTo>
                    <a:lnTo>
                      <a:pt x="1569" y="910"/>
                    </a:lnTo>
                    <a:lnTo>
                      <a:pt x="1571" y="912"/>
                    </a:lnTo>
                    <a:lnTo>
                      <a:pt x="1572" y="913"/>
                    </a:lnTo>
                    <a:lnTo>
                      <a:pt x="1572" y="913"/>
                    </a:lnTo>
                    <a:lnTo>
                      <a:pt x="1572" y="913"/>
                    </a:lnTo>
                    <a:lnTo>
                      <a:pt x="1571" y="916"/>
                    </a:lnTo>
                    <a:lnTo>
                      <a:pt x="1572" y="917"/>
                    </a:lnTo>
                    <a:lnTo>
                      <a:pt x="1574" y="917"/>
                    </a:lnTo>
                    <a:lnTo>
                      <a:pt x="1575" y="920"/>
                    </a:lnTo>
                    <a:lnTo>
                      <a:pt x="1575" y="920"/>
                    </a:lnTo>
                    <a:lnTo>
                      <a:pt x="1577" y="920"/>
                    </a:lnTo>
                    <a:lnTo>
                      <a:pt x="1577" y="922"/>
                    </a:lnTo>
                    <a:lnTo>
                      <a:pt x="1577" y="922"/>
                    </a:lnTo>
                    <a:lnTo>
                      <a:pt x="1577" y="923"/>
                    </a:lnTo>
                    <a:lnTo>
                      <a:pt x="1578" y="923"/>
                    </a:lnTo>
                    <a:lnTo>
                      <a:pt x="1578" y="926"/>
                    </a:lnTo>
                    <a:lnTo>
                      <a:pt x="1578" y="927"/>
                    </a:lnTo>
                    <a:lnTo>
                      <a:pt x="1580" y="927"/>
                    </a:lnTo>
                    <a:lnTo>
                      <a:pt x="1580" y="930"/>
                    </a:lnTo>
                    <a:lnTo>
                      <a:pt x="1580" y="933"/>
                    </a:lnTo>
                    <a:lnTo>
                      <a:pt x="1582" y="936"/>
                    </a:lnTo>
                    <a:lnTo>
                      <a:pt x="1582" y="937"/>
                    </a:lnTo>
                    <a:lnTo>
                      <a:pt x="1584" y="939"/>
                    </a:lnTo>
                    <a:lnTo>
                      <a:pt x="1584" y="939"/>
                    </a:lnTo>
                    <a:lnTo>
                      <a:pt x="1584" y="940"/>
                    </a:lnTo>
                    <a:lnTo>
                      <a:pt x="1584" y="942"/>
                    </a:lnTo>
                    <a:lnTo>
                      <a:pt x="1584" y="942"/>
                    </a:lnTo>
                    <a:lnTo>
                      <a:pt x="1585" y="943"/>
                    </a:lnTo>
                    <a:lnTo>
                      <a:pt x="1585" y="945"/>
                    </a:lnTo>
                    <a:lnTo>
                      <a:pt x="1585" y="946"/>
                    </a:lnTo>
                    <a:lnTo>
                      <a:pt x="1587" y="948"/>
                    </a:lnTo>
                    <a:lnTo>
                      <a:pt x="1585" y="949"/>
                    </a:lnTo>
                    <a:lnTo>
                      <a:pt x="1587" y="952"/>
                    </a:lnTo>
                    <a:lnTo>
                      <a:pt x="1587" y="955"/>
                    </a:lnTo>
                    <a:lnTo>
                      <a:pt x="1590" y="958"/>
                    </a:lnTo>
                    <a:lnTo>
                      <a:pt x="1592" y="960"/>
                    </a:lnTo>
                    <a:lnTo>
                      <a:pt x="1594" y="963"/>
                    </a:lnTo>
                    <a:lnTo>
                      <a:pt x="1594" y="966"/>
                    </a:lnTo>
                    <a:lnTo>
                      <a:pt x="1595" y="966"/>
                    </a:lnTo>
                    <a:lnTo>
                      <a:pt x="1595" y="968"/>
                    </a:lnTo>
                    <a:lnTo>
                      <a:pt x="1595" y="968"/>
                    </a:lnTo>
                    <a:lnTo>
                      <a:pt x="1595" y="969"/>
                    </a:lnTo>
                    <a:lnTo>
                      <a:pt x="1594" y="971"/>
                    </a:lnTo>
                    <a:lnTo>
                      <a:pt x="1594" y="972"/>
                    </a:lnTo>
                    <a:lnTo>
                      <a:pt x="1595" y="972"/>
                    </a:lnTo>
                    <a:lnTo>
                      <a:pt x="1595" y="973"/>
                    </a:lnTo>
                    <a:lnTo>
                      <a:pt x="1595" y="975"/>
                    </a:lnTo>
                    <a:lnTo>
                      <a:pt x="1595" y="975"/>
                    </a:lnTo>
                    <a:lnTo>
                      <a:pt x="1595" y="975"/>
                    </a:lnTo>
                    <a:lnTo>
                      <a:pt x="1597" y="976"/>
                    </a:lnTo>
                    <a:lnTo>
                      <a:pt x="1598" y="978"/>
                    </a:lnTo>
                    <a:lnTo>
                      <a:pt x="1598" y="978"/>
                    </a:lnTo>
                    <a:lnTo>
                      <a:pt x="1598" y="978"/>
                    </a:lnTo>
                    <a:lnTo>
                      <a:pt x="1598" y="979"/>
                    </a:lnTo>
                    <a:lnTo>
                      <a:pt x="1598" y="982"/>
                    </a:lnTo>
                    <a:lnTo>
                      <a:pt x="1598" y="983"/>
                    </a:lnTo>
                    <a:lnTo>
                      <a:pt x="1597" y="985"/>
                    </a:lnTo>
                    <a:lnTo>
                      <a:pt x="1598" y="988"/>
                    </a:lnTo>
                    <a:lnTo>
                      <a:pt x="1598" y="988"/>
                    </a:lnTo>
                    <a:lnTo>
                      <a:pt x="1600" y="989"/>
                    </a:lnTo>
                    <a:lnTo>
                      <a:pt x="1600" y="989"/>
                    </a:lnTo>
                    <a:lnTo>
                      <a:pt x="1601" y="991"/>
                    </a:lnTo>
                    <a:lnTo>
                      <a:pt x="1601" y="992"/>
                    </a:lnTo>
                    <a:lnTo>
                      <a:pt x="1601" y="992"/>
                    </a:lnTo>
                    <a:lnTo>
                      <a:pt x="1602" y="992"/>
                    </a:lnTo>
                    <a:lnTo>
                      <a:pt x="1602" y="994"/>
                    </a:lnTo>
                    <a:lnTo>
                      <a:pt x="1607" y="995"/>
                    </a:lnTo>
                    <a:lnTo>
                      <a:pt x="1611" y="995"/>
                    </a:lnTo>
                    <a:lnTo>
                      <a:pt x="1617" y="994"/>
                    </a:lnTo>
                    <a:lnTo>
                      <a:pt x="1618" y="994"/>
                    </a:lnTo>
                    <a:lnTo>
                      <a:pt x="1618" y="994"/>
                    </a:lnTo>
                    <a:lnTo>
                      <a:pt x="1620" y="995"/>
                    </a:lnTo>
                    <a:lnTo>
                      <a:pt x="1620" y="995"/>
                    </a:lnTo>
                    <a:lnTo>
                      <a:pt x="1620" y="996"/>
                    </a:lnTo>
                    <a:lnTo>
                      <a:pt x="1621" y="996"/>
                    </a:lnTo>
                    <a:lnTo>
                      <a:pt x="1624" y="998"/>
                    </a:lnTo>
                    <a:lnTo>
                      <a:pt x="1625" y="999"/>
                    </a:lnTo>
                    <a:lnTo>
                      <a:pt x="1625" y="999"/>
                    </a:lnTo>
                    <a:lnTo>
                      <a:pt x="1627" y="999"/>
                    </a:lnTo>
                    <a:lnTo>
                      <a:pt x="1628" y="999"/>
                    </a:lnTo>
                    <a:lnTo>
                      <a:pt x="1628" y="999"/>
                    </a:lnTo>
                    <a:lnTo>
                      <a:pt x="1630" y="999"/>
                    </a:lnTo>
                    <a:lnTo>
                      <a:pt x="1630" y="999"/>
                    </a:lnTo>
                    <a:lnTo>
                      <a:pt x="1631" y="999"/>
                    </a:lnTo>
                    <a:lnTo>
                      <a:pt x="1631" y="999"/>
                    </a:lnTo>
                    <a:lnTo>
                      <a:pt x="1631" y="999"/>
                    </a:lnTo>
                    <a:lnTo>
                      <a:pt x="1633" y="999"/>
                    </a:lnTo>
                    <a:lnTo>
                      <a:pt x="1633" y="1001"/>
                    </a:lnTo>
                    <a:lnTo>
                      <a:pt x="1634" y="1001"/>
                    </a:lnTo>
                    <a:lnTo>
                      <a:pt x="1634" y="1002"/>
                    </a:lnTo>
                    <a:lnTo>
                      <a:pt x="1636" y="1002"/>
                    </a:lnTo>
                    <a:lnTo>
                      <a:pt x="1636" y="1002"/>
                    </a:lnTo>
                    <a:lnTo>
                      <a:pt x="1638" y="1004"/>
                    </a:lnTo>
                    <a:lnTo>
                      <a:pt x="1640" y="1008"/>
                    </a:lnTo>
                    <a:lnTo>
                      <a:pt x="1641" y="1009"/>
                    </a:lnTo>
                    <a:lnTo>
                      <a:pt x="1644" y="1011"/>
                    </a:lnTo>
                    <a:lnTo>
                      <a:pt x="1646" y="1012"/>
                    </a:lnTo>
                    <a:lnTo>
                      <a:pt x="1647" y="1012"/>
                    </a:lnTo>
                    <a:lnTo>
                      <a:pt x="1648" y="1012"/>
                    </a:lnTo>
                    <a:lnTo>
                      <a:pt x="1651" y="1012"/>
                    </a:lnTo>
                    <a:lnTo>
                      <a:pt x="1653" y="1015"/>
                    </a:lnTo>
                    <a:lnTo>
                      <a:pt x="1651" y="1015"/>
                    </a:lnTo>
                    <a:lnTo>
                      <a:pt x="1651" y="1017"/>
                    </a:lnTo>
                    <a:lnTo>
                      <a:pt x="1651" y="1017"/>
                    </a:lnTo>
                    <a:lnTo>
                      <a:pt x="1651" y="1018"/>
                    </a:lnTo>
                    <a:lnTo>
                      <a:pt x="1651" y="1019"/>
                    </a:lnTo>
                    <a:lnTo>
                      <a:pt x="1654" y="1024"/>
                    </a:lnTo>
                    <a:lnTo>
                      <a:pt x="1656" y="1025"/>
                    </a:lnTo>
                    <a:lnTo>
                      <a:pt x="1656" y="1027"/>
                    </a:lnTo>
                    <a:lnTo>
                      <a:pt x="1656" y="1027"/>
                    </a:lnTo>
                    <a:lnTo>
                      <a:pt x="1656" y="1028"/>
                    </a:lnTo>
                    <a:lnTo>
                      <a:pt x="1656" y="1028"/>
                    </a:lnTo>
                    <a:lnTo>
                      <a:pt x="1654" y="1029"/>
                    </a:lnTo>
                    <a:lnTo>
                      <a:pt x="1654" y="1031"/>
                    </a:lnTo>
                    <a:lnTo>
                      <a:pt x="1654" y="1032"/>
                    </a:lnTo>
                    <a:lnTo>
                      <a:pt x="1654" y="1032"/>
                    </a:lnTo>
                    <a:lnTo>
                      <a:pt x="1654" y="1032"/>
                    </a:lnTo>
                    <a:lnTo>
                      <a:pt x="1654" y="1034"/>
                    </a:lnTo>
                    <a:lnTo>
                      <a:pt x="1656" y="1034"/>
                    </a:lnTo>
                    <a:lnTo>
                      <a:pt x="1656" y="1035"/>
                    </a:lnTo>
                    <a:lnTo>
                      <a:pt x="1656" y="1035"/>
                    </a:lnTo>
                    <a:lnTo>
                      <a:pt x="1657" y="1035"/>
                    </a:lnTo>
                    <a:lnTo>
                      <a:pt x="1657" y="1037"/>
                    </a:lnTo>
                    <a:lnTo>
                      <a:pt x="1659" y="1041"/>
                    </a:lnTo>
                    <a:lnTo>
                      <a:pt x="1660" y="1041"/>
                    </a:lnTo>
                    <a:lnTo>
                      <a:pt x="1660" y="1041"/>
                    </a:lnTo>
                    <a:lnTo>
                      <a:pt x="1661" y="1041"/>
                    </a:lnTo>
                    <a:lnTo>
                      <a:pt x="1663" y="1041"/>
                    </a:lnTo>
                    <a:lnTo>
                      <a:pt x="1664" y="1040"/>
                    </a:lnTo>
                    <a:lnTo>
                      <a:pt x="1666" y="1040"/>
                    </a:lnTo>
                    <a:lnTo>
                      <a:pt x="1666" y="1040"/>
                    </a:lnTo>
                    <a:lnTo>
                      <a:pt x="1667" y="1040"/>
                    </a:lnTo>
                    <a:lnTo>
                      <a:pt x="1669" y="1041"/>
                    </a:lnTo>
                    <a:lnTo>
                      <a:pt x="1674" y="1041"/>
                    </a:lnTo>
                    <a:lnTo>
                      <a:pt x="1676" y="1041"/>
                    </a:lnTo>
                    <a:lnTo>
                      <a:pt x="1679" y="1041"/>
                    </a:lnTo>
                    <a:lnTo>
                      <a:pt x="1681" y="1040"/>
                    </a:lnTo>
                    <a:lnTo>
                      <a:pt x="1683" y="1040"/>
                    </a:lnTo>
                    <a:lnTo>
                      <a:pt x="1684" y="1041"/>
                    </a:lnTo>
                    <a:lnTo>
                      <a:pt x="1686" y="1040"/>
                    </a:lnTo>
                    <a:lnTo>
                      <a:pt x="1686" y="1040"/>
                    </a:lnTo>
                    <a:lnTo>
                      <a:pt x="1687" y="1038"/>
                    </a:lnTo>
                    <a:lnTo>
                      <a:pt x="1687" y="1038"/>
                    </a:lnTo>
                    <a:lnTo>
                      <a:pt x="1687" y="1037"/>
                    </a:lnTo>
                    <a:lnTo>
                      <a:pt x="1689" y="1035"/>
                    </a:lnTo>
                    <a:lnTo>
                      <a:pt x="1689" y="1035"/>
                    </a:lnTo>
                    <a:lnTo>
                      <a:pt x="1690" y="1035"/>
                    </a:lnTo>
                    <a:lnTo>
                      <a:pt x="1692" y="1034"/>
                    </a:lnTo>
                    <a:lnTo>
                      <a:pt x="1693" y="1034"/>
                    </a:lnTo>
                    <a:lnTo>
                      <a:pt x="1693" y="1032"/>
                    </a:lnTo>
                    <a:lnTo>
                      <a:pt x="1694" y="1032"/>
                    </a:lnTo>
                    <a:lnTo>
                      <a:pt x="1696" y="1031"/>
                    </a:lnTo>
                    <a:lnTo>
                      <a:pt x="1696" y="1031"/>
                    </a:lnTo>
                    <a:lnTo>
                      <a:pt x="1697" y="1031"/>
                    </a:lnTo>
                    <a:lnTo>
                      <a:pt x="1699" y="1031"/>
                    </a:lnTo>
                    <a:lnTo>
                      <a:pt x="1703" y="1031"/>
                    </a:lnTo>
                    <a:lnTo>
                      <a:pt x="1703" y="1031"/>
                    </a:lnTo>
                    <a:lnTo>
                      <a:pt x="1707" y="1028"/>
                    </a:lnTo>
                    <a:lnTo>
                      <a:pt x="1709" y="1027"/>
                    </a:lnTo>
                    <a:lnTo>
                      <a:pt x="1710" y="1027"/>
                    </a:lnTo>
                    <a:lnTo>
                      <a:pt x="1715" y="1025"/>
                    </a:lnTo>
                    <a:lnTo>
                      <a:pt x="1716" y="1025"/>
                    </a:lnTo>
                    <a:lnTo>
                      <a:pt x="1717" y="1025"/>
                    </a:lnTo>
                    <a:lnTo>
                      <a:pt x="1719" y="1025"/>
                    </a:lnTo>
                    <a:lnTo>
                      <a:pt x="1720" y="1025"/>
                    </a:lnTo>
                    <a:lnTo>
                      <a:pt x="1722" y="1027"/>
                    </a:lnTo>
                    <a:lnTo>
                      <a:pt x="1723" y="1027"/>
                    </a:lnTo>
                    <a:lnTo>
                      <a:pt x="1723" y="1028"/>
                    </a:lnTo>
                    <a:lnTo>
                      <a:pt x="1723" y="1029"/>
                    </a:lnTo>
                    <a:lnTo>
                      <a:pt x="1723" y="1031"/>
                    </a:lnTo>
                    <a:lnTo>
                      <a:pt x="1723" y="1031"/>
                    </a:lnTo>
                    <a:lnTo>
                      <a:pt x="1722" y="1032"/>
                    </a:lnTo>
                    <a:lnTo>
                      <a:pt x="1723" y="1035"/>
                    </a:lnTo>
                    <a:lnTo>
                      <a:pt x="1725" y="1041"/>
                    </a:lnTo>
                    <a:lnTo>
                      <a:pt x="1725" y="1041"/>
                    </a:lnTo>
                    <a:lnTo>
                      <a:pt x="1725" y="1042"/>
                    </a:lnTo>
                    <a:lnTo>
                      <a:pt x="1723" y="1044"/>
                    </a:lnTo>
                    <a:lnTo>
                      <a:pt x="1722" y="1045"/>
                    </a:lnTo>
                    <a:lnTo>
                      <a:pt x="1720" y="1047"/>
                    </a:lnTo>
                    <a:lnTo>
                      <a:pt x="1719" y="1047"/>
                    </a:lnTo>
                    <a:lnTo>
                      <a:pt x="1717" y="1047"/>
                    </a:lnTo>
                    <a:lnTo>
                      <a:pt x="1717" y="1048"/>
                    </a:lnTo>
                    <a:lnTo>
                      <a:pt x="1716" y="1048"/>
                    </a:lnTo>
                    <a:lnTo>
                      <a:pt x="1716" y="1048"/>
                    </a:lnTo>
                    <a:lnTo>
                      <a:pt x="1716" y="1050"/>
                    </a:lnTo>
                    <a:lnTo>
                      <a:pt x="1715" y="1050"/>
                    </a:lnTo>
                    <a:lnTo>
                      <a:pt x="1715" y="1051"/>
                    </a:lnTo>
                    <a:lnTo>
                      <a:pt x="1715" y="1052"/>
                    </a:lnTo>
                    <a:lnTo>
                      <a:pt x="1716" y="1054"/>
                    </a:lnTo>
                    <a:lnTo>
                      <a:pt x="1715" y="1055"/>
                    </a:lnTo>
                    <a:lnTo>
                      <a:pt x="1715" y="1055"/>
                    </a:lnTo>
                    <a:lnTo>
                      <a:pt x="1713" y="1057"/>
                    </a:lnTo>
                    <a:lnTo>
                      <a:pt x="1713" y="1058"/>
                    </a:lnTo>
                    <a:lnTo>
                      <a:pt x="1713" y="1060"/>
                    </a:lnTo>
                    <a:lnTo>
                      <a:pt x="1713" y="1061"/>
                    </a:lnTo>
                    <a:lnTo>
                      <a:pt x="1713" y="1061"/>
                    </a:lnTo>
                    <a:lnTo>
                      <a:pt x="1712" y="1063"/>
                    </a:lnTo>
                    <a:lnTo>
                      <a:pt x="1712" y="1064"/>
                    </a:lnTo>
                    <a:lnTo>
                      <a:pt x="1712" y="1065"/>
                    </a:lnTo>
                    <a:lnTo>
                      <a:pt x="1710" y="1067"/>
                    </a:lnTo>
                    <a:lnTo>
                      <a:pt x="1709" y="1068"/>
                    </a:lnTo>
                    <a:lnTo>
                      <a:pt x="1710" y="1070"/>
                    </a:lnTo>
                    <a:lnTo>
                      <a:pt x="1710" y="1073"/>
                    </a:lnTo>
                    <a:lnTo>
                      <a:pt x="1709" y="1074"/>
                    </a:lnTo>
                    <a:lnTo>
                      <a:pt x="1709" y="1075"/>
                    </a:lnTo>
                    <a:lnTo>
                      <a:pt x="1707" y="1077"/>
                    </a:lnTo>
                    <a:lnTo>
                      <a:pt x="1706" y="1077"/>
                    </a:lnTo>
                    <a:lnTo>
                      <a:pt x="1706" y="1078"/>
                    </a:lnTo>
                    <a:lnTo>
                      <a:pt x="1707" y="1078"/>
                    </a:lnTo>
                    <a:lnTo>
                      <a:pt x="1706" y="1080"/>
                    </a:lnTo>
                    <a:lnTo>
                      <a:pt x="1706" y="1081"/>
                    </a:lnTo>
                    <a:lnTo>
                      <a:pt x="1706" y="1081"/>
                    </a:lnTo>
                    <a:lnTo>
                      <a:pt x="1706" y="1081"/>
                    </a:lnTo>
                    <a:lnTo>
                      <a:pt x="1704" y="1083"/>
                    </a:lnTo>
                    <a:lnTo>
                      <a:pt x="1704" y="1083"/>
                    </a:lnTo>
                    <a:lnTo>
                      <a:pt x="1703" y="1083"/>
                    </a:lnTo>
                    <a:lnTo>
                      <a:pt x="1703" y="1084"/>
                    </a:lnTo>
                    <a:lnTo>
                      <a:pt x="1703" y="1084"/>
                    </a:lnTo>
                    <a:lnTo>
                      <a:pt x="1703" y="1086"/>
                    </a:lnTo>
                    <a:lnTo>
                      <a:pt x="1703" y="1086"/>
                    </a:lnTo>
                    <a:lnTo>
                      <a:pt x="1703" y="1087"/>
                    </a:lnTo>
                    <a:lnTo>
                      <a:pt x="1702" y="1087"/>
                    </a:lnTo>
                    <a:lnTo>
                      <a:pt x="1702" y="1088"/>
                    </a:lnTo>
                    <a:lnTo>
                      <a:pt x="1702" y="1090"/>
                    </a:lnTo>
                    <a:lnTo>
                      <a:pt x="1700" y="1090"/>
                    </a:lnTo>
                    <a:lnTo>
                      <a:pt x="1700" y="1091"/>
                    </a:lnTo>
                    <a:lnTo>
                      <a:pt x="1699" y="1091"/>
                    </a:lnTo>
                    <a:lnTo>
                      <a:pt x="1699" y="1091"/>
                    </a:lnTo>
                    <a:lnTo>
                      <a:pt x="1697" y="1091"/>
                    </a:lnTo>
                    <a:lnTo>
                      <a:pt x="1697" y="1093"/>
                    </a:lnTo>
                    <a:lnTo>
                      <a:pt x="1697" y="1094"/>
                    </a:lnTo>
                    <a:lnTo>
                      <a:pt x="1696" y="1096"/>
                    </a:lnTo>
                    <a:lnTo>
                      <a:pt x="1696" y="1097"/>
                    </a:lnTo>
                    <a:lnTo>
                      <a:pt x="1696" y="1097"/>
                    </a:lnTo>
                    <a:lnTo>
                      <a:pt x="1696" y="1098"/>
                    </a:lnTo>
                    <a:lnTo>
                      <a:pt x="1696" y="1101"/>
                    </a:lnTo>
                    <a:lnTo>
                      <a:pt x="1694" y="1101"/>
                    </a:lnTo>
                    <a:lnTo>
                      <a:pt x="1693" y="1103"/>
                    </a:lnTo>
                    <a:lnTo>
                      <a:pt x="1692" y="1103"/>
                    </a:lnTo>
                    <a:lnTo>
                      <a:pt x="1689" y="1101"/>
                    </a:lnTo>
                    <a:lnTo>
                      <a:pt x="1684" y="1100"/>
                    </a:lnTo>
                    <a:lnTo>
                      <a:pt x="1681" y="1100"/>
                    </a:lnTo>
                    <a:lnTo>
                      <a:pt x="1677" y="1098"/>
                    </a:lnTo>
                    <a:lnTo>
                      <a:pt x="1676" y="1098"/>
                    </a:lnTo>
                    <a:lnTo>
                      <a:pt x="1676" y="1097"/>
                    </a:lnTo>
                    <a:lnTo>
                      <a:pt x="1674" y="1097"/>
                    </a:lnTo>
                    <a:lnTo>
                      <a:pt x="1674" y="1096"/>
                    </a:lnTo>
                    <a:lnTo>
                      <a:pt x="1670" y="1100"/>
                    </a:lnTo>
                    <a:lnTo>
                      <a:pt x="1670" y="1100"/>
                    </a:lnTo>
                    <a:lnTo>
                      <a:pt x="1670" y="1101"/>
                    </a:lnTo>
                    <a:lnTo>
                      <a:pt x="1669" y="1101"/>
                    </a:lnTo>
                    <a:lnTo>
                      <a:pt x="1669" y="1103"/>
                    </a:lnTo>
                    <a:lnTo>
                      <a:pt x="1667" y="1103"/>
                    </a:lnTo>
                    <a:lnTo>
                      <a:pt x="1667" y="1104"/>
                    </a:lnTo>
                    <a:lnTo>
                      <a:pt x="1667" y="1104"/>
                    </a:lnTo>
                    <a:lnTo>
                      <a:pt x="1666" y="1104"/>
                    </a:lnTo>
                    <a:lnTo>
                      <a:pt x="1666" y="1104"/>
                    </a:lnTo>
                    <a:lnTo>
                      <a:pt x="1664" y="1106"/>
                    </a:lnTo>
                    <a:lnTo>
                      <a:pt x="1663" y="1106"/>
                    </a:lnTo>
                    <a:lnTo>
                      <a:pt x="1661" y="1106"/>
                    </a:lnTo>
                    <a:lnTo>
                      <a:pt x="1660" y="1106"/>
                    </a:lnTo>
                    <a:lnTo>
                      <a:pt x="1660" y="1106"/>
                    </a:lnTo>
                    <a:lnTo>
                      <a:pt x="1660" y="1107"/>
                    </a:lnTo>
                    <a:lnTo>
                      <a:pt x="1659" y="1107"/>
                    </a:lnTo>
                    <a:lnTo>
                      <a:pt x="1659" y="1107"/>
                    </a:lnTo>
                    <a:lnTo>
                      <a:pt x="1659" y="1109"/>
                    </a:lnTo>
                    <a:lnTo>
                      <a:pt x="1659" y="1110"/>
                    </a:lnTo>
                    <a:lnTo>
                      <a:pt x="1660" y="1110"/>
                    </a:lnTo>
                    <a:lnTo>
                      <a:pt x="1660" y="1113"/>
                    </a:lnTo>
                    <a:lnTo>
                      <a:pt x="1661" y="1114"/>
                    </a:lnTo>
                    <a:lnTo>
                      <a:pt x="1663" y="1121"/>
                    </a:lnTo>
                    <a:lnTo>
                      <a:pt x="1663" y="1124"/>
                    </a:lnTo>
                    <a:lnTo>
                      <a:pt x="1663" y="1129"/>
                    </a:lnTo>
                    <a:lnTo>
                      <a:pt x="1663" y="1132"/>
                    </a:lnTo>
                    <a:lnTo>
                      <a:pt x="1663" y="1136"/>
                    </a:lnTo>
                    <a:lnTo>
                      <a:pt x="1663" y="1137"/>
                    </a:lnTo>
                    <a:lnTo>
                      <a:pt x="1663" y="1137"/>
                    </a:lnTo>
                    <a:lnTo>
                      <a:pt x="1663" y="1137"/>
                    </a:lnTo>
                    <a:lnTo>
                      <a:pt x="1663" y="1139"/>
                    </a:lnTo>
                    <a:lnTo>
                      <a:pt x="1663" y="1139"/>
                    </a:lnTo>
                    <a:lnTo>
                      <a:pt x="1664" y="1140"/>
                    </a:lnTo>
                    <a:lnTo>
                      <a:pt x="1664" y="1140"/>
                    </a:lnTo>
                    <a:lnTo>
                      <a:pt x="1663" y="1142"/>
                    </a:lnTo>
                    <a:lnTo>
                      <a:pt x="1663" y="1144"/>
                    </a:lnTo>
                    <a:lnTo>
                      <a:pt x="1661" y="1146"/>
                    </a:lnTo>
                    <a:lnTo>
                      <a:pt x="1661" y="1147"/>
                    </a:lnTo>
                    <a:lnTo>
                      <a:pt x="1660" y="1149"/>
                    </a:lnTo>
                    <a:lnTo>
                      <a:pt x="1660" y="1152"/>
                    </a:lnTo>
                    <a:lnTo>
                      <a:pt x="1659" y="1152"/>
                    </a:lnTo>
                    <a:lnTo>
                      <a:pt x="1659" y="1152"/>
                    </a:lnTo>
                    <a:lnTo>
                      <a:pt x="1659" y="1152"/>
                    </a:lnTo>
                    <a:lnTo>
                      <a:pt x="1657" y="1152"/>
                    </a:lnTo>
                    <a:lnTo>
                      <a:pt x="1657" y="1152"/>
                    </a:lnTo>
                    <a:lnTo>
                      <a:pt x="1651" y="1153"/>
                    </a:lnTo>
                    <a:lnTo>
                      <a:pt x="1651" y="1153"/>
                    </a:lnTo>
                    <a:lnTo>
                      <a:pt x="1650" y="1154"/>
                    </a:lnTo>
                    <a:lnTo>
                      <a:pt x="1650" y="1154"/>
                    </a:lnTo>
                    <a:lnTo>
                      <a:pt x="1650" y="1154"/>
                    </a:lnTo>
                    <a:lnTo>
                      <a:pt x="1648" y="1154"/>
                    </a:lnTo>
                    <a:lnTo>
                      <a:pt x="1648" y="1154"/>
                    </a:lnTo>
                    <a:lnTo>
                      <a:pt x="1648" y="1156"/>
                    </a:lnTo>
                    <a:lnTo>
                      <a:pt x="1648" y="1156"/>
                    </a:lnTo>
                    <a:lnTo>
                      <a:pt x="1650" y="1156"/>
                    </a:lnTo>
                    <a:lnTo>
                      <a:pt x="1650" y="1156"/>
                    </a:lnTo>
                    <a:lnTo>
                      <a:pt x="1651" y="1157"/>
                    </a:lnTo>
                    <a:lnTo>
                      <a:pt x="1651" y="1157"/>
                    </a:lnTo>
                    <a:lnTo>
                      <a:pt x="1651" y="1159"/>
                    </a:lnTo>
                    <a:lnTo>
                      <a:pt x="1651" y="1159"/>
                    </a:lnTo>
                    <a:lnTo>
                      <a:pt x="1651" y="1160"/>
                    </a:lnTo>
                    <a:lnTo>
                      <a:pt x="1651" y="1162"/>
                    </a:lnTo>
                    <a:lnTo>
                      <a:pt x="1653" y="1162"/>
                    </a:lnTo>
                    <a:lnTo>
                      <a:pt x="1653" y="1163"/>
                    </a:lnTo>
                    <a:lnTo>
                      <a:pt x="1653" y="1165"/>
                    </a:lnTo>
                    <a:lnTo>
                      <a:pt x="1654" y="1165"/>
                    </a:lnTo>
                    <a:lnTo>
                      <a:pt x="1656" y="1163"/>
                    </a:lnTo>
                    <a:lnTo>
                      <a:pt x="1656" y="1160"/>
                    </a:lnTo>
                    <a:lnTo>
                      <a:pt x="1656" y="1159"/>
                    </a:lnTo>
                    <a:lnTo>
                      <a:pt x="1654" y="1157"/>
                    </a:lnTo>
                    <a:lnTo>
                      <a:pt x="1656" y="1156"/>
                    </a:lnTo>
                    <a:lnTo>
                      <a:pt x="1659" y="1157"/>
                    </a:lnTo>
                    <a:lnTo>
                      <a:pt x="1660" y="1157"/>
                    </a:lnTo>
                    <a:lnTo>
                      <a:pt x="1661" y="1156"/>
                    </a:lnTo>
                    <a:lnTo>
                      <a:pt x="1664" y="1156"/>
                    </a:lnTo>
                    <a:lnTo>
                      <a:pt x="1666" y="1154"/>
                    </a:lnTo>
                    <a:lnTo>
                      <a:pt x="1667" y="1152"/>
                    </a:lnTo>
                    <a:lnTo>
                      <a:pt x="1670" y="1146"/>
                    </a:lnTo>
                    <a:lnTo>
                      <a:pt x="1673" y="1143"/>
                    </a:lnTo>
                    <a:lnTo>
                      <a:pt x="1677" y="1143"/>
                    </a:lnTo>
                    <a:lnTo>
                      <a:pt x="1676" y="1143"/>
                    </a:lnTo>
                    <a:lnTo>
                      <a:pt x="1676" y="1144"/>
                    </a:lnTo>
                    <a:lnTo>
                      <a:pt x="1674" y="1146"/>
                    </a:lnTo>
                    <a:lnTo>
                      <a:pt x="1674" y="1147"/>
                    </a:lnTo>
                    <a:lnTo>
                      <a:pt x="1677" y="1147"/>
                    </a:lnTo>
                    <a:lnTo>
                      <a:pt x="1679" y="1146"/>
                    </a:lnTo>
                    <a:lnTo>
                      <a:pt x="1680" y="1144"/>
                    </a:lnTo>
                    <a:lnTo>
                      <a:pt x="1681" y="1142"/>
                    </a:lnTo>
                    <a:lnTo>
                      <a:pt x="1683" y="1144"/>
                    </a:lnTo>
                    <a:lnTo>
                      <a:pt x="1683" y="1147"/>
                    </a:lnTo>
                    <a:lnTo>
                      <a:pt x="1681" y="1152"/>
                    </a:lnTo>
                    <a:lnTo>
                      <a:pt x="1684" y="1152"/>
                    </a:lnTo>
                    <a:lnTo>
                      <a:pt x="1686" y="1152"/>
                    </a:lnTo>
                    <a:lnTo>
                      <a:pt x="1687" y="1152"/>
                    </a:lnTo>
                    <a:lnTo>
                      <a:pt x="1690" y="1152"/>
                    </a:lnTo>
                    <a:lnTo>
                      <a:pt x="1693" y="1153"/>
                    </a:lnTo>
                    <a:lnTo>
                      <a:pt x="1696" y="1156"/>
                    </a:lnTo>
                    <a:lnTo>
                      <a:pt x="1699" y="1154"/>
                    </a:lnTo>
                    <a:lnTo>
                      <a:pt x="1703" y="1154"/>
                    </a:lnTo>
                    <a:lnTo>
                      <a:pt x="1707" y="1153"/>
                    </a:lnTo>
                    <a:lnTo>
                      <a:pt x="1712" y="1150"/>
                    </a:lnTo>
                    <a:lnTo>
                      <a:pt x="1726" y="1142"/>
                    </a:lnTo>
                    <a:lnTo>
                      <a:pt x="1733" y="1136"/>
                    </a:lnTo>
                    <a:lnTo>
                      <a:pt x="1737" y="1130"/>
                    </a:lnTo>
                    <a:lnTo>
                      <a:pt x="1742" y="1123"/>
                    </a:lnTo>
                    <a:lnTo>
                      <a:pt x="1745" y="1120"/>
                    </a:lnTo>
                    <a:lnTo>
                      <a:pt x="1750" y="1114"/>
                    </a:lnTo>
                    <a:lnTo>
                      <a:pt x="1782" y="1078"/>
                    </a:lnTo>
                    <a:lnTo>
                      <a:pt x="1783" y="1074"/>
                    </a:lnTo>
                    <a:lnTo>
                      <a:pt x="1786" y="1071"/>
                    </a:lnTo>
                    <a:lnTo>
                      <a:pt x="1788" y="1067"/>
                    </a:lnTo>
                    <a:lnTo>
                      <a:pt x="1789" y="1063"/>
                    </a:lnTo>
                    <a:lnTo>
                      <a:pt x="1791" y="1058"/>
                    </a:lnTo>
                    <a:lnTo>
                      <a:pt x="1799" y="1048"/>
                    </a:lnTo>
                    <a:lnTo>
                      <a:pt x="1806" y="1038"/>
                    </a:lnTo>
                    <a:lnTo>
                      <a:pt x="1809" y="1034"/>
                    </a:lnTo>
                    <a:lnTo>
                      <a:pt x="1815" y="1028"/>
                    </a:lnTo>
                    <a:lnTo>
                      <a:pt x="1818" y="1025"/>
                    </a:lnTo>
                    <a:lnTo>
                      <a:pt x="1819" y="1022"/>
                    </a:lnTo>
                    <a:lnTo>
                      <a:pt x="1821" y="1019"/>
                    </a:lnTo>
                    <a:lnTo>
                      <a:pt x="1821" y="1017"/>
                    </a:lnTo>
                    <a:lnTo>
                      <a:pt x="1821" y="1014"/>
                    </a:lnTo>
                    <a:lnTo>
                      <a:pt x="1822" y="1014"/>
                    </a:lnTo>
                    <a:lnTo>
                      <a:pt x="1824" y="1011"/>
                    </a:lnTo>
                    <a:lnTo>
                      <a:pt x="1824" y="1009"/>
                    </a:lnTo>
                    <a:lnTo>
                      <a:pt x="1824" y="1009"/>
                    </a:lnTo>
                    <a:lnTo>
                      <a:pt x="1824" y="1008"/>
                    </a:lnTo>
                    <a:lnTo>
                      <a:pt x="1822" y="1006"/>
                    </a:lnTo>
                    <a:lnTo>
                      <a:pt x="1824" y="1004"/>
                    </a:lnTo>
                    <a:lnTo>
                      <a:pt x="1825" y="996"/>
                    </a:lnTo>
                    <a:lnTo>
                      <a:pt x="1827" y="994"/>
                    </a:lnTo>
                    <a:lnTo>
                      <a:pt x="1827" y="991"/>
                    </a:lnTo>
                    <a:lnTo>
                      <a:pt x="1825" y="988"/>
                    </a:lnTo>
                    <a:lnTo>
                      <a:pt x="1825" y="985"/>
                    </a:lnTo>
                    <a:lnTo>
                      <a:pt x="1827" y="983"/>
                    </a:lnTo>
                    <a:lnTo>
                      <a:pt x="1828" y="982"/>
                    </a:lnTo>
                    <a:lnTo>
                      <a:pt x="1828" y="981"/>
                    </a:lnTo>
                    <a:lnTo>
                      <a:pt x="1828" y="979"/>
                    </a:lnTo>
                    <a:lnTo>
                      <a:pt x="1827" y="976"/>
                    </a:lnTo>
                    <a:lnTo>
                      <a:pt x="1827" y="975"/>
                    </a:lnTo>
                    <a:lnTo>
                      <a:pt x="1825" y="969"/>
                    </a:lnTo>
                    <a:lnTo>
                      <a:pt x="1827" y="968"/>
                    </a:lnTo>
                    <a:lnTo>
                      <a:pt x="1827" y="965"/>
                    </a:lnTo>
                    <a:lnTo>
                      <a:pt x="1828" y="955"/>
                    </a:lnTo>
                    <a:lnTo>
                      <a:pt x="1834" y="942"/>
                    </a:lnTo>
                    <a:lnTo>
                      <a:pt x="1835" y="940"/>
                    </a:lnTo>
                    <a:lnTo>
                      <a:pt x="1837" y="939"/>
                    </a:lnTo>
                    <a:lnTo>
                      <a:pt x="1841" y="935"/>
                    </a:lnTo>
                    <a:lnTo>
                      <a:pt x="1841" y="932"/>
                    </a:lnTo>
                    <a:lnTo>
                      <a:pt x="1842" y="927"/>
                    </a:lnTo>
                    <a:lnTo>
                      <a:pt x="1842" y="926"/>
                    </a:lnTo>
                    <a:lnTo>
                      <a:pt x="1842" y="926"/>
                    </a:lnTo>
                    <a:lnTo>
                      <a:pt x="1841" y="925"/>
                    </a:lnTo>
                    <a:lnTo>
                      <a:pt x="1841" y="923"/>
                    </a:lnTo>
                    <a:lnTo>
                      <a:pt x="1838" y="923"/>
                    </a:lnTo>
                    <a:lnTo>
                      <a:pt x="1838" y="922"/>
                    </a:lnTo>
                    <a:lnTo>
                      <a:pt x="1838" y="920"/>
                    </a:lnTo>
                    <a:lnTo>
                      <a:pt x="1838" y="920"/>
                    </a:lnTo>
                    <a:lnTo>
                      <a:pt x="1838" y="919"/>
                    </a:lnTo>
                    <a:lnTo>
                      <a:pt x="1838" y="917"/>
                    </a:lnTo>
                    <a:lnTo>
                      <a:pt x="1839" y="914"/>
                    </a:lnTo>
                    <a:lnTo>
                      <a:pt x="1839" y="912"/>
                    </a:lnTo>
                    <a:lnTo>
                      <a:pt x="1839" y="910"/>
                    </a:lnTo>
                    <a:lnTo>
                      <a:pt x="1838" y="909"/>
                    </a:lnTo>
                    <a:lnTo>
                      <a:pt x="1834" y="906"/>
                    </a:lnTo>
                    <a:lnTo>
                      <a:pt x="1832" y="904"/>
                    </a:lnTo>
                    <a:lnTo>
                      <a:pt x="1838" y="904"/>
                    </a:lnTo>
                    <a:lnTo>
                      <a:pt x="1841" y="904"/>
                    </a:lnTo>
                    <a:lnTo>
                      <a:pt x="1842" y="902"/>
                    </a:lnTo>
                    <a:lnTo>
                      <a:pt x="1841" y="900"/>
                    </a:lnTo>
                    <a:lnTo>
                      <a:pt x="1839" y="897"/>
                    </a:lnTo>
                    <a:lnTo>
                      <a:pt x="1835" y="894"/>
                    </a:lnTo>
                    <a:lnTo>
                      <a:pt x="1832" y="893"/>
                    </a:lnTo>
                    <a:lnTo>
                      <a:pt x="1829" y="891"/>
                    </a:lnTo>
                    <a:lnTo>
                      <a:pt x="1827" y="889"/>
                    </a:lnTo>
                    <a:lnTo>
                      <a:pt x="1824" y="887"/>
                    </a:lnTo>
                    <a:lnTo>
                      <a:pt x="1821" y="881"/>
                    </a:lnTo>
                    <a:lnTo>
                      <a:pt x="1818" y="880"/>
                    </a:lnTo>
                    <a:lnTo>
                      <a:pt x="1816" y="879"/>
                    </a:lnTo>
                    <a:lnTo>
                      <a:pt x="1814" y="877"/>
                    </a:lnTo>
                    <a:lnTo>
                      <a:pt x="1811" y="877"/>
                    </a:lnTo>
                    <a:lnTo>
                      <a:pt x="1809" y="877"/>
                    </a:lnTo>
                    <a:lnTo>
                      <a:pt x="1805" y="877"/>
                    </a:lnTo>
                    <a:lnTo>
                      <a:pt x="1802" y="877"/>
                    </a:lnTo>
                    <a:lnTo>
                      <a:pt x="1795" y="874"/>
                    </a:lnTo>
                    <a:lnTo>
                      <a:pt x="1793" y="876"/>
                    </a:lnTo>
                    <a:lnTo>
                      <a:pt x="1793" y="876"/>
                    </a:lnTo>
                    <a:lnTo>
                      <a:pt x="1795" y="880"/>
                    </a:lnTo>
                    <a:lnTo>
                      <a:pt x="1795" y="884"/>
                    </a:lnTo>
                    <a:lnTo>
                      <a:pt x="1795" y="886"/>
                    </a:lnTo>
                    <a:lnTo>
                      <a:pt x="1793" y="887"/>
                    </a:lnTo>
                    <a:lnTo>
                      <a:pt x="1793" y="890"/>
                    </a:lnTo>
                    <a:lnTo>
                      <a:pt x="1791" y="891"/>
                    </a:lnTo>
                    <a:lnTo>
                      <a:pt x="1789" y="893"/>
                    </a:lnTo>
                    <a:lnTo>
                      <a:pt x="1786" y="893"/>
                    </a:lnTo>
                    <a:lnTo>
                      <a:pt x="1788" y="891"/>
                    </a:lnTo>
                    <a:lnTo>
                      <a:pt x="1791" y="889"/>
                    </a:lnTo>
                    <a:lnTo>
                      <a:pt x="1792" y="887"/>
                    </a:lnTo>
                    <a:lnTo>
                      <a:pt x="1792" y="884"/>
                    </a:lnTo>
                    <a:lnTo>
                      <a:pt x="1791" y="883"/>
                    </a:lnTo>
                    <a:lnTo>
                      <a:pt x="1791" y="884"/>
                    </a:lnTo>
                    <a:lnTo>
                      <a:pt x="1788" y="887"/>
                    </a:lnTo>
                    <a:lnTo>
                      <a:pt x="1783" y="890"/>
                    </a:lnTo>
                    <a:lnTo>
                      <a:pt x="1778" y="893"/>
                    </a:lnTo>
                    <a:lnTo>
                      <a:pt x="1773" y="893"/>
                    </a:lnTo>
                    <a:lnTo>
                      <a:pt x="1769" y="891"/>
                    </a:lnTo>
                    <a:lnTo>
                      <a:pt x="1775" y="887"/>
                    </a:lnTo>
                    <a:lnTo>
                      <a:pt x="1779" y="883"/>
                    </a:lnTo>
                    <a:lnTo>
                      <a:pt x="1776" y="883"/>
                    </a:lnTo>
                    <a:lnTo>
                      <a:pt x="1775" y="883"/>
                    </a:lnTo>
                    <a:lnTo>
                      <a:pt x="1772" y="881"/>
                    </a:lnTo>
                    <a:lnTo>
                      <a:pt x="1771" y="880"/>
                    </a:lnTo>
                    <a:lnTo>
                      <a:pt x="1772" y="879"/>
                    </a:lnTo>
                    <a:lnTo>
                      <a:pt x="1773" y="879"/>
                    </a:lnTo>
                    <a:lnTo>
                      <a:pt x="1776" y="876"/>
                    </a:lnTo>
                    <a:lnTo>
                      <a:pt x="1773" y="876"/>
                    </a:lnTo>
                    <a:lnTo>
                      <a:pt x="1772" y="876"/>
                    </a:lnTo>
                    <a:lnTo>
                      <a:pt x="1769" y="876"/>
                    </a:lnTo>
                    <a:lnTo>
                      <a:pt x="1768" y="877"/>
                    </a:lnTo>
                    <a:lnTo>
                      <a:pt x="1768" y="879"/>
                    </a:lnTo>
                    <a:lnTo>
                      <a:pt x="1768" y="880"/>
                    </a:lnTo>
                    <a:lnTo>
                      <a:pt x="1768" y="881"/>
                    </a:lnTo>
                    <a:lnTo>
                      <a:pt x="1768" y="884"/>
                    </a:lnTo>
                    <a:lnTo>
                      <a:pt x="1768" y="886"/>
                    </a:lnTo>
                    <a:lnTo>
                      <a:pt x="1766" y="886"/>
                    </a:lnTo>
                    <a:lnTo>
                      <a:pt x="1763" y="887"/>
                    </a:lnTo>
                    <a:lnTo>
                      <a:pt x="1762" y="887"/>
                    </a:lnTo>
                    <a:lnTo>
                      <a:pt x="1760" y="886"/>
                    </a:lnTo>
                    <a:lnTo>
                      <a:pt x="1759" y="884"/>
                    </a:lnTo>
                    <a:lnTo>
                      <a:pt x="1759" y="883"/>
                    </a:lnTo>
                    <a:lnTo>
                      <a:pt x="1760" y="873"/>
                    </a:lnTo>
                    <a:lnTo>
                      <a:pt x="1762" y="871"/>
                    </a:lnTo>
                    <a:lnTo>
                      <a:pt x="1762" y="868"/>
                    </a:lnTo>
                    <a:lnTo>
                      <a:pt x="1760" y="868"/>
                    </a:lnTo>
                    <a:lnTo>
                      <a:pt x="1759" y="867"/>
                    </a:lnTo>
                    <a:lnTo>
                      <a:pt x="1748" y="867"/>
                    </a:lnTo>
                    <a:lnTo>
                      <a:pt x="1742" y="867"/>
                    </a:lnTo>
                    <a:lnTo>
                      <a:pt x="1737" y="866"/>
                    </a:lnTo>
                    <a:lnTo>
                      <a:pt x="1735" y="864"/>
                    </a:lnTo>
                    <a:lnTo>
                      <a:pt x="1733" y="861"/>
                    </a:lnTo>
                    <a:lnTo>
                      <a:pt x="1736" y="858"/>
                    </a:lnTo>
                    <a:lnTo>
                      <a:pt x="1739" y="856"/>
                    </a:lnTo>
                    <a:lnTo>
                      <a:pt x="1748" y="853"/>
                    </a:lnTo>
                    <a:lnTo>
                      <a:pt x="1749" y="851"/>
                    </a:lnTo>
                    <a:lnTo>
                      <a:pt x="1750" y="850"/>
                    </a:lnTo>
                    <a:lnTo>
                      <a:pt x="1753" y="847"/>
                    </a:lnTo>
                    <a:lnTo>
                      <a:pt x="1755" y="845"/>
                    </a:lnTo>
                    <a:lnTo>
                      <a:pt x="1772" y="835"/>
                    </a:lnTo>
                    <a:lnTo>
                      <a:pt x="1779" y="830"/>
                    </a:lnTo>
                    <a:lnTo>
                      <a:pt x="1792" y="817"/>
                    </a:lnTo>
                    <a:lnTo>
                      <a:pt x="1814" y="801"/>
                    </a:lnTo>
                    <a:lnTo>
                      <a:pt x="1818" y="797"/>
                    </a:lnTo>
                    <a:lnTo>
                      <a:pt x="1821" y="795"/>
                    </a:lnTo>
                    <a:lnTo>
                      <a:pt x="1824" y="794"/>
                    </a:lnTo>
                    <a:lnTo>
                      <a:pt x="1825" y="792"/>
                    </a:lnTo>
                    <a:lnTo>
                      <a:pt x="1827" y="791"/>
                    </a:lnTo>
                    <a:lnTo>
                      <a:pt x="1829" y="784"/>
                    </a:lnTo>
                    <a:lnTo>
                      <a:pt x="1832" y="781"/>
                    </a:lnTo>
                    <a:lnTo>
                      <a:pt x="1835" y="778"/>
                    </a:lnTo>
                    <a:lnTo>
                      <a:pt x="1841" y="775"/>
                    </a:lnTo>
                    <a:lnTo>
                      <a:pt x="1844" y="772"/>
                    </a:lnTo>
                    <a:lnTo>
                      <a:pt x="1854" y="762"/>
                    </a:lnTo>
                    <a:lnTo>
                      <a:pt x="1857" y="758"/>
                    </a:lnTo>
                    <a:lnTo>
                      <a:pt x="1861" y="756"/>
                    </a:lnTo>
                    <a:lnTo>
                      <a:pt x="1867" y="754"/>
                    </a:lnTo>
                    <a:lnTo>
                      <a:pt x="1871" y="752"/>
                    </a:lnTo>
                    <a:lnTo>
                      <a:pt x="1874" y="752"/>
                    </a:lnTo>
                    <a:lnTo>
                      <a:pt x="1877" y="752"/>
                    </a:lnTo>
                    <a:lnTo>
                      <a:pt x="1880" y="752"/>
                    </a:lnTo>
                    <a:lnTo>
                      <a:pt x="1881" y="752"/>
                    </a:lnTo>
                    <a:lnTo>
                      <a:pt x="1887" y="751"/>
                    </a:lnTo>
                    <a:lnTo>
                      <a:pt x="1914" y="751"/>
                    </a:lnTo>
                    <a:lnTo>
                      <a:pt x="1916" y="751"/>
                    </a:lnTo>
                    <a:lnTo>
                      <a:pt x="1918" y="752"/>
                    </a:lnTo>
                    <a:lnTo>
                      <a:pt x="1920" y="754"/>
                    </a:lnTo>
                    <a:lnTo>
                      <a:pt x="1923" y="756"/>
                    </a:lnTo>
                    <a:lnTo>
                      <a:pt x="1926" y="758"/>
                    </a:lnTo>
                    <a:lnTo>
                      <a:pt x="1928" y="755"/>
                    </a:lnTo>
                    <a:lnTo>
                      <a:pt x="1928" y="755"/>
                    </a:lnTo>
                    <a:lnTo>
                      <a:pt x="1930" y="751"/>
                    </a:lnTo>
                    <a:lnTo>
                      <a:pt x="1930" y="751"/>
                    </a:lnTo>
                    <a:lnTo>
                      <a:pt x="1933" y="749"/>
                    </a:lnTo>
                    <a:lnTo>
                      <a:pt x="1933" y="751"/>
                    </a:lnTo>
                    <a:lnTo>
                      <a:pt x="1934" y="751"/>
                    </a:lnTo>
                    <a:lnTo>
                      <a:pt x="1937" y="752"/>
                    </a:lnTo>
                    <a:lnTo>
                      <a:pt x="1947" y="754"/>
                    </a:lnTo>
                    <a:lnTo>
                      <a:pt x="1950" y="754"/>
                    </a:lnTo>
                    <a:lnTo>
                      <a:pt x="1951" y="754"/>
                    </a:lnTo>
                    <a:lnTo>
                      <a:pt x="1956" y="752"/>
                    </a:lnTo>
                    <a:lnTo>
                      <a:pt x="1960" y="751"/>
                    </a:lnTo>
                    <a:lnTo>
                      <a:pt x="1962" y="752"/>
                    </a:lnTo>
                    <a:lnTo>
                      <a:pt x="1964" y="754"/>
                    </a:lnTo>
                    <a:lnTo>
                      <a:pt x="1966" y="755"/>
                    </a:lnTo>
                    <a:lnTo>
                      <a:pt x="1969" y="755"/>
                    </a:lnTo>
                    <a:lnTo>
                      <a:pt x="1972" y="755"/>
                    </a:lnTo>
                    <a:lnTo>
                      <a:pt x="1973" y="755"/>
                    </a:lnTo>
                    <a:lnTo>
                      <a:pt x="1974" y="752"/>
                    </a:lnTo>
                    <a:lnTo>
                      <a:pt x="1974" y="752"/>
                    </a:lnTo>
                    <a:lnTo>
                      <a:pt x="1973" y="752"/>
                    </a:lnTo>
                    <a:lnTo>
                      <a:pt x="1973" y="752"/>
                    </a:lnTo>
                    <a:lnTo>
                      <a:pt x="1972" y="752"/>
                    </a:lnTo>
                    <a:lnTo>
                      <a:pt x="1972" y="751"/>
                    </a:lnTo>
                    <a:lnTo>
                      <a:pt x="1970" y="751"/>
                    </a:lnTo>
                    <a:lnTo>
                      <a:pt x="1970" y="749"/>
                    </a:lnTo>
                    <a:lnTo>
                      <a:pt x="1972" y="748"/>
                    </a:lnTo>
                    <a:lnTo>
                      <a:pt x="1973" y="749"/>
                    </a:lnTo>
                    <a:lnTo>
                      <a:pt x="1976" y="749"/>
                    </a:lnTo>
                    <a:lnTo>
                      <a:pt x="1977" y="749"/>
                    </a:lnTo>
                    <a:lnTo>
                      <a:pt x="1979" y="749"/>
                    </a:lnTo>
                    <a:lnTo>
                      <a:pt x="1977" y="748"/>
                    </a:lnTo>
                    <a:lnTo>
                      <a:pt x="1977" y="746"/>
                    </a:lnTo>
                    <a:lnTo>
                      <a:pt x="1977" y="745"/>
                    </a:lnTo>
                    <a:lnTo>
                      <a:pt x="1979" y="743"/>
                    </a:lnTo>
                    <a:lnTo>
                      <a:pt x="1980" y="742"/>
                    </a:lnTo>
                    <a:lnTo>
                      <a:pt x="1983" y="742"/>
                    </a:lnTo>
                    <a:lnTo>
                      <a:pt x="1985" y="741"/>
                    </a:lnTo>
                    <a:lnTo>
                      <a:pt x="1987" y="741"/>
                    </a:lnTo>
                    <a:lnTo>
                      <a:pt x="1992" y="742"/>
                    </a:lnTo>
                    <a:lnTo>
                      <a:pt x="2000" y="745"/>
                    </a:lnTo>
                    <a:lnTo>
                      <a:pt x="2005" y="746"/>
                    </a:lnTo>
                    <a:lnTo>
                      <a:pt x="2005" y="748"/>
                    </a:lnTo>
                    <a:lnTo>
                      <a:pt x="2003" y="748"/>
                    </a:lnTo>
                    <a:lnTo>
                      <a:pt x="2002" y="749"/>
                    </a:lnTo>
                    <a:lnTo>
                      <a:pt x="2003" y="748"/>
                    </a:lnTo>
                    <a:lnTo>
                      <a:pt x="2007" y="749"/>
                    </a:lnTo>
                    <a:lnTo>
                      <a:pt x="2009" y="749"/>
                    </a:lnTo>
                    <a:lnTo>
                      <a:pt x="2009" y="748"/>
                    </a:lnTo>
                    <a:lnTo>
                      <a:pt x="2010" y="746"/>
                    </a:lnTo>
                    <a:lnTo>
                      <a:pt x="2010" y="746"/>
                    </a:lnTo>
                    <a:lnTo>
                      <a:pt x="2012" y="746"/>
                    </a:lnTo>
                    <a:lnTo>
                      <a:pt x="2013" y="746"/>
                    </a:lnTo>
                    <a:lnTo>
                      <a:pt x="2016" y="746"/>
                    </a:lnTo>
                    <a:lnTo>
                      <a:pt x="2019" y="748"/>
                    </a:lnTo>
                    <a:lnTo>
                      <a:pt x="2020" y="749"/>
                    </a:lnTo>
                    <a:lnTo>
                      <a:pt x="2022" y="751"/>
                    </a:lnTo>
                    <a:lnTo>
                      <a:pt x="2025" y="754"/>
                    </a:lnTo>
                    <a:lnTo>
                      <a:pt x="2026" y="754"/>
                    </a:lnTo>
                    <a:lnTo>
                      <a:pt x="2029" y="754"/>
                    </a:lnTo>
                    <a:lnTo>
                      <a:pt x="2030" y="755"/>
                    </a:lnTo>
                    <a:lnTo>
                      <a:pt x="2033" y="756"/>
                    </a:lnTo>
                    <a:lnTo>
                      <a:pt x="2028" y="758"/>
                    </a:lnTo>
                    <a:lnTo>
                      <a:pt x="2018" y="758"/>
                    </a:lnTo>
                    <a:lnTo>
                      <a:pt x="2013" y="759"/>
                    </a:lnTo>
                    <a:lnTo>
                      <a:pt x="2015" y="762"/>
                    </a:lnTo>
                    <a:lnTo>
                      <a:pt x="2016" y="765"/>
                    </a:lnTo>
                    <a:lnTo>
                      <a:pt x="2019" y="765"/>
                    </a:lnTo>
                    <a:lnTo>
                      <a:pt x="2023" y="765"/>
                    </a:lnTo>
                    <a:lnTo>
                      <a:pt x="2025" y="765"/>
                    </a:lnTo>
                    <a:lnTo>
                      <a:pt x="2026" y="765"/>
                    </a:lnTo>
                    <a:lnTo>
                      <a:pt x="2028" y="765"/>
                    </a:lnTo>
                    <a:lnTo>
                      <a:pt x="2029" y="764"/>
                    </a:lnTo>
                    <a:lnTo>
                      <a:pt x="2030" y="762"/>
                    </a:lnTo>
                    <a:lnTo>
                      <a:pt x="2032" y="762"/>
                    </a:lnTo>
                    <a:lnTo>
                      <a:pt x="2033" y="761"/>
                    </a:lnTo>
                    <a:lnTo>
                      <a:pt x="2036" y="762"/>
                    </a:lnTo>
                    <a:lnTo>
                      <a:pt x="2038" y="762"/>
                    </a:lnTo>
                    <a:lnTo>
                      <a:pt x="2041" y="764"/>
                    </a:lnTo>
                    <a:lnTo>
                      <a:pt x="2042" y="764"/>
                    </a:lnTo>
                    <a:lnTo>
                      <a:pt x="2043" y="764"/>
                    </a:lnTo>
                    <a:lnTo>
                      <a:pt x="2043" y="764"/>
                    </a:lnTo>
                    <a:lnTo>
                      <a:pt x="2045" y="762"/>
                    </a:lnTo>
                    <a:lnTo>
                      <a:pt x="2045" y="762"/>
                    </a:lnTo>
                    <a:lnTo>
                      <a:pt x="2046" y="761"/>
                    </a:lnTo>
                    <a:lnTo>
                      <a:pt x="2046" y="761"/>
                    </a:lnTo>
                    <a:lnTo>
                      <a:pt x="2048" y="759"/>
                    </a:lnTo>
                    <a:lnTo>
                      <a:pt x="2049" y="759"/>
                    </a:lnTo>
                    <a:lnTo>
                      <a:pt x="2049" y="759"/>
                    </a:lnTo>
                    <a:lnTo>
                      <a:pt x="2051" y="758"/>
                    </a:lnTo>
                    <a:lnTo>
                      <a:pt x="2052" y="756"/>
                    </a:lnTo>
                    <a:lnTo>
                      <a:pt x="2055" y="755"/>
                    </a:lnTo>
                    <a:lnTo>
                      <a:pt x="2058" y="756"/>
                    </a:lnTo>
                    <a:lnTo>
                      <a:pt x="2059" y="756"/>
                    </a:lnTo>
                    <a:lnTo>
                      <a:pt x="2062" y="758"/>
                    </a:lnTo>
                    <a:lnTo>
                      <a:pt x="2063" y="759"/>
                    </a:lnTo>
                    <a:lnTo>
                      <a:pt x="2066" y="759"/>
                    </a:lnTo>
                    <a:lnTo>
                      <a:pt x="2066" y="759"/>
                    </a:lnTo>
                    <a:lnTo>
                      <a:pt x="2069" y="758"/>
                    </a:lnTo>
                    <a:lnTo>
                      <a:pt x="2071" y="756"/>
                    </a:lnTo>
                    <a:lnTo>
                      <a:pt x="2072" y="756"/>
                    </a:lnTo>
                    <a:lnTo>
                      <a:pt x="2072" y="756"/>
                    </a:lnTo>
                    <a:lnTo>
                      <a:pt x="2074" y="758"/>
                    </a:lnTo>
                    <a:lnTo>
                      <a:pt x="2075" y="758"/>
                    </a:lnTo>
                    <a:lnTo>
                      <a:pt x="2076" y="758"/>
                    </a:lnTo>
                    <a:lnTo>
                      <a:pt x="2081" y="756"/>
                    </a:lnTo>
                    <a:lnTo>
                      <a:pt x="2084" y="756"/>
                    </a:lnTo>
                    <a:lnTo>
                      <a:pt x="2084" y="755"/>
                    </a:lnTo>
                    <a:lnTo>
                      <a:pt x="2084" y="752"/>
                    </a:lnTo>
                    <a:lnTo>
                      <a:pt x="2082" y="751"/>
                    </a:lnTo>
                    <a:lnTo>
                      <a:pt x="2081" y="749"/>
                    </a:lnTo>
                    <a:lnTo>
                      <a:pt x="2078" y="748"/>
                    </a:lnTo>
                    <a:lnTo>
                      <a:pt x="2075" y="748"/>
                    </a:lnTo>
                    <a:lnTo>
                      <a:pt x="2074" y="748"/>
                    </a:lnTo>
                    <a:lnTo>
                      <a:pt x="2072" y="748"/>
                    </a:lnTo>
                    <a:lnTo>
                      <a:pt x="2071" y="749"/>
                    </a:lnTo>
                    <a:lnTo>
                      <a:pt x="2069" y="749"/>
                    </a:lnTo>
                    <a:lnTo>
                      <a:pt x="2066" y="748"/>
                    </a:lnTo>
                    <a:lnTo>
                      <a:pt x="2066" y="748"/>
                    </a:lnTo>
                    <a:lnTo>
                      <a:pt x="2068" y="743"/>
                    </a:lnTo>
                    <a:lnTo>
                      <a:pt x="2068" y="742"/>
                    </a:lnTo>
                    <a:lnTo>
                      <a:pt x="2069" y="741"/>
                    </a:lnTo>
                    <a:lnTo>
                      <a:pt x="2069" y="739"/>
                    </a:lnTo>
                    <a:lnTo>
                      <a:pt x="2069" y="739"/>
                    </a:lnTo>
                    <a:lnTo>
                      <a:pt x="2071" y="738"/>
                    </a:lnTo>
                    <a:lnTo>
                      <a:pt x="2072" y="736"/>
                    </a:lnTo>
                    <a:lnTo>
                      <a:pt x="2076" y="729"/>
                    </a:lnTo>
                    <a:lnTo>
                      <a:pt x="2078" y="728"/>
                    </a:lnTo>
                    <a:lnTo>
                      <a:pt x="2081" y="725"/>
                    </a:lnTo>
                    <a:lnTo>
                      <a:pt x="2091" y="718"/>
                    </a:lnTo>
                    <a:lnTo>
                      <a:pt x="2094" y="713"/>
                    </a:lnTo>
                    <a:lnTo>
                      <a:pt x="2099" y="706"/>
                    </a:lnTo>
                    <a:lnTo>
                      <a:pt x="2102" y="705"/>
                    </a:lnTo>
                    <a:lnTo>
                      <a:pt x="2105" y="702"/>
                    </a:lnTo>
                    <a:lnTo>
                      <a:pt x="2108" y="700"/>
                    </a:lnTo>
                    <a:lnTo>
                      <a:pt x="2109" y="699"/>
                    </a:lnTo>
                    <a:lnTo>
                      <a:pt x="2111" y="693"/>
                    </a:lnTo>
                    <a:lnTo>
                      <a:pt x="2112" y="692"/>
                    </a:lnTo>
                    <a:lnTo>
                      <a:pt x="2117" y="689"/>
                    </a:lnTo>
                    <a:lnTo>
                      <a:pt x="2121" y="686"/>
                    </a:lnTo>
                    <a:lnTo>
                      <a:pt x="2125" y="685"/>
                    </a:lnTo>
                    <a:lnTo>
                      <a:pt x="2130" y="683"/>
                    </a:lnTo>
                    <a:lnTo>
                      <a:pt x="2134" y="685"/>
                    </a:lnTo>
                    <a:lnTo>
                      <a:pt x="2145" y="683"/>
                    </a:lnTo>
                    <a:lnTo>
                      <a:pt x="2148" y="682"/>
                    </a:lnTo>
                    <a:lnTo>
                      <a:pt x="2153" y="680"/>
                    </a:lnTo>
                    <a:lnTo>
                      <a:pt x="2154" y="680"/>
                    </a:lnTo>
                    <a:lnTo>
                      <a:pt x="2157" y="680"/>
                    </a:lnTo>
                    <a:lnTo>
                      <a:pt x="2158" y="682"/>
                    </a:lnTo>
                    <a:lnTo>
                      <a:pt x="2160" y="685"/>
                    </a:lnTo>
                    <a:lnTo>
                      <a:pt x="2161" y="685"/>
                    </a:lnTo>
                    <a:lnTo>
                      <a:pt x="2164" y="685"/>
                    </a:lnTo>
                    <a:lnTo>
                      <a:pt x="2165" y="683"/>
                    </a:lnTo>
                    <a:lnTo>
                      <a:pt x="2168" y="682"/>
                    </a:lnTo>
                    <a:lnTo>
                      <a:pt x="2171" y="680"/>
                    </a:lnTo>
                    <a:lnTo>
                      <a:pt x="2173" y="680"/>
                    </a:lnTo>
                    <a:lnTo>
                      <a:pt x="2174" y="682"/>
                    </a:lnTo>
                    <a:lnTo>
                      <a:pt x="2174" y="685"/>
                    </a:lnTo>
                    <a:lnTo>
                      <a:pt x="2174" y="686"/>
                    </a:lnTo>
                    <a:lnTo>
                      <a:pt x="2173" y="689"/>
                    </a:lnTo>
                    <a:lnTo>
                      <a:pt x="2171" y="690"/>
                    </a:lnTo>
                    <a:lnTo>
                      <a:pt x="2168" y="696"/>
                    </a:lnTo>
                    <a:lnTo>
                      <a:pt x="2167" y="697"/>
                    </a:lnTo>
                    <a:lnTo>
                      <a:pt x="2167" y="699"/>
                    </a:lnTo>
                    <a:lnTo>
                      <a:pt x="2168" y="702"/>
                    </a:lnTo>
                    <a:lnTo>
                      <a:pt x="2168" y="703"/>
                    </a:lnTo>
                    <a:lnTo>
                      <a:pt x="2168" y="705"/>
                    </a:lnTo>
                    <a:lnTo>
                      <a:pt x="2165" y="708"/>
                    </a:lnTo>
                    <a:lnTo>
                      <a:pt x="2168" y="708"/>
                    </a:lnTo>
                    <a:lnTo>
                      <a:pt x="2170" y="706"/>
                    </a:lnTo>
                    <a:lnTo>
                      <a:pt x="2173" y="706"/>
                    </a:lnTo>
                    <a:lnTo>
                      <a:pt x="2176" y="706"/>
                    </a:lnTo>
                    <a:lnTo>
                      <a:pt x="2173" y="712"/>
                    </a:lnTo>
                    <a:lnTo>
                      <a:pt x="2173" y="715"/>
                    </a:lnTo>
                    <a:lnTo>
                      <a:pt x="2173" y="718"/>
                    </a:lnTo>
                    <a:lnTo>
                      <a:pt x="2174" y="716"/>
                    </a:lnTo>
                    <a:lnTo>
                      <a:pt x="2177" y="715"/>
                    </a:lnTo>
                    <a:lnTo>
                      <a:pt x="2178" y="715"/>
                    </a:lnTo>
                    <a:lnTo>
                      <a:pt x="2181" y="713"/>
                    </a:lnTo>
                    <a:lnTo>
                      <a:pt x="2183" y="713"/>
                    </a:lnTo>
                    <a:lnTo>
                      <a:pt x="2187" y="708"/>
                    </a:lnTo>
                    <a:lnTo>
                      <a:pt x="2209" y="690"/>
                    </a:lnTo>
                    <a:lnTo>
                      <a:pt x="2210" y="689"/>
                    </a:lnTo>
                    <a:lnTo>
                      <a:pt x="2211" y="687"/>
                    </a:lnTo>
                    <a:lnTo>
                      <a:pt x="2213" y="687"/>
                    </a:lnTo>
                    <a:lnTo>
                      <a:pt x="2214" y="687"/>
                    </a:lnTo>
                    <a:lnTo>
                      <a:pt x="2216" y="687"/>
                    </a:lnTo>
                    <a:lnTo>
                      <a:pt x="2216" y="687"/>
                    </a:lnTo>
                    <a:lnTo>
                      <a:pt x="2217" y="687"/>
                    </a:lnTo>
                    <a:lnTo>
                      <a:pt x="2217" y="687"/>
                    </a:lnTo>
                    <a:lnTo>
                      <a:pt x="2217" y="686"/>
                    </a:lnTo>
                    <a:lnTo>
                      <a:pt x="2217" y="686"/>
                    </a:lnTo>
                    <a:lnTo>
                      <a:pt x="2220" y="687"/>
                    </a:lnTo>
                    <a:lnTo>
                      <a:pt x="2221" y="689"/>
                    </a:lnTo>
                    <a:lnTo>
                      <a:pt x="2221" y="690"/>
                    </a:lnTo>
                    <a:lnTo>
                      <a:pt x="2224" y="689"/>
                    </a:lnTo>
                    <a:lnTo>
                      <a:pt x="2226" y="687"/>
                    </a:lnTo>
                    <a:lnTo>
                      <a:pt x="2226" y="686"/>
                    </a:lnTo>
                    <a:lnTo>
                      <a:pt x="2224" y="685"/>
                    </a:lnTo>
                    <a:lnTo>
                      <a:pt x="2224" y="685"/>
                    </a:lnTo>
                    <a:lnTo>
                      <a:pt x="2223" y="685"/>
                    </a:lnTo>
                    <a:lnTo>
                      <a:pt x="2223" y="683"/>
                    </a:lnTo>
                    <a:lnTo>
                      <a:pt x="2221" y="683"/>
                    </a:lnTo>
                    <a:lnTo>
                      <a:pt x="2221" y="682"/>
                    </a:lnTo>
                    <a:lnTo>
                      <a:pt x="2221" y="682"/>
                    </a:lnTo>
                    <a:lnTo>
                      <a:pt x="2223" y="679"/>
                    </a:lnTo>
                    <a:lnTo>
                      <a:pt x="2224" y="673"/>
                    </a:lnTo>
                    <a:lnTo>
                      <a:pt x="2224" y="672"/>
                    </a:lnTo>
                    <a:lnTo>
                      <a:pt x="2226" y="670"/>
                    </a:lnTo>
                    <a:lnTo>
                      <a:pt x="2227" y="669"/>
                    </a:lnTo>
                    <a:lnTo>
                      <a:pt x="2227" y="667"/>
                    </a:lnTo>
                    <a:lnTo>
                      <a:pt x="2227" y="666"/>
                    </a:lnTo>
                    <a:lnTo>
                      <a:pt x="2226" y="664"/>
                    </a:lnTo>
                    <a:lnTo>
                      <a:pt x="2227" y="664"/>
                    </a:lnTo>
                    <a:lnTo>
                      <a:pt x="2229" y="663"/>
                    </a:lnTo>
                    <a:lnTo>
                      <a:pt x="2230" y="663"/>
                    </a:lnTo>
                    <a:lnTo>
                      <a:pt x="2234" y="662"/>
                    </a:lnTo>
                    <a:lnTo>
                      <a:pt x="2242" y="660"/>
                    </a:lnTo>
                    <a:lnTo>
                      <a:pt x="2246" y="660"/>
                    </a:lnTo>
                    <a:lnTo>
                      <a:pt x="2250" y="660"/>
                    </a:lnTo>
                    <a:lnTo>
                      <a:pt x="2256" y="663"/>
                    </a:lnTo>
                    <a:lnTo>
                      <a:pt x="2257" y="664"/>
                    </a:lnTo>
                    <a:lnTo>
                      <a:pt x="2262" y="664"/>
                    </a:lnTo>
                    <a:lnTo>
                      <a:pt x="2263" y="664"/>
                    </a:lnTo>
                    <a:lnTo>
                      <a:pt x="2265" y="666"/>
                    </a:lnTo>
                    <a:lnTo>
                      <a:pt x="2263" y="666"/>
                    </a:lnTo>
                    <a:lnTo>
                      <a:pt x="2262" y="666"/>
                    </a:lnTo>
                    <a:lnTo>
                      <a:pt x="2260" y="667"/>
                    </a:lnTo>
                    <a:lnTo>
                      <a:pt x="2260" y="669"/>
                    </a:lnTo>
                    <a:lnTo>
                      <a:pt x="2257" y="666"/>
                    </a:lnTo>
                    <a:lnTo>
                      <a:pt x="2253" y="666"/>
                    </a:lnTo>
                    <a:lnTo>
                      <a:pt x="2249" y="667"/>
                    </a:lnTo>
                    <a:lnTo>
                      <a:pt x="2244" y="669"/>
                    </a:lnTo>
                    <a:lnTo>
                      <a:pt x="2242" y="673"/>
                    </a:lnTo>
                    <a:lnTo>
                      <a:pt x="2242" y="677"/>
                    </a:lnTo>
                    <a:lnTo>
                      <a:pt x="2242" y="680"/>
                    </a:lnTo>
                    <a:lnTo>
                      <a:pt x="2240" y="685"/>
                    </a:lnTo>
                    <a:lnTo>
                      <a:pt x="2239" y="686"/>
                    </a:lnTo>
                    <a:lnTo>
                      <a:pt x="2237" y="687"/>
                    </a:lnTo>
                    <a:lnTo>
                      <a:pt x="2237" y="689"/>
                    </a:lnTo>
                    <a:lnTo>
                      <a:pt x="2236" y="692"/>
                    </a:lnTo>
                    <a:lnTo>
                      <a:pt x="2237" y="693"/>
                    </a:lnTo>
                    <a:lnTo>
                      <a:pt x="2239" y="695"/>
                    </a:lnTo>
                    <a:lnTo>
                      <a:pt x="2239" y="697"/>
                    </a:lnTo>
                    <a:lnTo>
                      <a:pt x="2237" y="700"/>
                    </a:lnTo>
                    <a:lnTo>
                      <a:pt x="2234" y="703"/>
                    </a:lnTo>
                    <a:lnTo>
                      <a:pt x="2232" y="705"/>
                    </a:lnTo>
                    <a:lnTo>
                      <a:pt x="2234" y="709"/>
                    </a:lnTo>
                    <a:lnTo>
                      <a:pt x="2230" y="712"/>
                    </a:lnTo>
                    <a:lnTo>
                      <a:pt x="2229" y="712"/>
                    </a:lnTo>
                    <a:lnTo>
                      <a:pt x="2227" y="712"/>
                    </a:lnTo>
                    <a:lnTo>
                      <a:pt x="2223" y="713"/>
                    </a:lnTo>
                    <a:lnTo>
                      <a:pt x="2221" y="713"/>
                    </a:lnTo>
                    <a:lnTo>
                      <a:pt x="2220" y="713"/>
                    </a:lnTo>
                    <a:lnTo>
                      <a:pt x="2217" y="716"/>
                    </a:lnTo>
                    <a:lnTo>
                      <a:pt x="2216" y="718"/>
                    </a:lnTo>
                    <a:lnTo>
                      <a:pt x="2209" y="720"/>
                    </a:lnTo>
                    <a:lnTo>
                      <a:pt x="2206" y="722"/>
                    </a:lnTo>
                    <a:lnTo>
                      <a:pt x="2204" y="723"/>
                    </a:lnTo>
                    <a:lnTo>
                      <a:pt x="2201" y="728"/>
                    </a:lnTo>
                    <a:lnTo>
                      <a:pt x="2200" y="729"/>
                    </a:lnTo>
                    <a:lnTo>
                      <a:pt x="2198" y="731"/>
                    </a:lnTo>
                    <a:lnTo>
                      <a:pt x="2196" y="733"/>
                    </a:lnTo>
                    <a:lnTo>
                      <a:pt x="2193" y="736"/>
                    </a:lnTo>
                    <a:lnTo>
                      <a:pt x="2187" y="742"/>
                    </a:lnTo>
                    <a:lnTo>
                      <a:pt x="2184" y="745"/>
                    </a:lnTo>
                    <a:lnTo>
                      <a:pt x="2178" y="748"/>
                    </a:lnTo>
                    <a:lnTo>
                      <a:pt x="2177" y="749"/>
                    </a:lnTo>
                    <a:lnTo>
                      <a:pt x="2167" y="758"/>
                    </a:lnTo>
                    <a:lnTo>
                      <a:pt x="2161" y="768"/>
                    </a:lnTo>
                    <a:lnTo>
                      <a:pt x="2158" y="771"/>
                    </a:lnTo>
                    <a:lnTo>
                      <a:pt x="2155" y="774"/>
                    </a:lnTo>
                    <a:lnTo>
                      <a:pt x="2153" y="776"/>
                    </a:lnTo>
                    <a:lnTo>
                      <a:pt x="2144" y="782"/>
                    </a:lnTo>
                    <a:lnTo>
                      <a:pt x="2138" y="787"/>
                    </a:lnTo>
                    <a:lnTo>
                      <a:pt x="2138" y="787"/>
                    </a:lnTo>
                    <a:lnTo>
                      <a:pt x="2138" y="788"/>
                    </a:lnTo>
                    <a:lnTo>
                      <a:pt x="2137" y="788"/>
                    </a:lnTo>
                    <a:lnTo>
                      <a:pt x="2135" y="788"/>
                    </a:lnTo>
                    <a:lnTo>
                      <a:pt x="2130" y="788"/>
                    </a:lnTo>
                    <a:lnTo>
                      <a:pt x="2128" y="788"/>
                    </a:lnTo>
                    <a:lnTo>
                      <a:pt x="2127" y="789"/>
                    </a:lnTo>
                    <a:lnTo>
                      <a:pt x="2125" y="792"/>
                    </a:lnTo>
                    <a:lnTo>
                      <a:pt x="2124" y="794"/>
                    </a:lnTo>
                    <a:lnTo>
                      <a:pt x="2121" y="794"/>
                    </a:lnTo>
                    <a:lnTo>
                      <a:pt x="2117" y="792"/>
                    </a:lnTo>
                    <a:lnTo>
                      <a:pt x="2115" y="794"/>
                    </a:lnTo>
                    <a:lnTo>
                      <a:pt x="2114" y="794"/>
                    </a:lnTo>
                    <a:lnTo>
                      <a:pt x="2114" y="795"/>
                    </a:lnTo>
                    <a:lnTo>
                      <a:pt x="2114" y="795"/>
                    </a:lnTo>
                    <a:lnTo>
                      <a:pt x="2115" y="797"/>
                    </a:lnTo>
                    <a:lnTo>
                      <a:pt x="2115" y="805"/>
                    </a:lnTo>
                    <a:lnTo>
                      <a:pt x="2111" y="811"/>
                    </a:lnTo>
                    <a:lnTo>
                      <a:pt x="2104" y="815"/>
                    </a:lnTo>
                    <a:lnTo>
                      <a:pt x="2099" y="820"/>
                    </a:lnTo>
                    <a:lnTo>
                      <a:pt x="2097" y="824"/>
                    </a:lnTo>
                    <a:lnTo>
                      <a:pt x="2095" y="828"/>
                    </a:lnTo>
                    <a:lnTo>
                      <a:pt x="2092" y="844"/>
                    </a:lnTo>
                    <a:lnTo>
                      <a:pt x="2091" y="848"/>
                    </a:lnTo>
                    <a:lnTo>
                      <a:pt x="2091" y="853"/>
                    </a:lnTo>
                    <a:lnTo>
                      <a:pt x="2092" y="861"/>
                    </a:lnTo>
                    <a:lnTo>
                      <a:pt x="2098" y="891"/>
                    </a:lnTo>
                    <a:lnTo>
                      <a:pt x="2101" y="906"/>
                    </a:lnTo>
                    <a:lnTo>
                      <a:pt x="2101" y="910"/>
                    </a:lnTo>
                    <a:lnTo>
                      <a:pt x="2104" y="917"/>
                    </a:lnTo>
                    <a:lnTo>
                      <a:pt x="2105" y="922"/>
                    </a:lnTo>
                    <a:lnTo>
                      <a:pt x="2108" y="945"/>
                    </a:lnTo>
                    <a:lnTo>
                      <a:pt x="2112" y="958"/>
                    </a:lnTo>
                    <a:lnTo>
                      <a:pt x="2115" y="956"/>
                    </a:lnTo>
                    <a:lnTo>
                      <a:pt x="2135" y="936"/>
                    </a:lnTo>
                    <a:lnTo>
                      <a:pt x="2138" y="930"/>
                    </a:lnTo>
                    <a:lnTo>
                      <a:pt x="2141" y="925"/>
                    </a:lnTo>
                    <a:lnTo>
                      <a:pt x="2144" y="910"/>
                    </a:lnTo>
                    <a:lnTo>
                      <a:pt x="2144" y="907"/>
                    </a:lnTo>
                    <a:lnTo>
                      <a:pt x="2142" y="907"/>
                    </a:lnTo>
                    <a:lnTo>
                      <a:pt x="2142" y="906"/>
                    </a:lnTo>
                    <a:lnTo>
                      <a:pt x="2141" y="904"/>
                    </a:lnTo>
                    <a:lnTo>
                      <a:pt x="2144" y="904"/>
                    </a:lnTo>
                    <a:lnTo>
                      <a:pt x="2144" y="906"/>
                    </a:lnTo>
                    <a:lnTo>
                      <a:pt x="2145" y="907"/>
                    </a:lnTo>
                    <a:lnTo>
                      <a:pt x="2147" y="909"/>
                    </a:lnTo>
                    <a:lnTo>
                      <a:pt x="2148" y="907"/>
                    </a:lnTo>
                    <a:lnTo>
                      <a:pt x="2151" y="904"/>
                    </a:lnTo>
                    <a:lnTo>
                      <a:pt x="2153" y="903"/>
                    </a:lnTo>
                    <a:lnTo>
                      <a:pt x="2161" y="900"/>
                    </a:lnTo>
                    <a:lnTo>
                      <a:pt x="2163" y="900"/>
                    </a:lnTo>
                    <a:lnTo>
                      <a:pt x="2164" y="900"/>
                    </a:lnTo>
                    <a:lnTo>
                      <a:pt x="2165" y="902"/>
                    </a:lnTo>
                    <a:lnTo>
                      <a:pt x="2167" y="902"/>
                    </a:lnTo>
                    <a:lnTo>
                      <a:pt x="2168" y="903"/>
                    </a:lnTo>
                    <a:lnTo>
                      <a:pt x="2170" y="903"/>
                    </a:lnTo>
                    <a:lnTo>
                      <a:pt x="2170" y="902"/>
                    </a:lnTo>
                    <a:lnTo>
                      <a:pt x="2168" y="900"/>
                    </a:lnTo>
                    <a:lnTo>
                      <a:pt x="2168" y="899"/>
                    </a:lnTo>
                    <a:lnTo>
                      <a:pt x="2168" y="897"/>
                    </a:lnTo>
                    <a:lnTo>
                      <a:pt x="2167" y="896"/>
                    </a:lnTo>
                    <a:lnTo>
                      <a:pt x="2168" y="893"/>
                    </a:lnTo>
                    <a:lnTo>
                      <a:pt x="2168" y="891"/>
                    </a:lnTo>
                    <a:lnTo>
                      <a:pt x="2167" y="886"/>
                    </a:lnTo>
                    <a:lnTo>
                      <a:pt x="2167" y="883"/>
                    </a:lnTo>
                    <a:lnTo>
                      <a:pt x="2168" y="880"/>
                    </a:lnTo>
                    <a:lnTo>
                      <a:pt x="2173" y="876"/>
                    </a:lnTo>
                    <a:lnTo>
                      <a:pt x="2177" y="871"/>
                    </a:lnTo>
                    <a:lnTo>
                      <a:pt x="2184" y="868"/>
                    </a:lnTo>
                    <a:lnTo>
                      <a:pt x="2190" y="868"/>
                    </a:lnTo>
                    <a:lnTo>
                      <a:pt x="2194" y="870"/>
                    </a:lnTo>
                    <a:lnTo>
                      <a:pt x="2197" y="870"/>
                    </a:lnTo>
                    <a:lnTo>
                      <a:pt x="2200" y="868"/>
                    </a:lnTo>
                    <a:lnTo>
                      <a:pt x="2203" y="867"/>
                    </a:lnTo>
                    <a:lnTo>
                      <a:pt x="2204" y="866"/>
                    </a:lnTo>
                    <a:lnTo>
                      <a:pt x="2206" y="863"/>
                    </a:lnTo>
                    <a:lnTo>
                      <a:pt x="2204" y="860"/>
                    </a:lnTo>
                    <a:lnTo>
                      <a:pt x="2201" y="854"/>
                    </a:lnTo>
                    <a:lnTo>
                      <a:pt x="2200" y="851"/>
                    </a:lnTo>
                    <a:lnTo>
                      <a:pt x="2200" y="848"/>
                    </a:lnTo>
                    <a:lnTo>
                      <a:pt x="2200" y="845"/>
                    </a:lnTo>
                    <a:lnTo>
                      <a:pt x="2201" y="843"/>
                    </a:lnTo>
                    <a:lnTo>
                      <a:pt x="2206" y="835"/>
                    </a:lnTo>
                    <a:lnTo>
                      <a:pt x="2206" y="834"/>
                    </a:lnTo>
                    <a:lnTo>
                      <a:pt x="2207" y="834"/>
                    </a:lnTo>
                    <a:lnTo>
                      <a:pt x="2209" y="833"/>
                    </a:lnTo>
                    <a:lnTo>
                      <a:pt x="2213" y="831"/>
                    </a:lnTo>
                    <a:lnTo>
                      <a:pt x="2213" y="831"/>
                    </a:lnTo>
                    <a:lnTo>
                      <a:pt x="2214" y="830"/>
                    </a:lnTo>
                    <a:lnTo>
                      <a:pt x="2213" y="828"/>
                    </a:lnTo>
                    <a:lnTo>
                      <a:pt x="2213" y="828"/>
                    </a:lnTo>
                    <a:lnTo>
                      <a:pt x="2214" y="827"/>
                    </a:lnTo>
                    <a:lnTo>
                      <a:pt x="2214" y="827"/>
                    </a:lnTo>
                    <a:lnTo>
                      <a:pt x="2214" y="825"/>
                    </a:lnTo>
                    <a:lnTo>
                      <a:pt x="2216" y="825"/>
                    </a:lnTo>
                    <a:lnTo>
                      <a:pt x="2216" y="825"/>
                    </a:lnTo>
                    <a:lnTo>
                      <a:pt x="2217" y="825"/>
                    </a:lnTo>
                    <a:lnTo>
                      <a:pt x="2221" y="825"/>
                    </a:lnTo>
                    <a:lnTo>
                      <a:pt x="2223" y="824"/>
                    </a:lnTo>
                    <a:lnTo>
                      <a:pt x="2220" y="827"/>
                    </a:lnTo>
                    <a:lnTo>
                      <a:pt x="2217" y="828"/>
                    </a:lnTo>
                    <a:lnTo>
                      <a:pt x="2216" y="830"/>
                    </a:lnTo>
                    <a:lnTo>
                      <a:pt x="2217" y="833"/>
                    </a:lnTo>
                    <a:lnTo>
                      <a:pt x="2219" y="834"/>
                    </a:lnTo>
                    <a:lnTo>
                      <a:pt x="2221" y="835"/>
                    </a:lnTo>
                    <a:lnTo>
                      <a:pt x="2224" y="834"/>
                    </a:lnTo>
                    <a:lnTo>
                      <a:pt x="2226" y="833"/>
                    </a:lnTo>
                    <a:lnTo>
                      <a:pt x="2227" y="831"/>
                    </a:lnTo>
                    <a:lnTo>
                      <a:pt x="2227" y="830"/>
                    </a:lnTo>
                    <a:lnTo>
                      <a:pt x="2227" y="828"/>
                    </a:lnTo>
                    <a:lnTo>
                      <a:pt x="2226" y="821"/>
                    </a:lnTo>
                    <a:lnTo>
                      <a:pt x="2226" y="821"/>
                    </a:lnTo>
                    <a:lnTo>
                      <a:pt x="2224" y="820"/>
                    </a:lnTo>
                    <a:lnTo>
                      <a:pt x="2221" y="820"/>
                    </a:lnTo>
                    <a:lnTo>
                      <a:pt x="2220" y="820"/>
                    </a:lnTo>
                    <a:lnTo>
                      <a:pt x="2219" y="817"/>
                    </a:lnTo>
                    <a:lnTo>
                      <a:pt x="2217" y="815"/>
                    </a:lnTo>
                    <a:lnTo>
                      <a:pt x="2217" y="808"/>
                    </a:lnTo>
                    <a:lnTo>
                      <a:pt x="2217" y="807"/>
                    </a:lnTo>
                    <a:lnTo>
                      <a:pt x="2219" y="804"/>
                    </a:lnTo>
                    <a:lnTo>
                      <a:pt x="2223" y="799"/>
                    </a:lnTo>
                    <a:lnTo>
                      <a:pt x="2224" y="798"/>
                    </a:lnTo>
                    <a:lnTo>
                      <a:pt x="2226" y="795"/>
                    </a:lnTo>
                    <a:lnTo>
                      <a:pt x="2224" y="792"/>
                    </a:lnTo>
                    <a:lnTo>
                      <a:pt x="2221" y="791"/>
                    </a:lnTo>
                    <a:lnTo>
                      <a:pt x="2219" y="791"/>
                    </a:lnTo>
                    <a:lnTo>
                      <a:pt x="2214" y="791"/>
                    </a:lnTo>
                    <a:lnTo>
                      <a:pt x="2214" y="792"/>
                    </a:lnTo>
                    <a:lnTo>
                      <a:pt x="2213" y="794"/>
                    </a:lnTo>
                    <a:lnTo>
                      <a:pt x="2211" y="795"/>
                    </a:lnTo>
                    <a:lnTo>
                      <a:pt x="2210" y="794"/>
                    </a:lnTo>
                    <a:lnTo>
                      <a:pt x="2209" y="792"/>
                    </a:lnTo>
                    <a:lnTo>
                      <a:pt x="2206" y="791"/>
                    </a:lnTo>
                    <a:lnTo>
                      <a:pt x="2204" y="789"/>
                    </a:lnTo>
                    <a:lnTo>
                      <a:pt x="2204" y="787"/>
                    </a:lnTo>
                    <a:lnTo>
                      <a:pt x="2204" y="784"/>
                    </a:lnTo>
                    <a:lnTo>
                      <a:pt x="2206" y="781"/>
                    </a:lnTo>
                    <a:lnTo>
                      <a:pt x="2206" y="778"/>
                    </a:lnTo>
                    <a:lnTo>
                      <a:pt x="2210" y="772"/>
                    </a:lnTo>
                    <a:lnTo>
                      <a:pt x="2219" y="765"/>
                    </a:lnTo>
                    <a:lnTo>
                      <a:pt x="2221" y="761"/>
                    </a:lnTo>
                    <a:lnTo>
                      <a:pt x="2221" y="759"/>
                    </a:lnTo>
                    <a:lnTo>
                      <a:pt x="2221" y="758"/>
                    </a:lnTo>
                    <a:lnTo>
                      <a:pt x="2223" y="758"/>
                    </a:lnTo>
                    <a:lnTo>
                      <a:pt x="2223" y="758"/>
                    </a:lnTo>
                    <a:lnTo>
                      <a:pt x="2223" y="758"/>
                    </a:lnTo>
                    <a:lnTo>
                      <a:pt x="2224" y="758"/>
                    </a:lnTo>
                    <a:lnTo>
                      <a:pt x="2224" y="756"/>
                    </a:lnTo>
                    <a:lnTo>
                      <a:pt x="2226" y="755"/>
                    </a:lnTo>
                    <a:lnTo>
                      <a:pt x="2226" y="755"/>
                    </a:lnTo>
                    <a:lnTo>
                      <a:pt x="2227" y="752"/>
                    </a:lnTo>
                    <a:lnTo>
                      <a:pt x="2227" y="746"/>
                    </a:lnTo>
                    <a:lnTo>
                      <a:pt x="2227" y="743"/>
                    </a:lnTo>
                    <a:lnTo>
                      <a:pt x="2229" y="741"/>
                    </a:lnTo>
                    <a:lnTo>
                      <a:pt x="2230" y="738"/>
                    </a:lnTo>
                    <a:lnTo>
                      <a:pt x="2233" y="736"/>
                    </a:lnTo>
                    <a:lnTo>
                      <a:pt x="2234" y="733"/>
                    </a:lnTo>
                    <a:lnTo>
                      <a:pt x="2237" y="733"/>
                    </a:lnTo>
                    <a:lnTo>
                      <a:pt x="2240" y="735"/>
                    </a:lnTo>
                    <a:lnTo>
                      <a:pt x="2242" y="735"/>
                    </a:lnTo>
                    <a:lnTo>
                      <a:pt x="2242" y="738"/>
                    </a:lnTo>
                    <a:lnTo>
                      <a:pt x="2244" y="735"/>
                    </a:lnTo>
                    <a:lnTo>
                      <a:pt x="2246" y="733"/>
                    </a:lnTo>
                    <a:lnTo>
                      <a:pt x="2249" y="733"/>
                    </a:lnTo>
                    <a:lnTo>
                      <a:pt x="2252" y="735"/>
                    </a:lnTo>
                    <a:lnTo>
                      <a:pt x="2253" y="738"/>
                    </a:lnTo>
                    <a:lnTo>
                      <a:pt x="2256" y="739"/>
                    </a:lnTo>
                    <a:lnTo>
                      <a:pt x="2256" y="738"/>
                    </a:lnTo>
                    <a:lnTo>
                      <a:pt x="2259" y="735"/>
                    </a:lnTo>
                    <a:lnTo>
                      <a:pt x="2259" y="733"/>
                    </a:lnTo>
                    <a:lnTo>
                      <a:pt x="2259" y="733"/>
                    </a:lnTo>
                    <a:lnTo>
                      <a:pt x="2259" y="732"/>
                    </a:lnTo>
                    <a:lnTo>
                      <a:pt x="2259" y="732"/>
                    </a:lnTo>
                    <a:lnTo>
                      <a:pt x="2260" y="732"/>
                    </a:lnTo>
                    <a:lnTo>
                      <a:pt x="2260" y="732"/>
                    </a:lnTo>
                    <a:lnTo>
                      <a:pt x="2262" y="732"/>
                    </a:lnTo>
                    <a:lnTo>
                      <a:pt x="2262" y="731"/>
                    </a:lnTo>
                    <a:lnTo>
                      <a:pt x="2267" y="728"/>
                    </a:lnTo>
                    <a:lnTo>
                      <a:pt x="2275" y="723"/>
                    </a:lnTo>
                    <a:lnTo>
                      <a:pt x="2277" y="722"/>
                    </a:lnTo>
                    <a:lnTo>
                      <a:pt x="2280" y="722"/>
                    </a:lnTo>
                    <a:lnTo>
                      <a:pt x="2279" y="725"/>
                    </a:lnTo>
                    <a:lnTo>
                      <a:pt x="2277" y="731"/>
                    </a:lnTo>
                    <a:lnTo>
                      <a:pt x="2277" y="735"/>
                    </a:lnTo>
                    <a:lnTo>
                      <a:pt x="2277" y="739"/>
                    </a:lnTo>
                    <a:lnTo>
                      <a:pt x="2280" y="738"/>
                    </a:lnTo>
                    <a:lnTo>
                      <a:pt x="2285" y="735"/>
                    </a:lnTo>
                    <a:lnTo>
                      <a:pt x="2290" y="728"/>
                    </a:lnTo>
                    <a:lnTo>
                      <a:pt x="2298" y="722"/>
                    </a:lnTo>
                    <a:lnTo>
                      <a:pt x="2306" y="720"/>
                    </a:lnTo>
                    <a:lnTo>
                      <a:pt x="2328" y="719"/>
                    </a:lnTo>
                    <a:lnTo>
                      <a:pt x="2331" y="719"/>
                    </a:lnTo>
                    <a:lnTo>
                      <a:pt x="2332" y="719"/>
                    </a:lnTo>
                    <a:lnTo>
                      <a:pt x="2335" y="720"/>
                    </a:lnTo>
                    <a:lnTo>
                      <a:pt x="2336" y="722"/>
                    </a:lnTo>
                    <a:lnTo>
                      <a:pt x="2338" y="723"/>
                    </a:lnTo>
                    <a:lnTo>
                      <a:pt x="2339" y="725"/>
                    </a:lnTo>
                    <a:lnTo>
                      <a:pt x="2342" y="728"/>
                    </a:lnTo>
                    <a:lnTo>
                      <a:pt x="2344" y="732"/>
                    </a:lnTo>
                    <a:lnTo>
                      <a:pt x="2345" y="733"/>
                    </a:lnTo>
                    <a:lnTo>
                      <a:pt x="2349" y="735"/>
                    </a:lnTo>
                    <a:lnTo>
                      <a:pt x="2352" y="735"/>
                    </a:lnTo>
                    <a:lnTo>
                      <a:pt x="2354" y="731"/>
                    </a:lnTo>
                    <a:lnTo>
                      <a:pt x="2354" y="726"/>
                    </a:lnTo>
                    <a:lnTo>
                      <a:pt x="2355" y="723"/>
                    </a:lnTo>
                    <a:lnTo>
                      <a:pt x="2356" y="722"/>
                    </a:lnTo>
                    <a:lnTo>
                      <a:pt x="2358" y="722"/>
                    </a:lnTo>
                    <a:lnTo>
                      <a:pt x="2362" y="720"/>
                    </a:lnTo>
                    <a:lnTo>
                      <a:pt x="2384" y="708"/>
                    </a:lnTo>
                    <a:lnTo>
                      <a:pt x="2387" y="705"/>
                    </a:lnTo>
                    <a:lnTo>
                      <a:pt x="2387" y="705"/>
                    </a:lnTo>
                    <a:lnTo>
                      <a:pt x="2387" y="703"/>
                    </a:lnTo>
                    <a:lnTo>
                      <a:pt x="2387" y="703"/>
                    </a:lnTo>
                    <a:lnTo>
                      <a:pt x="2388" y="702"/>
                    </a:lnTo>
                    <a:lnTo>
                      <a:pt x="2388" y="702"/>
                    </a:lnTo>
                    <a:lnTo>
                      <a:pt x="2392" y="700"/>
                    </a:lnTo>
                    <a:lnTo>
                      <a:pt x="2392" y="699"/>
                    </a:lnTo>
                    <a:lnTo>
                      <a:pt x="2392" y="699"/>
                    </a:lnTo>
                    <a:lnTo>
                      <a:pt x="2392" y="697"/>
                    </a:lnTo>
                    <a:lnTo>
                      <a:pt x="2395" y="697"/>
                    </a:lnTo>
                    <a:lnTo>
                      <a:pt x="2395" y="697"/>
                    </a:lnTo>
                    <a:lnTo>
                      <a:pt x="2394" y="696"/>
                    </a:lnTo>
                    <a:lnTo>
                      <a:pt x="2394" y="695"/>
                    </a:lnTo>
                    <a:lnTo>
                      <a:pt x="2395" y="693"/>
                    </a:lnTo>
                    <a:lnTo>
                      <a:pt x="2395" y="693"/>
                    </a:lnTo>
                    <a:lnTo>
                      <a:pt x="2398" y="695"/>
                    </a:lnTo>
                    <a:lnTo>
                      <a:pt x="2400" y="695"/>
                    </a:lnTo>
                    <a:lnTo>
                      <a:pt x="2402" y="693"/>
                    </a:lnTo>
                    <a:lnTo>
                      <a:pt x="2407" y="687"/>
                    </a:lnTo>
                    <a:lnTo>
                      <a:pt x="2408" y="686"/>
                    </a:lnTo>
                    <a:lnTo>
                      <a:pt x="2410" y="686"/>
                    </a:lnTo>
                    <a:lnTo>
                      <a:pt x="2412" y="686"/>
                    </a:lnTo>
                    <a:lnTo>
                      <a:pt x="2414" y="686"/>
                    </a:lnTo>
                    <a:lnTo>
                      <a:pt x="2415" y="686"/>
                    </a:lnTo>
                    <a:lnTo>
                      <a:pt x="2418" y="683"/>
                    </a:lnTo>
                    <a:lnTo>
                      <a:pt x="2420" y="683"/>
                    </a:lnTo>
                    <a:lnTo>
                      <a:pt x="2424" y="683"/>
                    </a:lnTo>
                    <a:lnTo>
                      <a:pt x="2425" y="682"/>
                    </a:lnTo>
                    <a:lnTo>
                      <a:pt x="2425" y="682"/>
                    </a:lnTo>
                    <a:lnTo>
                      <a:pt x="2427" y="680"/>
                    </a:lnTo>
                    <a:lnTo>
                      <a:pt x="2427" y="680"/>
                    </a:lnTo>
                    <a:lnTo>
                      <a:pt x="2428" y="680"/>
                    </a:lnTo>
                    <a:lnTo>
                      <a:pt x="2428" y="680"/>
                    </a:lnTo>
                    <a:lnTo>
                      <a:pt x="2428" y="680"/>
                    </a:lnTo>
                    <a:lnTo>
                      <a:pt x="2430" y="679"/>
                    </a:lnTo>
                    <a:lnTo>
                      <a:pt x="2454" y="669"/>
                    </a:lnTo>
                    <a:lnTo>
                      <a:pt x="2461" y="666"/>
                    </a:lnTo>
                    <a:lnTo>
                      <a:pt x="2470" y="663"/>
                    </a:lnTo>
                    <a:lnTo>
                      <a:pt x="2471" y="663"/>
                    </a:lnTo>
                    <a:lnTo>
                      <a:pt x="2470" y="662"/>
                    </a:lnTo>
                    <a:lnTo>
                      <a:pt x="2468" y="662"/>
                    </a:lnTo>
                    <a:lnTo>
                      <a:pt x="2467" y="662"/>
                    </a:lnTo>
                    <a:lnTo>
                      <a:pt x="2467" y="660"/>
                    </a:lnTo>
                    <a:lnTo>
                      <a:pt x="2467" y="659"/>
                    </a:lnTo>
                    <a:lnTo>
                      <a:pt x="2468" y="657"/>
                    </a:lnTo>
                    <a:lnTo>
                      <a:pt x="2470" y="657"/>
                    </a:lnTo>
                    <a:lnTo>
                      <a:pt x="2471" y="657"/>
                    </a:lnTo>
                    <a:lnTo>
                      <a:pt x="2471" y="657"/>
                    </a:lnTo>
                    <a:lnTo>
                      <a:pt x="2473" y="657"/>
                    </a:lnTo>
                    <a:lnTo>
                      <a:pt x="2474" y="657"/>
                    </a:lnTo>
                    <a:lnTo>
                      <a:pt x="2474" y="659"/>
                    </a:lnTo>
                    <a:lnTo>
                      <a:pt x="2474" y="660"/>
                    </a:lnTo>
                    <a:lnTo>
                      <a:pt x="2473" y="660"/>
                    </a:lnTo>
                    <a:lnTo>
                      <a:pt x="2473" y="662"/>
                    </a:lnTo>
                    <a:lnTo>
                      <a:pt x="2476" y="663"/>
                    </a:lnTo>
                    <a:lnTo>
                      <a:pt x="2486" y="663"/>
                    </a:lnTo>
                    <a:lnTo>
                      <a:pt x="2497" y="667"/>
                    </a:lnTo>
                    <a:lnTo>
                      <a:pt x="2502" y="669"/>
                    </a:lnTo>
                    <a:lnTo>
                      <a:pt x="2503" y="669"/>
                    </a:lnTo>
                    <a:lnTo>
                      <a:pt x="2503" y="669"/>
                    </a:lnTo>
                    <a:lnTo>
                      <a:pt x="2504" y="670"/>
                    </a:lnTo>
                    <a:lnTo>
                      <a:pt x="2504" y="669"/>
                    </a:lnTo>
                    <a:lnTo>
                      <a:pt x="2504" y="669"/>
                    </a:lnTo>
                    <a:lnTo>
                      <a:pt x="2504" y="669"/>
                    </a:lnTo>
                    <a:lnTo>
                      <a:pt x="2506" y="669"/>
                    </a:lnTo>
                    <a:lnTo>
                      <a:pt x="2506" y="667"/>
                    </a:lnTo>
                    <a:lnTo>
                      <a:pt x="2507" y="666"/>
                    </a:lnTo>
                    <a:lnTo>
                      <a:pt x="2507" y="664"/>
                    </a:lnTo>
                    <a:lnTo>
                      <a:pt x="2509" y="664"/>
                    </a:lnTo>
                    <a:lnTo>
                      <a:pt x="2509" y="663"/>
                    </a:lnTo>
                    <a:lnTo>
                      <a:pt x="2512" y="662"/>
                    </a:lnTo>
                    <a:lnTo>
                      <a:pt x="2513" y="660"/>
                    </a:lnTo>
                    <a:lnTo>
                      <a:pt x="2513" y="659"/>
                    </a:lnTo>
                    <a:lnTo>
                      <a:pt x="2513" y="657"/>
                    </a:lnTo>
                    <a:lnTo>
                      <a:pt x="2512" y="656"/>
                    </a:lnTo>
                    <a:lnTo>
                      <a:pt x="2512" y="656"/>
                    </a:lnTo>
                    <a:lnTo>
                      <a:pt x="2510" y="654"/>
                    </a:lnTo>
                    <a:lnTo>
                      <a:pt x="2509" y="653"/>
                    </a:lnTo>
                    <a:lnTo>
                      <a:pt x="2509" y="653"/>
                    </a:lnTo>
                    <a:lnTo>
                      <a:pt x="2509" y="651"/>
                    </a:lnTo>
                    <a:lnTo>
                      <a:pt x="2509" y="651"/>
                    </a:lnTo>
                    <a:lnTo>
                      <a:pt x="2509" y="650"/>
                    </a:lnTo>
                    <a:lnTo>
                      <a:pt x="2509" y="650"/>
                    </a:lnTo>
                    <a:lnTo>
                      <a:pt x="2509" y="650"/>
                    </a:lnTo>
                    <a:lnTo>
                      <a:pt x="2510" y="647"/>
                    </a:lnTo>
                    <a:lnTo>
                      <a:pt x="2509" y="647"/>
                    </a:lnTo>
                    <a:lnTo>
                      <a:pt x="2509" y="646"/>
                    </a:lnTo>
                    <a:lnTo>
                      <a:pt x="2506" y="644"/>
                    </a:lnTo>
                    <a:lnTo>
                      <a:pt x="2503" y="643"/>
                    </a:lnTo>
                    <a:lnTo>
                      <a:pt x="2502" y="641"/>
                    </a:lnTo>
                    <a:lnTo>
                      <a:pt x="2502" y="640"/>
                    </a:lnTo>
                    <a:lnTo>
                      <a:pt x="2500" y="636"/>
                    </a:lnTo>
                    <a:lnTo>
                      <a:pt x="2500" y="637"/>
                    </a:lnTo>
                    <a:lnTo>
                      <a:pt x="2499" y="639"/>
                    </a:lnTo>
                    <a:lnTo>
                      <a:pt x="2499" y="639"/>
                    </a:lnTo>
                    <a:lnTo>
                      <a:pt x="2497" y="639"/>
                    </a:lnTo>
                    <a:lnTo>
                      <a:pt x="2497" y="637"/>
                    </a:lnTo>
                    <a:lnTo>
                      <a:pt x="2497" y="637"/>
                    </a:lnTo>
                    <a:lnTo>
                      <a:pt x="2497" y="636"/>
                    </a:lnTo>
                    <a:lnTo>
                      <a:pt x="2497" y="636"/>
                    </a:lnTo>
                    <a:lnTo>
                      <a:pt x="2496" y="634"/>
                    </a:lnTo>
                    <a:lnTo>
                      <a:pt x="2494" y="634"/>
                    </a:lnTo>
                    <a:lnTo>
                      <a:pt x="2494" y="634"/>
                    </a:lnTo>
                    <a:lnTo>
                      <a:pt x="2493" y="634"/>
                    </a:lnTo>
                    <a:lnTo>
                      <a:pt x="2494" y="633"/>
                    </a:lnTo>
                    <a:lnTo>
                      <a:pt x="2496" y="633"/>
                    </a:lnTo>
                    <a:lnTo>
                      <a:pt x="2497" y="633"/>
                    </a:lnTo>
                    <a:lnTo>
                      <a:pt x="2499" y="631"/>
                    </a:lnTo>
                    <a:lnTo>
                      <a:pt x="2499" y="630"/>
                    </a:lnTo>
                    <a:lnTo>
                      <a:pt x="2497" y="627"/>
                    </a:lnTo>
                    <a:lnTo>
                      <a:pt x="2497" y="624"/>
                    </a:lnTo>
                    <a:lnTo>
                      <a:pt x="2496" y="623"/>
                    </a:lnTo>
                    <a:lnTo>
                      <a:pt x="2496" y="623"/>
                    </a:lnTo>
                    <a:lnTo>
                      <a:pt x="2494" y="621"/>
                    </a:lnTo>
                    <a:lnTo>
                      <a:pt x="2493" y="621"/>
                    </a:lnTo>
                    <a:lnTo>
                      <a:pt x="2493" y="620"/>
                    </a:lnTo>
                    <a:lnTo>
                      <a:pt x="2494" y="618"/>
                    </a:lnTo>
                    <a:lnTo>
                      <a:pt x="2494" y="618"/>
                    </a:lnTo>
                    <a:lnTo>
                      <a:pt x="2493" y="616"/>
                    </a:lnTo>
                    <a:lnTo>
                      <a:pt x="2493" y="614"/>
                    </a:lnTo>
                    <a:lnTo>
                      <a:pt x="2491" y="611"/>
                    </a:lnTo>
                    <a:lnTo>
                      <a:pt x="2490" y="610"/>
                    </a:lnTo>
                    <a:lnTo>
                      <a:pt x="2489" y="611"/>
                    </a:lnTo>
                    <a:lnTo>
                      <a:pt x="2489" y="613"/>
                    </a:lnTo>
                    <a:lnTo>
                      <a:pt x="2487" y="614"/>
                    </a:lnTo>
                    <a:lnTo>
                      <a:pt x="2486" y="614"/>
                    </a:lnTo>
                    <a:lnTo>
                      <a:pt x="2484" y="614"/>
                    </a:lnTo>
                    <a:lnTo>
                      <a:pt x="2483" y="614"/>
                    </a:lnTo>
                    <a:lnTo>
                      <a:pt x="2481" y="613"/>
                    </a:lnTo>
                    <a:lnTo>
                      <a:pt x="2479" y="610"/>
                    </a:lnTo>
                    <a:lnTo>
                      <a:pt x="2477" y="608"/>
                    </a:lnTo>
                    <a:lnTo>
                      <a:pt x="2476" y="607"/>
                    </a:lnTo>
                    <a:lnTo>
                      <a:pt x="2476" y="605"/>
                    </a:lnTo>
                    <a:lnTo>
                      <a:pt x="2476" y="604"/>
                    </a:lnTo>
                    <a:lnTo>
                      <a:pt x="2476" y="600"/>
                    </a:lnTo>
                    <a:lnTo>
                      <a:pt x="2476" y="598"/>
                    </a:lnTo>
                    <a:lnTo>
                      <a:pt x="2474" y="597"/>
                    </a:lnTo>
                    <a:lnTo>
                      <a:pt x="2471" y="597"/>
                    </a:lnTo>
                    <a:lnTo>
                      <a:pt x="2467" y="600"/>
                    </a:lnTo>
                    <a:lnTo>
                      <a:pt x="2464" y="601"/>
                    </a:lnTo>
                    <a:lnTo>
                      <a:pt x="2463" y="601"/>
                    </a:lnTo>
                    <a:lnTo>
                      <a:pt x="2461" y="600"/>
                    </a:lnTo>
                    <a:lnTo>
                      <a:pt x="2460" y="600"/>
                    </a:lnTo>
                    <a:lnTo>
                      <a:pt x="2458" y="600"/>
                    </a:lnTo>
                    <a:lnTo>
                      <a:pt x="2457" y="601"/>
                    </a:lnTo>
                    <a:lnTo>
                      <a:pt x="2453" y="603"/>
                    </a:lnTo>
                    <a:lnTo>
                      <a:pt x="2456" y="600"/>
                    </a:lnTo>
                    <a:lnTo>
                      <a:pt x="2456" y="598"/>
                    </a:lnTo>
                    <a:lnTo>
                      <a:pt x="2456" y="595"/>
                    </a:lnTo>
                    <a:lnTo>
                      <a:pt x="2453" y="593"/>
                    </a:lnTo>
                    <a:lnTo>
                      <a:pt x="2451" y="593"/>
                    </a:lnTo>
                    <a:lnTo>
                      <a:pt x="2450" y="594"/>
                    </a:lnTo>
                    <a:lnTo>
                      <a:pt x="2447" y="595"/>
                    </a:lnTo>
                    <a:lnTo>
                      <a:pt x="2444" y="597"/>
                    </a:lnTo>
                    <a:lnTo>
                      <a:pt x="2443" y="597"/>
                    </a:lnTo>
                    <a:lnTo>
                      <a:pt x="2437" y="597"/>
                    </a:lnTo>
                    <a:lnTo>
                      <a:pt x="2428" y="600"/>
                    </a:lnTo>
                    <a:lnTo>
                      <a:pt x="2425" y="600"/>
                    </a:lnTo>
                    <a:lnTo>
                      <a:pt x="2443" y="595"/>
                    </a:lnTo>
                    <a:lnTo>
                      <a:pt x="2444" y="594"/>
                    </a:lnTo>
                    <a:lnTo>
                      <a:pt x="2448" y="591"/>
                    </a:lnTo>
                    <a:lnTo>
                      <a:pt x="2451" y="591"/>
                    </a:lnTo>
                    <a:lnTo>
                      <a:pt x="2453" y="591"/>
                    </a:lnTo>
                    <a:lnTo>
                      <a:pt x="2457" y="593"/>
                    </a:lnTo>
                    <a:lnTo>
                      <a:pt x="2458" y="594"/>
                    </a:lnTo>
                    <a:lnTo>
                      <a:pt x="2468" y="595"/>
                    </a:lnTo>
                    <a:lnTo>
                      <a:pt x="2470" y="595"/>
                    </a:lnTo>
                    <a:lnTo>
                      <a:pt x="2471" y="594"/>
                    </a:lnTo>
                    <a:lnTo>
                      <a:pt x="2471" y="593"/>
                    </a:lnTo>
                    <a:lnTo>
                      <a:pt x="2468" y="590"/>
                    </a:lnTo>
                    <a:lnTo>
                      <a:pt x="2466" y="588"/>
                    </a:lnTo>
                    <a:lnTo>
                      <a:pt x="2460" y="588"/>
                    </a:lnTo>
                    <a:lnTo>
                      <a:pt x="2457" y="587"/>
                    </a:lnTo>
                    <a:lnTo>
                      <a:pt x="2457" y="587"/>
                    </a:lnTo>
                    <a:lnTo>
                      <a:pt x="2458" y="587"/>
                    </a:lnTo>
                    <a:lnTo>
                      <a:pt x="2460" y="587"/>
                    </a:lnTo>
                    <a:lnTo>
                      <a:pt x="2461" y="588"/>
                    </a:lnTo>
                    <a:lnTo>
                      <a:pt x="2463" y="587"/>
                    </a:lnTo>
                    <a:lnTo>
                      <a:pt x="2466" y="587"/>
                    </a:lnTo>
                    <a:lnTo>
                      <a:pt x="2467" y="587"/>
                    </a:lnTo>
                    <a:lnTo>
                      <a:pt x="2470" y="587"/>
                    </a:lnTo>
                    <a:lnTo>
                      <a:pt x="2471" y="590"/>
                    </a:lnTo>
                    <a:lnTo>
                      <a:pt x="2479" y="595"/>
                    </a:lnTo>
                    <a:lnTo>
                      <a:pt x="2480" y="597"/>
                    </a:lnTo>
                    <a:lnTo>
                      <a:pt x="2483" y="598"/>
                    </a:lnTo>
                    <a:lnTo>
                      <a:pt x="2489" y="600"/>
                    </a:lnTo>
                    <a:lnTo>
                      <a:pt x="2491" y="601"/>
                    </a:lnTo>
                    <a:lnTo>
                      <a:pt x="2494" y="601"/>
                    </a:lnTo>
                    <a:lnTo>
                      <a:pt x="2497" y="601"/>
                    </a:lnTo>
                    <a:lnTo>
                      <a:pt x="2500" y="600"/>
                    </a:lnTo>
                    <a:lnTo>
                      <a:pt x="2510" y="595"/>
                    </a:lnTo>
                    <a:lnTo>
                      <a:pt x="2513" y="594"/>
                    </a:lnTo>
                    <a:lnTo>
                      <a:pt x="2519" y="587"/>
                    </a:lnTo>
                    <a:lnTo>
                      <a:pt x="2523" y="584"/>
                    </a:lnTo>
                    <a:lnTo>
                      <a:pt x="2526" y="582"/>
                    </a:lnTo>
                    <a:lnTo>
                      <a:pt x="2527" y="580"/>
                    </a:lnTo>
                    <a:lnTo>
                      <a:pt x="2530" y="574"/>
                    </a:lnTo>
                    <a:lnTo>
                      <a:pt x="2532" y="571"/>
                    </a:lnTo>
                    <a:lnTo>
                      <a:pt x="2532" y="568"/>
                    </a:lnTo>
                    <a:lnTo>
                      <a:pt x="2532" y="565"/>
                    </a:lnTo>
                    <a:lnTo>
                      <a:pt x="2529" y="562"/>
                    </a:lnTo>
                    <a:lnTo>
                      <a:pt x="2527" y="561"/>
                    </a:lnTo>
                    <a:lnTo>
                      <a:pt x="2524" y="558"/>
                    </a:lnTo>
                    <a:lnTo>
                      <a:pt x="2524" y="555"/>
                    </a:lnTo>
                    <a:lnTo>
                      <a:pt x="2524" y="551"/>
                    </a:lnTo>
                    <a:lnTo>
                      <a:pt x="2524" y="548"/>
                    </a:lnTo>
                    <a:lnTo>
                      <a:pt x="2526" y="544"/>
                    </a:lnTo>
                    <a:lnTo>
                      <a:pt x="2527" y="545"/>
                    </a:lnTo>
                    <a:lnTo>
                      <a:pt x="2527" y="547"/>
                    </a:lnTo>
                    <a:lnTo>
                      <a:pt x="2529" y="547"/>
                    </a:lnTo>
                    <a:lnTo>
                      <a:pt x="2530" y="547"/>
                    </a:lnTo>
                    <a:lnTo>
                      <a:pt x="2532" y="547"/>
                    </a:lnTo>
                    <a:lnTo>
                      <a:pt x="2532" y="545"/>
                    </a:lnTo>
                    <a:lnTo>
                      <a:pt x="2533" y="544"/>
                    </a:lnTo>
                    <a:lnTo>
                      <a:pt x="2533" y="542"/>
                    </a:lnTo>
                    <a:lnTo>
                      <a:pt x="2533" y="541"/>
                    </a:lnTo>
                    <a:lnTo>
                      <a:pt x="2533" y="539"/>
                    </a:lnTo>
                    <a:lnTo>
                      <a:pt x="2533" y="539"/>
                    </a:lnTo>
                    <a:lnTo>
                      <a:pt x="2535" y="539"/>
                    </a:lnTo>
                    <a:lnTo>
                      <a:pt x="2535" y="538"/>
                    </a:lnTo>
                    <a:lnTo>
                      <a:pt x="2536" y="538"/>
                    </a:lnTo>
                    <a:lnTo>
                      <a:pt x="2536" y="539"/>
                    </a:lnTo>
                    <a:lnTo>
                      <a:pt x="2537" y="542"/>
                    </a:lnTo>
                    <a:lnTo>
                      <a:pt x="2537" y="544"/>
                    </a:lnTo>
                    <a:lnTo>
                      <a:pt x="2540" y="544"/>
                    </a:lnTo>
                    <a:lnTo>
                      <a:pt x="2542" y="544"/>
                    </a:lnTo>
                    <a:lnTo>
                      <a:pt x="2543" y="541"/>
                    </a:lnTo>
                    <a:lnTo>
                      <a:pt x="2545" y="538"/>
                    </a:lnTo>
                    <a:lnTo>
                      <a:pt x="2546" y="536"/>
                    </a:lnTo>
                    <a:lnTo>
                      <a:pt x="2546" y="541"/>
                    </a:lnTo>
                    <a:lnTo>
                      <a:pt x="2543" y="551"/>
                    </a:lnTo>
                    <a:lnTo>
                      <a:pt x="2542" y="551"/>
                    </a:lnTo>
                    <a:lnTo>
                      <a:pt x="2542" y="551"/>
                    </a:lnTo>
                    <a:lnTo>
                      <a:pt x="2539" y="551"/>
                    </a:lnTo>
                    <a:lnTo>
                      <a:pt x="2540" y="552"/>
                    </a:lnTo>
                    <a:lnTo>
                      <a:pt x="2540" y="554"/>
                    </a:lnTo>
                    <a:lnTo>
                      <a:pt x="2542" y="555"/>
                    </a:lnTo>
                    <a:lnTo>
                      <a:pt x="2542" y="557"/>
                    </a:lnTo>
                    <a:lnTo>
                      <a:pt x="2543" y="558"/>
                    </a:lnTo>
                    <a:lnTo>
                      <a:pt x="2546" y="561"/>
                    </a:lnTo>
                    <a:lnTo>
                      <a:pt x="2546" y="561"/>
                    </a:lnTo>
                    <a:lnTo>
                      <a:pt x="2547" y="564"/>
                    </a:lnTo>
                    <a:lnTo>
                      <a:pt x="2547" y="567"/>
                    </a:lnTo>
                    <a:lnTo>
                      <a:pt x="2547" y="570"/>
                    </a:lnTo>
                    <a:lnTo>
                      <a:pt x="2549" y="571"/>
                    </a:lnTo>
                    <a:lnTo>
                      <a:pt x="2553" y="572"/>
                    </a:lnTo>
                    <a:lnTo>
                      <a:pt x="2558" y="572"/>
                    </a:lnTo>
                    <a:lnTo>
                      <a:pt x="2562" y="571"/>
                    </a:lnTo>
                    <a:lnTo>
                      <a:pt x="2565" y="571"/>
                    </a:lnTo>
                    <a:lnTo>
                      <a:pt x="2570" y="568"/>
                    </a:lnTo>
                    <a:lnTo>
                      <a:pt x="2573" y="567"/>
                    </a:lnTo>
                    <a:lnTo>
                      <a:pt x="2578" y="568"/>
                    </a:lnTo>
                    <a:lnTo>
                      <a:pt x="2585" y="570"/>
                    </a:lnTo>
                    <a:lnTo>
                      <a:pt x="2588" y="572"/>
                    </a:lnTo>
                    <a:lnTo>
                      <a:pt x="2591" y="574"/>
                    </a:lnTo>
                    <a:lnTo>
                      <a:pt x="2592" y="577"/>
                    </a:lnTo>
                    <a:lnTo>
                      <a:pt x="2593" y="581"/>
                    </a:lnTo>
                    <a:lnTo>
                      <a:pt x="2593" y="584"/>
                    </a:lnTo>
                    <a:lnTo>
                      <a:pt x="2593" y="587"/>
                    </a:lnTo>
                    <a:lnTo>
                      <a:pt x="2596" y="593"/>
                    </a:lnTo>
                    <a:lnTo>
                      <a:pt x="2602" y="595"/>
                    </a:lnTo>
                    <a:lnTo>
                      <a:pt x="2609" y="597"/>
                    </a:lnTo>
                    <a:lnTo>
                      <a:pt x="2615" y="598"/>
                    </a:lnTo>
                    <a:lnTo>
                      <a:pt x="2621" y="603"/>
                    </a:lnTo>
                    <a:lnTo>
                      <a:pt x="2626" y="607"/>
                    </a:lnTo>
                    <a:lnTo>
                      <a:pt x="2632" y="610"/>
                    </a:lnTo>
                    <a:lnTo>
                      <a:pt x="2638" y="604"/>
                    </a:lnTo>
                    <a:lnTo>
                      <a:pt x="2638" y="607"/>
                    </a:lnTo>
                    <a:lnTo>
                      <a:pt x="2638" y="610"/>
                    </a:lnTo>
                    <a:lnTo>
                      <a:pt x="2638" y="611"/>
                    </a:lnTo>
                    <a:lnTo>
                      <a:pt x="2639" y="613"/>
                    </a:lnTo>
                    <a:lnTo>
                      <a:pt x="2641" y="613"/>
                    </a:lnTo>
                    <a:lnTo>
                      <a:pt x="2644" y="613"/>
                    </a:lnTo>
                    <a:lnTo>
                      <a:pt x="2645" y="611"/>
                    </a:lnTo>
                    <a:lnTo>
                      <a:pt x="2645" y="610"/>
                    </a:lnTo>
                    <a:lnTo>
                      <a:pt x="2645" y="607"/>
                    </a:lnTo>
                    <a:lnTo>
                      <a:pt x="2645" y="605"/>
                    </a:lnTo>
                    <a:lnTo>
                      <a:pt x="2647" y="605"/>
                    </a:lnTo>
                    <a:lnTo>
                      <a:pt x="2647" y="605"/>
                    </a:lnTo>
                    <a:lnTo>
                      <a:pt x="2648" y="607"/>
                    </a:lnTo>
                    <a:lnTo>
                      <a:pt x="2648" y="607"/>
                    </a:lnTo>
                    <a:lnTo>
                      <a:pt x="2648" y="608"/>
                    </a:lnTo>
                    <a:lnTo>
                      <a:pt x="2649" y="608"/>
                    </a:lnTo>
                    <a:lnTo>
                      <a:pt x="2651" y="608"/>
                    </a:lnTo>
                    <a:lnTo>
                      <a:pt x="2652" y="608"/>
                    </a:lnTo>
                    <a:lnTo>
                      <a:pt x="2654" y="608"/>
                    </a:lnTo>
                    <a:lnTo>
                      <a:pt x="2654" y="607"/>
                    </a:lnTo>
                    <a:lnTo>
                      <a:pt x="2654" y="605"/>
                    </a:lnTo>
                    <a:lnTo>
                      <a:pt x="2652" y="604"/>
                    </a:lnTo>
                    <a:lnTo>
                      <a:pt x="2651" y="604"/>
                    </a:lnTo>
                    <a:lnTo>
                      <a:pt x="2649" y="603"/>
                    </a:lnTo>
                    <a:lnTo>
                      <a:pt x="2647" y="603"/>
                    </a:lnTo>
                    <a:lnTo>
                      <a:pt x="2647" y="601"/>
                    </a:lnTo>
                    <a:lnTo>
                      <a:pt x="2645" y="600"/>
                    </a:lnTo>
                    <a:lnTo>
                      <a:pt x="2645" y="600"/>
                    </a:lnTo>
                    <a:lnTo>
                      <a:pt x="2645" y="598"/>
                    </a:lnTo>
                    <a:lnTo>
                      <a:pt x="2647" y="597"/>
                    </a:lnTo>
                    <a:lnTo>
                      <a:pt x="2647" y="597"/>
                    </a:lnTo>
                    <a:lnTo>
                      <a:pt x="2647" y="597"/>
                    </a:lnTo>
                    <a:lnTo>
                      <a:pt x="2647" y="595"/>
                    </a:lnTo>
                    <a:lnTo>
                      <a:pt x="2645" y="595"/>
                    </a:lnTo>
                    <a:lnTo>
                      <a:pt x="2644" y="594"/>
                    </a:lnTo>
                    <a:lnTo>
                      <a:pt x="2644" y="595"/>
                    </a:lnTo>
                    <a:lnTo>
                      <a:pt x="2642" y="595"/>
                    </a:lnTo>
                    <a:lnTo>
                      <a:pt x="2644" y="593"/>
                    </a:lnTo>
                    <a:lnTo>
                      <a:pt x="2652" y="591"/>
                    </a:lnTo>
                    <a:lnTo>
                      <a:pt x="2655" y="590"/>
                    </a:lnTo>
                    <a:lnTo>
                      <a:pt x="2657" y="588"/>
                    </a:lnTo>
                    <a:lnTo>
                      <a:pt x="2658" y="585"/>
                    </a:lnTo>
                    <a:lnTo>
                      <a:pt x="2658" y="584"/>
                    </a:lnTo>
                    <a:lnTo>
                      <a:pt x="2657" y="582"/>
                    </a:lnTo>
                    <a:lnTo>
                      <a:pt x="2655" y="581"/>
                    </a:lnTo>
                    <a:lnTo>
                      <a:pt x="2654" y="581"/>
                    </a:lnTo>
                    <a:lnTo>
                      <a:pt x="2651" y="581"/>
                    </a:lnTo>
                    <a:lnTo>
                      <a:pt x="2649" y="580"/>
                    </a:lnTo>
                    <a:lnTo>
                      <a:pt x="2654" y="580"/>
                    </a:lnTo>
                    <a:lnTo>
                      <a:pt x="2655" y="578"/>
                    </a:lnTo>
                    <a:lnTo>
                      <a:pt x="2657" y="577"/>
                    </a:lnTo>
                    <a:lnTo>
                      <a:pt x="2658" y="575"/>
                    </a:lnTo>
                    <a:lnTo>
                      <a:pt x="2658" y="574"/>
                    </a:lnTo>
                    <a:lnTo>
                      <a:pt x="2657" y="572"/>
                    </a:lnTo>
                    <a:lnTo>
                      <a:pt x="2654" y="572"/>
                    </a:lnTo>
                    <a:lnTo>
                      <a:pt x="2655" y="571"/>
                    </a:lnTo>
                    <a:lnTo>
                      <a:pt x="2652" y="568"/>
                    </a:lnTo>
                    <a:lnTo>
                      <a:pt x="2649" y="565"/>
                    </a:lnTo>
                    <a:lnTo>
                      <a:pt x="2648" y="564"/>
                    </a:lnTo>
                    <a:lnTo>
                      <a:pt x="2651" y="564"/>
                    </a:lnTo>
                    <a:lnTo>
                      <a:pt x="2654" y="565"/>
                    </a:lnTo>
                    <a:lnTo>
                      <a:pt x="2655" y="567"/>
                    </a:lnTo>
                    <a:lnTo>
                      <a:pt x="2658" y="568"/>
                    </a:lnTo>
                    <a:lnTo>
                      <a:pt x="2659" y="568"/>
                    </a:lnTo>
                    <a:lnTo>
                      <a:pt x="2662" y="570"/>
                    </a:lnTo>
                    <a:lnTo>
                      <a:pt x="2662" y="570"/>
                    </a:lnTo>
                    <a:lnTo>
                      <a:pt x="2662" y="570"/>
                    </a:lnTo>
                    <a:lnTo>
                      <a:pt x="2662" y="571"/>
                    </a:lnTo>
                    <a:lnTo>
                      <a:pt x="2662" y="571"/>
                    </a:lnTo>
                    <a:lnTo>
                      <a:pt x="2664" y="571"/>
                    </a:lnTo>
                    <a:lnTo>
                      <a:pt x="2668" y="570"/>
                    </a:lnTo>
                    <a:lnTo>
                      <a:pt x="2671" y="570"/>
                    </a:lnTo>
                    <a:lnTo>
                      <a:pt x="2675" y="571"/>
                    </a:lnTo>
                    <a:lnTo>
                      <a:pt x="2677" y="570"/>
                    </a:lnTo>
                    <a:lnTo>
                      <a:pt x="2677" y="567"/>
                    </a:lnTo>
                    <a:lnTo>
                      <a:pt x="2672" y="562"/>
                    </a:lnTo>
                    <a:lnTo>
                      <a:pt x="2671" y="559"/>
                    </a:lnTo>
                    <a:lnTo>
                      <a:pt x="2672" y="559"/>
                    </a:lnTo>
                    <a:lnTo>
                      <a:pt x="2675" y="561"/>
                    </a:lnTo>
                    <a:lnTo>
                      <a:pt x="2678" y="564"/>
                    </a:lnTo>
                    <a:lnTo>
                      <a:pt x="2681" y="567"/>
                    </a:lnTo>
                    <a:lnTo>
                      <a:pt x="2685" y="567"/>
                    </a:lnTo>
                    <a:lnTo>
                      <a:pt x="2687" y="564"/>
                    </a:lnTo>
                    <a:lnTo>
                      <a:pt x="2688" y="558"/>
                    </a:lnTo>
                    <a:lnTo>
                      <a:pt x="2690" y="555"/>
                    </a:lnTo>
                    <a:lnTo>
                      <a:pt x="2691" y="554"/>
                    </a:lnTo>
                    <a:lnTo>
                      <a:pt x="2693" y="552"/>
                    </a:lnTo>
                    <a:lnTo>
                      <a:pt x="2694" y="551"/>
                    </a:lnTo>
                    <a:lnTo>
                      <a:pt x="2695" y="551"/>
                    </a:lnTo>
                    <a:lnTo>
                      <a:pt x="2697" y="551"/>
                    </a:lnTo>
                    <a:lnTo>
                      <a:pt x="2698" y="552"/>
                    </a:lnTo>
                    <a:lnTo>
                      <a:pt x="2700" y="552"/>
                    </a:lnTo>
                    <a:lnTo>
                      <a:pt x="2701" y="551"/>
                    </a:lnTo>
                    <a:lnTo>
                      <a:pt x="2701" y="549"/>
                    </a:lnTo>
                    <a:lnTo>
                      <a:pt x="2701" y="548"/>
                    </a:lnTo>
                    <a:close/>
                    <a:moveTo>
                      <a:pt x="1924" y="1139"/>
                    </a:moveTo>
                    <a:lnTo>
                      <a:pt x="1924" y="1140"/>
                    </a:lnTo>
                    <a:lnTo>
                      <a:pt x="1923" y="1140"/>
                    </a:lnTo>
                    <a:lnTo>
                      <a:pt x="1924" y="1140"/>
                    </a:lnTo>
                    <a:lnTo>
                      <a:pt x="1924" y="1139"/>
                    </a:lnTo>
                    <a:lnTo>
                      <a:pt x="1924" y="1139"/>
                    </a:lnTo>
                    <a:lnTo>
                      <a:pt x="1924" y="1139"/>
                    </a:lnTo>
                    <a:lnTo>
                      <a:pt x="1924" y="1139"/>
                    </a:lnTo>
                    <a:close/>
                    <a:moveTo>
                      <a:pt x="288" y="400"/>
                    </a:moveTo>
                    <a:lnTo>
                      <a:pt x="290" y="398"/>
                    </a:lnTo>
                    <a:lnTo>
                      <a:pt x="290" y="397"/>
                    </a:lnTo>
                    <a:lnTo>
                      <a:pt x="290" y="397"/>
                    </a:lnTo>
                    <a:lnTo>
                      <a:pt x="290" y="396"/>
                    </a:lnTo>
                    <a:lnTo>
                      <a:pt x="288" y="394"/>
                    </a:lnTo>
                    <a:lnTo>
                      <a:pt x="286" y="391"/>
                    </a:lnTo>
                    <a:lnTo>
                      <a:pt x="284" y="391"/>
                    </a:lnTo>
                    <a:lnTo>
                      <a:pt x="283" y="391"/>
                    </a:lnTo>
                    <a:lnTo>
                      <a:pt x="281" y="391"/>
                    </a:lnTo>
                    <a:lnTo>
                      <a:pt x="278" y="391"/>
                    </a:lnTo>
                    <a:lnTo>
                      <a:pt x="276" y="391"/>
                    </a:lnTo>
                    <a:lnTo>
                      <a:pt x="274" y="393"/>
                    </a:lnTo>
                    <a:lnTo>
                      <a:pt x="276" y="394"/>
                    </a:lnTo>
                    <a:lnTo>
                      <a:pt x="278" y="396"/>
                    </a:lnTo>
                    <a:lnTo>
                      <a:pt x="280" y="396"/>
                    </a:lnTo>
                    <a:lnTo>
                      <a:pt x="283" y="397"/>
                    </a:lnTo>
                    <a:lnTo>
                      <a:pt x="284" y="398"/>
                    </a:lnTo>
                    <a:lnTo>
                      <a:pt x="286" y="401"/>
                    </a:lnTo>
                    <a:lnTo>
                      <a:pt x="287" y="403"/>
                    </a:lnTo>
                    <a:lnTo>
                      <a:pt x="290" y="403"/>
                    </a:lnTo>
                    <a:lnTo>
                      <a:pt x="288" y="403"/>
                    </a:lnTo>
                    <a:lnTo>
                      <a:pt x="288" y="401"/>
                    </a:lnTo>
                    <a:lnTo>
                      <a:pt x="288" y="401"/>
                    </a:lnTo>
                    <a:lnTo>
                      <a:pt x="288" y="400"/>
                    </a:lnTo>
                    <a:close/>
                    <a:moveTo>
                      <a:pt x="1921" y="1139"/>
                    </a:moveTo>
                    <a:lnTo>
                      <a:pt x="1921" y="1139"/>
                    </a:lnTo>
                    <a:lnTo>
                      <a:pt x="1920" y="1139"/>
                    </a:lnTo>
                    <a:lnTo>
                      <a:pt x="1921" y="1139"/>
                    </a:lnTo>
                    <a:lnTo>
                      <a:pt x="1921" y="1140"/>
                    </a:lnTo>
                    <a:lnTo>
                      <a:pt x="1921" y="1140"/>
                    </a:lnTo>
                    <a:lnTo>
                      <a:pt x="1921" y="1140"/>
                    </a:lnTo>
                    <a:lnTo>
                      <a:pt x="1921" y="1139"/>
                    </a:lnTo>
                    <a:lnTo>
                      <a:pt x="1921" y="1139"/>
                    </a:lnTo>
                    <a:close/>
                    <a:moveTo>
                      <a:pt x="1898" y="1011"/>
                    </a:moveTo>
                    <a:lnTo>
                      <a:pt x="1895" y="1008"/>
                    </a:lnTo>
                    <a:lnTo>
                      <a:pt x="1894" y="1005"/>
                    </a:lnTo>
                    <a:lnTo>
                      <a:pt x="1893" y="1001"/>
                    </a:lnTo>
                    <a:lnTo>
                      <a:pt x="1874" y="932"/>
                    </a:lnTo>
                    <a:lnTo>
                      <a:pt x="1872" y="929"/>
                    </a:lnTo>
                    <a:lnTo>
                      <a:pt x="1872" y="925"/>
                    </a:lnTo>
                    <a:lnTo>
                      <a:pt x="1874" y="922"/>
                    </a:lnTo>
                    <a:lnTo>
                      <a:pt x="1875" y="919"/>
                    </a:lnTo>
                    <a:lnTo>
                      <a:pt x="1875" y="914"/>
                    </a:lnTo>
                    <a:lnTo>
                      <a:pt x="1875" y="910"/>
                    </a:lnTo>
                    <a:lnTo>
                      <a:pt x="1875" y="906"/>
                    </a:lnTo>
                    <a:lnTo>
                      <a:pt x="1875" y="902"/>
                    </a:lnTo>
                    <a:lnTo>
                      <a:pt x="1874" y="899"/>
                    </a:lnTo>
                    <a:lnTo>
                      <a:pt x="1870" y="890"/>
                    </a:lnTo>
                    <a:lnTo>
                      <a:pt x="1868" y="886"/>
                    </a:lnTo>
                    <a:lnTo>
                      <a:pt x="1870" y="879"/>
                    </a:lnTo>
                    <a:lnTo>
                      <a:pt x="1868" y="874"/>
                    </a:lnTo>
                    <a:lnTo>
                      <a:pt x="1865" y="873"/>
                    </a:lnTo>
                    <a:lnTo>
                      <a:pt x="1864" y="874"/>
                    </a:lnTo>
                    <a:lnTo>
                      <a:pt x="1862" y="876"/>
                    </a:lnTo>
                    <a:lnTo>
                      <a:pt x="1861" y="876"/>
                    </a:lnTo>
                    <a:lnTo>
                      <a:pt x="1858" y="876"/>
                    </a:lnTo>
                    <a:lnTo>
                      <a:pt x="1862" y="880"/>
                    </a:lnTo>
                    <a:lnTo>
                      <a:pt x="1864" y="883"/>
                    </a:lnTo>
                    <a:lnTo>
                      <a:pt x="1865" y="886"/>
                    </a:lnTo>
                    <a:lnTo>
                      <a:pt x="1864" y="889"/>
                    </a:lnTo>
                    <a:lnTo>
                      <a:pt x="1864" y="889"/>
                    </a:lnTo>
                    <a:lnTo>
                      <a:pt x="1864" y="890"/>
                    </a:lnTo>
                    <a:lnTo>
                      <a:pt x="1862" y="890"/>
                    </a:lnTo>
                    <a:lnTo>
                      <a:pt x="1862" y="891"/>
                    </a:lnTo>
                    <a:lnTo>
                      <a:pt x="1862" y="891"/>
                    </a:lnTo>
                    <a:lnTo>
                      <a:pt x="1862" y="893"/>
                    </a:lnTo>
                    <a:lnTo>
                      <a:pt x="1862" y="894"/>
                    </a:lnTo>
                    <a:lnTo>
                      <a:pt x="1861" y="896"/>
                    </a:lnTo>
                    <a:lnTo>
                      <a:pt x="1861" y="896"/>
                    </a:lnTo>
                    <a:lnTo>
                      <a:pt x="1860" y="896"/>
                    </a:lnTo>
                    <a:lnTo>
                      <a:pt x="1860" y="896"/>
                    </a:lnTo>
                    <a:lnTo>
                      <a:pt x="1858" y="896"/>
                    </a:lnTo>
                    <a:lnTo>
                      <a:pt x="1855" y="896"/>
                    </a:lnTo>
                    <a:lnTo>
                      <a:pt x="1854" y="894"/>
                    </a:lnTo>
                    <a:lnTo>
                      <a:pt x="1852" y="894"/>
                    </a:lnTo>
                    <a:lnTo>
                      <a:pt x="1850" y="897"/>
                    </a:lnTo>
                    <a:lnTo>
                      <a:pt x="1850" y="899"/>
                    </a:lnTo>
                    <a:lnTo>
                      <a:pt x="1850" y="902"/>
                    </a:lnTo>
                    <a:lnTo>
                      <a:pt x="1850" y="906"/>
                    </a:lnTo>
                    <a:lnTo>
                      <a:pt x="1850" y="910"/>
                    </a:lnTo>
                    <a:lnTo>
                      <a:pt x="1850" y="913"/>
                    </a:lnTo>
                    <a:lnTo>
                      <a:pt x="1850" y="916"/>
                    </a:lnTo>
                    <a:lnTo>
                      <a:pt x="1847" y="923"/>
                    </a:lnTo>
                    <a:lnTo>
                      <a:pt x="1847" y="926"/>
                    </a:lnTo>
                    <a:lnTo>
                      <a:pt x="1847" y="930"/>
                    </a:lnTo>
                    <a:lnTo>
                      <a:pt x="1847" y="932"/>
                    </a:lnTo>
                    <a:lnTo>
                      <a:pt x="1848" y="935"/>
                    </a:lnTo>
                    <a:lnTo>
                      <a:pt x="1848" y="936"/>
                    </a:lnTo>
                    <a:lnTo>
                      <a:pt x="1848" y="937"/>
                    </a:lnTo>
                    <a:lnTo>
                      <a:pt x="1852" y="943"/>
                    </a:lnTo>
                    <a:lnTo>
                      <a:pt x="1854" y="946"/>
                    </a:lnTo>
                    <a:lnTo>
                      <a:pt x="1855" y="949"/>
                    </a:lnTo>
                    <a:lnTo>
                      <a:pt x="1855" y="953"/>
                    </a:lnTo>
                    <a:lnTo>
                      <a:pt x="1855" y="956"/>
                    </a:lnTo>
                    <a:lnTo>
                      <a:pt x="1854" y="963"/>
                    </a:lnTo>
                    <a:lnTo>
                      <a:pt x="1854" y="968"/>
                    </a:lnTo>
                    <a:lnTo>
                      <a:pt x="1855" y="982"/>
                    </a:lnTo>
                    <a:lnTo>
                      <a:pt x="1855" y="991"/>
                    </a:lnTo>
                    <a:lnTo>
                      <a:pt x="1854" y="999"/>
                    </a:lnTo>
                    <a:lnTo>
                      <a:pt x="1851" y="1014"/>
                    </a:lnTo>
                    <a:lnTo>
                      <a:pt x="1851" y="1017"/>
                    </a:lnTo>
                    <a:lnTo>
                      <a:pt x="1852" y="1019"/>
                    </a:lnTo>
                    <a:lnTo>
                      <a:pt x="1854" y="1022"/>
                    </a:lnTo>
                    <a:lnTo>
                      <a:pt x="1855" y="1027"/>
                    </a:lnTo>
                    <a:lnTo>
                      <a:pt x="1855" y="1031"/>
                    </a:lnTo>
                    <a:lnTo>
                      <a:pt x="1855" y="1034"/>
                    </a:lnTo>
                    <a:lnTo>
                      <a:pt x="1852" y="1041"/>
                    </a:lnTo>
                    <a:lnTo>
                      <a:pt x="1852" y="1044"/>
                    </a:lnTo>
                    <a:lnTo>
                      <a:pt x="1852" y="1047"/>
                    </a:lnTo>
                    <a:lnTo>
                      <a:pt x="1852" y="1054"/>
                    </a:lnTo>
                    <a:lnTo>
                      <a:pt x="1852" y="1058"/>
                    </a:lnTo>
                    <a:lnTo>
                      <a:pt x="1850" y="1065"/>
                    </a:lnTo>
                    <a:lnTo>
                      <a:pt x="1850" y="1070"/>
                    </a:lnTo>
                    <a:lnTo>
                      <a:pt x="1850" y="1074"/>
                    </a:lnTo>
                    <a:lnTo>
                      <a:pt x="1851" y="1078"/>
                    </a:lnTo>
                    <a:lnTo>
                      <a:pt x="1854" y="1083"/>
                    </a:lnTo>
                    <a:lnTo>
                      <a:pt x="1855" y="1077"/>
                    </a:lnTo>
                    <a:lnTo>
                      <a:pt x="1858" y="1071"/>
                    </a:lnTo>
                    <a:lnTo>
                      <a:pt x="1861" y="1065"/>
                    </a:lnTo>
                    <a:lnTo>
                      <a:pt x="1865" y="1064"/>
                    </a:lnTo>
                    <a:lnTo>
                      <a:pt x="1865" y="1064"/>
                    </a:lnTo>
                    <a:lnTo>
                      <a:pt x="1867" y="1065"/>
                    </a:lnTo>
                    <a:lnTo>
                      <a:pt x="1867" y="1067"/>
                    </a:lnTo>
                    <a:lnTo>
                      <a:pt x="1870" y="1067"/>
                    </a:lnTo>
                    <a:lnTo>
                      <a:pt x="1872" y="1067"/>
                    </a:lnTo>
                    <a:lnTo>
                      <a:pt x="1874" y="1067"/>
                    </a:lnTo>
                    <a:lnTo>
                      <a:pt x="1877" y="1070"/>
                    </a:lnTo>
                    <a:lnTo>
                      <a:pt x="1877" y="1073"/>
                    </a:lnTo>
                    <a:lnTo>
                      <a:pt x="1878" y="1080"/>
                    </a:lnTo>
                    <a:lnTo>
                      <a:pt x="1878" y="1078"/>
                    </a:lnTo>
                    <a:lnTo>
                      <a:pt x="1880" y="1075"/>
                    </a:lnTo>
                    <a:lnTo>
                      <a:pt x="1880" y="1073"/>
                    </a:lnTo>
                    <a:lnTo>
                      <a:pt x="1880" y="1071"/>
                    </a:lnTo>
                    <a:lnTo>
                      <a:pt x="1880" y="1070"/>
                    </a:lnTo>
                    <a:lnTo>
                      <a:pt x="1880" y="1067"/>
                    </a:lnTo>
                    <a:lnTo>
                      <a:pt x="1880" y="1065"/>
                    </a:lnTo>
                    <a:lnTo>
                      <a:pt x="1878" y="1064"/>
                    </a:lnTo>
                    <a:lnTo>
                      <a:pt x="1878" y="1063"/>
                    </a:lnTo>
                    <a:lnTo>
                      <a:pt x="1877" y="1063"/>
                    </a:lnTo>
                    <a:lnTo>
                      <a:pt x="1877" y="1063"/>
                    </a:lnTo>
                    <a:lnTo>
                      <a:pt x="1875" y="1061"/>
                    </a:lnTo>
                    <a:lnTo>
                      <a:pt x="1875" y="1061"/>
                    </a:lnTo>
                    <a:lnTo>
                      <a:pt x="1874" y="1061"/>
                    </a:lnTo>
                    <a:lnTo>
                      <a:pt x="1874" y="1061"/>
                    </a:lnTo>
                    <a:lnTo>
                      <a:pt x="1874" y="1061"/>
                    </a:lnTo>
                    <a:lnTo>
                      <a:pt x="1872" y="1061"/>
                    </a:lnTo>
                    <a:lnTo>
                      <a:pt x="1872" y="1060"/>
                    </a:lnTo>
                    <a:lnTo>
                      <a:pt x="1870" y="1051"/>
                    </a:lnTo>
                    <a:lnTo>
                      <a:pt x="1868" y="1050"/>
                    </a:lnTo>
                    <a:lnTo>
                      <a:pt x="1865" y="1047"/>
                    </a:lnTo>
                    <a:lnTo>
                      <a:pt x="1864" y="1045"/>
                    </a:lnTo>
                    <a:lnTo>
                      <a:pt x="1862" y="1038"/>
                    </a:lnTo>
                    <a:lnTo>
                      <a:pt x="1862" y="1032"/>
                    </a:lnTo>
                    <a:lnTo>
                      <a:pt x="1871" y="1008"/>
                    </a:lnTo>
                    <a:lnTo>
                      <a:pt x="1874" y="1004"/>
                    </a:lnTo>
                    <a:lnTo>
                      <a:pt x="1881" y="1001"/>
                    </a:lnTo>
                    <a:lnTo>
                      <a:pt x="1885" y="1002"/>
                    </a:lnTo>
                    <a:lnTo>
                      <a:pt x="1888" y="1002"/>
                    </a:lnTo>
                    <a:lnTo>
                      <a:pt x="1890" y="1005"/>
                    </a:lnTo>
                    <a:lnTo>
                      <a:pt x="1897" y="1011"/>
                    </a:lnTo>
                    <a:lnTo>
                      <a:pt x="1897" y="1012"/>
                    </a:lnTo>
                    <a:lnTo>
                      <a:pt x="1898" y="1014"/>
                    </a:lnTo>
                    <a:lnTo>
                      <a:pt x="1900" y="1017"/>
                    </a:lnTo>
                    <a:lnTo>
                      <a:pt x="1900" y="1018"/>
                    </a:lnTo>
                    <a:lnTo>
                      <a:pt x="1900" y="1014"/>
                    </a:lnTo>
                    <a:lnTo>
                      <a:pt x="1898" y="1011"/>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63" name="Freeform 167">
                <a:extLst>
                  <a:ext uri="{FF2B5EF4-FFF2-40B4-BE49-F238E27FC236}">
                    <a16:creationId xmlns:a16="http://schemas.microsoft.com/office/drawing/2014/main" id="{145DADF4-AF11-6D08-229D-1424C2C322EC}"/>
                  </a:ext>
                </a:extLst>
              </p:cNvPr>
              <p:cNvSpPr>
                <a:spLocks noEditPoints="1"/>
              </p:cNvSpPr>
              <p:nvPr/>
            </p:nvSpPr>
            <p:spPr bwMode="auto">
              <a:xfrm>
                <a:off x="8047648" y="3960602"/>
                <a:ext cx="935536" cy="428004"/>
              </a:xfrm>
              <a:custGeom>
                <a:avLst/>
                <a:gdLst>
                  <a:gd name="T0" fmla="*/ 358 w 647"/>
                  <a:gd name="T1" fmla="*/ 259 h 296"/>
                  <a:gd name="T2" fmla="*/ 500 w 647"/>
                  <a:gd name="T3" fmla="*/ 285 h 296"/>
                  <a:gd name="T4" fmla="*/ 588 w 647"/>
                  <a:gd name="T5" fmla="*/ 59 h 296"/>
                  <a:gd name="T6" fmla="*/ 553 w 647"/>
                  <a:gd name="T7" fmla="*/ 33 h 296"/>
                  <a:gd name="T8" fmla="*/ 125 w 647"/>
                  <a:gd name="T9" fmla="*/ 85 h 296"/>
                  <a:gd name="T10" fmla="*/ 154 w 647"/>
                  <a:gd name="T11" fmla="*/ 85 h 296"/>
                  <a:gd name="T12" fmla="*/ 158 w 647"/>
                  <a:gd name="T13" fmla="*/ 88 h 296"/>
                  <a:gd name="T14" fmla="*/ 166 w 647"/>
                  <a:gd name="T15" fmla="*/ 102 h 296"/>
                  <a:gd name="T16" fmla="*/ 170 w 647"/>
                  <a:gd name="T17" fmla="*/ 109 h 296"/>
                  <a:gd name="T18" fmla="*/ 227 w 647"/>
                  <a:gd name="T19" fmla="*/ 37 h 296"/>
                  <a:gd name="T20" fmla="*/ 42 w 647"/>
                  <a:gd name="T21" fmla="*/ 88 h 296"/>
                  <a:gd name="T22" fmla="*/ 588 w 647"/>
                  <a:gd name="T23" fmla="*/ 167 h 296"/>
                  <a:gd name="T24" fmla="*/ 638 w 647"/>
                  <a:gd name="T25" fmla="*/ 231 h 296"/>
                  <a:gd name="T26" fmla="*/ 576 w 647"/>
                  <a:gd name="T27" fmla="*/ 129 h 296"/>
                  <a:gd name="T28" fmla="*/ 584 w 647"/>
                  <a:gd name="T29" fmla="*/ 165 h 296"/>
                  <a:gd name="T30" fmla="*/ 581 w 647"/>
                  <a:gd name="T31" fmla="*/ 82 h 296"/>
                  <a:gd name="T32" fmla="*/ 569 w 647"/>
                  <a:gd name="T33" fmla="*/ 93 h 296"/>
                  <a:gd name="T34" fmla="*/ 575 w 647"/>
                  <a:gd name="T35" fmla="*/ 116 h 296"/>
                  <a:gd name="T36" fmla="*/ 627 w 647"/>
                  <a:gd name="T37" fmla="*/ 171 h 296"/>
                  <a:gd name="T38" fmla="*/ 566 w 647"/>
                  <a:gd name="T39" fmla="*/ 92 h 296"/>
                  <a:gd name="T40" fmla="*/ 645 w 647"/>
                  <a:gd name="T41" fmla="*/ 230 h 296"/>
                  <a:gd name="T42" fmla="*/ 556 w 647"/>
                  <a:gd name="T43" fmla="*/ 158 h 296"/>
                  <a:gd name="T44" fmla="*/ 539 w 647"/>
                  <a:gd name="T45" fmla="*/ 242 h 296"/>
                  <a:gd name="T46" fmla="*/ 500 w 647"/>
                  <a:gd name="T47" fmla="*/ 134 h 296"/>
                  <a:gd name="T48" fmla="*/ 499 w 647"/>
                  <a:gd name="T49" fmla="*/ 127 h 296"/>
                  <a:gd name="T50" fmla="*/ 515 w 647"/>
                  <a:gd name="T51" fmla="*/ 138 h 296"/>
                  <a:gd name="T52" fmla="*/ 487 w 647"/>
                  <a:gd name="T53" fmla="*/ 185 h 296"/>
                  <a:gd name="T54" fmla="*/ 466 w 647"/>
                  <a:gd name="T55" fmla="*/ 112 h 296"/>
                  <a:gd name="T56" fmla="*/ 486 w 647"/>
                  <a:gd name="T57" fmla="*/ 247 h 296"/>
                  <a:gd name="T58" fmla="*/ 454 w 647"/>
                  <a:gd name="T59" fmla="*/ 262 h 296"/>
                  <a:gd name="T60" fmla="*/ 417 w 647"/>
                  <a:gd name="T61" fmla="*/ 157 h 296"/>
                  <a:gd name="T62" fmla="*/ 441 w 647"/>
                  <a:gd name="T63" fmla="*/ 157 h 296"/>
                  <a:gd name="T64" fmla="*/ 482 w 647"/>
                  <a:gd name="T65" fmla="*/ 171 h 296"/>
                  <a:gd name="T66" fmla="*/ 497 w 647"/>
                  <a:gd name="T67" fmla="*/ 116 h 296"/>
                  <a:gd name="T68" fmla="*/ 440 w 647"/>
                  <a:gd name="T69" fmla="*/ 116 h 296"/>
                  <a:gd name="T70" fmla="*/ 487 w 647"/>
                  <a:gd name="T71" fmla="*/ 89 h 296"/>
                  <a:gd name="T72" fmla="*/ 433 w 647"/>
                  <a:gd name="T73" fmla="*/ 118 h 296"/>
                  <a:gd name="T74" fmla="*/ 382 w 647"/>
                  <a:gd name="T75" fmla="*/ 254 h 296"/>
                  <a:gd name="T76" fmla="*/ 449 w 647"/>
                  <a:gd name="T77" fmla="*/ 230 h 296"/>
                  <a:gd name="T78" fmla="*/ 427 w 647"/>
                  <a:gd name="T79" fmla="*/ 253 h 296"/>
                  <a:gd name="T80" fmla="*/ 247 w 647"/>
                  <a:gd name="T81" fmla="*/ 73 h 296"/>
                  <a:gd name="T82" fmla="*/ 342 w 647"/>
                  <a:gd name="T83" fmla="*/ 73 h 296"/>
                  <a:gd name="T84" fmla="*/ 395 w 647"/>
                  <a:gd name="T85" fmla="*/ 35 h 296"/>
                  <a:gd name="T86" fmla="*/ 400 w 647"/>
                  <a:gd name="T87" fmla="*/ 69 h 296"/>
                  <a:gd name="T88" fmla="*/ 378 w 647"/>
                  <a:gd name="T89" fmla="*/ 128 h 296"/>
                  <a:gd name="T90" fmla="*/ 339 w 647"/>
                  <a:gd name="T91" fmla="*/ 164 h 296"/>
                  <a:gd name="T92" fmla="*/ 292 w 647"/>
                  <a:gd name="T93" fmla="*/ 157 h 296"/>
                  <a:gd name="T94" fmla="*/ 246 w 647"/>
                  <a:gd name="T95" fmla="*/ 106 h 296"/>
                  <a:gd name="T96" fmla="*/ 203 w 647"/>
                  <a:gd name="T97" fmla="*/ 151 h 296"/>
                  <a:gd name="T98" fmla="*/ 187 w 647"/>
                  <a:gd name="T99" fmla="*/ 204 h 296"/>
                  <a:gd name="T100" fmla="*/ 164 w 647"/>
                  <a:gd name="T101" fmla="*/ 135 h 296"/>
                  <a:gd name="T102" fmla="*/ 127 w 647"/>
                  <a:gd name="T103" fmla="*/ 88 h 296"/>
                  <a:gd name="T104" fmla="*/ 54 w 647"/>
                  <a:gd name="T105" fmla="*/ 26 h 296"/>
                  <a:gd name="T106" fmla="*/ 54 w 647"/>
                  <a:gd name="T107" fmla="*/ 66 h 296"/>
                  <a:gd name="T108" fmla="*/ 206 w 647"/>
                  <a:gd name="T109" fmla="*/ 157 h 296"/>
                  <a:gd name="T110" fmla="*/ 174 w 647"/>
                  <a:gd name="T111" fmla="*/ 220 h 296"/>
                  <a:gd name="T112" fmla="*/ 301 w 647"/>
                  <a:gd name="T113" fmla="*/ 226 h 296"/>
                  <a:gd name="T114" fmla="*/ 193 w 647"/>
                  <a:gd name="T115" fmla="*/ 208 h 296"/>
                  <a:gd name="T116" fmla="*/ 258 w 647"/>
                  <a:gd name="T117" fmla="*/ 242 h 296"/>
                  <a:gd name="T118" fmla="*/ 87 w 647"/>
                  <a:gd name="T119" fmla="*/ 152 h 296"/>
                  <a:gd name="T120" fmla="*/ 348 w 647"/>
                  <a:gd name="T121" fmla="*/ 247 h 296"/>
                  <a:gd name="T122" fmla="*/ 250 w 647"/>
                  <a:gd name="T123" fmla="*/ 125 h 296"/>
                  <a:gd name="T124" fmla="*/ 352 w 647"/>
                  <a:gd name="T125" fmla="*/ 22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7" h="296">
                    <a:moveTo>
                      <a:pt x="2" y="2"/>
                    </a:moveTo>
                    <a:lnTo>
                      <a:pt x="0" y="0"/>
                    </a:lnTo>
                    <a:lnTo>
                      <a:pt x="2" y="0"/>
                    </a:lnTo>
                    <a:lnTo>
                      <a:pt x="2" y="0"/>
                    </a:lnTo>
                    <a:lnTo>
                      <a:pt x="3" y="0"/>
                    </a:lnTo>
                    <a:lnTo>
                      <a:pt x="3" y="0"/>
                    </a:lnTo>
                    <a:lnTo>
                      <a:pt x="3" y="2"/>
                    </a:lnTo>
                    <a:lnTo>
                      <a:pt x="2" y="2"/>
                    </a:lnTo>
                    <a:lnTo>
                      <a:pt x="2" y="2"/>
                    </a:lnTo>
                    <a:close/>
                    <a:moveTo>
                      <a:pt x="378" y="253"/>
                    </a:moveTo>
                    <a:lnTo>
                      <a:pt x="377" y="257"/>
                    </a:lnTo>
                    <a:lnTo>
                      <a:pt x="377" y="260"/>
                    </a:lnTo>
                    <a:lnTo>
                      <a:pt x="374" y="262"/>
                    </a:lnTo>
                    <a:lnTo>
                      <a:pt x="370" y="262"/>
                    </a:lnTo>
                    <a:lnTo>
                      <a:pt x="367" y="260"/>
                    </a:lnTo>
                    <a:lnTo>
                      <a:pt x="364" y="259"/>
                    </a:lnTo>
                    <a:lnTo>
                      <a:pt x="364" y="259"/>
                    </a:lnTo>
                    <a:lnTo>
                      <a:pt x="367" y="259"/>
                    </a:lnTo>
                    <a:lnTo>
                      <a:pt x="367" y="259"/>
                    </a:lnTo>
                    <a:lnTo>
                      <a:pt x="367" y="257"/>
                    </a:lnTo>
                    <a:lnTo>
                      <a:pt x="368" y="257"/>
                    </a:lnTo>
                    <a:lnTo>
                      <a:pt x="367" y="256"/>
                    </a:lnTo>
                    <a:lnTo>
                      <a:pt x="368" y="254"/>
                    </a:lnTo>
                    <a:lnTo>
                      <a:pt x="368" y="253"/>
                    </a:lnTo>
                    <a:lnTo>
                      <a:pt x="368" y="252"/>
                    </a:lnTo>
                    <a:lnTo>
                      <a:pt x="370" y="250"/>
                    </a:lnTo>
                    <a:lnTo>
                      <a:pt x="371" y="250"/>
                    </a:lnTo>
                    <a:lnTo>
                      <a:pt x="371" y="249"/>
                    </a:lnTo>
                    <a:lnTo>
                      <a:pt x="372" y="249"/>
                    </a:lnTo>
                    <a:lnTo>
                      <a:pt x="374" y="249"/>
                    </a:lnTo>
                    <a:lnTo>
                      <a:pt x="378" y="250"/>
                    </a:lnTo>
                    <a:lnTo>
                      <a:pt x="378" y="253"/>
                    </a:lnTo>
                    <a:close/>
                    <a:moveTo>
                      <a:pt x="357" y="257"/>
                    </a:moveTo>
                    <a:lnTo>
                      <a:pt x="358" y="257"/>
                    </a:lnTo>
                    <a:lnTo>
                      <a:pt x="358" y="259"/>
                    </a:lnTo>
                    <a:lnTo>
                      <a:pt x="358" y="259"/>
                    </a:lnTo>
                    <a:lnTo>
                      <a:pt x="360" y="259"/>
                    </a:lnTo>
                    <a:lnTo>
                      <a:pt x="360" y="257"/>
                    </a:lnTo>
                    <a:lnTo>
                      <a:pt x="360" y="257"/>
                    </a:lnTo>
                    <a:lnTo>
                      <a:pt x="358" y="257"/>
                    </a:lnTo>
                    <a:lnTo>
                      <a:pt x="357" y="257"/>
                    </a:lnTo>
                    <a:close/>
                    <a:moveTo>
                      <a:pt x="525" y="269"/>
                    </a:moveTo>
                    <a:lnTo>
                      <a:pt x="525" y="267"/>
                    </a:lnTo>
                    <a:lnTo>
                      <a:pt x="525" y="267"/>
                    </a:lnTo>
                    <a:lnTo>
                      <a:pt x="525" y="266"/>
                    </a:lnTo>
                    <a:lnTo>
                      <a:pt x="526" y="266"/>
                    </a:lnTo>
                    <a:lnTo>
                      <a:pt x="526" y="266"/>
                    </a:lnTo>
                    <a:lnTo>
                      <a:pt x="528" y="263"/>
                    </a:lnTo>
                    <a:lnTo>
                      <a:pt x="526" y="263"/>
                    </a:lnTo>
                    <a:lnTo>
                      <a:pt x="523" y="263"/>
                    </a:lnTo>
                    <a:lnTo>
                      <a:pt x="523" y="262"/>
                    </a:lnTo>
                    <a:lnTo>
                      <a:pt x="519" y="265"/>
                    </a:lnTo>
                    <a:lnTo>
                      <a:pt x="517" y="266"/>
                    </a:lnTo>
                    <a:lnTo>
                      <a:pt x="515" y="266"/>
                    </a:lnTo>
                    <a:lnTo>
                      <a:pt x="513" y="269"/>
                    </a:lnTo>
                    <a:lnTo>
                      <a:pt x="512" y="270"/>
                    </a:lnTo>
                    <a:lnTo>
                      <a:pt x="509" y="270"/>
                    </a:lnTo>
                    <a:lnTo>
                      <a:pt x="507" y="269"/>
                    </a:lnTo>
                    <a:lnTo>
                      <a:pt x="505" y="270"/>
                    </a:lnTo>
                    <a:lnTo>
                      <a:pt x="502" y="273"/>
                    </a:lnTo>
                    <a:lnTo>
                      <a:pt x="500" y="276"/>
                    </a:lnTo>
                    <a:lnTo>
                      <a:pt x="500" y="279"/>
                    </a:lnTo>
                    <a:lnTo>
                      <a:pt x="500" y="280"/>
                    </a:lnTo>
                    <a:lnTo>
                      <a:pt x="500" y="280"/>
                    </a:lnTo>
                    <a:lnTo>
                      <a:pt x="500" y="282"/>
                    </a:lnTo>
                    <a:lnTo>
                      <a:pt x="500" y="282"/>
                    </a:lnTo>
                    <a:lnTo>
                      <a:pt x="502" y="282"/>
                    </a:lnTo>
                    <a:lnTo>
                      <a:pt x="502" y="283"/>
                    </a:lnTo>
                    <a:lnTo>
                      <a:pt x="502" y="283"/>
                    </a:lnTo>
                    <a:lnTo>
                      <a:pt x="502" y="285"/>
                    </a:lnTo>
                    <a:lnTo>
                      <a:pt x="500" y="285"/>
                    </a:lnTo>
                    <a:lnTo>
                      <a:pt x="500" y="285"/>
                    </a:lnTo>
                    <a:lnTo>
                      <a:pt x="502" y="286"/>
                    </a:lnTo>
                    <a:lnTo>
                      <a:pt x="503" y="288"/>
                    </a:lnTo>
                    <a:lnTo>
                      <a:pt x="506" y="286"/>
                    </a:lnTo>
                    <a:lnTo>
                      <a:pt x="509" y="285"/>
                    </a:lnTo>
                    <a:lnTo>
                      <a:pt x="515" y="283"/>
                    </a:lnTo>
                    <a:lnTo>
                      <a:pt x="516" y="282"/>
                    </a:lnTo>
                    <a:lnTo>
                      <a:pt x="519" y="280"/>
                    </a:lnTo>
                    <a:lnTo>
                      <a:pt x="526" y="272"/>
                    </a:lnTo>
                    <a:lnTo>
                      <a:pt x="526" y="270"/>
                    </a:lnTo>
                    <a:lnTo>
                      <a:pt x="525" y="269"/>
                    </a:lnTo>
                    <a:close/>
                    <a:moveTo>
                      <a:pt x="497" y="285"/>
                    </a:moveTo>
                    <a:lnTo>
                      <a:pt x="495" y="286"/>
                    </a:lnTo>
                    <a:lnTo>
                      <a:pt x="496" y="285"/>
                    </a:lnTo>
                    <a:lnTo>
                      <a:pt x="496" y="283"/>
                    </a:lnTo>
                    <a:lnTo>
                      <a:pt x="497" y="283"/>
                    </a:lnTo>
                    <a:lnTo>
                      <a:pt x="497" y="285"/>
                    </a:lnTo>
                    <a:close/>
                    <a:moveTo>
                      <a:pt x="506" y="252"/>
                    </a:moveTo>
                    <a:lnTo>
                      <a:pt x="507" y="250"/>
                    </a:lnTo>
                    <a:lnTo>
                      <a:pt x="507" y="250"/>
                    </a:lnTo>
                    <a:lnTo>
                      <a:pt x="509" y="252"/>
                    </a:lnTo>
                    <a:lnTo>
                      <a:pt x="510" y="249"/>
                    </a:lnTo>
                    <a:lnTo>
                      <a:pt x="512" y="249"/>
                    </a:lnTo>
                    <a:lnTo>
                      <a:pt x="512" y="249"/>
                    </a:lnTo>
                    <a:lnTo>
                      <a:pt x="512" y="252"/>
                    </a:lnTo>
                    <a:lnTo>
                      <a:pt x="510" y="254"/>
                    </a:lnTo>
                    <a:lnTo>
                      <a:pt x="509" y="254"/>
                    </a:lnTo>
                    <a:lnTo>
                      <a:pt x="507" y="253"/>
                    </a:lnTo>
                    <a:lnTo>
                      <a:pt x="506" y="253"/>
                    </a:lnTo>
                    <a:lnTo>
                      <a:pt x="506" y="252"/>
                    </a:lnTo>
                    <a:close/>
                    <a:moveTo>
                      <a:pt x="565" y="89"/>
                    </a:moveTo>
                    <a:lnTo>
                      <a:pt x="565" y="89"/>
                    </a:lnTo>
                    <a:lnTo>
                      <a:pt x="565" y="91"/>
                    </a:lnTo>
                    <a:lnTo>
                      <a:pt x="566" y="89"/>
                    </a:lnTo>
                    <a:lnTo>
                      <a:pt x="565" y="89"/>
                    </a:lnTo>
                    <a:close/>
                    <a:moveTo>
                      <a:pt x="585" y="59"/>
                    </a:moveTo>
                    <a:lnTo>
                      <a:pt x="588" y="59"/>
                    </a:lnTo>
                    <a:lnTo>
                      <a:pt x="589" y="62"/>
                    </a:lnTo>
                    <a:lnTo>
                      <a:pt x="588" y="65"/>
                    </a:lnTo>
                    <a:lnTo>
                      <a:pt x="585" y="68"/>
                    </a:lnTo>
                    <a:lnTo>
                      <a:pt x="582" y="68"/>
                    </a:lnTo>
                    <a:lnTo>
                      <a:pt x="582" y="65"/>
                    </a:lnTo>
                    <a:lnTo>
                      <a:pt x="584" y="60"/>
                    </a:lnTo>
                    <a:lnTo>
                      <a:pt x="585" y="59"/>
                    </a:lnTo>
                    <a:close/>
                    <a:moveTo>
                      <a:pt x="555" y="32"/>
                    </a:moveTo>
                    <a:lnTo>
                      <a:pt x="555" y="32"/>
                    </a:lnTo>
                    <a:lnTo>
                      <a:pt x="556" y="33"/>
                    </a:lnTo>
                    <a:lnTo>
                      <a:pt x="558" y="30"/>
                    </a:lnTo>
                    <a:lnTo>
                      <a:pt x="558" y="27"/>
                    </a:lnTo>
                    <a:lnTo>
                      <a:pt x="558" y="25"/>
                    </a:lnTo>
                    <a:lnTo>
                      <a:pt x="555" y="23"/>
                    </a:lnTo>
                    <a:lnTo>
                      <a:pt x="555" y="25"/>
                    </a:lnTo>
                    <a:lnTo>
                      <a:pt x="555" y="26"/>
                    </a:lnTo>
                    <a:lnTo>
                      <a:pt x="556" y="27"/>
                    </a:lnTo>
                    <a:lnTo>
                      <a:pt x="556" y="29"/>
                    </a:lnTo>
                    <a:lnTo>
                      <a:pt x="556" y="30"/>
                    </a:lnTo>
                    <a:lnTo>
                      <a:pt x="555" y="32"/>
                    </a:lnTo>
                    <a:close/>
                    <a:moveTo>
                      <a:pt x="556" y="36"/>
                    </a:moveTo>
                    <a:lnTo>
                      <a:pt x="556" y="37"/>
                    </a:lnTo>
                    <a:lnTo>
                      <a:pt x="556" y="37"/>
                    </a:lnTo>
                    <a:lnTo>
                      <a:pt x="556" y="36"/>
                    </a:lnTo>
                    <a:lnTo>
                      <a:pt x="556" y="36"/>
                    </a:lnTo>
                    <a:lnTo>
                      <a:pt x="556" y="36"/>
                    </a:lnTo>
                    <a:lnTo>
                      <a:pt x="556" y="36"/>
                    </a:lnTo>
                    <a:close/>
                    <a:moveTo>
                      <a:pt x="553" y="33"/>
                    </a:moveTo>
                    <a:lnTo>
                      <a:pt x="553" y="33"/>
                    </a:lnTo>
                    <a:lnTo>
                      <a:pt x="553" y="35"/>
                    </a:lnTo>
                    <a:lnTo>
                      <a:pt x="555" y="35"/>
                    </a:lnTo>
                    <a:lnTo>
                      <a:pt x="555" y="36"/>
                    </a:lnTo>
                    <a:lnTo>
                      <a:pt x="555" y="35"/>
                    </a:lnTo>
                    <a:lnTo>
                      <a:pt x="555" y="35"/>
                    </a:lnTo>
                    <a:lnTo>
                      <a:pt x="555" y="33"/>
                    </a:lnTo>
                    <a:lnTo>
                      <a:pt x="553" y="33"/>
                    </a:lnTo>
                    <a:close/>
                    <a:moveTo>
                      <a:pt x="532" y="55"/>
                    </a:moveTo>
                    <a:lnTo>
                      <a:pt x="530" y="55"/>
                    </a:lnTo>
                    <a:lnTo>
                      <a:pt x="532" y="58"/>
                    </a:lnTo>
                    <a:lnTo>
                      <a:pt x="532" y="56"/>
                    </a:lnTo>
                    <a:lnTo>
                      <a:pt x="532" y="56"/>
                    </a:lnTo>
                    <a:lnTo>
                      <a:pt x="532" y="55"/>
                    </a:lnTo>
                    <a:lnTo>
                      <a:pt x="532" y="55"/>
                    </a:lnTo>
                    <a:close/>
                    <a:moveTo>
                      <a:pt x="535" y="43"/>
                    </a:moveTo>
                    <a:lnTo>
                      <a:pt x="536" y="43"/>
                    </a:lnTo>
                    <a:lnTo>
                      <a:pt x="535" y="40"/>
                    </a:lnTo>
                    <a:lnTo>
                      <a:pt x="533" y="39"/>
                    </a:lnTo>
                    <a:lnTo>
                      <a:pt x="533" y="37"/>
                    </a:lnTo>
                    <a:lnTo>
                      <a:pt x="533" y="40"/>
                    </a:lnTo>
                    <a:lnTo>
                      <a:pt x="533" y="42"/>
                    </a:lnTo>
                    <a:lnTo>
                      <a:pt x="535" y="43"/>
                    </a:lnTo>
                    <a:close/>
                    <a:moveTo>
                      <a:pt x="395" y="30"/>
                    </a:moveTo>
                    <a:lnTo>
                      <a:pt x="395" y="32"/>
                    </a:lnTo>
                    <a:lnTo>
                      <a:pt x="398" y="33"/>
                    </a:lnTo>
                    <a:lnTo>
                      <a:pt x="400" y="32"/>
                    </a:lnTo>
                    <a:lnTo>
                      <a:pt x="400" y="30"/>
                    </a:lnTo>
                    <a:lnTo>
                      <a:pt x="397" y="30"/>
                    </a:lnTo>
                    <a:lnTo>
                      <a:pt x="395" y="30"/>
                    </a:lnTo>
                    <a:close/>
                    <a:moveTo>
                      <a:pt x="394" y="43"/>
                    </a:moveTo>
                    <a:lnTo>
                      <a:pt x="395" y="43"/>
                    </a:lnTo>
                    <a:lnTo>
                      <a:pt x="395" y="45"/>
                    </a:lnTo>
                    <a:lnTo>
                      <a:pt x="395" y="45"/>
                    </a:lnTo>
                    <a:lnTo>
                      <a:pt x="395" y="46"/>
                    </a:lnTo>
                    <a:lnTo>
                      <a:pt x="394" y="45"/>
                    </a:lnTo>
                    <a:lnTo>
                      <a:pt x="394" y="43"/>
                    </a:lnTo>
                    <a:lnTo>
                      <a:pt x="394" y="43"/>
                    </a:lnTo>
                    <a:close/>
                    <a:moveTo>
                      <a:pt x="125" y="79"/>
                    </a:moveTo>
                    <a:lnTo>
                      <a:pt x="127" y="81"/>
                    </a:lnTo>
                    <a:lnTo>
                      <a:pt x="128" y="83"/>
                    </a:lnTo>
                    <a:lnTo>
                      <a:pt x="128" y="85"/>
                    </a:lnTo>
                    <a:lnTo>
                      <a:pt x="127" y="86"/>
                    </a:lnTo>
                    <a:lnTo>
                      <a:pt x="125" y="85"/>
                    </a:lnTo>
                    <a:lnTo>
                      <a:pt x="124" y="82"/>
                    </a:lnTo>
                    <a:lnTo>
                      <a:pt x="124" y="81"/>
                    </a:lnTo>
                    <a:lnTo>
                      <a:pt x="125" y="79"/>
                    </a:lnTo>
                    <a:close/>
                    <a:moveTo>
                      <a:pt x="146" y="85"/>
                    </a:moveTo>
                    <a:lnTo>
                      <a:pt x="144" y="85"/>
                    </a:lnTo>
                    <a:lnTo>
                      <a:pt x="144" y="83"/>
                    </a:lnTo>
                    <a:lnTo>
                      <a:pt x="144" y="83"/>
                    </a:lnTo>
                    <a:lnTo>
                      <a:pt x="144" y="85"/>
                    </a:lnTo>
                    <a:lnTo>
                      <a:pt x="143" y="85"/>
                    </a:lnTo>
                    <a:lnTo>
                      <a:pt x="144" y="86"/>
                    </a:lnTo>
                    <a:lnTo>
                      <a:pt x="144" y="86"/>
                    </a:lnTo>
                    <a:lnTo>
                      <a:pt x="146" y="86"/>
                    </a:lnTo>
                    <a:lnTo>
                      <a:pt x="146" y="85"/>
                    </a:lnTo>
                    <a:lnTo>
                      <a:pt x="146" y="85"/>
                    </a:lnTo>
                    <a:close/>
                    <a:moveTo>
                      <a:pt x="125" y="76"/>
                    </a:moveTo>
                    <a:lnTo>
                      <a:pt x="123" y="75"/>
                    </a:lnTo>
                    <a:lnTo>
                      <a:pt x="121" y="76"/>
                    </a:lnTo>
                    <a:lnTo>
                      <a:pt x="121" y="78"/>
                    </a:lnTo>
                    <a:lnTo>
                      <a:pt x="124" y="78"/>
                    </a:lnTo>
                    <a:lnTo>
                      <a:pt x="127" y="79"/>
                    </a:lnTo>
                    <a:lnTo>
                      <a:pt x="128" y="81"/>
                    </a:lnTo>
                    <a:lnTo>
                      <a:pt x="128" y="78"/>
                    </a:lnTo>
                    <a:lnTo>
                      <a:pt x="125" y="76"/>
                    </a:lnTo>
                    <a:close/>
                    <a:moveTo>
                      <a:pt x="144" y="89"/>
                    </a:moveTo>
                    <a:lnTo>
                      <a:pt x="144" y="89"/>
                    </a:lnTo>
                    <a:lnTo>
                      <a:pt x="144" y="91"/>
                    </a:lnTo>
                    <a:lnTo>
                      <a:pt x="144" y="91"/>
                    </a:lnTo>
                    <a:lnTo>
                      <a:pt x="146" y="92"/>
                    </a:lnTo>
                    <a:lnTo>
                      <a:pt x="146" y="91"/>
                    </a:lnTo>
                    <a:lnTo>
                      <a:pt x="146" y="91"/>
                    </a:lnTo>
                    <a:lnTo>
                      <a:pt x="146" y="89"/>
                    </a:lnTo>
                    <a:lnTo>
                      <a:pt x="144" y="88"/>
                    </a:lnTo>
                    <a:lnTo>
                      <a:pt x="144" y="89"/>
                    </a:lnTo>
                    <a:close/>
                    <a:moveTo>
                      <a:pt x="156" y="83"/>
                    </a:moveTo>
                    <a:lnTo>
                      <a:pt x="154" y="83"/>
                    </a:lnTo>
                    <a:lnTo>
                      <a:pt x="154" y="85"/>
                    </a:lnTo>
                    <a:lnTo>
                      <a:pt x="156" y="86"/>
                    </a:lnTo>
                    <a:lnTo>
                      <a:pt x="157" y="86"/>
                    </a:lnTo>
                    <a:lnTo>
                      <a:pt x="157" y="85"/>
                    </a:lnTo>
                    <a:lnTo>
                      <a:pt x="157" y="83"/>
                    </a:lnTo>
                    <a:lnTo>
                      <a:pt x="157" y="83"/>
                    </a:lnTo>
                    <a:lnTo>
                      <a:pt x="156" y="83"/>
                    </a:lnTo>
                    <a:close/>
                    <a:moveTo>
                      <a:pt x="143" y="92"/>
                    </a:moveTo>
                    <a:lnTo>
                      <a:pt x="141" y="92"/>
                    </a:lnTo>
                    <a:lnTo>
                      <a:pt x="140" y="93"/>
                    </a:lnTo>
                    <a:lnTo>
                      <a:pt x="143" y="93"/>
                    </a:lnTo>
                    <a:lnTo>
                      <a:pt x="143" y="92"/>
                    </a:lnTo>
                    <a:close/>
                    <a:moveTo>
                      <a:pt x="112" y="73"/>
                    </a:moveTo>
                    <a:lnTo>
                      <a:pt x="115" y="72"/>
                    </a:lnTo>
                    <a:lnTo>
                      <a:pt x="117" y="69"/>
                    </a:lnTo>
                    <a:lnTo>
                      <a:pt x="115" y="68"/>
                    </a:lnTo>
                    <a:lnTo>
                      <a:pt x="112" y="66"/>
                    </a:lnTo>
                    <a:lnTo>
                      <a:pt x="110" y="68"/>
                    </a:lnTo>
                    <a:lnTo>
                      <a:pt x="110" y="70"/>
                    </a:lnTo>
                    <a:lnTo>
                      <a:pt x="111" y="72"/>
                    </a:lnTo>
                    <a:lnTo>
                      <a:pt x="112" y="73"/>
                    </a:lnTo>
                    <a:close/>
                    <a:moveTo>
                      <a:pt x="130" y="85"/>
                    </a:moveTo>
                    <a:lnTo>
                      <a:pt x="128" y="85"/>
                    </a:lnTo>
                    <a:lnTo>
                      <a:pt x="128" y="88"/>
                    </a:lnTo>
                    <a:lnTo>
                      <a:pt x="130" y="89"/>
                    </a:lnTo>
                    <a:lnTo>
                      <a:pt x="135" y="91"/>
                    </a:lnTo>
                    <a:lnTo>
                      <a:pt x="138" y="91"/>
                    </a:lnTo>
                    <a:lnTo>
                      <a:pt x="138" y="89"/>
                    </a:lnTo>
                    <a:lnTo>
                      <a:pt x="137" y="88"/>
                    </a:lnTo>
                    <a:lnTo>
                      <a:pt x="130" y="85"/>
                    </a:lnTo>
                    <a:lnTo>
                      <a:pt x="130" y="85"/>
                    </a:lnTo>
                    <a:close/>
                    <a:moveTo>
                      <a:pt x="157" y="88"/>
                    </a:moveTo>
                    <a:lnTo>
                      <a:pt x="157" y="88"/>
                    </a:lnTo>
                    <a:lnTo>
                      <a:pt x="157" y="88"/>
                    </a:lnTo>
                    <a:lnTo>
                      <a:pt x="158" y="89"/>
                    </a:lnTo>
                    <a:lnTo>
                      <a:pt x="158" y="89"/>
                    </a:lnTo>
                    <a:lnTo>
                      <a:pt x="158" y="88"/>
                    </a:lnTo>
                    <a:lnTo>
                      <a:pt x="157" y="86"/>
                    </a:lnTo>
                    <a:lnTo>
                      <a:pt x="157" y="88"/>
                    </a:lnTo>
                    <a:lnTo>
                      <a:pt x="157" y="88"/>
                    </a:lnTo>
                    <a:close/>
                    <a:moveTo>
                      <a:pt x="163" y="83"/>
                    </a:moveTo>
                    <a:lnTo>
                      <a:pt x="161" y="83"/>
                    </a:lnTo>
                    <a:lnTo>
                      <a:pt x="160" y="85"/>
                    </a:lnTo>
                    <a:lnTo>
                      <a:pt x="160" y="86"/>
                    </a:lnTo>
                    <a:lnTo>
                      <a:pt x="161" y="85"/>
                    </a:lnTo>
                    <a:lnTo>
                      <a:pt x="163" y="85"/>
                    </a:lnTo>
                    <a:lnTo>
                      <a:pt x="163" y="86"/>
                    </a:lnTo>
                    <a:lnTo>
                      <a:pt x="164" y="89"/>
                    </a:lnTo>
                    <a:lnTo>
                      <a:pt x="166" y="88"/>
                    </a:lnTo>
                    <a:lnTo>
                      <a:pt x="166" y="85"/>
                    </a:lnTo>
                    <a:lnTo>
                      <a:pt x="166" y="82"/>
                    </a:lnTo>
                    <a:lnTo>
                      <a:pt x="163" y="83"/>
                    </a:lnTo>
                    <a:close/>
                    <a:moveTo>
                      <a:pt x="187" y="53"/>
                    </a:moveTo>
                    <a:lnTo>
                      <a:pt x="187" y="52"/>
                    </a:lnTo>
                    <a:lnTo>
                      <a:pt x="187" y="50"/>
                    </a:lnTo>
                    <a:lnTo>
                      <a:pt x="186" y="50"/>
                    </a:lnTo>
                    <a:lnTo>
                      <a:pt x="184" y="50"/>
                    </a:lnTo>
                    <a:lnTo>
                      <a:pt x="186" y="52"/>
                    </a:lnTo>
                    <a:lnTo>
                      <a:pt x="186" y="53"/>
                    </a:lnTo>
                    <a:lnTo>
                      <a:pt x="187" y="53"/>
                    </a:lnTo>
                    <a:close/>
                    <a:moveTo>
                      <a:pt x="196" y="48"/>
                    </a:moveTo>
                    <a:lnTo>
                      <a:pt x="194" y="48"/>
                    </a:lnTo>
                    <a:lnTo>
                      <a:pt x="194" y="48"/>
                    </a:lnTo>
                    <a:lnTo>
                      <a:pt x="194" y="48"/>
                    </a:lnTo>
                    <a:lnTo>
                      <a:pt x="196" y="49"/>
                    </a:lnTo>
                    <a:lnTo>
                      <a:pt x="196" y="48"/>
                    </a:lnTo>
                    <a:close/>
                    <a:moveTo>
                      <a:pt x="167" y="102"/>
                    </a:moveTo>
                    <a:lnTo>
                      <a:pt x="166" y="101"/>
                    </a:lnTo>
                    <a:lnTo>
                      <a:pt x="166" y="101"/>
                    </a:lnTo>
                    <a:lnTo>
                      <a:pt x="164" y="99"/>
                    </a:lnTo>
                    <a:lnTo>
                      <a:pt x="164" y="99"/>
                    </a:lnTo>
                    <a:lnTo>
                      <a:pt x="164" y="101"/>
                    </a:lnTo>
                    <a:lnTo>
                      <a:pt x="166" y="102"/>
                    </a:lnTo>
                    <a:lnTo>
                      <a:pt x="167" y="102"/>
                    </a:lnTo>
                    <a:lnTo>
                      <a:pt x="167" y="104"/>
                    </a:lnTo>
                    <a:lnTo>
                      <a:pt x="167" y="102"/>
                    </a:lnTo>
                    <a:lnTo>
                      <a:pt x="167" y="102"/>
                    </a:lnTo>
                    <a:close/>
                    <a:moveTo>
                      <a:pt x="151" y="89"/>
                    </a:moveTo>
                    <a:lnTo>
                      <a:pt x="151" y="88"/>
                    </a:lnTo>
                    <a:lnTo>
                      <a:pt x="151" y="88"/>
                    </a:lnTo>
                    <a:lnTo>
                      <a:pt x="151" y="89"/>
                    </a:lnTo>
                    <a:lnTo>
                      <a:pt x="151" y="89"/>
                    </a:lnTo>
                    <a:lnTo>
                      <a:pt x="153" y="91"/>
                    </a:lnTo>
                    <a:lnTo>
                      <a:pt x="153" y="89"/>
                    </a:lnTo>
                    <a:lnTo>
                      <a:pt x="151" y="89"/>
                    </a:lnTo>
                    <a:close/>
                    <a:moveTo>
                      <a:pt x="148" y="108"/>
                    </a:moveTo>
                    <a:lnTo>
                      <a:pt x="147" y="108"/>
                    </a:lnTo>
                    <a:lnTo>
                      <a:pt x="146" y="109"/>
                    </a:lnTo>
                    <a:lnTo>
                      <a:pt x="147" y="111"/>
                    </a:lnTo>
                    <a:lnTo>
                      <a:pt x="148" y="111"/>
                    </a:lnTo>
                    <a:lnTo>
                      <a:pt x="150" y="109"/>
                    </a:lnTo>
                    <a:lnTo>
                      <a:pt x="151" y="109"/>
                    </a:lnTo>
                    <a:lnTo>
                      <a:pt x="150" y="108"/>
                    </a:lnTo>
                    <a:lnTo>
                      <a:pt x="148" y="108"/>
                    </a:lnTo>
                    <a:close/>
                    <a:moveTo>
                      <a:pt x="163" y="109"/>
                    </a:moveTo>
                    <a:lnTo>
                      <a:pt x="161" y="111"/>
                    </a:lnTo>
                    <a:lnTo>
                      <a:pt x="160" y="112"/>
                    </a:lnTo>
                    <a:lnTo>
                      <a:pt x="160" y="112"/>
                    </a:lnTo>
                    <a:lnTo>
                      <a:pt x="161" y="114"/>
                    </a:lnTo>
                    <a:lnTo>
                      <a:pt x="161" y="114"/>
                    </a:lnTo>
                    <a:lnTo>
                      <a:pt x="161" y="115"/>
                    </a:lnTo>
                    <a:lnTo>
                      <a:pt x="164" y="114"/>
                    </a:lnTo>
                    <a:lnTo>
                      <a:pt x="166" y="112"/>
                    </a:lnTo>
                    <a:lnTo>
                      <a:pt x="166" y="111"/>
                    </a:lnTo>
                    <a:lnTo>
                      <a:pt x="164" y="109"/>
                    </a:lnTo>
                    <a:lnTo>
                      <a:pt x="163" y="109"/>
                    </a:lnTo>
                    <a:close/>
                    <a:moveTo>
                      <a:pt x="167" y="108"/>
                    </a:moveTo>
                    <a:lnTo>
                      <a:pt x="167" y="108"/>
                    </a:lnTo>
                    <a:lnTo>
                      <a:pt x="170" y="109"/>
                    </a:lnTo>
                    <a:lnTo>
                      <a:pt x="171" y="109"/>
                    </a:lnTo>
                    <a:lnTo>
                      <a:pt x="173" y="108"/>
                    </a:lnTo>
                    <a:lnTo>
                      <a:pt x="170" y="106"/>
                    </a:lnTo>
                    <a:lnTo>
                      <a:pt x="169" y="106"/>
                    </a:lnTo>
                    <a:lnTo>
                      <a:pt x="167" y="105"/>
                    </a:lnTo>
                    <a:lnTo>
                      <a:pt x="166" y="105"/>
                    </a:lnTo>
                    <a:lnTo>
                      <a:pt x="164" y="104"/>
                    </a:lnTo>
                    <a:lnTo>
                      <a:pt x="164" y="105"/>
                    </a:lnTo>
                    <a:lnTo>
                      <a:pt x="164" y="105"/>
                    </a:lnTo>
                    <a:lnTo>
                      <a:pt x="164" y="106"/>
                    </a:lnTo>
                    <a:lnTo>
                      <a:pt x="163" y="106"/>
                    </a:lnTo>
                    <a:lnTo>
                      <a:pt x="164" y="108"/>
                    </a:lnTo>
                    <a:lnTo>
                      <a:pt x="166" y="108"/>
                    </a:lnTo>
                    <a:lnTo>
                      <a:pt x="167" y="108"/>
                    </a:lnTo>
                    <a:close/>
                    <a:moveTo>
                      <a:pt x="137" y="85"/>
                    </a:moveTo>
                    <a:lnTo>
                      <a:pt x="134" y="83"/>
                    </a:lnTo>
                    <a:lnTo>
                      <a:pt x="133" y="83"/>
                    </a:lnTo>
                    <a:lnTo>
                      <a:pt x="134" y="85"/>
                    </a:lnTo>
                    <a:lnTo>
                      <a:pt x="138" y="88"/>
                    </a:lnTo>
                    <a:lnTo>
                      <a:pt x="140" y="88"/>
                    </a:lnTo>
                    <a:lnTo>
                      <a:pt x="140" y="86"/>
                    </a:lnTo>
                    <a:lnTo>
                      <a:pt x="137" y="85"/>
                    </a:lnTo>
                    <a:close/>
                    <a:moveTo>
                      <a:pt x="227" y="39"/>
                    </a:moveTo>
                    <a:lnTo>
                      <a:pt x="229" y="39"/>
                    </a:lnTo>
                    <a:lnTo>
                      <a:pt x="229" y="39"/>
                    </a:lnTo>
                    <a:lnTo>
                      <a:pt x="230" y="39"/>
                    </a:lnTo>
                    <a:lnTo>
                      <a:pt x="232" y="39"/>
                    </a:lnTo>
                    <a:lnTo>
                      <a:pt x="233" y="36"/>
                    </a:lnTo>
                    <a:lnTo>
                      <a:pt x="232" y="33"/>
                    </a:lnTo>
                    <a:lnTo>
                      <a:pt x="230" y="32"/>
                    </a:lnTo>
                    <a:lnTo>
                      <a:pt x="230" y="29"/>
                    </a:lnTo>
                    <a:lnTo>
                      <a:pt x="227" y="32"/>
                    </a:lnTo>
                    <a:lnTo>
                      <a:pt x="226" y="33"/>
                    </a:lnTo>
                    <a:lnTo>
                      <a:pt x="226" y="36"/>
                    </a:lnTo>
                    <a:lnTo>
                      <a:pt x="230" y="36"/>
                    </a:lnTo>
                    <a:lnTo>
                      <a:pt x="227" y="37"/>
                    </a:lnTo>
                    <a:lnTo>
                      <a:pt x="227" y="39"/>
                    </a:lnTo>
                    <a:close/>
                    <a:moveTo>
                      <a:pt x="22" y="62"/>
                    </a:moveTo>
                    <a:lnTo>
                      <a:pt x="22" y="59"/>
                    </a:lnTo>
                    <a:lnTo>
                      <a:pt x="21" y="58"/>
                    </a:lnTo>
                    <a:lnTo>
                      <a:pt x="16" y="56"/>
                    </a:lnTo>
                    <a:lnTo>
                      <a:pt x="15" y="55"/>
                    </a:lnTo>
                    <a:lnTo>
                      <a:pt x="13" y="53"/>
                    </a:lnTo>
                    <a:lnTo>
                      <a:pt x="12" y="53"/>
                    </a:lnTo>
                    <a:lnTo>
                      <a:pt x="9" y="53"/>
                    </a:lnTo>
                    <a:lnTo>
                      <a:pt x="12" y="56"/>
                    </a:lnTo>
                    <a:lnTo>
                      <a:pt x="16" y="59"/>
                    </a:lnTo>
                    <a:lnTo>
                      <a:pt x="21" y="62"/>
                    </a:lnTo>
                    <a:lnTo>
                      <a:pt x="22" y="62"/>
                    </a:lnTo>
                    <a:close/>
                    <a:moveTo>
                      <a:pt x="55" y="104"/>
                    </a:moveTo>
                    <a:lnTo>
                      <a:pt x="56" y="106"/>
                    </a:lnTo>
                    <a:lnTo>
                      <a:pt x="56" y="108"/>
                    </a:lnTo>
                    <a:lnTo>
                      <a:pt x="55" y="114"/>
                    </a:lnTo>
                    <a:lnTo>
                      <a:pt x="58" y="112"/>
                    </a:lnTo>
                    <a:lnTo>
                      <a:pt x="59" y="109"/>
                    </a:lnTo>
                    <a:lnTo>
                      <a:pt x="58" y="105"/>
                    </a:lnTo>
                    <a:lnTo>
                      <a:pt x="55" y="104"/>
                    </a:lnTo>
                    <a:close/>
                    <a:moveTo>
                      <a:pt x="44" y="82"/>
                    </a:moveTo>
                    <a:lnTo>
                      <a:pt x="41" y="79"/>
                    </a:lnTo>
                    <a:lnTo>
                      <a:pt x="41" y="78"/>
                    </a:lnTo>
                    <a:lnTo>
                      <a:pt x="38" y="76"/>
                    </a:lnTo>
                    <a:lnTo>
                      <a:pt x="38" y="76"/>
                    </a:lnTo>
                    <a:lnTo>
                      <a:pt x="36" y="78"/>
                    </a:lnTo>
                    <a:lnTo>
                      <a:pt x="35" y="79"/>
                    </a:lnTo>
                    <a:lnTo>
                      <a:pt x="34" y="79"/>
                    </a:lnTo>
                    <a:lnTo>
                      <a:pt x="38" y="83"/>
                    </a:lnTo>
                    <a:lnTo>
                      <a:pt x="38" y="85"/>
                    </a:lnTo>
                    <a:lnTo>
                      <a:pt x="39" y="86"/>
                    </a:lnTo>
                    <a:lnTo>
                      <a:pt x="39" y="86"/>
                    </a:lnTo>
                    <a:lnTo>
                      <a:pt x="39" y="88"/>
                    </a:lnTo>
                    <a:lnTo>
                      <a:pt x="42" y="88"/>
                    </a:lnTo>
                    <a:lnTo>
                      <a:pt x="42" y="88"/>
                    </a:lnTo>
                    <a:lnTo>
                      <a:pt x="45" y="93"/>
                    </a:lnTo>
                    <a:lnTo>
                      <a:pt x="46" y="93"/>
                    </a:lnTo>
                    <a:lnTo>
                      <a:pt x="48" y="91"/>
                    </a:lnTo>
                    <a:lnTo>
                      <a:pt x="48" y="88"/>
                    </a:lnTo>
                    <a:lnTo>
                      <a:pt x="48" y="85"/>
                    </a:lnTo>
                    <a:lnTo>
                      <a:pt x="44" y="82"/>
                    </a:lnTo>
                    <a:close/>
                    <a:moveTo>
                      <a:pt x="38" y="68"/>
                    </a:moveTo>
                    <a:lnTo>
                      <a:pt x="38" y="66"/>
                    </a:lnTo>
                    <a:lnTo>
                      <a:pt x="36" y="65"/>
                    </a:lnTo>
                    <a:lnTo>
                      <a:pt x="35" y="65"/>
                    </a:lnTo>
                    <a:lnTo>
                      <a:pt x="34" y="65"/>
                    </a:lnTo>
                    <a:lnTo>
                      <a:pt x="35" y="65"/>
                    </a:lnTo>
                    <a:lnTo>
                      <a:pt x="38" y="68"/>
                    </a:lnTo>
                    <a:close/>
                    <a:moveTo>
                      <a:pt x="240" y="52"/>
                    </a:moveTo>
                    <a:lnTo>
                      <a:pt x="240" y="52"/>
                    </a:lnTo>
                    <a:lnTo>
                      <a:pt x="240" y="52"/>
                    </a:lnTo>
                    <a:lnTo>
                      <a:pt x="239" y="53"/>
                    </a:lnTo>
                    <a:lnTo>
                      <a:pt x="240" y="53"/>
                    </a:lnTo>
                    <a:lnTo>
                      <a:pt x="240" y="53"/>
                    </a:lnTo>
                    <a:lnTo>
                      <a:pt x="242" y="52"/>
                    </a:lnTo>
                    <a:lnTo>
                      <a:pt x="242" y="50"/>
                    </a:lnTo>
                    <a:lnTo>
                      <a:pt x="240" y="52"/>
                    </a:lnTo>
                    <a:close/>
                    <a:moveTo>
                      <a:pt x="523" y="247"/>
                    </a:moveTo>
                    <a:lnTo>
                      <a:pt x="526" y="249"/>
                    </a:lnTo>
                    <a:lnTo>
                      <a:pt x="526" y="252"/>
                    </a:lnTo>
                    <a:lnTo>
                      <a:pt x="519" y="253"/>
                    </a:lnTo>
                    <a:lnTo>
                      <a:pt x="516" y="253"/>
                    </a:lnTo>
                    <a:lnTo>
                      <a:pt x="513" y="252"/>
                    </a:lnTo>
                    <a:lnTo>
                      <a:pt x="513" y="250"/>
                    </a:lnTo>
                    <a:lnTo>
                      <a:pt x="515" y="249"/>
                    </a:lnTo>
                    <a:lnTo>
                      <a:pt x="516" y="247"/>
                    </a:lnTo>
                    <a:lnTo>
                      <a:pt x="517" y="249"/>
                    </a:lnTo>
                    <a:lnTo>
                      <a:pt x="520" y="247"/>
                    </a:lnTo>
                    <a:lnTo>
                      <a:pt x="523" y="247"/>
                    </a:lnTo>
                    <a:close/>
                    <a:moveTo>
                      <a:pt x="586" y="165"/>
                    </a:moveTo>
                    <a:lnTo>
                      <a:pt x="588" y="167"/>
                    </a:lnTo>
                    <a:lnTo>
                      <a:pt x="585" y="168"/>
                    </a:lnTo>
                    <a:lnTo>
                      <a:pt x="584" y="168"/>
                    </a:lnTo>
                    <a:lnTo>
                      <a:pt x="585" y="167"/>
                    </a:lnTo>
                    <a:lnTo>
                      <a:pt x="585" y="165"/>
                    </a:lnTo>
                    <a:lnTo>
                      <a:pt x="586" y="165"/>
                    </a:lnTo>
                    <a:close/>
                    <a:moveTo>
                      <a:pt x="601" y="104"/>
                    </a:moveTo>
                    <a:lnTo>
                      <a:pt x="601" y="102"/>
                    </a:lnTo>
                    <a:lnTo>
                      <a:pt x="602" y="105"/>
                    </a:lnTo>
                    <a:lnTo>
                      <a:pt x="604" y="105"/>
                    </a:lnTo>
                    <a:lnTo>
                      <a:pt x="605" y="106"/>
                    </a:lnTo>
                    <a:lnTo>
                      <a:pt x="604" y="106"/>
                    </a:lnTo>
                    <a:lnTo>
                      <a:pt x="602" y="105"/>
                    </a:lnTo>
                    <a:lnTo>
                      <a:pt x="601" y="104"/>
                    </a:lnTo>
                    <a:close/>
                    <a:moveTo>
                      <a:pt x="608" y="242"/>
                    </a:moveTo>
                    <a:lnTo>
                      <a:pt x="609" y="243"/>
                    </a:lnTo>
                    <a:lnTo>
                      <a:pt x="609" y="244"/>
                    </a:lnTo>
                    <a:lnTo>
                      <a:pt x="608" y="246"/>
                    </a:lnTo>
                    <a:lnTo>
                      <a:pt x="607" y="244"/>
                    </a:lnTo>
                    <a:lnTo>
                      <a:pt x="605" y="243"/>
                    </a:lnTo>
                    <a:lnTo>
                      <a:pt x="605" y="242"/>
                    </a:lnTo>
                    <a:lnTo>
                      <a:pt x="607" y="242"/>
                    </a:lnTo>
                    <a:lnTo>
                      <a:pt x="608" y="242"/>
                    </a:lnTo>
                    <a:close/>
                    <a:moveTo>
                      <a:pt x="588" y="230"/>
                    </a:moveTo>
                    <a:lnTo>
                      <a:pt x="586" y="230"/>
                    </a:lnTo>
                    <a:lnTo>
                      <a:pt x="588" y="229"/>
                    </a:lnTo>
                    <a:lnTo>
                      <a:pt x="589" y="230"/>
                    </a:lnTo>
                    <a:lnTo>
                      <a:pt x="588" y="230"/>
                    </a:lnTo>
                    <a:close/>
                    <a:moveTo>
                      <a:pt x="640" y="239"/>
                    </a:moveTo>
                    <a:lnTo>
                      <a:pt x="638" y="242"/>
                    </a:lnTo>
                    <a:lnTo>
                      <a:pt x="637" y="243"/>
                    </a:lnTo>
                    <a:lnTo>
                      <a:pt x="635" y="244"/>
                    </a:lnTo>
                    <a:lnTo>
                      <a:pt x="632" y="244"/>
                    </a:lnTo>
                    <a:lnTo>
                      <a:pt x="632" y="242"/>
                    </a:lnTo>
                    <a:lnTo>
                      <a:pt x="634" y="237"/>
                    </a:lnTo>
                    <a:lnTo>
                      <a:pt x="635" y="234"/>
                    </a:lnTo>
                    <a:lnTo>
                      <a:pt x="638" y="231"/>
                    </a:lnTo>
                    <a:lnTo>
                      <a:pt x="640" y="230"/>
                    </a:lnTo>
                    <a:lnTo>
                      <a:pt x="641" y="229"/>
                    </a:lnTo>
                    <a:lnTo>
                      <a:pt x="642" y="230"/>
                    </a:lnTo>
                    <a:lnTo>
                      <a:pt x="642" y="230"/>
                    </a:lnTo>
                    <a:lnTo>
                      <a:pt x="642" y="234"/>
                    </a:lnTo>
                    <a:lnTo>
                      <a:pt x="642" y="236"/>
                    </a:lnTo>
                    <a:lnTo>
                      <a:pt x="641" y="237"/>
                    </a:lnTo>
                    <a:lnTo>
                      <a:pt x="641" y="239"/>
                    </a:lnTo>
                    <a:lnTo>
                      <a:pt x="640" y="239"/>
                    </a:lnTo>
                    <a:close/>
                    <a:moveTo>
                      <a:pt x="627" y="252"/>
                    </a:moveTo>
                    <a:lnTo>
                      <a:pt x="627" y="250"/>
                    </a:lnTo>
                    <a:lnTo>
                      <a:pt x="628" y="249"/>
                    </a:lnTo>
                    <a:lnTo>
                      <a:pt x="630" y="247"/>
                    </a:lnTo>
                    <a:lnTo>
                      <a:pt x="631" y="247"/>
                    </a:lnTo>
                    <a:lnTo>
                      <a:pt x="634" y="247"/>
                    </a:lnTo>
                    <a:lnTo>
                      <a:pt x="631" y="249"/>
                    </a:lnTo>
                    <a:lnTo>
                      <a:pt x="627" y="252"/>
                    </a:lnTo>
                    <a:close/>
                    <a:moveTo>
                      <a:pt x="624" y="111"/>
                    </a:moveTo>
                    <a:lnTo>
                      <a:pt x="624" y="112"/>
                    </a:lnTo>
                    <a:lnTo>
                      <a:pt x="624" y="112"/>
                    </a:lnTo>
                    <a:lnTo>
                      <a:pt x="622" y="114"/>
                    </a:lnTo>
                    <a:lnTo>
                      <a:pt x="622" y="112"/>
                    </a:lnTo>
                    <a:lnTo>
                      <a:pt x="621" y="112"/>
                    </a:lnTo>
                    <a:lnTo>
                      <a:pt x="621" y="111"/>
                    </a:lnTo>
                    <a:lnTo>
                      <a:pt x="622" y="111"/>
                    </a:lnTo>
                    <a:lnTo>
                      <a:pt x="624" y="111"/>
                    </a:lnTo>
                    <a:close/>
                    <a:moveTo>
                      <a:pt x="578" y="134"/>
                    </a:moveTo>
                    <a:lnTo>
                      <a:pt x="569" y="134"/>
                    </a:lnTo>
                    <a:lnTo>
                      <a:pt x="568" y="134"/>
                    </a:lnTo>
                    <a:lnTo>
                      <a:pt x="566" y="132"/>
                    </a:lnTo>
                    <a:lnTo>
                      <a:pt x="568" y="129"/>
                    </a:lnTo>
                    <a:lnTo>
                      <a:pt x="569" y="128"/>
                    </a:lnTo>
                    <a:lnTo>
                      <a:pt x="571" y="128"/>
                    </a:lnTo>
                    <a:lnTo>
                      <a:pt x="572" y="128"/>
                    </a:lnTo>
                    <a:lnTo>
                      <a:pt x="575" y="128"/>
                    </a:lnTo>
                    <a:lnTo>
                      <a:pt x="576" y="129"/>
                    </a:lnTo>
                    <a:lnTo>
                      <a:pt x="579" y="132"/>
                    </a:lnTo>
                    <a:lnTo>
                      <a:pt x="578" y="134"/>
                    </a:lnTo>
                    <a:close/>
                    <a:moveTo>
                      <a:pt x="576" y="249"/>
                    </a:moveTo>
                    <a:lnTo>
                      <a:pt x="573" y="247"/>
                    </a:lnTo>
                    <a:lnTo>
                      <a:pt x="578" y="247"/>
                    </a:lnTo>
                    <a:lnTo>
                      <a:pt x="578" y="249"/>
                    </a:lnTo>
                    <a:lnTo>
                      <a:pt x="576" y="249"/>
                    </a:lnTo>
                    <a:close/>
                    <a:moveTo>
                      <a:pt x="569" y="161"/>
                    </a:moveTo>
                    <a:lnTo>
                      <a:pt x="571" y="161"/>
                    </a:lnTo>
                    <a:lnTo>
                      <a:pt x="571" y="162"/>
                    </a:lnTo>
                    <a:lnTo>
                      <a:pt x="571" y="162"/>
                    </a:lnTo>
                    <a:lnTo>
                      <a:pt x="569" y="162"/>
                    </a:lnTo>
                    <a:lnTo>
                      <a:pt x="568" y="161"/>
                    </a:lnTo>
                    <a:lnTo>
                      <a:pt x="569" y="161"/>
                    </a:lnTo>
                    <a:lnTo>
                      <a:pt x="569" y="161"/>
                    </a:lnTo>
                    <a:close/>
                    <a:moveTo>
                      <a:pt x="589" y="167"/>
                    </a:moveTo>
                    <a:lnTo>
                      <a:pt x="589" y="167"/>
                    </a:lnTo>
                    <a:lnTo>
                      <a:pt x="588" y="167"/>
                    </a:lnTo>
                    <a:lnTo>
                      <a:pt x="588" y="167"/>
                    </a:lnTo>
                    <a:lnTo>
                      <a:pt x="588" y="165"/>
                    </a:lnTo>
                    <a:lnTo>
                      <a:pt x="589" y="165"/>
                    </a:lnTo>
                    <a:lnTo>
                      <a:pt x="589" y="165"/>
                    </a:lnTo>
                    <a:lnTo>
                      <a:pt x="589" y="167"/>
                    </a:lnTo>
                    <a:lnTo>
                      <a:pt x="589" y="167"/>
                    </a:lnTo>
                    <a:close/>
                    <a:moveTo>
                      <a:pt x="579" y="170"/>
                    </a:moveTo>
                    <a:lnTo>
                      <a:pt x="581" y="168"/>
                    </a:lnTo>
                    <a:lnTo>
                      <a:pt x="579" y="168"/>
                    </a:lnTo>
                    <a:lnTo>
                      <a:pt x="579" y="168"/>
                    </a:lnTo>
                    <a:lnTo>
                      <a:pt x="579" y="168"/>
                    </a:lnTo>
                    <a:lnTo>
                      <a:pt x="578" y="170"/>
                    </a:lnTo>
                    <a:lnTo>
                      <a:pt x="576" y="170"/>
                    </a:lnTo>
                    <a:lnTo>
                      <a:pt x="576" y="168"/>
                    </a:lnTo>
                    <a:lnTo>
                      <a:pt x="576" y="168"/>
                    </a:lnTo>
                    <a:lnTo>
                      <a:pt x="579" y="167"/>
                    </a:lnTo>
                    <a:lnTo>
                      <a:pt x="581" y="165"/>
                    </a:lnTo>
                    <a:lnTo>
                      <a:pt x="584" y="165"/>
                    </a:lnTo>
                    <a:lnTo>
                      <a:pt x="582" y="167"/>
                    </a:lnTo>
                    <a:lnTo>
                      <a:pt x="582" y="168"/>
                    </a:lnTo>
                    <a:lnTo>
                      <a:pt x="581" y="170"/>
                    </a:lnTo>
                    <a:lnTo>
                      <a:pt x="579" y="170"/>
                    </a:lnTo>
                    <a:lnTo>
                      <a:pt x="579" y="170"/>
                    </a:lnTo>
                    <a:close/>
                    <a:moveTo>
                      <a:pt x="575" y="157"/>
                    </a:moveTo>
                    <a:lnTo>
                      <a:pt x="576" y="155"/>
                    </a:lnTo>
                    <a:lnTo>
                      <a:pt x="576" y="155"/>
                    </a:lnTo>
                    <a:lnTo>
                      <a:pt x="576" y="157"/>
                    </a:lnTo>
                    <a:lnTo>
                      <a:pt x="575" y="157"/>
                    </a:lnTo>
                    <a:lnTo>
                      <a:pt x="575" y="157"/>
                    </a:lnTo>
                    <a:lnTo>
                      <a:pt x="575" y="157"/>
                    </a:lnTo>
                    <a:close/>
                    <a:moveTo>
                      <a:pt x="569" y="75"/>
                    </a:moveTo>
                    <a:lnTo>
                      <a:pt x="572" y="69"/>
                    </a:lnTo>
                    <a:lnTo>
                      <a:pt x="578" y="65"/>
                    </a:lnTo>
                    <a:lnTo>
                      <a:pt x="578" y="66"/>
                    </a:lnTo>
                    <a:lnTo>
                      <a:pt x="576" y="68"/>
                    </a:lnTo>
                    <a:lnTo>
                      <a:pt x="575" y="69"/>
                    </a:lnTo>
                    <a:lnTo>
                      <a:pt x="575" y="70"/>
                    </a:lnTo>
                    <a:lnTo>
                      <a:pt x="576" y="72"/>
                    </a:lnTo>
                    <a:lnTo>
                      <a:pt x="576" y="72"/>
                    </a:lnTo>
                    <a:lnTo>
                      <a:pt x="576" y="73"/>
                    </a:lnTo>
                    <a:lnTo>
                      <a:pt x="578" y="76"/>
                    </a:lnTo>
                    <a:lnTo>
                      <a:pt x="578" y="79"/>
                    </a:lnTo>
                    <a:lnTo>
                      <a:pt x="576" y="82"/>
                    </a:lnTo>
                    <a:lnTo>
                      <a:pt x="573" y="83"/>
                    </a:lnTo>
                    <a:lnTo>
                      <a:pt x="572" y="85"/>
                    </a:lnTo>
                    <a:lnTo>
                      <a:pt x="571" y="86"/>
                    </a:lnTo>
                    <a:lnTo>
                      <a:pt x="571" y="88"/>
                    </a:lnTo>
                    <a:lnTo>
                      <a:pt x="572" y="88"/>
                    </a:lnTo>
                    <a:lnTo>
                      <a:pt x="572" y="89"/>
                    </a:lnTo>
                    <a:lnTo>
                      <a:pt x="573" y="89"/>
                    </a:lnTo>
                    <a:lnTo>
                      <a:pt x="575" y="89"/>
                    </a:lnTo>
                    <a:lnTo>
                      <a:pt x="576" y="88"/>
                    </a:lnTo>
                    <a:lnTo>
                      <a:pt x="578" y="86"/>
                    </a:lnTo>
                    <a:lnTo>
                      <a:pt x="581" y="82"/>
                    </a:lnTo>
                    <a:lnTo>
                      <a:pt x="582" y="79"/>
                    </a:lnTo>
                    <a:lnTo>
                      <a:pt x="584" y="78"/>
                    </a:lnTo>
                    <a:lnTo>
                      <a:pt x="586" y="76"/>
                    </a:lnTo>
                    <a:lnTo>
                      <a:pt x="589" y="76"/>
                    </a:lnTo>
                    <a:lnTo>
                      <a:pt x="591" y="79"/>
                    </a:lnTo>
                    <a:lnTo>
                      <a:pt x="589" y="82"/>
                    </a:lnTo>
                    <a:lnTo>
                      <a:pt x="588" y="85"/>
                    </a:lnTo>
                    <a:lnTo>
                      <a:pt x="586" y="86"/>
                    </a:lnTo>
                    <a:lnTo>
                      <a:pt x="584" y="89"/>
                    </a:lnTo>
                    <a:lnTo>
                      <a:pt x="582" y="91"/>
                    </a:lnTo>
                    <a:lnTo>
                      <a:pt x="588" y="93"/>
                    </a:lnTo>
                    <a:lnTo>
                      <a:pt x="588" y="95"/>
                    </a:lnTo>
                    <a:lnTo>
                      <a:pt x="589" y="96"/>
                    </a:lnTo>
                    <a:lnTo>
                      <a:pt x="589" y="98"/>
                    </a:lnTo>
                    <a:lnTo>
                      <a:pt x="591" y="98"/>
                    </a:lnTo>
                    <a:lnTo>
                      <a:pt x="592" y="99"/>
                    </a:lnTo>
                    <a:lnTo>
                      <a:pt x="594" y="99"/>
                    </a:lnTo>
                    <a:lnTo>
                      <a:pt x="579" y="96"/>
                    </a:lnTo>
                    <a:lnTo>
                      <a:pt x="578" y="95"/>
                    </a:lnTo>
                    <a:lnTo>
                      <a:pt x="576" y="96"/>
                    </a:lnTo>
                    <a:lnTo>
                      <a:pt x="575" y="99"/>
                    </a:lnTo>
                    <a:lnTo>
                      <a:pt x="576" y="105"/>
                    </a:lnTo>
                    <a:lnTo>
                      <a:pt x="578" y="111"/>
                    </a:lnTo>
                    <a:lnTo>
                      <a:pt x="581" y="115"/>
                    </a:lnTo>
                    <a:lnTo>
                      <a:pt x="585" y="119"/>
                    </a:lnTo>
                    <a:lnTo>
                      <a:pt x="581" y="118"/>
                    </a:lnTo>
                    <a:lnTo>
                      <a:pt x="576" y="114"/>
                    </a:lnTo>
                    <a:lnTo>
                      <a:pt x="573" y="109"/>
                    </a:lnTo>
                    <a:lnTo>
                      <a:pt x="572" y="106"/>
                    </a:lnTo>
                    <a:lnTo>
                      <a:pt x="572" y="104"/>
                    </a:lnTo>
                    <a:lnTo>
                      <a:pt x="572" y="101"/>
                    </a:lnTo>
                    <a:lnTo>
                      <a:pt x="572" y="99"/>
                    </a:lnTo>
                    <a:lnTo>
                      <a:pt x="572" y="99"/>
                    </a:lnTo>
                    <a:lnTo>
                      <a:pt x="571" y="96"/>
                    </a:lnTo>
                    <a:lnTo>
                      <a:pt x="571" y="96"/>
                    </a:lnTo>
                    <a:lnTo>
                      <a:pt x="569" y="93"/>
                    </a:lnTo>
                    <a:lnTo>
                      <a:pt x="571" y="91"/>
                    </a:lnTo>
                    <a:lnTo>
                      <a:pt x="569" y="89"/>
                    </a:lnTo>
                    <a:lnTo>
                      <a:pt x="569" y="88"/>
                    </a:lnTo>
                    <a:lnTo>
                      <a:pt x="568" y="82"/>
                    </a:lnTo>
                    <a:lnTo>
                      <a:pt x="569" y="75"/>
                    </a:lnTo>
                    <a:close/>
                    <a:moveTo>
                      <a:pt x="566" y="239"/>
                    </a:moveTo>
                    <a:lnTo>
                      <a:pt x="566" y="237"/>
                    </a:lnTo>
                    <a:lnTo>
                      <a:pt x="566" y="236"/>
                    </a:lnTo>
                    <a:lnTo>
                      <a:pt x="568" y="237"/>
                    </a:lnTo>
                    <a:lnTo>
                      <a:pt x="568" y="237"/>
                    </a:lnTo>
                    <a:lnTo>
                      <a:pt x="568" y="239"/>
                    </a:lnTo>
                    <a:lnTo>
                      <a:pt x="566" y="239"/>
                    </a:lnTo>
                    <a:lnTo>
                      <a:pt x="566" y="239"/>
                    </a:lnTo>
                    <a:close/>
                    <a:moveTo>
                      <a:pt x="565" y="111"/>
                    </a:moveTo>
                    <a:lnTo>
                      <a:pt x="565" y="109"/>
                    </a:lnTo>
                    <a:lnTo>
                      <a:pt x="566" y="109"/>
                    </a:lnTo>
                    <a:lnTo>
                      <a:pt x="566" y="109"/>
                    </a:lnTo>
                    <a:lnTo>
                      <a:pt x="568" y="111"/>
                    </a:lnTo>
                    <a:lnTo>
                      <a:pt x="568" y="111"/>
                    </a:lnTo>
                    <a:lnTo>
                      <a:pt x="568" y="111"/>
                    </a:lnTo>
                    <a:lnTo>
                      <a:pt x="568" y="109"/>
                    </a:lnTo>
                    <a:lnTo>
                      <a:pt x="569" y="109"/>
                    </a:lnTo>
                    <a:lnTo>
                      <a:pt x="569" y="109"/>
                    </a:lnTo>
                    <a:lnTo>
                      <a:pt x="571" y="111"/>
                    </a:lnTo>
                    <a:lnTo>
                      <a:pt x="571" y="112"/>
                    </a:lnTo>
                    <a:lnTo>
                      <a:pt x="571" y="112"/>
                    </a:lnTo>
                    <a:lnTo>
                      <a:pt x="571" y="114"/>
                    </a:lnTo>
                    <a:lnTo>
                      <a:pt x="571" y="114"/>
                    </a:lnTo>
                    <a:lnTo>
                      <a:pt x="571" y="115"/>
                    </a:lnTo>
                    <a:lnTo>
                      <a:pt x="571" y="115"/>
                    </a:lnTo>
                    <a:lnTo>
                      <a:pt x="571" y="115"/>
                    </a:lnTo>
                    <a:lnTo>
                      <a:pt x="572" y="116"/>
                    </a:lnTo>
                    <a:lnTo>
                      <a:pt x="573" y="115"/>
                    </a:lnTo>
                    <a:lnTo>
                      <a:pt x="573" y="116"/>
                    </a:lnTo>
                    <a:lnTo>
                      <a:pt x="573" y="116"/>
                    </a:lnTo>
                    <a:lnTo>
                      <a:pt x="575" y="116"/>
                    </a:lnTo>
                    <a:lnTo>
                      <a:pt x="575" y="116"/>
                    </a:lnTo>
                    <a:lnTo>
                      <a:pt x="575" y="116"/>
                    </a:lnTo>
                    <a:lnTo>
                      <a:pt x="575" y="119"/>
                    </a:lnTo>
                    <a:lnTo>
                      <a:pt x="573" y="118"/>
                    </a:lnTo>
                    <a:lnTo>
                      <a:pt x="571" y="116"/>
                    </a:lnTo>
                    <a:lnTo>
                      <a:pt x="569" y="116"/>
                    </a:lnTo>
                    <a:lnTo>
                      <a:pt x="568" y="118"/>
                    </a:lnTo>
                    <a:lnTo>
                      <a:pt x="568" y="118"/>
                    </a:lnTo>
                    <a:lnTo>
                      <a:pt x="568" y="116"/>
                    </a:lnTo>
                    <a:lnTo>
                      <a:pt x="568" y="116"/>
                    </a:lnTo>
                    <a:lnTo>
                      <a:pt x="568" y="115"/>
                    </a:lnTo>
                    <a:lnTo>
                      <a:pt x="566" y="114"/>
                    </a:lnTo>
                    <a:lnTo>
                      <a:pt x="565" y="114"/>
                    </a:lnTo>
                    <a:lnTo>
                      <a:pt x="565" y="112"/>
                    </a:lnTo>
                    <a:lnTo>
                      <a:pt x="565" y="111"/>
                    </a:lnTo>
                    <a:close/>
                    <a:moveTo>
                      <a:pt x="588" y="154"/>
                    </a:moveTo>
                    <a:lnTo>
                      <a:pt x="596" y="154"/>
                    </a:lnTo>
                    <a:lnTo>
                      <a:pt x="596" y="154"/>
                    </a:lnTo>
                    <a:lnTo>
                      <a:pt x="598" y="155"/>
                    </a:lnTo>
                    <a:lnTo>
                      <a:pt x="598" y="155"/>
                    </a:lnTo>
                    <a:lnTo>
                      <a:pt x="599" y="155"/>
                    </a:lnTo>
                    <a:lnTo>
                      <a:pt x="599" y="154"/>
                    </a:lnTo>
                    <a:lnTo>
                      <a:pt x="602" y="152"/>
                    </a:lnTo>
                    <a:lnTo>
                      <a:pt x="602" y="152"/>
                    </a:lnTo>
                    <a:lnTo>
                      <a:pt x="605" y="152"/>
                    </a:lnTo>
                    <a:lnTo>
                      <a:pt x="607" y="154"/>
                    </a:lnTo>
                    <a:lnTo>
                      <a:pt x="611" y="155"/>
                    </a:lnTo>
                    <a:lnTo>
                      <a:pt x="612" y="155"/>
                    </a:lnTo>
                    <a:lnTo>
                      <a:pt x="618" y="157"/>
                    </a:lnTo>
                    <a:lnTo>
                      <a:pt x="619" y="157"/>
                    </a:lnTo>
                    <a:lnTo>
                      <a:pt x="621" y="158"/>
                    </a:lnTo>
                    <a:lnTo>
                      <a:pt x="622" y="160"/>
                    </a:lnTo>
                    <a:lnTo>
                      <a:pt x="627" y="165"/>
                    </a:lnTo>
                    <a:lnTo>
                      <a:pt x="627" y="167"/>
                    </a:lnTo>
                    <a:lnTo>
                      <a:pt x="627" y="168"/>
                    </a:lnTo>
                    <a:lnTo>
                      <a:pt x="627" y="171"/>
                    </a:lnTo>
                    <a:lnTo>
                      <a:pt x="609" y="162"/>
                    </a:lnTo>
                    <a:lnTo>
                      <a:pt x="608" y="162"/>
                    </a:lnTo>
                    <a:lnTo>
                      <a:pt x="607" y="162"/>
                    </a:lnTo>
                    <a:lnTo>
                      <a:pt x="605" y="162"/>
                    </a:lnTo>
                    <a:lnTo>
                      <a:pt x="604" y="162"/>
                    </a:lnTo>
                    <a:lnTo>
                      <a:pt x="604" y="164"/>
                    </a:lnTo>
                    <a:lnTo>
                      <a:pt x="604" y="164"/>
                    </a:lnTo>
                    <a:lnTo>
                      <a:pt x="602" y="164"/>
                    </a:lnTo>
                    <a:lnTo>
                      <a:pt x="601" y="164"/>
                    </a:lnTo>
                    <a:lnTo>
                      <a:pt x="594" y="162"/>
                    </a:lnTo>
                    <a:lnTo>
                      <a:pt x="594" y="161"/>
                    </a:lnTo>
                    <a:lnTo>
                      <a:pt x="594" y="161"/>
                    </a:lnTo>
                    <a:lnTo>
                      <a:pt x="594" y="161"/>
                    </a:lnTo>
                    <a:lnTo>
                      <a:pt x="594" y="161"/>
                    </a:lnTo>
                    <a:lnTo>
                      <a:pt x="591" y="161"/>
                    </a:lnTo>
                    <a:lnTo>
                      <a:pt x="589" y="162"/>
                    </a:lnTo>
                    <a:lnTo>
                      <a:pt x="588" y="164"/>
                    </a:lnTo>
                    <a:lnTo>
                      <a:pt x="585" y="164"/>
                    </a:lnTo>
                    <a:lnTo>
                      <a:pt x="582" y="161"/>
                    </a:lnTo>
                    <a:lnTo>
                      <a:pt x="581" y="160"/>
                    </a:lnTo>
                    <a:lnTo>
                      <a:pt x="579" y="160"/>
                    </a:lnTo>
                    <a:lnTo>
                      <a:pt x="578" y="161"/>
                    </a:lnTo>
                    <a:lnTo>
                      <a:pt x="576" y="164"/>
                    </a:lnTo>
                    <a:lnTo>
                      <a:pt x="576" y="165"/>
                    </a:lnTo>
                    <a:lnTo>
                      <a:pt x="576" y="162"/>
                    </a:lnTo>
                    <a:lnTo>
                      <a:pt x="576" y="161"/>
                    </a:lnTo>
                    <a:lnTo>
                      <a:pt x="576" y="160"/>
                    </a:lnTo>
                    <a:lnTo>
                      <a:pt x="578" y="158"/>
                    </a:lnTo>
                    <a:lnTo>
                      <a:pt x="579" y="155"/>
                    </a:lnTo>
                    <a:lnTo>
                      <a:pt x="582" y="154"/>
                    </a:lnTo>
                    <a:lnTo>
                      <a:pt x="584" y="154"/>
                    </a:lnTo>
                    <a:lnTo>
                      <a:pt x="588" y="154"/>
                    </a:lnTo>
                    <a:close/>
                    <a:moveTo>
                      <a:pt x="566" y="91"/>
                    </a:moveTo>
                    <a:lnTo>
                      <a:pt x="568" y="91"/>
                    </a:lnTo>
                    <a:lnTo>
                      <a:pt x="568" y="92"/>
                    </a:lnTo>
                    <a:lnTo>
                      <a:pt x="566" y="92"/>
                    </a:lnTo>
                    <a:lnTo>
                      <a:pt x="566" y="91"/>
                    </a:lnTo>
                    <a:close/>
                    <a:moveTo>
                      <a:pt x="568" y="102"/>
                    </a:moveTo>
                    <a:lnTo>
                      <a:pt x="568" y="101"/>
                    </a:lnTo>
                    <a:lnTo>
                      <a:pt x="568" y="102"/>
                    </a:lnTo>
                    <a:lnTo>
                      <a:pt x="568" y="102"/>
                    </a:lnTo>
                    <a:lnTo>
                      <a:pt x="568" y="104"/>
                    </a:lnTo>
                    <a:lnTo>
                      <a:pt x="568" y="104"/>
                    </a:lnTo>
                    <a:lnTo>
                      <a:pt x="568" y="104"/>
                    </a:lnTo>
                    <a:lnTo>
                      <a:pt x="568" y="104"/>
                    </a:lnTo>
                    <a:lnTo>
                      <a:pt x="566" y="104"/>
                    </a:lnTo>
                    <a:lnTo>
                      <a:pt x="566" y="102"/>
                    </a:lnTo>
                    <a:lnTo>
                      <a:pt x="568" y="102"/>
                    </a:lnTo>
                    <a:close/>
                    <a:moveTo>
                      <a:pt x="617" y="108"/>
                    </a:moveTo>
                    <a:lnTo>
                      <a:pt x="621" y="105"/>
                    </a:lnTo>
                    <a:lnTo>
                      <a:pt x="627" y="104"/>
                    </a:lnTo>
                    <a:lnTo>
                      <a:pt x="632" y="105"/>
                    </a:lnTo>
                    <a:lnTo>
                      <a:pt x="637" y="109"/>
                    </a:lnTo>
                    <a:lnTo>
                      <a:pt x="632" y="111"/>
                    </a:lnTo>
                    <a:lnTo>
                      <a:pt x="630" y="109"/>
                    </a:lnTo>
                    <a:lnTo>
                      <a:pt x="627" y="106"/>
                    </a:lnTo>
                    <a:lnTo>
                      <a:pt x="624" y="105"/>
                    </a:lnTo>
                    <a:lnTo>
                      <a:pt x="624" y="106"/>
                    </a:lnTo>
                    <a:lnTo>
                      <a:pt x="627" y="109"/>
                    </a:lnTo>
                    <a:lnTo>
                      <a:pt x="628" y="111"/>
                    </a:lnTo>
                    <a:lnTo>
                      <a:pt x="627" y="111"/>
                    </a:lnTo>
                    <a:lnTo>
                      <a:pt x="625" y="111"/>
                    </a:lnTo>
                    <a:lnTo>
                      <a:pt x="625" y="109"/>
                    </a:lnTo>
                    <a:lnTo>
                      <a:pt x="624" y="109"/>
                    </a:lnTo>
                    <a:lnTo>
                      <a:pt x="622" y="109"/>
                    </a:lnTo>
                    <a:lnTo>
                      <a:pt x="618" y="108"/>
                    </a:lnTo>
                    <a:lnTo>
                      <a:pt x="617" y="108"/>
                    </a:lnTo>
                    <a:close/>
                    <a:moveTo>
                      <a:pt x="647" y="229"/>
                    </a:moveTo>
                    <a:lnTo>
                      <a:pt x="647" y="230"/>
                    </a:lnTo>
                    <a:lnTo>
                      <a:pt x="647" y="231"/>
                    </a:lnTo>
                    <a:lnTo>
                      <a:pt x="647" y="231"/>
                    </a:lnTo>
                    <a:lnTo>
                      <a:pt x="645" y="230"/>
                    </a:lnTo>
                    <a:lnTo>
                      <a:pt x="644" y="230"/>
                    </a:lnTo>
                    <a:lnTo>
                      <a:pt x="644" y="229"/>
                    </a:lnTo>
                    <a:lnTo>
                      <a:pt x="645" y="229"/>
                    </a:lnTo>
                    <a:lnTo>
                      <a:pt x="647" y="229"/>
                    </a:lnTo>
                    <a:close/>
                    <a:moveTo>
                      <a:pt x="562" y="108"/>
                    </a:moveTo>
                    <a:lnTo>
                      <a:pt x="565" y="109"/>
                    </a:lnTo>
                    <a:lnTo>
                      <a:pt x="565" y="109"/>
                    </a:lnTo>
                    <a:lnTo>
                      <a:pt x="565" y="111"/>
                    </a:lnTo>
                    <a:lnTo>
                      <a:pt x="563" y="112"/>
                    </a:lnTo>
                    <a:lnTo>
                      <a:pt x="563" y="112"/>
                    </a:lnTo>
                    <a:lnTo>
                      <a:pt x="562" y="112"/>
                    </a:lnTo>
                    <a:lnTo>
                      <a:pt x="562" y="109"/>
                    </a:lnTo>
                    <a:lnTo>
                      <a:pt x="562" y="108"/>
                    </a:lnTo>
                    <a:close/>
                    <a:moveTo>
                      <a:pt x="565" y="115"/>
                    </a:moveTo>
                    <a:lnTo>
                      <a:pt x="565" y="118"/>
                    </a:lnTo>
                    <a:lnTo>
                      <a:pt x="563" y="116"/>
                    </a:lnTo>
                    <a:lnTo>
                      <a:pt x="563" y="115"/>
                    </a:lnTo>
                    <a:lnTo>
                      <a:pt x="565" y="115"/>
                    </a:lnTo>
                    <a:close/>
                    <a:moveTo>
                      <a:pt x="559" y="160"/>
                    </a:moveTo>
                    <a:lnTo>
                      <a:pt x="562" y="161"/>
                    </a:lnTo>
                    <a:lnTo>
                      <a:pt x="563" y="165"/>
                    </a:lnTo>
                    <a:lnTo>
                      <a:pt x="563" y="167"/>
                    </a:lnTo>
                    <a:lnTo>
                      <a:pt x="561" y="168"/>
                    </a:lnTo>
                    <a:lnTo>
                      <a:pt x="558" y="170"/>
                    </a:lnTo>
                    <a:lnTo>
                      <a:pt x="555" y="171"/>
                    </a:lnTo>
                    <a:lnTo>
                      <a:pt x="551" y="170"/>
                    </a:lnTo>
                    <a:lnTo>
                      <a:pt x="548" y="168"/>
                    </a:lnTo>
                    <a:lnTo>
                      <a:pt x="545" y="167"/>
                    </a:lnTo>
                    <a:lnTo>
                      <a:pt x="543" y="165"/>
                    </a:lnTo>
                    <a:lnTo>
                      <a:pt x="543" y="162"/>
                    </a:lnTo>
                    <a:lnTo>
                      <a:pt x="542" y="161"/>
                    </a:lnTo>
                    <a:lnTo>
                      <a:pt x="543" y="160"/>
                    </a:lnTo>
                    <a:lnTo>
                      <a:pt x="543" y="158"/>
                    </a:lnTo>
                    <a:lnTo>
                      <a:pt x="545" y="158"/>
                    </a:lnTo>
                    <a:lnTo>
                      <a:pt x="552" y="158"/>
                    </a:lnTo>
                    <a:lnTo>
                      <a:pt x="556" y="158"/>
                    </a:lnTo>
                    <a:lnTo>
                      <a:pt x="559" y="160"/>
                    </a:lnTo>
                    <a:close/>
                    <a:moveTo>
                      <a:pt x="543" y="147"/>
                    </a:moveTo>
                    <a:lnTo>
                      <a:pt x="542" y="145"/>
                    </a:lnTo>
                    <a:lnTo>
                      <a:pt x="540" y="144"/>
                    </a:lnTo>
                    <a:lnTo>
                      <a:pt x="540" y="141"/>
                    </a:lnTo>
                    <a:lnTo>
                      <a:pt x="540" y="139"/>
                    </a:lnTo>
                    <a:lnTo>
                      <a:pt x="540" y="138"/>
                    </a:lnTo>
                    <a:lnTo>
                      <a:pt x="542" y="141"/>
                    </a:lnTo>
                    <a:lnTo>
                      <a:pt x="543" y="145"/>
                    </a:lnTo>
                    <a:lnTo>
                      <a:pt x="543" y="147"/>
                    </a:lnTo>
                    <a:lnTo>
                      <a:pt x="543" y="147"/>
                    </a:lnTo>
                    <a:lnTo>
                      <a:pt x="543" y="147"/>
                    </a:lnTo>
                    <a:close/>
                    <a:moveTo>
                      <a:pt x="540" y="240"/>
                    </a:moveTo>
                    <a:lnTo>
                      <a:pt x="542" y="239"/>
                    </a:lnTo>
                    <a:lnTo>
                      <a:pt x="542" y="239"/>
                    </a:lnTo>
                    <a:lnTo>
                      <a:pt x="545" y="240"/>
                    </a:lnTo>
                    <a:lnTo>
                      <a:pt x="546" y="240"/>
                    </a:lnTo>
                    <a:lnTo>
                      <a:pt x="548" y="239"/>
                    </a:lnTo>
                    <a:lnTo>
                      <a:pt x="551" y="237"/>
                    </a:lnTo>
                    <a:lnTo>
                      <a:pt x="552" y="237"/>
                    </a:lnTo>
                    <a:lnTo>
                      <a:pt x="553" y="237"/>
                    </a:lnTo>
                    <a:lnTo>
                      <a:pt x="556" y="239"/>
                    </a:lnTo>
                    <a:lnTo>
                      <a:pt x="556" y="240"/>
                    </a:lnTo>
                    <a:lnTo>
                      <a:pt x="556" y="240"/>
                    </a:lnTo>
                    <a:lnTo>
                      <a:pt x="555" y="240"/>
                    </a:lnTo>
                    <a:lnTo>
                      <a:pt x="552" y="242"/>
                    </a:lnTo>
                    <a:lnTo>
                      <a:pt x="551" y="242"/>
                    </a:lnTo>
                    <a:lnTo>
                      <a:pt x="551" y="243"/>
                    </a:lnTo>
                    <a:lnTo>
                      <a:pt x="549" y="243"/>
                    </a:lnTo>
                    <a:lnTo>
                      <a:pt x="548" y="243"/>
                    </a:lnTo>
                    <a:lnTo>
                      <a:pt x="546" y="243"/>
                    </a:lnTo>
                    <a:lnTo>
                      <a:pt x="543" y="243"/>
                    </a:lnTo>
                    <a:lnTo>
                      <a:pt x="542" y="243"/>
                    </a:lnTo>
                    <a:lnTo>
                      <a:pt x="539" y="244"/>
                    </a:lnTo>
                    <a:lnTo>
                      <a:pt x="539" y="243"/>
                    </a:lnTo>
                    <a:lnTo>
                      <a:pt x="539" y="242"/>
                    </a:lnTo>
                    <a:lnTo>
                      <a:pt x="540" y="240"/>
                    </a:lnTo>
                    <a:close/>
                    <a:moveTo>
                      <a:pt x="479" y="193"/>
                    </a:moveTo>
                    <a:lnTo>
                      <a:pt x="479" y="191"/>
                    </a:lnTo>
                    <a:lnTo>
                      <a:pt x="479" y="190"/>
                    </a:lnTo>
                    <a:lnTo>
                      <a:pt x="479" y="190"/>
                    </a:lnTo>
                    <a:lnTo>
                      <a:pt x="479" y="188"/>
                    </a:lnTo>
                    <a:lnTo>
                      <a:pt x="479" y="187"/>
                    </a:lnTo>
                    <a:lnTo>
                      <a:pt x="482" y="185"/>
                    </a:lnTo>
                    <a:lnTo>
                      <a:pt x="483" y="185"/>
                    </a:lnTo>
                    <a:lnTo>
                      <a:pt x="484" y="187"/>
                    </a:lnTo>
                    <a:lnTo>
                      <a:pt x="484" y="188"/>
                    </a:lnTo>
                    <a:lnTo>
                      <a:pt x="484" y="190"/>
                    </a:lnTo>
                    <a:lnTo>
                      <a:pt x="484" y="191"/>
                    </a:lnTo>
                    <a:lnTo>
                      <a:pt x="483" y="193"/>
                    </a:lnTo>
                    <a:lnTo>
                      <a:pt x="483" y="194"/>
                    </a:lnTo>
                    <a:lnTo>
                      <a:pt x="483" y="196"/>
                    </a:lnTo>
                    <a:lnTo>
                      <a:pt x="483" y="197"/>
                    </a:lnTo>
                    <a:lnTo>
                      <a:pt x="483" y="197"/>
                    </a:lnTo>
                    <a:lnTo>
                      <a:pt x="482" y="198"/>
                    </a:lnTo>
                    <a:lnTo>
                      <a:pt x="480" y="198"/>
                    </a:lnTo>
                    <a:lnTo>
                      <a:pt x="479" y="198"/>
                    </a:lnTo>
                    <a:lnTo>
                      <a:pt x="477" y="198"/>
                    </a:lnTo>
                    <a:lnTo>
                      <a:pt x="477" y="197"/>
                    </a:lnTo>
                    <a:lnTo>
                      <a:pt x="477" y="196"/>
                    </a:lnTo>
                    <a:lnTo>
                      <a:pt x="479" y="193"/>
                    </a:lnTo>
                    <a:close/>
                    <a:moveTo>
                      <a:pt x="470" y="198"/>
                    </a:moveTo>
                    <a:lnTo>
                      <a:pt x="469" y="196"/>
                    </a:lnTo>
                    <a:lnTo>
                      <a:pt x="469" y="194"/>
                    </a:lnTo>
                    <a:lnTo>
                      <a:pt x="470" y="194"/>
                    </a:lnTo>
                    <a:lnTo>
                      <a:pt x="472" y="193"/>
                    </a:lnTo>
                    <a:lnTo>
                      <a:pt x="472" y="194"/>
                    </a:lnTo>
                    <a:lnTo>
                      <a:pt x="473" y="197"/>
                    </a:lnTo>
                    <a:lnTo>
                      <a:pt x="473" y="198"/>
                    </a:lnTo>
                    <a:lnTo>
                      <a:pt x="470" y="198"/>
                    </a:lnTo>
                    <a:close/>
                    <a:moveTo>
                      <a:pt x="499" y="131"/>
                    </a:moveTo>
                    <a:lnTo>
                      <a:pt x="500" y="134"/>
                    </a:lnTo>
                    <a:lnTo>
                      <a:pt x="497" y="134"/>
                    </a:lnTo>
                    <a:lnTo>
                      <a:pt x="497" y="131"/>
                    </a:lnTo>
                    <a:lnTo>
                      <a:pt x="499" y="131"/>
                    </a:lnTo>
                    <a:close/>
                    <a:moveTo>
                      <a:pt x="499" y="197"/>
                    </a:moveTo>
                    <a:lnTo>
                      <a:pt x="500" y="197"/>
                    </a:lnTo>
                    <a:lnTo>
                      <a:pt x="500" y="197"/>
                    </a:lnTo>
                    <a:lnTo>
                      <a:pt x="500" y="197"/>
                    </a:lnTo>
                    <a:lnTo>
                      <a:pt x="500" y="198"/>
                    </a:lnTo>
                    <a:lnTo>
                      <a:pt x="500" y="198"/>
                    </a:lnTo>
                    <a:lnTo>
                      <a:pt x="499" y="198"/>
                    </a:lnTo>
                    <a:lnTo>
                      <a:pt x="499" y="197"/>
                    </a:lnTo>
                    <a:lnTo>
                      <a:pt x="499" y="197"/>
                    </a:lnTo>
                    <a:close/>
                    <a:moveTo>
                      <a:pt x="499" y="127"/>
                    </a:moveTo>
                    <a:lnTo>
                      <a:pt x="499" y="129"/>
                    </a:lnTo>
                    <a:lnTo>
                      <a:pt x="496" y="129"/>
                    </a:lnTo>
                    <a:lnTo>
                      <a:pt x="495" y="129"/>
                    </a:lnTo>
                    <a:lnTo>
                      <a:pt x="495" y="129"/>
                    </a:lnTo>
                    <a:lnTo>
                      <a:pt x="493" y="131"/>
                    </a:lnTo>
                    <a:lnTo>
                      <a:pt x="493" y="132"/>
                    </a:lnTo>
                    <a:lnTo>
                      <a:pt x="492" y="131"/>
                    </a:lnTo>
                    <a:lnTo>
                      <a:pt x="492" y="129"/>
                    </a:lnTo>
                    <a:lnTo>
                      <a:pt x="492" y="128"/>
                    </a:lnTo>
                    <a:lnTo>
                      <a:pt x="492" y="127"/>
                    </a:lnTo>
                    <a:lnTo>
                      <a:pt x="490" y="128"/>
                    </a:lnTo>
                    <a:lnTo>
                      <a:pt x="489" y="131"/>
                    </a:lnTo>
                    <a:lnTo>
                      <a:pt x="487" y="131"/>
                    </a:lnTo>
                    <a:lnTo>
                      <a:pt x="486" y="129"/>
                    </a:lnTo>
                    <a:lnTo>
                      <a:pt x="486" y="128"/>
                    </a:lnTo>
                    <a:lnTo>
                      <a:pt x="487" y="125"/>
                    </a:lnTo>
                    <a:lnTo>
                      <a:pt x="489" y="125"/>
                    </a:lnTo>
                    <a:lnTo>
                      <a:pt x="492" y="124"/>
                    </a:lnTo>
                    <a:lnTo>
                      <a:pt x="493" y="125"/>
                    </a:lnTo>
                    <a:lnTo>
                      <a:pt x="493" y="127"/>
                    </a:lnTo>
                    <a:lnTo>
                      <a:pt x="493" y="128"/>
                    </a:lnTo>
                    <a:lnTo>
                      <a:pt x="496" y="125"/>
                    </a:lnTo>
                    <a:lnTo>
                      <a:pt x="499" y="127"/>
                    </a:lnTo>
                    <a:close/>
                    <a:moveTo>
                      <a:pt x="532" y="137"/>
                    </a:moveTo>
                    <a:lnTo>
                      <a:pt x="535" y="135"/>
                    </a:lnTo>
                    <a:lnTo>
                      <a:pt x="539" y="135"/>
                    </a:lnTo>
                    <a:lnTo>
                      <a:pt x="548" y="135"/>
                    </a:lnTo>
                    <a:lnTo>
                      <a:pt x="545" y="137"/>
                    </a:lnTo>
                    <a:lnTo>
                      <a:pt x="539" y="138"/>
                    </a:lnTo>
                    <a:lnTo>
                      <a:pt x="533" y="138"/>
                    </a:lnTo>
                    <a:lnTo>
                      <a:pt x="532" y="137"/>
                    </a:lnTo>
                    <a:close/>
                    <a:moveTo>
                      <a:pt x="444" y="214"/>
                    </a:moveTo>
                    <a:lnTo>
                      <a:pt x="444" y="213"/>
                    </a:lnTo>
                    <a:lnTo>
                      <a:pt x="444" y="211"/>
                    </a:lnTo>
                    <a:lnTo>
                      <a:pt x="444" y="207"/>
                    </a:lnTo>
                    <a:lnTo>
                      <a:pt x="446" y="206"/>
                    </a:lnTo>
                    <a:lnTo>
                      <a:pt x="446" y="208"/>
                    </a:lnTo>
                    <a:lnTo>
                      <a:pt x="446" y="211"/>
                    </a:lnTo>
                    <a:lnTo>
                      <a:pt x="446" y="214"/>
                    </a:lnTo>
                    <a:lnTo>
                      <a:pt x="446" y="217"/>
                    </a:lnTo>
                    <a:lnTo>
                      <a:pt x="444" y="214"/>
                    </a:lnTo>
                    <a:close/>
                    <a:moveTo>
                      <a:pt x="503" y="138"/>
                    </a:moveTo>
                    <a:lnTo>
                      <a:pt x="503" y="138"/>
                    </a:lnTo>
                    <a:lnTo>
                      <a:pt x="503" y="138"/>
                    </a:lnTo>
                    <a:lnTo>
                      <a:pt x="503" y="138"/>
                    </a:lnTo>
                    <a:lnTo>
                      <a:pt x="503" y="138"/>
                    </a:lnTo>
                    <a:lnTo>
                      <a:pt x="505" y="138"/>
                    </a:lnTo>
                    <a:lnTo>
                      <a:pt x="505" y="138"/>
                    </a:lnTo>
                    <a:lnTo>
                      <a:pt x="503" y="138"/>
                    </a:lnTo>
                    <a:lnTo>
                      <a:pt x="503" y="138"/>
                    </a:lnTo>
                    <a:close/>
                    <a:moveTo>
                      <a:pt x="528" y="137"/>
                    </a:moveTo>
                    <a:lnTo>
                      <a:pt x="526" y="138"/>
                    </a:lnTo>
                    <a:lnTo>
                      <a:pt x="525" y="138"/>
                    </a:lnTo>
                    <a:lnTo>
                      <a:pt x="523" y="137"/>
                    </a:lnTo>
                    <a:lnTo>
                      <a:pt x="522" y="137"/>
                    </a:lnTo>
                    <a:lnTo>
                      <a:pt x="520" y="137"/>
                    </a:lnTo>
                    <a:lnTo>
                      <a:pt x="519" y="138"/>
                    </a:lnTo>
                    <a:lnTo>
                      <a:pt x="517" y="138"/>
                    </a:lnTo>
                    <a:lnTo>
                      <a:pt x="515" y="138"/>
                    </a:lnTo>
                    <a:lnTo>
                      <a:pt x="513" y="137"/>
                    </a:lnTo>
                    <a:lnTo>
                      <a:pt x="513" y="135"/>
                    </a:lnTo>
                    <a:lnTo>
                      <a:pt x="515" y="132"/>
                    </a:lnTo>
                    <a:lnTo>
                      <a:pt x="517" y="132"/>
                    </a:lnTo>
                    <a:lnTo>
                      <a:pt x="522" y="132"/>
                    </a:lnTo>
                    <a:lnTo>
                      <a:pt x="526" y="134"/>
                    </a:lnTo>
                    <a:lnTo>
                      <a:pt x="528" y="135"/>
                    </a:lnTo>
                    <a:lnTo>
                      <a:pt x="530" y="135"/>
                    </a:lnTo>
                    <a:lnTo>
                      <a:pt x="530" y="137"/>
                    </a:lnTo>
                    <a:lnTo>
                      <a:pt x="529" y="137"/>
                    </a:lnTo>
                    <a:lnTo>
                      <a:pt x="528" y="137"/>
                    </a:lnTo>
                    <a:close/>
                    <a:moveTo>
                      <a:pt x="507" y="208"/>
                    </a:moveTo>
                    <a:lnTo>
                      <a:pt x="507" y="208"/>
                    </a:lnTo>
                    <a:lnTo>
                      <a:pt x="506" y="207"/>
                    </a:lnTo>
                    <a:lnTo>
                      <a:pt x="507" y="207"/>
                    </a:lnTo>
                    <a:lnTo>
                      <a:pt x="507" y="208"/>
                    </a:lnTo>
                    <a:lnTo>
                      <a:pt x="507" y="208"/>
                    </a:lnTo>
                    <a:lnTo>
                      <a:pt x="507" y="208"/>
                    </a:lnTo>
                    <a:lnTo>
                      <a:pt x="507" y="208"/>
                    </a:lnTo>
                    <a:lnTo>
                      <a:pt x="507" y="208"/>
                    </a:lnTo>
                    <a:close/>
                    <a:moveTo>
                      <a:pt x="490" y="174"/>
                    </a:moveTo>
                    <a:lnTo>
                      <a:pt x="492" y="174"/>
                    </a:lnTo>
                    <a:lnTo>
                      <a:pt x="493" y="174"/>
                    </a:lnTo>
                    <a:lnTo>
                      <a:pt x="493" y="177"/>
                    </a:lnTo>
                    <a:lnTo>
                      <a:pt x="492" y="178"/>
                    </a:lnTo>
                    <a:lnTo>
                      <a:pt x="490" y="178"/>
                    </a:lnTo>
                    <a:lnTo>
                      <a:pt x="489" y="177"/>
                    </a:lnTo>
                    <a:lnTo>
                      <a:pt x="489" y="174"/>
                    </a:lnTo>
                    <a:lnTo>
                      <a:pt x="490" y="174"/>
                    </a:lnTo>
                    <a:close/>
                    <a:moveTo>
                      <a:pt x="492" y="135"/>
                    </a:moveTo>
                    <a:lnTo>
                      <a:pt x="492" y="135"/>
                    </a:lnTo>
                    <a:lnTo>
                      <a:pt x="490" y="137"/>
                    </a:lnTo>
                    <a:lnTo>
                      <a:pt x="490" y="135"/>
                    </a:lnTo>
                    <a:lnTo>
                      <a:pt x="492" y="135"/>
                    </a:lnTo>
                    <a:lnTo>
                      <a:pt x="492" y="135"/>
                    </a:lnTo>
                    <a:close/>
                    <a:moveTo>
                      <a:pt x="487" y="185"/>
                    </a:moveTo>
                    <a:lnTo>
                      <a:pt x="487" y="183"/>
                    </a:lnTo>
                    <a:lnTo>
                      <a:pt x="490" y="181"/>
                    </a:lnTo>
                    <a:lnTo>
                      <a:pt x="492" y="184"/>
                    </a:lnTo>
                    <a:lnTo>
                      <a:pt x="493" y="187"/>
                    </a:lnTo>
                    <a:lnTo>
                      <a:pt x="493" y="188"/>
                    </a:lnTo>
                    <a:lnTo>
                      <a:pt x="492" y="187"/>
                    </a:lnTo>
                    <a:lnTo>
                      <a:pt x="490" y="188"/>
                    </a:lnTo>
                    <a:lnTo>
                      <a:pt x="489" y="193"/>
                    </a:lnTo>
                    <a:lnTo>
                      <a:pt x="489" y="196"/>
                    </a:lnTo>
                    <a:lnTo>
                      <a:pt x="490" y="194"/>
                    </a:lnTo>
                    <a:lnTo>
                      <a:pt x="492" y="196"/>
                    </a:lnTo>
                    <a:lnTo>
                      <a:pt x="493" y="197"/>
                    </a:lnTo>
                    <a:lnTo>
                      <a:pt x="492" y="198"/>
                    </a:lnTo>
                    <a:lnTo>
                      <a:pt x="492" y="198"/>
                    </a:lnTo>
                    <a:lnTo>
                      <a:pt x="490" y="198"/>
                    </a:lnTo>
                    <a:lnTo>
                      <a:pt x="489" y="198"/>
                    </a:lnTo>
                    <a:lnTo>
                      <a:pt x="489" y="200"/>
                    </a:lnTo>
                    <a:lnTo>
                      <a:pt x="487" y="200"/>
                    </a:lnTo>
                    <a:lnTo>
                      <a:pt x="487" y="201"/>
                    </a:lnTo>
                    <a:lnTo>
                      <a:pt x="487" y="203"/>
                    </a:lnTo>
                    <a:lnTo>
                      <a:pt x="486" y="204"/>
                    </a:lnTo>
                    <a:lnTo>
                      <a:pt x="484" y="204"/>
                    </a:lnTo>
                    <a:lnTo>
                      <a:pt x="483" y="203"/>
                    </a:lnTo>
                    <a:lnTo>
                      <a:pt x="483" y="203"/>
                    </a:lnTo>
                    <a:lnTo>
                      <a:pt x="482" y="201"/>
                    </a:lnTo>
                    <a:lnTo>
                      <a:pt x="483" y="198"/>
                    </a:lnTo>
                    <a:lnTo>
                      <a:pt x="484" y="194"/>
                    </a:lnTo>
                    <a:lnTo>
                      <a:pt x="486" y="193"/>
                    </a:lnTo>
                    <a:lnTo>
                      <a:pt x="487" y="185"/>
                    </a:lnTo>
                    <a:close/>
                    <a:moveTo>
                      <a:pt x="467" y="111"/>
                    </a:moveTo>
                    <a:lnTo>
                      <a:pt x="469" y="111"/>
                    </a:lnTo>
                    <a:lnTo>
                      <a:pt x="470" y="112"/>
                    </a:lnTo>
                    <a:lnTo>
                      <a:pt x="469" y="112"/>
                    </a:lnTo>
                    <a:lnTo>
                      <a:pt x="467" y="112"/>
                    </a:lnTo>
                    <a:lnTo>
                      <a:pt x="466" y="112"/>
                    </a:lnTo>
                    <a:lnTo>
                      <a:pt x="466" y="112"/>
                    </a:lnTo>
                    <a:lnTo>
                      <a:pt x="467" y="111"/>
                    </a:lnTo>
                    <a:close/>
                    <a:moveTo>
                      <a:pt x="500" y="253"/>
                    </a:moveTo>
                    <a:lnTo>
                      <a:pt x="499" y="254"/>
                    </a:lnTo>
                    <a:lnTo>
                      <a:pt x="496" y="254"/>
                    </a:lnTo>
                    <a:lnTo>
                      <a:pt x="493" y="254"/>
                    </a:lnTo>
                    <a:lnTo>
                      <a:pt x="495" y="253"/>
                    </a:lnTo>
                    <a:lnTo>
                      <a:pt x="497" y="250"/>
                    </a:lnTo>
                    <a:lnTo>
                      <a:pt x="497" y="250"/>
                    </a:lnTo>
                    <a:lnTo>
                      <a:pt x="496" y="250"/>
                    </a:lnTo>
                    <a:lnTo>
                      <a:pt x="500" y="250"/>
                    </a:lnTo>
                    <a:lnTo>
                      <a:pt x="502" y="249"/>
                    </a:lnTo>
                    <a:lnTo>
                      <a:pt x="503" y="249"/>
                    </a:lnTo>
                    <a:lnTo>
                      <a:pt x="505" y="249"/>
                    </a:lnTo>
                    <a:lnTo>
                      <a:pt x="506" y="250"/>
                    </a:lnTo>
                    <a:lnTo>
                      <a:pt x="503" y="250"/>
                    </a:lnTo>
                    <a:lnTo>
                      <a:pt x="502" y="252"/>
                    </a:lnTo>
                    <a:lnTo>
                      <a:pt x="500" y="253"/>
                    </a:lnTo>
                    <a:close/>
                    <a:moveTo>
                      <a:pt x="469" y="290"/>
                    </a:moveTo>
                    <a:lnTo>
                      <a:pt x="472" y="289"/>
                    </a:lnTo>
                    <a:lnTo>
                      <a:pt x="470" y="289"/>
                    </a:lnTo>
                    <a:lnTo>
                      <a:pt x="467" y="290"/>
                    </a:lnTo>
                    <a:lnTo>
                      <a:pt x="469" y="290"/>
                    </a:lnTo>
                    <a:close/>
                    <a:moveTo>
                      <a:pt x="480" y="257"/>
                    </a:moveTo>
                    <a:lnTo>
                      <a:pt x="482" y="257"/>
                    </a:lnTo>
                    <a:lnTo>
                      <a:pt x="483" y="256"/>
                    </a:lnTo>
                    <a:lnTo>
                      <a:pt x="486" y="256"/>
                    </a:lnTo>
                    <a:lnTo>
                      <a:pt x="486" y="254"/>
                    </a:lnTo>
                    <a:lnTo>
                      <a:pt x="486" y="254"/>
                    </a:lnTo>
                    <a:lnTo>
                      <a:pt x="486" y="253"/>
                    </a:lnTo>
                    <a:lnTo>
                      <a:pt x="487" y="252"/>
                    </a:lnTo>
                    <a:lnTo>
                      <a:pt x="489" y="252"/>
                    </a:lnTo>
                    <a:lnTo>
                      <a:pt x="489" y="250"/>
                    </a:lnTo>
                    <a:lnTo>
                      <a:pt x="489" y="249"/>
                    </a:lnTo>
                    <a:lnTo>
                      <a:pt x="489" y="247"/>
                    </a:lnTo>
                    <a:lnTo>
                      <a:pt x="487" y="247"/>
                    </a:lnTo>
                    <a:lnTo>
                      <a:pt x="486" y="247"/>
                    </a:lnTo>
                    <a:lnTo>
                      <a:pt x="484" y="249"/>
                    </a:lnTo>
                    <a:lnTo>
                      <a:pt x="486" y="249"/>
                    </a:lnTo>
                    <a:lnTo>
                      <a:pt x="487" y="249"/>
                    </a:lnTo>
                    <a:lnTo>
                      <a:pt x="487" y="249"/>
                    </a:lnTo>
                    <a:lnTo>
                      <a:pt x="486" y="250"/>
                    </a:lnTo>
                    <a:lnTo>
                      <a:pt x="484" y="252"/>
                    </a:lnTo>
                    <a:lnTo>
                      <a:pt x="483" y="252"/>
                    </a:lnTo>
                    <a:lnTo>
                      <a:pt x="480" y="253"/>
                    </a:lnTo>
                    <a:lnTo>
                      <a:pt x="480" y="254"/>
                    </a:lnTo>
                    <a:lnTo>
                      <a:pt x="479" y="256"/>
                    </a:lnTo>
                    <a:lnTo>
                      <a:pt x="479" y="256"/>
                    </a:lnTo>
                    <a:lnTo>
                      <a:pt x="476" y="256"/>
                    </a:lnTo>
                    <a:lnTo>
                      <a:pt x="474" y="256"/>
                    </a:lnTo>
                    <a:lnTo>
                      <a:pt x="472" y="254"/>
                    </a:lnTo>
                    <a:lnTo>
                      <a:pt x="470" y="253"/>
                    </a:lnTo>
                    <a:lnTo>
                      <a:pt x="469" y="254"/>
                    </a:lnTo>
                    <a:lnTo>
                      <a:pt x="464" y="254"/>
                    </a:lnTo>
                    <a:lnTo>
                      <a:pt x="463" y="256"/>
                    </a:lnTo>
                    <a:lnTo>
                      <a:pt x="460" y="254"/>
                    </a:lnTo>
                    <a:lnTo>
                      <a:pt x="451" y="250"/>
                    </a:lnTo>
                    <a:lnTo>
                      <a:pt x="447" y="249"/>
                    </a:lnTo>
                    <a:lnTo>
                      <a:pt x="446" y="249"/>
                    </a:lnTo>
                    <a:lnTo>
                      <a:pt x="444" y="249"/>
                    </a:lnTo>
                    <a:lnTo>
                      <a:pt x="443" y="250"/>
                    </a:lnTo>
                    <a:lnTo>
                      <a:pt x="441" y="250"/>
                    </a:lnTo>
                    <a:lnTo>
                      <a:pt x="440" y="250"/>
                    </a:lnTo>
                    <a:lnTo>
                      <a:pt x="438" y="252"/>
                    </a:lnTo>
                    <a:lnTo>
                      <a:pt x="436" y="253"/>
                    </a:lnTo>
                    <a:lnTo>
                      <a:pt x="434" y="253"/>
                    </a:lnTo>
                    <a:lnTo>
                      <a:pt x="434" y="254"/>
                    </a:lnTo>
                    <a:lnTo>
                      <a:pt x="433" y="256"/>
                    </a:lnTo>
                    <a:lnTo>
                      <a:pt x="433" y="256"/>
                    </a:lnTo>
                    <a:lnTo>
                      <a:pt x="434" y="259"/>
                    </a:lnTo>
                    <a:lnTo>
                      <a:pt x="434" y="259"/>
                    </a:lnTo>
                    <a:lnTo>
                      <a:pt x="450" y="260"/>
                    </a:lnTo>
                    <a:lnTo>
                      <a:pt x="454" y="262"/>
                    </a:lnTo>
                    <a:lnTo>
                      <a:pt x="457" y="262"/>
                    </a:lnTo>
                    <a:lnTo>
                      <a:pt x="461" y="260"/>
                    </a:lnTo>
                    <a:lnTo>
                      <a:pt x="464" y="259"/>
                    </a:lnTo>
                    <a:lnTo>
                      <a:pt x="464" y="260"/>
                    </a:lnTo>
                    <a:lnTo>
                      <a:pt x="466" y="260"/>
                    </a:lnTo>
                    <a:lnTo>
                      <a:pt x="466" y="260"/>
                    </a:lnTo>
                    <a:lnTo>
                      <a:pt x="467" y="260"/>
                    </a:lnTo>
                    <a:lnTo>
                      <a:pt x="476" y="259"/>
                    </a:lnTo>
                    <a:lnTo>
                      <a:pt x="480" y="257"/>
                    </a:lnTo>
                    <a:close/>
                    <a:moveTo>
                      <a:pt x="433" y="116"/>
                    </a:moveTo>
                    <a:lnTo>
                      <a:pt x="431" y="116"/>
                    </a:lnTo>
                    <a:lnTo>
                      <a:pt x="430" y="116"/>
                    </a:lnTo>
                    <a:lnTo>
                      <a:pt x="428" y="119"/>
                    </a:lnTo>
                    <a:lnTo>
                      <a:pt x="427" y="122"/>
                    </a:lnTo>
                    <a:lnTo>
                      <a:pt x="426" y="127"/>
                    </a:lnTo>
                    <a:lnTo>
                      <a:pt x="424" y="129"/>
                    </a:lnTo>
                    <a:lnTo>
                      <a:pt x="424" y="131"/>
                    </a:lnTo>
                    <a:lnTo>
                      <a:pt x="426" y="134"/>
                    </a:lnTo>
                    <a:lnTo>
                      <a:pt x="426" y="135"/>
                    </a:lnTo>
                    <a:lnTo>
                      <a:pt x="424" y="137"/>
                    </a:lnTo>
                    <a:lnTo>
                      <a:pt x="424" y="138"/>
                    </a:lnTo>
                    <a:lnTo>
                      <a:pt x="423" y="139"/>
                    </a:lnTo>
                    <a:lnTo>
                      <a:pt x="423" y="141"/>
                    </a:lnTo>
                    <a:lnTo>
                      <a:pt x="421" y="142"/>
                    </a:lnTo>
                    <a:lnTo>
                      <a:pt x="421" y="145"/>
                    </a:lnTo>
                    <a:lnTo>
                      <a:pt x="421" y="147"/>
                    </a:lnTo>
                    <a:lnTo>
                      <a:pt x="420" y="148"/>
                    </a:lnTo>
                    <a:lnTo>
                      <a:pt x="417" y="150"/>
                    </a:lnTo>
                    <a:lnTo>
                      <a:pt x="417" y="150"/>
                    </a:lnTo>
                    <a:lnTo>
                      <a:pt x="416" y="151"/>
                    </a:lnTo>
                    <a:lnTo>
                      <a:pt x="416" y="151"/>
                    </a:lnTo>
                    <a:lnTo>
                      <a:pt x="416" y="152"/>
                    </a:lnTo>
                    <a:lnTo>
                      <a:pt x="416" y="152"/>
                    </a:lnTo>
                    <a:lnTo>
                      <a:pt x="416" y="154"/>
                    </a:lnTo>
                    <a:lnTo>
                      <a:pt x="417" y="155"/>
                    </a:lnTo>
                    <a:lnTo>
                      <a:pt x="417" y="157"/>
                    </a:lnTo>
                    <a:lnTo>
                      <a:pt x="416" y="158"/>
                    </a:lnTo>
                    <a:lnTo>
                      <a:pt x="416" y="160"/>
                    </a:lnTo>
                    <a:lnTo>
                      <a:pt x="416" y="161"/>
                    </a:lnTo>
                    <a:lnTo>
                      <a:pt x="417" y="162"/>
                    </a:lnTo>
                    <a:lnTo>
                      <a:pt x="417" y="164"/>
                    </a:lnTo>
                    <a:lnTo>
                      <a:pt x="418" y="165"/>
                    </a:lnTo>
                    <a:lnTo>
                      <a:pt x="420" y="165"/>
                    </a:lnTo>
                    <a:lnTo>
                      <a:pt x="424" y="164"/>
                    </a:lnTo>
                    <a:lnTo>
                      <a:pt x="426" y="164"/>
                    </a:lnTo>
                    <a:lnTo>
                      <a:pt x="427" y="165"/>
                    </a:lnTo>
                    <a:lnTo>
                      <a:pt x="427" y="167"/>
                    </a:lnTo>
                    <a:lnTo>
                      <a:pt x="427" y="168"/>
                    </a:lnTo>
                    <a:lnTo>
                      <a:pt x="428" y="170"/>
                    </a:lnTo>
                    <a:lnTo>
                      <a:pt x="430" y="175"/>
                    </a:lnTo>
                    <a:lnTo>
                      <a:pt x="430" y="178"/>
                    </a:lnTo>
                    <a:lnTo>
                      <a:pt x="430" y="183"/>
                    </a:lnTo>
                    <a:lnTo>
                      <a:pt x="426" y="194"/>
                    </a:lnTo>
                    <a:lnTo>
                      <a:pt x="426" y="198"/>
                    </a:lnTo>
                    <a:lnTo>
                      <a:pt x="427" y="201"/>
                    </a:lnTo>
                    <a:lnTo>
                      <a:pt x="430" y="203"/>
                    </a:lnTo>
                    <a:lnTo>
                      <a:pt x="433" y="204"/>
                    </a:lnTo>
                    <a:lnTo>
                      <a:pt x="436" y="203"/>
                    </a:lnTo>
                    <a:lnTo>
                      <a:pt x="438" y="201"/>
                    </a:lnTo>
                    <a:lnTo>
                      <a:pt x="441" y="201"/>
                    </a:lnTo>
                    <a:lnTo>
                      <a:pt x="444" y="203"/>
                    </a:lnTo>
                    <a:lnTo>
                      <a:pt x="444" y="198"/>
                    </a:lnTo>
                    <a:lnTo>
                      <a:pt x="443" y="196"/>
                    </a:lnTo>
                    <a:lnTo>
                      <a:pt x="441" y="193"/>
                    </a:lnTo>
                    <a:lnTo>
                      <a:pt x="443" y="190"/>
                    </a:lnTo>
                    <a:lnTo>
                      <a:pt x="443" y="187"/>
                    </a:lnTo>
                    <a:lnTo>
                      <a:pt x="443" y="175"/>
                    </a:lnTo>
                    <a:lnTo>
                      <a:pt x="444" y="168"/>
                    </a:lnTo>
                    <a:lnTo>
                      <a:pt x="444" y="165"/>
                    </a:lnTo>
                    <a:lnTo>
                      <a:pt x="443" y="161"/>
                    </a:lnTo>
                    <a:lnTo>
                      <a:pt x="441" y="158"/>
                    </a:lnTo>
                    <a:lnTo>
                      <a:pt x="441" y="157"/>
                    </a:lnTo>
                    <a:lnTo>
                      <a:pt x="441" y="155"/>
                    </a:lnTo>
                    <a:lnTo>
                      <a:pt x="443" y="154"/>
                    </a:lnTo>
                    <a:lnTo>
                      <a:pt x="444" y="152"/>
                    </a:lnTo>
                    <a:lnTo>
                      <a:pt x="446" y="151"/>
                    </a:lnTo>
                    <a:lnTo>
                      <a:pt x="449" y="151"/>
                    </a:lnTo>
                    <a:lnTo>
                      <a:pt x="454" y="151"/>
                    </a:lnTo>
                    <a:lnTo>
                      <a:pt x="454" y="155"/>
                    </a:lnTo>
                    <a:lnTo>
                      <a:pt x="453" y="162"/>
                    </a:lnTo>
                    <a:lnTo>
                      <a:pt x="453" y="167"/>
                    </a:lnTo>
                    <a:lnTo>
                      <a:pt x="456" y="170"/>
                    </a:lnTo>
                    <a:lnTo>
                      <a:pt x="463" y="174"/>
                    </a:lnTo>
                    <a:lnTo>
                      <a:pt x="464" y="177"/>
                    </a:lnTo>
                    <a:lnTo>
                      <a:pt x="464" y="180"/>
                    </a:lnTo>
                    <a:lnTo>
                      <a:pt x="463" y="183"/>
                    </a:lnTo>
                    <a:lnTo>
                      <a:pt x="463" y="184"/>
                    </a:lnTo>
                    <a:lnTo>
                      <a:pt x="464" y="187"/>
                    </a:lnTo>
                    <a:lnTo>
                      <a:pt x="466" y="188"/>
                    </a:lnTo>
                    <a:lnTo>
                      <a:pt x="469" y="188"/>
                    </a:lnTo>
                    <a:lnTo>
                      <a:pt x="470" y="190"/>
                    </a:lnTo>
                    <a:lnTo>
                      <a:pt x="472" y="188"/>
                    </a:lnTo>
                    <a:lnTo>
                      <a:pt x="473" y="188"/>
                    </a:lnTo>
                    <a:lnTo>
                      <a:pt x="473" y="185"/>
                    </a:lnTo>
                    <a:lnTo>
                      <a:pt x="474" y="184"/>
                    </a:lnTo>
                    <a:lnTo>
                      <a:pt x="476" y="183"/>
                    </a:lnTo>
                    <a:lnTo>
                      <a:pt x="483" y="181"/>
                    </a:lnTo>
                    <a:lnTo>
                      <a:pt x="484" y="180"/>
                    </a:lnTo>
                    <a:lnTo>
                      <a:pt x="487" y="181"/>
                    </a:lnTo>
                    <a:lnTo>
                      <a:pt x="487" y="180"/>
                    </a:lnTo>
                    <a:lnTo>
                      <a:pt x="487" y="177"/>
                    </a:lnTo>
                    <a:lnTo>
                      <a:pt x="486" y="175"/>
                    </a:lnTo>
                    <a:lnTo>
                      <a:pt x="486" y="175"/>
                    </a:lnTo>
                    <a:lnTo>
                      <a:pt x="484" y="175"/>
                    </a:lnTo>
                    <a:lnTo>
                      <a:pt x="483" y="174"/>
                    </a:lnTo>
                    <a:lnTo>
                      <a:pt x="483" y="174"/>
                    </a:lnTo>
                    <a:lnTo>
                      <a:pt x="483" y="174"/>
                    </a:lnTo>
                    <a:lnTo>
                      <a:pt x="482" y="171"/>
                    </a:lnTo>
                    <a:lnTo>
                      <a:pt x="480" y="171"/>
                    </a:lnTo>
                    <a:lnTo>
                      <a:pt x="477" y="168"/>
                    </a:lnTo>
                    <a:lnTo>
                      <a:pt x="477" y="167"/>
                    </a:lnTo>
                    <a:lnTo>
                      <a:pt x="477" y="164"/>
                    </a:lnTo>
                    <a:lnTo>
                      <a:pt x="477" y="161"/>
                    </a:lnTo>
                    <a:lnTo>
                      <a:pt x="477" y="160"/>
                    </a:lnTo>
                    <a:lnTo>
                      <a:pt x="477" y="158"/>
                    </a:lnTo>
                    <a:lnTo>
                      <a:pt x="477" y="157"/>
                    </a:lnTo>
                    <a:lnTo>
                      <a:pt x="477" y="157"/>
                    </a:lnTo>
                    <a:lnTo>
                      <a:pt x="477" y="155"/>
                    </a:lnTo>
                    <a:lnTo>
                      <a:pt x="476" y="154"/>
                    </a:lnTo>
                    <a:lnTo>
                      <a:pt x="473" y="150"/>
                    </a:lnTo>
                    <a:lnTo>
                      <a:pt x="470" y="147"/>
                    </a:lnTo>
                    <a:lnTo>
                      <a:pt x="469" y="145"/>
                    </a:lnTo>
                    <a:lnTo>
                      <a:pt x="467" y="144"/>
                    </a:lnTo>
                    <a:lnTo>
                      <a:pt x="466" y="142"/>
                    </a:lnTo>
                    <a:lnTo>
                      <a:pt x="463" y="141"/>
                    </a:lnTo>
                    <a:lnTo>
                      <a:pt x="463" y="139"/>
                    </a:lnTo>
                    <a:lnTo>
                      <a:pt x="461" y="138"/>
                    </a:lnTo>
                    <a:lnTo>
                      <a:pt x="461" y="137"/>
                    </a:lnTo>
                    <a:lnTo>
                      <a:pt x="460" y="137"/>
                    </a:lnTo>
                    <a:lnTo>
                      <a:pt x="461" y="137"/>
                    </a:lnTo>
                    <a:lnTo>
                      <a:pt x="464" y="137"/>
                    </a:lnTo>
                    <a:lnTo>
                      <a:pt x="464" y="137"/>
                    </a:lnTo>
                    <a:lnTo>
                      <a:pt x="466" y="137"/>
                    </a:lnTo>
                    <a:lnTo>
                      <a:pt x="474" y="131"/>
                    </a:lnTo>
                    <a:lnTo>
                      <a:pt x="479" y="129"/>
                    </a:lnTo>
                    <a:lnTo>
                      <a:pt x="480" y="127"/>
                    </a:lnTo>
                    <a:lnTo>
                      <a:pt x="483" y="124"/>
                    </a:lnTo>
                    <a:lnTo>
                      <a:pt x="486" y="121"/>
                    </a:lnTo>
                    <a:lnTo>
                      <a:pt x="489" y="119"/>
                    </a:lnTo>
                    <a:lnTo>
                      <a:pt x="492" y="121"/>
                    </a:lnTo>
                    <a:lnTo>
                      <a:pt x="495" y="121"/>
                    </a:lnTo>
                    <a:lnTo>
                      <a:pt x="496" y="121"/>
                    </a:lnTo>
                    <a:lnTo>
                      <a:pt x="497" y="118"/>
                    </a:lnTo>
                    <a:lnTo>
                      <a:pt x="497" y="116"/>
                    </a:lnTo>
                    <a:lnTo>
                      <a:pt x="496" y="115"/>
                    </a:lnTo>
                    <a:lnTo>
                      <a:pt x="495" y="114"/>
                    </a:lnTo>
                    <a:lnTo>
                      <a:pt x="492" y="114"/>
                    </a:lnTo>
                    <a:lnTo>
                      <a:pt x="490" y="114"/>
                    </a:lnTo>
                    <a:lnTo>
                      <a:pt x="489" y="115"/>
                    </a:lnTo>
                    <a:lnTo>
                      <a:pt x="486" y="115"/>
                    </a:lnTo>
                    <a:lnTo>
                      <a:pt x="487" y="115"/>
                    </a:lnTo>
                    <a:lnTo>
                      <a:pt x="487" y="116"/>
                    </a:lnTo>
                    <a:lnTo>
                      <a:pt x="487" y="116"/>
                    </a:lnTo>
                    <a:lnTo>
                      <a:pt x="479" y="116"/>
                    </a:lnTo>
                    <a:lnTo>
                      <a:pt x="477" y="118"/>
                    </a:lnTo>
                    <a:lnTo>
                      <a:pt x="476" y="118"/>
                    </a:lnTo>
                    <a:lnTo>
                      <a:pt x="473" y="119"/>
                    </a:lnTo>
                    <a:lnTo>
                      <a:pt x="472" y="119"/>
                    </a:lnTo>
                    <a:lnTo>
                      <a:pt x="470" y="119"/>
                    </a:lnTo>
                    <a:lnTo>
                      <a:pt x="469" y="119"/>
                    </a:lnTo>
                    <a:lnTo>
                      <a:pt x="467" y="119"/>
                    </a:lnTo>
                    <a:lnTo>
                      <a:pt x="466" y="118"/>
                    </a:lnTo>
                    <a:lnTo>
                      <a:pt x="463" y="119"/>
                    </a:lnTo>
                    <a:lnTo>
                      <a:pt x="461" y="119"/>
                    </a:lnTo>
                    <a:lnTo>
                      <a:pt x="460" y="122"/>
                    </a:lnTo>
                    <a:lnTo>
                      <a:pt x="457" y="127"/>
                    </a:lnTo>
                    <a:lnTo>
                      <a:pt x="456" y="128"/>
                    </a:lnTo>
                    <a:lnTo>
                      <a:pt x="454" y="128"/>
                    </a:lnTo>
                    <a:lnTo>
                      <a:pt x="451" y="128"/>
                    </a:lnTo>
                    <a:lnTo>
                      <a:pt x="450" y="128"/>
                    </a:lnTo>
                    <a:lnTo>
                      <a:pt x="449" y="127"/>
                    </a:lnTo>
                    <a:lnTo>
                      <a:pt x="447" y="127"/>
                    </a:lnTo>
                    <a:lnTo>
                      <a:pt x="447" y="125"/>
                    </a:lnTo>
                    <a:lnTo>
                      <a:pt x="446" y="122"/>
                    </a:lnTo>
                    <a:lnTo>
                      <a:pt x="446" y="122"/>
                    </a:lnTo>
                    <a:lnTo>
                      <a:pt x="444" y="121"/>
                    </a:lnTo>
                    <a:lnTo>
                      <a:pt x="443" y="121"/>
                    </a:lnTo>
                    <a:lnTo>
                      <a:pt x="441" y="119"/>
                    </a:lnTo>
                    <a:lnTo>
                      <a:pt x="440" y="118"/>
                    </a:lnTo>
                    <a:lnTo>
                      <a:pt x="440" y="116"/>
                    </a:lnTo>
                    <a:lnTo>
                      <a:pt x="438" y="115"/>
                    </a:lnTo>
                    <a:lnTo>
                      <a:pt x="437" y="114"/>
                    </a:lnTo>
                    <a:lnTo>
                      <a:pt x="437" y="109"/>
                    </a:lnTo>
                    <a:lnTo>
                      <a:pt x="437" y="105"/>
                    </a:lnTo>
                    <a:lnTo>
                      <a:pt x="438" y="102"/>
                    </a:lnTo>
                    <a:lnTo>
                      <a:pt x="440" y="98"/>
                    </a:lnTo>
                    <a:lnTo>
                      <a:pt x="444" y="95"/>
                    </a:lnTo>
                    <a:lnTo>
                      <a:pt x="447" y="95"/>
                    </a:lnTo>
                    <a:lnTo>
                      <a:pt x="456" y="95"/>
                    </a:lnTo>
                    <a:lnTo>
                      <a:pt x="483" y="95"/>
                    </a:lnTo>
                    <a:lnTo>
                      <a:pt x="489" y="95"/>
                    </a:lnTo>
                    <a:lnTo>
                      <a:pt x="493" y="96"/>
                    </a:lnTo>
                    <a:lnTo>
                      <a:pt x="496" y="98"/>
                    </a:lnTo>
                    <a:lnTo>
                      <a:pt x="497" y="98"/>
                    </a:lnTo>
                    <a:lnTo>
                      <a:pt x="500" y="98"/>
                    </a:lnTo>
                    <a:lnTo>
                      <a:pt x="505" y="98"/>
                    </a:lnTo>
                    <a:lnTo>
                      <a:pt x="510" y="96"/>
                    </a:lnTo>
                    <a:lnTo>
                      <a:pt x="513" y="95"/>
                    </a:lnTo>
                    <a:lnTo>
                      <a:pt x="516" y="92"/>
                    </a:lnTo>
                    <a:lnTo>
                      <a:pt x="525" y="83"/>
                    </a:lnTo>
                    <a:lnTo>
                      <a:pt x="528" y="81"/>
                    </a:lnTo>
                    <a:lnTo>
                      <a:pt x="528" y="76"/>
                    </a:lnTo>
                    <a:lnTo>
                      <a:pt x="526" y="73"/>
                    </a:lnTo>
                    <a:lnTo>
                      <a:pt x="523" y="75"/>
                    </a:lnTo>
                    <a:lnTo>
                      <a:pt x="522" y="76"/>
                    </a:lnTo>
                    <a:lnTo>
                      <a:pt x="517" y="81"/>
                    </a:lnTo>
                    <a:lnTo>
                      <a:pt x="512" y="86"/>
                    </a:lnTo>
                    <a:lnTo>
                      <a:pt x="507" y="88"/>
                    </a:lnTo>
                    <a:lnTo>
                      <a:pt x="505" y="89"/>
                    </a:lnTo>
                    <a:lnTo>
                      <a:pt x="502" y="89"/>
                    </a:lnTo>
                    <a:lnTo>
                      <a:pt x="493" y="88"/>
                    </a:lnTo>
                    <a:lnTo>
                      <a:pt x="492" y="86"/>
                    </a:lnTo>
                    <a:lnTo>
                      <a:pt x="490" y="88"/>
                    </a:lnTo>
                    <a:lnTo>
                      <a:pt x="489" y="88"/>
                    </a:lnTo>
                    <a:lnTo>
                      <a:pt x="487" y="88"/>
                    </a:lnTo>
                    <a:lnTo>
                      <a:pt x="487" y="89"/>
                    </a:lnTo>
                    <a:lnTo>
                      <a:pt x="486" y="88"/>
                    </a:lnTo>
                    <a:lnTo>
                      <a:pt x="484" y="88"/>
                    </a:lnTo>
                    <a:lnTo>
                      <a:pt x="483" y="86"/>
                    </a:lnTo>
                    <a:lnTo>
                      <a:pt x="482" y="86"/>
                    </a:lnTo>
                    <a:lnTo>
                      <a:pt x="479" y="86"/>
                    </a:lnTo>
                    <a:lnTo>
                      <a:pt x="470" y="85"/>
                    </a:lnTo>
                    <a:lnTo>
                      <a:pt x="466" y="85"/>
                    </a:lnTo>
                    <a:lnTo>
                      <a:pt x="464" y="85"/>
                    </a:lnTo>
                    <a:lnTo>
                      <a:pt x="463" y="83"/>
                    </a:lnTo>
                    <a:lnTo>
                      <a:pt x="461" y="82"/>
                    </a:lnTo>
                    <a:lnTo>
                      <a:pt x="460" y="82"/>
                    </a:lnTo>
                    <a:lnTo>
                      <a:pt x="457" y="81"/>
                    </a:lnTo>
                    <a:lnTo>
                      <a:pt x="454" y="81"/>
                    </a:lnTo>
                    <a:lnTo>
                      <a:pt x="451" y="83"/>
                    </a:lnTo>
                    <a:lnTo>
                      <a:pt x="449" y="88"/>
                    </a:lnTo>
                    <a:lnTo>
                      <a:pt x="447" y="88"/>
                    </a:lnTo>
                    <a:lnTo>
                      <a:pt x="446" y="89"/>
                    </a:lnTo>
                    <a:lnTo>
                      <a:pt x="444" y="89"/>
                    </a:lnTo>
                    <a:lnTo>
                      <a:pt x="443" y="88"/>
                    </a:lnTo>
                    <a:lnTo>
                      <a:pt x="443" y="86"/>
                    </a:lnTo>
                    <a:lnTo>
                      <a:pt x="441" y="86"/>
                    </a:lnTo>
                    <a:lnTo>
                      <a:pt x="441" y="86"/>
                    </a:lnTo>
                    <a:lnTo>
                      <a:pt x="436" y="96"/>
                    </a:lnTo>
                    <a:lnTo>
                      <a:pt x="434" y="98"/>
                    </a:lnTo>
                    <a:lnTo>
                      <a:pt x="434" y="99"/>
                    </a:lnTo>
                    <a:lnTo>
                      <a:pt x="434" y="102"/>
                    </a:lnTo>
                    <a:lnTo>
                      <a:pt x="434" y="104"/>
                    </a:lnTo>
                    <a:lnTo>
                      <a:pt x="434" y="105"/>
                    </a:lnTo>
                    <a:lnTo>
                      <a:pt x="433" y="105"/>
                    </a:lnTo>
                    <a:lnTo>
                      <a:pt x="433" y="105"/>
                    </a:lnTo>
                    <a:lnTo>
                      <a:pt x="431" y="105"/>
                    </a:lnTo>
                    <a:lnTo>
                      <a:pt x="431" y="106"/>
                    </a:lnTo>
                    <a:lnTo>
                      <a:pt x="431" y="106"/>
                    </a:lnTo>
                    <a:lnTo>
                      <a:pt x="434" y="116"/>
                    </a:lnTo>
                    <a:lnTo>
                      <a:pt x="434" y="119"/>
                    </a:lnTo>
                    <a:lnTo>
                      <a:pt x="433" y="118"/>
                    </a:lnTo>
                    <a:lnTo>
                      <a:pt x="433" y="116"/>
                    </a:lnTo>
                    <a:close/>
                    <a:moveTo>
                      <a:pt x="418" y="257"/>
                    </a:moveTo>
                    <a:lnTo>
                      <a:pt x="420" y="257"/>
                    </a:lnTo>
                    <a:lnTo>
                      <a:pt x="421" y="256"/>
                    </a:lnTo>
                    <a:lnTo>
                      <a:pt x="420" y="253"/>
                    </a:lnTo>
                    <a:lnTo>
                      <a:pt x="418" y="250"/>
                    </a:lnTo>
                    <a:lnTo>
                      <a:pt x="416" y="250"/>
                    </a:lnTo>
                    <a:lnTo>
                      <a:pt x="414" y="252"/>
                    </a:lnTo>
                    <a:lnTo>
                      <a:pt x="413" y="250"/>
                    </a:lnTo>
                    <a:lnTo>
                      <a:pt x="411" y="250"/>
                    </a:lnTo>
                    <a:lnTo>
                      <a:pt x="410" y="250"/>
                    </a:lnTo>
                    <a:lnTo>
                      <a:pt x="407" y="252"/>
                    </a:lnTo>
                    <a:lnTo>
                      <a:pt x="405" y="250"/>
                    </a:lnTo>
                    <a:lnTo>
                      <a:pt x="404" y="247"/>
                    </a:lnTo>
                    <a:lnTo>
                      <a:pt x="401" y="247"/>
                    </a:lnTo>
                    <a:lnTo>
                      <a:pt x="400" y="246"/>
                    </a:lnTo>
                    <a:lnTo>
                      <a:pt x="398" y="247"/>
                    </a:lnTo>
                    <a:lnTo>
                      <a:pt x="397" y="249"/>
                    </a:lnTo>
                    <a:lnTo>
                      <a:pt x="398" y="252"/>
                    </a:lnTo>
                    <a:lnTo>
                      <a:pt x="400" y="252"/>
                    </a:lnTo>
                    <a:lnTo>
                      <a:pt x="403" y="253"/>
                    </a:lnTo>
                    <a:lnTo>
                      <a:pt x="404" y="254"/>
                    </a:lnTo>
                    <a:lnTo>
                      <a:pt x="405" y="256"/>
                    </a:lnTo>
                    <a:lnTo>
                      <a:pt x="405" y="256"/>
                    </a:lnTo>
                    <a:lnTo>
                      <a:pt x="404" y="257"/>
                    </a:lnTo>
                    <a:lnTo>
                      <a:pt x="403" y="257"/>
                    </a:lnTo>
                    <a:lnTo>
                      <a:pt x="401" y="257"/>
                    </a:lnTo>
                    <a:lnTo>
                      <a:pt x="400" y="257"/>
                    </a:lnTo>
                    <a:lnTo>
                      <a:pt x="398" y="257"/>
                    </a:lnTo>
                    <a:lnTo>
                      <a:pt x="398" y="257"/>
                    </a:lnTo>
                    <a:lnTo>
                      <a:pt x="394" y="253"/>
                    </a:lnTo>
                    <a:lnTo>
                      <a:pt x="393" y="253"/>
                    </a:lnTo>
                    <a:lnTo>
                      <a:pt x="388" y="252"/>
                    </a:lnTo>
                    <a:lnTo>
                      <a:pt x="387" y="252"/>
                    </a:lnTo>
                    <a:lnTo>
                      <a:pt x="384" y="253"/>
                    </a:lnTo>
                    <a:lnTo>
                      <a:pt x="382" y="254"/>
                    </a:lnTo>
                    <a:lnTo>
                      <a:pt x="381" y="256"/>
                    </a:lnTo>
                    <a:lnTo>
                      <a:pt x="380" y="257"/>
                    </a:lnTo>
                    <a:lnTo>
                      <a:pt x="380" y="260"/>
                    </a:lnTo>
                    <a:lnTo>
                      <a:pt x="380" y="262"/>
                    </a:lnTo>
                    <a:lnTo>
                      <a:pt x="385" y="265"/>
                    </a:lnTo>
                    <a:lnTo>
                      <a:pt x="394" y="263"/>
                    </a:lnTo>
                    <a:lnTo>
                      <a:pt x="403" y="260"/>
                    </a:lnTo>
                    <a:lnTo>
                      <a:pt x="408" y="257"/>
                    </a:lnTo>
                    <a:lnTo>
                      <a:pt x="408" y="259"/>
                    </a:lnTo>
                    <a:lnTo>
                      <a:pt x="411" y="260"/>
                    </a:lnTo>
                    <a:lnTo>
                      <a:pt x="414" y="259"/>
                    </a:lnTo>
                    <a:lnTo>
                      <a:pt x="416" y="260"/>
                    </a:lnTo>
                    <a:lnTo>
                      <a:pt x="416" y="259"/>
                    </a:lnTo>
                    <a:lnTo>
                      <a:pt x="416" y="259"/>
                    </a:lnTo>
                    <a:lnTo>
                      <a:pt x="414" y="257"/>
                    </a:lnTo>
                    <a:lnTo>
                      <a:pt x="417" y="257"/>
                    </a:lnTo>
                    <a:lnTo>
                      <a:pt x="418" y="257"/>
                    </a:lnTo>
                    <a:close/>
                    <a:moveTo>
                      <a:pt x="395" y="249"/>
                    </a:moveTo>
                    <a:lnTo>
                      <a:pt x="394" y="247"/>
                    </a:lnTo>
                    <a:lnTo>
                      <a:pt x="393" y="250"/>
                    </a:lnTo>
                    <a:lnTo>
                      <a:pt x="394" y="252"/>
                    </a:lnTo>
                    <a:lnTo>
                      <a:pt x="395" y="249"/>
                    </a:lnTo>
                    <a:close/>
                    <a:moveTo>
                      <a:pt x="495" y="250"/>
                    </a:moveTo>
                    <a:lnTo>
                      <a:pt x="493" y="249"/>
                    </a:lnTo>
                    <a:lnTo>
                      <a:pt x="492" y="250"/>
                    </a:lnTo>
                    <a:lnTo>
                      <a:pt x="490" y="252"/>
                    </a:lnTo>
                    <a:lnTo>
                      <a:pt x="495" y="252"/>
                    </a:lnTo>
                    <a:lnTo>
                      <a:pt x="495" y="250"/>
                    </a:lnTo>
                    <a:close/>
                    <a:moveTo>
                      <a:pt x="449" y="230"/>
                    </a:moveTo>
                    <a:lnTo>
                      <a:pt x="450" y="229"/>
                    </a:lnTo>
                    <a:lnTo>
                      <a:pt x="450" y="229"/>
                    </a:lnTo>
                    <a:lnTo>
                      <a:pt x="450" y="229"/>
                    </a:lnTo>
                    <a:lnTo>
                      <a:pt x="449" y="227"/>
                    </a:lnTo>
                    <a:lnTo>
                      <a:pt x="447" y="227"/>
                    </a:lnTo>
                    <a:lnTo>
                      <a:pt x="449" y="229"/>
                    </a:lnTo>
                    <a:lnTo>
                      <a:pt x="449" y="230"/>
                    </a:lnTo>
                    <a:close/>
                    <a:moveTo>
                      <a:pt x="421" y="276"/>
                    </a:moveTo>
                    <a:lnTo>
                      <a:pt x="423" y="276"/>
                    </a:lnTo>
                    <a:lnTo>
                      <a:pt x="428" y="277"/>
                    </a:lnTo>
                    <a:lnTo>
                      <a:pt x="430" y="277"/>
                    </a:lnTo>
                    <a:lnTo>
                      <a:pt x="433" y="279"/>
                    </a:lnTo>
                    <a:lnTo>
                      <a:pt x="434" y="280"/>
                    </a:lnTo>
                    <a:lnTo>
                      <a:pt x="438" y="283"/>
                    </a:lnTo>
                    <a:lnTo>
                      <a:pt x="441" y="285"/>
                    </a:lnTo>
                    <a:lnTo>
                      <a:pt x="444" y="286"/>
                    </a:lnTo>
                    <a:lnTo>
                      <a:pt x="446" y="285"/>
                    </a:lnTo>
                    <a:lnTo>
                      <a:pt x="449" y="285"/>
                    </a:lnTo>
                    <a:lnTo>
                      <a:pt x="450" y="283"/>
                    </a:lnTo>
                    <a:lnTo>
                      <a:pt x="451" y="280"/>
                    </a:lnTo>
                    <a:lnTo>
                      <a:pt x="450" y="279"/>
                    </a:lnTo>
                    <a:lnTo>
                      <a:pt x="447" y="277"/>
                    </a:lnTo>
                    <a:lnTo>
                      <a:pt x="443" y="275"/>
                    </a:lnTo>
                    <a:lnTo>
                      <a:pt x="438" y="270"/>
                    </a:lnTo>
                    <a:lnTo>
                      <a:pt x="437" y="269"/>
                    </a:lnTo>
                    <a:lnTo>
                      <a:pt x="437" y="269"/>
                    </a:lnTo>
                    <a:lnTo>
                      <a:pt x="436" y="269"/>
                    </a:lnTo>
                    <a:lnTo>
                      <a:pt x="436" y="269"/>
                    </a:lnTo>
                    <a:lnTo>
                      <a:pt x="436" y="269"/>
                    </a:lnTo>
                    <a:lnTo>
                      <a:pt x="434" y="269"/>
                    </a:lnTo>
                    <a:lnTo>
                      <a:pt x="434" y="269"/>
                    </a:lnTo>
                    <a:lnTo>
                      <a:pt x="426" y="269"/>
                    </a:lnTo>
                    <a:lnTo>
                      <a:pt x="423" y="269"/>
                    </a:lnTo>
                    <a:lnTo>
                      <a:pt x="420" y="270"/>
                    </a:lnTo>
                    <a:lnTo>
                      <a:pt x="418" y="272"/>
                    </a:lnTo>
                    <a:lnTo>
                      <a:pt x="420" y="275"/>
                    </a:lnTo>
                    <a:lnTo>
                      <a:pt x="421" y="276"/>
                    </a:lnTo>
                    <a:close/>
                    <a:moveTo>
                      <a:pt x="427" y="257"/>
                    </a:moveTo>
                    <a:lnTo>
                      <a:pt x="427" y="256"/>
                    </a:lnTo>
                    <a:lnTo>
                      <a:pt x="428" y="254"/>
                    </a:lnTo>
                    <a:lnTo>
                      <a:pt x="428" y="253"/>
                    </a:lnTo>
                    <a:lnTo>
                      <a:pt x="427" y="253"/>
                    </a:lnTo>
                    <a:lnTo>
                      <a:pt x="427" y="253"/>
                    </a:lnTo>
                    <a:lnTo>
                      <a:pt x="426" y="254"/>
                    </a:lnTo>
                    <a:lnTo>
                      <a:pt x="426" y="256"/>
                    </a:lnTo>
                    <a:lnTo>
                      <a:pt x="426" y="256"/>
                    </a:lnTo>
                    <a:lnTo>
                      <a:pt x="426" y="257"/>
                    </a:lnTo>
                    <a:lnTo>
                      <a:pt x="426" y="257"/>
                    </a:lnTo>
                    <a:lnTo>
                      <a:pt x="427" y="257"/>
                    </a:lnTo>
                    <a:close/>
                    <a:moveTo>
                      <a:pt x="421" y="249"/>
                    </a:moveTo>
                    <a:lnTo>
                      <a:pt x="421" y="247"/>
                    </a:lnTo>
                    <a:lnTo>
                      <a:pt x="420" y="249"/>
                    </a:lnTo>
                    <a:lnTo>
                      <a:pt x="421" y="249"/>
                    </a:lnTo>
                    <a:lnTo>
                      <a:pt x="421" y="249"/>
                    </a:lnTo>
                    <a:close/>
                    <a:moveTo>
                      <a:pt x="490" y="253"/>
                    </a:moveTo>
                    <a:lnTo>
                      <a:pt x="489" y="253"/>
                    </a:lnTo>
                    <a:lnTo>
                      <a:pt x="487" y="254"/>
                    </a:lnTo>
                    <a:lnTo>
                      <a:pt x="487" y="254"/>
                    </a:lnTo>
                    <a:lnTo>
                      <a:pt x="487" y="256"/>
                    </a:lnTo>
                    <a:lnTo>
                      <a:pt x="489" y="256"/>
                    </a:lnTo>
                    <a:lnTo>
                      <a:pt x="490" y="253"/>
                    </a:lnTo>
                    <a:lnTo>
                      <a:pt x="492" y="253"/>
                    </a:lnTo>
                    <a:lnTo>
                      <a:pt x="492" y="253"/>
                    </a:lnTo>
                    <a:lnTo>
                      <a:pt x="490" y="253"/>
                    </a:lnTo>
                    <a:lnTo>
                      <a:pt x="490" y="253"/>
                    </a:lnTo>
                    <a:close/>
                    <a:moveTo>
                      <a:pt x="492" y="295"/>
                    </a:moveTo>
                    <a:lnTo>
                      <a:pt x="496" y="293"/>
                    </a:lnTo>
                    <a:lnTo>
                      <a:pt x="496" y="289"/>
                    </a:lnTo>
                    <a:lnTo>
                      <a:pt x="495" y="290"/>
                    </a:lnTo>
                    <a:lnTo>
                      <a:pt x="487" y="293"/>
                    </a:lnTo>
                    <a:lnTo>
                      <a:pt x="486" y="295"/>
                    </a:lnTo>
                    <a:lnTo>
                      <a:pt x="487" y="296"/>
                    </a:lnTo>
                    <a:lnTo>
                      <a:pt x="492" y="295"/>
                    </a:lnTo>
                    <a:close/>
                    <a:moveTo>
                      <a:pt x="243" y="83"/>
                    </a:moveTo>
                    <a:lnTo>
                      <a:pt x="246" y="82"/>
                    </a:lnTo>
                    <a:lnTo>
                      <a:pt x="245" y="82"/>
                    </a:lnTo>
                    <a:lnTo>
                      <a:pt x="243" y="82"/>
                    </a:lnTo>
                    <a:lnTo>
                      <a:pt x="245" y="78"/>
                    </a:lnTo>
                    <a:lnTo>
                      <a:pt x="247" y="73"/>
                    </a:lnTo>
                    <a:lnTo>
                      <a:pt x="250" y="70"/>
                    </a:lnTo>
                    <a:lnTo>
                      <a:pt x="255" y="68"/>
                    </a:lnTo>
                    <a:lnTo>
                      <a:pt x="253" y="70"/>
                    </a:lnTo>
                    <a:lnTo>
                      <a:pt x="253" y="72"/>
                    </a:lnTo>
                    <a:lnTo>
                      <a:pt x="255" y="75"/>
                    </a:lnTo>
                    <a:lnTo>
                      <a:pt x="256" y="76"/>
                    </a:lnTo>
                    <a:lnTo>
                      <a:pt x="258" y="79"/>
                    </a:lnTo>
                    <a:lnTo>
                      <a:pt x="266" y="86"/>
                    </a:lnTo>
                    <a:lnTo>
                      <a:pt x="269" y="88"/>
                    </a:lnTo>
                    <a:lnTo>
                      <a:pt x="270" y="88"/>
                    </a:lnTo>
                    <a:lnTo>
                      <a:pt x="278" y="86"/>
                    </a:lnTo>
                    <a:lnTo>
                      <a:pt x="281" y="86"/>
                    </a:lnTo>
                    <a:lnTo>
                      <a:pt x="289" y="86"/>
                    </a:lnTo>
                    <a:lnTo>
                      <a:pt x="291" y="86"/>
                    </a:lnTo>
                    <a:lnTo>
                      <a:pt x="293" y="85"/>
                    </a:lnTo>
                    <a:lnTo>
                      <a:pt x="295" y="83"/>
                    </a:lnTo>
                    <a:lnTo>
                      <a:pt x="296" y="83"/>
                    </a:lnTo>
                    <a:lnTo>
                      <a:pt x="298" y="82"/>
                    </a:lnTo>
                    <a:lnTo>
                      <a:pt x="301" y="78"/>
                    </a:lnTo>
                    <a:lnTo>
                      <a:pt x="302" y="78"/>
                    </a:lnTo>
                    <a:lnTo>
                      <a:pt x="303" y="76"/>
                    </a:lnTo>
                    <a:lnTo>
                      <a:pt x="309" y="76"/>
                    </a:lnTo>
                    <a:lnTo>
                      <a:pt x="314" y="78"/>
                    </a:lnTo>
                    <a:lnTo>
                      <a:pt x="316" y="79"/>
                    </a:lnTo>
                    <a:lnTo>
                      <a:pt x="324" y="81"/>
                    </a:lnTo>
                    <a:lnTo>
                      <a:pt x="325" y="82"/>
                    </a:lnTo>
                    <a:lnTo>
                      <a:pt x="326" y="81"/>
                    </a:lnTo>
                    <a:lnTo>
                      <a:pt x="328" y="81"/>
                    </a:lnTo>
                    <a:lnTo>
                      <a:pt x="329" y="79"/>
                    </a:lnTo>
                    <a:lnTo>
                      <a:pt x="331" y="78"/>
                    </a:lnTo>
                    <a:lnTo>
                      <a:pt x="334" y="78"/>
                    </a:lnTo>
                    <a:lnTo>
                      <a:pt x="339" y="78"/>
                    </a:lnTo>
                    <a:lnTo>
                      <a:pt x="341" y="76"/>
                    </a:lnTo>
                    <a:lnTo>
                      <a:pt x="342" y="76"/>
                    </a:lnTo>
                    <a:lnTo>
                      <a:pt x="342" y="75"/>
                    </a:lnTo>
                    <a:lnTo>
                      <a:pt x="342" y="73"/>
                    </a:lnTo>
                    <a:lnTo>
                      <a:pt x="344" y="72"/>
                    </a:lnTo>
                    <a:lnTo>
                      <a:pt x="344" y="72"/>
                    </a:lnTo>
                    <a:lnTo>
                      <a:pt x="345" y="70"/>
                    </a:lnTo>
                    <a:lnTo>
                      <a:pt x="345" y="70"/>
                    </a:lnTo>
                    <a:lnTo>
                      <a:pt x="345" y="68"/>
                    </a:lnTo>
                    <a:lnTo>
                      <a:pt x="345" y="66"/>
                    </a:lnTo>
                    <a:lnTo>
                      <a:pt x="345" y="65"/>
                    </a:lnTo>
                    <a:lnTo>
                      <a:pt x="345" y="63"/>
                    </a:lnTo>
                    <a:lnTo>
                      <a:pt x="347" y="62"/>
                    </a:lnTo>
                    <a:lnTo>
                      <a:pt x="349" y="62"/>
                    </a:lnTo>
                    <a:lnTo>
                      <a:pt x="351" y="60"/>
                    </a:lnTo>
                    <a:lnTo>
                      <a:pt x="352" y="58"/>
                    </a:lnTo>
                    <a:lnTo>
                      <a:pt x="351" y="58"/>
                    </a:lnTo>
                    <a:lnTo>
                      <a:pt x="351" y="56"/>
                    </a:lnTo>
                    <a:lnTo>
                      <a:pt x="349" y="55"/>
                    </a:lnTo>
                    <a:lnTo>
                      <a:pt x="351" y="53"/>
                    </a:lnTo>
                    <a:lnTo>
                      <a:pt x="352" y="52"/>
                    </a:lnTo>
                    <a:lnTo>
                      <a:pt x="355" y="50"/>
                    </a:lnTo>
                    <a:lnTo>
                      <a:pt x="358" y="49"/>
                    </a:lnTo>
                    <a:lnTo>
                      <a:pt x="358" y="46"/>
                    </a:lnTo>
                    <a:lnTo>
                      <a:pt x="358" y="36"/>
                    </a:lnTo>
                    <a:lnTo>
                      <a:pt x="360" y="33"/>
                    </a:lnTo>
                    <a:lnTo>
                      <a:pt x="361" y="30"/>
                    </a:lnTo>
                    <a:lnTo>
                      <a:pt x="362" y="27"/>
                    </a:lnTo>
                    <a:lnTo>
                      <a:pt x="365" y="27"/>
                    </a:lnTo>
                    <a:lnTo>
                      <a:pt x="368" y="27"/>
                    </a:lnTo>
                    <a:lnTo>
                      <a:pt x="385" y="27"/>
                    </a:lnTo>
                    <a:lnTo>
                      <a:pt x="387" y="27"/>
                    </a:lnTo>
                    <a:lnTo>
                      <a:pt x="388" y="27"/>
                    </a:lnTo>
                    <a:lnTo>
                      <a:pt x="390" y="29"/>
                    </a:lnTo>
                    <a:lnTo>
                      <a:pt x="391" y="29"/>
                    </a:lnTo>
                    <a:lnTo>
                      <a:pt x="393" y="30"/>
                    </a:lnTo>
                    <a:lnTo>
                      <a:pt x="394" y="30"/>
                    </a:lnTo>
                    <a:lnTo>
                      <a:pt x="393" y="32"/>
                    </a:lnTo>
                    <a:lnTo>
                      <a:pt x="393" y="33"/>
                    </a:lnTo>
                    <a:lnTo>
                      <a:pt x="395" y="35"/>
                    </a:lnTo>
                    <a:lnTo>
                      <a:pt x="397" y="36"/>
                    </a:lnTo>
                    <a:lnTo>
                      <a:pt x="397" y="39"/>
                    </a:lnTo>
                    <a:lnTo>
                      <a:pt x="395" y="39"/>
                    </a:lnTo>
                    <a:lnTo>
                      <a:pt x="394" y="39"/>
                    </a:lnTo>
                    <a:lnTo>
                      <a:pt x="393" y="37"/>
                    </a:lnTo>
                    <a:lnTo>
                      <a:pt x="391" y="39"/>
                    </a:lnTo>
                    <a:lnTo>
                      <a:pt x="390" y="40"/>
                    </a:lnTo>
                    <a:lnTo>
                      <a:pt x="385" y="40"/>
                    </a:lnTo>
                    <a:lnTo>
                      <a:pt x="387" y="40"/>
                    </a:lnTo>
                    <a:lnTo>
                      <a:pt x="387" y="40"/>
                    </a:lnTo>
                    <a:lnTo>
                      <a:pt x="388" y="42"/>
                    </a:lnTo>
                    <a:lnTo>
                      <a:pt x="390" y="43"/>
                    </a:lnTo>
                    <a:lnTo>
                      <a:pt x="390" y="45"/>
                    </a:lnTo>
                    <a:lnTo>
                      <a:pt x="390" y="45"/>
                    </a:lnTo>
                    <a:lnTo>
                      <a:pt x="390" y="46"/>
                    </a:lnTo>
                    <a:lnTo>
                      <a:pt x="390" y="46"/>
                    </a:lnTo>
                    <a:lnTo>
                      <a:pt x="391" y="48"/>
                    </a:lnTo>
                    <a:lnTo>
                      <a:pt x="393" y="49"/>
                    </a:lnTo>
                    <a:lnTo>
                      <a:pt x="394" y="50"/>
                    </a:lnTo>
                    <a:lnTo>
                      <a:pt x="395" y="52"/>
                    </a:lnTo>
                    <a:lnTo>
                      <a:pt x="394" y="52"/>
                    </a:lnTo>
                    <a:lnTo>
                      <a:pt x="394" y="52"/>
                    </a:lnTo>
                    <a:lnTo>
                      <a:pt x="395" y="53"/>
                    </a:lnTo>
                    <a:lnTo>
                      <a:pt x="395" y="53"/>
                    </a:lnTo>
                    <a:lnTo>
                      <a:pt x="395" y="53"/>
                    </a:lnTo>
                    <a:lnTo>
                      <a:pt x="395" y="53"/>
                    </a:lnTo>
                    <a:lnTo>
                      <a:pt x="395" y="53"/>
                    </a:lnTo>
                    <a:lnTo>
                      <a:pt x="397" y="55"/>
                    </a:lnTo>
                    <a:lnTo>
                      <a:pt x="398" y="58"/>
                    </a:lnTo>
                    <a:lnTo>
                      <a:pt x="401" y="59"/>
                    </a:lnTo>
                    <a:lnTo>
                      <a:pt x="401" y="62"/>
                    </a:lnTo>
                    <a:lnTo>
                      <a:pt x="403" y="63"/>
                    </a:lnTo>
                    <a:lnTo>
                      <a:pt x="401" y="65"/>
                    </a:lnTo>
                    <a:lnTo>
                      <a:pt x="400" y="66"/>
                    </a:lnTo>
                    <a:lnTo>
                      <a:pt x="398" y="68"/>
                    </a:lnTo>
                    <a:lnTo>
                      <a:pt x="400" y="69"/>
                    </a:lnTo>
                    <a:lnTo>
                      <a:pt x="403" y="73"/>
                    </a:lnTo>
                    <a:lnTo>
                      <a:pt x="405" y="75"/>
                    </a:lnTo>
                    <a:lnTo>
                      <a:pt x="414" y="82"/>
                    </a:lnTo>
                    <a:lnTo>
                      <a:pt x="416" y="83"/>
                    </a:lnTo>
                    <a:lnTo>
                      <a:pt x="417" y="85"/>
                    </a:lnTo>
                    <a:lnTo>
                      <a:pt x="418" y="86"/>
                    </a:lnTo>
                    <a:lnTo>
                      <a:pt x="418" y="86"/>
                    </a:lnTo>
                    <a:lnTo>
                      <a:pt x="417" y="88"/>
                    </a:lnTo>
                    <a:lnTo>
                      <a:pt x="417" y="88"/>
                    </a:lnTo>
                    <a:lnTo>
                      <a:pt x="414" y="89"/>
                    </a:lnTo>
                    <a:lnTo>
                      <a:pt x="413" y="89"/>
                    </a:lnTo>
                    <a:lnTo>
                      <a:pt x="411" y="89"/>
                    </a:lnTo>
                    <a:lnTo>
                      <a:pt x="408" y="89"/>
                    </a:lnTo>
                    <a:lnTo>
                      <a:pt x="405" y="88"/>
                    </a:lnTo>
                    <a:lnTo>
                      <a:pt x="403" y="86"/>
                    </a:lnTo>
                    <a:lnTo>
                      <a:pt x="400" y="85"/>
                    </a:lnTo>
                    <a:lnTo>
                      <a:pt x="401" y="86"/>
                    </a:lnTo>
                    <a:lnTo>
                      <a:pt x="400" y="89"/>
                    </a:lnTo>
                    <a:lnTo>
                      <a:pt x="397" y="91"/>
                    </a:lnTo>
                    <a:lnTo>
                      <a:pt x="395" y="93"/>
                    </a:lnTo>
                    <a:lnTo>
                      <a:pt x="394" y="98"/>
                    </a:lnTo>
                    <a:lnTo>
                      <a:pt x="393" y="102"/>
                    </a:lnTo>
                    <a:lnTo>
                      <a:pt x="393" y="106"/>
                    </a:lnTo>
                    <a:lnTo>
                      <a:pt x="393" y="111"/>
                    </a:lnTo>
                    <a:lnTo>
                      <a:pt x="393" y="115"/>
                    </a:lnTo>
                    <a:lnTo>
                      <a:pt x="393" y="116"/>
                    </a:lnTo>
                    <a:lnTo>
                      <a:pt x="388" y="121"/>
                    </a:lnTo>
                    <a:lnTo>
                      <a:pt x="382" y="124"/>
                    </a:lnTo>
                    <a:lnTo>
                      <a:pt x="381" y="125"/>
                    </a:lnTo>
                    <a:lnTo>
                      <a:pt x="380" y="122"/>
                    </a:lnTo>
                    <a:lnTo>
                      <a:pt x="380" y="122"/>
                    </a:lnTo>
                    <a:lnTo>
                      <a:pt x="380" y="125"/>
                    </a:lnTo>
                    <a:lnTo>
                      <a:pt x="380" y="125"/>
                    </a:lnTo>
                    <a:lnTo>
                      <a:pt x="380" y="127"/>
                    </a:lnTo>
                    <a:lnTo>
                      <a:pt x="378" y="128"/>
                    </a:lnTo>
                    <a:lnTo>
                      <a:pt x="378" y="128"/>
                    </a:lnTo>
                    <a:lnTo>
                      <a:pt x="372" y="134"/>
                    </a:lnTo>
                    <a:lnTo>
                      <a:pt x="371" y="135"/>
                    </a:lnTo>
                    <a:lnTo>
                      <a:pt x="374" y="135"/>
                    </a:lnTo>
                    <a:lnTo>
                      <a:pt x="374" y="137"/>
                    </a:lnTo>
                    <a:lnTo>
                      <a:pt x="374" y="139"/>
                    </a:lnTo>
                    <a:lnTo>
                      <a:pt x="372" y="141"/>
                    </a:lnTo>
                    <a:lnTo>
                      <a:pt x="374" y="142"/>
                    </a:lnTo>
                    <a:lnTo>
                      <a:pt x="375" y="144"/>
                    </a:lnTo>
                    <a:lnTo>
                      <a:pt x="377" y="145"/>
                    </a:lnTo>
                    <a:lnTo>
                      <a:pt x="375" y="147"/>
                    </a:lnTo>
                    <a:lnTo>
                      <a:pt x="375" y="148"/>
                    </a:lnTo>
                    <a:lnTo>
                      <a:pt x="374" y="148"/>
                    </a:lnTo>
                    <a:lnTo>
                      <a:pt x="372" y="148"/>
                    </a:lnTo>
                    <a:lnTo>
                      <a:pt x="371" y="150"/>
                    </a:lnTo>
                    <a:lnTo>
                      <a:pt x="372" y="150"/>
                    </a:lnTo>
                    <a:lnTo>
                      <a:pt x="372" y="151"/>
                    </a:lnTo>
                    <a:lnTo>
                      <a:pt x="372" y="154"/>
                    </a:lnTo>
                    <a:lnTo>
                      <a:pt x="371" y="155"/>
                    </a:lnTo>
                    <a:lnTo>
                      <a:pt x="370" y="155"/>
                    </a:lnTo>
                    <a:lnTo>
                      <a:pt x="370" y="157"/>
                    </a:lnTo>
                    <a:lnTo>
                      <a:pt x="370" y="157"/>
                    </a:lnTo>
                    <a:lnTo>
                      <a:pt x="370" y="158"/>
                    </a:lnTo>
                    <a:lnTo>
                      <a:pt x="371" y="158"/>
                    </a:lnTo>
                    <a:lnTo>
                      <a:pt x="370" y="160"/>
                    </a:lnTo>
                    <a:lnTo>
                      <a:pt x="368" y="162"/>
                    </a:lnTo>
                    <a:lnTo>
                      <a:pt x="367" y="164"/>
                    </a:lnTo>
                    <a:lnTo>
                      <a:pt x="365" y="167"/>
                    </a:lnTo>
                    <a:lnTo>
                      <a:pt x="364" y="168"/>
                    </a:lnTo>
                    <a:lnTo>
                      <a:pt x="360" y="170"/>
                    </a:lnTo>
                    <a:lnTo>
                      <a:pt x="354" y="173"/>
                    </a:lnTo>
                    <a:lnTo>
                      <a:pt x="348" y="175"/>
                    </a:lnTo>
                    <a:lnTo>
                      <a:pt x="345" y="177"/>
                    </a:lnTo>
                    <a:lnTo>
                      <a:pt x="342" y="177"/>
                    </a:lnTo>
                    <a:lnTo>
                      <a:pt x="342" y="174"/>
                    </a:lnTo>
                    <a:lnTo>
                      <a:pt x="341" y="162"/>
                    </a:lnTo>
                    <a:lnTo>
                      <a:pt x="339" y="164"/>
                    </a:lnTo>
                    <a:lnTo>
                      <a:pt x="338" y="164"/>
                    </a:lnTo>
                    <a:lnTo>
                      <a:pt x="337" y="162"/>
                    </a:lnTo>
                    <a:lnTo>
                      <a:pt x="337" y="161"/>
                    </a:lnTo>
                    <a:lnTo>
                      <a:pt x="337" y="162"/>
                    </a:lnTo>
                    <a:lnTo>
                      <a:pt x="335" y="162"/>
                    </a:lnTo>
                    <a:lnTo>
                      <a:pt x="334" y="161"/>
                    </a:lnTo>
                    <a:lnTo>
                      <a:pt x="332" y="161"/>
                    </a:lnTo>
                    <a:lnTo>
                      <a:pt x="331" y="162"/>
                    </a:lnTo>
                    <a:lnTo>
                      <a:pt x="328" y="164"/>
                    </a:lnTo>
                    <a:lnTo>
                      <a:pt x="326" y="164"/>
                    </a:lnTo>
                    <a:lnTo>
                      <a:pt x="325" y="162"/>
                    </a:lnTo>
                    <a:lnTo>
                      <a:pt x="325" y="162"/>
                    </a:lnTo>
                    <a:lnTo>
                      <a:pt x="325" y="161"/>
                    </a:lnTo>
                    <a:lnTo>
                      <a:pt x="325" y="161"/>
                    </a:lnTo>
                    <a:lnTo>
                      <a:pt x="324" y="160"/>
                    </a:lnTo>
                    <a:lnTo>
                      <a:pt x="324" y="160"/>
                    </a:lnTo>
                    <a:lnTo>
                      <a:pt x="322" y="160"/>
                    </a:lnTo>
                    <a:lnTo>
                      <a:pt x="322" y="161"/>
                    </a:lnTo>
                    <a:lnTo>
                      <a:pt x="321" y="161"/>
                    </a:lnTo>
                    <a:lnTo>
                      <a:pt x="319" y="160"/>
                    </a:lnTo>
                    <a:lnTo>
                      <a:pt x="318" y="158"/>
                    </a:lnTo>
                    <a:lnTo>
                      <a:pt x="314" y="155"/>
                    </a:lnTo>
                    <a:lnTo>
                      <a:pt x="314" y="158"/>
                    </a:lnTo>
                    <a:lnTo>
                      <a:pt x="312" y="160"/>
                    </a:lnTo>
                    <a:lnTo>
                      <a:pt x="312" y="161"/>
                    </a:lnTo>
                    <a:lnTo>
                      <a:pt x="309" y="162"/>
                    </a:lnTo>
                    <a:lnTo>
                      <a:pt x="306" y="162"/>
                    </a:lnTo>
                    <a:lnTo>
                      <a:pt x="305" y="162"/>
                    </a:lnTo>
                    <a:lnTo>
                      <a:pt x="303" y="162"/>
                    </a:lnTo>
                    <a:lnTo>
                      <a:pt x="301" y="162"/>
                    </a:lnTo>
                    <a:lnTo>
                      <a:pt x="298" y="164"/>
                    </a:lnTo>
                    <a:lnTo>
                      <a:pt x="295" y="165"/>
                    </a:lnTo>
                    <a:lnTo>
                      <a:pt x="293" y="165"/>
                    </a:lnTo>
                    <a:lnTo>
                      <a:pt x="293" y="162"/>
                    </a:lnTo>
                    <a:lnTo>
                      <a:pt x="293" y="158"/>
                    </a:lnTo>
                    <a:lnTo>
                      <a:pt x="292" y="157"/>
                    </a:lnTo>
                    <a:lnTo>
                      <a:pt x="291" y="155"/>
                    </a:lnTo>
                    <a:lnTo>
                      <a:pt x="291" y="155"/>
                    </a:lnTo>
                    <a:lnTo>
                      <a:pt x="286" y="155"/>
                    </a:lnTo>
                    <a:lnTo>
                      <a:pt x="279" y="157"/>
                    </a:lnTo>
                    <a:lnTo>
                      <a:pt x="276" y="157"/>
                    </a:lnTo>
                    <a:lnTo>
                      <a:pt x="276" y="155"/>
                    </a:lnTo>
                    <a:lnTo>
                      <a:pt x="276" y="155"/>
                    </a:lnTo>
                    <a:lnTo>
                      <a:pt x="273" y="157"/>
                    </a:lnTo>
                    <a:lnTo>
                      <a:pt x="273" y="157"/>
                    </a:lnTo>
                    <a:lnTo>
                      <a:pt x="272" y="157"/>
                    </a:lnTo>
                    <a:lnTo>
                      <a:pt x="272" y="155"/>
                    </a:lnTo>
                    <a:lnTo>
                      <a:pt x="270" y="155"/>
                    </a:lnTo>
                    <a:lnTo>
                      <a:pt x="269" y="155"/>
                    </a:lnTo>
                    <a:lnTo>
                      <a:pt x="266" y="155"/>
                    </a:lnTo>
                    <a:lnTo>
                      <a:pt x="265" y="155"/>
                    </a:lnTo>
                    <a:lnTo>
                      <a:pt x="265" y="154"/>
                    </a:lnTo>
                    <a:lnTo>
                      <a:pt x="263" y="139"/>
                    </a:lnTo>
                    <a:lnTo>
                      <a:pt x="262" y="138"/>
                    </a:lnTo>
                    <a:lnTo>
                      <a:pt x="262" y="137"/>
                    </a:lnTo>
                    <a:lnTo>
                      <a:pt x="260" y="137"/>
                    </a:lnTo>
                    <a:lnTo>
                      <a:pt x="260" y="135"/>
                    </a:lnTo>
                    <a:lnTo>
                      <a:pt x="260" y="134"/>
                    </a:lnTo>
                    <a:lnTo>
                      <a:pt x="260" y="134"/>
                    </a:lnTo>
                    <a:lnTo>
                      <a:pt x="260" y="131"/>
                    </a:lnTo>
                    <a:lnTo>
                      <a:pt x="262" y="129"/>
                    </a:lnTo>
                    <a:lnTo>
                      <a:pt x="260" y="128"/>
                    </a:lnTo>
                    <a:lnTo>
                      <a:pt x="260" y="125"/>
                    </a:lnTo>
                    <a:lnTo>
                      <a:pt x="259" y="124"/>
                    </a:lnTo>
                    <a:lnTo>
                      <a:pt x="258" y="122"/>
                    </a:lnTo>
                    <a:lnTo>
                      <a:pt x="255" y="121"/>
                    </a:lnTo>
                    <a:lnTo>
                      <a:pt x="250" y="119"/>
                    </a:lnTo>
                    <a:lnTo>
                      <a:pt x="247" y="118"/>
                    </a:lnTo>
                    <a:lnTo>
                      <a:pt x="250" y="115"/>
                    </a:lnTo>
                    <a:lnTo>
                      <a:pt x="247" y="112"/>
                    </a:lnTo>
                    <a:lnTo>
                      <a:pt x="245" y="109"/>
                    </a:lnTo>
                    <a:lnTo>
                      <a:pt x="246" y="106"/>
                    </a:lnTo>
                    <a:lnTo>
                      <a:pt x="247" y="104"/>
                    </a:lnTo>
                    <a:lnTo>
                      <a:pt x="245" y="99"/>
                    </a:lnTo>
                    <a:lnTo>
                      <a:pt x="243" y="96"/>
                    </a:lnTo>
                    <a:lnTo>
                      <a:pt x="242" y="93"/>
                    </a:lnTo>
                    <a:lnTo>
                      <a:pt x="242" y="91"/>
                    </a:lnTo>
                    <a:lnTo>
                      <a:pt x="242" y="86"/>
                    </a:lnTo>
                    <a:lnTo>
                      <a:pt x="243" y="83"/>
                    </a:lnTo>
                    <a:close/>
                    <a:moveTo>
                      <a:pt x="183" y="131"/>
                    </a:moveTo>
                    <a:lnTo>
                      <a:pt x="181" y="131"/>
                    </a:lnTo>
                    <a:lnTo>
                      <a:pt x="180" y="134"/>
                    </a:lnTo>
                    <a:lnTo>
                      <a:pt x="179" y="134"/>
                    </a:lnTo>
                    <a:lnTo>
                      <a:pt x="179" y="135"/>
                    </a:lnTo>
                    <a:lnTo>
                      <a:pt x="179" y="137"/>
                    </a:lnTo>
                    <a:lnTo>
                      <a:pt x="177" y="137"/>
                    </a:lnTo>
                    <a:lnTo>
                      <a:pt x="177" y="138"/>
                    </a:lnTo>
                    <a:lnTo>
                      <a:pt x="176" y="138"/>
                    </a:lnTo>
                    <a:lnTo>
                      <a:pt x="176" y="139"/>
                    </a:lnTo>
                    <a:lnTo>
                      <a:pt x="177" y="139"/>
                    </a:lnTo>
                    <a:lnTo>
                      <a:pt x="181" y="141"/>
                    </a:lnTo>
                    <a:lnTo>
                      <a:pt x="184" y="141"/>
                    </a:lnTo>
                    <a:lnTo>
                      <a:pt x="186" y="142"/>
                    </a:lnTo>
                    <a:lnTo>
                      <a:pt x="187" y="144"/>
                    </a:lnTo>
                    <a:lnTo>
                      <a:pt x="189" y="147"/>
                    </a:lnTo>
                    <a:lnTo>
                      <a:pt x="189" y="148"/>
                    </a:lnTo>
                    <a:lnTo>
                      <a:pt x="190" y="150"/>
                    </a:lnTo>
                    <a:lnTo>
                      <a:pt x="189" y="151"/>
                    </a:lnTo>
                    <a:lnTo>
                      <a:pt x="190" y="152"/>
                    </a:lnTo>
                    <a:lnTo>
                      <a:pt x="190" y="154"/>
                    </a:lnTo>
                    <a:lnTo>
                      <a:pt x="191" y="154"/>
                    </a:lnTo>
                    <a:lnTo>
                      <a:pt x="196" y="155"/>
                    </a:lnTo>
                    <a:lnTo>
                      <a:pt x="199" y="157"/>
                    </a:lnTo>
                    <a:lnTo>
                      <a:pt x="200" y="157"/>
                    </a:lnTo>
                    <a:lnTo>
                      <a:pt x="202" y="158"/>
                    </a:lnTo>
                    <a:lnTo>
                      <a:pt x="202" y="155"/>
                    </a:lnTo>
                    <a:lnTo>
                      <a:pt x="202" y="152"/>
                    </a:lnTo>
                    <a:lnTo>
                      <a:pt x="203" y="151"/>
                    </a:lnTo>
                    <a:lnTo>
                      <a:pt x="204" y="150"/>
                    </a:lnTo>
                    <a:lnTo>
                      <a:pt x="200" y="148"/>
                    </a:lnTo>
                    <a:lnTo>
                      <a:pt x="199" y="147"/>
                    </a:lnTo>
                    <a:lnTo>
                      <a:pt x="196" y="145"/>
                    </a:lnTo>
                    <a:lnTo>
                      <a:pt x="194" y="144"/>
                    </a:lnTo>
                    <a:lnTo>
                      <a:pt x="194" y="141"/>
                    </a:lnTo>
                    <a:lnTo>
                      <a:pt x="194" y="138"/>
                    </a:lnTo>
                    <a:lnTo>
                      <a:pt x="193" y="137"/>
                    </a:lnTo>
                    <a:lnTo>
                      <a:pt x="191" y="134"/>
                    </a:lnTo>
                    <a:lnTo>
                      <a:pt x="190" y="131"/>
                    </a:lnTo>
                    <a:lnTo>
                      <a:pt x="190" y="131"/>
                    </a:lnTo>
                    <a:lnTo>
                      <a:pt x="187" y="129"/>
                    </a:lnTo>
                    <a:lnTo>
                      <a:pt x="186" y="131"/>
                    </a:lnTo>
                    <a:lnTo>
                      <a:pt x="186" y="134"/>
                    </a:lnTo>
                    <a:lnTo>
                      <a:pt x="184" y="132"/>
                    </a:lnTo>
                    <a:lnTo>
                      <a:pt x="183" y="131"/>
                    </a:lnTo>
                    <a:close/>
                    <a:moveTo>
                      <a:pt x="125" y="197"/>
                    </a:moveTo>
                    <a:lnTo>
                      <a:pt x="123" y="197"/>
                    </a:lnTo>
                    <a:lnTo>
                      <a:pt x="123" y="197"/>
                    </a:lnTo>
                    <a:lnTo>
                      <a:pt x="123" y="198"/>
                    </a:lnTo>
                    <a:lnTo>
                      <a:pt x="125" y="200"/>
                    </a:lnTo>
                    <a:lnTo>
                      <a:pt x="127" y="200"/>
                    </a:lnTo>
                    <a:lnTo>
                      <a:pt x="127" y="198"/>
                    </a:lnTo>
                    <a:lnTo>
                      <a:pt x="127" y="198"/>
                    </a:lnTo>
                    <a:lnTo>
                      <a:pt x="125" y="197"/>
                    </a:lnTo>
                    <a:close/>
                    <a:moveTo>
                      <a:pt x="176" y="204"/>
                    </a:moveTo>
                    <a:lnTo>
                      <a:pt x="179" y="201"/>
                    </a:lnTo>
                    <a:lnTo>
                      <a:pt x="179" y="201"/>
                    </a:lnTo>
                    <a:lnTo>
                      <a:pt x="180" y="201"/>
                    </a:lnTo>
                    <a:lnTo>
                      <a:pt x="181" y="203"/>
                    </a:lnTo>
                    <a:lnTo>
                      <a:pt x="181" y="204"/>
                    </a:lnTo>
                    <a:lnTo>
                      <a:pt x="183" y="204"/>
                    </a:lnTo>
                    <a:lnTo>
                      <a:pt x="184" y="206"/>
                    </a:lnTo>
                    <a:lnTo>
                      <a:pt x="186" y="206"/>
                    </a:lnTo>
                    <a:lnTo>
                      <a:pt x="186" y="206"/>
                    </a:lnTo>
                    <a:lnTo>
                      <a:pt x="187" y="204"/>
                    </a:lnTo>
                    <a:lnTo>
                      <a:pt x="189" y="201"/>
                    </a:lnTo>
                    <a:lnTo>
                      <a:pt x="189" y="197"/>
                    </a:lnTo>
                    <a:lnTo>
                      <a:pt x="187" y="178"/>
                    </a:lnTo>
                    <a:lnTo>
                      <a:pt x="187" y="177"/>
                    </a:lnTo>
                    <a:lnTo>
                      <a:pt x="189" y="173"/>
                    </a:lnTo>
                    <a:lnTo>
                      <a:pt x="189" y="171"/>
                    </a:lnTo>
                    <a:lnTo>
                      <a:pt x="189" y="170"/>
                    </a:lnTo>
                    <a:lnTo>
                      <a:pt x="189" y="168"/>
                    </a:lnTo>
                    <a:lnTo>
                      <a:pt x="189" y="168"/>
                    </a:lnTo>
                    <a:lnTo>
                      <a:pt x="187" y="167"/>
                    </a:lnTo>
                    <a:lnTo>
                      <a:pt x="189" y="165"/>
                    </a:lnTo>
                    <a:lnTo>
                      <a:pt x="189" y="164"/>
                    </a:lnTo>
                    <a:lnTo>
                      <a:pt x="189" y="164"/>
                    </a:lnTo>
                    <a:lnTo>
                      <a:pt x="190" y="162"/>
                    </a:lnTo>
                    <a:lnTo>
                      <a:pt x="191" y="160"/>
                    </a:lnTo>
                    <a:lnTo>
                      <a:pt x="191" y="158"/>
                    </a:lnTo>
                    <a:lnTo>
                      <a:pt x="190" y="157"/>
                    </a:lnTo>
                    <a:lnTo>
                      <a:pt x="186" y="151"/>
                    </a:lnTo>
                    <a:lnTo>
                      <a:pt x="181" y="147"/>
                    </a:lnTo>
                    <a:lnTo>
                      <a:pt x="177" y="145"/>
                    </a:lnTo>
                    <a:lnTo>
                      <a:pt x="171" y="145"/>
                    </a:lnTo>
                    <a:lnTo>
                      <a:pt x="170" y="147"/>
                    </a:lnTo>
                    <a:lnTo>
                      <a:pt x="169" y="148"/>
                    </a:lnTo>
                    <a:lnTo>
                      <a:pt x="167" y="150"/>
                    </a:lnTo>
                    <a:lnTo>
                      <a:pt x="167" y="150"/>
                    </a:lnTo>
                    <a:lnTo>
                      <a:pt x="166" y="147"/>
                    </a:lnTo>
                    <a:lnTo>
                      <a:pt x="169" y="145"/>
                    </a:lnTo>
                    <a:lnTo>
                      <a:pt x="170" y="144"/>
                    </a:lnTo>
                    <a:lnTo>
                      <a:pt x="170" y="141"/>
                    </a:lnTo>
                    <a:lnTo>
                      <a:pt x="170" y="139"/>
                    </a:lnTo>
                    <a:lnTo>
                      <a:pt x="169" y="139"/>
                    </a:lnTo>
                    <a:lnTo>
                      <a:pt x="169" y="139"/>
                    </a:lnTo>
                    <a:lnTo>
                      <a:pt x="167" y="138"/>
                    </a:lnTo>
                    <a:lnTo>
                      <a:pt x="166" y="138"/>
                    </a:lnTo>
                    <a:lnTo>
                      <a:pt x="166" y="137"/>
                    </a:lnTo>
                    <a:lnTo>
                      <a:pt x="164" y="135"/>
                    </a:lnTo>
                    <a:lnTo>
                      <a:pt x="164" y="135"/>
                    </a:lnTo>
                    <a:lnTo>
                      <a:pt x="164" y="132"/>
                    </a:lnTo>
                    <a:lnTo>
                      <a:pt x="164" y="128"/>
                    </a:lnTo>
                    <a:lnTo>
                      <a:pt x="163" y="125"/>
                    </a:lnTo>
                    <a:lnTo>
                      <a:pt x="161" y="122"/>
                    </a:lnTo>
                    <a:lnTo>
                      <a:pt x="160" y="122"/>
                    </a:lnTo>
                    <a:lnTo>
                      <a:pt x="156" y="121"/>
                    </a:lnTo>
                    <a:lnTo>
                      <a:pt x="154" y="121"/>
                    </a:lnTo>
                    <a:lnTo>
                      <a:pt x="151" y="119"/>
                    </a:lnTo>
                    <a:lnTo>
                      <a:pt x="148" y="118"/>
                    </a:lnTo>
                    <a:lnTo>
                      <a:pt x="147" y="116"/>
                    </a:lnTo>
                    <a:lnTo>
                      <a:pt x="146" y="114"/>
                    </a:lnTo>
                    <a:lnTo>
                      <a:pt x="146" y="114"/>
                    </a:lnTo>
                    <a:lnTo>
                      <a:pt x="146" y="112"/>
                    </a:lnTo>
                    <a:lnTo>
                      <a:pt x="146" y="112"/>
                    </a:lnTo>
                    <a:lnTo>
                      <a:pt x="146" y="112"/>
                    </a:lnTo>
                    <a:lnTo>
                      <a:pt x="146" y="112"/>
                    </a:lnTo>
                    <a:lnTo>
                      <a:pt x="146" y="111"/>
                    </a:lnTo>
                    <a:lnTo>
                      <a:pt x="146" y="111"/>
                    </a:lnTo>
                    <a:lnTo>
                      <a:pt x="146" y="109"/>
                    </a:lnTo>
                    <a:lnTo>
                      <a:pt x="146" y="108"/>
                    </a:lnTo>
                    <a:lnTo>
                      <a:pt x="146" y="106"/>
                    </a:lnTo>
                    <a:lnTo>
                      <a:pt x="147" y="105"/>
                    </a:lnTo>
                    <a:lnTo>
                      <a:pt x="150" y="104"/>
                    </a:lnTo>
                    <a:lnTo>
                      <a:pt x="151" y="104"/>
                    </a:lnTo>
                    <a:lnTo>
                      <a:pt x="150" y="101"/>
                    </a:lnTo>
                    <a:lnTo>
                      <a:pt x="147" y="95"/>
                    </a:lnTo>
                    <a:lnTo>
                      <a:pt x="143" y="95"/>
                    </a:lnTo>
                    <a:lnTo>
                      <a:pt x="135" y="99"/>
                    </a:lnTo>
                    <a:lnTo>
                      <a:pt x="130" y="99"/>
                    </a:lnTo>
                    <a:lnTo>
                      <a:pt x="137" y="96"/>
                    </a:lnTo>
                    <a:lnTo>
                      <a:pt x="138" y="95"/>
                    </a:lnTo>
                    <a:lnTo>
                      <a:pt x="138" y="92"/>
                    </a:lnTo>
                    <a:lnTo>
                      <a:pt x="135" y="92"/>
                    </a:lnTo>
                    <a:lnTo>
                      <a:pt x="131" y="91"/>
                    </a:lnTo>
                    <a:lnTo>
                      <a:pt x="127" y="88"/>
                    </a:lnTo>
                    <a:lnTo>
                      <a:pt x="125" y="85"/>
                    </a:lnTo>
                    <a:lnTo>
                      <a:pt x="123" y="82"/>
                    </a:lnTo>
                    <a:lnTo>
                      <a:pt x="121" y="78"/>
                    </a:lnTo>
                    <a:lnTo>
                      <a:pt x="118" y="76"/>
                    </a:lnTo>
                    <a:lnTo>
                      <a:pt x="117" y="76"/>
                    </a:lnTo>
                    <a:lnTo>
                      <a:pt x="112" y="75"/>
                    </a:lnTo>
                    <a:lnTo>
                      <a:pt x="111" y="73"/>
                    </a:lnTo>
                    <a:lnTo>
                      <a:pt x="110" y="72"/>
                    </a:lnTo>
                    <a:lnTo>
                      <a:pt x="108" y="70"/>
                    </a:lnTo>
                    <a:lnTo>
                      <a:pt x="108" y="68"/>
                    </a:lnTo>
                    <a:lnTo>
                      <a:pt x="107" y="66"/>
                    </a:lnTo>
                    <a:lnTo>
                      <a:pt x="104" y="65"/>
                    </a:lnTo>
                    <a:lnTo>
                      <a:pt x="102" y="63"/>
                    </a:lnTo>
                    <a:lnTo>
                      <a:pt x="101" y="63"/>
                    </a:lnTo>
                    <a:lnTo>
                      <a:pt x="100" y="65"/>
                    </a:lnTo>
                    <a:lnTo>
                      <a:pt x="100" y="66"/>
                    </a:lnTo>
                    <a:lnTo>
                      <a:pt x="101" y="69"/>
                    </a:lnTo>
                    <a:lnTo>
                      <a:pt x="95" y="66"/>
                    </a:lnTo>
                    <a:lnTo>
                      <a:pt x="91" y="60"/>
                    </a:lnTo>
                    <a:lnTo>
                      <a:pt x="84" y="50"/>
                    </a:lnTo>
                    <a:lnTo>
                      <a:pt x="81" y="48"/>
                    </a:lnTo>
                    <a:lnTo>
                      <a:pt x="78" y="46"/>
                    </a:lnTo>
                    <a:lnTo>
                      <a:pt x="71" y="42"/>
                    </a:lnTo>
                    <a:lnTo>
                      <a:pt x="69" y="40"/>
                    </a:lnTo>
                    <a:lnTo>
                      <a:pt x="67" y="39"/>
                    </a:lnTo>
                    <a:lnTo>
                      <a:pt x="65" y="39"/>
                    </a:lnTo>
                    <a:lnTo>
                      <a:pt x="64" y="37"/>
                    </a:lnTo>
                    <a:lnTo>
                      <a:pt x="62" y="36"/>
                    </a:lnTo>
                    <a:lnTo>
                      <a:pt x="61" y="35"/>
                    </a:lnTo>
                    <a:lnTo>
                      <a:pt x="59" y="33"/>
                    </a:lnTo>
                    <a:lnTo>
                      <a:pt x="56" y="33"/>
                    </a:lnTo>
                    <a:lnTo>
                      <a:pt x="55" y="32"/>
                    </a:lnTo>
                    <a:lnTo>
                      <a:pt x="55" y="30"/>
                    </a:lnTo>
                    <a:lnTo>
                      <a:pt x="55" y="29"/>
                    </a:lnTo>
                    <a:lnTo>
                      <a:pt x="55" y="27"/>
                    </a:lnTo>
                    <a:lnTo>
                      <a:pt x="54" y="26"/>
                    </a:lnTo>
                    <a:lnTo>
                      <a:pt x="54" y="25"/>
                    </a:lnTo>
                    <a:lnTo>
                      <a:pt x="51" y="23"/>
                    </a:lnTo>
                    <a:lnTo>
                      <a:pt x="49" y="22"/>
                    </a:lnTo>
                    <a:lnTo>
                      <a:pt x="48" y="17"/>
                    </a:lnTo>
                    <a:lnTo>
                      <a:pt x="46" y="16"/>
                    </a:lnTo>
                    <a:lnTo>
                      <a:pt x="44" y="14"/>
                    </a:lnTo>
                    <a:lnTo>
                      <a:pt x="42" y="13"/>
                    </a:lnTo>
                    <a:lnTo>
                      <a:pt x="41" y="12"/>
                    </a:lnTo>
                    <a:lnTo>
                      <a:pt x="22" y="12"/>
                    </a:lnTo>
                    <a:lnTo>
                      <a:pt x="18" y="10"/>
                    </a:lnTo>
                    <a:lnTo>
                      <a:pt x="11" y="6"/>
                    </a:lnTo>
                    <a:lnTo>
                      <a:pt x="8" y="4"/>
                    </a:lnTo>
                    <a:lnTo>
                      <a:pt x="3" y="4"/>
                    </a:lnTo>
                    <a:lnTo>
                      <a:pt x="2" y="6"/>
                    </a:lnTo>
                    <a:lnTo>
                      <a:pt x="2" y="7"/>
                    </a:lnTo>
                    <a:lnTo>
                      <a:pt x="0" y="10"/>
                    </a:lnTo>
                    <a:lnTo>
                      <a:pt x="5" y="17"/>
                    </a:lnTo>
                    <a:lnTo>
                      <a:pt x="9" y="22"/>
                    </a:lnTo>
                    <a:lnTo>
                      <a:pt x="19" y="33"/>
                    </a:lnTo>
                    <a:lnTo>
                      <a:pt x="22" y="36"/>
                    </a:lnTo>
                    <a:lnTo>
                      <a:pt x="23" y="37"/>
                    </a:lnTo>
                    <a:lnTo>
                      <a:pt x="25" y="37"/>
                    </a:lnTo>
                    <a:lnTo>
                      <a:pt x="28" y="37"/>
                    </a:lnTo>
                    <a:lnTo>
                      <a:pt x="29" y="39"/>
                    </a:lnTo>
                    <a:lnTo>
                      <a:pt x="32" y="40"/>
                    </a:lnTo>
                    <a:lnTo>
                      <a:pt x="38" y="49"/>
                    </a:lnTo>
                    <a:lnTo>
                      <a:pt x="39" y="50"/>
                    </a:lnTo>
                    <a:lnTo>
                      <a:pt x="41" y="52"/>
                    </a:lnTo>
                    <a:lnTo>
                      <a:pt x="42" y="53"/>
                    </a:lnTo>
                    <a:lnTo>
                      <a:pt x="44" y="55"/>
                    </a:lnTo>
                    <a:lnTo>
                      <a:pt x="44" y="56"/>
                    </a:lnTo>
                    <a:lnTo>
                      <a:pt x="44" y="58"/>
                    </a:lnTo>
                    <a:lnTo>
                      <a:pt x="44" y="59"/>
                    </a:lnTo>
                    <a:lnTo>
                      <a:pt x="45" y="62"/>
                    </a:lnTo>
                    <a:lnTo>
                      <a:pt x="48" y="63"/>
                    </a:lnTo>
                    <a:lnTo>
                      <a:pt x="54" y="66"/>
                    </a:lnTo>
                    <a:lnTo>
                      <a:pt x="59" y="70"/>
                    </a:lnTo>
                    <a:lnTo>
                      <a:pt x="64" y="76"/>
                    </a:lnTo>
                    <a:lnTo>
                      <a:pt x="65" y="82"/>
                    </a:lnTo>
                    <a:lnTo>
                      <a:pt x="69" y="93"/>
                    </a:lnTo>
                    <a:lnTo>
                      <a:pt x="69" y="96"/>
                    </a:lnTo>
                    <a:lnTo>
                      <a:pt x="72" y="99"/>
                    </a:lnTo>
                    <a:lnTo>
                      <a:pt x="78" y="102"/>
                    </a:lnTo>
                    <a:lnTo>
                      <a:pt x="79" y="105"/>
                    </a:lnTo>
                    <a:lnTo>
                      <a:pt x="84" y="111"/>
                    </a:lnTo>
                    <a:lnTo>
                      <a:pt x="90" y="118"/>
                    </a:lnTo>
                    <a:lnTo>
                      <a:pt x="98" y="137"/>
                    </a:lnTo>
                    <a:lnTo>
                      <a:pt x="101" y="142"/>
                    </a:lnTo>
                    <a:lnTo>
                      <a:pt x="102" y="145"/>
                    </a:lnTo>
                    <a:lnTo>
                      <a:pt x="104" y="148"/>
                    </a:lnTo>
                    <a:lnTo>
                      <a:pt x="108" y="154"/>
                    </a:lnTo>
                    <a:lnTo>
                      <a:pt x="112" y="160"/>
                    </a:lnTo>
                    <a:lnTo>
                      <a:pt x="115" y="161"/>
                    </a:lnTo>
                    <a:lnTo>
                      <a:pt x="121" y="167"/>
                    </a:lnTo>
                    <a:lnTo>
                      <a:pt x="124" y="168"/>
                    </a:lnTo>
                    <a:lnTo>
                      <a:pt x="127" y="174"/>
                    </a:lnTo>
                    <a:lnTo>
                      <a:pt x="130" y="177"/>
                    </a:lnTo>
                    <a:lnTo>
                      <a:pt x="135" y="181"/>
                    </a:lnTo>
                    <a:lnTo>
                      <a:pt x="147" y="188"/>
                    </a:lnTo>
                    <a:lnTo>
                      <a:pt x="153" y="194"/>
                    </a:lnTo>
                    <a:lnTo>
                      <a:pt x="163" y="206"/>
                    </a:lnTo>
                    <a:lnTo>
                      <a:pt x="166" y="207"/>
                    </a:lnTo>
                    <a:lnTo>
                      <a:pt x="167" y="207"/>
                    </a:lnTo>
                    <a:lnTo>
                      <a:pt x="166" y="204"/>
                    </a:lnTo>
                    <a:lnTo>
                      <a:pt x="167" y="201"/>
                    </a:lnTo>
                    <a:lnTo>
                      <a:pt x="171" y="204"/>
                    </a:lnTo>
                    <a:lnTo>
                      <a:pt x="173" y="204"/>
                    </a:lnTo>
                    <a:lnTo>
                      <a:pt x="176" y="204"/>
                    </a:lnTo>
                    <a:lnTo>
                      <a:pt x="176" y="204"/>
                    </a:lnTo>
                    <a:close/>
                    <a:moveTo>
                      <a:pt x="204" y="157"/>
                    </a:moveTo>
                    <a:lnTo>
                      <a:pt x="204" y="157"/>
                    </a:lnTo>
                    <a:lnTo>
                      <a:pt x="206" y="157"/>
                    </a:lnTo>
                    <a:lnTo>
                      <a:pt x="206" y="155"/>
                    </a:lnTo>
                    <a:lnTo>
                      <a:pt x="206" y="155"/>
                    </a:lnTo>
                    <a:lnTo>
                      <a:pt x="204" y="155"/>
                    </a:lnTo>
                    <a:lnTo>
                      <a:pt x="204" y="155"/>
                    </a:lnTo>
                    <a:lnTo>
                      <a:pt x="203" y="155"/>
                    </a:lnTo>
                    <a:lnTo>
                      <a:pt x="204" y="157"/>
                    </a:lnTo>
                    <a:close/>
                    <a:moveTo>
                      <a:pt x="223" y="148"/>
                    </a:moveTo>
                    <a:lnTo>
                      <a:pt x="220" y="150"/>
                    </a:lnTo>
                    <a:lnTo>
                      <a:pt x="219" y="151"/>
                    </a:lnTo>
                    <a:lnTo>
                      <a:pt x="217" y="155"/>
                    </a:lnTo>
                    <a:lnTo>
                      <a:pt x="219" y="157"/>
                    </a:lnTo>
                    <a:lnTo>
                      <a:pt x="219" y="158"/>
                    </a:lnTo>
                    <a:lnTo>
                      <a:pt x="219" y="158"/>
                    </a:lnTo>
                    <a:lnTo>
                      <a:pt x="219" y="160"/>
                    </a:lnTo>
                    <a:lnTo>
                      <a:pt x="220" y="160"/>
                    </a:lnTo>
                    <a:lnTo>
                      <a:pt x="222" y="160"/>
                    </a:lnTo>
                    <a:lnTo>
                      <a:pt x="223" y="158"/>
                    </a:lnTo>
                    <a:lnTo>
                      <a:pt x="225" y="160"/>
                    </a:lnTo>
                    <a:lnTo>
                      <a:pt x="225" y="160"/>
                    </a:lnTo>
                    <a:lnTo>
                      <a:pt x="227" y="160"/>
                    </a:lnTo>
                    <a:lnTo>
                      <a:pt x="229" y="158"/>
                    </a:lnTo>
                    <a:lnTo>
                      <a:pt x="229" y="157"/>
                    </a:lnTo>
                    <a:lnTo>
                      <a:pt x="230" y="155"/>
                    </a:lnTo>
                    <a:lnTo>
                      <a:pt x="230" y="152"/>
                    </a:lnTo>
                    <a:lnTo>
                      <a:pt x="229" y="151"/>
                    </a:lnTo>
                    <a:lnTo>
                      <a:pt x="226" y="150"/>
                    </a:lnTo>
                    <a:lnTo>
                      <a:pt x="223" y="148"/>
                    </a:lnTo>
                    <a:close/>
                    <a:moveTo>
                      <a:pt x="216" y="155"/>
                    </a:moveTo>
                    <a:lnTo>
                      <a:pt x="217" y="154"/>
                    </a:lnTo>
                    <a:lnTo>
                      <a:pt x="216" y="154"/>
                    </a:lnTo>
                    <a:lnTo>
                      <a:pt x="216" y="154"/>
                    </a:lnTo>
                    <a:lnTo>
                      <a:pt x="214" y="154"/>
                    </a:lnTo>
                    <a:lnTo>
                      <a:pt x="216" y="155"/>
                    </a:lnTo>
                    <a:lnTo>
                      <a:pt x="216" y="155"/>
                    </a:lnTo>
                    <a:close/>
                    <a:moveTo>
                      <a:pt x="177" y="219"/>
                    </a:moveTo>
                    <a:lnTo>
                      <a:pt x="174" y="220"/>
                    </a:lnTo>
                    <a:lnTo>
                      <a:pt x="177" y="221"/>
                    </a:lnTo>
                    <a:lnTo>
                      <a:pt x="177" y="220"/>
                    </a:lnTo>
                    <a:lnTo>
                      <a:pt x="177" y="219"/>
                    </a:lnTo>
                    <a:close/>
                    <a:moveTo>
                      <a:pt x="318" y="250"/>
                    </a:moveTo>
                    <a:lnTo>
                      <a:pt x="322" y="252"/>
                    </a:lnTo>
                    <a:lnTo>
                      <a:pt x="329" y="254"/>
                    </a:lnTo>
                    <a:lnTo>
                      <a:pt x="338" y="257"/>
                    </a:lnTo>
                    <a:lnTo>
                      <a:pt x="339" y="259"/>
                    </a:lnTo>
                    <a:lnTo>
                      <a:pt x="341" y="259"/>
                    </a:lnTo>
                    <a:lnTo>
                      <a:pt x="341" y="257"/>
                    </a:lnTo>
                    <a:lnTo>
                      <a:pt x="341" y="256"/>
                    </a:lnTo>
                    <a:lnTo>
                      <a:pt x="338" y="253"/>
                    </a:lnTo>
                    <a:lnTo>
                      <a:pt x="338" y="252"/>
                    </a:lnTo>
                    <a:lnTo>
                      <a:pt x="338" y="249"/>
                    </a:lnTo>
                    <a:lnTo>
                      <a:pt x="339" y="244"/>
                    </a:lnTo>
                    <a:lnTo>
                      <a:pt x="339" y="243"/>
                    </a:lnTo>
                    <a:lnTo>
                      <a:pt x="337" y="240"/>
                    </a:lnTo>
                    <a:lnTo>
                      <a:pt x="334" y="239"/>
                    </a:lnTo>
                    <a:lnTo>
                      <a:pt x="329" y="239"/>
                    </a:lnTo>
                    <a:lnTo>
                      <a:pt x="324" y="240"/>
                    </a:lnTo>
                    <a:lnTo>
                      <a:pt x="321" y="240"/>
                    </a:lnTo>
                    <a:lnTo>
                      <a:pt x="318" y="240"/>
                    </a:lnTo>
                    <a:lnTo>
                      <a:pt x="315" y="239"/>
                    </a:lnTo>
                    <a:lnTo>
                      <a:pt x="314" y="239"/>
                    </a:lnTo>
                    <a:lnTo>
                      <a:pt x="312" y="239"/>
                    </a:lnTo>
                    <a:lnTo>
                      <a:pt x="312" y="237"/>
                    </a:lnTo>
                    <a:lnTo>
                      <a:pt x="311" y="237"/>
                    </a:lnTo>
                    <a:lnTo>
                      <a:pt x="311" y="236"/>
                    </a:lnTo>
                    <a:lnTo>
                      <a:pt x="311" y="234"/>
                    </a:lnTo>
                    <a:lnTo>
                      <a:pt x="309" y="234"/>
                    </a:lnTo>
                    <a:lnTo>
                      <a:pt x="306" y="229"/>
                    </a:lnTo>
                    <a:lnTo>
                      <a:pt x="306" y="229"/>
                    </a:lnTo>
                    <a:lnTo>
                      <a:pt x="306" y="227"/>
                    </a:lnTo>
                    <a:lnTo>
                      <a:pt x="305" y="226"/>
                    </a:lnTo>
                    <a:lnTo>
                      <a:pt x="305" y="226"/>
                    </a:lnTo>
                    <a:lnTo>
                      <a:pt x="301" y="226"/>
                    </a:lnTo>
                    <a:lnTo>
                      <a:pt x="298" y="224"/>
                    </a:lnTo>
                    <a:lnTo>
                      <a:pt x="291" y="221"/>
                    </a:lnTo>
                    <a:lnTo>
                      <a:pt x="288" y="221"/>
                    </a:lnTo>
                    <a:lnTo>
                      <a:pt x="286" y="221"/>
                    </a:lnTo>
                    <a:lnTo>
                      <a:pt x="285" y="221"/>
                    </a:lnTo>
                    <a:lnTo>
                      <a:pt x="283" y="221"/>
                    </a:lnTo>
                    <a:lnTo>
                      <a:pt x="282" y="221"/>
                    </a:lnTo>
                    <a:lnTo>
                      <a:pt x="281" y="220"/>
                    </a:lnTo>
                    <a:lnTo>
                      <a:pt x="279" y="219"/>
                    </a:lnTo>
                    <a:lnTo>
                      <a:pt x="278" y="217"/>
                    </a:lnTo>
                    <a:lnTo>
                      <a:pt x="276" y="217"/>
                    </a:lnTo>
                    <a:lnTo>
                      <a:pt x="273" y="219"/>
                    </a:lnTo>
                    <a:lnTo>
                      <a:pt x="272" y="221"/>
                    </a:lnTo>
                    <a:lnTo>
                      <a:pt x="270" y="224"/>
                    </a:lnTo>
                    <a:lnTo>
                      <a:pt x="269" y="226"/>
                    </a:lnTo>
                    <a:lnTo>
                      <a:pt x="268" y="226"/>
                    </a:lnTo>
                    <a:lnTo>
                      <a:pt x="253" y="224"/>
                    </a:lnTo>
                    <a:lnTo>
                      <a:pt x="240" y="224"/>
                    </a:lnTo>
                    <a:lnTo>
                      <a:pt x="239" y="223"/>
                    </a:lnTo>
                    <a:lnTo>
                      <a:pt x="237" y="221"/>
                    </a:lnTo>
                    <a:lnTo>
                      <a:pt x="233" y="217"/>
                    </a:lnTo>
                    <a:lnTo>
                      <a:pt x="232" y="216"/>
                    </a:lnTo>
                    <a:lnTo>
                      <a:pt x="229" y="214"/>
                    </a:lnTo>
                    <a:lnTo>
                      <a:pt x="223" y="214"/>
                    </a:lnTo>
                    <a:lnTo>
                      <a:pt x="220" y="213"/>
                    </a:lnTo>
                    <a:lnTo>
                      <a:pt x="219" y="213"/>
                    </a:lnTo>
                    <a:lnTo>
                      <a:pt x="216" y="211"/>
                    </a:lnTo>
                    <a:lnTo>
                      <a:pt x="216" y="211"/>
                    </a:lnTo>
                    <a:lnTo>
                      <a:pt x="214" y="210"/>
                    </a:lnTo>
                    <a:lnTo>
                      <a:pt x="214" y="208"/>
                    </a:lnTo>
                    <a:lnTo>
                      <a:pt x="213" y="208"/>
                    </a:lnTo>
                    <a:lnTo>
                      <a:pt x="210" y="208"/>
                    </a:lnTo>
                    <a:lnTo>
                      <a:pt x="209" y="207"/>
                    </a:lnTo>
                    <a:lnTo>
                      <a:pt x="206" y="210"/>
                    </a:lnTo>
                    <a:lnTo>
                      <a:pt x="202" y="211"/>
                    </a:lnTo>
                    <a:lnTo>
                      <a:pt x="193" y="208"/>
                    </a:lnTo>
                    <a:lnTo>
                      <a:pt x="191" y="208"/>
                    </a:lnTo>
                    <a:lnTo>
                      <a:pt x="190" y="210"/>
                    </a:lnTo>
                    <a:lnTo>
                      <a:pt x="189" y="210"/>
                    </a:lnTo>
                    <a:lnTo>
                      <a:pt x="187" y="213"/>
                    </a:lnTo>
                    <a:lnTo>
                      <a:pt x="187" y="217"/>
                    </a:lnTo>
                    <a:lnTo>
                      <a:pt x="186" y="217"/>
                    </a:lnTo>
                    <a:lnTo>
                      <a:pt x="184" y="217"/>
                    </a:lnTo>
                    <a:lnTo>
                      <a:pt x="183" y="220"/>
                    </a:lnTo>
                    <a:lnTo>
                      <a:pt x="181" y="223"/>
                    </a:lnTo>
                    <a:lnTo>
                      <a:pt x="180" y="223"/>
                    </a:lnTo>
                    <a:lnTo>
                      <a:pt x="180" y="221"/>
                    </a:lnTo>
                    <a:lnTo>
                      <a:pt x="179" y="221"/>
                    </a:lnTo>
                    <a:lnTo>
                      <a:pt x="179" y="221"/>
                    </a:lnTo>
                    <a:lnTo>
                      <a:pt x="177" y="223"/>
                    </a:lnTo>
                    <a:lnTo>
                      <a:pt x="177" y="223"/>
                    </a:lnTo>
                    <a:lnTo>
                      <a:pt x="179" y="224"/>
                    </a:lnTo>
                    <a:lnTo>
                      <a:pt x="181" y="224"/>
                    </a:lnTo>
                    <a:lnTo>
                      <a:pt x="186" y="224"/>
                    </a:lnTo>
                    <a:lnTo>
                      <a:pt x="190" y="224"/>
                    </a:lnTo>
                    <a:lnTo>
                      <a:pt x="193" y="226"/>
                    </a:lnTo>
                    <a:lnTo>
                      <a:pt x="200" y="229"/>
                    </a:lnTo>
                    <a:lnTo>
                      <a:pt x="199" y="231"/>
                    </a:lnTo>
                    <a:lnTo>
                      <a:pt x="200" y="234"/>
                    </a:lnTo>
                    <a:lnTo>
                      <a:pt x="203" y="234"/>
                    </a:lnTo>
                    <a:lnTo>
                      <a:pt x="207" y="234"/>
                    </a:lnTo>
                    <a:lnTo>
                      <a:pt x="212" y="236"/>
                    </a:lnTo>
                    <a:lnTo>
                      <a:pt x="226" y="240"/>
                    </a:lnTo>
                    <a:lnTo>
                      <a:pt x="229" y="242"/>
                    </a:lnTo>
                    <a:lnTo>
                      <a:pt x="232" y="242"/>
                    </a:lnTo>
                    <a:lnTo>
                      <a:pt x="233" y="242"/>
                    </a:lnTo>
                    <a:lnTo>
                      <a:pt x="236" y="240"/>
                    </a:lnTo>
                    <a:lnTo>
                      <a:pt x="239" y="239"/>
                    </a:lnTo>
                    <a:lnTo>
                      <a:pt x="240" y="239"/>
                    </a:lnTo>
                    <a:lnTo>
                      <a:pt x="245" y="239"/>
                    </a:lnTo>
                    <a:lnTo>
                      <a:pt x="255" y="240"/>
                    </a:lnTo>
                    <a:lnTo>
                      <a:pt x="258" y="242"/>
                    </a:lnTo>
                    <a:lnTo>
                      <a:pt x="272" y="247"/>
                    </a:lnTo>
                    <a:lnTo>
                      <a:pt x="276" y="249"/>
                    </a:lnTo>
                    <a:lnTo>
                      <a:pt x="305" y="252"/>
                    </a:lnTo>
                    <a:lnTo>
                      <a:pt x="309" y="252"/>
                    </a:lnTo>
                    <a:lnTo>
                      <a:pt x="312" y="250"/>
                    </a:lnTo>
                    <a:lnTo>
                      <a:pt x="318" y="250"/>
                    </a:lnTo>
                    <a:close/>
                    <a:moveTo>
                      <a:pt x="69" y="128"/>
                    </a:moveTo>
                    <a:lnTo>
                      <a:pt x="67" y="121"/>
                    </a:lnTo>
                    <a:lnTo>
                      <a:pt x="65" y="119"/>
                    </a:lnTo>
                    <a:lnTo>
                      <a:pt x="64" y="119"/>
                    </a:lnTo>
                    <a:lnTo>
                      <a:pt x="61" y="121"/>
                    </a:lnTo>
                    <a:lnTo>
                      <a:pt x="61" y="124"/>
                    </a:lnTo>
                    <a:lnTo>
                      <a:pt x="61" y="127"/>
                    </a:lnTo>
                    <a:lnTo>
                      <a:pt x="62" y="129"/>
                    </a:lnTo>
                    <a:lnTo>
                      <a:pt x="64" y="131"/>
                    </a:lnTo>
                    <a:lnTo>
                      <a:pt x="67" y="134"/>
                    </a:lnTo>
                    <a:lnTo>
                      <a:pt x="68" y="135"/>
                    </a:lnTo>
                    <a:lnTo>
                      <a:pt x="71" y="135"/>
                    </a:lnTo>
                    <a:lnTo>
                      <a:pt x="72" y="132"/>
                    </a:lnTo>
                    <a:lnTo>
                      <a:pt x="71" y="131"/>
                    </a:lnTo>
                    <a:lnTo>
                      <a:pt x="69" y="128"/>
                    </a:lnTo>
                    <a:close/>
                    <a:moveTo>
                      <a:pt x="79" y="141"/>
                    </a:moveTo>
                    <a:lnTo>
                      <a:pt x="78" y="139"/>
                    </a:lnTo>
                    <a:lnTo>
                      <a:pt x="77" y="142"/>
                    </a:lnTo>
                    <a:lnTo>
                      <a:pt x="78" y="142"/>
                    </a:lnTo>
                    <a:lnTo>
                      <a:pt x="79" y="144"/>
                    </a:lnTo>
                    <a:lnTo>
                      <a:pt x="82" y="145"/>
                    </a:lnTo>
                    <a:lnTo>
                      <a:pt x="81" y="142"/>
                    </a:lnTo>
                    <a:lnTo>
                      <a:pt x="79" y="141"/>
                    </a:lnTo>
                    <a:close/>
                    <a:moveTo>
                      <a:pt x="88" y="151"/>
                    </a:moveTo>
                    <a:lnTo>
                      <a:pt x="88" y="150"/>
                    </a:lnTo>
                    <a:lnTo>
                      <a:pt x="87" y="148"/>
                    </a:lnTo>
                    <a:lnTo>
                      <a:pt x="85" y="148"/>
                    </a:lnTo>
                    <a:lnTo>
                      <a:pt x="84" y="150"/>
                    </a:lnTo>
                    <a:lnTo>
                      <a:pt x="85" y="151"/>
                    </a:lnTo>
                    <a:lnTo>
                      <a:pt x="87" y="152"/>
                    </a:lnTo>
                    <a:lnTo>
                      <a:pt x="88" y="154"/>
                    </a:lnTo>
                    <a:lnTo>
                      <a:pt x="88" y="151"/>
                    </a:lnTo>
                    <a:close/>
                    <a:moveTo>
                      <a:pt x="94" y="157"/>
                    </a:moveTo>
                    <a:lnTo>
                      <a:pt x="92" y="155"/>
                    </a:lnTo>
                    <a:lnTo>
                      <a:pt x="91" y="154"/>
                    </a:lnTo>
                    <a:lnTo>
                      <a:pt x="88" y="152"/>
                    </a:lnTo>
                    <a:lnTo>
                      <a:pt x="88" y="155"/>
                    </a:lnTo>
                    <a:lnTo>
                      <a:pt x="90" y="157"/>
                    </a:lnTo>
                    <a:lnTo>
                      <a:pt x="90" y="158"/>
                    </a:lnTo>
                    <a:lnTo>
                      <a:pt x="92" y="161"/>
                    </a:lnTo>
                    <a:lnTo>
                      <a:pt x="92" y="162"/>
                    </a:lnTo>
                    <a:lnTo>
                      <a:pt x="92" y="161"/>
                    </a:lnTo>
                    <a:lnTo>
                      <a:pt x="92" y="160"/>
                    </a:lnTo>
                    <a:lnTo>
                      <a:pt x="92" y="158"/>
                    </a:lnTo>
                    <a:lnTo>
                      <a:pt x="94" y="157"/>
                    </a:lnTo>
                    <a:close/>
                    <a:moveTo>
                      <a:pt x="368" y="162"/>
                    </a:moveTo>
                    <a:lnTo>
                      <a:pt x="367" y="167"/>
                    </a:lnTo>
                    <a:lnTo>
                      <a:pt x="367" y="171"/>
                    </a:lnTo>
                    <a:lnTo>
                      <a:pt x="368" y="175"/>
                    </a:lnTo>
                    <a:lnTo>
                      <a:pt x="371" y="173"/>
                    </a:lnTo>
                    <a:lnTo>
                      <a:pt x="371" y="171"/>
                    </a:lnTo>
                    <a:lnTo>
                      <a:pt x="372" y="170"/>
                    </a:lnTo>
                    <a:lnTo>
                      <a:pt x="371" y="165"/>
                    </a:lnTo>
                    <a:lnTo>
                      <a:pt x="371" y="162"/>
                    </a:lnTo>
                    <a:lnTo>
                      <a:pt x="371" y="161"/>
                    </a:lnTo>
                    <a:lnTo>
                      <a:pt x="368" y="162"/>
                    </a:lnTo>
                    <a:close/>
                    <a:moveTo>
                      <a:pt x="361" y="252"/>
                    </a:moveTo>
                    <a:lnTo>
                      <a:pt x="358" y="249"/>
                    </a:lnTo>
                    <a:lnTo>
                      <a:pt x="357" y="247"/>
                    </a:lnTo>
                    <a:lnTo>
                      <a:pt x="355" y="247"/>
                    </a:lnTo>
                    <a:lnTo>
                      <a:pt x="354" y="246"/>
                    </a:lnTo>
                    <a:lnTo>
                      <a:pt x="352" y="246"/>
                    </a:lnTo>
                    <a:lnTo>
                      <a:pt x="351" y="246"/>
                    </a:lnTo>
                    <a:lnTo>
                      <a:pt x="351" y="247"/>
                    </a:lnTo>
                    <a:lnTo>
                      <a:pt x="349" y="247"/>
                    </a:lnTo>
                    <a:lnTo>
                      <a:pt x="348" y="247"/>
                    </a:lnTo>
                    <a:lnTo>
                      <a:pt x="347" y="247"/>
                    </a:lnTo>
                    <a:lnTo>
                      <a:pt x="344" y="247"/>
                    </a:lnTo>
                    <a:lnTo>
                      <a:pt x="341" y="247"/>
                    </a:lnTo>
                    <a:lnTo>
                      <a:pt x="339" y="247"/>
                    </a:lnTo>
                    <a:lnTo>
                      <a:pt x="341" y="250"/>
                    </a:lnTo>
                    <a:lnTo>
                      <a:pt x="342" y="252"/>
                    </a:lnTo>
                    <a:lnTo>
                      <a:pt x="347" y="253"/>
                    </a:lnTo>
                    <a:lnTo>
                      <a:pt x="348" y="254"/>
                    </a:lnTo>
                    <a:lnTo>
                      <a:pt x="351" y="256"/>
                    </a:lnTo>
                    <a:lnTo>
                      <a:pt x="351" y="257"/>
                    </a:lnTo>
                    <a:lnTo>
                      <a:pt x="351" y="260"/>
                    </a:lnTo>
                    <a:lnTo>
                      <a:pt x="352" y="260"/>
                    </a:lnTo>
                    <a:lnTo>
                      <a:pt x="354" y="259"/>
                    </a:lnTo>
                    <a:lnTo>
                      <a:pt x="354" y="257"/>
                    </a:lnTo>
                    <a:lnTo>
                      <a:pt x="355" y="256"/>
                    </a:lnTo>
                    <a:lnTo>
                      <a:pt x="360" y="253"/>
                    </a:lnTo>
                    <a:lnTo>
                      <a:pt x="361" y="252"/>
                    </a:lnTo>
                    <a:close/>
                    <a:moveTo>
                      <a:pt x="374" y="165"/>
                    </a:moveTo>
                    <a:lnTo>
                      <a:pt x="374" y="164"/>
                    </a:lnTo>
                    <a:lnTo>
                      <a:pt x="372" y="164"/>
                    </a:lnTo>
                    <a:lnTo>
                      <a:pt x="372" y="165"/>
                    </a:lnTo>
                    <a:lnTo>
                      <a:pt x="372" y="167"/>
                    </a:lnTo>
                    <a:lnTo>
                      <a:pt x="372" y="168"/>
                    </a:lnTo>
                    <a:lnTo>
                      <a:pt x="374" y="165"/>
                    </a:lnTo>
                    <a:close/>
                    <a:moveTo>
                      <a:pt x="240" y="131"/>
                    </a:moveTo>
                    <a:lnTo>
                      <a:pt x="240" y="132"/>
                    </a:lnTo>
                    <a:lnTo>
                      <a:pt x="242" y="132"/>
                    </a:lnTo>
                    <a:lnTo>
                      <a:pt x="242" y="131"/>
                    </a:lnTo>
                    <a:lnTo>
                      <a:pt x="242" y="131"/>
                    </a:lnTo>
                    <a:lnTo>
                      <a:pt x="240" y="131"/>
                    </a:lnTo>
                    <a:close/>
                    <a:moveTo>
                      <a:pt x="253" y="121"/>
                    </a:moveTo>
                    <a:lnTo>
                      <a:pt x="252" y="121"/>
                    </a:lnTo>
                    <a:lnTo>
                      <a:pt x="252" y="122"/>
                    </a:lnTo>
                    <a:lnTo>
                      <a:pt x="250" y="122"/>
                    </a:lnTo>
                    <a:lnTo>
                      <a:pt x="250" y="124"/>
                    </a:lnTo>
                    <a:lnTo>
                      <a:pt x="250" y="125"/>
                    </a:lnTo>
                    <a:lnTo>
                      <a:pt x="252" y="127"/>
                    </a:lnTo>
                    <a:lnTo>
                      <a:pt x="255" y="125"/>
                    </a:lnTo>
                    <a:lnTo>
                      <a:pt x="256" y="124"/>
                    </a:lnTo>
                    <a:lnTo>
                      <a:pt x="256" y="122"/>
                    </a:lnTo>
                    <a:lnTo>
                      <a:pt x="256" y="121"/>
                    </a:lnTo>
                    <a:lnTo>
                      <a:pt x="255" y="121"/>
                    </a:lnTo>
                    <a:lnTo>
                      <a:pt x="253" y="121"/>
                    </a:lnTo>
                    <a:close/>
                    <a:moveTo>
                      <a:pt x="337" y="229"/>
                    </a:moveTo>
                    <a:lnTo>
                      <a:pt x="337" y="230"/>
                    </a:lnTo>
                    <a:lnTo>
                      <a:pt x="338" y="230"/>
                    </a:lnTo>
                    <a:lnTo>
                      <a:pt x="338" y="230"/>
                    </a:lnTo>
                    <a:lnTo>
                      <a:pt x="338" y="229"/>
                    </a:lnTo>
                    <a:lnTo>
                      <a:pt x="338" y="229"/>
                    </a:lnTo>
                    <a:lnTo>
                      <a:pt x="337" y="229"/>
                    </a:lnTo>
                    <a:lnTo>
                      <a:pt x="337" y="229"/>
                    </a:lnTo>
                    <a:close/>
                    <a:moveTo>
                      <a:pt x="308" y="207"/>
                    </a:moveTo>
                    <a:lnTo>
                      <a:pt x="308" y="206"/>
                    </a:lnTo>
                    <a:lnTo>
                      <a:pt x="308" y="204"/>
                    </a:lnTo>
                    <a:lnTo>
                      <a:pt x="306" y="206"/>
                    </a:lnTo>
                    <a:lnTo>
                      <a:pt x="308" y="207"/>
                    </a:lnTo>
                    <a:close/>
                    <a:moveTo>
                      <a:pt x="326" y="224"/>
                    </a:moveTo>
                    <a:lnTo>
                      <a:pt x="319" y="224"/>
                    </a:lnTo>
                    <a:lnTo>
                      <a:pt x="316" y="224"/>
                    </a:lnTo>
                    <a:lnTo>
                      <a:pt x="314" y="226"/>
                    </a:lnTo>
                    <a:lnTo>
                      <a:pt x="311" y="226"/>
                    </a:lnTo>
                    <a:lnTo>
                      <a:pt x="309" y="229"/>
                    </a:lnTo>
                    <a:lnTo>
                      <a:pt x="314" y="231"/>
                    </a:lnTo>
                    <a:lnTo>
                      <a:pt x="321" y="231"/>
                    </a:lnTo>
                    <a:lnTo>
                      <a:pt x="332" y="227"/>
                    </a:lnTo>
                    <a:lnTo>
                      <a:pt x="331" y="224"/>
                    </a:lnTo>
                    <a:lnTo>
                      <a:pt x="326" y="224"/>
                    </a:lnTo>
                    <a:close/>
                    <a:moveTo>
                      <a:pt x="358" y="226"/>
                    </a:moveTo>
                    <a:lnTo>
                      <a:pt x="357" y="224"/>
                    </a:lnTo>
                    <a:lnTo>
                      <a:pt x="355" y="224"/>
                    </a:lnTo>
                    <a:lnTo>
                      <a:pt x="354" y="224"/>
                    </a:lnTo>
                    <a:lnTo>
                      <a:pt x="352" y="226"/>
                    </a:lnTo>
                    <a:lnTo>
                      <a:pt x="352" y="226"/>
                    </a:lnTo>
                    <a:lnTo>
                      <a:pt x="355" y="227"/>
                    </a:lnTo>
                    <a:lnTo>
                      <a:pt x="358" y="226"/>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sp>
            <p:nvSpPr>
              <p:cNvPr id="264" name="Freeform 283">
                <a:extLst>
                  <a:ext uri="{FF2B5EF4-FFF2-40B4-BE49-F238E27FC236}">
                    <a16:creationId xmlns:a16="http://schemas.microsoft.com/office/drawing/2014/main" id="{E48EF483-1879-71F6-093C-53DF7B0CB35F}"/>
                  </a:ext>
                </a:extLst>
              </p:cNvPr>
              <p:cNvSpPr>
                <a:spLocks noEditPoints="1"/>
              </p:cNvSpPr>
              <p:nvPr/>
            </p:nvSpPr>
            <p:spPr bwMode="auto">
              <a:xfrm>
                <a:off x="8926793" y="4118212"/>
                <a:ext cx="286300" cy="225570"/>
              </a:xfrm>
              <a:custGeom>
                <a:avLst/>
                <a:gdLst>
                  <a:gd name="T0" fmla="*/ 155 w 198"/>
                  <a:gd name="T1" fmla="*/ 141 h 156"/>
                  <a:gd name="T2" fmla="*/ 197 w 198"/>
                  <a:gd name="T3" fmla="*/ 41 h 156"/>
                  <a:gd name="T4" fmla="*/ 172 w 198"/>
                  <a:gd name="T5" fmla="*/ 35 h 156"/>
                  <a:gd name="T6" fmla="*/ 129 w 198"/>
                  <a:gd name="T7" fmla="*/ 28 h 156"/>
                  <a:gd name="T8" fmla="*/ 116 w 198"/>
                  <a:gd name="T9" fmla="*/ 36 h 156"/>
                  <a:gd name="T10" fmla="*/ 100 w 198"/>
                  <a:gd name="T11" fmla="*/ 53 h 156"/>
                  <a:gd name="T12" fmla="*/ 86 w 198"/>
                  <a:gd name="T13" fmla="*/ 45 h 156"/>
                  <a:gd name="T14" fmla="*/ 78 w 198"/>
                  <a:gd name="T15" fmla="*/ 32 h 156"/>
                  <a:gd name="T16" fmla="*/ 76 w 198"/>
                  <a:gd name="T17" fmla="*/ 10 h 156"/>
                  <a:gd name="T18" fmla="*/ 63 w 198"/>
                  <a:gd name="T19" fmla="*/ 6 h 156"/>
                  <a:gd name="T20" fmla="*/ 27 w 198"/>
                  <a:gd name="T21" fmla="*/ 10 h 156"/>
                  <a:gd name="T22" fmla="*/ 34 w 198"/>
                  <a:gd name="T23" fmla="*/ 20 h 156"/>
                  <a:gd name="T24" fmla="*/ 43 w 198"/>
                  <a:gd name="T25" fmla="*/ 32 h 156"/>
                  <a:gd name="T26" fmla="*/ 73 w 198"/>
                  <a:gd name="T27" fmla="*/ 32 h 156"/>
                  <a:gd name="T28" fmla="*/ 69 w 198"/>
                  <a:gd name="T29" fmla="*/ 41 h 156"/>
                  <a:gd name="T30" fmla="*/ 57 w 198"/>
                  <a:gd name="T31" fmla="*/ 39 h 156"/>
                  <a:gd name="T32" fmla="*/ 44 w 198"/>
                  <a:gd name="T33" fmla="*/ 42 h 156"/>
                  <a:gd name="T34" fmla="*/ 53 w 198"/>
                  <a:gd name="T35" fmla="*/ 53 h 156"/>
                  <a:gd name="T36" fmla="*/ 59 w 198"/>
                  <a:gd name="T37" fmla="*/ 66 h 156"/>
                  <a:gd name="T38" fmla="*/ 69 w 198"/>
                  <a:gd name="T39" fmla="*/ 49 h 156"/>
                  <a:gd name="T40" fmla="*/ 73 w 198"/>
                  <a:gd name="T41" fmla="*/ 61 h 156"/>
                  <a:gd name="T42" fmla="*/ 80 w 198"/>
                  <a:gd name="T43" fmla="*/ 64 h 156"/>
                  <a:gd name="T44" fmla="*/ 89 w 198"/>
                  <a:gd name="T45" fmla="*/ 68 h 156"/>
                  <a:gd name="T46" fmla="*/ 128 w 198"/>
                  <a:gd name="T47" fmla="*/ 82 h 156"/>
                  <a:gd name="T48" fmla="*/ 146 w 198"/>
                  <a:gd name="T49" fmla="*/ 92 h 156"/>
                  <a:gd name="T50" fmla="*/ 149 w 198"/>
                  <a:gd name="T51" fmla="*/ 97 h 156"/>
                  <a:gd name="T52" fmla="*/ 156 w 198"/>
                  <a:gd name="T53" fmla="*/ 117 h 156"/>
                  <a:gd name="T54" fmla="*/ 161 w 198"/>
                  <a:gd name="T55" fmla="*/ 125 h 156"/>
                  <a:gd name="T56" fmla="*/ 161 w 198"/>
                  <a:gd name="T57" fmla="*/ 140 h 156"/>
                  <a:gd name="T58" fmla="*/ 179 w 198"/>
                  <a:gd name="T59" fmla="*/ 137 h 156"/>
                  <a:gd name="T60" fmla="*/ 187 w 198"/>
                  <a:gd name="T61" fmla="*/ 145 h 156"/>
                  <a:gd name="T62" fmla="*/ 92 w 198"/>
                  <a:gd name="T63" fmla="*/ 13 h 156"/>
                  <a:gd name="T64" fmla="*/ 17 w 198"/>
                  <a:gd name="T65" fmla="*/ 15 h 156"/>
                  <a:gd name="T66" fmla="*/ 19 w 198"/>
                  <a:gd name="T67" fmla="*/ 18 h 156"/>
                  <a:gd name="T68" fmla="*/ 20 w 198"/>
                  <a:gd name="T69" fmla="*/ 9 h 156"/>
                  <a:gd name="T70" fmla="*/ 113 w 198"/>
                  <a:gd name="T71" fmla="*/ 16 h 156"/>
                  <a:gd name="T72" fmla="*/ 102 w 198"/>
                  <a:gd name="T73" fmla="*/ 9 h 156"/>
                  <a:gd name="T74" fmla="*/ 82 w 198"/>
                  <a:gd name="T75" fmla="*/ 30 h 156"/>
                  <a:gd name="T76" fmla="*/ 100 w 198"/>
                  <a:gd name="T77" fmla="*/ 23 h 156"/>
                  <a:gd name="T78" fmla="*/ 102 w 198"/>
                  <a:gd name="T79" fmla="*/ 25 h 156"/>
                  <a:gd name="T80" fmla="*/ 79 w 198"/>
                  <a:gd name="T81" fmla="*/ 104 h 156"/>
                  <a:gd name="T82" fmla="*/ 76 w 198"/>
                  <a:gd name="T83" fmla="*/ 114 h 156"/>
                  <a:gd name="T84" fmla="*/ 88 w 198"/>
                  <a:gd name="T85" fmla="*/ 105 h 156"/>
                  <a:gd name="T86" fmla="*/ 80 w 198"/>
                  <a:gd name="T87" fmla="*/ 98 h 156"/>
                  <a:gd name="T88" fmla="*/ 88 w 198"/>
                  <a:gd name="T89" fmla="*/ 95 h 156"/>
                  <a:gd name="T90" fmla="*/ 59 w 198"/>
                  <a:gd name="T91" fmla="*/ 94 h 156"/>
                  <a:gd name="T92" fmla="*/ 65 w 198"/>
                  <a:gd name="T93" fmla="*/ 69 h 156"/>
                  <a:gd name="T94" fmla="*/ 89 w 198"/>
                  <a:gd name="T95" fmla="*/ 107 h 156"/>
                  <a:gd name="T96" fmla="*/ 52 w 198"/>
                  <a:gd name="T97" fmla="*/ 98 h 156"/>
                  <a:gd name="T98" fmla="*/ 88 w 198"/>
                  <a:gd name="T99" fmla="*/ 111 h 156"/>
                  <a:gd name="T100" fmla="*/ 86 w 198"/>
                  <a:gd name="T101" fmla="*/ 114 h 156"/>
                  <a:gd name="T102" fmla="*/ 86 w 198"/>
                  <a:gd name="T103" fmla="*/ 108 h 156"/>
                  <a:gd name="T104" fmla="*/ 4 w 198"/>
                  <a:gd name="T105" fmla="*/ 26 h 156"/>
                  <a:gd name="T106" fmla="*/ 6 w 198"/>
                  <a:gd name="T107" fmla="*/ 30 h 156"/>
                  <a:gd name="T108" fmla="*/ 139 w 198"/>
                  <a:gd name="T109" fmla="*/ 143 h 156"/>
                  <a:gd name="T110" fmla="*/ 158 w 198"/>
                  <a:gd name="T111" fmla="*/ 13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56">
                    <a:moveTo>
                      <a:pt x="158" y="143"/>
                    </a:moveTo>
                    <a:lnTo>
                      <a:pt x="159" y="143"/>
                    </a:lnTo>
                    <a:lnTo>
                      <a:pt x="161" y="141"/>
                    </a:lnTo>
                    <a:lnTo>
                      <a:pt x="161" y="140"/>
                    </a:lnTo>
                    <a:lnTo>
                      <a:pt x="158" y="140"/>
                    </a:lnTo>
                    <a:lnTo>
                      <a:pt x="156" y="140"/>
                    </a:lnTo>
                    <a:lnTo>
                      <a:pt x="155" y="141"/>
                    </a:lnTo>
                    <a:lnTo>
                      <a:pt x="156" y="143"/>
                    </a:lnTo>
                    <a:lnTo>
                      <a:pt x="158" y="143"/>
                    </a:lnTo>
                    <a:close/>
                    <a:moveTo>
                      <a:pt x="195" y="114"/>
                    </a:moveTo>
                    <a:lnTo>
                      <a:pt x="195" y="111"/>
                    </a:lnTo>
                    <a:lnTo>
                      <a:pt x="197" y="107"/>
                    </a:lnTo>
                    <a:lnTo>
                      <a:pt x="197" y="43"/>
                    </a:lnTo>
                    <a:lnTo>
                      <a:pt x="197" y="41"/>
                    </a:lnTo>
                    <a:lnTo>
                      <a:pt x="195" y="41"/>
                    </a:lnTo>
                    <a:lnTo>
                      <a:pt x="194" y="41"/>
                    </a:lnTo>
                    <a:lnTo>
                      <a:pt x="194" y="39"/>
                    </a:lnTo>
                    <a:lnTo>
                      <a:pt x="192" y="39"/>
                    </a:lnTo>
                    <a:lnTo>
                      <a:pt x="191" y="38"/>
                    </a:lnTo>
                    <a:lnTo>
                      <a:pt x="177" y="36"/>
                    </a:lnTo>
                    <a:lnTo>
                      <a:pt x="172" y="35"/>
                    </a:lnTo>
                    <a:lnTo>
                      <a:pt x="144" y="22"/>
                    </a:lnTo>
                    <a:lnTo>
                      <a:pt x="142" y="22"/>
                    </a:lnTo>
                    <a:lnTo>
                      <a:pt x="139" y="22"/>
                    </a:lnTo>
                    <a:lnTo>
                      <a:pt x="132" y="25"/>
                    </a:lnTo>
                    <a:lnTo>
                      <a:pt x="131" y="26"/>
                    </a:lnTo>
                    <a:lnTo>
                      <a:pt x="129" y="26"/>
                    </a:lnTo>
                    <a:lnTo>
                      <a:pt x="129" y="28"/>
                    </a:lnTo>
                    <a:lnTo>
                      <a:pt x="131" y="29"/>
                    </a:lnTo>
                    <a:lnTo>
                      <a:pt x="131" y="29"/>
                    </a:lnTo>
                    <a:lnTo>
                      <a:pt x="129" y="30"/>
                    </a:lnTo>
                    <a:lnTo>
                      <a:pt x="126" y="33"/>
                    </a:lnTo>
                    <a:lnTo>
                      <a:pt x="119" y="33"/>
                    </a:lnTo>
                    <a:lnTo>
                      <a:pt x="116" y="35"/>
                    </a:lnTo>
                    <a:lnTo>
                      <a:pt x="116" y="36"/>
                    </a:lnTo>
                    <a:lnTo>
                      <a:pt x="115" y="39"/>
                    </a:lnTo>
                    <a:lnTo>
                      <a:pt x="113" y="41"/>
                    </a:lnTo>
                    <a:lnTo>
                      <a:pt x="113" y="41"/>
                    </a:lnTo>
                    <a:lnTo>
                      <a:pt x="111" y="43"/>
                    </a:lnTo>
                    <a:lnTo>
                      <a:pt x="109" y="43"/>
                    </a:lnTo>
                    <a:lnTo>
                      <a:pt x="105" y="51"/>
                    </a:lnTo>
                    <a:lnTo>
                      <a:pt x="100" y="53"/>
                    </a:lnTo>
                    <a:lnTo>
                      <a:pt x="96" y="53"/>
                    </a:lnTo>
                    <a:lnTo>
                      <a:pt x="93" y="53"/>
                    </a:lnTo>
                    <a:lnTo>
                      <a:pt x="92" y="52"/>
                    </a:lnTo>
                    <a:lnTo>
                      <a:pt x="90" y="49"/>
                    </a:lnTo>
                    <a:lnTo>
                      <a:pt x="89" y="46"/>
                    </a:lnTo>
                    <a:lnTo>
                      <a:pt x="88" y="46"/>
                    </a:lnTo>
                    <a:lnTo>
                      <a:pt x="86" y="45"/>
                    </a:lnTo>
                    <a:lnTo>
                      <a:pt x="86" y="42"/>
                    </a:lnTo>
                    <a:lnTo>
                      <a:pt x="86" y="39"/>
                    </a:lnTo>
                    <a:lnTo>
                      <a:pt x="85" y="39"/>
                    </a:lnTo>
                    <a:lnTo>
                      <a:pt x="83" y="41"/>
                    </a:lnTo>
                    <a:lnTo>
                      <a:pt x="83" y="45"/>
                    </a:lnTo>
                    <a:lnTo>
                      <a:pt x="79" y="36"/>
                    </a:lnTo>
                    <a:lnTo>
                      <a:pt x="78" y="32"/>
                    </a:lnTo>
                    <a:lnTo>
                      <a:pt x="78" y="26"/>
                    </a:lnTo>
                    <a:lnTo>
                      <a:pt x="78" y="25"/>
                    </a:lnTo>
                    <a:lnTo>
                      <a:pt x="79" y="20"/>
                    </a:lnTo>
                    <a:lnTo>
                      <a:pt x="79" y="19"/>
                    </a:lnTo>
                    <a:lnTo>
                      <a:pt x="79" y="18"/>
                    </a:lnTo>
                    <a:lnTo>
                      <a:pt x="76" y="12"/>
                    </a:lnTo>
                    <a:lnTo>
                      <a:pt x="76" y="10"/>
                    </a:lnTo>
                    <a:lnTo>
                      <a:pt x="76" y="10"/>
                    </a:lnTo>
                    <a:lnTo>
                      <a:pt x="76" y="9"/>
                    </a:lnTo>
                    <a:lnTo>
                      <a:pt x="76" y="9"/>
                    </a:lnTo>
                    <a:lnTo>
                      <a:pt x="75" y="7"/>
                    </a:lnTo>
                    <a:lnTo>
                      <a:pt x="75" y="7"/>
                    </a:lnTo>
                    <a:lnTo>
                      <a:pt x="66" y="7"/>
                    </a:lnTo>
                    <a:lnTo>
                      <a:pt x="63" y="6"/>
                    </a:lnTo>
                    <a:lnTo>
                      <a:pt x="55" y="2"/>
                    </a:lnTo>
                    <a:lnTo>
                      <a:pt x="50" y="0"/>
                    </a:lnTo>
                    <a:lnTo>
                      <a:pt x="46" y="2"/>
                    </a:lnTo>
                    <a:lnTo>
                      <a:pt x="42" y="2"/>
                    </a:lnTo>
                    <a:lnTo>
                      <a:pt x="36" y="6"/>
                    </a:lnTo>
                    <a:lnTo>
                      <a:pt x="29" y="9"/>
                    </a:lnTo>
                    <a:lnTo>
                      <a:pt x="27" y="10"/>
                    </a:lnTo>
                    <a:lnTo>
                      <a:pt x="26" y="13"/>
                    </a:lnTo>
                    <a:lnTo>
                      <a:pt x="23" y="19"/>
                    </a:lnTo>
                    <a:lnTo>
                      <a:pt x="23" y="19"/>
                    </a:lnTo>
                    <a:lnTo>
                      <a:pt x="27" y="19"/>
                    </a:lnTo>
                    <a:lnTo>
                      <a:pt x="30" y="19"/>
                    </a:lnTo>
                    <a:lnTo>
                      <a:pt x="32" y="20"/>
                    </a:lnTo>
                    <a:lnTo>
                      <a:pt x="34" y="20"/>
                    </a:lnTo>
                    <a:lnTo>
                      <a:pt x="37" y="22"/>
                    </a:lnTo>
                    <a:lnTo>
                      <a:pt x="37" y="23"/>
                    </a:lnTo>
                    <a:lnTo>
                      <a:pt x="39" y="25"/>
                    </a:lnTo>
                    <a:lnTo>
                      <a:pt x="39" y="25"/>
                    </a:lnTo>
                    <a:lnTo>
                      <a:pt x="39" y="28"/>
                    </a:lnTo>
                    <a:lnTo>
                      <a:pt x="40" y="29"/>
                    </a:lnTo>
                    <a:lnTo>
                      <a:pt x="43" y="32"/>
                    </a:lnTo>
                    <a:lnTo>
                      <a:pt x="46" y="33"/>
                    </a:lnTo>
                    <a:lnTo>
                      <a:pt x="50" y="35"/>
                    </a:lnTo>
                    <a:lnTo>
                      <a:pt x="59" y="35"/>
                    </a:lnTo>
                    <a:lnTo>
                      <a:pt x="65" y="33"/>
                    </a:lnTo>
                    <a:lnTo>
                      <a:pt x="69" y="33"/>
                    </a:lnTo>
                    <a:lnTo>
                      <a:pt x="73" y="32"/>
                    </a:lnTo>
                    <a:lnTo>
                      <a:pt x="73" y="32"/>
                    </a:lnTo>
                    <a:lnTo>
                      <a:pt x="73" y="33"/>
                    </a:lnTo>
                    <a:lnTo>
                      <a:pt x="72" y="35"/>
                    </a:lnTo>
                    <a:lnTo>
                      <a:pt x="72" y="35"/>
                    </a:lnTo>
                    <a:lnTo>
                      <a:pt x="73" y="36"/>
                    </a:lnTo>
                    <a:lnTo>
                      <a:pt x="72" y="38"/>
                    </a:lnTo>
                    <a:lnTo>
                      <a:pt x="70" y="39"/>
                    </a:lnTo>
                    <a:lnTo>
                      <a:pt x="69" y="41"/>
                    </a:lnTo>
                    <a:lnTo>
                      <a:pt x="67" y="39"/>
                    </a:lnTo>
                    <a:lnTo>
                      <a:pt x="66" y="39"/>
                    </a:lnTo>
                    <a:lnTo>
                      <a:pt x="65" y="39"/>
                    </a:lnTo>
                    <a:lnTo>
                      <a:pt x="63" y="38"/>
                    </a:lnTo>
                    <a:lnTo>
                      <a:pt x="60" y="38"/>
                    </a:lnTo>
                    <a:lnTo>
                      <a:pt x="59" y="38"/>
                    </a:lnTo>
                    <a:lnTo>
                      <a:pt x="57" y="39"/>
                    </a:lnTo>
                    <a:lnTo>
                      <a:pt x="56" y="41"/>
                    </a:lnTo>
                    <a:lnTo>
                      <a:pt x="53" y="42"/>
                    </a:lnTo>
                    <a:lnTo>
                      <a:pt x="52" y="43"/>
                    </a:lnTo>
                    <a:lnTo>
                      <a:pt x="50" y="43"/>
                    </a:lnTo>
                    <a:lnTo>
                      <a:pt x="49" y="42"/>
                    </a:lnTo>
                    <a:lnTo>
                      <a:pt x="46" y="42"/>
                    </a:lnTo>
                    <a:lnTo>
                      <a:pt x="44" y="42"/>
                    </a:lnTo>
                    <a:lnTo>
                      <a:pt x="39" y="43"/>
                    </a:lnTo>
                    <a:lnTo>
                      <a:pt x="40" y="46"/>
                    </a:lnTo>
                    <a:lnTo>
                      <a:pt x="43" y="48"/>
                    </a:lnTo>
                    <a:lnTo>
                      <a:pt x="47" y="48"/>
                    </a:lnTo>
                    <a:lnTo>
                      <a:pt x="50" y="49"/>
                    </a:lnTo>
                    <a:lnTo>
                      <a:pt x="52" y="52"/>
                    </a:lnTo>
                    <a:lnTo>
                      <a:pt x="53" y="53"/>
                    </a:lnTo>
                    <a:lnTo>
                      <a:pt x="55" y="55"/>
                    </a:lnTo>
                    <a:lnTo>
                      <a:pt x="55" y="56"/>
                    </a:lnTo>
                    <a:lnTo>
                      <a:pt x="53" y="59"/>
                    </a:lnTo>
                    <a:lnTo>
                      <a:pt x="53" y="62"/>
                    </a:lnTo>
                    <a:lnTo>
                      <a:pt x="55" y="64"/>
                    </a:lnTo>
                    <a:lnTo>
                      <a:pt x="56" y="66"/>
                    </a:lnTo>
                    <a:lnTo>
                      <a:pt x="59" y="66"/>
                    </a:lnTo>
                    <a:lnTo>
                      <a:pt x="62" y="66"/>
                    </a:lnTo>
                    <a:lnTo>
                      <a:pt x="63" y="64"/>
                    </a:lnTo>
                    <a:lnTo>
                      <a:pt x="65" y="61"/>
                    </a:lnTo>
                    <a:lnTo>
                      <a:pt x="66" y="58"/>
                    </a:lnTo>
                    <a:lnTo>
                      <a:pt x="66" y="55"/>
                    </a:lnTo>
                    <a:lnTo>
                      <a:pt x="69" y="53"/>
                    </a:lnTo>
                    <a:lnTo>
                      <a:pt x="69" y="49"/>
                    </a:lnTo>
                    <a:lnTo>
                      <a:pt x="72" y="48"/>
                    </a:lnTo>
                    <a:lnTo>
                      <a:pt x="70" y="51"/>
                    </a:lnTo>
                    <a:lnTo>
                      <a:pt x="69" y="53"/>
                    </a:lnTo>
                    <a:lnTo>
                      <a:pt x="69" y="55"/>
                    </a:lnTo>
                    <a:lnTo>
                      <a:pt x="70" y="58"/>
                    </a:lnTo>
                    <a:lnTo>
                      <a:pt x="72" y="59"/>
                    </a:lnTo>
                    <a:lnTo>
                      <a:pt x="73" y="61"/>
                    </a:lnTo>
                    <a:lnTo>
                      <a:pt x="76" y="62"/>
                    </a:lnTo>
                    <a:lnTo>
                      <a:pt x="76" y="62"/>
                    </a:lnTo>
                    <a:lnTo>
                      <a:pt x="78" y="62"/>
                    </a:lnTo>
                    <a:lnTo>
                      <a:pt x="78" y="62"/>
                    </a:lnTo>
                    <a:lnTo>
                      <a:pt x="79" y="64"/>
                    </a:lnTo>
                    <a:lnTo>
                      <a:pt x="79" y="64"/>
                    </a:lnTo>
                    <a:lnTo>
                      <a:pt x="80" y="64"/>
                    </a:lnTo>
                    <a:lnTo>
                      <a:pt x="82" y="64"/>
                    </a:lnTo>
                    <a:lnTo>
                      <a:pt x="82" y="64"/>
                    </a:lnTo>
                    <a:lnTo>
                      <a:pt x="83" y="64"/>
                    </a:lnTo>
                    <a:lnTo>
                      <a:pt x="88" y="64"/>
                    </a:lnTo>
                    <a:lnTo>
                      <a:pt x="90" y="64"/>
                    </a:lnTo>
                    <a:lnTo>
                      <a:pt x="88" y="65"/>
                    </a:lnTo>
                    <a:lnTo>
                      <a:pt x="89" y="68"/>
                    </a:lnTo>
                    <a:lnTo>
                      <a:pt x="92" y="71"/>
                    </a:lnTo>
                    <a:lnTo>
                      <a:pt x="95" y="72"/>
                    </a:lnTo>
                    <a:lnTo>
                      <a:pt x="99" y="74"/>
                    </a:lnTo>
                    <a:lnTo>
                      <a:pt x="106" y="74"/>
                    </a:lnTo>
                    <a:lnTo>
                      <a:pt x="109" y="75"/>
                    </a:lnTo>
                    <a:lnTo>
                      <a:pt x="119" y="79"/>
                    </a:lnTo>
                    <a:lnTo>
                      <a:pt x="128" y="82"/>
                    </a:lnTo>
                    <a:lnTo>
                      <a:pt x="131" y="82"/>
                    </a:lnTo>
                    <a:lnTo>
                      <a:pt x="132" y="82"/>
                    </a:lnTo>
                    <a:lnTo>
                      <a:pt x="135" y="84"/>
                    </a:lnTo>
                    <a:lnTo>
                      <a:pt x="138" y="87"/>
                    </a:lnTo>
                    <a:lnTo>
                      <a:pt x="141" y="88"/>
                    </a:lnTo>
                    <a:lnTo>
                      <a:pt x="144" y="89"/>
                    </a:lnTo>
                    <a:lnTo>
                      <a:pt x="146" y="92"/>
                    </a:lnTo>
                    <a:lnTo>
                      <a:pt x="146" y="94"/>
                    </a:lnTo>
                    <a:lnTo>
                      <a:pt x="148" y="95"/>
                    </a:lnTo>
                    <a:lnTo>
                      <a:pt x="151" y="95"/>
                    </a:lnTo>
                    <a:lnTo>
                      <a:pt x="151" y="95"/>
                    </a:lnTo>
                    <a:lnTo>
                      <a:pt x="149" y="95"/>
                    </a:lnTo>
                    <a:lnTo>
                      <a:pt x="149" y="97"/>
                    </a:lnTo>
                    <a:lnTo>
                      <a:pt x="149" y="97"/>
                    </a:lnTo>
                    <a:lnTo>
                      <a:pt x="151" y="98"/>
                    </a:lnTo>
                    <a:lnTo>
                      <a:pt x="152" y="98"/>
                    </a:lnTo>
                    <a:lnTo>
                      <a:pt x="151" y="101"/>
                    </a:lnTo>
                    <a:lnTo>
                      <a:pt x="154" y="107"/>
                    </a:lnTo>
                    <a:lnTo>
                      <a:pt x="158" y="112"/>
                    </a:lnTo>
                    <a:lnTo>
                      <a:pt x="161" y="115"/>
                    </a:lnTo>
                    <a:lnTo>
                      <a:pt x="156" y="117"/>
                    </a:lnTo>
                    <a:lnTo>
                      <a:pt x="158" y="120"/>
                    </a:lnTo>
                    <a:lnTo>
                      <a:pt x="162" y="121"/>
                    </a:lnTo>
                    <a:lnTo>
                      <a:pt x="165" y="121"/>
                    </a:lnTo>
                    <a:lnTo>
                      <a:pt x="164" y="122"/>
                    </a:lnTo>
                    <a:lnTo>
                      <a:pt x="159" y="122"/>
                    </a:lnTo>
                    <a:lnTo>
                      <a:pt x="158" y="122"/>
                    </a:lnTo>
                    <a:lnTo>
                      <a:pt x="161" y="125"/>
                    </a:lnTo>
                    <a:lnTo>
                      <a:pt x="162" y="127"/>
                    </a:lnTo>
                    <a:lnTo>
                      <a:pt x="164" y="127"/>
                    </a:lnTo>
                    <a:lnTo>
                      <a:pt x="164" y="128"/>
                    </a:lnTo>
                    <a:lnTo>
                      <a:pt x="164" y="130"/>
                    </a:lnTo>
                    <a:lnTo>
                      <a:pt x="161" y="137"/>
                    </a:lnTo>
                    <a:lnTo>
                      <a:pt x="161" y="138"/>
                    </a:lnTo>
                    <a:lnTo>
                      <a:pt x="161" y="140"/>
                    </a:lnTo>
                    <a:lnTo>
                      <a:pt x="162" y="140"/>
                    </a:lnTo>
                    <a:lnTo>
                      <a:pt x="164" y="138"/>
                    </a:lnTo>
                    <a:lnTo>
                      <a:pt x="167" y="137"/>
                    </a:lnTo>
                    <a:lnTo>
                      <a:pt x="167" y="135"/>
                    </a:lnTo>
                    <a:lnTo>
                      <a:pt x="169" y="138"/>
                    </a:lnTo>
                    <a:lnTo>
                      <a:pt x="174" y="138"/>
                    </a:lnTo>
                    <a:lnTo>
                      <a:pt x="179" y="137"/>
                    </a:lnTo>
                    <a:lnTo>
                      <a:pt x="182" y="134"/>
                    </a:lnTo>
                    <a:lnTo>
                      <a:pt x="181" y="137"/>
                    </a:lnTo>
                    <a:lnTo>
                      <a:pt x="181" y="138"/>
                    </a:lnTo>
                    <a:lnTo>
                      <a:pt x="181" y="140"/>
                    </a:lnTo>
                    <a:lnTo>
                      <a:pt x="181" y="141"/>
                    </a:lnTo>
                    <a:lnTo>
                      <a:pt x="184" y="143"/>
                    </a:lnTo>
                    <a:lnTo>
                      <a:pt x="187" y="145"/>
                    </a:lnTo>
                    <a:lnTo>
                      <a:pt x="195" y="154"/>
                    </a:lnTo>
                    <a:lnTo>
                      <a:pt x="198" y="156"/>
                    </a:lnTo>
                    <a:lnTo>
                      <a:pt x="197" y="117"/>
                    </a:lnTo>
                    <a:lnTo>
                      <a:pt x="195" y="114"/>
                    </a:lnTo>
                    <a:close/>
                    <a:moveTo>
                      <a:pt x="90" y="12"/>
                    </a:moveTo>
                    <a:lnTo>
                      <a:pt x="92" y="12"/>
                    </a:lnTo>
                    <a:lnTo>
                      <a:pt x="92" y="13"/>
                    </a:lnTo>
                    <a:lnTo>
                      <a:pt x="92" y="15"/>
                    </a:lnTo>
                    <a:lnTo>
                      <a:pt x="90" y="15"/>
                    </a:lnTo>
                    <a:lnTo>
                      <a:pt x="90" y="15"/>
                    </a:lnTo>
                    <a:lnTo>
                      <a:pt x="89" y="13"/>
                    </a:lnTo>
                    <a:lnTo>
                      <a:pt x="90" y="12"/>
                    </a:lnTo>
                    <a:lnTo>
                      <a:pt x="90" y="12"/>
                    </a:lnTo>
                    <a:close/>
                    <a:moveTo>
                      <a:pt x="17" y="15"/>
                    </a:moveTo>
                    <a:lnTo>
                      <a:pt x="16" y="12"/>
                    </a:lnTo>
                    <a:lnTo>
                      <a:pt x="19" y="10"/>
                    </a:lnTo>
                    <a:lnTo>
                      <a:pt x="22" y="10"/>
                    </a:lnTo>
                    <a:lnTo>
                      <a:pt x="23" y="13"/>
                    </a:lnTo>
                    <a:lnTo>
                      <a:pt x="23" y="16"/>
                    </a:lnTo>
                    <a:lnTo>
                      <a:pt x="20" y="18"/>
                    </a:lnTo>
                    <a:lnTo>
                      <a:pt x="19" y="18"/>
                    </a:lnTo>
                    <a:lnTo>
                      <a:pt x="17" y="15"/>
                    </a:lnTo>
                    <a:close/>
                    <a:moveTo>
                      <a:pt x="19" y="10"/>
                    </a:moveTo>
                    <a:lnTo>
                      <a:pt x="11" y="10"/>
                    </a:lnTo>
                    <a:lnTo>
                      <a:pt x="13" y="9"/>
                    </a:lnTo>
                    <a:lnTo>
                      <a:pt x="17" y="9"/>
                    </a:lnTo>
                    <a:lnTo>
                      <a:pt x="19" y="7"/>
                    </a:lnTo>
                    <a:lnTo>
                      <a:pt x="20" y="9"/>
                    </a:lnTo>
                    <a:lnTo>
                      <a:pt x="20" y="9"/>
                    </a:lnTo>
                    <a:lnTo>
                      <a:pt x="20" y="9"/>
                    </a:lnTo>
                    <a:lnTo>
                      <a:pt x="19" y="10"/>
                    </a:lnTo>
                    <a:close/>
                    <a:moveTo>
                      <a:pt x="113" y="13"/>
                    </a:moveTo>
                    <a:lnTo>
                      <a:pt x="116" y="13"/>
                    </a:lnTo>
                    <a:lnTo>
                      <a:pt x="115" y="15"/>
                    </a:lnTo>
                    <a:lnTo>
                      <a:pt x="113" y="16"/>
                    </a:lnTo>
                    <a:lnTo>
                      <a:pt x="112" y="16"/>
                    </a:lnTo>
                    <a:lnTo>
                      <a:pt x="109" y="15"/>
                    </a:lnTo>
                    <a:lnTo>
                      <a:pt x="108" y="15"/>
                    </a:lnTo>
                    <a:lnTo>
                      <a:pt x="106" y="13"/>
                    </a:lnTo>
                    <a:lnTo>
                      <a:pt x="105" y="9"/>
                    </a:lnTo>
                    <a:lnTo>
                      <a:pt x="103" y="10"/>
                    </a:lnTo>
                    <a:lnTo>
                      <a:pt x="102" y="9"/>
                    </a:lnTo>
                    <a:lnTo>
                      <a:pt x="100" y="7"/>
                    </a:lnTo>
                    <a:lnTo>
                      <a:pt x="99" y="6"/>
                    </a:lnTo>
                    <a:lnTo>
                      <a:pt x="106" y="7"/>
                    </a:lnTo>
                    <a:lnTo>
                      <a:pt x="108" y="7"/>
                    </a:lnTo>
                    <a:lnTo>
                      <a:pt x="111" y="9"/>
                    </a:lnTo>
                    <a:lnTo>
                      <a:pt x="113" y="13"/>
                    </a:lnTo>
                    <a:close/>
                    <a:moveTo>
                      <a:pt x="82" y="30"/>
                    </a:moveTo>
                    <a:lnTo>
                      <a:pt x="82" y="30"/>
                    </a:lnTo>
                    <a:lnTo>
                      <a:pt x="82" y="30"/>
                    </a:lnTo>
                    <a:lnTo>
                      <a:pt x="82" y="32"/>
                    </a:lnTo>
                    <a:lnTo>
                      <a:pt x="82" y="32"/>
                    </a:lnTo>
                    <a:lnTo>
                      <a:pt x="80" y="32"/>
                    </a:lnTo>
                    <a:lnTo>
                      <a:pt x="82" y="30"/>
                    </a:lnTo>
                    <a:close/>
                    <a:moveTo>
                      <a:pt x="100" y="23"/>
                    </a:moveTo>
                    <a:lnTo>
                      <a:pt x="123" y="25"/>
                    </a:lnTo>
                    <a:lnTo>
                      <a:pt x="126" y="26"/>
                    </a:lnTo>
                    <a:lnTo>
                      <a:pt x="119" y="28"/>
                    </a:lnTo>
                    <a:lnTo>
                      <a:pt x="116" y="28"/>
                    </a:lnTo>
                    <a:lnTo>
                      <a:pt x="112" y="28"/>
                    </a:lnTo>
                    <a:lnTo>
                      <a:pt x="106" y="26"/>
                    </a:lnTo>
                    <a:lnTo>
                      <a:pt x="102" y="25"/>
                    </a:lnTo>
                    <a:lnTo>
                      <a:pt x="100" y="23"/>
                    </a:lnTo>
                    <a:close/>
                    <a:moveTo>
                      <a:pt x="78" y="108"/>
                    </a:moveTo>
                    <a:lnTo>
                      <a:pt x="78" y="108"/>
                    </a:lnTo>
                    <a:lnTo>
                      <a:pt x="78" y="108"/>
                    </a:lnTo>
                    <a:lnTo>
                      <a:pt x="76" y="105"/>
                    </a:lnTo>
                    <a:lnTo>
                      <a:pt x="78" y="104"/>
                    </a:lnTo>
                    <a:lnTo>
                      <a:pt x="79" y="104"/>
                    </a:lnTo>
                    <a:lnTo>
                      <a:pt x="79" y="105"/>
                    </a:lnTo>
                    <a:lnTo>
                      <a:pt x="83" y="108"/>
                    </a:lnTo>
                    <a:lnTo>
                      <a:pt x="85" y="110"/>
                    </a:lnTo>
                    <a:lnTo>
                      <a:pt x="83" y="112"/>
                    </a:lnTo>
                    <a:lnTo>
                      <a:pt x="80" y="115"/>
                    </a:lnTo>
                    <a:lnTo>
                      <a:pt x="78" y="117"/>
                    </a:lnTo>
                    <a:lnTo>
                      <a:pt x="76" y="114"/>
                    </a:lnTo>
                    <a:lnTo>
                      <a:pt x="76" y="108"/>
                    </a:lnTo>
                    <a:lnTo>
                      <a:pt x="78" y="108"/>
                    </a:lnTo>
                    <a:lnTo>
                      <a:pt x="78" y="108"/>
                    </a:lnTo>
                    <a:lnTo>
                      <a:pt x="78" y="108"/>
                    </a:lnTo>
                    <a:close/>
                    <a:moveTo>
                      <a:pt x="88" y="104"/>
                    </a:moveTo>
                    <a:lnTo>
                      <a:pt x="88" y="105"/>
                    </a:lnTo>
                    <a:lnTo>
                      <a:pt x="88" y="105"/>
                    </a:lnTo>
                    <a:lnTo>
                      <a:pt x="86" y="107"/>
                    </a:lnTo>
                    <a:lnTo>
                      <a:pt x="83" y="105"/>
                    </a:lnTo>
                    <a:lnTo>
                      <a:pt x="79" y="104"/>
                    </a:lnTo>
                    <a:lnTo>
                      <a:pt x="78" y="101"/>
                    </a:lnTo>
                    <a:lnTo>
                      <a:pt x="80" y="101"/>
                    </a:lnTo>
                    <a:lnTo>
                      <a:pt x="80" y="99"/>
                    </a:lnTo>
                    <a:lnTo>
                      <a:pt x="80" y="98"/>
                    </a:lnTo>
                    <a:lnTo>
                      <a:pt x="79" y="97"/>
                    </a:lnTo>
                    <a:lnTo>
                      <a:pt x="79" y="95"/>
                    </a:lnTo>
                    <a:lnTo>
                      <a:pt x="82" y="94"/>
                    </a:lnTo>
                    <a:lnTo>
                      <a:pt x="83" y="92"/>
                    </a:lnTo>
                    <a:lnTo>
                      <a:pt x="86" y="91"/>
                    </a:lnTo>
                    <a:lnTo>
                      <a:pt x="88" y="94"/>
                    </a:lnTo>
                    <a:lnTo>
                      <a:pt x="88" y="95"/>
                    </a:lnTo>
                    <a:lnTo>
                      <a:pt x="88" y="98"/>
                    </a:lnTo>
                    <a:lnTo>
                      <a:pt x="88" y="99"/>
                    </a:lnTo>
                    <a:lnTo>
                      <a:pt x="88" y="104"/>
                    </a:lnTo>
                    <a:close/>
                    <a:moveTo>
                      <a:pt x="55" y="99"/>
                    </a:moveTo>
                    <a:lnTo>
                      <a:pt x="59" y="88"/>
                    </a:lnTo>
                    <a:lnTo>
                      <a:pt x="60" y="91"/>
                    </a:lnTo>
                    <a:lnTo>
                      <a:pt x="59" y="94"/>
                    </a:lnTo>
                    <a:lnTo>
                      <a:pt x="56" y="98"/>
                    </a:lnTo>
                    <a:lnTo>
                      <a:pt x="55" y="99"/>
                    </a:lnTo>
                    <a:close/>
                    <a:moveTo>
                      <a:pt x="63" y="66"/>
                    </a:moveTo>
                    <a:lnTo>
                      <a:pt x="67" y="69"/>
                    </a:lnTo>
                    <a:lnTo>
                      <a:pt x="67" y="71"/>
                    </a:lnTo>
                    <a:lnTo>
                      <a:pt x="66" y="69"/>
                    </a:lnTo>
                    <a:lnTo>
                      <a:pt x="65" y="69"/>
                    </a:lnTo>
                    <a:lnTo>
                      <a:pt x="63" y="68"/>
                    </a:lnTo>
                    <a:lnTo>
                      <a:pt x="63" y="66"/>
                    </a:lnTo>
                    <a:close/>
                    <a:moveTo>
                      <a:pt x="89" y="107"/>
                    </a:moveTo>
                    <a:lnTo>
                      <a:pt x="89" y="107"/>
                    </a:lnTo>
                    <a:lnTo>
                      <a:pt x="90" y="107"/>
                    </a:lnTo>
                    <a:lnTo>
                      <a:pt x="90" y="107"/>
                    </a:lnTo>
                    <a:lnTo>
                      <a:pt x="89" y="107"/>
                    </a:lnTo>
                    <a:lnTo>
                      <a:pt x="89" y="108"/>
                    </a:lnTo>
                    <a:lnTo>
                      <a:pt x="89" y="107"/>
                    </a:lnTo>
                    <a:close/>
                    <a:moveTo>
                      <a:pt x="52" y="94"/>
                    </a:moveTo>
                    <a:lnTo>
                      <a:pt x="53" y="95"/>
                    </a:lnTo>
                    <a:lnTo>
                      <a:pt x="53" y="98"/>
                    </a:lnTo>
                    <a:lnTo>
                      <a:pt x="53" y="99"/>
                    </a:lnTo>
                    <a:lnTo>
                      <a:pt x="52" y="98"/>
                    </a:lnTo>
                    <a:lnTo>
                      <a:pt x="52" y="97"/>
                    </a:lnTo>
                    <a:lnTo>
                      <a:pt x="52" y="95"/>
                    </a:lnTo>
                    <a:lnTo>
                      <a:pt x="50" y="94"/>
                    </a:lnTo>
                    <a:lnTo>
                      <a:pt x="52" y="94"/>
                    </a:lnTo>
                    <a:close/>
                    <a:moveTo>
                      <a:pt x="86" y="112"/>
                    </a:moveTo>
                    <a:lnTo>
                      <a:pt x="86" y="112"/>
                    </a:lnTo>
                    <a:lnTo>
                      <a:pt x="88" y="111"/>
                    </a:lnTo>
                    <a:lnTo>
                      <a:pt x="88" y="111"/>
                    </a:lnTo>
                    <a:lnTo>
                      <a:pt x="88" y="112"/>
                    </a:lnTo>
                    <a:lnTo>
                      <a:pt x="88" y="112"/>
                    </a:lnTo>
                    <a:lnTo>
                      <a:pt x="86" y="114"/>
                    </a:lnTo>
                    <a:lnTo>
                      <a:pt x="86" y="114"/>
                    </a:lnTo>
                    <a:lnTo>
                      <a:pt x="86" y="114"/>
                    </a:lnTo>
                    <a:lnTo>
                      <a:pt x="86" y="114"/>
                    </a:lnTo>
                    <a:lnTo>
                      <a:pt x="86" y="114"/>
                    </a:lnTo>
                    <a:lnTo>
                      <a:pt x="86" y="112"/>
                    </a:lnTo>
                    <a:close/>
                    <a:moveTo>
                      <a:pt x="86" y="110"/>
                    </a:moveTo>
                    <a:lnTo>
                      <a:pt x="86" y="110"/>
                    </a:lnTo>
                    <a:lnTo>
                      <a:pt x="86" y="110"/>
                    </a:lnTo>
                    <a:lnTo>
                      <a:pt x="86" y="108"/>
                    </a:lnTo>
                    <a:lnTo>
                      <a:pt x="86" y="108"/>
                    </a:lnTo>
                    <a:lnTo>
                      <a:pt x="88" y="110"/>
                    </a:lnTo>
                    <a:lnTo>
                      <a:pt x="88" y="110"/>
                    </a:lnTo>
                    <a:lnTo>
                      <a:pt x="88" y="110"/>
                    </a:lnTo>
                    <a:lnTo>
                      <a:pt x="86" y="110"/>
                    </a:lnTo>
                    <a:close/>
                    <a:moveTo>
                      <a:pt x="3" y="29"/>
                    </a:moveTo>
                    <a:lnTo>
                      <a:pt x="0" y="28"/>
                    </a:lnTo>
                    <a:lnTo>
                      <a:pt x="4" y="26"/>
                    </a:lnTo>
                    <a:lnTo>
                      <a:pt x="6" y="25"/>
                    </a:lnTo>
                    <a:lnTo>
                      <a:pt x="9" y="25"/>
                    </a:lnTo>
                    <a:lnTo>
                      <a:pt x="10" y="25"/>
                    </a:lnTo>
                    <a:lnTo>
                      <a:pt x="11" y="26"/>
                    </a:lnTo>
                    <a:lnTo>
                      <a:pt x="11" y="29"/>
                    </a:lnTo>
                    <a:lnTo>
                      <a:pt x="9" y="30"/>
                    </a:lnTo>
                    <a:lnTo>
                      <a:pt x="6" y="30"/>
                    </a:lnTo>
                    <a:lnTo>
                      <a:pt x="3" y="29"/>
                    </a:lnTo>
                    <a:close/>
                    <a:moveTo>
                      <a:pt x="158" y="138"/>
                    </a:moveTo>
                    <a:lnTo>
                      <a:pt x="155" y="140"/>
                    </a:lnTo>
                    <a:lnTo>
                      <a:pt x="151" y="143"/>
                    </a:lnTo>
                    <a:lnTo>
                      <a:pt x="146" y="143"/>
                    </a:lnTo>
                    <a:lnTo>
                      <a:pt x="142" y="144"/>
                    </a:lnTo>
                    <a:lnTo>
                      <a:pt x="139" y="143"/>
                    </a:lnTo>
                    <a:lnTo>
                      <a:pt x="142" y="135"/>
                    </a:lnTo>
                    <a:lnTo>
                      <a:pt x="148" y="128"/>
                    </a:lnTo>
                    <a:lnTo>
                      <a:pt x="154" y="124"/>
                    </a:lnTo>
                    <a:lnTo>
                      <a:pt x="161" y="127"/>
                    </a:lnTo>
                    <a:lnTo>
                      <a:pt x="162" y="131"/>
                    </a:lnTo>
                    <a:lnTo>
                      <a:pt x="161" y="134"/>
                    </a:lnTo>
                    <a:lnTo>
                      <a:pt x="158" y="138"/>
                    </a:lnTo>
                    <a:close/>
                  </a:path>
                </a:pathLst>
              </a:custGeom>
              <a:grpFill/>
              <a:ln w="1588" cap="flat">
                <a:solidFill>
                  <a:schemeClr val="bg1">
                    <a:lumMod val="9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defTabSz="914400"/>
                <a:endParaRPr lang="en-US" u="sng">
                  <a:solidFill>
                    <a:prstClr val="black"/>
                  </a:solidFill>
                  <a:latin typeface="Santander Headline" panose="020B0504020201020104" pitchFamily="34" charset="0"/>
                </a:endParaRPr>
              </a:p>
            </p:txBody>
          </p:sp>
        </p:grpSp>
      </p:grpSp>
      <p:sp>
        <p:nvSpPr>
          <p:cNvPr id="465" name="Marcador de número de diapositiva 5">
            <a:extLst>
              <a:ext uri="{FF2B5EF4-FFF2-40B4-BE49-F238E27FC236}">
                <a16:creationId xmlns:a16="http://schemas.microsoft.com/office/drawing/2014/main" id="{9BFBD019-F9C2-F266-D4BE-5C432C97A5F2}"/>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466" name="Footnotes">
            <a:extLst>
              <a:ext uri="{FF2B5EF4-FFF2-40B4-BE49-F238E27FC236}">
                <a16:creationId xmlns:a16="http://schemas.microsoft.com/office/drawing/2014/main" id="{35610C9A-F68E-44E9-1251-681A3181823B}"/>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EF7A7539-8911-889C-2D14-8C7D7426392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7" name="Marcador de texto 14">
            <a:extLst>
              <a:ext uri="{FF2B5EF4-FFF2-40B4-BE49-F238E27FC236}">
                <a16:creationId xmlns:a16="http://schemas.microsoft.com/office/drawing/2014/main" id="{4AECBA3E-E54E-F699-91B6-811DADEECA90}"/>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34034379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3A9B762-100F-0B12-6418-7FFB0BD419DB}"/>
              </a:ext>
            </a:extLst>
          </p:cNvPr>
          <p:cNvSpPr>
            <a:spLocks noGrp="1"/>
          </p:cNvSpPr>
          <p:nvPr>
            <p:ph type="dt" sz="half" idx="10"/>
          </p:nvPr>
        </p:nvSpPr>
        <p:spPr/>
        <p:txBody>
          <a:bodyPr/>
          <a:lstStyle/>
          <a:p>
            <a:fld id="{2936A72B-74AE-4828-B363-D54F043C4597}" type="datetimeFigureOut">
              <a:rPr lang="es-ES" smtClean="0"/>
              <a:t>03/12/2025</a:t>
            </a:fld>
            <a:endParaRPr lang="es-ES"/>
          </a:p>
        </p:txBody>
      </p:sp>
      <p:sp>
        <p:nvSpPr>
          <p:cNvPr id="3" name="Footer Placeholder 2">
            <a:extLst>
              <a:ext uri="{FF2B5EF4-FFF2-40B4-BE49-F238E27FC236}">
                <a16:creationId xmlns:a16="http://schemas.microsoft.com/office/drawing/2014/main" id="{1AE83100-B776-ACB4-B75A-0EC5606C3777}"/>
              </a:ext>
            </a:extLst>
          </p:cNvPr>
          <p:cNvSpPr>
            <a:spLocks noGrp="1"/>
          </p:cNvSpPr>
          <p:nvPr>
            <p:ph type="ftr" sz="quarter" idx="11"/>
          </p:nvPr>
        </p:nvSpPr>
        <p:spPr/>
        <p:txBody>
          <a:bodyPr/>
          <a:lstStyle/>
          <a:p>
            <a:endParaRPr lang="es-ES"/>
          </a:p>
        </p:txBody>
      </p:sp>
      <p:sp>
        <p:nvSpPr>
          <p:cNvPr id="4" name="Slide Number Placeholder 3">
            <a:extLst>
              <a:ext uri="{FF2B5EF4-FFF2-40B4-BE49-F238E27FC236}">
                <a16:creationId xmlns:a16="http://schemas.microsoft.com/office/drawing/2014/main" id="{3413835B-2D46-BF07-51F7-4676266909B1}"/>
              </a:ext>
            </a:extLst>
          </p:cNvPr>
          <p:cNvSpPr>
            <a:spLocks noGrp="1"/>
          </p:cNvSpPr>
          <p:nvPr>
            <p:ph type="sldNum" sz="quarter" idx="12"/>
          </p:nvPr>
        </p:nvSpPr>
        <p:spPr/>
        <p:txBody>
          <a:bodyPr/>
          <a:lstStyle/>
          <a:p>
            <a:fld id="{9CC58EAA-8CE3-4B47-B600-46B910A49F95}" type="slidenum">
              <a:rPr lang="es-ES" smtClean="0"/>
              <a:t>‹#›</a:t>
            </a:fld>
            <a:endParaRPr lang="es-ES"/>
          </a:p>
        </p:txBody>
      </p:sp>
    </p:spTree>
    <p:extLst>
      <p:ext uri="{BB962C8B-B14F-4D97-AF65-F5344CB8AC3E}">
        <p14:creationId xmlns:p14="http://schemas.microsoft.com/office/powerpoint/2010/main" val="8139164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1_Header &amp; Content ">
    <p:spTree>
      <p:nvGrpSpPr>
        <p:cNvPr id="1" name=""/>
        <p:cNvGrpSpPr/>
        <p:nvPr/>
      </p:nvGrpSpPr>
      <p:grpSpPr>
        <a:xfrm>
          <a:off x="0" y="0"/>
          <a:ext cx="0" cy="0"/>
          <a:chOff x="0" y="0"/>
          <a:chExt cx="0" cy="0"/>
        </a:xfrm>
      </p:grpSpPr>
      <p:sp>
        <p:nvSpPr>
          <p:cNvPr id="273" name="Rectángulo 272">
            <a:extLst>
              <a:ext uri="{FF2B5EF4-FFF2-40B4-BE49-F238E27FC236}">
                <a16:creationId xmlns:a16="http://schemas.microsoft.com/office/drawing/2014/main" id="{4665A6E7-9034-7194-C54B-3244381E3D4B}"/>
              </a:ext>
            </a:extLst>
          </p:cNvPr>
          <p:cNvSpPr/>
          <p:nvPr userDrawn="1"/>
        </p:nvSpPr>
        <p:spPr>
          <a:xfrm>
            <a:off x="693738" y="1373982"/>
            <a:ext cx="10984992" cy="451643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latin typeface="Santander Headline" panose="020B0504020201020104" pitchFamily="34" charset="0"/>
            </a:endParaRPr>
          </a:p>
        </p:txBody>
      </p:sp>
      <p:sp>
        <p:nvSpPr>
          <p:cNvPr id="5" name="Marcador de número de diapositiva 5">
            <a:extLst>
              <a:ext uri="{FF2B5EF4-FFF2-40B4-BE49-F238E27FC236}">
                <a16:creationId xmlns:a16="http://schemas.microsoft.com/office/drawing/2014/main" id="{F00C31C0-7F37-411F-7D5C-12A96E17BFEF}"/>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10" name="Footnotes">
            <a:extLst>
              <a:ext uri="{FF2B5EF4-FFF2-40B4-BE49-F238E27FC236}">
                <a16:creationId xmlns:a16="http://schemas.microsoft.com/office/drawing/2014/main" id="{8EE131E1-C78B-1113-CFC8-E1EC417CBF2F}"/>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7E7952CB-5114-BFEC-0C51-E6B82B9BD2F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65874670-7B38-A534-2A45-2C01674B86FA}"/>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A9BECAFD-0790-C11A-DCDA-26E4FF109199}"/>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430FA55A-F3C2-49FC-6852-A528A1E5B641}"/>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6160361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_Header &amp; Content ">
    <p:spTree>
      <p:nvGrpSpPr>
        <p:cNvPr id="1" name=""/>
        <p:cNvGrpSpPr/>
        <p:nvPr/>
      </p:nvGrpSpPr>
      <p:grpSpPr>
        <a:xfrm>
          <a:off x="0" y="0"/>
          <a:ext cx="0" cy="0"/>
          <a:chOff x="0" y="0"/>
          <a:chExt cx="0" cy="0"/>
        </a:xfrm>
      </p:grpSpPr>
      <p:sp>
        <p:nvSpPr>
          <p:cNvPr id="273" name="Rectángulo 272">
            <a:extLst>
              <a:ext uri="{FF2B5EF4-FFF2-40B4-BE49-F238E27FC236}">
                <a16:creationId xmlns:a16="http://schemas.microsoft.com/office/drawing/2014/main" id="{4665A6E7-9034-7194-C54B-3244381E3D4B}"/>
              </a:ext>
            </a:extLst>
          </p:cNvPr>
          <p:cNvSpPr/>
          <p:nvPr userDrawn="1"/>
        </p:nvSpPr>
        <p:spPr>
          <a:xfrm>
            <a:off x="2562131" y="1373982"/>
            <a:ext cx="9116599" cy="4516437"/>
          </a:xfrm>
          <a:prstGeom prst="rect">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latin typeface="Santander Headline" panose="020B0504020201020104" pitchFamily="34" charset="0"/>
            </a:endParaRPr>
          </a:p>
        </p:txBody>
      </p:sp>
      <p:sp>
        <p:nvSpPr>
          <p:cNvPr id="4" name="Rectángulo 3">
            <a:extLst>
              <a:ext uri="{FF2B5EF4-FFF2-40B4-BE49-F238E27FC236}">
                <a16:creationId xmlns:a16="http://schemas.microsoft.com/office/drawing/2014/main" id="{836CEB7C-E188-94A7-34BB-3EC0B02207BE}"/>
              </a:ext>
            </a:extLst>
          </p:cNvPr>
          <p:cNvSpPr/>
          <p:nvPr userDrawn="1"/>
        </p:nvSpPr>
        <p:spPr>
          <a:xfrm>
            <a:off x="693738" y="1373982"/>
            <a:ext cx="1868393" cy="4516437"/>
          </a:xfrm>
          <a:prstGeom prst="rect">
            <a:avLst/>
          </a:prstGeom>
          <a:solidFill>
            <a:schemeClr val="tx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latin typeface="Santander Headline" panose="020B0504020201020104" pitchFamily="34" charset="0"/>
            </a:endParaRPr>
          </a:p>
        </p:txBody>
      </p:sp>
      <p:sp>
        <p:nvSpPr>
          <p:cNvPr id="14" name="Marcador de número de diapositiva 5">
            <a:extLst>
              <a:ext uri="{FF2B5EF4-FFF2-40B4-BE49-F238E27FC236}">
                <a16:creationId xmlns:a16="http://schemas.microsoft.com/office/drawing/2014/main" id="{1B7B3B83-7547-0B25-565B-CDDE48EAF1A1}"/>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15" name="Footnotes">
            <a:extLst>
              <a:ext uri="{FF2B5EF4-FFF2-40B4-BE49-F238E27FC236}">
                <a16:creationId xmlns:a16="http://schemas.microsoft.com/office/drawing/2014/main" id="{CF582882-9FE0-9782-C3FE-4AA9EBE3FD46}"/>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832D231F-F912-F8ED-3D1A-6CB5E50B3C1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CB22BEC0-4D41-0D16-C017-3C651994D24D}"/>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5C2F587F-AEBE-2A90-00A6-BE5CF0496B0C}"/>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1B0FA081-8B88-6CC3-6588-0AD386C30B5A}"/>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31727271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5_Header &amp; Content ">
    <p:spTree>
      <p:nvGrpSpPr>
        <p:cNvPr id="1" name=""/>
        <p:cNvGrpSpPr/>
        <p:nvPr/>
      </p:nvGrpSpPr>
      <p:grpSpPr>
        <a:xfrm>
          <a:off x="0" y="0"/>
          <a:ext cx="0" cy="0"/>
          <a:chOff x="0" y="0"/>
          <a:chExt cx="0" cy="0"/>
        </a:xfrm>
      </p:grpSpPr>
      <p:sp>
        <p:nvSpPr>
          <p:cNvPr id="273" name="Rectángulo 272">
            <a:extLst>
              <a:ext uri="{FF2B5EF4-FFF2-40B4-BE49-F238E27FC236}">
                <a16:creationId xmlns:a16="http://schemas.microsoft.com/office/drawing/2014/main" id="{4665A6E7-9034-7194-C54B-3244381E3D4B}"/>
              </a:ext>
            </a:extLst>
          </p:cNvPr>
          <p:cNvSpPr/>
          <p:nvPr userDrawn="1"/>
        </p:nvSpPr>
        <p:spPr>
          <a:xfrm>
            <a:off x="693739" y="1373982"/>
            <a:ext cx="7561498" cy="4516437"/>
          </a:xfrm>
          <a:prstGeom prst="rect">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latin typeface="+mj-lt"/>
            </a:endParaRPr>
          </a:p>
        </p:txBody>
      </p:sp>
      <p:sp>
        <p:nvSpPr>
          <p:cNvPr id="4" name="Rectángulo 3">
            <a:extLst>
              <a:ext uri="{FF2B5EF4-FFF2-40B4-BE49-F238E27FC236}">
                <a16:creationId xmlns:a16="http://schemas.microsoft.com/office/drawing/2014/main" id="{836CEB7C-E188-94A7-34BB-3EC0B02207BE}"/>
              </a:ext>
            </a:extLst>
          </p:cNvPr>
          <p:cNvSpPr/>
          <p:nvPr userDrawn="1"/>
        </p:nvSpPr>
        <p:spPr>
          <a:xfrm>
            <a:off x="8256766" y="1373982"/>
            <a:ext cx="3434091" cy="4516437"/>
          </a:xfrm>
          <a:prstGeom prst="rect">
            <a:avLst/>
          </a:prstGeom>
          <a:solidFill>
            <a:schemeClr val="tx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latin typeface="+mj-lt"/>
            </a:endParaRPr>
          </a:p>
        </p:txBody>
      </p:sp>
      <p:cxnSp>
        <p:nvCxnSpPr>
          <p:cNvPr id="10" name="Conector recto 9">
            <a:extLst>
              <a:ext uri="{FF2B5EF4-FFF2-40B4-BE49-F238E27FC236}">
                <a16:creationId xmlns:a16="http://schemas.microsoft.com/office/drawing/2014/main" id="{978488B3-78C1-5033-40A2-75D62F079E4B}"/>
              </a:ext>
            </a:extLst>
          </p:cNvPr>
          <p:cNvCxnSpPr>
            <a:cxnSpLocks/>
          </p:cNvCxnSpPr>
          <p:nvPr userDrawn="1"/>
        </p:nvCxnSpPr>
        <p:spPr>
          <a:xfrm>
            <a:off x="1487733" y="4486541"/>
            <a:ext cx="5973510" cy="0"/>
          </a:xfrm>
          <a:prstGeom prst="line">
            <a:avLst/>
          </a:prstGeom>
          <a:ln w="25400" cap="rnd">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5" name="Marcador de texto 34">
            <a:extLst>
              <a:ext uri="{FF2B5EF4-FFF2-40B4-BE49-F238E27FC236}">
                <a16:creationId xmlns:a16="http://schemas.microsoft.com/office/drawing/2014/main" id="{63CB5118-9628-DB06-7E57-C0756F738F85}"/>
              </a:ext>
            </a:extLst>
          </p:cNvPr>
          <p:cNvSpPr>
            <a:spLocks noGrp="1"/>
          </p:cNvSpPr>
          <p:nvPr>
            <p:ph type="body" sz="quarter" idx="61"/>
          </p:nvPr>
        </p:nvSpPr>
        <p:spPr>
          <a:xfrm>
            <a:off x="1096411" y="4634989"/>
            <a:ext cx="2005712" cy="1106855"/>
          </a:xfrm>
          <a:prstGeom prst="rect">
            <a:avLst/>
          </a:prstGeom>
          <a:noFill/>
        </p:spPr>
        <p:txBody>
          <a:bodyPr wrap="square">
            <a:noAutofit/>
          </a:bodyPr>
          <a:lstStyle>
            <a:lvl1pPr marL="0" indent="0" algn="r">
              <a:spcBef>
                <a:spcPts val="0"/>
              </a:spcBef>
              <a:spcAft>
                <a:spcPts val="600"/>
              </a:spcAft>
              <a:buNone/>
              <a:defRPr sz="1400" b="1">
                <a:solidFill>
                  <a:srgbClr val="6F7779"/>
                </a:solidFill>
                <a:latin typeface="+mj-lt"/>
              </a:defRPr>
            </a:lvl1pPr>
            <a:lvl2pPr marL="0" indent="0">
              <a:spcBef>
                <a:spcPts val="0"/>
              </a:spcBef>
              <a:spcAft>
                <a:spcPts val="600"/>
              </a:spcAft>
              <a:buClr>
                <a:schemeClr val="accent3"/>
              </a:buClr>
              <a:buNone/>
              <a:defRPr sz="1100">
                <a:solidFill>
                  <a:schemeClr val="tx1"/>
                </a:solidFill>
              </a:defRPr>
            </a:lvl2pPr>
            <a:lvl3pPr marL="396000" indent="-180000">
              <a:buClr>
                <a:schemeClr val="accent4"/>
              </a:buClr>
              <a:buFont typeface="Santander Text" panose="020B0504020201020104" pitchFamily="34" charset="0"/>
              <a:buChar char="–"/>
              <a:defRPr sz="1100"/>
            </a:lvl3pPr>
            <a:lvl4pPr marL="396000" indent="-180000">
              <a:buClr>
                <a:schemeClr val="accent4"/>
              </a:buClr>
              <a:buFont typeface="Santander Text" panose="020B0504020201020104" pitchFamily="34" charset="0"/>
              <a:buChar char="–"/>
              <a:defRPr sz="1100"/>
            </a:lvl4pPr>
            <a:lvl5pPr marL="396000" indent="-180000">
              <a:buClr>
                <a:schemeClr val="accent4"/>
              </a:buClr>
              <a:buFont typeface="Santander Text" panose="020B0504020201020104" pitchFamily="34" charset="0"/>
              <a:buChar char="–"/>
              <a:defRPr sz="1100"/>
            </a:lvl5pPr>
          </a:lstStyle>
          <a:p>
            <a:pPr lvl="0"/>
            <a:endParaRPr lang="es-ES"/>
          </a:p>
        </p:txBody>
      </p:sp>
      <p:sp>
        <p:nvSpPr>
          <p:cNvPr id="27" name="Marcador de gráfico 26">
            <a:extLst>
              <a:ext uri="{FF2B5EF4-FFF2-40B4-BE49-F238E27FC236}">
                <a16:creationId xmlns:a16="http://schemas.microsoft.com/office/drawing/2014/main" id="{71D56322-6D5C-4982-5848-5F9CB6CD2107}"/>
              </a:ext>
            </a:extLst>
          </p:cNvPr>
          <p:cNvSpPr>
            <a:spLocks noGrp="1"/>
          </p:cNvSpPr>
          <p:nvPr>
            <p:ph type="chart" sz="quarter" idx="62"/>
          </p:nvPr>
        </p:nvSpPr>
        <p:spPr>
          <a:xfrm>
            <a:off x="3327400" y="4635500"/>
            <a:ext cx="4133850" cy="1133475"/>
          </a:xfrm>
          <a:prstGeom prst="rect">
            <a:avLst/>
          </a:prstGeom>
        </p:spPr>
        <p:txBody>
          <a:bodyPr/>
          <a:lstStyle>
            <a:lvl1pPr marL="0" indent="0" algn="ctr">
              <a:buNone/>
              <a:defRPr sz="1050">
                <a:latin typeface="+mj-lt"/>
              </a:defRPr>
            </a:lvl1pPr>
          </a:lstStyle>
          <a:p>
            <a:endParaRPr lang="es-ES"/>
          </a:p>
        </p:txBody>
      </p:sp>
      <p:sp>
        <p:nvSpPr>
          <p:cNvPr id="28" name="Marcador de texto 34">
            <a:extLst>
              <a:ext uri="{FF2B5EF4-FFF2-40B4-BE49-F238E27FC236}">
                <a16:creationId xmlns:a16="http://schemas.microsoft.com/office/drawing/2014/main" id="{9A446A78-EC26-42FA-0EF0-8278FEFC12D8}"/>
              </a:ext>
            </a:extLst>
          </p:cNvPr>
          <p:cNvSpPr>
            <a:spLocks noGrp="1"/>
          </p:cNvSpPr>
          <p:nvPr>
            <p:ph type="body" sz="quarter" idx="63"/>
          </p:nvPr>
        </p:nvSpPr>
        <p:spPr>
          <a:xfrm>
            <a:off x="8463527" y="3215473"/>
            <a:ext cx="3034734" cy="341644"/>
          </a:xfrm>
          <a:prstGeom prst="rect">
            <a:avLst/>
          </a:prstGeom>
          <a:noFill/>
        </p:spPr>
        <p:txBody>
          <a:bodyPr wrap="square">
            <a:noAutofit/>
          </a:bodyPr>
          <a:lstStyle>
            <a:lvl1pPr marL="0" indent="0" algn="l">
              <a:spcBef>
                <a:spcPts val="0"/>
              </a:spcBef>
              <a:spcAft>
                <a:spcPts val="600"/>
              </a:spcAft>
              <a:buNone/>
              <a:defRPr sz="1400" b="1">
                <a:solidFill>
                  <a:schemeClr val="tx1">
                    <a:lumMod val="75000"/>
                  </a:schemeClr>
                </a:solidFill>
                <a:latin typeface="+mj-lt"/>
              </a:defRPr>
            </a:lvl1pPr>
            <a:lvl2pPr marL="0" indent="0">
              <a:spcBef>
                <a:spcPts val="0"/>
              </a:spcBef>
              <a:spcAft>
                <a:spcPts val="600"/>
              </a:spcAft>
              <a:buClr>
                <a:schemeClr val="accent3"/>
              </a:buClr>
              <a:buNone/>
              <a:defRPr sz="1100">
                <a:solidFill>
                  <a:schemeClr val="tx1"/>
                </a:solidFill>
              </a:defRPr>
            </a:lvl2pPr>
            <a:lvl3pPr marL="396000" indent="-180000">
              <a:buClr>
                <a:schemeClr val="accent4"/>
              </a:buClr>
              <a:buFont typeface="Santander Text" panose="020B0504020201020104" pitchFamily="34" charset="0"/>
              <a:buChar char="–"/>
              <a:defRPr sz="1100"/>
            </a:lvl3pPr>
            <a:lvl4pPr marL="396000" indent="-180000">
              <a:buClr>
                <a:schemeClr val="accent4"/>
              </a:buClr>
              <a:buFont typeface="Santander Text" panose="020B0504020201020104" pitchFamily="34" charset="0"/>
              <a:buChar char="–"/>
              <a:defRPr sz="1100"/>
            </a:lvl4pPr>
            <a:lvl5pPr marL="396000" indent="-180000">
              <a:buClr>
                <a:schemeClr val="accent4"/>
              </a:buClr>
              <a:buFont typeface="Santander Text" panose="020B0504020201020104" pitchFamily="34" charset="0"/>
              <a:buChar char="–"/>
              <a:defRPr sz="1100"/>
            </a:lvl5pPr>
          </a:lstStyle>
          <a:p>
            <a:pPr lvl="0"/>
            <a:endParaRPr lang="es-ES"/>
          </a:p>
        </p:txBody>
      </p:sp>
      <p:sp>
        <p:nvSpPr>
          <p:cNvPr id="29" name="Marcador de gráfico 26">
            <a:extLst>
              <a:ext uri="{FF2B5EF4-FFF2-40B4-BE49-F238E27FC236}">
                <a16:creationId xmlns:a16="http://schemas.microsoft.com/office/drawing/2014/main" id="{8DC73E4A-5950-7916-E82F-50F2BDAFF11B}"/>
              </a:ext>
            </a:extLst>
          </p:cNvPr>
          <p:cNvSpPr>
            <a:spLocks noGrp="1"/>
          </p:cNvSpPr>
          <p:nvPr>
            <p:ph type="chart" sz="quarter" idx="64"/>
          </p:nvPr>
        </p:nvSpPr>
        <p:spPr>
          <a:xfrm>
            <a:off x="8475397" y="3547068"/>
            <a:ext cx="3074430" cy="2194775"/>
          </a:xfrm>
          <a:prstGeom prst="rect">
            <a:avLst/>
          </a:prstGeom>
        </p:spPr>
        <p:txBody>
          <a:bodyPr/>
          <a:lstStyle>
            <a:lvl1pPr marL="0" indent="0" algn="ctr">
              <a:buNone/>
              <a:defRPr sz="1050">
                <a:latin typeface="+mj-lt"/>
              </a:defRPr>
            </a:lvl1pPr>
          </a:lstStyle>
          <a:p>
            <a:endParaRPr lang="es-ES"/>
          </a:p>
        </p:txBody>
      </p:sp>
      <p:sp>
        <p:nvSpPr>
          <p:cNvPr id="31" name="Marcador de posición de imagen 30">
            <a:extLst>
              <a:ext uri="{FF2B5EF4-FFF2-40B4-BE49-F238E27FC236}">
                <a16:creationId xmlns:a16="http://schemas.microsoft.com/office/drawing/2014/main" id="{F58250E9-4464-F521-43AE-97D4CBA74836}"/>
              </a:ext>
            </a:extLst>
          </p:cNvPr>
          <p:cNvSpPr>
            <a:spLocks noGrp="1"/>
          </p:cNvSpPr>
          <p:nvPr>
            <p:ph type="pic" sz="quarter" idx="65"/>
          </p:nvPr>
        </p:nvSpPr>
        <p:spPr>
          <a:xfrm>
            <a:off x="9244013" y="1566863"/>
            <a:ext cx="1363662" cy="1363662"/>
          </a:xfrm>
          <a:prstGeom prst="ellipse">
            <a:avLst/>
          </a:prstGeom>
          <a:noFill/>
        </p:spPr>
        <p:txBody>
          <a:bodyPr/>
          <a:lstStyle>
            <a:lvl1pPr marL="0" indent="0" algn="ctr">
              <a:buNone/>
              <a:defRPr sz="1050">
                <a:solidFill>
                  <a:schemeClr val="tx2"/>
                </a:solidFill>
                <a:latin typeface="+mj-lt"/>
              </a:defRPr>
            </a:lvl1pPr>
          </a:lstStyle>
          <a:p>
            <a:endParaRPr lang="es-ES"/>
          </a:p>
        </p:txBody>
      </p:sp>
      <p:sp>
        <p:nvSpPr>
          <p:cNvPr id="12" name="Marcador de número de diapositiva 5">
            <a:extLst>
              <a:ext uri="{FF2B5EF4-FFF2-40B4-BE49-F238E27FC236}">
                <a16:creationId xmlns:a16="http://schemas.microsoft.com/office/drawing/2014/main" id="{C80BA728-FD27-3FCF-4859-AC44BA148B53}"/>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13" name="Footnotes">
            <a:extLst>
              <a:ext uri="{FF2B5EF4-FFF2-40B4-BE49-F238E27FC236}">
                <a16:creationId xmlns:a16="http://schemas.microsoft.com/office/drawing/2014/main" id="{BE9F4334-4AAB-5098-6590-3EC42C384713}"/>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75C589B8-74D9-1F6B-34D1-6C73E32D47A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4EA434A8-B2DB-BD2B-376F-DE0AC66EE8FC}"/>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213A011E-3114-3665-CB20-421CDDCA6C17}"/>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3A28FB9C-EA72-CC8E-A656-B14F7B6AAB1C}"/>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25433026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3_Header &amp; Content ">
    <p:spTree>
      <p:nvGrpSpPr>
        <p:cNvPr id="1" name=""/>
        <p:cNvGrpSpPr/>
        <p:nvPr/>
      </p:nvGrpSpPr>
      <p:grpSpPr>
        <a:xfrm>
          <a:off x="0" y="0"/>
          <a:ext cx="0" cy="0"/>
          <a:chOff x="0" y="0"/>
          <a:chExt cx="0" cy="0"/>
        </a:xfrm>
      </p:grpSpPr>
      <p:sp>
        <p:nvSpPr>
          <p:cNvPr id="273" name="Rectángulo 272">
            <a:extLst>
              <a:ext uri="{FF2B5EF4-FFF2-40B4-BE49-F238E27FC236}">
                <a16:creationId xmlns:a16="http://schemas.microsoft.com/office/drawing/2014/main" id="{4665A6E7-9034-7194-C54B-3244381E3D4B}"/>
              </a:ext>
            </a:extLst>
          </p:cNvPr>
          <p:cNvSpPr/>
          <p:nvPr userDrawn="1"/>
        </p:nvSpPr>
        <p:spPr>
          <a:xfrm>
            <a:off x="6096000" y="1373982"/>
            <a:ext cx="5576853" cy="4516437"/>
          </a:xfrm>
          <a:prstGeom prst="rect">
            <a:avLst/>
          </a:prstGeom>
          <a:solidFill>
            <a:schemeClr val="tx1">
              <a:lumMod val="20000"/>
              <a:lumOff val="80000"/>
              <a:alpha val="7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latin typeface="+mj-lt"/>
            </a:endParaRPr>
          </a:p>
        </p:txBody>
      </p:sp>
      <p:sp>
        <p:nvSpPr>
          <p:cNvPr id="4" name="Rectángulo 3">
            <a:extLst>
              <a:ext uri="{FF2B5EF4-FFF2-40B4-BE49-F238E27FC236}">
                <a16:creationId xmlns:a16="http://schemas.microsoft.com/office/drawing/2014/main" id="{836CEB7C-E188-94A7-34BB-3EC0B02207BE}"/>
              </a:ext>
            </a:extLst>
          </p:cNvPr>
          <p:cNvSpPr/>
          <p:nvPr userDrawn="1"/>
        </p:nvSpPr>
        <p:spPr>
          <a:xfrm>
            <a:off x="693739" y="1373982"/>
            <a:ext cx="5402261" cy="4516437"/>
          </a:xfrm>
          <a:prstGeom prst="rect">
            <a:avLst/>
          </a:prstGeom>
          <a:solidFill>
            <a:schemeClr val="tx1">
              <a:lumMod val="40000"/>
              <a:lumOff val="60000"/>
              <a:alpha val="6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latin typeface="+mj-lt"/>
            </a:endParaRPr>
          </a:p>
        </p:txBody>
      </p:sp>
      <p:sp>
        <p:nvSpPr>
          <p:cNvPr id="12" name="Marcador de texto 42">
            <a:extLst>
              <a:ext uri="{FF2B5EF4-FFF2-40B4-BE49-F238E27FC236}">
                <a16:creationId xmlns:a16="http://schemas.microsoft.com/office/drawing/2014/main" id="{1B769AD0-0202-AB82-BBDD-5B99DB78FBDB}"/>
              </a:ext>
            </a:extLst>
          </p:cNvPr>
          <p:cNvSpPr>
            <a:spLocks noGrp="1"/>
          </p:cNvSpPr>
          <p:nvPr>
            <p:ph type="body" sz="quarter" idx="49" hasCustomPrompt="1"/>
          </p:nvPr>
        </p:nvSpPr>
        <p:spPr>
          <a:xfrm>
            <a:off x="972235" y="4217824"/>
            <a:ext cx="2173239" cy="1427602"/>
          </a:xfrm>
          <a:prstGeom prst="rect">
            <a:avLst/>
          </a:prstGeom>
          <a:noFill/>
        </p:spPr>
        <p:txBody>
          <a:bodyPr lIns="108000" tIns="108000" rIns="108000" bIns="108000"/>
          <a:lstStyle>
            <a:lvl1pPr marL="0" indent="0">
              <a:spcBef>
                <a:spcPts val="0"/>
              </a:spcBef>
              <a:spcAft>
                <a:spcPts val="600"/>
              </a:spcAft>
              <a:buNone/>
              <a:defRPr sz="1100" b="1">
                <a:solidFill>
                  <a:schemeClr val="tx2">
                    <a:lumMod val="95000"/>
                    <a:lumOff val="5000"/>
                  </a:schemeClr>
                </a:solidFill>
                <a:latin typeface="+mj-lt"/>
              </a:defRPr>
            </a:lvl1pPr>
            <a:lvl2pPr marL="0" indent="0">
              <a:lnSpc>
                <a:spcPct val="100000"/>
              </a:lnSpc>
              <a:spcBef>
                <a:spcPts val="0"/>
              </a:spcBef>
              <a:spcAft>
                <a:spcPts val="600"/>
              </a:spcAft>
              <a:buNone/>
              <a:defRPr sz="1050">
                <a:solidFill>
                  <a:schemeClr val="tx2">
                    <a:lumMod val="95000"/>
                    <a:lumOff val="5000"/>
                  </a:schemeClr>
                </a:solidFill>
                <a:latin typeface="+mj-lt"/>
              </a:defRPr>
            </a:lvl2pPr>
            <a:lvl3pPr marL="180000" indent="-180000">
              <a:spcBef>
                <a:spcPts val="0"/>
              </a:spcBef>
              <a:buClr>
                <a:srgbClr val="EC0000"/>
              </a:buClr>
              <a:buFont typeface="Santander Text" panose="020B0504020201020104" pitchFamily="34" charset="0"/>
              <a:buChar char="•"/>
              <a:defRPr sz="1000">
                <a:solidFill>
                  <a:schemeClr val="tx2">
                    <a:lumMod val="95000"/>
                    <a:lumOff val="5000"/>
                  </a:schemeClr>
                </a:solidFill>
                <a:latin typeface="+mj-lt"/>
              </a:defRPr>
            </a:lvl3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a:p>
            <a:pPr lvl="2"/>
            <a:r>
              <a:rPr lang="es-ES"/>
              <a:t>Click </a:t>
            </a:r>
            <a:r>
              <a:rPr lang="es-ES" err="1"/>
              <a:t>to</a:t>
            </a:r>
            <a:r>
              <a:rPr lang="es-ES"/>
              <a:t> </a:t>
            </a:r>
            <a:r>
              <a:rPr lang="es-ES" err="1"/>
              <a:t>add</a:t>
            </a:r>
            <a:r>
              <a:rPr lang="es-ES"/>
              <a:t> </a:t>
            </a:r>
            <a:r>
              <a:rPr lang="es-ES" err="1"/>
              <a:t>text</a:t>
            </a:r>
            <a:endParaRPr lang="es-ES"/>
          </a:p>
        </p:txBody>
      </p:sp>
      <p:sp>
        <p:nvSpPr>
          <p:cNvPr id="13" name="Marcador de texto 42">
            <a:extLst>
              <a:ext uri="{FF2B5EF4-FFF2-40B4-BE49-F238E27FC236}">
                <a16:creationId xmlns:a16="http://schemas.microsoft.com/office/drawing/2014/main" id="{F6FF578D-8A2D-9085-94B9-21570B592B29}"/>
              </a:ext>
            </a:extLst>
          </p:cNvPr>
          <p:cNvSpPr>
            <a:spLocks noGrp="1"/>
          </p:cNvSpPr>
          <p:nvPr>
            <p:ph type="body" sz="quarter" idx="50" hasCustomPrompt="1"/>
          </p:nvPr>
        </p:nvSpPr>
        <p:spPr>
          <a:xfrm>
            <a:off x="9231652" y="4217824"/>
            <a:ext cx="2173239" cy="1427602"/>
          </a:xfrm>
          <a:prstGeom prst="rect">
            <a:avLst/>
          </a:prstGeom>
          <a:noFill/>
        </p:spPr>
        <p:txBody>
          <a:bodyPr lIns="108000" tIns="108000" rIns="108000" bIns="108000"/>
          <a:lstStyle>
            <a:lvl1pPr marL="0" indent="0">
              <a:spcBef>
                <a:spcPts val="0"/>
              </a:spcBef>
              <a:spcAft>
                <a:spcPts val="600"/>
              </a:spcAft>
              <a:buNone/>
              <a:defRPr sz="1100" b="1">
                <a:latin typeface="+mj-lt"/>
              </a:defRPr>
            </a:lvl1pPr>
            <a:lvl2pPr marL="0" indent="0">
              <a:lnSpc>
                <a:spcPct val="100000"/>
              </a:lnSpc>
              <a:spcBef>
                <a:spcPts val="0"/>
              </a:spcBef>
              <a:spcAft>
                <a:spcPts val="600"/>
              </a:spcAft>
              <a:buNone/>
              <a:defRPr sz="1050">
                <a:latin typeface="+mj-lt"/>
              </a:defRPr>
            </a:lvl2pPr>
            <a:lvl3pPr marL="180000" indent="-180000">
              <a:spcBef>
                <a:spcPts val="0"/>
              </a:spcBef>
              <a:buClr>
                <a:srgbClr val="EC0000"/>
              </a:buClr>
              <a:buFont typeface="Santander Text" panose="020B0504020201020104" pitchFamily="34" charset="0"/>
              <a:buChar char="•"/>
              <a:defRPr sz="1000">
                <a:latin typeface="+mj-lt"/>
              </a:defRPr>
            </a:lvl3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a:p>
            <a:pPr lvl="2"/>
            <a:r>
              <a:rPr lang="es-ES"/>
              <a:t>Click </a:t>
            </a:r>
            <a:r>
              <a:rPr lang="es-ES" err="1"/>
              <a:t>to</a:t>
            </a:r>
            <a:r>
              <a:rPr lang="es-ES"/>
              <a:t> </a:t>
            </a:r>
            <a:r>
              <a:rPr lang="es-ES" err="1"/>
              <a:t>add</a:t>
            </a:r>
            <a:r>
              <a:rPr lang="es-ES"/>
              <a:t> </a:t>
            </a:r>
            <a:r>
              <a:rPr lang="es-ES" err="1"/>
              <a:t>text</a:t>
            </a:r>
            <a:endParaRPr lang="es-ES"/>
          </a:p>
        </p:txBody>
      </p:sp>
      <p:sp>
        <p:nvSpPr>
          <p:cNvPr id="14" name="Marcador de texto 34">
            <a:extLst>
              <a:ext uri="{FF2B5EF4-FFF2-40B4-BE49-F238E27FC236}">
                <a16:creationId xmlns:a16="http://schemas.microsoft.com/office/drawing/2014/main" id="{4DAEAB7B-53CE-1E50-C844-E58DA91C5CE0}"/>
              </a:ext>
            </a:extLst>
          </p:cNvPr>
          <p:cNvSpPr>
            <a:spLocks noGrp="1"/>
          </p:cNvSpPr>
          <p:nvPr>
            <p:ph type="body" sz="quarter" idx="61"/>
          </p:nvPr>
        </p:nvSpPr>
        <p:spPr>
          <a:xfrm>
            <a:off x="1053682" y="1618325"/>
            <a:ext cx="4681196" cy="299928"/>
          </a:xfrm>
          <a:prstGeom prst="rect">
            <a:avLst/>
          </a:prstGeom>
          <a:noFill/>
        </p:spPr>
        <p:txBody>
          <a:bodyPr wrap="square">
            <a:noAutofit/>
          </a:bodyPr>
          <a:lstStyle>
            <a:lvl1pPr marL="0" indent="0">
              <a:spcBef>
                <a:spcPts val="0"/>
              </a:spcBef>
              <a:spcAft>
                <a:spcPts val="600"/>
              </a:spcAft>
              <a:buNone/>
              <a:defRPr sz="1400" b="1">
                <a:solidFill>
                  <a:schemeClr val="tx2"/>
                </a:solidFill>
                <a:latin typeface="+mj-lt"/>
              </a:defRPr>
            </a:lvl1pPr>
            <a:lvl2pPr marL="0" indent="0">
              <a:spcBef>
                <a:spcPts val="0"/>
              </a:spcBef>
              <a:spcAft>
                <a:spcPts val="600"/>
              </a:spcAft>
              <a:buClr>
                <a:schemeClr val="accent3"/>
              </a:buClr>
              <a:buNone/>
              <a:defRPr sz="1100">
                <a:solidFill>
                  <a:schemeClr val="tx1"/>
                </a:solidFill>
              </a:defRPr>
            </a:lvl2pPr>
            <a:lvl3pPr marL="396000" indent="-180000">
              <a:buClr>
                <a:schemeClr val="accent4"/>
              </a:buClr>
              <a:buFont typeface="Santander Text" panose="020B0504020201020104" pitchFamily="34" charset="0"/>
              <a:buChar char="–"/>
              <a:defRPr sz="1100"/>
            </a:lvl3pPr>
            <a:lvl4pPr marL="396000" indent="-180000">
              <a:buClr>
                <a:schemeClr val="accent4"/>
              </a:buClr>
              <a:buFont typeface="Santander Text" panose="020B0504020201020104" pitchFamily="34" charset="0"/>
              <a:buChar char="–"/>
              <a:defRPr sz="1100"/>
            </a:lvl4pPr>
            <a:lvl5pPr marL="396000" indent="-180000">
              <a:buClr>
                <a:schemeClr val="accent4"/>
              </a:buClr>
              <a:buFont typeface="Santander Text" panose="020B0504020201020104" pitchFamily="34" charset="0"/>
              <a:buChar char="–"/>
              <a:defRPr sz="1100"/>
            </a:lvl5pPr>
          </a:lstStyle>
          <a:p>
            <a:pPr lvl="0"/>
            <a:endParaRPr lang="es-ES"/>
          </a:p>
        </p:txBody>
      </p:sp>
      <p:sp>
        <p:nvSpPr>
          <p:cNvPr id="15" name="Marcador de texto 34">
            <a:extLst>
              <a:ext uri="{FF2B5EF4-FFF2-40B4-BE49-F238E27FC236}">
                <a16:creationId xmlns:a16="http://schemas.microsoft.com/office/drawing/2014/main" id="{D0EF3045-DCE0-CE84-EA4C-48A0344551DC}"/>
              </a:ext>
            </a:extLst>
          </p:cNvPr>
          <p:cNvSpPr>
            <a:spLocks noGrp="1"/>
          </p:cNvSpPr>
          <p:nvPr>
            <p:ph type="body" sz="quarter" idx="62"/>
          </p:nvPr>
        </p:nvSpPr>
        <p:spPr>
          <a:xfrm>
            <a:off x="6477134" y="1618325"/>
            <a:ext cx="4681196" cy="299928"/>
          </a:xfrm>
          <a:prstGeom prst="rect">
            <a:avLst/>
          </a:prstGeom>
          <a:noFill/>
        </p:spPr>
        <p:txBody>
          <a:bodyPr wrap="square">
            <a:noAutofit/>
          </a:bodyPr>
          <a:lstStyle>
            <a:lvl1pPr marL="0" indent="0" algn="r">
              <a:spcBef>
                <a:spcPts val="0"/>
              </a:spcBef>
              <a:spcAft>
                <a:spcPts val="600"/>
              </a:spcAft>
              <a:buNone/>
              <a:defRPr sz="1400" b="1">
                <a:solidFill>
                  <a:schemeClr val="tx2"/>
                </a:solidFill>
                <a:latin typeface="+mj-lt"/>
              </a:defRPr>
            </a:lvl1pPr>
            <a:lvl2pPr marL="0" indent="0">
              <a:spcBef>
                <a:spcPts val="0"/>
              </a:spcBef>
              <a:spcAft>
                <a:spcPts val="600"/>
              </a:spcAft>
              <a:buClr>
                <a:schemeClr val="accent3"/>
              </a:buClr>
              <a:buNone/>
              <a:defRPr sz="1100">
                <a:solidFill>
                  <a:schemeClr val="tx1"/>
                </a:solidFill>
              </a:defRPr>
            </a:lvl2pPr>
            <a:lvl3pPr marL="396000" indent="-180000">
              <a:buClr>
                <a:schemeClr val="accent4"/>
              </a:buClr>
              <a:buFont typeface="Santander Text" panose="020B0504020201020104" pitchFamily="34" charset="0"/>
              <a:buChar char="–"/>
              <a:defRPr sz="1100"/>
            </a:lvl3pPr>
            <a:lvl4pPr marL="396000" indent="-180000">
              <a:buClr>
                <a:schemeClr val="accent4"/>
              </a:buClr>
              <a:buFont typeface="Santander Text" panose="020B0504020201020104" pitchFamily="34" charset="0"/>
              <a:buChar char="–"/>
              <a:defRPr sz="1100"/>
            </a:lvl4pPr>
            <a:lvl5pPr marL="396000" indent="-180000">
              <a:buClr>
                <a:schemeClr val="accent4"/>
              </a:buClr>
              <a:buFont typeface="Santander Text" panose="020B0504020201020104" pitchFamily="34" charset="0"/>
              <a:buChar char="–"/>
              <a:defRPr sz="1100"/>
            </a:lvl5pPr>
          </a:lstStyle>
          <a:p>
            <a:pPr lvl="0"/>
            <a:endParaRPr lang="es-ES"/>
          </a:p>
        </p:txBody>
      </p:sp>
      <p:sp>
        <p:nvSpPr>
          <p:cNvPr id="10" name="Marcador de número de diapositiva 5">
            <a:extLst>
              <a:ext uri="{FF2B5EF4-FFF2-40B4-BE49-F238E27FC236}">
                <a16:creationId xmlns:a16="http://schemas.microsoft.com/office/drawing/2014/main" id="{7DBD25AF-FD20-AC2D-4B86-92A7C12E10D4}"/>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16" name="Footnotes">
            <a:extLst>
              <a:ext uri="{FF2B5EF4-FFF2-40B4-BE49-F238E27FC236}">
                <a16:creationId xmlns:a16="http://schemas.microsoft.com/office/drawing/2014/main" id="{CA6AEA93-1B0C-414F-8B25-5C4A83205CD9}"/>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3E61BB75-ACCF-2EDC-0CA8-A70C2316FA1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6E1127BD-4402-62CD-E39B-26F08CC21624}"/>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961D9DBC-BF14-7352-587A-24BB95769859}"/>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D8E56857-8023-B929-6954-0E58CA28550C}"/>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30831235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4_Header &amp; Content ">
    <p:spTree>
      <p:nvGrpSpPr>
        <p:cNvPr id="1" name=""/>
        <p:cNvGrpSpPr/>
        <p:nvPr/>
      </p:nvGrpSpPr>
      <p:grpSpPr>
        <a:xfrm>
          <a:off x="0" y="0"/>
          <a:ext cx="0" cy="0"/>
          <a:chOff x="0" y="0"/>
          <a:chExt cx="0" cy="0"/>
        </a:xfrm>
      </p:grpSpPr>
      <p:sp>
        <p:nvSpPr>
          <p:cNvPr id="273" name="Rectángulo 272">
            <a:extLst>
              <a:ext uri="{FF2B5EF4-FFF2-40B4-BE49-F238E27FC236}">
                <a16:creationId xmlns:a16="http://schemas.microsoft.com/office/drawing/2014/main" id="{4665A6E7-9034-7194-C54B-3244381E3D4B}"/>
              </a:ext>
            </a:extLst>
          </p:cNvPr>
          <p:cNvSpPr/>
          <p:nvPr userDrawn="1"/>
        </p:nvSpPr>
        <p:spPr>
          <a:xfrm>
            <a:off x="8189843" y="1373982"/>
            <a:ext cx="3483010" cy="451643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latin typeface="+mj-lt"/>
            </a:endParaRPr>
          </a:p>
        </p:txBody>
      </p:sp>
      <p:sp>
        <p:nvSpPr>
          <p:cNvPr id="4" name="Rectángulo 3">
            <a:extLst>
              <a:ext uri="{FF2B5EF4-FFF2-40B4-BE49-F238E27FC236}">
                <a16:creationId xmlns:a16="http://schemas.microsoft.com/office/drawing/2014/main" id="{836CEB7C-E188-94A7-34BB-3EC0B02207BE}"/>
              </a:ext>
            </a:extLst>
          </p:cNvPr>
          <p:cNvSpPr/>
          <p:nvPr userDrawn="1"/>
        </p:nvSpPr>
        <p:spPr>
          <a:xfrm>
            <a:off x="693740" y="1373982"/>
            <a:ext cx="3291852" cy="4516437"/>
          </a:xfrm>
          <a:prstGeom prst="rect">
            <a:avLst/>
          </a:prstGeom>
          <a:solidFill>
            <a:schemeClr val="tx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latin typeface="+mj-lt"/>
            </a:endParaRPr>
          </a:p>
        </p:txBody>
      </p:sp>
      <p:sp>
        <p:nvSpPr>
          <p:cNvPr id="12" name="Marcador de texto 42">
            <a:extLst>
              <a:ext uri="{FF2B5EF4-FFF2-40B4-BE49-F238E27FC236}">
                <a16:creationId xmlns:a16="http://schemas.microsoft.com/office/drawing/2014/main" id="{1B769AD0-0202-AB82-BBDD-5B99DB78FBDB}"/>
              </a:ext>
            </a:extLst>
          </p:cNvPr>
          <p:cNvSpPr>
            <a:spLocks noGrp="1"/>
          </p:cNvSpPr>
          <p:nvPr>
            <p:ph type="body" sz="quarter" idx="49" hasCustomPrompt="1"/>
          </p:nvPr>
        </p:nvSpPr>
        <p:spPr>
          <a:xfrm>
            <a:off x="972235" y="4217824"/>
            <a:ext cx="2812441" cy="1427602"/>
          </a:xfrm>
          <a:prstGeom prst="rect">
            <a:avLst/>
          </a:prstGeom>
          <a:noFill/>
        </p:spPr>
        <p:txBody>
          <a:bodyPr lIns="108000" tIns="108000" rIns="108000" bIns="108000"/>
          <a:lstStyle>
            <a:lvl1pPr marL="0" indent="0">
              <a:spcBef>
                <a:spcPts val="0"/>
              </a:spcBef>
              <a:spcAft>
                <a:spcPts val="600"/>
              </a:spcAft>
              <a:buNone/>
              <a:defRPr sz="1100" b="1">
                <a:solidFill>
                  <a:schemeClr val="tx1"/>
                </a:solidFill>
                <a:latin typeface="+mj-lt"/>
              </a:defRPr>
            </a:lvl1pPr>
            <a:lvl2pPr marL="0" indent="0">
              <a:lnSpc>
                <a:spcPct val="100000"/>
              </a:lnSpc>
              <a:spcBef>
                <a:spcPts val="0"/>
              </a:spcBef>
              <a:spcAft>
                <a:spcPts val="600"/>
              </a:spcAft>
              <a:buNone/>
              <a:defRPr sz="1050">
                <a:solidFill>
                  <a:schemeClr val="tx1"/>
                </a:solidFill>
                <a:latin typeface="+mj-lt"/>
              </a:defRPr>
            </a:lvl2pPr>
            <a:lvl3pPr marL="180000" indent="-180000">
              <a:spcBef>
                <a:spcPts val="0"/>
              </a:spcBef>
              <a:buClr>
                <a:schemeClr val="accent3"/>
              </a:buClr>
              <a:buFont typeface="Santander Text" panose="020B0504020201020104" pitchFamily="34" charset="0"/>
              <a:buChar char="•"/>
              <a:defRPr sz="1000">
                <a:solidFill>
                  <a:schemeClr val="tx1"/>
                </a:solidFill>
                <a:latin typeface="+mj-lt"/>
              </a:defRPr>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13" name="Marcador de texto 42">
            <a:extLst>
              <a:ext uri="{FF2B5EF4-FFF2-40B4-BE49-F238E27FC236}">
                <a16:creationId xmlns:a16="http://schemas.microsoft.com/office/drawing/2014/main" id="{F6FF578D-8A2D-9085-94B9-21570B592B29}"/>
              </a:ext>
            </a:extLst>
          </p:cNvPr>
          <p:cNvSpPr>
            <a:spLocks noGrp="1"/>
          </p:cNvSpPr>
          <p:nvPr>
            <p:ph type="body" sz="quarter" idx="50" hasCustomPrompt="1"/>
          </p:nvPr>
        </p:nvSpPr>
        <p:spPr>
          <a:xfrm>
            <a:off x="8408502" y="4217824"/>
            <a:ext cx="2812441" cy="1427602"/>
          </a:xfrm>
          <a:prstGeom prst="rect">
            <a:avLst/>
          </a:prstGeom>
          <a:noFill/>
        </p:spPr>
        <p:txBody>
          <a:bodyPr lIns="108000" tIns="108000" rIns="108000" bIns="108000"/>
          <a:lstStyle>
            <a:lvl1pPr marL="0" indent="0">
              <a:spcBef>
                <a:spcPts val="0"/>
              </a:spcBef>
              <a:spcAft>
                <a:spcPts val="600"/>
              </a:spcAft>
              <a:buNone/>
              <a:defRPr sz="1100" b="1">
                <a:solidFill>
                  <a:schemeClr val="tx1"/>
                </a:solidFill>
                <a:latin typeface="+mj-lt"/>
              </a:defRPr>
            </a:lvl1pPr>
            <a:lvl2pPr marL="0" indent="0">
              <a:lnSpc>
                <a:spcPct val="100000"/>
              </a:lnSpc>
              <a:spcBef>
                <a:spcPts val="0"/>
              </a:spcBef>
              <a:spcAft>
                <a:spcPts val="600"/>
              </a:spcAft>
              <a:buNone/>
              <a:defRPr sz="1050">
                <a:solidFill>
                  <a:schemeClr val="tx1"/>
                </a:solidFill>
                <a:latin typeface="+mj-lt"/>
              </a:defRPr>
            </a:lvl2pPr>
            <a:lvl3pPr marL="180000" indent="-180000">
              <a:spcBef>
                <a:spcPts val="0"/>
              </a:spcBef>
              <a:buClr>
                <a:schemeClr val="accent3"/>
              </a:buClr>
              <a:buFont typeface="Santander Text" panose="020B0504020201020104" pitchFamily="34" charset="0"/>
              <a:buChar char="•"/>
              <a:defRPr sz="1000">
                <a:solidFill>
                  <a:schemeClr val="tx1"/>
                </a:solidFill>
                <a:latin typeface="+mj-lt"/>
              </a:defRPr>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14" name="Marcador de texto 34">
            <a:extLst>
              <a:ext uri="{FF2B5EF4-FFF2-40B4-BE49-F238E27FC236}">
                <a16:creationId xmlns:a16="http://schemas.microsoft.com/office/drawing/2014/main" id="{4DAEAB7B-53CE-1E50-C844-E58DA91C5CE0}"/>
              </a:ext>
            </a:extLst>
          </p:cNvPr>
          <p:cNvSpPr>
            <a:spLocks noGrp="1"/>
          </p:cNvSpPr>
          <p:nvPr>
            <p:ph type="body" sz="quarter" idx="61"/>
          </p:nvPr>
        </p:nvSpPr>
        <p:spPr>
          <a:xfrm>
            <a:off x="1053682" y="1618325"/>
            <a:ext cx="2733127" cy="299928"/>
          </a:xfrm>
          <a:prstGeom prst="rect">
            <a:avLst/>
          </a:prstGeom>
          <a:noFill/>
        </p:spPr>
        <p:txBody>
          <a:bodyPr wrap="square">
            <a:noAutofit/>
          </a:bodyPr>
          <a:lstStyle>
            <a:lvl1pPr marL="0" indent="0">
              <a:spcBef>
                <a:spcPts val="0"/>
              </a:spcBef>
              <a:spcAft>
                <a:spcPts val="600"/>
              </a:spcAft>
              <a:buNone/>
              <a:defRPr sz="1400" b="1">
                <a:solidFill>
                  <a:schemeClr val="tx2"/>
                </a:solidFill>
                <a:latin typeface="+mj-lt"/>
              </a:defRPr>
            </a:lvl1pPr>
            <a:lvl2pPr marL="0" indent="0">
              <a:spcBef>
                <a:spcPts val="0"/>
              </a:spcBef>
              <a:spcAft>
                <a:spcPts val="600"/>
              </a:spcAft>
              <a:buClr>
                <a:schemeClr val="accent3"/>
              </a:buClr>
              <a:buNone/>
              <a:defRPr sz="1100">
                <a:solidFill>
                  <a:schemeClr val="tx1"/>
                </a:solidFill>
              </a:defRPr>
            </a:lvl2pPr>
            <a:lvl3pPr marL="396000" indent="-180000">
              <a:buClr>
                <a:schemeClr val="accent4"/>
              </a:buClr>
              <a:buFont typeface="Santander Text" panose="020B0504020201020104" pitchFamily="34" charset="0"/>
              <a:buChar char="–"/>
              <a:defRPr sz="1100"/>
            </a:lvl3pPr>
            <a:lvl4pPr marL="396000" indent="-180000">
              <a:buClr>
                <a:schemeClr val="accent4"/>
              </a:buClr>
              <a:buFont typeface="Santander Text" panose="020B0504020201020104" pitchFamily="34" charset="0"/>
              <a:buChar char="–"/>
              <a:defRPr sz="1100"/>
            </a:lvl4pPr>
            <a:lvl5pPr marL="396000" indent="-180000">
              <a:buClr>
                <a:schemeClr val="accent4"/>
              </a:buClr>
              <a:buFont typeface="Santander Text" panose="020B0504020201020104" pitchFamily="34" charset="0"/>
              <a:buChar char="–"/>
              <a:defRPr sz="1100"/>
            </a:lvl5pPr>
          </a:lstStyle>
          <a:p>
            <a:pPr lvl="0"/>
            <a:endParaRPr lang="es-ES"/>
          </a:p>
        </p:txBody>
      </p:sp>
      <p:sp>
        <p:nvSpPr>
          <p:cNvPr id="15" name="Marcador de texto 34">
            <a:extLst>
              <a:ext uri="{FF2B5EF4-FFF2-40B4-BE49-F238E27FC236}">
                <a16:creationId xmlns:a16="http://schemas.microsoft.com/office/drawing/2014/main" id="{D0EF3045-DCE0-CE84-EA4C-48A0344551DC}"/>
              </a:ext>
            </a:extLst>
          </p:cNvPr>
          <p:cNvSpPr>
            <a:spLocks noGrp="1"/>
          </p:cNvSpPr>
          <p:nvPr>
            <p:ph type="body" sz="quarter" idx="62"/>
          </p:nvPr>
        </p:nvSpPr>
        <p:spPr>
          <a:xfrm>
            <a:off x="8408502" y="1618325"/>
            <a:ext cx="3061253" cy="299928"/>
          </a:xfrm>
          <a:prstGeom prst="rect">
            <a:avLst/>
          </a:prstGeom>
          <a:noFill/>
        </p:spPr>
        <p:txBody>
          <a:bodyPr wrap="square">
            <a:noAutofit/>
          </a:bodyPr>
          <a:lstStyle>
            <a:lvl1pPr marL="0" indent="0" algn="l">
              <a:spcBef>
                <a:spcPts val="0"/>
              </a:spcBef>
              <a:spcAft>
                <a:spcPts val="600"/>
              </a:spcAft>
              <a:buNone/>
              <a:defRPr sz="1400" b="1">
                <a:solidFill>
                  <a:schemeClr val="tx2"/>
                </a:solidFill>
                <a:latin typeface="+mj-lt"/>
              </a:defRPr>
            </a:lvl1pPr>
            <a:lvl2pPr marL="0" indent="0">
              <a:spcBef>
                <a:spcPts val="0"/>
              </a:spcBef>
              <a:spcAft>
                <a:spcPts val="600"/>
              </a:spcAft>
              <a:buClr>
                <a:schemeClr val="accent3"/>
              </a:buClr>
              <a:buNone/>
              <a:defRPr sz="1100">
                <a:solidFill>
                  <a:schemeClr val="tx1"/>
                </a:solidFill>
              </a:defRPr>
            </a:lvl2pPr>
            <a:lvl3pPr marL="396000" indent="-180000">
              <a:buClr>
                <a:schemeClr val="accent4"/>
              </a:buClr>
              <a:buFont typeface="Santander Text" panose="020B0504020201020104" pitchFamily="34" charset="0"/>
              <a:buChar char="–"/>
              <a:defRPr sz="1100"/>
            </a:lvl3pPr>
            <a:lvl4pPr marL="396000" indent="-180000">
              <a:buClr>
                <a:schemeClr val="accent4"/>
              </a:buClr>
              <a:buFont typeface="Santander Text" panose="020B0504020201020104" pitchFamily="34" charset="0"/>
              <a:buChar char="–"/>
              <a:defRPr sz="1100"/>
            </a:lvl4pPr>
            <a:lvl5pPr marL="396000" indent="-180000">
              <a:buClr>
                <a:schemeClr val="accent4"/>
              </a:buClr>
              <a:buFont typeface="Santander Text" panose="020B0504020201020104" pitchFamily="34" charset="0"/>
              <a:buChar char="–"/>
              <a:defRPr sz="1100"/>
            </a:lvl5pPr>
          </a:lstStyle>
          <a:p>
            <a:pPr lvl="0"/>
            <a:endParaRPr lang="es-ES"/>
          </a:p>
        </p:txBody>
      </p:sp>
      <p:sp>
        <p:nvSpPr>
          <p:cNvPr id="5" name="Rectángulo 4">
            <a:extLst>
              <a:ext uri="{FF2B5EF4-FFF2-40B4-BE49-F238E27FC236}">
                <a16:creationId xmlns:a16="http://schemas.microsoft.com/office/drawing/2014/main" id="{BAF96069-B468-865C-09F2-6B3D44EC0730}"/>
              </a:ext>
            </a:extLst>
          </p:cNvPr>
          <p:cNvSpPr/>
          <p:nvPr userDrawn="1"/>
        </p:nvSpPr>
        <p:spPr>
          <a:xfrm>
            <a:off x="3973653" y="1373982"/>
            <a:ext cx="4216190" cy="4516437"/>
          </a:xfrm>
          <a:prstGeom prst="rect">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latin typeface="+mj-lt"/>
            </a:endParaRPr>
          </a:p>
        </p:txBody>
      </p:sp>
      <p:sp>
        <p:nvSpPr>
          <p:cNvPr id="10" name="Marcador de texto 34">
            <a:extLst>
              <a:ext uri="{FF2B5EF4-FFF2-40B4-BE49-F238E27FC236}">
                <a16:creationId xmlns:a16="http://schemas.microsoft.com/office/drawing/2014/main" id="{AD634C84-20AE-E1C0-46BD-A96E8B05AAFB}"/>
              </a:ext>
            </a:extLst>
          </p:cNvPr>
          <p:cNvSpPr>
            <a:spLocks noGrp="1"/>
          </p:cNvSpPr>
          <p:nvPr>
            <p:ph type="body" sz="quarter" idx="63"/>
          </p:nvPr>
        </p:nvSpPr>
        <p:spPr>
          <a:xfrm>
            <a:off x="4174569" y="1618325"/>
            <a:ext cx="3796614" cy="299928"/>
          </a:xfrm>
          <a:prstGeom prst="rect">
            <a:avLst/>
          </a:prstGeom>
          <a:noFill/>
        </p:spPr>
        <p:txBody>
          <a:bodyPr wrap="square">
            <a:noAutofit/>
          </a:bodyPr>
          <a:lstStyle>
            <a:lvl1pPr marL="0" indent="0">
              <a:spcBef>
                <a:spcPts val="0"/>
              </a:spcBef>
              <a:spcAft>
                <a:spcPts val="600"/>
              </a:spcAft>
              <a:buNone/>
              <a:defRPr sz="1400" b="1">
                <a:solidFill>
                  <a:schemeClr val="tx2"/>
                </a:solidFill>
                <a:latin typeface="+mj-lt"/>
              </a:defRPr>
            </a:lvl1pPr>
            <a:lvl2pPr marL="0" indent="0">
              <a:spcBef>
                <a:spcPts val="0"/>
              </a:spcBef>
              <a:spcAft>
                <a:spcPts val="600"/>
              </a:spcAft>
              <a:buClr>
                <a:schemeClr val="accent3"/>
              </a:buClr>
              <a:buNone/>
              <a:defRPr sz="1100">
                <a:solidFill>
                  <a:schemeClr val="tx1"/>
                </a:solidFill>
              </a:defRPr>
            </a:lvl2pPr>
            <a:lvl3pPr marL="396000" indent="-180000">
              <a:buClr>
                <a:schemeClr val="accent4"/>
              </a:buClr>
              <a:buFont typeface="Santander Text" panose="020B0504020201020104" pitchFamily="34" charset="0"/>
              <a:buChar char="–"/>
              <a:defRPr sz="1100"/>
            </a:lvl3pPr>
            <a:lvl4pPr marL="396000" indent="-180000">
              <a:buClr>
                <a:schemeClr val="accent4"/>
              </a:buClr>
              <a:buFont typeface="Santander Text" panose="020B0504020201020104" pitchFamily="34" charset="0"/>
              <a:buChar char="–"/>
              <a:defRPr sz="1100"/>
            </a:lvl4pPr>
            <a:lvl5pPr marL="396000" indent="-180000">
              <a:buClr>
                <a:schemeClr val="accent4"/>
              </a:buClr>
              <a:buFont typeface="Santander Text" panose="020B0504020201020104" pitchFamily="34" charset="0"/>
              <a:buChar char="–"/>
              <a:defRPr sz="1100"/>
            </a:lvl5pPr>
          </a:lstStyle>
          <a:p>
            <a:pPr lvl="0"/>
            <a:endParaRPr lang="es-ES"/>
          </a:p>
        </p:txBody>
      </p:sp>
      <p:sp>
        <p:nvSpPr>
          <p:cNvPr id="16" name="Marcador de texto 42">
            <a:extLst>
              <a:ext uri="{FF2B5EF4-FFF2-40B4-BE49-F238E27FC236}">
                <a16:creationId xmlns:a16="http://schemas.microsoft.com/office/drawing/2014/main" id="{3158A76F-3ED4-B320-2F67-016BA3C72B94}"/>
              </a:ext>
            </a:extLst>
          </p:cNvPr>
          <p:cNvSpPr>
            <a:spLocks noGrp="1"/>
          </p:cNvSpPr>
          <p:nvPr>
            <p:ph type="body" sz="quarter" idx="64" hasCustomPrompt="1"/>
          </p:nvPr>
        </p:nvSpPr>
        <p:spPr>
          <a:xfrm>
            <a:off x="4272026" y="4217824"/>
            <a:ext cx="2812441" cy="1427602"/>
          </a:xfrm>
          <a:prstGeom prst="rect">
            <a:avLst/>
          </a:prstGeom>
          <a:noFill/>
        </p:spPr>
        <p:txBody>
          <a:bodyPr lIns="108000" tIns="108000" rIns="108000" bIns="108000"/>
          <a:lstStyle>
            <a:lvl1pPr marL="0" indent="0">
              <a:spcBef>
                <a:spcPts val="0"/>
              </a:spcBef>
              <a:spcAft>
                <a:spcPts val="600"/>
              </a:spcAft>
              <a:buNone/>
              <a:defRPr sz="1100" b="1">
                <a:solidFill>
                  <a:schemeClr val="tx1"/>
                </a:solidFill>
                <a:latin typeface="+mj-lt"/>
              </a:defRPr>
            </a:lvl1pPr>
            <a:lvl2pPr marL="0" indent="0">
              <a:lnSpc>
                <a:spcPct val="100000"/>
              </a:lnSpc>
              <a:spcBef>
                <a:spcPts val="0"/>
              </a:spcBef>
              <a:spcAft>
                <a:spcPts val="600"/>
              </a:spcAft>
              <a:buNone/>
              <a:defRPr sz="1050">
                <a:solidFill>
                  <a:schemeClr val="tx1"/>
                </a:solidFill>
                <a:latin typeface="+mj-lt"/>
              </a:defRPr>
            </a:lvl2pPr>
            <a:lvl3pPr marL="180000" indent="-180000">
              <a:spcBef>
                <a:spcPts val="0"/>
              </a:spcBef>
              <a:buClr>
                <a:schemeClr val="accent3"/>
              </a:buClr>
              <a:buFont typeface="Santander Text" panose="020B0504020201020104" pitchFamily="34" charset="0"/>
              <a:buChar char="•"/>
              <a:defRPr sz="1000">
                <a:solidFill>
                  <a:schemeClr val="tx1"/>
                </a:solidFill>
                <a:latin typeface="+mj-lt"/>
              </a:defRPr>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18" name="Marcador de número de diapositiva 5">
            <a:extLst>
              <a:ext uri="{FF2B5EF4-FFF2-40B4-BE49-F238E27FC236}">
                <a16:creationId xmlns:a16="http://schemas.microsoft.com/office/drawing/2014/main" id="{83C1FCEB-E912-1F66-7927-3716AE157067}"/>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19" name="Footnotes">
            <a:extLst>
              <a:ext uri="{FF2B5EF4-FFF2-40B4-BE49-F238E27FC236}">
                <a16:creationId xmlns:a16="http://schemas.microsoft.com/office/drawing/2014/main" id="{4EF047BE-5A36-76BE-BB7C-AEF9B7CB4C4C}"/>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5BE114C3-CCFC-F12F-ED2B-E233EC4AF3A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8" name="Título 1">
            <a:extLst>
              <a:ext uri="{FF2B5EF4-FFF2-40B4-BE49-F238E27FC236}">
                <a16:creationId xmlns:a16="http://schemas.microsoft.com/office/drawing/2014/main" id="{DD3067E6-C038-D8D4-66DC-4CA64FB81FF2}"/>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9" name="Marcador de texto 14">
            <a:extLst>
              <a:ext uri="{FF2B5EF4-FFF2-40B4-BE49-F238E27FC236}">
                <a16:creationId xmlns:a16="http://schemas.microsoft.com/office/drawing/2014/main" id="{6BF4AE46-38BE-29FD-0B21-0F2D71723CA9}"/>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A84389DE-3FA0-F7F4-F2BA-8056B994F7D0}"/>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33950234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3_Header &amp; Content ">
    <p:spTree>
      <p:nvGrpSpPr>
        <p:cNvPr id="1" name=""/>
        <p:cNvGrpSpPr/>
        <p:nvPr/>
      </p:nvGrpSpPr>
      <p:grpSpPr>
        <a:xfrm>
          <a:off x="0" y="0"/>
          <a:ext cx="0" cy="0"/>
          <a:chOff x="0" y="0"/>
          <a:chExt cx="0" cy="0"/>
        </a:xfrm>
      </p:grpSpPr>
      <p:sp>
        <p:nvSpPr>
          <p:cNvPr id="11" name="Marcador de texto 10">
            <a:extLst>
              <a:ext uri="{FF2B5EF4-FFF2-40B4-BE49-F238E27FC236}">
                <a16:creationId xmlns:a16="http://schemas.microsoft.com/office/drawing/2014/main" id="{DCC11248-139C-88E7-F1E5-F5C18587041F}"/>
              </a:ext>
            </a:extLst>
          </p:cNvPr>
          <p:cNvSpPr>
            <a:spLocks noGrp="1"/>
          </p:cNvSpPr>
          <p:nvPr>
            <p:ph type="body" sz="quarter" idx="46"/>
          </p:nvPr>
        </p:nvSpPr>
        <p:spPr>
          <a:xfrm>
            <a:off x="693738" y="1303338"/>
            <a:ext cx="10996612" cy="751373"/>
          </a:xfrm>
          <a:prstGeom prst="rect">
            <a:avLst/>
          </a:prstGeom>
        </p:spPr>
        <p:txBody>
          <a:bodyPr/>
          <a:lstStyle>
            <a:lvl1pPr marL="0" indent="0">
              <a:buNone/>
              <a:defRPr sz="1400">
                <a:solidFill>
                  <a:schemeClr val="tx1"/>
                </a:solidFill>
                <a:latin typeface="+mj-lt"/>
              </a:defRPr>
            </a:lvl1pPr>
            <a:lvl2pPr marL="457200" indent="0">
              <a:buNone/>
              <a:defRPr/>
            </a:lvl2pPr>
          </a:lstStyle>
          <a:p>
            <a:pPr lvl="0"/>
            <a:endParaRPr lang="es-ES"/>
          </a:p>
        </p:txBody>
      </p:sp>
      <p:sp>
        <p:nvSpPr>
          <p:cNvPr id="13" name="Rectángulo 12">
            <a:extLst>
              <a:ext uri="{FF2B5EF4-FFF2-40B4-BE49-F238E27FC236}">
                <a16:creationId xmlns:a16="http://schemas.microsoft.com/office/drawing/2014/main" id="{3EDC7154-1E78-49C6-FE0E-8EC03895E54F}"/>
              </a:ext>
            </a:extLst>
          </p:cNvPr>
          <p:cNvSpPr/>
          <p:nvPr userDrawn="1"/>
        </p:nvSpPr>
        <p:spPr>
          <a:xfrm>
            <a:off x="6592800" y="2213474"/>
            <a:ext cx="4954900" cy="3337139"/>
          </a:xfrm>
          <a:prstGeom prst="rect">
            <a:avLst/>
          </a:prstGeom>
          <a:gradFill>
            <a:gsLst>
              <a:gs pos="39000">
                <a:schemeClr val="accent5">
                  <a:alpha val="0"/>
                </a:schemeClr>
              </a:gs>
              <a:gs pos="100000">
                <a:schemeClr val="accent5">
                  <a:alpha val="70000"/>
                </a:schemeClr>
              </a:gs>
              <a:gs pos="0">
                <a:schemeClr val="accent5">
                  <a:alpha val="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9" name="Marcador de texto 16">
            <a:extLst>
              <a:ext uri="{FF2B5EF4-FFF2-40B4-BE49-F238E27FC236}">
                <a16:creationId xmlns:a16="http://schemas.microsoft.com/office/drawing/2014/main" id="{AC591B23-13AA-F639-66D9-84E213346AC8}"/>
              </a:ext>
            </a:extLst>
          </p:cNvPr>
          <p:cNvSpPr>
            <a:spLocks noGrp="1"/>
          </p:cNvSpPr>
          <p:nvPr>
            <p:ph type="body" sz="quarter" idx="47"/>
          </p:nvPr>
        </p:nvSpPr>
        <p:spPr>
          <a:xfrm>
            <a:off x="693738" y="2324362"/>
            <a:ext cx="5588728" cy="375140"/>
          </a:xfrm>
          <a:prstGeom prst="rect">
            <a:avLst/>
          </a:prstGeom>
        </p:spPr>
        <p:txBody>
          <a:bodyPr/>
          <a:lstStyle>
            <a:lvl1pPr marL="0" indent="0">
              <a:buNone/>
              <a:defRPr sz="1600" b="1">
                <a:solidFill>
                  <a:srgbClr val="EC0000"/>
                </a:solidFill>
                <a:latin typeface="+mj-lt"/>
              </a:defRPr>
            </a:lvl1pPr>
          </a:lstStyle>
          <a:p>
            <a:pPr lvl="0"/>
            <a:endParaRPr lang="es-ES"/>
          </a:p>
        </p:txBody>
      </p:sp>
      <p:sp>
        <p:nvSpPr>
          <p:cNvPr id="20" name="Marcador de texto 16">
            <a:extLst>
              <a:ext uri="{FF2B5EF4-FFF2-40B4-BE49-F238E27FC236}">
                <a16:creationId xmlns:a16="http://schemas.microsoft.com/office/drawing/2014/main" id="{7E250356-F4A2-D147-AA78-9996593BF736}"/>
              </a:ext>
            </a:extLst>
          </p:cNvPr>
          <p:cNvSpPr>
            <a:spLocks noGrp="1"/>
          </p:cNvSpPr>
          <p:nvPr>
            <p:ph type="body" sz="quarter" idx="48"/>
          </p:nvPr>
        </p:nvSpPr>
        <p:spPr>
          <a:xfrm>
            <a:off x="6879386" y="2324362"/>
            <a:ext cx="4583573" cy="375140"/>
          </a:xfrm>
          <a:prstGeom prst="rect">
            <a:avLst/>
          </a:prstGeom>
        </p:spPr>
        <p:txBody>
          <a:bodyPr/>
          <a:lstStyle>
            <a:lvl1pPr marL="0" indent="0">
              <a:buNone/>
              <a:defRPr sz="1600" b="1">
                <a:solidFill>
                  <a:schemeClr val="tx2"/>
                </a:solidFill>
                <a:latin typeface="+mj-lt"/>
              </a:defRPr>
            </a:lvl1pPr>
          </a:lstStyle>
          <a:p>
            <a:pPr lvl="0"/>
            <a:endParaRPr lang="es-ES"/>
          </a:p>
        </p:txBody>
      </p:sp>
      <p:sp>
        <p:nvSpPr>
          <p:cNvPr id="29" name="Marcador de posición de imagen 28">
            <a:extLst>
              <a:ext uri="{FF2B5EF4-FFF2-40B4-BE49-F238E27FC236}">
                <a16:creationId xmlns:a16="http://schemas.microsoft.com/office/drawing/2014/main" id="{55D8C72A-B690-71FF-75B6-237789FC9A4C}"/>
              </a:ext>
            </a:extLst>
          </p:cNvPr>
          <p:cNvSpPr>
            <a:spLocks noGrp="1"/>
          </p:cNvSpPr>
          <p:nvPr>
            <p:ph type="pic" sz="quarter" idx="49" hasCustomPrompt="1"/>
          </p:nvPr>
        </p:nvSpPr>
        <p:spPr>
          <a:xfrm>
            <a:off x="2905310" y="3001384"/>
            <a:ext cx="1214438" cy="2553277"/>
          </a:xfrm>
          <a:prstGeom prst="rect">
            <a:avLst/>
          </a:prstGeom>
        </p:spPr>
        <p:txBody>
          <a:bodyPr/>
          <a:lstStyle>
            <a:lvl1pPr marL="0" indent="0" algn="ctr">
              <a:buNone/>
              <a:defRPr sz="1400">
                <a:latin typeface="+mj-lt"/>
              </a:defRPr>
            </a:lvl1pPr>
          </a:lstStyle>
          <a:p>
            <a:r>
              <a:rPr lang="es-ES" err="1"/>
              <a:t>Insert</a:t>
            </a:r>
            <a:r>
              <a:rPr lang="es-ES"/>
              <a:t> </a:t>
            </a:r>
            <a:r>
              <a:rPr lang="es-ES" err="1"/>
              <a:t>icon</a:t>
            </a:r>
            <a:r>
              <a:rPr lang="es-ES"/>
              <a:t> </a:t>
            </a:r>
          </a:p>
        </p:txBody>
      </p:sp>
      <p:sp>
        <p:nvSpPr>
          <p:cNvPr id="35" name="Marcador de texto 30">
            <a:extLst>
              <a:ext uri="{FF2B5EF4-FFF2-40B4-BE49-F238E27FC236}">
                <a16:creationId xmlns:a16="http://schemas.microsoft.com/office/drawing/2014/main" id="{CC5C8C54-94B1-69B2-DA98-A86A51A4ABE0}"/>
              </a:ext>
            </a:extLst>
          </p:cNvPr>
          <p:cNvSpPr>
            <a:spLocks noGrp="1"/>
          </p:cNvSpPr>
          <p:nvPr>
            <p:ph type="body" sz="quarter" idx="52"/>
          </p:nvPr>
        </p:nvSpPr>
        <p:spPr>
          <a:xfrm>
            <a:off x="763774" y="3020299"/>
            <a:ext cx="1990183" cy="765399"/>
          </a:xfrm>
          <a:prstGeom prst="rect">
            <a:avLst/>
          </a:prstGeom>
        </p:spPr>
        <p:txBody>
          <a:bodyPr/>
          <a:lstStyle>
            <a:lvl1pPr marL="0" indent="0">
              <a:buNone/>
              <a:defRPr sz="900">
                <a:solidFill>
                  <a:schemeClr val="tx1"/>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36" name="Marcador de texto 30">
            <a:extLst>
              <a:ext uri="{FF2B5EF4-FFF2-40B4-BE49-F238E27FC236}">
                <a16:creationId xmlns:a16="http://schemas.microsoft.com/office/drawing/2014/main" id="{CEAA3929-4B25-CD56-1FFE-D5A6964A3CFE}"/>
              </a:ext>
            </a:extLst>
          </p:cNvPr>
          <p:cNvSpPr>
            <a:spLocks noGrp="1"/>
          </p:cNvSpPr>
          <p:nvPr>
            <p:ph type="body" sz="quarter" idx="53"/>
          </p:nvPr>
        </p:nvSpPr>
        <p:spPr>
          <a:xfrm>
            <a:off x="763774" y="3913184"/>
            <a:ext cx="1990183" cy="765399"/>
          </a:xfrm>
          <a:prstGeom prst="rect">
            <a:avLst/>
          </a:prstGeom>
        </p:spPr>
        <p:txBody>
          <a:bodyPr/>
          <a:lstStyle>
            <a:lvl1pPr marL="0" indent="0">
              <a:buNone/>
              <a:defRPr sz="900">
                <a:solidFill>
                  <a:schemeClr val="tx1"/>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37" name="Marcador de texto 30">
            <a:extLst>
              <a:ext uri="{FF2B5EF4-FFF2-40B4-BE49-F238E27FC236}">
                <a16:creationId xmlns:a16="http://schemas.microsoft.com/office/drawing/2014/main" id="{6C187CF0-AB0C-DF5D-6E99-88BE0638C6B7}"/>
              </a:ext>
            </a:extLst>
          </p:cNvPr>
          <p:cNvSpPr>
            <a:spLocks noGrp="1"/>
          </p:cNvSpPr>
          <p:nvPr>
            <p:ph type="body" sz="quarter" idx="54"/>
          </p:nvPr>
        </p:nvSpPr>
        <p:spPr>
          <a:xfrm>
            <a:off x="763774" y="4806068"/>
            <a:ext cx="1990183" cy="765399"/>
          </a:xfrm>
          <a:prstGeom prst="rect">
            <a:avLst/>
          </a:prstGeom>
        </p:spPr>
        <p:txBody>
          <a:bodyPr/>
          <a:lstStyle>
            <a:lvl1pPr marL="0" indent="0">
              <a:buNone/>
              <a:defRPr sz="900">
                <a:solidFill>
                  <a:schemeClr val="tx1"/>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38" name="Marcador de texto 30">
            <a:extLst>
              <a:ext uri="{FF2B5EF4-FFF2-40B4-BE49-F238E27FC236}">
                <a16:creationId xmlns:a16="http://schemas.microsoft.com/office/drawing/2014/main" id="{FA775C41-95F0-F9C2-97BB-F738AE1EFD9B}"/>
              </a:ext>
            </a:extLst>
          </p:cNvPr>
          <p:cNvSpPr>
            <a:spLocks noGrp="1"/>
          </p:cNvSpPr>
          <p:nvPr>
            <p:ph type="body" sz="quarter" idx="55"/>
          </p:nvPr>
        </p:nvSpPr>
        <p:spPr>
          <a:xfrm>
            <a:off x="4292282" y="3020299"/>
            <a:ext cx="1990183" cy="765399"/>
          </a:xfrm>
          <a:prstGeom prst="rect">
            <a:avLst/>
          </a:prstGeom>
        </p:spPr>
        <p:txBody>
          <a:bodyPr/>
          <a:lstStyle>
            <a:lvl1pPr marL="0" indent="0">
              <a:buNone/>
              <a:defRPr sz="900">
                <a:solidFill>
                  <a:schemeClr val="tx1"/>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39" name="Marcador de texto 30">
            <a:extLst>
              <a:ext uri="{FF2B5EF4-FFF2-40B4-BE49-F238E27FC236}">
                <a16:creationId xmlns:a16="http://schemas.microsoft.com/office/drawing/2014/main" id="{C01732B6-76A3-CA9F-5E34-3FB8C7F3D537}"/>
              </a:ext>
            </a:extLst>
          </p:cNvPr>
          <p:cNvSpPr>
            <a:spLocks noGrp="1"/>
          </p:cNvSpPr>
          <p:nvPr>
            <p:ph type="body" sz="quarter" idx="56"/>
          </p:nvPr>
        </p:nvSpPr>
        <p:spPr>
          <a:xfrm>
            <a:off x="4292282" y="3913184"/>
            <a:ext cx="1990183" cy="765399"/>
          </a:xfrm>
          <a:prstGeom prst="rect">
            <a:avLst/>
          </a:prstGeom>
        </p:spPr>
        <p:txBody>
          <a:bodyPr/>
          <a:lstStyle>
            <a:lvl1pPr marL="0" indent="0">
              <a:buNone/>
              <a:defRPr sz="900">
                <a:solidFill>
                  <a:schemeClr val="tx1"/>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40" name="Marcador de texto 30">
            <a:extLst>
              <a:ext uri="{FF2B5EF4-FFF2-40B4-BE49-F238E27FC236}">
                <a16:creationId xmlns:a16="http://schemas.microsoft.com/office/drawing/2014/main" id="{E0696B5C-15A2-9F98-EED6-12AA2B0487B1}"/>
              </a:ext>
            </a:extLst>
          </p:cNvPr>
          <p:cNvSpPr>
            <a:spLocks noGrp="1"/>
          </p:cNvSpPr>
          <p:nvPr>
            <p:ph type="body" sz="quarter" idx="57"/>
          </p:nvPr>
        </p:nvSpPr>
        <p:spPr>
          <a:xfrm>
            <a:off x="4292282" y="4806068"/>
            <a:ext cx="1990183" cy="765399"/>
          </a:xfrm>
          <a:prstGeom prst="rect">
            <a:avLst/>
          </a:prstGeom>
        </p:spPr>
        <p:txBody>
          <a:bodyPr/>
          <a:lstStyle>
            <a:lvl1pPr marL="0" indent="0">
              <a:buNone/>
              <a:defRPr sz="900">
                <a:solidFill>
                  <a:schemeClr val="tx1"/>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cxnSp>
        <p:nvCxnSpPr>
          <p:cNvPr id="50" name="Conector recto 49">
            <a:extLst>
              <a:ext uri="{FF2B5EF4-FFF2-40B4-BE49-F238E27FC236}">
                <a16:creationId xmlns:a16="http://schemas.microsoft.com/office/drawing/2014/main" id="{69EEF992-DEF4-C162-CCCF-2E7FBA93E0B2}"/>
              </a:ext>
            </a:extLst>
          </p:cNvPr>
          <p:cNvCxnSpPr>
            <a:cxnSpLocks/>
          </p:cNvCxnSpPr>
          <p:nvPr userDrawn="1"/>
        </p:nvCxnSpPr>
        <p:spPr>
          <a:xfrm>
            <a:off x="8234178" y="2964329"/>
            <a:ext cx="0" cy="2411458"/>
          </a:xfrm>
          <a:prstGeom prst="line">
            <a:avLst/>
          </a:prstGeom>
          <a:ln w="22225" cap="rnd">
            <a:solidFill>
              <a:schemeClr val="accent6">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1" name="Marcador de texto 30">
            <a:extLst>
              <a:ext uri="{FF2B5EF4-FFF2-40B4-BE49-F238E27FC236}">
                <a16:creationId xmlns:a16="http://schemas.microsoft.com/office/drawing/2014/main" id="{4A5D803B-C987-ED39-5A0C-6766619A14AC}"/>
              </a:ext>
            </a:extLst>
          </p:cNvPr>
          <p:cNvSpPr>
            <a:spLocks noGrp="1"/>
          </p:cNvSpPr>
          <p:nvPr>
            <p:ph type="body" sz="quarter" idx="58"/>
          </p:nvPr>
        </p:nvSpPr>
        <p:spPr>
          <a:xfrm>
            <a:off x="6875370" y="2891274"/>
            <a:ext cx="1250991" cy="515603"/>
          </a:xfrm>
          <a:prstGeom prst="rect">
            <a:avLst/>
          </a:prstGeom>
        </p:spPr>
        <p:txBody>
          <a:bodyPr/>
          <a:lstStyle>
            <a:lvl1pPr marL="0" indent="0">
              <a:buNone/>
              <a:defRPr sz="1100" b="1">
                <a:solidFill>
                  <a:schemeClr val="tx2"/>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54" name="Marcador de posición de imagen 28">
            <a:extLst>
              <a:ext uri="{FF2B5EF4-FFF2-40B4-BE49-F238E27FC236}">
                <a16:creationId xmlns:a16="http://schemas.microsoft.com/office/drawing/2014/main" id="{0D9F3E6D-F25E-16C0-33D9-FBFCA9C39502}"/>
              </a:ext>
            </a:extLst>
          </p:cNvPr>
          <p:cNvSpPr>
            <a:spLocks noGrp="1"/>
          </p:cNvSpPr>
          <p:nvPr>
            <p:ph type="pic" sz="quarter" idx="60" hasCustomPrompt="1"/>
          </p:nvPr>
        </p:nvSpPr>
        <p:spPr>
          <a:xfrm>
            <a:off x="6968613" y="3473961"/>
            <a:ext cx="828000" cy="828000"/>
          </a:xfrm>
          <a:prstGeom prst="rect">
            <a:avLst/>
          </a:prstGeom>
        </p:spPr>
        <p:txBody>
          <a:bodyPr/>
          <a:lstStyle>
            <a:lvl1pPr marL="0" indent="0" algn="ctr">
              <a:buNone/>
              <a:defRPr sz="900">
                <a:latin typeface="+mj-lt"/>
              </a:defRPr>
            </a:lvl1pPr>
          </a:lstStyle>
          <a:p>
            <a:r>
              <a:rPr lang="es-ES" err="1"/>
              <a:t>Insert</a:t>
            </a:r>
            <a:r>
              <a:rPr lang="es-ES"/>
              <a:t> </a:t>
            </a:r>
            <a:r>
              <a:rPr lang="es-ES" err="1"/>
              <a:t>icon</a:t>
            </a:r>
            <a:r>
              <a:rPr lang="es-ES"/>
              <a:t> </a:t>
            </a:r>
          </a:p>
        </p:txBody>
      </p:sp>
      <p:sp>
        <p:nvSpPr>
          <p:cNvPr id="57" name="Marcador de texto 55">
            <a:extLst>
              <a:ext uri="{FF2B5EF4-FFF2-40B4-BE49-F238E27FC236}">
                <a16:creationId xmlns:a16="http://schemas.microsoft.com/office/drawing/2014/main" id="{90D4E64D-8772-D0AA-CE39-494C344B62F0}"/>
              </a:ext>
            </a:extLst>
          </p:cNvPr>
          <p:cNvSpPr>
            <a:spLocks noGrp="1"/>
          </p:cNvSpPr>
          <p:nvPr>
            <p:ph type="body" sz="quarter" idx="61" hasCustomPrompt="1"/>
          </p:nvPr>
        </p:nvSpPr>
        <p:spPr>
          <a:xfrm>
            <a:off x="6894288" y="4395019"/>
            <a:ext cx="1242346" cy="980768"/>
          </a:xfrm>
          <a:prstGeom prst="rect">
            <a:avLst/>
          </a:prstGeom>
        </p:spPr>
        <p:txBody>
          <a:bodyPr/>
          <a:lstStyle>
            <a:lvl1pPr marL="0" indent="0">
              <a:spcBef>
                <a:spcPts val="0"/>
              </a:spcBef>
              <a:spcAft>
                <a:spcPts val="0"/>
              </a:spcAft>
              <a:buNone/>
              <a:defRPr sz="1800" b="1">
                <a:solidFill>
                  <a:schemeClr val="tx2"/>
                </a:solidFill>
                <a:latin typeface="+mj-lt"/>
              </a:defRPr>
            </a:lvl1pPr>
            <a:lvl2pPr marL="0" indent="0">
              <a:spcBef>
                <a:spcPts val="0"/>
              </a:spcBef>
              <a:buNone/>
              <a:defRPr sz="1000">
                <a:solidFill>
                  <a:schemeClr val="tx1"/>
                </a:solidFill>
                <a:latin typeface="+mj-lt"/>
              </a:defRPr>
            </a:lvl2pPr>
            <a:lvl3pPr>
              <a:defRPr sz="900"/>
            </a:lvl3pPr>
            <a:lvl4pPr>
              <a:defRPr sz="800"/>
            </a:lvl4pPr>
            <a:lvl5pPr>
              <a:defRPr sz="800"/>
            </a:lvl5pPr>
          </a:lstStyle>
          <a:p>
            <a:pPr lvl="0"/>
            <a:r>
              <a:rPr lang="es-ES"/>
              <a:t>####</a:t>
            </a:r>
          </a:p>
          <a:p>
            <a:pPr lvl="1"/>
            <a:r>
              <a:rPr lang="es-ES" err="1"/>
              <a:t>Second</a:t>
            </a:r>
            <a:r>
              <a:rPr lang="es-ES"/>
              <a:t> </a:t>
            </a:r>
            <a:r>
              <a:rPr lang="es-ES" err="1"/>
              <a:t>level</a:t>
            </a:r>
            <a:endParaRPr lang="es-ES"/>
          </a:p>
        </p:txBody>
      </p:sp>
      <p:cxnSp>
        <p:nvCxnSpPr>
          <p:cNvPr id="60" name="Conector recto 59">
            <a:extLst>
              <a:ext uri="{FF2B5EF4-FFF2-40B4-BE49-F238E27FC236}">
                <a16:creationId xmlns:a16="http://schemas.microsoft.com/office/drawing/2014/main" id="{40C845B1-1A52-C29C-4851-25DF0186EC0C}"/>
              </a:ext>
            </a:extLst>
          </p:cNvPr>
          <p:cNvCxnSpPr>
            <a:cxnSpLocks/>
          </p:cNvCxnSpPr>
          <p:nvPr userDrawn="1"/>
        </p:nvCxnSpPr>
        <p:spPr>
          <a:xfrm>
            <a:off x="9883539" y="2964329"/>
            <a:ext cx="0" cy="2411458"/>
          </a:xfrm>
          <a:prstGeom prst="line">
            <a:avLst/>
          </a:prstGeom>
          <a:ln w="22225" cap="rnd">
            <a:solidFill>
              <a:schemeClr val="accent6">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61" name="Marcador de texto 30">
            <a:extLst>
              <a:ext uri="{FF2B5EF4-FFF2-40B4-BE49-F238E27FC236}">
                <a16:creationId xmlns:a16="http://schemas.microsoft.com/office/drawing/2014/main" id="{2040A25E-ABFE-A019-08AE-174B60D804B8}"/>
              </a:ext>
            </a:extLst>
          </p:cNvPr>
          <p:cNvSpPr>
            <a:spLocks noGrp="1"/>
          </p:cNvSpPr>
          <p:nvPr>
            <p:ph type="body" sz="quarter" idx="62"/>
          </p:nvPr>
        </p:nvSpPr>
        <p:spPr>
          <a:xfrm>
            <a:off x="8453448" y="2891274"/>
            <a:ext cx="1250991" cy="515603"/>
          </a:xfrm>
          <a:prstGeom prst="rect">
            <a:avLst/>
          </a:prstGeom>
        </p:spPr>
        <p:txBody>
          <a:bodyPr/>
          <a:lstStyle>
            <a:lvl1pPr marL="0" indent="0">
              <a:buNone/>
              <a:defRPr sz="1100" b="1">
                <a:solidFill>
                  <a:schemeClr val="tx2"/>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62" name="Marcador de posición de imagen 28">
            <a:extLst>
              <a:ext uri="{FF2B5EF4-FFF2-40B4-BE49-F238E27FC236}">
                <a16:creationId xmlns:a16="http://schemas.microsoft.com/office/drawing/2014/main" id="{E96ADFE4-AA5F-4BE7-16C0-CC2467754AE5}"/>
              </a:ext>
            </a:extLst>
          </p:cNvPr>
          <p:cNvSpPr>
            <a:spLocks noGrp="1"/>
          </p:cNvSpPr>
          <p:nvPr>
            <p:ph type="pic" sz="quarter" idx="63" hasCustomPrompt="1"/>
          </p:nvPr>
        </p:nvSpPr>
        <p:spPr>
          <a:xfrm>
            <a:off x="8546691" y="3473961"/>
            <a:ext cx="828000" cy="828000"/>
          </a:xfrm>
          <a:prstGeom prst="rect">
            <a:avLst/>
          </a:prstGeom>
        </p:spPr>
        <p:txBody>
          <a:bodyPr/>
          <a:lstStyle>
            <a:lvl1pPr marL="0" indent="0" algn="ctr">
              <a:buNone/>
              <a:defRPr sz="900">
                <a:latin typeface="+mj-lt"/>
              </a:defRPr>
            </a:lvl1pPr>
          </a:lstStyle>
          <a:p>
            <a:r>
              <a:rPr lang="es-ES" err="1"/>
              <a:t>Insert</a:t>
            </a:r>
            <a:r>
              <a:rPr lang="es-ES"/>
              <a:t> </a:t>
            </a:r>
            <a:r>
              <a:rPr lang="es-ES" err="1"/>
              <a:t>icon</a:t>
            </a:r>
            <a:r>
              <a:rPr lang="es-ES"/>
              <a:t> </a:t>
            </a:r>
          </a:p>
        </p:txBody>
      </p:sp>
      <p:sp>
        <p:nvSpPr>
          <p:cNvPr id="63" name="Marcador de texto 55">
            <a:extLst>
              <a:ext uri="{FF2B5EF4-FFF2-40B4-BE49-F238E27FC236}">
                <a16:creationId xmlns:a16="http://schemas.microsoft.com/office/drawing/2014/main" id="{15C34DE3-98AF-E7C2-1823-DBFBF03D5D07}"/>
              </a:ext>
            </a:extLst>
          </p:cNvPr>
          <p:cNvSpPr>
            <a:spLocks noGrp="1"/>
          </p:cNvSpPr>
          <p:nvPr>
            <p:ph type="body" sz="quarter" idx="64" hasCustomPrompt="1"/>
          </p:nvPr>
        </p:nvSpPr>
        <p:spPr>
          <a:xfrm>
            <a:off x="8472366" y="4395019"/>
            <a:ext cx="1242346" cy="980768"/>
          </a:xfrm>
          <a:prstGeom prst="rect">
            <a:avLst/>
          </a:prstGeom>
        </p:spPr>
        <p:txBody>
          <a:bodyPr/>
          <a:lstStyle>
            <a:lvl1pPr marL="0" indent="0">
              <a:spcBef>
                <a:spcPts val="0"/>
              </a:spcBef>
              <a:spcAft>
                <a:spcPts val="0"/>
              </a:spcAft>
              <a:buNone/>
              <a:defRPr sz="1800" b="1">
                <a:solidFill>
                  <a:schemeClr val="tx2"/>
                </a:solidFill>
                <a:latin typeface="+mj-lt"/>
              </a:defRPr>
            </a:lvl1pPr>
            <a:lvl2pPr marL="0" indent="0">
              <a:spcBef>
                <a:spcPts val="0"/>
              </a:spcBef>
              <a:buNone/>
              <a:defRPr sz="1000">
                <a:solidFill>
                  <a:schemeClr val="tx1"/>
                </a:solidFill>
                <a:latin typeface="+mj-lt"/>
              </a:defRPr>
            </a:lvl2pPr>
            <a:lvl3pPr>
              <a:defRPr sz="900"/>
            </a:lvl3pPr>
            <a:lvl4pPr>
              <a:defRPr sz="800"/>
            </a:lvl4pPr>
            <a:lvl5pPr>
              <a:defRPr sz="800"/>
            </a:lvl5pPr>
          </a:lstStyle>
          <a:p>
            <a:pPr lvl="0"/>
            <a:r>
              <a:rPr lang="es-ES"/>
              <a:t>####</a:t>
            </a:r>
          </a:p>
          <a:p>
            <a:pPr lvl="1"/>
            <a:r>
              <a:rPr lang="es-ES" err="1"/>
              <a:t>Second</a:t>
            </a:r>
            <a:r>
              <a:rPr lang="es-ES"/>
              <a:t> </a:t>
            </a:r>
            <a:r>
              <a:rPr lang="es-ES" err="1"/>
              <a:t>level</a:t>
            </a:r>
            <a:endParaRPr lang="es-ES"/>
          </a:p>
        </p:txBody>
      </p:sp>
      <p:sp>
        <p:nvSpPr>
          <p:cNvPr id="64" name="Marcador de texto 30">
            <a:extLst>
              <a:ext uri="{FF2B5EF4-FFF2-40B4-BE49-F238E27FC236}">
                <a16:creationId xmlns:a16="http://schemas.microsoft.com/office/drawing/2014/main" id="{6486816C-48FB-DA7C-CD2D-272E987D9FA6}"/>
              </a:ext>
            </a:extLst>
          </p:cNvPr>
          <p:cNvSpPr>
            <a:spLocks noGrp="1"/>
          </p:cNvSpPr>
          <p:nvPr>
            <p:ph type="body" sz="quarter" idx="65"/>
          </p:nvPr>
        </p:nvSpPr>
        <p:spPr>
          <a:xfrm>
            <a:off x="10061022" y="2891274"/>
            <a:ext cx="1250991" cy="515603"/>
          </a:xfrm>
          <a:prstGeom prst="rect">
            <a:avLst/>
          </a:prstGeom>
        </p:spPr>
        <p:txBody>
          <a:bodyPr/>
          <a:lstStyle>
            <a:lvl1pPr marL="0" indent="0">
              <a:buNone/>
              <a:defRPr sz="1100" b="1">
                <a:solidFill>
                  <a:schemeClr val="tx2"/>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65" name="Marcador de posición de imagen 28">
            <a:extLst>
              <a:ext uri="{FF2B5EF4-FFF2-40B4-BE49-F238E27FC236}">
                <a16:creationId xmlns:a16="http://schemas.microsoft.com/office/drawing/2014/main" id="{87F7572F-1C3F-A042-171C-215465F6C5F1}"/>
              </a:ext>
            </a:extLst>
          </p:cNvPr>
          <p:cNvSpPr>
            <a:spLocks noGrp="1"/>
          </p:cNvSpPr>
          <p:nvPr>
            <p:ph type="pic" sz="quarter" idx="66" hasCustomPrompt="1"/>
          </p:nvPr>
        </p:nvSpPr>
        <p:spPr>
          <a:xfrm>
            <a:off x="10154265" y="3473961"/>
            <a:ext cx="828000" cy="828000"/>
          </a:xfrm>
          <a:prstGeom prst="rect">
            <a:avLst/>
          </a:prstGeom>
        </p:spPr>
        <p:txBody>
          <a:bodyPr/>
          <a:lstStyle>
            <a:lvl1pPr marL="0" indent="0" algn="ctr">
              <a:buNone/>
              <a:defRPr sz="900">
                <a:latin typeface="+mj-lt"/>
              </a:defRPr>
            </a:lvl1pPr>
          </a:lstStyle>
          <a:p>
            <a:r>
              <a:rPr lang="es-ES" err="1"/>
              <a:t>Insert</a:t>
            </a:r>
            <a:r>
              <a:rPr lang="es-ES"/>
              <a:t> </a:t>
            </a:r>
            <a:r>
              <a:rPr lang="es-ES" err="1"/>
              <a:t>icon</a:t>
            </a:r>
            <a:r>
              <a:rPr lang="es-ES"/>
              <a:t> </a:t>
            </a:r>
          </a:p>
        </p:txBody>
      </p:sp>
      <p:sp>
        <p:nvSpPr>
          <p:cNvPr id="66" name="Marcador de texto 55">
            <a:extLst>
              <a:ext uri="{FF2B5EF4-FFF2-40B4-BE49-F238E27FC236}">
                <a16:creationId xmlns:a16="http://schemas.microsoft.com/office/drawing/2014/main" id="{FE5AAEBB-D092-C907-D5B9-F42CD6DBAA28}"/>
              </a:ext>
            </a:extLst>
          </p:cNvPr>
          <p:cNvSpPr>
            <a:spLocks noGrp="1"/>
          </p:cNvSpPr>
          <p:nvPr>
            <p:ph type="body" sz="quarter" idx="67" hasCustomPrompt="1"/>
          </p:nvPr>
        </p:nvSpPr>
        <p:spPr>
          <a:xfrm>
            <a:off x="10079940" y="4395019"/>
            <a:ext cx="1242346" cy="980768"/>
          </a:xfrm>
          <a:prstGeom prst="rect">
            <a:avLst/>
          </a:prstGeom>
        </p:spPr>
        <p:txBody>
          <a:bodyPr/>
          <a:lstStyle>
            <a:lvl1pPr marL="0" indent="0">
              <a:spcBef>
                <a:spcPts val="0"/>
              </a:spcBef>
              <a:spcAft>
                <a:spcPts val="0"/>
              </a:spcAft>
              <a:buNone/>
              <a:defRPr sz="1800" b="1">
                <a:solidFill>
                  <a:schemeClr val="tx2"/>
                </a:solidFill>
                <a:latin typeface="+mj-lt"/>
              </a:defRPr>
            </a:lvl1pPr>
            <a:lvl2pPr marL="0" indent="0">
              <a:spcBef>
                <a:spcPts val="0"/>
              </a:spcBef>
              <a:buNone/>
              <a:defRPr sz="1000">
                <a:solidFill>
                  <a:schemeClr val="tx1"/>
                </a:solidFill>
                <a:latin typeface="+mj-lt"/>
              </a:defRPr>
            </a:lvl2pPr>
            <a:lvl3pPr>
              <a:defRPr sz="900"/>
            </a:lvl3pPr>
            <a:lvl4pPr>
              <a:defRPr sz="800"/>
            </a:lvl4pPr>
            <a:lvl5pPr>
              <a:defRPr sz="800"/>
            </a:lvl5pPr>
          </a:lstStyle>
          <a:p>
            <a:pPr lvl="0"/>
            <a:r>
              <a:rPr lang="es-ES"/>
              <a:t>####</a:t>
            </a:r>
          </a:p>
          <a:p>
            <a:pPr lvl="1"/>
            <a:r>
              <a:rPr lang="es-ES" err="1"/>
              <a:t>Second</a:t>
            </a:r>
            <a:r>
              <a:rPr lang="es-ES"/>
              <a:t> </a:t>
            </a:r>
            <a:r>
              <a:rPr lang="es-ES" err="1"/>
              <a:t>level</a:t>
            </a:r>
            <a:endParaRPr lang="es-ES"/>
          </a:p>
        </p:txBody>
      </p:sp>
      <p:sp>
        <p:nvSpPr>
          <p:cNvPr id="5" name="Marcador de número de diapositiva 5">
            <a:extLst>
              <a:ext uri="{FF2B5EF4-FFF2-40B4-BE49-F238E27FC236}">
                <a16:creationId xmlns:a16="http://schemas.microsoft.com/office/drawing/2014/main" id="{2746D4D8-499C-56C4-6862-96AE754632BE}"/>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F9636BF0-504E-E74E-095F-CA661B8A125D}"/>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0DB692A8-E481-62BF-F742-137D45130F7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8" name="Título 1">
            <a:extLst>
              <a:ext uri="{FF2B5EF4-FFF2-40B4-BE49-F238E27FC236}">
                <a16:creationId xmlns:a16="http://schemas.microsoft.com/office/drawing/2014/main" id="{B694BDF6-A582-CD23-AB50-15323F6D4255}"/>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9" name="Marcador de texto 14">
            <a:extLst>
              <a:ext uri="{FF2B5EF4-FFF2-40B4-BE49-F238E27FC236}">
                <a16:creationId xmlns:a16="http://schemas.microsoft.com/office/drawing/2014/main" id="{3D4B613B-6DD8-93BB-CF8C-097316955F1D}"/>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3759198D-4575-9714-3D64-53267B771818}"/>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40159346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4_Header &amp; Content ">
    <p:spTree>
      <p:nvGrpSpPr>
        <p:cNvPr id="1" name=""/>
        <p:cNvGrpSpPr/>
        <p:nvPr/>
      </p:nvGrpSpPr>
      <p:grpSpPr>
        <a:xfrm>
          <a:off x="0" y="0"/>
          <a:ext cx="0" cy="0"/>
          <a:chOff x="0" y="0"/>
          <a:chExt cx="0" cy="0"/>
        </a:xfrm>
      </p:grpSpPr>
      <p:sp>
        <p:nvSpPr>
          <p:cNvPr id="15" name="Rectángulo 14">
            <a:extLst>
              <a:ext uri="{FF2B5EF4-FFF2-40B4-BE49-F238E27FC236}">
                <a16:creationId xmlns:a16="http://schemas.microsoft.com/office/drawing/2014/main" id="{7FCB65BA-58DF-53AC-D55A-B70C246EC3EB}"/>
              </a:ext>
            </a:extLst>
          </p:cNvPr>
          <p:cNvSpPr/>
          <p:nvPr userDrawn="1"/>
        </p:nvSpPr>
        <p:spPr>
          <a:xfrm>
            <a:off x="693939" y="3428415"/>
            <a:ext cx="10978916" cy="548824"/>
          </a:xfrm>
          <a:prstGeom prst="rect">
            <a:avLst/>
          </a:prstGeom>
          <a:solidFill>
            <a:schemeClr val="accent5">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s-ES" sz="900">
              <a:solidFill>
                <a:srgbClr val="FFFFFF"/>
              </a:solidFill>
              <a:latin typeface="+mj-lt"/>
            </a:endParaRPr>
          </a:p>
        </p:txBody>
      </p:sp>
      <p:sp>
        <p:nvSpPr>
          <p:cNvPr id="5" name="Marcador de texto 16">
            <a:extLst>
              <a:ext uri="{FF2B5EF4-FFF2-40B4-BE49-F238E27FC236}">
                <a16:creationId xmlns:a16="http://schemas.microsoft.com/office/drawing/2014/main" id="{464B49D7-5450-50A3-FBE2-1BD35C9930CC}"/>
              </a:ext>
            </a:extLst>
          </p:cNvPr>
          <p:cNvSpPr>
            <a:spLocks noGrp="1"/>
          </p:cNvSpPr>
          <p:nvPr>
            <p:ph type="body" sz="quarter" idx="47"/>
          </p:nvPr>
        </p:nvSpPr>
        <p:spPr>
          <a:xfrm>
            <a:off x="764077" y="3520116"/>
            <a:ext cx="2963862" cy="375140"/>
          </a:xfrm>
          <a:prstGeom prst="rect">
            <a:avLst/>
          </a:prstGeom>
        </p:spPr>
        <p:txBody>
          <a:bodyPr anchor="ctr"/>
          <a:lstStyle>
            <a:lvl1pPr marL="0" indent="0">
              <a:buNone/>
              <a:defRPr sz="1400" b="1">
                <a:solidFill>
                  <a:schemeClr val="tx2"/>
                </a:solidFill>
                <a:latin typeface="+mj-lt"/>
              </a:defRPr>
            </a:lvl1pPr>
          </a:lstStyle>
          <a:p>
            <a:pPr lvl="0"/>
            <a:endParaRPr lang="es-ES"/>
          </a:p>
        </p:txBody>
      </p:sp>
      <p:sp>
        <p:nvSpPr>
          <p:cNvPr id="6" name="Marcador de texto 30">
            <a:extLst>
              <a:ext uri="{FF2B5EF4-FFF2-40B4-BE49-F238E27FC236}">
                <a16:creationId xmlns:a16="http://schemas.microsoft.com/office/drawing/2014/main" id="{5784AE02-7606-EB51-7174-ED93631460A3}"/>
              </a:ext>
            </a:extLst>
          </p:cNvPr>
          <p:cNvSpPr>
            <a:spLocks noGrp="1"/>
          </p:cNvSpPr>
          <p:nvPr>
            <p:ph type="body" sz="quarter" idx="52"/>
          </p:nvPr>
        </p:nvSpPr>
        <p:spPr>
          <a:xfrm>
            <a:off x="3748134" y="3593057"/>
            <a:ext cx="7717035" cy="277896"/>
          </a:xfrm>
          <a:prstGeom prst="rect">
            <a:avLst/>
          </a:prstGeom>
        </p:spPr>
        <p:txBody>
          <a:bodyPr anchor="ctr"/>
          <a:lstStyle>
            <a:lvl1pPr marL="0" indent="0">
              <a:buNone/>
              <a:defRPr sz="900">
                <a:solidFill>
                  <a:schemeClr val="tx2"/>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30" name="Abrir corchete 29">
            <a:extLst>
              <a:ext uri="{FF2B5EF4-FFF2-40B4-BE49-F238E27FC236}">
                <a16:creationId xmlns:a16="http://schemas.microsoft.com/office/drawing/2014/main" id="{42958D3B-3070-29DB-F7C7-918D9DA63E66}"/>
              </a:ext>
            </a:extLst>
          </p:cNvPr>
          <p:cNvSpPr/>
          <p:nvPr userDrawn="1"/>
        </p:nvSpPr>
        <p:spPr>
          <a:xfrm>
            <a:off x="3634172" y="1414151"/>
            <a:ext cx="364141" cy="1711319"/>
          </a:xfrm>
          <a:prstGeom prst="leftBracket">
            <a:avLst>
              <a:gd name="adj" fmla="val 0"/>
            </a:avLst>
          </a:prstGeom>
          <a:ln w="50800">
            <a:solidFill>
              <a:srgbClr val="60001D"/>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s-ES">
              <a:solidFill>
                <a:prstClr val="black"/>
              </a:solidFill>
              <a:latin typeface="+mj-lt"/>
            </a:endParaRPr>
          </a:p>
        </p:txBody>
      </p:sp>
      <p:sp>
        <p:nvSpPr>
          <p:cNvPr id="31" name="Abrir corchete 30">
            <a:extLst>
              <a:ext uri="{FF2B5EF4-FFF2-40B4-BE49-F238E27FC236}">
                <a16:creationId xmlns:a16="http://schemas.microsoft.com/office/drawing/2014/main" id="{66866C8A-08B6-D2DB-3BB2-3EA50C3C14B9}"/>
              </a:ext>
            </a:extLst>
          </p:cNvPr>
          <p:cNvSpPr/>
          <p:nvPr userDrawn="1"/>
        </p:nvSpPr>
        <p:spPr>
          <a:xfrm flipH="1">
            <a:off x="6330901" y="1414151"/>
            <a:ext cx="364141" cy="1711319"/>
          </a:xfrm>
          <a:prstGeom prst="leftBracket">
            <a:avLst>
              <a:gd name="adj" fmla="val 0"/>
            </a:avLst>
          </a:prstGeom>
          <a:ln w="50800">
            <a:solidFill>
              <a:srgbClr val="60001D"/>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s-ES">
              <a:solidFill>
                <a:prstClr val="black"/>
              </a:solidFill>
              <a:latin typeface="+mj-lt"/>
            </a:endParaRPr>
          </a:p>
        </p:txBody>
      </p:sp>
      <p:sp>
        <p:nvSpPr>
          <p:cNvPr id="43" name="Marcador de texto 30">
            <a:extLst>
              <a:ext uri="{FF2B5EF4-FFF2-40B4-BE49-F238E27FC236}">
                <a16:creationId xmlns:a16="http://schemas.microsoft.com/office/drawing/2014/main" id="{078466BF-E603-7E99-399B-C905AAC6B121}"/>
              </a:ext>
            </a:extLst>
          </p:cNvPr>
          <p:cNvSpPr>
            <a:spLocks noGrp="1"/>
          </p:cNvSpPr>
          <p:nvPr>
            <p:ph type="body" sz="quarter" idx="53"/>
          </p:nvPr>
        </p:nvSpPr>
        <p:spPr>
          <a:xfrm>
            <a:off x="3778280" y="1543194"/>
            <a:ext cx="2773245" cy="1431118"/>
          </a:xfrm>
          <a:prstGeom prst="rect">
            <a:avLst/>
          </a:prstGeom>
        </p:spPr>
        <p:txBody>
          <a:bodyPr anchor="t"/>
          <a:lstStyle>
            <a:lvl1pPr marL="0" indent="0">
              <a:spcBef>
                <a:spcPts val="0"/>
              </a:spcBef>
              <a:spcAft>
                <a:spcPts val="1800"/>
              </a:spcAft>
              <a:buNone/>
              <a:defRPr sz="900">
                <a:solidFill>
                  <a:schemeClr val="tx1"/>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44" name="Marcador de texto 16">
            <a:extLst>
              <a:ext uri="{FF2B5EF4-FFF2-40B4-BE49-F238E27FC236}">
                <a16:creationId xmlns:a16="http://schemas.microsoft.com/office/drawing/2014/main" id="{32D1DCC1-CB32-6461-1A2E-1F9F59F5EF58}"/>
              </a:ext>
            </a:extLst>
          </p:cNvPr>
          <p:cNvSpPr>
            <a:spLocks noGrp="1"/>
          </p:cNvSpPr>
          <p:nvPr>
            <p:ph type="body" sz="quarter" idx="54"/>
          </p:nvPr>
        </p:nvSpPr>
        <p:spPr>
          <a:xfrm>
            <a:off x="1628234" y="1560688"/>
            <a:ext cx="1707819" cy="1353334"/>
          </a:xfrm>
          <a:prstGeom prst="rect">
            <a:avLst/>
          </a:prstGeom>
        </p:spPr>
        <p:txBody>
          <a:bodyPr anchor="ctr"/>
          <a:lstStyle>
            <a:lvl1pPr marL="0" indent="0">
              <a:buNone/>
              <a:defRPr sz="1400" b="1">
                <a:solidFill>
                  <a:schemeClr val="tx1">
                    <a:lumMod val="75000"/>
                  </a:schemeClr>
                </a:solidFill>
                <a:latin typeface="+mj-lt"/>
              </a:defRPr>
            </a:lvl1pPr>
          </a:lstStyle>
          <a:p>
            <a:pPr lvl="0"/>
            <a:endParaRPr lang="es-ES"/>
          </a:p>
        </p:txBody>
      </p:sp>
      <p:sp>
        <p:nvSpPr>
          <p:cNvPr id="46" name="Marcador de texto 16">
            <a:extLst>
              <a:ext uri="{FF2B5EF4-FFF2-40B4-BE49-F238E27FC236}">
                <a16:creationId xmlns:a16="http://schemas.microsoft.com/office/drawing/2014/main" id="{AB369F9B-93D7-E35A-EE57-0C45213AE89E}"/>
              </a:ext>
            </a:extLst>
          </p:cNvPr>
          <p:cNvSpPr>
            <a:spLocks noGrp="1"/>
          </p:cNvSpPr>
          <p:nvPr>
            <p:ph type="body" sz="quarter" idx="55"/>
          </p:nvPr>
        </p:nvSpPr>
        <p:spPr>
          <a:xfrm>
            <a:off x="7566409" y="1430060"/>
            <a:ext cx="4124449" cy="459030"/>
          </a:xfrm>
          <a:prstGeom prst="rect">
            <a:avLst/>
          </a:prstGeom>
        </p:spPr>
        <p:txBody>
          <a:bodyPr anchor="t"/>
          <a:lstStyle>
            <a:lvl1pPr marL="0" indent="0">
              <a:buNone/>
              <a:defRPr sz="1100" b="1">
                <a:solidFill>
                  <a:schemeClr val="tx1">
                    <a:lumMod val="75000"/>
                  </a:schemeClr>
                </a:solidFill>
                <a:latin typeface="+mj-lt"/>
              </a:defRPr>
            </a:lvl1pPr>
          </a:lstStyle>
          <a:p>
            <a:pPr lvl="0"/>
            <a:endParaRPr lang="es-ES"/>
          </a:p>
        </p:txBody>
      </p:sp>
      <p:sp>
        <p:nvSpPr>
          <p:cNvPr id="59" name="Marcador de texto 30">
            <a:extLst>
              <a:ext uri="{FF2B5EF4-FFF2-40B4-BE49-F238E27FC236}">
                <a16:creationId xmlns:a16="http://schemas.microsoft.com/office/drawing/2014/main" id="{730944CF-54A2-4A93-660F-208E9B42AE2E}"/>
              </a:ext>
            </a:extLst>
          </p:cNvPr>
          <p:cNvSpPr>
            <a:spLocks noGrp="1"/>
          </p:cNvSpPr>
          <p:nvPr>
            <p:ph type="body" sz="quarter" idx="56"/>
          </p:nvPr>
        </p:nvSpPr>
        <p:spPr>
          <a:xfrm>
            <a:off x="7766944" y="2645614"/>
            <a:ext cx="897832" cy="678499"/>
          </a:xfrm>
          <a:prstGeom prst="rect">
            <a:avLst/>
          </a:prstGeom>
        </p:spPr>
        <p:txBody>
          <a:bodyPr/>
          <a:lstStyle>
            <a:lvl1pPr marL="0" indent="0" algn="ctr">
              <a:lnSpc>
                <a:spcPct val="100000"/>
              </a:lnSpc>
              <a:buNone/>
              <a:defRPr sz="900">
                <a:solidFill>
                  <a:schemeClr val="tx1"/>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67" name="Marcador de posición de imagen 28">
            <a:extLst>
              <a:ext uri="{FF2B5EF4-FFF2-40B4-BE49-F238E27FC236}">
                <a16:creationId xmlns:a16="http://schemas.microsoft.com/office/drawing/2014/main" id="{221EDF12-B7B2-BBEF-EB34-08FBFBA66055}"/>
              </a:ext>
            </a:extLst>
          </p:cNvPr>
          <p:cNvSpPr>
            <a:spLocks noGrp="1"/>
          </p:cNvSpPr>
          <p:nvPr>
            <p:ph type="pic" sz="quarter" idx="60" hasCustomPrompt="1"/>
          </p:nvPr>
        </p:nvSpPr>
        <p:spPr>
          <a:xfrm>
            <a:off x="7950386" y="2040037"/>
            <a:ext cx="509432" cy="509432"/>
          </a:xfrm>
          <a:prstGeom prst="rect">
            <a:avLst/>
          </a:prstGeom>
        </p:spPr>
        <p:txBody>
          <a:bodyPr/>
          <a:lstStyle>
            <a:lvl1pPr marL="0" indent="0" algn="ctr">
              <a:buNone/>
              <a:defRPr sz="900">
                <a:latin typeface="+mj-lt"/>
              </a:defRPr>
            </a:lvl1pPr>
          </a:lstStyle>
          <a:p>
            <a:r>
              <a:rPr lang="es-ES" err="1"/>
              <a:t>Insert</a:t>
            </a:r>
            <a:r>
              <a:rPr lang="es-ES"/>
              <a:t> </a:t>
            </a:r>
            <a:r>
              <a:rPr lang="es-ES" err="1"/>
              <a:t>icon</a:t>
            </a:r>
            <a:r>
              <a:rPr lang="es-ES"/>
              <a:t> </a:t>
            </a:r>
          </a:p>
        </p:txBody>
      </p:sp>
      <p:sp>
        <p:nvSpPr>
          <p:cNvPr id="68" name="Marcador de texto 30">
            <a:extLst>
              <a:ext uri="{FF2B5EF4-FFF2-40B4-BE49-F238E27FC236}">
                <a16:creationId xmlns:a16="http://schemas.microsoft.com/office/drawing/2014/main" id="{24CFB53B-3661-59AD-180E-52C74BF90D57}"/>
              </a:ext>
            </a:extLst>
          </p:cNvPr>
          <p:cNvSpPr>
            <a:spLocks noGrp="1"/>
          </p:cNvSpPr>
          <p:nvPr>
            <p:ph type="body" sz="quarter" idx="61"/>
          </p:nvPr>
        </p:nvSpPr>
        <p:spPr>
          <a:xfrm>
            <a:off x="8907254" y="2645614"/>
            <a:ext cx="897832" cy="678499"/>
          </a:xfrm>
          <a:prstGeom prst="rect">
            <a:avLst/>
          </a:prstGeom>
        </p:spPr>
        <p:txBody>
          <a:bodyPr/>
          <a:lstStyle>
            <a:lvl1pPr marL="0" indent="0" algn="ctr">
              <a:lnSpc>
                <a:spcPct val="100000"/>
              </a:lnSpc>
              <a:buNone/>
              <a:defRPr sz="900">
                <a:solidFill>
                  <a:schemeClr val="tx1"/>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69" name="Marcador de posición de imagen 28">
            <a:extLst>
              <a:ext uri="{FF2B5EF4-FFF2-40B4-BE49-F238E27FC236}">
                <a16:creationId xmlns:a16="http://schemas.microsoft.com/office/drawing/2014/main" id="{1162D5D8-592C-B191-085A-29D6B2B6BB6D}"/>
              </a:ext>
            </a:extLst>
          </p:cNvPr>
          <p:cNvSpPr>
            <a:spLocks noGrp="1"/>
          </p:cNvSpPr>
          <p:nvPr>
            <p:ph type="pic" sz="quarter" idx="62" hasCustomPrompt="1"/>
          </p:nvPr>
        </p:nvSpPr>
        <p:spPr>
          <a:xfrm>
            <a:off x="9090696" y="2040037"/>
            <a:ext cx="509432" cy="509432"/>
          </a:xfrm>
          <a:prstGeom prst="rect">
            <a:avLst/>
          </a:prstGeom>
        </p:spPr>
        <p:txBody>
          <a:bodyPr/>
          <a:lstStyle>
            <a:lvl1pPr marL="0" indent="0" algn="ctr">
              <a:buNone/>
              <a:defRPr sz="900">
                <a:latin typeface="+mj-lt"/>
              </a:defRPr>
            </a:lvl1pPr>
          </a:lstStyle>
          <a:p>
            <a:r>
              <a:rPr lang="es-ES" err="1"/>
              <a:t>Insert</a:t>
            </a:r>
            <a:r>
              <a:rPr lang="es-ES"/>
              <a:t> </a:t>
            </a:r>
            <a:r>
              <a:rPr lang="es-ES" err="1"/>
              <a:t>icon</a:t>
            </a:r>
            <a:r>
              <a:rPr lang="es-ES"/>
              <a:t> </a:t>
            </a:r>
          </a:p>
        </p:txBody>
      </p:sp>
      <p:sp>
        <p:nvSpPr>
          <p:cNvPr id="70" name="Marcador de texto 30">
            <a:extLst>
              <a:ext uri="{FF2B5EF4-FFF2-40B4-BE49-F238E27FC236}">
                <a16:creationId xmlns:a16="http://schemas.microsoft.com/office/drawing/2014/main" id="{14D2EAD8-F47A-9293-77D8-731C917C5056}"/>
              </a:ext>
            </a:extLst>
          </p:cNvPr>
          <p:cNvSpPr>
            <a:spLocks noGrp="1"/>
          </p:cNvSpPr>
          <p:nvPr>
            <p:ph type="body" sz="quarter" idx="63"/>
          </p:nvPr>
        </p:nvSpPr>
        <p:spPr>
          <a:xfrm>
            <a:off x="10015291" y="2645614"/>
            <a:ext cx="897832" cy="678499"/>
          </a:xfrm>
          <a:prstGeom prst="rect">
            <a:avLst/>
          </a:prstGeom>
        </p:spPr>
        <p:txBody>
          <a:bodyPr/>
          <a:lstStyle>
            <a:lvl1pPr marL="0" indent="0" algn="ctr">
              <a:lnSpc>
                <a:spcPct val="100000"/>
              </a:lnSpc>
              <a:buNone/>
              <a:defRPr sz="900">
                <a:solidFill>
                  <a:schemeClr val="tx1"/>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71" name="Marcador de posición de imagen 28">
            <a:extLst>
              <a:ext uri="{FF2B5EF4-FFF2-40B4-BE49-F238E27FC236}">
                <a16:creationId xmlns:a16="http://schemas.microsoft.com/office/drawing/2014/main" id="{CF736C39-C5A5-774A-69CA-B0E6A12B269A}"/>
              </a:ext>
            </a:extLst>
          </p:cNvPr>
          <p:cNvSpPr>
            <a:spLocks noGrp="1"/>
          </p:cNvSpPr>
          <p:nvPr>
            <p:ph type="pic" sz="quarter" idx="64" hasCustomPrompt="1"/>
          </p:nvPr>
        </p:nvSpPr>
        <p:spPr>
          <a:xfrm>
            <a:off x="10198733" y="2040037"/>
            <a:ext cx="509432" cy="509432"/>
          </a:xfrm>
          <a:prstGeom prst="rect">
            <a:avLst/>
          </a:prstGeom>
        </p:spPr>
        <p:txBody>
          <a:bodyPr/>
          <a:lstStyle>
            <a:lvl1pPr marL="0" indent="0" algn="ctr">
              <a:buNone/>
              <a:defRPr sz="900">
                <a:latin typeface="+mj-lt"/>
              </a:defRPr>
            </a:lvl1pPr>
          </a:lstStyle>
          <a:p>
            <a:r>
              <a:rPr lang="es-ES" err="1"/>
              <a:t>Insert</a:t>
            </a:r>
            <a:r>
              <a:rPr lang="es-ES"/>
              <a:t> </a:t>
            </a:r>
            <a:r>
              <a:rPr lang="es-ES" err="1"/>
              <a:t>icon</a:t>
            </a:r>
            <a:r>
              <a:rPr lang="es-ES"/>
              <a:t> </a:t>
            </a:r>
          </a:p>
        </p:txBody>
      </p:sp>
      <p:grpSp>
        <p:nvGrpSpPr>
          <p:cNvPr id="107" name="Grupo 106">
            <a:extLst>
              <a:ext uri="{FF2B5EF4-FFF2-40B4-BE49-F238E27FC236}">
                <a16:creationId xmlns:a16="http://schemas.microsoft.com/office/drawing/2014/main" id="{5CB9EE7E-9528-5263-C290-9907DB42E7D4}"/>
              </a:ext>
            </a:extLst>
          </p:cNvPr>
          <p:cNvGrpSpPr/>
          <p:nvPr userDrawn="1"/>
        </p:nvGrpSpPr>
        <p:grpSpPr>
          <a:xfrm>
            <a:off x="1151460" y="4210404"/>
            <a:ext cx="3060945" cy="1625315"/>
            <a:chOff x="1121296" y="4169307"/>
            <a:chExt cx="2347602" cy="1458013"/>
          </a:xfrm>
        </p:grpSpPr>
        <p:sp>
          <p:nvSpPr>
            <p:cNvPr id="72" name="Rectángulo 71">
              <a:extLst>
                <a:ext uri="{FF2B5EF4-FFF2-40B4-BE49-F238E27FC236}">
                  <a16:creationId xmlns:a16="http://schemas.microsoft.com/office/drawing/2014/main" id="{15122665-77F8-4788-9C77-219B96713820}"/>
                </a:ext>
              </a:extLst>
            </p:cNvPr>
            <p:cNvSpPr/>
            <p:nvPr userDrawn="1"/>
          </p:nvSpPr>
          <p:spPr>
            <a:xfrm>
              <a:off x="1121297" y="4417226"/>
              <a:ext cx="2347601" cy="12100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s-ES" sz="1350">
                <a:solidFill>
                  <a:srgbClr val="FFFFFF"/>
                </a:solidFill>
                <a:latin typeface="+mj-lt"/>
              </a:endParaRPr>
            </a:p>
          </p:txBody>
        </p:sp>
        <p:sp>
          <p:nvSpPr>
            <p:cNvPr id="74" name="Flecha: pentágono 73">
              <a:extLst>
                <a:ext uri="{FF2B5EF4-FFF2-40B4-BE49-F238E27FC236}">
                  <a16:creationId xmlns:a16="http://schemas.microsoft.com/office/drawing/2014/main" id="{10FED7B2-1675-01FA-0D02-F66074C85780}"/>
                </a:ext>
              </a:extLst>
            </p:cNvPr>
            <p:cNvSpPr/>
            <p:nvPr userDrawn="1"/>
          </p:nvSpPr>
          <p:spPr>
            <a:xfrm>
              <a:off x="2464697" y="4619037"/>
              <a:ext cx="931412" cy="154594"/>
            </a:xfrm>
            <a:prstGeom prst="homePlate">
              <a:avLst>
                <a:gd name="adj" fmla="val 37677"/>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s-ES" sz="1350">
                <a:solidFill>
                  <a:srgbClr val="FFFFFF"/>
                </a:solidFill>
                <a:latin typeface="+mj-lt"/>
              </a:endParaRPr>
            </a:p>
          </p:txBody>
        </p:sp>
        <p:sp>
          <p:nvSpPr>
            <p:cNvPr id="75" name="Flecha: pentágono 74">
              <a:extLst>
                <a:ext uri="{FF2B5EF4-FFF2-40B4-BE49-F238E27FC236}">
                  <a16:creationId xmlns:a16="http://schemas.microsoft.com/office/drawing/2014/main" id="{C6B442C2-D386-E59E-3111-926871664B95}"/>
                </a:ext>
              </a:extLst>
            </p:cNvPr>
            <p:cNvSpPr/>
            <p:nvPr userDrawn="1"/>
          </p:nvSpPr>
          <p:spPr>
            <a:xfrm>
              <a:off x="2464697" y="4873831"/>
              <a:ext cx="931412" cy="154594"/>
            </a:xfrm>
            <a:prstGeom prst="homePlate">
              <a:avLst>
                <a:gd name="adj" fmla="val 37677"/>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s-ES" sz="1350">
                <a:solidFill>
                  <a:srgbClr val="FFFFFF"/>
                </a:solidFill>
                <a:latin typeface="+mj-lt"/>
              </a:endParaRPr>
            </a:p>
          </p:txBody>
        </p:sp>
        <p:sp>
          <p:nvSpPr>
            <p:cNvPr id="76" name="Flecha: pentágono 75">
              <a:extLst>
                <a:ext uri="{FF2B5EF4-FFF2-40B4-BE49-F238E27FC236}">
                  <a16:creationId xmlns:a16="http://schemas.microsoft.com/office/drawing/2014/main" id="{EFF22291-116C-24E0-1914-677185BA94C6}"/>
                </a:ext>
              </a:extLst>
            </p:cNvPr>
            <p:cNvSpPr/>
            <p:nvPr userDrawn="1"/>
          </p:nvSpPr>
          <p:spPr>
            <a:xfrm>
              <a:off x="2464697" y="5128624"/>
              <a:ext cx="931412" cy="154594"/>
            </a:xfrm>
            <a:prstGeom prst="homePlate">
              <a:avLst>
                <a:gd name="adj" fmla="val 37677"/>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s-ES" sz="1350">
                <a:solidFill>
                  <a:srgbClr val="FFFFFF"/>
                </a:solidFill>
                <a:latin typeface="+mj-lt"/>
              </a:endParaRPr>
            </a:p>
          </p:txBody>
        </p:sp>
        <p:sp>
          <p:nvSpPr>
            <p:cNvPr id="77" name="Flecha: pentágono 76">
              <a:extLst>
                <a:ext uri="{FF2B5EF4-FFF2-40B4-BE49-F238E27FC236}">
                  <a16:creationId xmlns:a16="http://schemas.microsoft.com/office/drawing/2014/main" id="{4B640DC0-319B-6BB6-9AC2-A7E9CB09B6AF}"/>
                </a:ext>
              </a:extLst>
            </p:cNvPr>
            <p:cNvSpPr/>
            <p:nvPr userDrawn="1"/>
          </p:nvSpPr>
          <p:spPr>
            <a:xfrm>
              <a:off x="2464697" y="5383418"/>
              <a:ext cx="931412" cy="154594"/>
            </a:xfrm>
            <a:prstGeom prst="homePlate">
              <a:avLst>
                <a:gd name="adj" fmla="val 37677"/>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s-ES" sz="1350">
                <a:solidFill>
                  <a:srgbClr val="FFFFFF"/>
                </a:solidFill>
                <a:latin typeface="+mj-lt"/>
              </a:endParaRPr>
            </a:p>
          </p:txBody>
        </p:sp>
        <p:sp>
          <p:nvSpPr>
            <p:cNvPr id="104" name="Rectángulo: esquinas superiores redondeadas 103">
              <a:extLst>
                <a:ext uri="{FF2B5EF4-FFF2-40B4-BE49-F238E27FC236}">
                  <a16:creationId xmlns:a16="http://schemas.microsoft.com/office/drawing/2014/main" id="{103C5DED-640B-696E-68AB-287AB9831501}"/>
                </a:ext>
              </a:extLst>
            </p:cNvPr>
            <p:cNvSpPr/>
            <p:nvPr userDrawn="1"/>
          </p:nvSpPr>
          <p:spPr>
            <a:xfrm>
              <a:off x="1121296" y="4169307"/>
              <a:ext cx="2347449" cy="224236"/>
            </a:xfrm>
            <a:prstGeom prst="round2SameRect">
              <a:avLst>
                <a:gd name="adj1" fmla="val 42227"/>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s-ES" sz="1350">
                <a:solidFill>
                  <a:srgbClr val="FFFFFF"/>
                </a:solidFill>
                <a:latin typeface="+mj-lt"/>
              </a:endParaRPr>
            </a:p>
          </p:txBody>
        </p:sp>
        <p:sp>
          <p:nvSpPr>
            <p:cNvPr id="105" name="CuadroTexto 104">
              <a:extLst>
                <a:ext uri="{FF2B5EF4-FFF2-40B4-BE49-F238E27FC236}">
                  <a16:creationId xmlns:a16="http://schemas.microsoft.com/office/drawing/2014/main" id="{9DED99CA-ED32-97BE-86D1-B8B5F51CD34C}"/>
                </a:ext>
              </a:extLst>
            </p:cNvPr>
            <p:cNvSpPr txBox="1"/>
            <p:nvPr userDrawn="1"/>
          </p:nvSpPr>
          <p:spPr>
            <a:xfrm>
              <a:off x="1253212" y="4179424"/>
              <a:ext cx="2085518" cy="207071"/>
            </a:xfrm>
            <a:prstGeom prst="rect">
              <a:avLst/>
            </a:prstGeom>
            <a:noFill/>
          </p:spPr>
          <p:txBody>
            <a:bodyPr wrap="square" rtlCol="0">
              <a:spAutoFit/>
            </a:bodyPr>
            <a:lstStyle/>
            <a:p>
              <a:pPr algn="ctr" defTabSz="685800"/>
              <a:r>
                <a:rPr lang="en-US" sz="900" b="1">
                  <a:solidFill>
                    <a:srgbClr val="FFFFFF"/>
                  </a:solidFill>
                  <a:latin typeface="+mj-lt"/>
                </a:rPr>
                <a:t>Global Relationship Model</a:t>
              </a:r>
            </a:p>
          </p:txBody>
        </p:sp>
      </p:grpSp>
      <p:sp>
        <p:nvSpPr>
          <p:cNvPr id="109" name="Marcador de texto 16">
            <a:extLst>
              <a:ext uri="{FF2B5EF4-FFF2-40B4-BE49-F238E27FC236}">
                <a16:creationId xmlns:a16="http://schemas.microsoft.com/office/drawing/2014/main" id="{B6D68668-F8E0-42F9-4275-B31C975B1C1C}"/>
              </a:ext>
            </a:extLst>
          </p:cNvPr>
          <p:cNvSpPr>
            <a:spLocks noGrp="1"/>
          </p:cNvSpPr>
          <p:nvPr>
            <p:ph type="body" sz="quarter" idx="65"/>
          </p:nvPr>
        </p:nvSpPr>
        <p:spPr>
          <a:xfrm>
            <a:off x="5510736" y="4159446"/>
            <a:ext cx="6162119" cy="204411"/>
          </a:xfrm>
          <a:prstGeom prst="rect">
            <a:avLst/>
          </a:prstGeom>
        </p:spPr>
        <p:txBody>
          <a:bodyPr anchor="ctr"/>
          <a:lstStyle>
            <a:lvl1pPr marL="0" indent="0">
              <a:buNone/>
              <a:defRPr sz="1200" b="1">
                <a:solidFill>
                  <a:srgbClr val="EC0000"/>
                </a:solidFill>
                <a:latin typeface="+mj-lt"/>
              </a:defRPr>
            </a:lvl1pPr>
          </a:lstStyle>
          <a:p>
            <a:pPr lvl="0"/>
            <a:endParaRPr lang="es-ES"/>
          </a:p>
        </p:txBody>
      </p:sp>
      <p:sp>
        <p:nvSpPr>
          <p:cNvPr id="112" name="Marcador de texto 110">
            <a:extLst>
              <a:ext uri="{FF2B5EF4-FFF2-40B4-BE49-F238E27FC236}">
                <a16:creationId xmlns:a16="http://schemas.microsoft.com/office/drawing/2014/main" id="{87B3DCF5-0D6E-A1AE-125D-BAFA06663D52}"/>
              </a:ext>
            </a:extLst>
          </p:cNvPr>
          <p:cNvSpPr>
            <a:spLocks noGrp="1"/>
          </p:cNvSpPr>
          <p:nvPr>
            <p:ph type="body" sz="quarter" idx="66" hasCustomPrompt="1"/>
          </p:nvPr>
        </p:nvSpPr>
        <p:spPr>
          <a:xfrm>
            <a:off x="5508951" y="4385619"/>
            <a:ext cx="1883089" cy="1674058"/>
          </a:xfrm>
          <a:prstGeom prst="rect">
            <a:avLst/>
          </a:prstGeom>
        </p:spPr>
        <p:txBody>
          <a:bodyPr/>
          <a:lstStyle>
            <a:lvl1pPr marL="0" indent="0">
              <a:spcBef>
                <a:spcPts val="0"/>
              </a:spcBef>
              <a:spcAft>
                <a:spcPts val="1000"/>
              </a:spcAft>
              <a:buNone/>
              <a:defRPr sz="900" b="1">
                <a:solidFill>
                  <a:schemeClr val="tx1">
                    <a:lumMod val="75000"/>
                  </a:schemeClr>
                </a:solidFill>
                <a:latin typeface="+mj-lt"/>
              </a:defRPr>
            </a:lvl1pPr>
            <a:lvl2pPr marL="108000" indent="-108000">
              <a:spcBef>
                <a:spcPts val="0"/>
              </a:spcBef>
              <a:spcAft>
                <a:spcPts val="600"/>
              </a:spcAft>
              <a:buClr>
                <a:srgbClr val="EC0000"/>
              </a:buClr>
              <a:buFont typeface="Arial" panose="020B0604020202020204" pitchFamily="34" charset="0"/>
              <a:buChar char="•"/>
              <a:defRPr sz="900">
                <a:solidFill>
                  <a:schemeClr val="tx1">
                    <a:lumMod val="75000"/>
                  </a:schemeClr>
                </a:solidFill>
                <a:latin typeface="+mj-lt"/>
              </a:defRPr>
            </a:lvl2pPr>
            <a:lvl3pPr>
              <a:defRPr sz="1000"/>
            </a:lvl3pPr>
            <a:lvl4pPr>
              <a:defRPr sz="900"/>
            </a:lvl4pPr>
            <a:lvl5pPr>
              <a:defRPr sz="900"/>
            </a:lvl5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115" name="Marcador de texto 110">
            <a:extLst>
              <a:ext uri="{FF2B5EF4-FFF2-40B4-BE49-F238E27FC236}">
                <a16:creationId xmlns:a16="http://schemas.microsoft.com/office/drawing/2014/main" id="{BE6FB8C1-E056-EB94-BA0A-4C206D17E70A}"/>
              </a:ext>
            </a:extLst>
          </p:cNvPr>
          <p:cNvSpPr>
            <a:spLocks noGrp="1"/>
          </p:cNvSpPr>
          <p:nvPr>
            <p:ph type="body" sz="quarter" idx="67" hasCustomPrompt="1"/>
          </p:nvPr>
        </p:nvSpPr>
        <p:spPr>
          <a:xfrm>
            <a:off x="7652797" y="4385619"/>
            <a:ext cx="1883089" cy="1674058"/>
          </a:xfrm>
          <a:prstGeom prst="rect">
            <a:avLst/>
          </a:prstGeom>
        </p:spPr>
        <p:txBody>
          <a:bodyPr/>
          <a:lstStyle>
            <a:lvl1pPr marL="0" indent="0">
              <a:spcBef>
                <a:spcPts val="0"/>
              </a:spcBef>
              <a:spcAft>
                <a:spcPts val="1000"/>
              </a:spcAft>
              <a:buNone/>
              <a:defRPr sz="900" b="1">
                <a:solidFill>
                  <a:schemeClr val="tx1">
                    <a:lumMod val="75000"/>
                  </a:schemeClr>
                </a:solidFill>
                <a:latin typeface="+mj-lt"/>
              </a:defRPr>
            </a:lvl1pPr>
            <a:lvl2pPr marL="108000" indent="-108000">
              <a:spcBef>
                <a:spcPts val="0"/>
              </a:spcBef>
              <a:spcAft>
                <a:spcPts val="600"/>
              </a:spcAft>
              <a:buClr>
                <a:srgbClr val="EC0000"/>
              </a:buClr>
              <a:buFont typeface="Arial" panose="020B0604020202020204" pitchFamily="34" charset="0"/>
              <a:buChar char="•"/>
              <a:defRPr sz="900">
                <a:solidFill>
                  <a:schemeClr val="tx1">
                    <a:lumMod val="75000"/>
                  </a:schemeClr>
                </a:solidFill>
                <a:latin typeface="+mj-lt"/>
              </a:defRPr>
            </a:lvl2pPr>
            <a:lvl3pPr>
              <a:defRPr sz="1000"/>
            </a:lvl3pPr>
            <a:lvl4pPr>
              <a:defRPr sz="900"/>
            </a:lvl4pPr>
            <a:lvl5pPr>
              <a:defRPr sz="900"/>
            </a:lvl5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116" name="Marcador de texto 110">
            <a:extLst>
              <a:ext uri="{FF2B5EF4-FFF2-40B4-BE49-F238E27FC236}">
                <a16:creationId xmlns:a16="http://schemas.microsoft.com/office/drawing/2014/main" id="{A613EEC1-AD3D-B90D-5883-6ADA18786CFB}"/>
              </a:ext>
            </a:extLst>
          </p:cNvPr>
          <p:cNvSpPr>
            <a:spLocks noGrp="1"/>
          </p:cNvSpPr>
          <p:nvPr>
            <p:ph type="body" sz="quarter" idx="68" hasCustomPrompt="1"/>
          </p:nvPr>
        </p:nvSpPr>
        <p:spPr>
          <a:xfrm>
            <a:off x="9796642" y="4385619"/>
            <a:ext cx="1883089" cy="1674058"/>
          </a:xfrm>
          <a:prstGeom prst="rect">
            <a:avLst/>
          </a:prstGeom>
        </p:spPr>
        <p:txBody>
          <a:bodyPr/>
          <a:lstStyle>
            <a:lvl1pPr marL="0" indent="0">
              <a:spcBef>
                <a:spcPts val="0"/>
              </a:spcBef>
              <a:spcAft>
                <a:spcPts val="1000"/>
              </a:spcAft>
              <a:buNone/>
              <a:defRPr sz="900" b="1">
                <a:solidFill>
                  <a:schemeClr val="tx1">
                    <a:lumMod val="75000"/>
                  </a:schemeClr>
                </a:solidFill>
                <a:latin typeface="+mj-lt"/>
              </a:defRPr>
            </a:lvl1pPr>
            <a:lvl2pPr marL="108000" indent="-108000">
              <a:spcBef>
                <a:spcPts val="0"/>
              </a:spcBef>
              <a:spcAft>
                <a:spcPts val="600"/>
              </a:spcAft>
              <a:buClr>
                <a:srgbClr val="EC0000"/>
              </a:buClr>
              <a:buFont typeface="Arial" panose="020B0604020202020204" pitchFamily="34" charset="0"/>
              <a:buChar char="•"/>
              <a:defRPr sz="900">
                <a:solidFill>
                  <a:schemeClr val="tx1">
                    <a:lumMod val="75000"/>
                  </a:schemeClr>
                </a:solidFill>
                <a:latin typeface="+mj-lt"/>
              </a:defRPr>
            </a:lvl2pPr>
            <a:lvl3pPr>
              <a:defRPr sz="1000"/>
            </a:lvl3pPr>
            <a:lvl4pPr>
              <a:defRPr sz="900"/>
            </a:lvl4pPr>
            <a:lvl5pPr>
              <a:defRPr sz="900"/>
            </a:lvl5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cxnSp>
        <p:nvCxnSpPr>
          <p:cNvPr id="117" name="Conector recto 116">
            <a:extLst>
              <a:ext uri="{FF2B5EF4-FFF2-40B4-BE49-F238E27FC236}">
                <a16:creationId xmlns:a16="http://schemas.microsoft.com/office/drawing/2014/main" id="{7065B708-FF5B-CC8B-585A-7CF28D136CAF}"/>
              </a:ext>
            </a:extLst>
          </p:cNvPr>
          <p:cNvCxnSpPr>
            <a:cxnSpLocks/>
          </p:cNvCxnSpPr>
          <p:nvPr userDrawn="1"/>
        </p:nvCxnSpPr>
        <p:spPr>
          <a:xfrm>
            <a:off x="7533787" y="4387174"/>
            <a:ext cx="0" cy="1679277"/>
          </a:xfrm>
          <a:prstGeom prst="line">
            <a:avLst/>
          </a:prstGeom>
          <a:ln w="22225"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119" name="Conector recto 118">
            <a:extLst>
              <a:ext uri="{FF2B5EF4-FFF2-40B4-BE49-F238E27FC236}">
                <a16:creationId xmlns:a16="http://schemas.microsoft.com/office/drawing/2014/main" id="{FADC80F3-E017-82F0-99CE-15652F25528A}"/>
              </a:ext>
            </a:extLst>
          </p:cNvPr>
          <p:cNvCxnSpPr>
            <a:cxnSpLocks/>
          </p:cNvCxnSpPr>
          <p:nvPr userDrawn="1"/>
        </p:nvCxnSpPr>
        <p:spPr>
          <a:xfrm>
            <a:off x="9683600" y="4387174"/>
            <a:ext cx="0" cy="1679277"/>
          </a:xfrm>
          <a:prstGeom prst="line">
            <a:avLst/>
          </a:prstGeom>
          <a:ln w="22225"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124" name="Marcador de texto 120">
            <a:extLst>
              <a:ext uri="{FF2B5EF4-FFF2-40B4-BE49-F238E27FC236}">
                <a16:creationId xmlns:a16="http://schemas.microsoft.com/office/drawing/2014/main" id="{9B6DE595-EC82-962F-85B2-E540BC6FCEA7}"/>
              </a:ext>
            </a:extLst>
          </p:cNvPr>
          <p:cNvSpPr>
            <a:spLocks noGrp="1"/>
          </p:cNvSpPr>
          <p:nvPr>
            <p:ph type="body" sz="quarter" idx="69"/>
          </p:nvPr>
        </p:nvSpPr>
        <p:spPr>
          <a:xfrm rot="16200000">
            <a:off x="298975" y="5022537"/>
            <a:ext cx="1374098" cy="253168"/>
          </a:xfrm>
          <a:prstGeom prst="round2SameRect">
            <a:avLst>
              <a:gd name="adj1" fmla="val 44928"/>
              <a:gd name="adj2" fmla="val 0"/>
            </a:avLst>
          </a:prstGeom>
          <a:solidFill>
            <a:srgbClr val="8C0014"/>
          </a:solidFill>
        </p:spPr>
        <p:txBody>
          <a:bodyPr vert="horz"/>
          <a:lstStyle>
            <a:lvl1pPr marL="0" indent="0" algn="ctr">
              <a:buNone/>
              <a:defRPr sz="900" b="1">
                <a:solidFill>
                  <a:schemeClr val="bg1"/>
                </a:solidFill>
                <a:latin typeface="+mj-lt"/>
              </a:defRPr>
            </a:lvl1pPr>
            <a:lvl2pPr marL="457200" indent="0">
              <a:buNone/>
              <a:defRPr sz="900" b="1">
                <a:solidFill>
                  <a:schemeClr val="bg1"/>
                </a:solidFill>
              </a:defRPr>
            </a:lvl2pPr>
            <a:lvl3pPr marL="914400" indent="0">
              <a:buNone/>
              <a:defRPr sz="900" b="1">
                <a:solidFill>
                  <a:schemeClr val="bg1"/>
                </a:solidFill>
              </a:defRPr>
            </a:lvl3pPr>
            <a:lvl4pPr marL="1371600" indent="0">
              <a:buNone/>
              <a:defRPr sz="900" b="1">
                <a:solidFill>
                  <a:schemeClr val="bg1"/>
                </a:solidFill>
              </a:defRPr>
            </a:lvl4pPr>
            <a:lvl5pPr marL="1828800" indent="0">
              <a:buNone/>
              <a:defRPr sz="900" b="1">
                <a:solidFill>
                  <a:schemeClr val="bg1"/>
                </a:solidFill>
              </a:defRPr>
            </a:lvl5pPr>
          </a:lstStyle>
          <a:p>
            <a:pPr lvl="0"/>
            <a:endParaRPr lang="es-ES"/>
          </a:p>
        </p:txBody>
      </p:sp>
      <p:sp>
        <p:nvSpPr>
          <p:cNvPr id="125" name="Marcador de texto 120">
            <a:extLst>
              <a:ext uri="{FF2B5EF4-FFF2-40B4-BE49-F238E27FC236}">
                <a16:creationId xmlns:a16="http://schemas.microsoft.com/office/drawing/2014/main" id="{4D0409F3-9BA6-63E6-C81C-D6C01FBAEC01}"/>
              </a:ext>
            </a:extLst>
          </p:cNvPr>
          <p:cNvSpPr>
            <a:spLocks noGrp="1"/>
          </p:cNvSpPr>
          <p:nvPr>
            <p:ph type="body" sz="quarter" idx="70"/>
          </p:nvPr>
        </p:nvSpPr>
        <p:spPr>
          <a:xfrm>
            <a:off x="1158410" y="4198078"/>
            <a:ext cx="3053795" cy="253168"/>
          </a:xfrm>
          <a:prstGeom prst="round2SameRect">
            <a:avLst>
              <a:gd name="adj1" fmla="val 44928"/>
              <a:gd name="adj2" fmla="val 0"/>
            </a:avLst>
          </a:prstGeom>
          <a:solidFill>
            <a:srgbClr val="8C0014"/>
          </a:solidFill>
        </p:spPr>
        <p:txBody>
          <a:bodyPr vert="horz"/>
          <a:lstStyle>
            <a:lvl1pPr marL="0" indent="0" algn="ctr">
              <a:buNone/>
              <a:defRPr sz="900" b="1">
                <a:solidFill>
                  <a:schemeClr val="bg1"/>
                </a:solidFill>
                <a:latin typeface="+mj-lt"/>
              </a:defRPr>
            </a:lvl1pPr>
            <a:lvl2pPr marL="457200" indent="0">
              <a:buNone/>
              <a:defRPr sz="900" b="1">
                <a:solidFill>
                  <a:schemeClr val="bg1"/>
                </a:solidFill>
              </a:defRPr>
            </a:lvl2pPr>
            <a:lvl3pPr marL="914400" indent="0">
              <a:buNone/>
              <a:defRPr sz="900" b="1">
                <a:solidFill>
                  <a:schemeClr val="bg1"/>
                </a:solidFill>
              </a:defRPr>
            </a:lvl3pPr>
            <a:lvl4pPr marL="1371600" indent="0">
              <a:buNone/>
              <a:defRPr sz="900" b="1">
                <a:solidFill>
                  <a:schemeClr val="bg1"/>
                </a:solidFill>
              </a:defRPr>
            </a:lvl4pPr>
            <a:lvl5pPr marL="1828800" indent="0">
              <a:buNone/>
              <a:defRPr sz="900" b="1">
                <a:solidFill>
                  <a:schemeClr val="bg1"/>
                </a:solidFill>
              </a:defRPr>
            </a:lvl5pPr>
          </a:lstStyle>
          <a:p>
            <a:pPr lvl="0"/>
            <a:endParaRPr lang="es-ES"/>
          </a:p>
        </p:txBody>
      </p:sp>
      <p:sp>
        <p:nvSpPr>
          <p:cNvPr id="131" name="Marcador de texto 120">
            <a:extLst>
              <a:ext uri="{FF2B5EF4-FFF2-40B4-BE49-F238E27FC236}">
                <a16:creationId xmlns:a16="http://schemas.microsoft.com/office/drawing/2014/main" id="{FC00CCCE-7E71-FE5E-E1B4-9E4BDF7FC03D}"/>
              </a:ext>
            </a:extLst>
          </p:cNvPr>
          <p:cNvSpPr>
            <a:spLocks noGrp="1"/>
          </p:cNvSpPr>
          <p:nvPr>
            <p:ph type="body" sz="quarter" idx="72"/>
          </p:nvPr>
        </p:nvSpPr>
        <p:spPr>
          <a:xfrm rot="16200000">
            <a:off x="2545878" y="5191087"/>
            <a:ext cx="1075064" cy="206277"/>
          </a:xfrm>
          <a:prstGeom prst="leftArrow">
            <a:avLst>
              <a:gd name="adj1" fmla="val 100000"/>
              <a:gd name="adj2" fmla="val 26894"/>
            </a:avLst>
          </a:prstGeom>
          <a:solidFill>
            <a:srgbClr val="60001D"/>
          </a:solidFill>
        </p:spPr>
        <p:txBody>
          <a:bodyPr vert="horz" anchor="ctr"/>
          <a:lstStyle>
            <a:lvl1pPr marL="0" indent="0" algn="ctr">
              <a:buNone/>
              <a:defRPr sz="900" b="1">
                <a:solidFill>
                  <a:schemeClr val="bg1"/>
                </a:solidFill>
                <a:latin typeface="+mj-lt"/>
              </a:defRPr>
            </a:lvl1pPr>
            <a:lvl2pPr marL="457200" indent="0">
              <a:buNone/>
              <a:defRPr sz="900" b="1">
                <a:solidFill>
                  <a:schemeClr val="bg1"/>
                </a:solidFill>
              </a:defRPr>
            </a:lvl2pPr>
            <a:lvl3pPr marL="914400" indent="0">
              <a:buNone/>
              <a:defRPr sz="900" b="1">
                <a:solidFill>
                  <a:schemeClr val="bg1"/>
                </a:solidFill>
              </a:defRPr>
            </a:lvl3pPr>
            <a:lvl4pPr marL="1371600" indent="0">
              <a:buNone/>
              <a:defRPr sz="900" b="1">
                <a:solidFill>
                  <a:schemeClr val="bg1"/>
                </a:solidFill>
              </a:defRPr>
            </a:lvl4pPr>
            <a:lvl5pPr marL="1828800" indent="0">
              <a:buNone/>
              <a:defRPr sz="900" b="1">
                <a:solidFill>
                  <a:schemeClr val="bg1"/>
                </a:solidFill>
              </a:defRPr>
            </a:lvl5pPr>
          </a:lstStyle>
          <a:p>
            <a:pPr lvl="0"/>
            <a:endParaRPr lang="es-ES"/>
          </a:p>
        </p:txBody>
      </p:sp>
      <p:sp>
        <p:nvSpPr>
          <p:cNvPr id="132" name="Marcador de texto 120">
            <a:extLst>
              <a:ext uri="{FF2B5EF4-FFF2-40B4-BE49-F238E27FC236}">
                <a16:creationId xmlns:a16="http://schemas.microsoft.com/office/drawing/2014/main" id="{7D41F508-0443-5A16-5509-D130B5B4D029}"/>
              </a:ext>
            </a:extLst>
          </p:cNvPr>
          <p:cNvSpPr>
            <a:spLocks noGrp="1"/>
          </p:cNvSpPr>
          <p:nvPr>
            <p:ph type="body" sz="quarter" idx="73"/>
          </p:nvPr>
        </p:nvSpPr>
        <p:spPr>
          <a:xfrm rot="16200000">
            <a:off x="2807576" y="5191087"/>
            <a:ext cx="1075064" cy="206277"/>
          </a:xfrm>
          <a:prstGeom prst="leftArrow">
            <a:avLst>
              <a:gd name="adj1" fmla="val 100000"/>
              <a:gd name="adj2" fmla="val 26894"/>
            </a:avLst>
          </a:prstGeom>
          <a:solidFill>
            <a:srgbClr val="60001D"/>
          </a:solidFill>
        </p:spPr>
        <p:txBody>
          <a:bodyPr vert="horz" anchor="ctr"/>
          <a:lstStyle>
            <a:lvl1pPr marL="0" indent="0" algn="ctr">
              <a:buNone/>
              <a:defRPr sz="900" b="1">
                <a:solidFill>
                  <a:schemeClr val="bg1"/>
                </a:solidFill>
                <a:latin typeface="+mj-lt"/>
              </a:defRPr>
            </a:lvl1pPr>
            <a:lvl2pPr marL="457200" indent="0">
              <a:buNone/>
              <a:defRPr sz="900" b="1">
                <a:solidFill>
                  <a:schemeClr val="bg1"/>
                </a:solidFill>
              </a:defRPr>
            </a:lvl2pPr>
            <a:lvl3pPr marL="914400" indent="0">
              <a:buNone/>
              <a:defRPr sz="900" b="1">
                <a:solidFill>
                  <a:schemeClr val="bg1"/>
                </a:solidFill>
              </a:defRPr>
            </a:lvl3pPr>
            <a:lvl4pPr marL="1371600" indent="0">
              <a:buNone/>
              <a:defRPr sz="900" b="1">
                <a:solidFill>
                  <a:schemeClr val="bg1"/>
                </a:solidFill>
              </a:defRPr>
            </a:lvl4pPr>
            <a:lvl5pPr marL="1828800" indent="0">
              <a:buNone/>
              <a:defRPr sz="900" b="1">
                <a:solidFill>
                  <a:schemeClr val="bg1"/>
                </a:solidFill>
              </a:defRPr>
            </a:lvl5pPr>
          </a:lstStyle>
          <a:p>
            <a:pPr lvl="0"/>
            <a:endParaRPr lang="es-ES"/>
          </a:p>
        </p:txBody>
      </p:sp>
      <p:sp>
        <p:nvSpPr>
          <p:cNvPr id="133" name="Marcador de texto 120">
            <a:extLst>
              <a:ext uri="{FF2B5EF4-FFF2-40B4-BE49-F238E27FC236}">
                <a16:creationId xmlns:a16="http://schemas.microsoft.com/office/drawing/2014/main" id="{85634A43-E544-D723-9529-323D10D174F2}"/>
              </a:ext>
            </a:extLst>
          </p:cNvPr>
          <p:cNvSpPr>
            <a:spLocks noGrp="1"/>
          </p:cNvSpPr>
          <p:nvPr>
            <p:ph type="body" sz="quarter" idx="74"/>
          </p:nvPr>
        </p:nvSpPr>
        <p:spPr>
          <a:xfrm rot="16200000">
            <a:off x="3075432" y="5191087"/>
            <a:ext cx="1075064" cy="206277"/>
          </a:xfrm>
          <a:prstGeom prst="leftArrow">
            <a:avLst>
              <a:gd name="adj1" fmla="val 100000"/>
              <a:gd name="adj2" fmla="val 26894"/>
            </a:avLst>
          </a:prstGeom>
          <a:solidFill>
            <a:srgbClr val="60001D"/>
          </a:solidFill>
        </p:spPr>
        <p:txBody>
          <a:bodyPr vert="horz" anchor="ctr"/>
          <a:lstStyle>
            <a:lvl1pPr marL="0" indent="0" algn="ctr">
              <a:buNone/>
              <a:defRPr sz="900" b="1">
                <a:solidFill>
                  <a:schemeClr val="bg1"/>
                </a:solidFill>
                <a:latin typeface="+mj-lt"/>
              </a:defRPr>
            </a:lvl1pPr>
            <a:lvl2pPr marL="457200" indent="0">
              <a:buNone/>
              <a:defRPr sz="900" b="1">
                <a:solidFill>
                  <a:schemeClr val="bg1"/>
                </a:solidFill>
              </a:defRPr>
            </a:lvl2pPr>
            <a:lvl3pPr marL="914400" indent="0">
              <a:buNone/>
              <a:defRPr sz="900" b="1">
                <a:solidFill>
                  <a:schemeClr val="bg1"/>
                </a:solidFill>
              </a:defRPr>
            </a:lvl3pPr>
            <a:lvl4pPr marL="1371600" indent="0">
              <a:buNone/>
              <a:defRPr sz="900" b="1">
                <a:solidFill>
                  <a:schemeClr val="bg1"/>
                </a:solidFill>
              </a:defRPr>
            </a:lvl4pPr>
            <a:lvl5pPr marL="1828800" indent="0">
              <a:buNone/>
              <a:defRPr sz="900" b="1">
                <a:solidFill>
                  <a:schemeClr val="bg1"/>
                </a:solidFill>
              </a:defRPr>
            </a:lvl5pPr>
          </a:lstStyle>
          <a:p>
            <a:pPr lvl="0"/>
            <a:endParaRPr lang="es-ES"/>
          </a:p>
        </p:txBody>
      </p:sp>
      <p:sp>
        <p:nvSpPr>
          <p:cNvPr id="134" name="Marcador de texto 120">
            <a:extLst>
              <a:ext uri="{FF2B5EF4-FFF2-40B4-BE49-F238E27FC236}">
                <a16:creationId xmlns:a16="http://schemas.microsoft.com/office/drawing/2014/main" id="{1D88FC98-889B-566C-381C-8CC91C120510}"/>
              </a:ext>
            </a:extLst>
          </p:cNvPr>
          <p:cNvSpPr>
            <a:spLocks noGrp="1"/>
          </p:cNvSpPr>
          <p:nvPr>
            <p:ph type="body" sz="quarter" idx="75"/>
          </p:nvPr>
        </p:nvSpPr>
        <p:spPr>
          <a:xfrm rot="16200000">
            <a:off x="3334052" y="5191087"/>
            <a:ext cx="1075064" cy="206277"/>
          </a:xfrm>
          <a:prstGeom prst="leftArrow">
            <a:avLst>
              <a:gd name="adj1" fmla="val 100000"/>
              <a:gd name="adj2" fmla="val 26894"/>
            </a:avLst>
          </a:prstGeom>
          <a:solidFill>
            <a:srgbClr val="60001D"/>
          </a:solidFill>
        </p:spPr>
        <p:txBody>
          <a:bodyPr vert="horz" anchor="ctr"/>
          <a:lstStyle>
            <a:lvl1pPr marL="0" indent="0" algn="ctr">
              <a:buNone/>
              <a:defRPr sz="900" b="1">
                <a:solidFill>
                  <a:schemeClr val="bg1"/>
                </a:solidFill>
                <a:latin typeface="+mj-lt"/>
              </a:defRPr>
            </a:lvl1pPr>
            <a:lvl2pPr marL="457200" indent="0">
              <a:buNone/>
              <a:defRPr sz="900" b="1">
                <a:solidFill>
                  <a:schemeClr val="bg1"/>
                </a:solidFill>
              </a:defRPr>
            </a:lvl2pPr>
            <a:lvl3pPr marL="914400" indent="0">
              <a:buNone/>
              <a:defRPr sz="900" b="1">
                <a:solidFill>
                  <a:schemeClr val="bg1"/>
                </a:solidFill>
              </a:defRPr>
            </a:lvl3pPr>
            <a:lvl4pPr marL="1371600" indent="0">
              <a:buNone/>
              <a:defRPr sz="900" b="1">
                <a:solidFill>
                  <a:schemeClr val="bg1"/>
                </a:solidFill>
              </a:defRPr>
            </a:lvl4pPr>
            <a:lvl5pPr marL="1828800" indent="0">
              <a:buNone/>
              <a:defRPr sz="900" b="1">
                <a:solidFill>
                  <a:schemeClr val="bg1"/>
                </a:solidFill>
              </a:defRPr>
            </a:lvl5pPr>
          </a:lstStyle>
          <a:p>
            <a:pPr lvl="0"/>
            <a:endParaRPr lang="es-ES"/>
          </a:p>
        </p:txBody>
      </p:sp>
      <p:sp>
        <p:nvSpPr>
          <p:cNvPr id="135" name="Marcador de texto 30">
            <a:extLst>
              <a:ext uri="{FF2B5EF4-FFF2-40B4-BE49-F238E27FC236}">
                <a16:creationId xmlns:a16="http://schemas.microsoft.com/office/drawing/2014/main" id="{0FD3BCB0-DBD1-6D30-1106-910EDC7A2605}"/>
              </a:ext>
            </a:extLst>
          </p:cNvPr>
          <p:cNvSpPr>
            <a:spLocks noGrp="1"/>
          </p:cNvSpPr>
          <p:nvPr>
            <p:ph type="body" sz="quarter" idx="71"/>
          </p:nvPr>
        </p:nvSpPr>
        <p:spPr>
          <a:xfrm>
            <a:off x="1224241" y="4719087"/>
            <a:ext cx="1574099" cy="1043011"/>
          </a:xfrm>
          <a:prstGeom prst="rect">
            <a:avLst/>
          </a:prstGeom>
        </p:spPr>
        <p:txBody>
          <a:bodyPr anchor="t"/>
          <a:lstStyle>
            <a:lvl1pPr marL="0" indent="0">
              <a:spcBef>
                <a:spcPts val="0"/>
              </a:spcBef>
              <a:spcAft>
                <a:spcPts val="1800"/>
              </a:spcAft>
              <a:buNone/>
              <a:defRPr sz="700">
                <a:solidFill>
                  <a:schemeClr val="tx1">
                    <a:lumMod val="75000"/>
                  </a:schemeClr>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11" name="Marcador de número de diapositiva 5">
            <a:extLst>
              <a:ext uri="{FF2B5EF4-FFF2-40B4-BE49-F238E27FC236}">
                <a16:creationId xmlns:a16="http://schemas.microsoft.com/office/drawing/2014/main" id="{89BAE001-1630-4FDC-7866-EC0090B257B4}"/>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13" name="Footnotes">
            <a:extLst>
              <a:ext uri="{FF2B5EF4-FFF2-40B4-BE49-F238E27FC236}">
                <a16:creationId xmlns:a16="http://schemas.microsoft.com/office/drawing/2014/main" id="{A881D47E-8A06-CB00-FA20-9B6B954E17A0}"/>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E4AB35A4-4755-9F61-30CD-5CC80627C5D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8" name="Título 1">
            <a:extLst>
              <a:ext uri="{FF2B5EF4-FFF2-40B4-BE49-F238E27FC236}">
                <a16:creationId xmlns:a16="http://schemas.microsoft.com/office/drawing/2014/main" id="{EB172E67-DA10-E4B2-77B5-A49808A92781}"/>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9" name="Marcador de texto 14">
            <a:extLst>
              <a:ext uri="{FF2B5EF4-FFF2-40B4-BE49-F238E27FC236}">
                <a16:creationId xmlns:a16="http://schemas.microsoft.com/office/drawing/2014/main" id="{8C43B2A6-AF4C-142A-3CB3-F1C1B51E9F02}"/>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DF0F98C1-7DFC-F129-D431-B95D9F995CE1}"/>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10958854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World Map_We are here">
    <p:spTree>
      <p:nvGrpSpPr>
        <p:cNvPr id="1" name=""/>
        <p:cNvGrpSpPr/>
        <p:nvPr/>
      </p:nvGrpSpPr>
      <p:grpSpPr>
        <a:xfrm>
          <a:off x="0" y="0"/>
          <a:ext cx="0" cy="0"/>
          <a:chOff x="0" y="0"/>
          <a:chExt cx="0" cy="0"/>
        </a:xfrm>
      </p:grpSpPr>
      <p:sp>
        <p:nvSpPr>
          <p:cNvPr id="247" name="Rectángulo 246">
            <a:extLst>
              <a:ext uri="{FF2B5EF4-FFF2-40B4-BE49-F238E27FC236}">
                <a16:creationId xmlns:a16="http://schemas.microsoft.com/office/drawing/2014/main" id="{8F16BE23-1424-5E4A-9685-5799A18E8BCB}"/>
              </a:ext>
            </a:extLst>
          </p:cNvPr>
          <p:cNvSpPr/>
          <p:nvPr userDrawn="1"/>
        </p:nvSpPr>
        <p:spPr>
          <a:xfrm flipH="1">
            <a:off x="677327" y="1399283"/>
            <a:ext cx="4507464" cy="4462862"/>
          </a:xfrm>
          <a:prstGeom prst="rect">
            <a:avLst/>
          </a:prstGeom>
          <a:gradFill>
            <a:gsLst>
              <a:gs pos="100000">
                <a:schemeClr val="accent5">
                  <a:alpha val="28000"/>
                </a:schemeClr>
              </a:gs>
              <a:gs pos="63000">
                <a:schemeClr val="accent5">
                  <a:alpha val="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grpSp>
        <p:nvGrpSpPr>
          <p:cNvPr id="4" name="Group 11">
            <a:extLst>
              <a:ext uri="{FF2B5EF4-FFF2-40B4-BE49-F238E27FC236}">
                <a16:creationId xmlns:a16="http://schemas.microsoft.com/office/drawing/2014/main" id="{289EA789-2758-3F92-FF7C-ABC1EF32834D}"/>
              </a:ext>
            </a:extLst>
          </p:cNvPr>
          <p:cNvGrpSpPr>
            <a:grpSpLocks noChangeAspect="1"/>
          </p:cNvGrpSpPr>
          <p:nvPr userDrawn="1"/>
        </p:nvGrpSpPr>
        <p:grpSpPr bwMode="auto">
          <a:xfrm>
            <a:off x="2652282" y="2406316"/>
            <a:ext cx="9146878" cy="3599908"/>
            <a:chOff x="160" y="494"/>
            <a:chExt cx="7342" cy="2595"/>
          </a:xfrm>
          <a:solidFill>
            <a:schemeClr val="accent2">
              <a:alpha val="78000"/>
            </a:schemeClr>
          </a:solidFill>
        </p:grpSpPr>
        <p:sp>
          <p:nvSpPr>
            <p:cNvPr id="11" name="Freeform 12">
              <a:extLst>
                <a:ext uri="{FF2B5EF4-FFF2-40B4-BE49-F238E27FC236}">
                  <a16:creationId xmlns:a16="http://schemas.microsoft.com/office/drawing/2014/main" id="{40C7BF0B-DE5E-4416-E265-E1C748732347}"/>
                </a:ext>
              </a:extLst>
            </p:cNvPr>
            <p:cNvSpPr>
              <a:spLocks/>
            </p:cNvSpPr>
            <p:nvPr/>
          </p:nvSpPr>
          <p:spPr bwMode="auto">
            <a:xfrm>
              <a:off x="5513" y="918"/>
              <a:ext cx="0" cy="10"/>
            </a:xfrm>
            <a:custGeom>
              <a:avLst/>
              <a:gdLst>
                <a:gd name="T0" fmla="*/ 1 h 1"/>
                <a:gd name="T1" fmla="*/ 0 h 1"/>
                <a:gd name="T2" fmla="*/ 0 h 1"/>
                <a:gd name="T3" fmla="*/ 1 h 1"/>
                <a:gd name="T4" fmla="*/ 1 h 1"/>
              </a:gdLst>
              <a:ahLst/>
              <a:cxnLst>
                <a:cxn ang="0">
                  <a:pos x="0" y="T0"/>
                </a:cxn>
                <a:cxn ang="0">
                  <a:pos x="0" y="T1"/>
                </a:cxn>
                <a:cxn ang="0">
                  <a:pos x="0" y="T2"/>
                </a:cxn>
                <a:cxn ang="0">
                  <a:pos x="0" y="T3"/>
                </a:cxn>
                <a:cxn ang="0">
                  <a:pos x="0" y="T4"/>
                </a:cxn>
              </a:cxnLst>
              <a:rect l="0" t="0" r="r" b="b"/>
              <a:pathLst>
                <a:path h="1">
                  <a:moveTo>
                    <a:pt x="0" y="1"/>
                  </a:moveTo>
                  <a:cubicBezTo>
                    <a:pt x="0" y="1"/>
                    <a:pt x="0" y="0"/>
                    <a:pt x="0" y="0"/>
                  </a:cubicBezTo>
                  <a:cubicBezTo>
                    <a:pt x="0" y="0"/>
                    <a:pt x="0" y="0"/>
                    <a:pt x="0" y="0"/>
                  </a:cubicBezTo>
                  <a:cubicBezTo>
                    <a:pt x="0" y="0"/>
                    <a:pt x="0" y="1"/>
                    <a:pt x="0" y="1"/>
                  </a:cubicBezTo>
                  <a:cubicBezTo>
                    <a:pt x="0" y="1"/>
                    <a:pt x="0" y="1"/>
                    <a:pt x="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13" name="Freeform 13">
              <a:extLst>
                <a:ext uri="{FF2B5EF4-FFF2-40B4-BE49-F238E27FC236}">
                  <a16:creationId xmlns:a16="http://schemas.microsoft.com/office/drawing/2014/main" id="{0E9C8B0F-06E0-9FD9-2428-AEB6704B66E9}"/>
                </a:ext>
              </a:extLst>
            </p:cNvPr>
            <p:cNvSpPr>
              <a:spLocks noEditPoints="1"/>
            </p:cNvSpPr>
            <p:nvPr/>
          </p:nvSpPr>
          <p:spPr bwMode="auto">
            <a:xfrm>
              <a:off x="3319" y="649"/>
              <a:ext cx="4183" cy="1696"/>
            </a:xfrm>
            <a:custGeom>
              <a:avLst/>
              <a:gdLst>
                <a:gd name="T0" fmla="*/ 381 w 408"/>
                <a:gd name="T1" fmla="*/ 149 h 164"/>
                <a:gd name="T2" fmla="*/ 386 w 408"/>
                <a:gd name="T3" fmla="*/ 137 h 164"/>
                <a:gd name="T4" fmla="*/ 350 w 408"/>
                <a:gd name="T5" fmla="*/ 100 h 164"/>
                <a:gd name="T6" fmla="*/ 312 w 408"/>
                <a:gd name="T7" fmla="*/ 75 h 164"/>
                <a:gd name="T8" fmla="*/ 274 w 408"/>
                <a:gd name="T9" fmla="*/ 49 h 164"/>
                <a:gd name="T10" fmla="*/ 255 w 408"/>
                <a:gd name="T11" fmla="*/ 34 h 164"/>
                <a:gd name="T12" fmla="*/ 213 w 408"/>
                <a:gd name="T13" fmla="*/ 24 h 164"/>
                <a:gd name="T14" fmla="*/ 200 w 408"/>
                <a:gd name="T15" fmla="*/ 21 h 164"/>
                <a:gd name="T16" fmla="*/ 195 w 408"/>
                <a:gd name="T17" fmla="*/ 25 h 164"/>
                <a:gd name="T18" fmla="*/ 179 w 408"/>
                <a:gd name="T19" fmla="*/ 16 h 164"/>
                <a:gd name="T20" fmla="*/ 153 w 408"/>
                <a:gd name="T21" fmla="*/ 13 h 164"/>
                <a:gd name="T22" fmla="*/ 124 w 408"/>
                <a:gd name="T23" fmla="*/ 11 h 164"/>
                <a:gd name="T24" fmla="*/ 115 w 408"/>
                <a:gd name="T25" fmla="*/ 7 h 164"/>
                <a:gd name="T26" fmla="*/ 77 w 408"/>
                <a:gd name="T27" fmla="*/ 1 h 164"/>
                <a:gd name="T28" fmla="*/ 55 w 408"/>
                <a:gd name="T29" fmla="*/ 9 h 164"/>
                <a:gd name="T30" fmla="*/ 55 w 408"/>
                <a:gd name="T31" fmla="*/ 18 h 164"/>
                <a:gd name="T32" fmla="*/ 77 w 408"/>
                <a:gd name="T33" fmla="*/ 9 h 164"/>
                <a:gd name="T34" fmla="*/ 86 w 408"/>
                <a:gd name="T35" fmla="*/ 17 h 164"/>
                <a:gd name="T36" fmla="*/ 58 w 408"/>
                <a:gd name="T37" fmla="*/ 24 h 164"/>
                <a:gd name="T38" fmla="*/ 45 w 408"/>
                <a:gd name="T39" fmla="*/ 25 h 164"/>
                <a:gd name="T40" fmla="*/ 28 w 408"/>
                <a:gd name="T41" fmla="*/ 37 h 164"/>
                <a:gd name="T42" fmla="*/ 17 w 408"/>
                <a:gd name="T43" fmla="*/ 51 h 164"/>
                <a:gd name="T44" fmla="*/ 46 w 408"/>
                <a:gd name="T45" fmla="*/ 40 h 164"/>
                <a:gd name="T46" fmla="*/ 66 w 408"/>
                <a:gd name="T47" fmla="*/ 46 h 164"/>
                <a:gd name="T48" fmla="*/ 65 w 408"/>
                <a:gd name="T49" fmla="*/ 40 h 164"/>
                <a:gd name="T50" fmla="*/ 81 w 408"/>
                <a:gd name="T51" fmla="*/ 50 h 164"/>
                <a:gd name="T52" fmla="*/ 92 w 408"/>
                <a:gd name="T53" fmla="*/ 53 h 164"/>
                <a:gd name="T54" fmla="*/ 78 w 408"/>
                <a:gd name="T55" fmla="*/ 58 h 164"/>
                <a:gd name="T56" fmla="*/ 45 w 408"/>
                <a:gd name="T57" fmla="*/ 50 h 164"/>
                <a:gd name="T58" fmla="*/ 3 w 408"/>
                <a:gd name="T59" fmla="*/ 72 h 164"/>
                <a:gd name="T60" fmla="*/ 14 w 408"/>
                <a:gd name="T61" fmla="*/ 98 h 164"/>
                <a:gd name="T62" fmla="*/ 51 w 408"/>
                <a:gd name="T63" fmla="*/ 104 h 164"/>
                <a:gd name="T64" fmla="*/ 59 w 408"/>
                <a:gd name="T65" fmla="*/ 144 h 164"/>
                <a:gd name="T66" fmla="*/ 87 w 408"/>
                <a:gd name="T67" fmla="*/ 148 h 164"/>
                <a:gd name="T68" fmla="*/ 104 w 408"/>
                <a:gd name="T69" fmla="*/ 115 h 164"/>
                <a:gd name="T70" fmla="*/ 112 w 408"/>
                <a:gd name="T71" fmla="*/ 93 h 164"/>
                <a:gd name="T72" fmla="*/ 102 w 408"/>
                <a:gd name="T73" fmla="*/ 69 h 164"/>
                <a:gd name="T74" fmla="*/ 138 w 408"/>
                <a:gd name="T75" fmla="*/ 89 h 164"/>
                <a:gd name="T76" fmla="*/ 129 w 408"/>
                <a:gd name="T77" fmla="*/ 74 h 164"/>
                <a:gd name="T78" fmla="*/ 162 w 408"/>
                <a:gd name="T79" fmla="*/ 85 h 164"/>
                <a:gd name="T80" fmla="*/ 177 w 408"/>
                <a:gd name="T81" fmla="*/ 112 h 164"/>
                <a:gd name="T82" fmla="*/ 206 w 408"/>
                <a:gd name="T83" fmla="*/ 105 h 164"/>
                <a:gd name="T84" fmla="*/ 209 w 408"/>
                <a:gd name="T85" fmla="*/ 127 h 164"/>
                <a:gd name="T86" fmla="*/ 215 w 408"/>
                <a:gd name="T87" fmla="*/ 122 h 164"/>
                <a:gd name="T88" fmla="*/ 230 w 408"/>
                <a:gd name="T89" fmla="*/ 124 h 164"/>
                <a:gd name="T90" fmla="*/ 256 w 408"/>
                <a:gd name="T91" fmla="*/ 122 h 164"/>
                <a:gd name="T92" fmla="*/ 271 w 408"/>
                <a:gd name="T93" fmla="*/ 110 h 164"/>
                <a:gd name="T94" fmla="*/ 276 w 408"/>
                <a:gd name="T95" fmla="*/ 111 h 164"/>
                <a:gd name="T96" fmla="*/ 307 w 408"/>
                <a:gd name="T97" fmla="*/ 116 h 164"/>
                <a:gd name="T98" fmla="*/ 318 w 408"/>
                <a:gd name="T99" fmla="*/ 104 h 164"/>
                <a:gd name="T100" fmla="*/ 350 w 408"/>
                <a:gd name="T101" fmla="*/ 122 h 164"/>
                <a:gd name="T102" fmla="*/ 348 w 408"/>
                <a:gd name="T103" fmla="*/ 128 h 164"/>
                <a:gd name="T104" fmla="*/ 61 w 408"/>
                <a:gd name="T105" fmla="*/ 87 h 164"/>
                <a:gd name="T106" fmla="*/ 92 w 408"/>
                <a:gd name="T107" fmla="*/ 123 h 164"/>
                <a:gd name="T108" fmla="*/ 106 w 408"/>
                <a:gd name="T109" fmla="*/ 15 h 164"/>
                <a:gd name="T110" fmla="*/ 90 w 408"/>
                <a:gd name="T111" fmla="*/ 15 h 164"/>
                <a:gd name="T112" fmla="*/ 102 w 408"/>
                <a:gd name="T113" fmla="*/ 46 h 164"/>
                <a:gd name="T114" fmla="*/ 102 w 408"/>
                <a:gd name="T115" fmla="*/ 42 h 164"/>
                <a:gd name="T116" fmla="*/ 139 w 408"/>
                <a:gd name="T117" fmla="*/ 53 h 164"/>
                <a:gd name="T118" fmla="*/ 138 w 408"/>
                <a:gd name="T119" fmla="*/ 43 h 164"/>
                <a:gd name="T120" fmla="*/ 158 w 408"/>
                <a:gd name="T121" fmla="*/ 51 h 164"/>
                <a:gd name="T122" fmla="*/ 259 w 408"/>
                <a:gd name="T123" fmla="*/ 7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8" h="164">
                  <a:moveTo>
                    <a:pt x="356" y="138"/>
                  </a:moveTo>
                  <a:cubicBezTo>
                    <a:pt x="356" y="138"/>
                    <a:pt x="356" y="137"/>
                    <a:pt x="357" y="137"/>
                  </a:cubicBezTo>
                  <a:cubicBezTo>
                    <a:pt x="357" y="137"/>
                    <a:pt x="358" y="137"/>
                    <a:pt x="359" y="138"/>
                  </a:cubicBezTo>
                  <a:cubicBezTo>
                    <a:pt x="359" y="139"/>
                    <a:pt x="359" y="139"/>
                    <a:pt x="360" y="139"/>
                  </a:cubicBezTo>
                  <a:cubicBezTo>
                    <a:pt x="360" y="139"/>
                    <a:pt x="360" y="139"/>
                    <a:pt x="360" y="138"/>
                  </a:cubicBezTo>
                  <a:cubicBezTo>
                    <a:pt x="359" y="138"/>
                    <a:pt x="360" y="138"/>
                    <a:pt x="360" y="137"/>
                  </a:cubicBezTo>
                  <a:cubicBezTo>
                    <a:pt x="360" y="137"/>
                    <a:pt x="360" y="137"/>
                    <a:pt x="361" y="137"/>
                  </a:cubicBezTo>
                  <a:cubicBezTo>
                    <a:pt x="360" y="136"/>
                    <a:pt x="360" y="136"/>
                    <a:pt x="360" y="136"/>
                  </a:cubicBezTo>
                  <a:cubicBezTo>
                    <a:pt x="359" y="135"/>
                    <a:pt x="359" y="135"/>
                    <a:pt x="359" y="135"/>
                  </a:cubicBezTo>
                  <a:cubicBezTo>
                    <a:pt x="360" y="135"/>
                    <a:pt x="360" y="135"/>
                    <a:pt x="361" y="135"/>
                  </a:cubicBezTo>
                  <a:cubicBezTo>
                    <a:pt x="362" y="135"/>
                    <a:pt x="362" y="136"/>
                    <a:pt x="363" y="135"/>
                  </a:cubicBezTo>
                  <a:cubicBezTo>
                    <a:pt x="363" y="135"/>
                    <a:pt x="364" y="135"/>
                    <a:pt x="365" y="136"/>
                  </a:cubicBezTo>
                  <a:cubicBezTo>
                    <a:pt x="365" y="136"/>
                    <a:pt x="366" y="137"/>
                    <a:pt x="366" y="137"/>
                  </a:cubicBezTo>
                  <a:cubicBezTo>
                    <a:pt x="367" y="138"/>
                    <a:pt x="368" y="138"/>
                    <a:pt x="368" y="139"/>
                  </a:cubicBezTo>
                  <a:cubicBezTo>
                    <a:pt x="369" y="139"/>
                    <a:pt x="369" y="139"/>
                    <a:pt x="369" y="139"/>
                  </a:cubicBezTo>
                  <a:cubicBezTo>
                    <a:pt x="369" y="139"/>
                    <a:pt x="369" y="139"/>
                    <a:pt x="369" y="139"/>
                  </a:cubicBezTo>
                  <a:cubicBezTo>
                    <a:pt x="369" y="139"/>
                    <a:pt x="369" y="139"/>
                    <a:pt x="369" y="139"/>
                  </a:cubicBezTo>
                  <a:cubicBezTo>
                    <a:pt x="369" y="139"/>
                    <a:pt x="368" y="139"/>
                    <a:pt x="368" y="139"/>
                  </a:cubicBezTo>
                  <a:cubicBezTo>
                    <a:pt x="368" y="139"/>
                    <a:pt x="369" y="140"/>
                    <a:pt x="369" y="140"/>
                  </a:cubicBezTo>
                  <a:cubicBezTo>
                    <a:pt x="370" y="140"/>
                    <a:pt x="370" y="140"/>
                    <a:pt x="371" y="141"/>
                  </a:cubicBezTo>
                  <a:cubicBezTo>
                    <a:pt x="372" y="141"/>
                    <a:pt x="372" y="142"/>
                    <a:pt x="373" y="142"/>
                  </a:cubicBezTo>
                  <a:cubicBezTo>
                    <a:pt x="373" y="143"/>
                    <a:pt x="374" y="143"/>
                    <a:pt x="375" y="144"/>
                  </a:cubicBezTo>
                  <a:cubicBezTo>
                    <a:pt x="375" y="145"/>
                    <a:pt x="376" y="145"/>
                    <a:pt x="376" y="145"/>
                  </a:cubicBezTo>
                  <a:cubicBezTo>
                    <a:pt x="376" y="145"/>
                    <a:pt x="381" y="149"/>
                    <a:pt x="381" y="149"/>
                  </a:cubicBezTo>
                  <a:cubicBezTo>
                    <a:pt x="384" y="150"/>
                    <a:pt x="382" y="148"/>
                    <a:pt x="384" y="149"/>
                  </a:cubicBezTo>
                  <a:cubicBezTo>
                    <a:pt x="387" y="151"/>
                    <a:pt x="387" y="150"/>
                    <a:pt x="390" y="151"/>
                  </a:cubicBezTo>
                  <a:cubicBezTo>
                    <a:pt x="390" y="151"/>
                    <a:pt x="392" y="153"/>
                    <a:pt x="392" y="153"/>
                  </a:cubicBezTo>
                  <a:cubicBezTo>
                    <a:pt x="393" y="153"/>
                    <a:pt x="394" y="154"/>
                    <a:pt x="394" y="155"/>
                  </a:cubicBezTo>
                  <a:cubicBezTo>
                    <a:pt x="396" y="156"/>
                    <a:pt x="395" y="154"/>
                    <a:pt x="397" y="155"/>
                  </a:cubicBezTo>
                  <a:cubicBezTo>
                    <a:pt x="397" y="155"/>
                    <a:pt x="397" y="156"/>
                    <a:pt x="398" y="156"/>
                  </a:cubicBezTo>
                  <a:cubicBezTo>
                    <a:pt x="399" y="156"/>
                    <a:pt x="398" y="156"/>
                    <a:pt x="399" y="156"/>
                  </a:cubicBezTo>
                  <a:cubicBezTo>
                    <a:pt x="400" y="157"/>
                    <a:pt x="400" y="157"/>
                    <a:pt x="400" y="158"/>
                  </a:cubicBezTo>
                  <a:cubicBezTo>
                    <a:pt x="400" y="158"/>
                    <a:pt x="402" y="159"/>
                    <a:pt x="402" y="159"/>
                  </a:cubicBezTo>
                  <a:cubicBezTo>
                    <a:pt x="404" y="160"/>
                    <a:pt x="404" y="161"/>
                    <a:pt x="406" y="162"/>
                  </a:cubicBezTo>
                  <a:cubicBezTo>
                    <a:pt x="407" y="163"/>
                    <a:pt x="407" y="163"/>
                    <a:pt x="408" y="164"/>
                  </a:cubicBezTo>
                  <a:cubicBezTo>
                    <a:pt x="408" y="163"/>
                    <a:pt x="407" y="162"/>
                    <a:pt x="407" y="161"/>
                  </a:cubicBezTo>
                  <a:cubicBezTo>
                    <a:pt x="405" y="159"/>
                    <a:pt x="404" y="157"/>
                    <a:pt x="403" y="155"/>
                  </a:cubicBezTo>
                  <a:cubicBezTo>
                    <a:pt x="403" y="154"/>
                    <a:pt x="402" y="153"/>
                    <a:pt x="401" y="153"/>
                  </a:cubicBezTo>
                  <a:cubicBezTo>
                    <a:pt x="401" y="152"/>
                    <a:pt x="401" y="152"/>
                    <a:pt x="401" y="152"/>
                  </a:cubicBezTo>
                  <a:cubicBezTo>
                    <a:pt x="401" y="151"/>
                    <a:pt x="400" y="151"/>
                    <a:pt x="400" y="150"/>
                  </a:cubicBezTo>
                  <a:cubicBezTo>
                    <a:pt x="400" y="149"/>
                    <a:pt x="398" y="149"/>
                    <a:pt x="398" y="148"/>
                  </a:cubicBezTo>
                  <a:cubicBezTo>
                    <a:pt x="397" y="146"/>
                    <a:pt x="396" y="145"/>
                    <a:pt x="395" y="144"/>
                  </a:cubicBezTo>
                  <a:cubicBezTo>
                    <a:pt x="394" y="143"/>
                    <a:pt x="393" y="142"/>
                    <a:pt x="392" y="141"/>
                  </a:cubicBezTo>
                  <a:cubicBezTo>
                    <a:pt x="391" y="140"/>
                    <a:pt x="390" y="139"/>
                    <a:pt x="390" y="139"/>
                  </a:cubicBezTo>
                  <a:cubicBezTo>
                    <a:pt x="389" y="138"/>
                    <a:pt x="388" y="137"/>
                    <a:pt x="387" y="136"/>
                  </a:cubicBezTo>
                  <a:cubicBezTo>
                    <a:pt x="387" y="135"/>
                    <a:pt x="386" y="135"/>
                    <a:pt x="386" y="135"/>
                  </a:cubicBezTo>
                  <a:cubicBezTo>
                    <a:pt x="385" y="135"/>
                    <a:pt x="386" y="136"/>
                    <a:pt x="386" y="136"/>
                  </a:cubicBezTo>
                  <a:cubicBezTo>
                    <a:pt x="386" y="136"/>
                    <a:pt x="386" y="137"/>
                    <a:pt x="386" y="137"/>
                  </a:cubicBezTo>
                  <a:cubicBezTo>
                    <a:pt x="386" y="137"/>
                    <a:pt x="386" y="137"/>
                    <a:pt x="386" y="137"/>
                  </a:cubicBezTo>
                  <a:cubicBezTo>
                    <a:pt x="385" y="137"/>
                    <a:pt x="385" y="137"/>
                    <a:pt x="385" y="137"/>
                  </a:cubicBezTo>
                  <a:cubicBezTo>
                    <a:pt x="384" y="136"/>
                    <a:pt x="384" y="135"/>
                    <a:pt x="383" y="135"/>
                  </a:cubicBezTo>
                  <a:cubicBezTo>
                    <a:pt x="383" y="135"/>
                    <a:pt x="384" y="134"/>
                    <a:pt x="383" y="134"/>
                  </a:cubicBezTo>
                  <a:cubicBezTo>
                    <a:pt x="382" y="133"/>
                    <a:pt x="382" y="132"/>
                    <a:pt x="381" y="131"/>
                  </a:cubicBezTo>
                  <a:cubicBezTo>
                    <a:pt x="382" y="132"/>
                    <a:pt x="383" y="134"/>
                    <a:pt x="384" y="134"/>
                  </a:cubicBezTo>
                  <a:cubicBezTo>
                    <a:pt x="384" y="133"/>
                    <a:pt x="383" y="132"/>
                    <a:pt x="383" y="132"/>
                  </a:cubicBezTo>
                  <a:cubicBezTo>
                    <a:pt x="383" y="132"/>
                    <a:pt x="382" y="131"/>
                    <a:pt x="382" y="131"/>
                  </a:cubicBezTo>
                  <a:cubicBezTo>
                    <a:pt x="379" y="130"/>
                    <a:pt x="377" y="128"/>
                    <a:pt x="375" y="126"/>
                  </a:cubicBezTo>
                  <a:cubicBezTo>
                    <a:pt x="374" y="124"/>
                    <a:pt x="372" y="123"/>
                    <a:pt x="370" y="121"/>
                  </a:cubicBezTo>
                  <a:cubicBezTo>
                    <a:pt x="370" y="121"/>
                    <a:pt x="370" y="121"/>
                    <a:pt x="370" y="121"/>
                  </a:cubicBezTo>
                  <a:cubicBezTo>
                    <a:pt x="369" y="122"/>
                    <a:pt x="369" y="122"/>
                    <a:pt x="369" y="122"/>
                  </a:cubicBezTo>
                  <a:cubicBezTo>
                    <a:pt x="369" y="121"/>
                    <a:pt x="369" y="121"/>
                    <a:pt x="369" y="120"/>
                  </a:cubicBezTo>
                  <a:cubicBezTo>
                    <a:pt x="368" y="119"/>
                    <a:pt x="367" y="119"/>
                    <a:pt x="367" y="118"/>
                  </a:cubicBezTo>
                  <a:cubicBezTo>
                    <a:pt x="367" y="118"/>
                    <a:pt x="367" y="118"/>
                    <a:pt x="367" y="118"/>
                  </a:cubicBezTo>
                  <a:cubicBezTo>
                    <a:pt x="368" y="118"/>
                    <a:pt x="368" y="118"/>
                    <a:pt x="367" y="116"/>
                  </a:cubicBezTo>
                  <a:cubicBezTo>
                    <a:pt x="367" y="116"/>
                    <a:pt x="366" y="115"/>
                    <a:pt x="365" y="114"/>
                  </a:cubicBezTo>
                  <a:cubicBezTo>
                    <a:pt x="363" y="112"/>
                    <a:pt x="361" y="111"/>
                    <a:pt x="359" y="109"/>
                  </a:cubicBezTo>
                  <a:cubicBezTo>
                    <a:pt x="359" y="109"/>
                    <a:pt x="358" y="108"/>
                    <a:pt x="358" y="108"/>
                  </a:cubicBezTo>
                  <a:cubicBezTo>
                    <a:pt x="356" y="107"/>
                    <a:pt x="355" y="106"/>
                    <a:pt x="354" y="104"/>
                  </a:cubicBezTo>
                  <a:cubicBezTo>
                    <a:pt x="354" y="104"/>
                    <a:pt x="353" y="104"/>
                    <a:pt x="353" y="103"/>
                  </a:cubicBezTo>
                  <a:cubicBezTo>
                    <a:pt x="353" y="103"/>
                    <a:pt x="352" y="102"/>
                    <a:pt x="352" y="102"/>
                  </a:cubicBezTo>
                  <a:cubicBezTo>
                    <a:pt x="352" y="102"/>
                    <a:pt x="352" y="102"/>
                    <a:pt x="351" y="102"/>
                  </a:cubicBezTo>
                  <a:cubicBezTo>
                    <a:pt x="351" y="101"/>
                    <a:pt x="350" y="101"/>
                    <a:pt x="350" y="100"/>
                  </a:cubicBezTo>
                  <a:cubicBezTo>
                    <a:pt x="350" y="100"/>
                    <a:pt x="350" y="100"/>
                    <a:pt x="350" y="100"/>
                  </a:cubicBezTo>
                  <a:cubicBezTo>
                    <a:pt x="350" y="100"/>
                    <a:pt x="351" y="101"/>
                    <a:pt x="351" y="101"/>
                  </a:cubicBezTo>
                  <a:cubicBezTo>
                    <a:pt x="350" y="100"/>
                    <a:pt x="349" y="99"/>
                    <a:pt x="348" y="98"/>
                  </a:cubicBezTo>
                  <a:cubicBezTo>
                    <a:pt x="347" y="97"/>
                    <a:pt x="347" y="97"/>
                    <a:pt x="346" y="96"/>
                  </a:cubicBezTo>
                  <a:cubicBezTo>
                    <a:pt x="345" y="96"/>
                    <a:pt x="345" y="95"/>
                    <a:pt x="345" y="95"/>
                  </a:cubicBezTo>
                  <a:cubicBezTo>
                    <a:pt x="344" y="94"/>
                    <a:pt x="344" y="94"/>
                    <a:pt x="344" y="94"/>
                  </a:cubicBezTo>
                  <a:cubicBezTo>
                    <a:pt x="343" y="93"/>
                    <a:pt x="341" y="91"/>
                    <a:pt x="339" y="90"/>
                  </a:cubicBezTo>
                  <a:cubicBezTo>
                    <a:pt x="338" y="89"/>
                    <a:pt x="336" y="88"/>
                    <a:pt x="335" y="87"/>
                  </a:cubicBezTo>
                  <a:cubicBezTo>
                    <a:pt x="335" y="87"/>
                    <a:pt x="335" y="87"/>
                    <a:pt x="334" y="87"/>
                  </a:cubicBezTo>
                  <a:cubicBezTo>
                    <a:pt x="334" y="86"/>
                    <a:pt x="335" y="87"/>
                    <a:pt x="334" y="87"/>
                  </a:cubicBezTo>
                  <a:cubicBezTo>
                    <a:pt x="334" y="87"/>
                    <a:pt x="334" y="86"/>
                    <a:pt x="333" y="86"/>
                  </a:cubicBezTo>
                  <a:cubicBezTo>
                    <a:pt x="333" y="86"/>
                    <a:pt x="332" y="86"/>
                    <a:pt x="332" y="85"/>
                  </a:cubicBezTo>
                  <a:cubicBezTo>
                    <a:pt x="332" y="85"/>
                    <a:pt x="331" y="85"/>
                    <a:pt x="331" y="85"/>
                  </a:cubicBezTo>
                  <a:cubicBezTo>
                    <a:pt x="330" y="85"/>
                    <a:pt x="331" y="85"/>
                    <a:pt x="331" y="86"/>
                  </a:cubicBezTo>
                  <a:cubicBezTo>
                    <a:pt x="331" y="86"/>
                    <a:pt x="331" y="86"/>
                    <a:pt x="331" y="86"/>
                  </a:cubicBezTo>
                  <a:cubicBezTo>
                    <a:pt x="331" y="87"/>
                    <a:pt x="331" y="87"/>
                    <a:pt x="331" y="87"/>
                  </a:cubicBezTo>
                  <a:cubicBezTo>
                    <a:pt x="331" y="87"/>
                    <a:pt x="331" y="87"/>
                    <a:pt x="330" y="86"/>
                  </a:cubicBezTo>
                  <a:cubicBezTo>
                    <a:pt x="330" y="86"/>
                    <a:pt x="330" y="86"/>
                    <a:pt x="330" y="86"/>
                  </a:cubicBezTo>
                  <a:cubicBezTo>
                    <a:pt x="329" y="85"/>
                    <a:pt x="329" y="85"/>
                    <a:pt x="328" y="84"/>
                  </a:cubicBezTo>
                  <a:cubicBezTo>
                    <a:pt x="327" y="85"/>
                    <a:pt x="327" y="84"/>
                    <a:pt x="326" y="84"/>
                  </a:cubicBezTo>
                  <a:cubicBezTo>
                    <a:pt x="325" y="82"/>
                    <a:pt x="324" y="81"/>
                    <a:pt x="322" y="80"/>
                  </a:cubicBezTo>
                  <a:cubicBezTo>
                    <a:pt x="320" y="80"/>
                    <a:pt x="319" y="79"/>
                    <a:pt x="318" y="78"/>
                  </a:cubicBezTo>
                  <a:cubicBezTo>
                    <a:pt x="318" y="77"/>
                    <a:pt x="317" y="77"/>
                    <a:pt x="316" y="77"/>
                  </a:cubicBezTo>
                  <a:cubicBezTo>
                    <a:pt x="314" y="77"/>
                    <a:pt x="314" y="77"/>
                    <a:pt x="312" y="75"/>
                  </a:cubicBezTo>
                  <a:cubicBezTo>
                    <a:pt x="311" y="74"/>
                    <a:pt x="311" y="73"/>
                    <a:pt x="310" y="72"/>
                  </a:cubicBezTo>
                  <a:cubicBezTo>
                    <a:pt x="311" y="72"/>
                    <a:pt x="311" y="73"/>
                    <a:pt x="311" y="72"/>
                  </a:cubicBezTo>
                  <a:cubicBezTo>
                    <a:pt x="312" y="72"/>
                    <a:pt x="312" y="72"/>
                    <a:pt x="311" y="71"/>
                  </a:cubicBezTo>
                  <a:cubicBezTo>
                    <a:pt x="310" y="71"/>
                    <a:pt x="309" y="70"/>
                    <a:pt x="309" y="70"/>
                  </a:cubicBezTo>
                  <a:cubicBezTo>
                    <a:pt x="310" y="69"/>
                    <a:pt x="311" y="71"/>
                    <a:pt x="312" y="71"/>
                  </a:cubicBezTo>
                  <a:cubicBezTo>
                    <a:pt x="311" y="70"/>
                    <a:pt x="310" y="69"/>
                    <a:pt x="309" y="68"/>
                  </a:cubicBezTo>
                  <a:cubicBezTo>
                    <a:pt x="308" y="68"/>
                    <a:pt x="308" y="67"/>
                    <a:pt x="307" y="67"/>
                  </a:cubicBezTo>
                  <a:cubicBezTo>
                    <a:pt x="306" y="66"/>
                    <a:pt x="304" y="66"/>
                    <a:pt x="303" y="65"/>
                  </a:cubicBezTo>
                  <a:cubicBezTo>
                    <a:pt x="303" y="64"/>
                    <a:pt x="303" y="64"/>
                    <a:pt x="303" y="64"/>
                  </a:cubicBezTo>
                  <a:cubicBezTo>
                    <a:pt x="302" y="64"/>
                    <a:pt x="301" y="63"/>
                    <a:pt x="301" y="63"/>
                  </a:cubicBezTo>
                  <a:cubicBezTo>
                    <a:pt x="300" y="63"/>
                    <a:pt x="300" y="64"/>
                    <a:pt x="300" y="64"/>
                  </a:cubicBezTo>
                  <a:cubicBezTo>
                    <a:pt x="299" y="64"/>
                    <a:pt x="298" y="63"/>
                    <a:pt x="298" y="62"/>
                  </a:cubicBezTo>
                  <a:cubicBezTo>
                    <a:pt x="297" y="62"/>
                    <a:pt x="296" y="61"/>
                    <a:pt x="295" y="61"/>
                  </a:cubicBezTo>
                  <a:cubicBezTo>
                    <a:pt x="294" y="61"/>
                    <a:pt x="294" y="60"/>
                    <a:pt x="293" y="60"/>
                  </a:cubicBezTo>
                  <a:cubicBezTo>
                    <a:pt x="292" y="60"/>
                    <a:pt x="291" y="59"/>
                    <a:pt x="291" y="58"/>
                  </a:cubicBezTo>
                  <a:cubicBezTo>
                    <a:pt x="291" y="58"/>
                    <a:pt x="290" y="58"/>
                    <a:pt x="291" y="58"/>
                  </a:cubicBezTo>
                  <a:cubicBezTo>
                    <a:pt x="291" y="58"/>
                    <a:pt x="291" y="58"/>
                    <a:pt x="291" y="57"/>
                  </a:cubicBezTo>
                  <a:cubicBezTo>
                    <a:pt x="288" y="56"/>
                    <a:pt x="285" y="54"/>
                    <a:pt x="282" y="53"/>
                  </a:cubicBezTo>
                  <a:cubicBezTo>
                    <a:pt x="282" y="52"/>
                    <a:pt x="281" y="52"/>
                    <a:pt x="281" y="52"/>
                  </a:cubicBezTo>
                  <a:cubicBezTo>
                    <a:pt x="280" y="52"/>
                    <a:pt x="280" y="52"/>
                    <a:pt x="280" y="51"/>
                  </a:cubicBezTo>
                  <a:cubicBezTo>
                    <a:pt x="280" y="51"/>
                    <a:pt x="280" y="51"/>
                    <a:pt x="279" y="51"/>
                  </a:cubicBezTo>
                  <a:cubicBezTo>
                    <a:pt x="278" y="51"/>
                    <a:pt x="277" y="50"/>
                    <a:pt x="277" y="49"/>
                  </a:cubicBezTo>
                  <a:cubicBezTo>
                    <a:pt x="275" y="48"/>
                    <a:pt x="274" y="47"/>
                    <a:pt x="272" y="47"/>
                  </a:cubicBezTo>
                  <a:cubicBezTo>
                    <a:pt x="273" y="48"/>
                    <a:pt x="273" y="48"/>
                    <a:pt x="274" y="49"/>
                  </a:cubicBezTo>
                  <a:cubicBezTo>
                    <a:pt x="270" y="47"/>
                    <a:pt x="267" y="46"/>
                    <a:pt x="264" y="45"/>
                  </a:cubicBezTo>
                  <a:cubicBezTo>
                    <a:pt x="264" y="44"/>
                    <a:pt x="265" y="44"/>
                    <a:pt x="265" y="45"/>
                  </a:cubicBezTo>
                  <a:cubicBezTo>
                    <a:pt x="266" y="45"/>
                    <a:pt x="266" y="45"/>
                    <a:pt x="266" y="45"/>
                  </a:cubicBezTo>
                  <a:cubicBezTo>
                    <a:pt x="267" y="45"/>
                    <a:pt x="268" y="45"/>
                    <a:pt x="269" y="46"/>
                  </a:cubicBezTo>
                  <a:cubicBezTo>
                    <a:pt x="270" y="46"/>
                    <a:pt x="270" y="46"/>
                    <a:pt x="270" y="46"/>
                  </a:cubicBezTo>
                  <a:cubicBezTo>
                    <a:pt x="271" y="46"/>
                    <a:pt x="273" y="47"/>
                    <a:pt x="274" y="47"/>
                  </a:cubicBezTo>
                  <a:cubicBezTo>
                    <a:pt x="275" y="47"/>
                    <a:pt x="275" y="47"/>
                    <a:pt x="276" y="48"/>
                  </a:cubicBezTo>
                  <a:cubicBezTo>
                    <a:pt x="278" y="49"/>
                    <a:pt x="279" y="49"/>
                    <a:pt x="281" y="49"/>
                  </a:cubicBezTo>
                  <a:cubicBezTo>
                    <a:pt x="282" y="50"/>
                    <a:pt x="282" y="49"/>
                    <a:pt x="283" y="49"/>
                  </a:cubicBezTo>
                  <a:cubicBezTo>
                    <a:pt x="283" y="49"/>
                    <a:pt x="283" y="49"/>
                    <a:pt x="283" y="49"/>
                  </a:cubicBezTo>
                  <a:cubicBezTo>
                    <a:pt x="283" y="49"/>
                    <a:pt x="282" y="48"/>
                    <a:pt x="282" y="48"/>
                  </a:cubicBezTo>
                  <a:cubicBezTo>
                    <a:pt x="281" y="48"/>
                    <a:pt x="281" y="48"/>
                    <a:pt x="281" y="47"/>
                  </a:cubicBezTo>
                  <a:cubicBezTo>
                    <a:pt x="280" y="47"/>
                    <a:pt x="279" y="46"/>
                    <a:pt x="279" y="46"/>
                  </a:cubicBezTo>
                  <a:cubicBezTo>
                    <a:pt x="276" y="44"/>
                    <a:pt x="273" y="42"/>
                    <a:pt x="270" y="41"/>
                  </a:cubicBezTo>
                  <a:cubicBezTo>
                    <a:pt x="269" y="41"/>
                    <a:pt x="269" y="41"/>
                    <a:pt x="268" y="40"/>
                  </a:cubicBezTo>
                  <a:cubicBezTo>
                    <a:pt x="269" y="41"/>
                    <a:pt x="269" y="41"/>
                    <a:pt x="271" y="41"/>
                  </a:cubicBezTo>
                  <a:cubicBezTo>
                    <a:pt x="269" y="40"/>
                    <a:pt x="267" y="39"/>
                    <a:pt x="266" y="39"/>
                  </a:cubicBezTo>
                  <a:cubicBezTo>
                    <a:pt x="266" y="39"/>
                    <a:pt x="266" y="38"/>
                    <a:pt x="266" y="38"/>
                  </a:cubicBezTo>
                  <a:cubicBezTo>
                    <a:pt x="266" y="38"/>
                    <a:pt x="267" y="38"/>
                    <a:pt x="268" y="39"/>
                  </a:cubicBezTo>
                  <a:cubicBezTo>
                    <a:pt x="267" y="38"/>
                    <a:pt x="266" y="38"/>
                    <a:pt x="265" y="37"/>
                  </a:cubicBezTo>
                  <a:cubicBezTo>
                    <a:pt x="265" y="37"/>
                    <a:pt x="264" y="37"/>
                    <a:pt x="263" y="36"/>
                  </a:cubicBezTo>
                  <a:cubicBezTo>
                    <a:pt x="261" y="36"/>
                    <a:pt x="259" y="35"/>
                    <a:pt x="257" y="34"/>
                  </a:cubicBezTo>
                  <a:cubicBezTo>
                    <a:pt x="257" y="34"/>
                    <a:pt x="257" y="34"/>
                    <a:pt x="257" y="34"/>
                  </a:cubicBezTo>
                  <a:cubicBezTo>
                    <a:pt x="256" y="35"/>
                    <a:pt x="256" y="35"/>
                    <a:pt x="255" y="34"/>
                  </a:cubicBezTo>
                  <a:cubicBezTo>
                    <a:pt x="254" y="34"/>
                    <a:pt x="253" y="33"/>
                    <a:pt x="251" y="33"/>
                  </a:cubicBezTo>
                  <a:cubicBezTo>
                    <a:pt x="249" y="33"/>
                    <a:pt x="247" y="32"/>
                    <a:pt x="246" y="31"/>
                  </a:cubicBezTo>
                  <a:cubicBezTo>
                    <a:pt x="246" y="31"/>
                    <a:pt x="246" y="31"/>
                    <a:pt x="246" y="31"/>
                  </a:cubicBezTo>
                  <a:cubicBezTo>
                    <a:pt x="246" y="31"/>
                    <a:pt x="246" y="31"/>
                    <a:pt x="246" y="31"/>
                  </a:cubicBezTo>
                  <a:cubicBezTo>
                    <a:pt x="246" y="31"/>
                    <a:pt x="245" y="30"/>
                    <a:pt x="244" y="30"/>
                  </a:cubicBezTo>
                  <a:cubicBezTo>
                    <a:pt x="243" y="30"/>
                    <a:pt x="243" y="30"/>
                    <a:pt x="242" y="29"/>
                  </a:cubicBezTo>
                  <a:cubicBezTo>
                    <a:pt x="241" y="29"/>
                    <a:pt x="240" y="28"/>
                    <a:pt x="238" y="28"/>
                  </a:cubicBezTo>
                  <a:cubicBezTo>
                    <a:pt x="238" y="28"/>
                    <a:pt x="238" y="28"/>
                    <a:pt x="238" y="28"/>
                  </a:cubicBezTo>
                  <a:cubicBezTo>
                    <a:pt x="237" y="28"/>
                    <a:pt x="236" y="27"/>
                    <a:pt x="235" y="27"/>
                  </a:cubicBezTo>
                  <a:cubicBezTo>
                    <a:pt x="234" y="27"/>
                    <a:pt x="233" y="27"/>
                    <a:pt x="232" y="26"/>
                  </a:cubicBezTo>
                  <a:cubicBezTo>
                    <a:pt x="231" y="26"/>
                    <a:pt x="230" y="26"/>
                    <a:pt x="229" y="25"/>
                  </a:cubicBezTo>
                  <a:cubicBezTo>
                    <a:pt x="228" y="25"/>
                    <a:pt x="228" y="25"/>
                    <a:pt x="227" y="25"/>
                  </a:cubicBezTo>
                  <a:cubicBezTo>
                    <a:pt x="226" y="24"/>
                    <a:pt x="226" y="25"/>
                    <a:pt x="225" y="25"/>
                  </a:cubicBezTo>
                  <a:cubicBezTo>
                    <a:pt x="224" y="25"/>
                    <a:pt x="224" y="25"/>
                    <a:pt x="225" y="26"/>
                  </a:cubicBezTo>
                  <a:cubicBezTo>
                    <a:pt x="225" y="26"/>
                    <a:pt x="225" y="26"/>
                    <a:pt x="225" y="26"/>
                  </a:cubicBezTo>
                  <a:cubicBezTo>
                    <a:pt x="225" y="26"/>
                    <a:pt x="225" y="26"/>
                    <a:pt x="224" y="26"/>
                  </a:cubicBezTo>
                  <a:cubicBezTo>
                    <a:pt x="224" y="26"/>
                    <a:pt x="224" y="26"/>
                    <a:pt x="224" y="26"/>
                  </a:cubicBezTo>
                  <a:cubicBezTo>
                    <a:pt x="223" y="25"/>
                    <a:pt x="221" y="25"/>
                    <a:pt x="220" y="24"/>
                  </a:cubicBezTo>
                  <a:cubicBezTo>
                    <a:pt x="218" y="24"/>
                    <a:pt x="217" y="24"/>
                    <a:pt x="216" y="23"/>
                  </a:cubicBezTo>
                  <a:cubicBezTo>
                    <a:pt x="215" y="23"/>
                    <a:pt x="213" y="22"/>
                    <a:pt x="212" y="22"/>
                  </a:cubicBezTo>
                  <a:cubicBezTo>
                    <a:pt x="211" y="21"/>
                    <a:pt x="210" y="21"/>
                    <a:pt x="210" y="22"/>
                  </a:cubicBezTo>
                  <a:cubicBezTo>
                    <a:pt x="210" y="22"/>
                    <a:pt x="211" y="23"/>
                    <a:pt x="211" y="23"/>
                  </a:cubicBezTo>
                  <a:cubicBezTo>
                    <a:pt x="211" y="24"/>
                    <a:pt x="212" y="24"/>
                    <a:pt x="212" y="24"/>
                  </a:cubicBezTo>
                  <a:cubicBezTo>
                    <a:pt x="212" y="24"/>
                    <a:pt x="213" y="24"/>
                    <a:pt x="213" y="24"/>
                  </a:cubicBezTo>
                  <a:cubicBezTo>
                    <a:pt x="213" y="25"/>
                    <a:pt x="214" y="25"/>
                    <a:pt x="214" y="26"/>
                  </a:cubicBezTo>
                  <a:cubicBezTo>
                    <a:pt x="215" y="26"/>
                    <a:pt x="215" y="26"/>
                    <a:pt x="215" y="26"/>
                  </a:cubicBezTo>
                  <a:cubicBezTo>
                    <a:pt x="215" y="26"/>
                    <a:pt x="216" y="26"/>
                    <a:pt x="216" y="26"/>
                  </a:cubicBezTo>
                  <a:cubicBezTo>
                    <a:pt x="216" y="26"/>
                    <a:pt x="216" y="26"/>
                    <a:pt x="216" y="26"/>
                  </a:cubicBezTo>
                  <a:cubicBezTo>
                    <a:pt x="216" y="27"/>
                    <a:pt x="215" y="27"/>
                    <a:pt x="215" y="27"/>
                  </a:cubicBezTo>
                  <a:cubicBezTo>
                    <a:pt x="215" y="27"/>
                    <a:pt x="216" y="28"/>
                    <a:pt x="216" y="28"/>
                  </a:cubicBezTo>
                  <a:cubicBezTo>
                    <a:pt x="216" y="28"/>
                    <a:pt x="216" y="29"/>
                    <a:pt x="215" y="28"/>
                  </a:cubicBezTo>
                  <a:cubicBezTo>
                    <a:pt x="215" y="28"/>
                    <a:pt x="214" y="28"/>
                    <a:pt x="214" y="28"/>
                  </a:cubicBezTo>
                  <a:cubicBezTo>
                    <a:pt x="214" y="28"/>
                    <a:pt x="214" y="28"/>
                    <a:pt x="214" y="28"/>
                  </a:cubicBezTo>
                  <a:cubicBezTo>
                    <a:pt x="215" y="27"/>
                    <a:pt x="215" y="27"/>
                    <a:pt x="214" y="27"/>
                  </a:cubicBezTo>
                  <a:cubicBezTo>
                    <a:pt x="214" y="27"/>
                    <a:pt x="214" y="27"/>
                    <a:pt x="214" y="27"/>
                  </a:cubicBezTo>
                  <a:cubicBezTo>
                    <a:pt x="214" y="27"/>
                    <a:pt x="214" y="27"/>
                    <a:pt x="214" y="27"/>
                  </a:cubicBezTo>
                  <a:cubicBezTo>
                    <a:pt x="214" y="27"/>
                    <a:pt x="214" y="27"/>
                    <a:pt x="214" y="27"/>
                  </a:cubicBezTo>
                  <a:cubicBezTo>
                    <a:pt x="214" y="27"/>
                    <a:pt x="214" y="27"/>
                    <a:pt x="214" y="27"/>
                  </a:cubicBezTo>
                  <a:cubicBezTo>
                    <a:pt x="214" y="27"/>
                    <a:pt x="213" y="27"/>
                    <a:pt x="213" y="27"/>
                  </a:cubicBezTo>
                  <a:cubicBezTo>
                    <a:pt x="213" y="26"/>
                    <a:pt x="213" y="26"/>
                    <a:pt x="213" y="26"/>
                  </a:cubicBezTo>
                  <a:cubicBezTo>
                    <a:pt x="214" y="26"/>
                    <a:pt x="214" y="26"/>
                    <a:pt x="214" y="26"/>
                  </a:cubicBezTo>
                  <a:cubicBezTo>
                    <a:pt x="214" y="25"/>
                    <a:pt x="213" y="25"/>
                    <a:pt x="212" y="25"/>
                  </a:cubicBezTo>
                  <a:cubicBezTo>
                    <a:pt x="212" y="25"/>
                    <a:pt x="211" y="25"/>
                    <a:pt x="211" y="24"/>
                  </a:cubicBezTo>
                  <a:cubicBezTo>
                    <a:pt x="209" y="23"/>
                    <a:pt x="206" y="22"/>
                    <a:pt x="204" y="21"/>
                  </a:cubicBezTo>
                  <a:cubicBezTo>
                    <a:pt x="204" y="22"/>
                    <a:pt x="204" y="22"/>
                    <a:pt x="204" y="22"/>
                  </a:cubicBezTo>
                  <a:cubicBezTo>
                    <a:pt x="204" y="22"/>
                    <a:pt x="203" y="22"/>
                    <a:pt x="203" y="22"/>
                  </a:cubicBezTo>
                  <a:cubicBezTo>
                    <a:pt x="202" y="21"/>
                    <a:pt x="201" y="21"/>
                    <a:pt x="201" y="21"/>
                  </a:cubicBezTo>
                  <a:cubicBezTo>
                    <a:pt x="200" y="21"/>
                    <a:pt x="200" y="21"/>
                    <a:pt x="200" y="21"/>
                  </a:cubicBezTo>
                  <a:cubicBezTo>
                    <a:pt x="200" y="21"/>
                    <a:pt x="200" y="21"/>
                    <a:pt x="200" y="21"/>
                  </a:cubicBezTo>
                  <a:cubicBezTo>
                    <a:pt x="201" y="22"/>
                    <a:pt x="202" y="22"/>
                    <a:pt x="203" y="22"/>
                  </a:cubicBezTo>
                  <a:cubicBezTo>
                    <a:pt x="201" y="22"/>
                    <a:pt x="200" y="22"/>
                    <a:pt x="199" y="21"/>
                  </a:cubicBezTo>
                  <a:cubicBezTo>
                    <a:pt x="199" y="21"/>
                    <a:pt x="199" y="21"/>
                    <a:pt x="199" y="21"/>
                  </a:cubicBezTo>
                  <a:cubicBezTo>
                    <a:pt x="198" y="21"/>
                    <a:pt x="199" y="20"/>
                    <a:pt x="199" y="20"/>
                  </a:cubicBezTo>
                  <a:cubicBezTo>
                    <a:pt x="199" y="20"/>
                    <a:pt x="199" y="20"/>
                    <a:pt x="199" y="19"/>
                  </a:cubicBezTo>
                  <a:cubicBezTo>
                    <a:pt x="199" y="19"/>
                    <a:pt x="199" y="19"/>
                    <a:pt x="198" y="18"/>
                  </a:cubicBezTo>
                  <a:cubicBezTo>
                    <a:pt x="198" y="20"/>
                    <a:pt x="198" y="20"/>
                    <a:pt x="196" y="19"/>
                  </a:cubicBezTo>
                  <a:cubicBezTo>
                    <a:pt x="195" y="19"/>
                    <a:pt x="194" y="19"/>
                    <a:pt x="194" y="19"/>
                  </a:cubicBezTo>
                  <a:cubicBezTo>
                    <a:pt x="194" y="20"/>
                    <a:pt x="195" y="21"/>
                    <a:pt x="196" y="21"/>
                  </a:cubicBezTo>
                  <a:cubicBezTo>
                    <a:pt x="195" y="21"/>
                    <a:pt x="195" y="22"/>
                    <a:pt x="195" y="21"/>
                  </a:cubicBezTo>
                  <a:cubicBezTo>
                    <a:pt x="194" y="21"/>
                    <a:pt x="194" y="22"/>
                    <a:pt x="193" y="22"/>
                  </a:cubicBezTo>
                  <a:cubicBezTo>
                    <a:pt x="194" y="22"/>
                    <a:pt x="194" y="23"/>
                    <a:pt x="194" y="23"/>
                  </a:cubicBezTo>
                  <a:cubicBezTo>
                    <a:pt x="194" y="23"/>
                    <a:pt x="195" y="23"/>
                    <a:pt x="195" y="24"/>
                  </a:cubicBezTo>
                  <a:cubicBezTo>
                    <a:pt x="196" y="24"/>
                    <a:pt x="196" y="24"/>
                    <a:pt x="197" y="24"/>
                  </a:cubicBezTo>
                  <a:cubicBezTo>
                    <a:pt x="198" y="24"/>
                    <a:pt x="200" y="25"/>
                    <a:pt x="201" y="26"/>
                  </a:cubicBezTo>
                  <a:cubicBezTo>
                    <a:pt x="202" y="26"/>
                    <a:pt x="202" y="26"/>
                    <a:pt x="202" y="27"/>
                  </a:cubicBezTo>
                  <a:cubicBezTo>
                    <a:pt x="203" y="27"/>
                    <a:pt x="202" y="27"/>
                    <a:pt x="202" y="27"/>
                  </a:cubicBezTo>
                  <a:cubicBezTo>
                    <a:pt x="201" y="27"/>
                    <a:pt x="201" y="28"/>
                    <a:pt x="201" y="28"/>
                  </a:cubicBezTo>
                  <a:cubicBezTo>
                    <a:pt x="201" y="27"/>
                    <a:pt x="201" y="27"/>
                    <a:pt x="201" y="27"/>
                  </a:cubicBezTo>
                  <a:cubicBezTo>
                    <a:pt x="201" y="26"/>
                    <a:pt x="201" y="26"/>
                    <a:pt x="201" y="26"/>
                  </a:cubicBezTo>
                  <a:cubicBezTo>
                    <a:pt x="200" y="26"/>
                    <a:pt x="200" y="25"/>
                    <a:pt x="199" y="25"/>
                  </a:cubicBezTo>
                  <a:cubicBezTo>
                    <a:pt x="197" y="25"/>
                    <a:pt x="196" y="24"/>
                    <a:pt x="195" y="24"/>
                  </a:cubicBezTo>
                  <a:cubicBezTo>
                    <a:pt x="195" y="24"/>
                    <a:pt x="195" y="24"/>
                    <a:pt x="195" y="25"/>
                  </a:cubicBezTo>
                  <a:cubicBezTo>
                    <a:pt x="195" y="25"/>
                    <a:pt x="195" y="25"/>
                    <a:pt x="195" y="26"/>
                  </a:cubicBezTo>
                  <a:cubicBezTo>
                    <a:pt x="195" y="26"/>
                    <a:pt x="194" y="26"/>
                    <a:pt x="194" y="26"/>
                  </a:cubicBezTo>
                  <a:cubicBezTo>
                    <a:pt x="194" y="26"/>
                    <a:pt x="193" y="26"/>
                    <a:pt x="193" y="26"/>
                  </a:cubicBezTo>
                  <a:cubicBezTo>
                    <a:pt x="192" y="27"/>
                    <a:pt x="190" y="26"/>
                    <a:pt x="189" y="26"/>
                  </a:cubicBezTo>
                  <a:cubicBezTo>
                    <a:pt x="187" y="25"/>
                    <a:pt x="185" y="25"/>
                    <a:pt x="184" y="24"/>
                  </a:cubicBezTo>
                  <a:cubicBezTo>
                    <a:pt x="183" y="24"/>
                    <a:pt x="182" y="24"/>
                    <a:pt x="183" y="24"/>
                  </a:cubicBezTo>
                  <a:cubicBezTo>
                    <a:pt x="183" y="23"/>
                    <a:pt x="183" y="24"/>
                    <a:pt x="184" y="24"/>
                  </a:cubicBezTo>
                  <a:cubicBezTo>
                    <a:pt x="184" y="24"/>
                    <a:pt x="185" y="24"/>
                    <a:pt x="185" y="24"/>
                  </a:cubicBezTo>
                  <a:cubicBezTo>
                    <a:pt x="185" y="25"/>
                    <a:pt x="186" y="25"/>
                    <a:pt x="187" y="25"/>
                  </a:cubicBezTo>
                  <a:cubicBezTo>
                    <a:pt x="189" y="25"/>
                    <a:pt x="190" y="25"/>
                    <a:pt x="192" y="24"/>
                  </a:cubicBezTo>
                  <a:cubicBezTo>
                    <a:pt x="192" y="24"/>
                    <a:pt x="192" y="24"/>
                    <a:pt x="193" y="24"/>
                  </a:cubicBezTo>
                  <a:cubicBezTo>
                    <a:pt x="193" y="24"/>
                    <a:pt x="192" y="23"/>
                    <a:pt x="192" y="23"/>
                  </a:cubicBezTo>
                  <a:cubicBezTo>
                    <a:pt x="192" y="23"/>
                    <a:pt x="191" y="22"/>
                    <a:pt x="191" y="22"/>
                  </a:cubicBezTo>
                  <a:cubicBezTo>
                    <a:pt x="191" y="22"/>
                    <a:pt x="191" y="21"/>
                    <a:pt x="192" y="20"/>
                  </a:cubicBezTo>
                  <a:cubicBezTo>
                    <a:pt x="193" y="20"/>
                    <a:pt x="192" y="20"/>
                    <a:pt x="192" y="19"/>
                  </a:cubicBezTo>
                  <a:cubicBezTo>
                    <a:pt x="191" y="19"/>
                    <a:pt x="191" y="19"/>
                    <a:pt x="191" y="18"/>
                  </a:cubicBezTo>
                  <a:cubicBezTo>
                    <a:pt x="191" y="18"/>
                    <a:pt x="192" y="18"/>
                    <a:pt x="192" y="18"/>
                  </a:cubicBezTo>
                  <a:cubicBezTo>
                    <a:pt x="194" y="18"/>
                    <a:pt x="193" y="17"/>
                    <a:pt x="191" y="16"/>
                  </a:cubicBezTo>
                  <a:cubicBezTo>
                    <a:pt x="190" y="16"/>
                    <a:pt x="188" y="15"/>
                    <a:pt x="186" y="15"/>
                  </a:cubicBezTo>
                  <a:cubicBezTo>
                    <a:pt x="186" y="15"/>
                    <a:pt x="185" y="15"/>
                    <a:pt x="185" y="15"/>
                  </a:cubicBezTo>
                  <a:cubicBezTo>
                    <a:pt x="184" y="15"/>
                    <a:pt x="184" y="15"/>
                    <a:pt x="184" y="15"/>
                  </a:cubicBezTo>
                  <a:cubicBezTo>
                    <a:pt x="183" y="16"/>
                    <a:pt x="182" y="16"/>
                    <a:pt x="181" y="16"/>
                  </a:cubicBezTo>
                  <a:cubicBezTo>
                    <a:pt x="180" y="16"/>
                    <a:pt x="180" y="15"/>
                    <a:pt x="180" y="15"/>
                  </a:cubicBezTo>
                  <a:cubicBezTo>
                    <a:pt x="180" y="16"/>
                    <a:pt x="179" y="16"/>
                    <a:pt x="179" y="16"/>
                  </a:cubicBezTo>
                  <a:cubicBezTo>
                    <a:pt x="179" y="16"/>
                    <a:pt x="179" y="16"/>
                    <a:pt x="180" y="16"/>
                  </a:cubicBezTo>
                  <a:cubicBezTo>
                    <a:pt x="180" y="16"/>
                    <a:pt x="180" y="17"/>
                    <a:pt x="180" y="17"/>
                  </a:cubicBezTo>
                  <a:cubicBezTo>
                    <a:pt x="180" y="17"/>
                    <a:pt x="179" y="17"/>
                    <a:pt x="179" y="18"/>
                  </a:cubicBezTo>
                  <a:cubicBezTo>
                    <a:pt x="180" y="18"/>
                    <a:pt x="180" y="18"/>
                    <a:pt x="182" y="20"/>
                  </a:cubicBezTo>
                  <a:cubicBezTo>
                    <a:pt x="182" y="20"/>
                    <a:pt x="182" y="20"/>
                    <a:pt x="183" y="20"/>
                  </a:cubicBezTo>
                  <a:cubicBezTo>
                    <a:pt x="183" y="20"/>
                    <a:pt x="183" y="21"/>
                    <a:pt x="183" y="21"/>
                  </a:cubicBezTo>
                  <a:cubicBezTo>
                    <a:pt x="182" y="21"/>
                    <a:pt x="182" y="21"/>
                    <a:pt x="182" y="21"/>
                  </a:cubicBezTo>
                  <a:cubicBezTo>
                    <a:pt x="180" y="20"/>
                    <a:pt x="179" y="19"/>
                    <a:pt x="177" y="19"/>
                  </a:cubicBezTo>
                  <a:cubicBezTo>
                    <a:pt x="176" y="18"/>
                    <a:pt x="175" y="18"/>
                    <a:pt x="174" y="17"/>
                  </a:cubicBezTo>
                  <a:cubicBezTo>
                    <a:pt x="173" y="16"/>
                    <a:pt x="172" y="16"/>
                    <a:pt x="170" y="16"/>
                  </a:cubicBezTo>
                  <a:cubicBezTo>
                    <a:pt x="169" y="15"/>
                    <a:pt x="168" y="15"/>
                    <a:pt x="167" y="14"/>
                  </a:cubicBezTo>
                  <a:cubicBezTo>
                    <a:pt x="167" y="14"/>
                    <a:pt x="166" y="14"/>
                    <a:pt x="166" y="14"/>
                  </a:cubicBezTo>
                  <a:cubicBezTo>
                    <a:pt x="165" y="14"/>
                    <a:pt x="165" y="14"/>
                    <a:pt x="165" y="14"/>
                  </a:cubicBezTo>
                  <a:cubicBezTo>
                    <a:pt x="164" y="13"/>
                    <a:pt x="163" y="13"/>
                    <a:pt x="162" y="12"/>
                  </a:cubicBezTo>
                  <a:cubicBezTo>
                    <a:pt x="162" y="12"/>
                    <a:pt x="161" y="12"/>
                    <a:pt x="161" y="12"/>
                  </a:cubicBezTo>
                  <a:cubicBezTo>
                    <a:pt x="161" y="13"/>
                    <a:pt x="161" y="13"/>
                    <a:pt x="161" y="13"/>
                  </a:cubicBezTo>
                  <a:cubicBezTo>
                    <a:pt x="162" y="13"/>
                    <a:pt x="162" y="13"/>
                    <a:pt x="162" y="13"/>
                  </a:cubicBezTo>
                  <a:cubicBezTo>
                    <a:pt x="164" y="14"/>
                    <a:pt x="165" y="15"/>
                    <a:pt x="165" y="16"/>
                  </a:cubicBezTo>
                  <a:cubicBezTo>
                    <a:pt x="165" y="16"/>
                    <a:pt x="164" y="15"/>
                    <a:pt x="164" y="15"/>
                  </a:cubicBezTo>
                  <a:cubicBezTo>
                    <a:pt x="163" y="16"/>
                    <a:pt x="162" y="16"/>
                    <a:pt x="161" y="15"/>
                  </a:cubicBezTo>
                  <a:cubicBezTo>
                    <a:pt x="162" y="15"/>
                    <a:pt x="162" y="15"/>
                    <a:pt x="161" y="14"/>
                  </a:cubicBezTo>
                  <a:cubicBezTo>
                    <a:pt x="161" y="14"/>
                    <a:pt x="160" y="14"/>
                    <a:pt x="160" y="14"/>
                  </a:cubicBezTo>
                  <a:cubicBezTo>
                    <a:pt x="158" y="14"/>
                    <a:pt x="156" y="14"/>
                    <a:pt x="154" y="14"/>
                  </a:cubicBezTo>
                  <a:cubicBezTo>
                    <a:pt x="154" y="13"/>
                    <a:pt x="153" y="13"/>
                    <a:pt x="153" y="13"/>
                  </a:cubicBezTo>
                  <a:cubicBezTo>
                    <a:pt x="152" y="14"/>
                    <a:pt x="151" y="13"/>
                    <a:pt x="150" y="13"/>
                  </a:cubicBezTo>
                  <a:cubicBezTo>
                    <a:pt x="150" y="13"/>
                    <a:pt x="150" y="12"/>
                    <a:pt x="150" y="12"/>
                  </a:cubicBezTo>
                  <a:cubicBezTo>
                    <a:pt x="149" y="12"/>
                    <a:pt x="148" y="12"/>
                    <a:pt x="147" y="12"/>
                  </a:cubicBezTo>
                  <a:cubicBezTo>
                    <a:pt x="148" y="13"/>
                    <a:pt x="147" y="12"/>
                    <a:pt x="146" y="12"/>
                  </a:cubicBezTo>
                  <a:cubicBezTo>
                    <a:pt x="146" y="12"/>
                    <a:pt x="145" y="12"/>
                    <a:pt x="145" y="12"/>
                  </a:cubicBezTo>
                  <a:cubicBezTo>
                    <a:pt x="142" y="12"/>
                    <a:pt x="140" y="12"/>
                    <a:pt x="137" y="12"/>
                  </a:cubicBezTo>
                  <a:cubicBezTo>
                    <a:pt x="137" y="12"/>
                    <a:pt x="136" y="12"/>
                    <a:pt x="136" y="12"/>
                  </a:cubicBezTo>
                  <a:cubicBezTo>
                    <a:pt x="136" y="12"/>
                    <a:pt x="136" y="12"/>
                    <a:pt x="135" y="12"/>
                  </a:cubicBezTo>
                  <a:cubicBezTo>
                    <a:pt x="134" y="12"/>
                    <a:pt x="132" y="12"/>
                    <a:pt x="130" y="11"/>
                  </a:cubicBezTo>
                  <a:cubicBezTo>
                    <a:pt x="130" y="11"/>
                    <a:pt x="130" y="11"/>
                    <a:pt x="131" y="10"/>
                  </a:cubicBezTo>
                  <a:cubicBezTo>
                    <a:pt x="131" y="10"/>
                    <a:pt x="132" y="10"/>
                    <a:pt x="133" y="11"/>
                  </a:cubicBezTo>
                  <a:cubicBezTo>
                    <a:pt x="133" y="11"/>
                    <a:pt x="134" y="11"/>
                    <a:pt x="134" y="10"/>
                  </a:cubicBezTo>
                  <a:cubicBezTo>
                    <a:pt x="134" y="10"/>
                    <a:pt x="134" y="10"/>
                    <a:pt x="134" y="10"/>
                  </a:cubicBezTo>
                  <a:cubicBezTo>
                    <a:pt x="133" y="10"/>
                    <a:pt x="132" y="9"/>
                    <a:pt x="132" y="9"/>
                  </a:cubicBezTo>
                  <a:cubicBezTo>
                    <a:pt x="130" y="9"/>
                    <a:pt x="129" y="9"/>
                    <a:pt x="127" y="8"/>
                  </a:cubicBezTo>
                  <a:cubicBezTo>
                    <a:pt x="128" y="9"/>
                    <a:pt x="128" y="9"/>
                    <a:pt x="128" y="9"/>
                  </a:cubicBezTo>
                  <a:cubicBezTo>
                    <a:pt x="128" y="10"/>
                    <a:pt x="127" y="10"/>
                    <a:pt x="127" y="10"/>
                  </a:cubicBezTo>
                  <a:cubicBezTo>
                    <a:pt x="127" y="10"/>
                    <a:pt x="127" y="10"/>
                    <a:pt x="127" y="11"/>
                  </a:cubicBezTo>
                  <a:cubicBezTo>
                    <a:pt x="128" y="11"/>
                    <a:pt x="129" y="11"/>
                    <a:pt x="129" y="11"/>
                  </a:cubicBezTo>
                  <a:cubicBezTo>
                    <a:pt x="129" y="12"/>
                    <a:pt x="128" y="12"/>
                    <a:pt x="128" y="12"/>
                  </a:cubicBezTo>
                  <a:cubicBezTo>
                    <a:pt x="128" y="12"/>
                    <a:pt x="127" y="12"/>
                    <a:pt x="127" y="12"/>
                  </a:cubicBezTo>
                  <a:cubicBezTo>
                    <a:pt x="126" y="12"/>
                    <a:pt x="126" y="11"/>
                    <a:pt x="126" y="11"/>
                  </a:cubicBezTo>
                  <a:cubicBezTo>
                    <a:pt x="125" y="12"/>
                    <a:pt x="125" y="11"/>
                    <a:pt x="124" y="11"/>
                  </a:cubicBezTo>
                  <a:cubicBezTo>
                    <a:pt x="124" y="11"/>
                    <a:pt x="124" y="11"/>
                    <a:pt x="124" y="11"/>
                  </a:cubicBezTo>
                  <a:cubicBezTo>
                    <a:pt x="122" y="11"/>
                    <a:pt x="121" y="11"/>
                    <a:pt x="119" y="12"/>
                  </a:cubicBezTo>
                  <a:cubicBezTo>
                    <a:pt x="118" y="12"/>
                    <a:pt x="118" y="12"/>
                    <a:pt x="119" y="13"/>
                  </a:cubicBezTo>
                  <a:cubicBezTo>
                    <a:pt x="119" y="13"/>
                    <a:pt x="119" y="13"/>
                    <a:pt x="120" y="13"/>
                  </a:cubicBezTo>
                  <a:cubicBezTo>
                    <a:pt x="119" y="13"/>
                    <a:pt x="118" y="13"/>
                    <a:pt x="117" y="13"/>
                  </a:cubicBezTo>
                  <a:cubicBezTo>
                    <a:pt x="116" y="13"/>
                    <a:pt x="115" y="12"/>
                    <a:pt x="115" y="12"/>
                  </a:cubicBezTo>
                  <a:cubicBezTo>
                    <a:pt x="114" y="12"/>
                    <a:pt x="114" y="12"/>
                    <a:pt x="114" y="12"/>
                  </a:cubicBezTo>
                  <a:cubicBezTo>
                    <a:pt x="113" y="11"/>
                    <a:pt x="112" y="11"/>
                    <a:pt x="111" y="12"/>
                  </a:cubicBezTo>
                  <a:cubicBezTo>
                    <a:pt x="111" y="12"/>
                    <a:pt x="112" y="13"/>
                    <a:pt x="113" y="13"/>
                  </a:cubicBezTo>
                  <a:cubicBezTo>
                    <a:pt x="113" y="13"/>
                    <a:pt x="114" y="13"/>
                    <a:pt x="114" y="13"/>
                  </a:cubicBezTo>
                  <a:cubicBezTo>
                    <a:pt x="114" y="14"/>
                    <a:pt x="113" y="14"/>
                    <a:pt x="113" y="14"/>
                  </a:cubicBezTo>
                  <a:cubicBezTo>
                    <a:pt x="112" y="13"/>
                    <a:pt x="111" y="13"/>
                    <a:pt x="110" y="13"/>
                  </a:cubicBezTo>
                  <a:cubicBezTo>
                    <a:pt x="109" y="12"/>
                    <a:pt x="109" y="12"/>
                    <a:pt x="108" y="12"/>
                  </a:cubicBezTo>
                  <a:cubicBezTo>
                    <a:pt x="108" y="12"/>
                    <a:pt x="107" y="12"/>
                    <a:pt x="107" y="12"/>
                  </a:cubicBezTo>
                  <a:cubicBezTo>
                    <a:pt x="107" y="11"/>
                    <a:pt x="106" y="11"/>
                    <a:pt x="107" y="10"/>
                  </a:cubicBezTo>
                  <a:cubicBezTo>
                    <a:pt x="107" y="10"/>
                    <a:pt x="107" y="9"/>
                    <a:pt x="106" y="9"/>
                  </a:cubicBezTo>
                  <a:cubicBezTo>
                    <a:pt x="105" y="9"/>
                    <a:pt x="105" y="9"/>
                    <a:pt x="104" y="8"/>
                  </a:cubicBezTo>
                  <a:cubicBezTo>
                    <a:pt x="105" y="8"/>
                    <a:pt x="107" y="8"/>
                    <a:pt x="108" y="9"/>
                  </a:cubicBezTo>
                  <a:cubicBezTo>
                    <a:pt x="109" y="9"/>
                    <a:pt x="110" y="9"/>
                    <a:pt x="111" y="9"/>
                  </a:cubicBezTo>
                  <a:cubicBezTo>
                    <a:pt x="111" y="10"/>
                    <a:pt x="112" y="10"/>
                    <a:pt x="112" y="10"/>
                  </a:cubicBezTo>
                  <a:cubicBezTo>
                    <a:pt x="114" y="10"/>
                    <a:pt x="116" y="10"/>
                    <a:pt x="117" y="11"/>
                  </a:cubicBezTo>
                  <a:cubicBezTo>
                    <a:pt x="119" y="11"/>
                    <a:pt x="120" y="10"/>
                    <a:pt x="122" y="10"/>
                  </a:cubicBezTo>
                  <a:cubicBezTo>
                    <a:pt x="122" y="10"/>
                    <a:pt x="122" y="10"/>
                    <a:pt x="122" y="10"/>
                  </a:cubicBezTo>
                  <a:cubicBezTo>
                    <a:pt x="122" y="10"/>
                    <a:pt x="121" y="9"/>
                    <a:pt x="120" y="9"/>
                  </a:cubicBezTo>
                  <a:cubicBezTo>
                    <a:pt x="119" y="8"/>
                    <a:pt x="117" y="7"/>
                    <a:pt x="115" y="7"/>
                  </a:cubicBezTo>
                  <a:cubicBezTo>
                    <a:pt x="114" y="6"/>
                    <a:pt x="113" y="6"/>
                    <a:pt x="112" y="6"/>
                  </a:cubicBezTo>
                  <a:cubicBezTo>
                    <a:pt x="111" y="5"/>
                    <a:pt x="110" y="5"/>
                    <a:pt x="109" y="5"/>
                  </a:cubicBezTo>
                  <a:cubicBezTo>
                    <a:pt x="108" y="5"/>
                    <a:pt x="107" y="4"/>
                    <a:pt x="106" y="4"/>
                  </a:cubicBezTo>
                  <a:cubicBezTo>
                    <a:pt x="105" y="4"/>
                    <a:pt x="104" y="4"/>
                    <a:pt x="104" y="3"/>
                  </a:cubicBezTo>
                  <a:cubicBezTo>
                    <a:pt x="104" y="3"/>
                    <a:pt x="104" y="3"/>
                    <a:pt x="103" y="3"/>
                  </a:cubicBezTo>
                  <a:cubicBezTo>
                    <a:pt x="103" y="3"/>
                    <a:pt x="102" y="3"/>
                    <a:pt x="101" y="3"/>
                  </a:cubicBezTo>
                  <a:cubicBezTo>
                    <a:pt x="100" y="3"/>
                    <a:pt x="100" y="3"/>
                    <a:pt x="99" y="3"/>
                  </a:cubicBezTo>
                  <a:cubicBezTo>
                    <a:pt x="98" y="3"/>
                    <a:pt x="98" y="3"/>
                    <a:pt x="97" y="3"/>
                  </a:cubicBezTo>
                  <a:cubicBezTo>
                    <a:pt x="96" y="3"/>
                    <a:pt x="96" y="2"/>
                    <a:pt x="96" y="2"/>
                  </a:cubicBezTo>
                  <a:cubicBezTo>
                    <a:pt x="97" y="2"/>
                    <a:pt x="98" y="3"/>
                    <a:pt x="99" y="2"/>
                  </a:cubicBezTo>
                  <a:cubicBezTo>
                    <a:pt x="98" y="2"/>
                    <a:pt x="97" y="1"/>
                    <a:pt x="96" y="1"/>
                  </a:cubicBezTo>
                  <a:cubicBezTo>
                    <a:pt x="94" y="1"/>
                    <a:pt x="93" y="1"/>
                    <a:pt x="92" y="0"/>
                  </a:cubicBezTo>
                  <a:cubicBezTo>
                    <a:pt x="91" y="0"/>
                    <a:pt x="91" y="0"/>
                    <a:pt x="91" y="1"/>
                  </a:cubicBezTo>
                  <a:cubicBezTo>
                    <a:pt x="91" y="1"/>
                    <a:pt x="90" y="1"/>
                    <a:pt x="90" y="1"/>
                  </a:cubicBezTo>
                  <a:cubicBezTo>
                    <a:pt x="90" y="1"/>
                    <a:pt x="90" y="0"/>
                    <a:pt x="90" y="0"/>
                  </a:cubicBezTo>
                  <a:cubicBezTo>
                    <a:pt x="89" y="1"/>
                    <a:pt x="88" y="1"/>
                    <a:pt x="87" y="1"/>
                  </a:cubicBezTo>
                  <a:cubicBezTo>
                    <a:pt x="87" y="1"/>
                    <a:pt x="86" y="1"/>
                    <a:pt x="86" y="1"/>
                  </a:cubicBezTo>
                  <a:cubicBezTo>
                    <a:pt x="87" y="1"/>
                    <a:pt x="87" y="1"/>
                    <a:pt x="87" y="0"/>
                  </a:cubicBezTo>
                  <a:cubicBezTo>
                    <a:pt x="87" y="0"/>
                    <a:pt x="86" y="0"/>
                    <a:pt x="86" y="0"/>
                  </a:cubicBezTo>
                  <a:cubicBezTo>
                    <a:pt x="84" y="0"/>
                    <a:pt x="85" y="0"/>
                    <a:pt x="84" y="1"/>
                  </a:cubicBezTo>
                  <a:cubicBezTo>
                    <a:pt x="84" y="1"/>
                    <a:pt x="84" y="0"/>
                    <a:pt x="84" y="0"/>
                  </a:cubicBezTo>
                  <a:cubicBezTo>
                    <a:pt x="83" y="0"/>
                    <a:pt x="82" y="1"/>
                    <a:pt x="82" y="1"/>
                  </a:cubicBezTo>
                  <a:cubicBezTo>
                    <a:pt x="82" y="1"/>
                    <a:pt x="82" y="1"/>
                    <a:pt x="81" y="1"/>
                  </a:cubicBezTo>
                  <a:cubicBezTo>
                    <a:pt x="80" y="1"/>
                    <a:pt x="79" y="0"/>
                    <a:pt x="77" y="1"/>
                  </a:cubicBezTo>
                  <a:cubicBezTo>
                    <a:pt x="77" y="1"/>
                    <a:pt x="76" y="1"/>
                    <a:pt x="76" y="1"/>
                  </a:cubicBezTo>
                  <a:cubicBezTo>
                    <a:pt x="76" y="1"/>
                    <a:pt x="76" y="1"/>
                    <a:pt x="76" y="1"/>
                  </a:cubicBezTo>
                  <a:cubicBezTo>
                    <a:pt x="76" y="1"/>
                    <a:pt x="75" y="1"/>
                    <a:pt x="74" y="1"/>
                  </a:cubicBezTo>
                  <a:cubicBezTo>
                    <a:pt x="74" y="1"/>
                    <a:pt x="74" y="1"/>
                    <a:pt x="74" y="1"/>
                  </a:cubicBezTo>
                  <a:cubicBezTo>
                    <a:pt x="73" y="0"/>
                    <a:pt x="73" y="0"/>
                    <a:pt x="72" y="1"/>
                  </a:cubicBezTo>
                  <a:cubicBezTo>
                    <a:pt x="71" y="1"/>
                    <a:pt x="70" y="1"/>
                    <a:pt x="69" y="1"/>
                  </a:cubicBezTo>
                  <a:cubicBezTo>
                    <a:pt x="68" y="1"/>
                    <a:pt x="68" y="2"/>
                    <a:pt x="68" y="2"/>
                  </a:cubicBezTo>
                  <a:cubicBezTo>
                    <a:pt x="68" y="2"/>
                    <a:pt x="68" y="2"/>
                    <a:pt x="68" y="2"/>
                  </a:cubicBezTo>
                  <a:cubicBezTo>
                    <a:pt x="68" y="2"/>
                    <a:pt x="68" y="2"/>
                    <a:pt x="68" y="2"/>
                  </a:cubicBezTo>
                  <a:cubicBezTo>
                    <a:pt x="69" y="2"/>
                    <a:pt x="69" y="2"/>
                    <a:pt x="69" y="2"/>
                  </a:cubicBezTo>
                  <a:cubicBezTo>
                    <a:pt x="69" y="2"/>
                    <a:pt x="69" y="2"/>
                    <a:pt x="69" y="2"/>
                  </a:cubicBezTo>
                  <a:cubicBezTo>
                    <a:pt x="67" y="2"/>
                    <a:pt x="67" y="3"/>
                    <a:pt x="66" y="3"/>
                  </a:cubicBezTo>
                  <a:cubicBezTo>
                    <a:pt x="66" y="3"/>
                    <a:pt x="66" y="3"/>
                    <a:pt x="66" y="3"/>
                  </a:cubicBezTo>
                  <a:cubicBezTo>
                    <a:pt x="66" y="3"/>
                    <a:pt x="66" y="3"/>
                    <a:pt x="66" y="3"/>
                  </a:cubicBezTo>
                  <a:cubicBezTo>
                    <a:pt x="65" y="3"/>
                    <a:pt x="64" y="4"/>
                    <a:pt x="63" y="4"/>
                  </a:cubicBezTo>
                  <a:cubicBezTo>
                    <a:pt x="63" y="4"/>
                    <a:pt x="63" y="4"/>
                    <a:pt x="64" y="4"/>
                  </a:cubicBezTo>
                  <a:cubicBezTo>
                    <a:pt x="62" y="4"/>
                    <a:pt x="62" y="5"/>
                    <a:pt x="61" y="5"/>
                  </a:cubicBezTo>
                  <a:cubicBezTo>
                    <a:pt x="61" y="5"/>
                    <a:pt x="61" y="5"/>
                    <a:pt x="60" y="5"/>
                  </a:cubicBezTo>
                  <a:cubicBezTo>
                    <a:pt x="60" y="5"/>
                    <a:pt x="59" y="5"/>
                    <a:pt x="59" y="6"/>
                  </a:cubicBezTo>
                  <a:cubicBezTo>
                    <a:pt x="58" y="6"/>
                    <a:pt x="59" y="6"/>
                    <a:pt x="59" y="6"/>
                  </a:cubicBezTo>
                  <a:cubicBezTo>
                    <a:pt x="58" y="7"/>
                    <a:pt x="57" y="7"/>
                    <a:pt x="58" y="8"/>
                  </a:cubicBezTo>
                  <a:cubicBezTo>
                    <a:pt x="57" y="8"/>
                    <a:pt x="56" y="8"/>
                    <a:pt x="55" y="8"/>
                  </a:cubicBezTo>
                  <a:cubicBezTo>
                    <a:pt x="55" y="8"/>
                    <a:pt x="55" y="8"/>
                    <a:pt x="56" y="8"/>
                  </a:cubicBezTo>
                  <a:cubicBezTo>
                    <a:pt x="55" y="8"/>
                    <a:pt x="55" y="9"/>
                    <a:pt x="55" y="9"/>
                  </a:cubicBezTo>
                  <a:cubicBezTo>
                    <a:pt x="54" y="8"/>
                    <a:pt x="54" y="8"/>
                    <a:pt x="54" y="8"/>
                  </a:cubicBezTo>
                  <a:cubicBezTo>
                    <a:pt x="53" y="9"/>
                    <a:pt x="53" y="9"/>
                    <a:pt x="52" y="9"/>
                  </a:cubicBezTo>
                  <a:cubicBezTo>
                    <a:pt x="52" y="10"/>
                    <a:pt x="51" y="10"/>
                    <a:pt x="51" y="10"/>
                  </a:cubicBezTo>
                  <a:cubicBezTo>
                    <a:pt x="49" y="10"/>
                    <a:pt x="48" y="11"/>
                    <a:pt x="47" y="11"/>
                  </a:cubicBezTo>
                  <a:cubicBezTo>
                    <a:pt x="45" y="11"/>
                    <a:pt x="45" y="12"/>
                    <a:pt x="43" y="12"/>
                  </a:cubicBezTo>
                  <a:cubicBezTo>
                    <a:pt x="43" y="12"/>
                    <a:pt x="43" y="12"/>
                    <a:pt x="42" y="12"/>
                  </a:cubicBezTo>
                  <a:cubicBezTo>
                    <a:pt x="42" y="12"/>
                    <a:pt x="42" y="12"/>
                    <a:pt x="42" y="12"/>
                  </a:cubicBezTo>
                  <a:cubicBezTo>
                    <a:pt x="41" y="13"/>
                    <a:pt x="42" y="13"/>
                    <a:pt x="41" y="13"/>
                  </a:cubicBezTo>
                  <a:cubicBezTo>
                    <a:pt x="41" y="14"/>
                    <a:pt x="41" y="14"/>
                    <a:pt x="42" y="15"/>
                  </a:cubicBezTo>
                  <a:cubicBezTo>
                    <a:pt x="42" y="15"/>
                    <a:pt x="43" y="15"/>
                    <a:pt x="43" y="15"/>
                  </a:cubicBezTo>
                  <a:cubicBezTo>
                    <a:pt x="43" y="15"/>
                    <a:pt x="43" y="16"/>
                    <a:pt x="42" y="16"/>
                  </a:cubicBezTo>
                  <a:cubicBezTo>
                    <a:pt x="42" y="16"/>
                    <a:pt x="42" y="16"/>
                    <a:pt x="42" y="16"/>
                  </a:cubicBezTo>
                  <a:cubicBezTo>
                    <a:pt x="42" y="16"/>
                    <a:pt x="42" y="16"/>
                    <a:pt x="43" y="16"/>
                  </a:cubicBezTo>
                  <a:cubicBezTo>
                    <a:pt x="43" y="16"/>
                    <a:pt x="43" y="16"/>
                    <a:pt x="43" y="16"/>
                  </a:cubicBezTo>
                  <a:cubicBezTo>
                    <a:pt x="43" y="16"/>
                    <a:pt x="43" y="16"/>
                    <a:pt x="44" y="16"/>
                  </a:cubicBezTo>
                  <a:cubicBezTo>
                    <a:pt x="44" y="16"/>
                    <a:pt x="44" y="16"/>
                    <a:pt x="44" y="17"/>
                  </a:cubicBezTo>
                  <a:cubicBezTo>
                    <a:pt x="43" y="17"/>
                    <a:pt x="43" y="17"/>
                    <a:pt x="43" y="17"/>
                  </a:cubicBezTo>
                  <a:cubicBezTo>
                    <a:pt x="42" y="17"/>
                    <a:pt x="42" y="17"/>
                    <a:pt x="43" y="18"/>
                  </a:cubicBezTo>
                  <a:cubicBezTo>
                    <a:pt x="45" y="18"/>
                    <a:pt x="47" y="19"/>
                    <a:pt x="49" y="18"/>
                  </a:cubicBezTo>
                  <a:cubicBezTo>
                    <a:pt x="50" y="17"/>
                    <a:pt x="51" y="17"/>
                    <a:pt x="51" y="17"/>
                  </a:cubicBezTo>
                  <a:cubicBezTo>
                    <a:pt x="53" y="17"/>
                    <a:pt x="53" y="16"/>
                    <a:pt x="53" y="15"/>
                  </a:cubicBezTo>
                  <a:cubicBezTo>
                    <a:pt x="54" y="16"/>
                    <a:pt x="54" y="16"/>
                    <a:pt x="54" y="16"/>
                  </a:cubicBezTo>
                  <a:cubicBezTo>
                    <a:pt x="55" y="17"/>
                    <a:pt x="55" y="17"/>
                    <a:pt x="55" y="17"/>
                  </a:cubicBezTo>
                  <a:cubicBezTo>
                    <a:pt x="55" y="17"/>
                    <a:pt x="55" y="18"/>
                    <a:pt x="55" y="18"/>
                  </a:cubicBezTo>
                  <a:cubicBezTo>
                    <a:pt x="56" y="19"/>
                    <a:pt x="56" y="20"/>
                    <a:pt x="58" y="20"/>
                  </a:cubicBezTo>
                  <a:cubicBezTo>
                    <a:pt x="58" y="20"/>
                    <a:pt x="58" y="21"/>
                    <a:pt x="58" y="21"/>
                  </a:cubicBezTo>
                  <a:cubicBezTo>
                    <a:pt x="58" y="21"/>
                    <a:pt x="56" y="21"/>
                    <a:pt x="56" y="22"/>
                  </a:cubicBezTo>
                  <a:cubicBezTo>
                    <a:pt x="56" y="22"/>
                    <a:pt x="56" y="22"/>
                    <a:pt x="55" y="22"/>
                  </a:cubicBezTo>
                  <a:cubicBezTo>
                    <a:pt x="55" y="21"/>
                    <a:pt x="54" y="22"/>
                    <a:pt x="54" y="22"/>
                  </a:cubicBezTo>
                  <a:cubicBezTo>
                    <a:pt x="54" y="22"/>
                    <a:pt x="54" y="22"/>
                    <a:pt x="55" y="22"/>
                  </a:cubicBezTo>
                  <a:cubicBezTo>
                    <a:pt x="55" y="23"/>
                    <a:pt x="56" y="23"/>
                    <a:pt x="56" y="23"/>
                  </a:cubicBezTo>
                  <a:cubicBezTo>
                    <a:pt x="57" y="23"/>
                    <a:pt x="57" y="22"/>
                    <a:pt x="58" y="21"/>
                  </a:cubicBezTo>
                  <a:cubicBezTo>
                    <a:pt x="58" y="22"/>
                    <a:pt x="58" y="22"/>
                    <a:pt x="59" y="22"/>
                  </a:cubicBezTo>
                  <a:cubicBezTo>
                    <a:pt x="59" y="22"/>
                    <a:pt x="60" y="22"/>
                    <a:pt x="61" y="22"/>
                  </a:cubicBezTo>
                  <a:cubicBezTo>
                    <a:pt x="61" y="22"/>
                    <a:pt x="61" y="22"/>
                    <a:pt x="61" y="22"/>
                  </a:cubicBezTo>
                  <a:cubicBezTo>
                    <a:pt x="61" y="22"/>
                    <a:pt x="62" y="22"/>
                    <a:pt x="62" y="22"/>
                  </a:cubicBezTo>
                  <a:cubicBezTo>
                    <a:pt x="62" y="21"/>
                    <a:pt x="63" y="21"/>
                    <a:pt x="64" y="21"/>
                  </a:cubicBezTo>
                  <a:cubicBezTo>
                    <a:pt x="65" y="22"/>
                    <a:pt x="65" y="21"/>
                    <a:pt x="66" y="21"/>
                  </a:cubicBezTo>
                  <a:cubicBezTo>
                    <a:pt x="66" y="20"/>
                    <a:pt x="66" y="20"/>
                    <a:pt x="66" y="19"/>
                  </a:cubicBezTo>
                  <a:cubicBezTo>
                    <a:pt x="66" y="19"/>
                    <a:pt x="66" y="18"/>
                    <a:pt x="67" y="18"/>
                  </a:cubicBezTo>
                  <a:cubicBezTo>
                    <a:pt x="67" y="18"/>
                    <a:pt x="68" y="17"/>
                    <a:pt x="69" y="17"/>
                  </a:cubicBezTo>
                  <a:cubicBezTo>
                    <a:pt x="70" y="17"/>
                    <a:pt x="70" y="16"/>
                    <a:pt x="72" y="16"/>
                  </a:cubicBezTo>
                  <a:cubicBezTo>
                    <a:pt x="71" y="16"/>
                    <a:pt x="70" y="15"/>
                    <a:pt x="69" y="15"/>
                  </a:cubicBezTo>
                  <a:cubicBezTo>
                    <a:pt x="69" y="15"/>
                    <a:pt x="69" y="15"/>
                    <a:pt x="68" y="15"/>
                  </a:cubicBezTo>
                  <a:cubicBezTo>
                    <a:pt x="68" y="15"/>
                    <a:pt x="68" y="14"/>
                    <a:pt x="68" y="14"/>
                  </a:cubicBezTo>
                  <a:cubicBezTo>
                    <a:pt x="68" y="14"/>
                    <a:pt x="68" y="12"/>
                    <a:pt x="69" y="12"/>
                  </a:cubicBezTo>
                  <a:cubicBezTo>
                    <a:pt x="70" y="11"/>
                    <a:pt x="74" y="10"/>
                    <a:pt x="74" y="10"/>
                  </a:cubicBezTo>
                  <a:cubicBezTo>
                    <a:pt x="76" y="10"/>
                    <a:pt x="76" y="10"/>
                    <a:pt x="77" y="9"/>
                  </a:cubicBezTo>
                  <a:cubicBezTo>
                    <a:pt x="77" y="8"/>
                    <a:pt x="78" y="8"/>
                    <a:pt x="80" y="8"/>
                  </a:cubicBezTo>
                  <a:cubicBezTo>
                    <a:pt x="81" y="7"/>
                    <a:pt x="83" y="8"/>
                    <a:pt x="84" y="8"/>
                  </a:cubicBezTo>
                  <a:cubicBezTo>
                    <a:pt x="85" y="8"/>
                    <a:pt x="85" y="8"/>
                    <a:pt x="86" y="8"/>
                  </a:cubicBezTo>
                  <a:cubicBezTo>
                    <a:pt x="86" y="9"/>
                    <a:pt x="86" y="9"/>
                    <a:pt x="86" y="9"/>
                  </a:cubicBezTo>
                  <a:cubicBezTo>
                    <a:pt x="85" y="9"/>
                    <a:pt x="84" y="9"/>
                    <a:pt x="84" y="10"/>
                  </a:cubicBezTo>
                  <a:cubicBezTo>
                    <a:pt x="83" y="10"/>
                    <a:pt x="82" y="10"/>
                    <a:pt x="80" y="11"/>
                  </a:cubicBezTo>
                  <a:cubicBezTo>
                    <a:pt x="79" y="11"/>
                    <a:pt x="78" y="11"/>
                    <a:pt x="77" y="12"/>
                  </a:cubicBezTo>
                  <a:cubicBezTo>
                    <a:pt x="77" y="12"/>
                    <a:pt x="76" y="12"/>
                    <a:pt x="77" y="13"/>
                  </a:cubicBezTo>
                  <a:cubicBezTo>
                    <a:pt x="77" y="13"/>
                    <a:pt x="78" y="14"/>
                    <a:pt x="77" y="14"/>
                  </a:cubicBezTo>
                  <a:cubicBezTo>
                    <a:pt x="77" y="15"/>
                    <a:pt x="78" y="15"/>
                    <a:pt x="78" y="15"/>
                  </a:cubicBezTo>
                  <a:cubicBezTo>
                    <a:pt x="79" y="16"/>
                    <a:pt x="79" y="16"/>
                    <a:pt x="80" y="16"/>
                  </a:cubicBezTo>
                  <a:cubicBezTo>
                    <a:pt x="80" y="16"/>
                    <a:pt x="81" y="16"/>
                    <a:pt x="81" y="16"/>
                  </a:cubicBezTo>
                  <a:cubicBezTo>
                    <a:pt x="82" y="16"/>
                    <a:pt x="82" y="17"/>
                    <a:pt x="83" y="16"/>
                  </a:cubicBezTo>
                  <a:cubicBezTo>
                    <a:pt x="83" y="16"/>
                    <a:pt x="83" y="17"/>
                    <a:pt x="84" y="16"/>
                  </a:cubicBezTo>
                  <a:cubicBezTo>
                    <a:pt x="86" y="16"/>
                    <a:pt x="88" y="16"/>
                    <a:pt x="91" y="16"/>
                  </a:cubicBezTo>
                  <a:cubicBezTo>
                    <a:pt x="91" y="16"/>
                    <a:pt x="91" y="16"/>
                    <a:pt x="91" y="16"/>
                  </a:cubicBezTo>
                  <a:cubicBezTo>
                    <a:pt x="92" y="16"/>
                    <a:pt x="92" y="16"/>
                    <a:pt x="92" y="16"/>
                  </a:cubicBezTo>
                  <a:cubicBezTo>
                    <a:pt x="93" y="16"/>
                    <a:pt x="93" y="17"/>
                    <a:pt x="93" y="17"/>
                  </a:cubicBezTo>
                  <a:cubicBezTo>
                    <a:pt x="94" y="17"/>
                    <a:pt x="95" y="17"/>
                    <a:pt x="95" y="17"/>
                  </a:cubicBezTo>
                  <a:cubicBezTo>
                    <a:pt x="95" y="17"/>
                    <a:pt x="95" y="17"/>
                    <a:pt x="95" y="17"/>
                  </a:cubicBezTo>
                  <a:cubicBezTo>
                    <a:pt x="95" y="17"/>
                    <a:pt x="95" y="17"/>
                    <a:pt x="95" y="17"/>
                  </a:cubicBezTo>
                  <a:cubicBezTo>
                    <a:pt x="94" y="17"/>
                    <a:pt x="91" y="18"/>
                    <a:pt x="91" y="18"/>
                  </a:cubicBezTo>
                  <a:cubicBezTo>
                    <a:pt x="91" y="18"/>
                    <a:pt x="90" y="18"/>
                    <a:pt x="89" y="18"/>
                  </a:cubicBezTo>
                  <a:cubicBezTo>
                    <a:pt x="88" y="17"/>
                    <a:pt x="87" y="18"/>
                    <a:pt x="86" y="17"/>
                  </a:cubicBezTo>
                  <a:cubicBezTo>
                    <a:pt x="86" y="17"/>
                    <a:pt x="85" y="17"/>
                    <a:pt x="84" y="17"/>
                  </a:cubicBezTo>
                  <a:cubicBezTo>
                    <a:pt x="84" y="17"/>
                    <a:pt x="83" y="17"/>
                    <a:pt x="83" y="17"/>
                  </a:cubicBezTo>
                  <a:cubicBezTo>
                    <a:pt x="82" y="17"/>
                    <a:pt x="81" y="18"/>
                    <a:pt x="81" y="18"/>
                  </a:cubicBezTo>
                  <a:cubicBezTo>
                    <a:pt x="81" y="18"/>
                    <a:pt x="82" y="19"/>
                    <a:pt x="82" y="19"/>
                  </a:cubicBezTo>
                  <a:cubicBezTo>
                    <a:pt x="82" y="19"/>
                    <a:pt x="83" y="19"/>
                    <a:pt x="83" y="19"/>
                  </a:cubicBezTo>
                  <a:cubicBezTo>
                    <a:pt x="84" y="19"/>
                    <a:pt x="83" y="19"/>
                    <a:pt x="83" y="19"/>
                  </a:cubicBezTo>
                  <a:cubicBezTo>
                    <a:pt x="83" y="20"/>
                    <a:pt x="83" y="20"/>
                    <a:pt x="83" y="20"/>
                  </a:cubicBezTo>
                  <a:cubicBezTo>
                    <a:pt x="83" y="20"/>
                    <a:pt x="83" y="21"/>
                    <a:pt x="83" y="21"/>
                  </a:cubicBezTo>
                  <a:cubicBezTo>
                    <a:pt x="83" y="21"/>
                    <a:pt x="82" y="21"/>
                    <a:pt x="82" y="21"/>
                  </a:cubicBezTo>
                  <a:cubicBezTo>
                    <a:pt x="82" y="21"/>
                    <a:pt x="81" y="21"/>
                    <a:pt x="81" y="21"/>
                  </a:cubicBezTo>
                  <a:cubicBezTo>
                    <a:pt x="81" y="20"/>
                    <a:pt x="80" y="20"/>
                    <a:pt x="80" y="20"/>
                  </a:cubicBezTo>
                  <a:cubicBezTo>
                    <a:pt x="79" y="19"/>
                    <a:pt x="78" y="20"/>
                    <a:pt x="76" y="21"/>
                  </a:cubicBezTo>
                  <a:cubicBezTo>
                    <a:pt x="76" y="21"/>
                    <a:pt x="76" y="22"/>
                    <a:pt x="76" y="23"/>
                  </a:cubicBezTo>
                  <a:cubicBezTo>
                    <a:pt x="76" y="23"/>
                    <a:pt x="77" y="23"/>
                    <a:pt x="76" y="24"/>
                  </a:cubicBezTo>
                  <a:cubicBezTo>
                    <a:pt x="75" y="24"/>
                    <a:pt x="75" y="23"/>
                    <a:pt x="74" y="23"/>
                  </a:cubicBezTo>
                  <a:cubicBezTo>
                    <a:pt x="74" y="24"/>
                    <a:pt x="73" y="23"/>
                    <a:pt x="73" y="24"/>
                  </a:cubicBezTo>
                  <a:cubicBezTo>
                    <a:pt x="73" y="24"/>
                    <a:pt x="72" y="24"/>
                    <a:pt x="72" y="24"/>
                  </a:cubicBezTo>
                  <a:cubicBezTo>
                    <a:pt x="71" y="25"/>
                    <a:pt x="71" y="24"/>
                    <a:pt x="71" y="24"/>
                  </a:cubicBezTo>
                  <a:cubicBezTo>
                    <a:pt x="70" y="24"/>
                    <a:pt x="70" y="24"/>
                    <a:pt x="70" y="24"/>
                  </a:cubicBezTo>
                  <a:cubicBezTo>
                    <a:pt x="69" y="23"/>
                    <a:pt x="67" y="24"/>
                    <a:pt x="66" y="24"/>
                  </a:cubicBezTo>
                  <a:cubicBezTo>
                    <a:pt x="65" y="24"/>
                    <a:pt x="65" y="24"/>
                    <a:pt x="65" y="24"/>
                  </a:cubicBezTo>
                  <a:cubicBezTo>
                    <a:pt x="64" y="24"/>
                    <a:pt x="62" y="24"/>
                    <a:pt x="61" y="25"/>
                  </a:cubicBezTo>
                  <a:cubicBezTo>
                    <a:pt x="61" y="25"/>
                    <a:pt x="61" y="25"/>
                    <a:pt x="61" y="25"/>
                  </a:cubicBezTo>
                  <a:cubicBezTo>
                    <a:pt x="60" y="24"/>
                    <a:pt x="59" y="24"/>
                    <a:pt x="58" y="24"/>
                  </a:cubicBezTo>
                  <a:cubicBezTo>
                    <a:pt x="57" y="24"/>
                    <a:pt x="56" y="24"/>
                    <a:pt x="56" y="24"/>
                  </a:cubicBezTo>
                  <a:cubicBezTo>
                    <a:pt x="56" y="24"/>
                    <a:pt x="55" y="25"/>
                    <a:pt x="55" y="25"/>
                  </a:cubicBezTo>
                  <a:cubicBezTo>
                    <a:pt x="55" y="25"/>
                    <a:pt x="54" y="25"/>
                    <a:pt x="54" y="24"/>
                  </a:cubicBezTo>
                  <a:cubicBezTo>
                    <a:pt x="54" y="24"/>
                    <a:pt x="53" y="24"/>
                    <a:pt x="53" y="24"/>
                  </a:cubicBezTo>
                  <a:cubicBezTo>
                    <a:pt x="52" y="24"/>
                    <a:pt x="51" y="23"/>
                    <a:pt x="51" y="23"/>
                  </a:cubicBezTo>
                  <a:cubicBezTo>
                    <a:pt x="51" y="22"/>
                    <a:pt x="51" y="22"/>
                    <a:pt x="52" y="22"/>
                  </a:cubicBezTo>
                  <a:cubicBezTo>
                    <a:pt x="53" y="22"/>
                    <a:pt x="52" y="21"/>
                    <a:pt x="53" y="21"/>
                  </a:cubicBezTo>
                  <a:cubicBezTo>
                    <a:pt x="54" y="21"/>
                    <a:pt x="54" y="21"/>
                    <a:pt x="54" y="21"/>
                  </a:cubicBezTo>
                  <a:cubicBezTo>
                    <a:pt x="54" y="21"/>
                    <a:pt x="54" y="21"/>
                    <a:pt x="53" y="21"/>
                  </a:cubicBezTo>
                  <a:cubicBezTo>
                    <a:pt x="52" y="21"/>
                    <a:pt x="53" y="20"/>
                    <a:pt x="53" y="20"/>
                  </a:cubicBezTo>
                  <a:cubicBezTo>
                    <a:pt x="53" y="20"/>
                    <a:pt x="53" y="19"/>
                    <a:pt x="53" y="19"/>
                  </a:cubicBezTo>
                  <a:cubicBezTo>
                    <a:pt x="53" y="19"/>
                    <a:pt x="53" y="19"/>
                    <a:pt x="53" y="19"/>
                  </a:cubicBezTo>
                  <a:cubicBezTo>
                    <a:pt x="53" y="19"/>
                    <a:pt x="52" y="19"/>
                    <a:pt x="52" y="19"/>
                  </a:cubicBezTo>
                  <a:cubicBezTo>
                    <a:pt x="52" y="19"/>
                    <a:pt x="50" y="19"/>
                    <a:pt x="50" y="20"/>
                  </a:cubicBezTo>
                  <a:cubicBezTo>
                    <a:pt x="50" y="20"/>
                    <a:pt x="49" y="20"/>
                    <a:pt x="48" y="21"/>
                  </a:cubicBezTo>
                  <a:cubicBezTo>
                    <a:pt x="48" y="21"/>
                    <a:pt x="48" y="21"/>
                    <a:pt x="48" y="21"/>
                  </a:cubicBezTo>
                  <a:cubicBezTo>
                    <a:pt x="49" y="21"/>
                    <a:pt x="48" y="22"/>
                    <a:pt x="49" y="22"/>
                  </a:cubicBezTo>
                  <a:cubicBezTo>
                    <a:pt x="50" y="22"/>
                    <a:pt x="49" y="23"/>
                    <a:pt x="49" y="23"/>
                  </a:cubicBezTo>
                  <a:cubicBezTo>
                    <a:pt x="50" y="23"/>
                    <a:pt x="49" y="24"/>
                    <a:pt x="49" y="24"/>
                  </a:cubicBezTo>
                  <a:cubicBezTo>
                    <a:pt x="50" y="24"/>
                    <a:pt x="50" y="24"/>
                    <a:pt x="50" y="24"/>
                  </a:cubicBezTo>
                  <a:cubicBezTo>
                    <a:pt x="50" y="25"/>
                    <a:pt x="49" y="25"/>
                    <a:pt x="49" y="25"/>
                  </a:cubicBezTo>
                  <a:cubicBezTo>
                    <a:pt x="49" y="25"/>
                    <a:pt x="48" y="25"/>
                    <a:pt x="47" y="25"/>
                  </a:cubicBezTo>
                  <a:cubicBezTo>
                    <a:pt x="47" y="25"/>
                    <a:pt x="46" y="25"/>
                    <a:pt x="46" y="25"/>
                  </a:cubicBezTo>
                  <a:cubicBezTo>
                    <a:pt x="46" y="25"/>
                    <a:pt x="46" y="25"/>
                    <a:pt x="45" y="25"/>
                  </a:cubicBezTo>
                  <a:cubicBezTo>
                    <a:pt x="44" y="25"/>
                    <a:pt x="44" y="25"/>
                    <a:pt x="43" y="25"/>
                  </a:cubicBezTo>
                  <a:cubicBezTo>
                    <a:pt x="42" y="26"/>
                    <a:pt x="42" y="26"/>
                    <a:pt x="42" y="26"/>
                  </a:cubicBezTo>
                  <a:cubicBezTo>
                    <a:pt x="43" y="27"/>
                    <a:pt x="42" y="27"/>
                    <a:pt x="42" y="27"/>
                  </a:cubicBezTo>
                  <a:cubicBezTo>
                    <a:pt x="42" y="27"/>
                    <a:pt x="42" y="27"/>
                    <a:pt x="41" y="27"/>
                  </a:cubicBezTo>
                  <a:cubicBezTo>
                    <a:pt x="41" y="26"/>
                    <a:pt x="42" y="26"/>
                    <a:pt x="41" y="26"/>
                  </a:cubicBezTo>
                  <a:cubicBezTo>
                    <a:pt x="40" y="26"/>
                    <a:pt x="41" y="26"/>
                    <a:pt x="40" y="27"/>
                  </a:cubicBezTo>
                  <a:cubicBezTo>
                    <a:pt x="40" y="27"/>
                    <a:pt x="40" y="27"/>
                    <a:pt x="40" y="27"/>
                  </a:cubicBezTo>
                  <a:cubicBezTo>
                    <a:pt x="39" y="28"/>
                    <a:pt x="38" y="28"/>
                    <a:pt x="37" y="29"/>
                  </a:cubicBezTo>
                  <a:cubicBezTo>
                    <a:pt x="37" y="29"/>
                    <a:pt x="36" y="29"/>
                    <a:pt x="36" y="29"/>
                  </a:cubicBezTo>
                  <a:cubicBezTo>
                    <a:pt x="35" y="29"/>
                    <a:pt x="34" y="29"/>
                    <a:pt x="34" y="30"/>
                  </a:cubicBezTo>
                  <a:cubicBezTo>
                    <a:pt x="34" y="30"/>
                    <a:pt x="34" y="31"/>
                    <a:pt x="33" y="31"/>
                  </a:cubicBezTo>
                  <a:cubicBezTo>
                    <a:pt x="32" y="31"/>
                    <a:pt x="32" y="31"/>
                    <a:pt x="32" y="31"/>
                  </a:cubicBezTo>
                  <a:cubicBezTo>
                    <a:pt x="30" y="32"/>
                    <a:pt x="30" y="32"/>
                    <a:pt x="28" y="31"/>
                  </a:cubicBezTo>
                  <a:cubicBezTo>
                    <a:pt x="28" y="31"/>
                    <a:pt x="28" y="31"/>
                    <a:pt x="27" y="31"/>
                  </a:cubicBezTo>
                  <a:cubicBezTo>
                    <a:pt x="27" y="32"/>
                    <a:pt x="27" y="32"/>
                    <a:pt x="27" y="32"/>
                  </a:cubicBezTo>
                  <a:cubicBezTo>
                    <a:pt x="28" y="32"/>
                    <a:pt x="28" y="33"/>
                    <a:pt x="28" y="33"/>
                  </a:cubicBezTo>
                  <a:cubicBezTo>
                    <a:pt x="28" y="33"/>
                    <a:pt x="27" y="33"/>
                    <a:pt x="27" y="33"/>
                  </a:cubicBezTo>
                  <a:cubicBezTo>
                    <a:pt x="26" y="33"/>
                    <a:pt x="25" y="33"/>
                    <a:pt x="25" y="33"/>
                  </a:cubicBezTo>
                  <a:cubicBezTo>
                    <a:pt x="25" y="33"/>
                    <a:pt x="24" y="33"/>
                    <a:pt x="23" y="33"/>
                  </a:cubicBezTo>
                  <a:cubicBezTo>
                    <a:pt x="23" y="33"/>
                    <a:pt x="22" y="33"/>
                    <a:pt x="21" y="34"/>
                  </a:cubicBezTo>
                  <a:cubicBezTo>
                    <a:pt x="21" y="34"/>
                    <a:pt x="22" y="35"/>
                    <a:pt x="23" y="35"/>
                  </a:cubicBezTo>
                  <a:cubicBezTo>
                    <a:pt x="24" y="35"/>
                    <a:pt x="25" y="35"/>
                    <a:pt x="26" y="35"/>
                  </a:cubicBezTo>
                  <a:cubicBezTo>
                    <a:pt x="26" y="35"/>
                    <a:pt x="26" y="35"/>
                    <a:pt x="26" y="35"/>
                  </a:cubicBezTo>
                  <a:cubicBezTo>
                    <a:pt x="27" y="36"/>
                    <a:pt x="27" y="36"/>
                    <a:pt x="28" y="37"/>
                  </a:cubicBezTo>
                  <a:cubicBezTo>
                    <a:pt x="29" y="37"/>
                    <a:pt x="29" y="37"/>
                    <a:pt x="29" y="37"/>
                  </a:cubicBezTo>
                  <a:cubicBezTo>
                    <a:pt x="28" y="38"/>
                    <a:pt x="29" y="39"/>
                    <a:pt x="29" y="40"/>
                  </a:cubicBezTo>
                  <a:cubicBezTo>
                    <a:pt x="29" y="41"/>
                    <a:pt x="28" y="41"/>
                    <a:pt x="26" y="41"/>
                  </a:cubicBezTo>
                  <a:cubicBezTo>
                    <a:pt x="26" y="41"/>
                    <a:pt x="25" y="41"/>
                    <a:pt x="24" y="41"/>
                  </a:cubicBezTo>
                  <a:cubicBezTo>
                    <a:pt x="24" y="41"/>
                    <a:pt x="23" y="41"/>
                    <a:pt x="23" y="41"/>
                  </a:cubicBezTo>
                  <a:cubicBezTo>
                    <a:pt x="23" y="41"/>
                    <a:pt x="22" y="42"/>
                    <a:pt x="22" y="41"/>
                  </a:cubicBezTo>
                  <a:cubicBezTo>
                    <a:pt x="21" y="41"/>
                    <a:pt x="20" y="41"/>
                    <a:pt x="19" y="41"/>
                  </a:cubicBezTo>
                  <a:cubicBezTo>
                    <a:pt x="18" y="41"/>
                    <a:pt x="17" y="42"/>
                    <a:pt x="16" y="41"/>
                  </a:cubicBezTo>
                  <a:cubicBezTo>
                    <a:pt x="16" y="41"/>
                    <a:pt x="15" y="41"/>
                    <a:pt x="15" y="42"/>
                  </a:cubicBezTo>
                  <a:cubicBezTo>
                    <a:pt x="14" y="42"/>
                    <a:pt x="14" y="42"/>
                    <a:pt x="13" y="42"/>
                  </a:cubicBezTo>
                  <a:cubicBezTo>
                    <a:pt x="13" y="42"/>
                    <a:pt x="13" y="42"/>
                    <a:pt x="13" y="42"/>
                  </a:cubicBezTo>
                  <a:cubicBezTo>
                    <a:pt x="13" y="43"/>
                    <a:pt x="13" y="43"/>
                    <a:pt x="13" y="43"/>
                  </a:cubicBezTo>
                  <a:cubicBezTo>
                    <a:pt x="13" y="43"/>
                    <a:pt x="13" y="44"/>
                    <a:pt x="13" y="44"/>
                  </a:cubicBezTo>
                  <a:cubicBezTo>
                    <a:pt x="13" y="44"/>
                    <a:pt x="13" y="44"/>
                    <a:pt x="13" y="44"/>
                  </a:cubicBezTo>
                  <a:cubicBezTo>
                    <a:pt x="13" y="44"/>
                    <a:pt x="13" y="45"/>
                    <a:pt x="13" y="45"/>
                  </a:cubicBezTo>
                  <a:cubicBezTo>
                    <a:pt x="14" y="45"/>
                    <a:pt x="14" y="46"/>
                    <a:pt x="13" y="47"/>
                  </a:cubicBezTo>
                  <a:cubicBezTo>
                    <a:pt x="13" y="47"/>
                    <a:pt x="13" y="48"/>
                    <a:pt x="13" y="48"/>
                  </a:cubicBezTo>
                  <a:cubicBezTo>
                    <a:pt x="12" y="49"/>
                    <a:pt x="12" y="49"/>
                    <a:pt x="13" y="49"/>
                  </a:cubicBezTo>
                  <a:cubicBezTo>
                    <a:pt x="13" y="49"/>
                    <a:pt x="14" y="49"/>
                    <a:pt x="14" y="50"/>
                  </a:cubicBezTo>
                  <a:cubicBezTo>
                    <a:pt x="14" y="50"/>
                    <a:pt x="13" y="50"/>
                    <a:pt x="14" y="50"/>
                  </a:cubicBezTo>
                  <a:cubicBezTo>
                    <a:pt x="14" y="51"/>
                    <a:pt x="14" y="51"/>
                    <a:pt x="14" y="51"/>
                  </a:cubicBezTo>
                  <a:cubicBezTo>
                    <a:pt x="14" y="52"/>
                    <a:pt x="14" y="52"/>
                    <a:pt x="14" y="52"/>
                  </a:cubicBezTo>
                  <a:cubicBezTo>
                    <a:pt x="14" y="51"/>
                    <a:pt x="15" y="51"/>
                    <a:pt x="15" y="51"/>
                  </a:cubicBezTo>
                  <a:cubicBezTo>
                    <a:pt x="15" y="52"/>
                    <a:pt x="16" y="51"/>
                    <a:pt x="17" y="51"/>
                  </a:cubicBezTo>
                  <a:cubicBezTo>
                    <a:pt x="18" y="51"/>
                    <a:pt x="18" y="51"/>
                    <a:pt x="19" y="52"/>
                  </a:cubicBezTo>
                  <a:cubicBezTo>
                    <a:pt x="19" y="52"/>
                    <a:pt x="19" y="52"/>
                    <a:pt x="20" y="52"/>
                  </a:cubicBezTo>
                  <a:cubicBezTo>
                    <a:pt x="20" y="53"/>
                    <a:pt x="21" y="53"/>
                    <a:pt x="21" y="53"/>
                  </a:cubicBezTo>
                  <a:cubicBezTo>
                    <a:pt x="21" y="52"/>
                    <a:pt x="22" y="52"/>
                    <a:pt x="23" y="52"/>
                  </a:cubicBezTo>
                  <a:cubicBezTo>
                    <a:pt x="23" y="51"/>
                    <a:pt x="23" y="51"/>
                    <a:pt x="24" y="51"/>
                  </a:cubicBezTo>
                  <a:cubicBezTo>
                    <a:pt x="24" y="51"/>
                    <a:pt x="25" y="51"/>
                    <a:pt x="26" y="51"/>
                  </a:cubicBezTo>
                  <a:cubicBezTo>
                    <a:pt x="27" y="51"/>
                    <a:pt x="27" y="51"/>
                    <a:pt x="28" y="50"/>
                  </a:cubicBezTo>
                  <a:cubicBezTo>
                    <a:pt x="29" y="50"/>
                    <a:pt x="29" y="50"/>
                    <a:pt x="29" y="50"/>
                  </a:cubicBezTo>
                  <a:cubicBezTo>
                    <a:pt x="30" y="49"/>
                    <a:pt x="30" y="49"/>
                    <a:pt x="30" y="49"/>
                  </a:cubicBezTo>
                  <a:cubicBezTo>
                    <a:pt x="31" y="49"/>
                    <a:pt x="31" y="48"/>
                    <a:pt x="31" y="48"/>
                  </a:cubicBezTo>
                  <a:cubicBezTo>
                    <a:pt x="32" y="48"/>
                    <a:pt x="31" y="48"/>
                    <a:pt x="31" y="47"/>
                  </a:cubicBezTo>
                  <a:cubicBezTo>
                    <a:pt x="31" y="47"/>
                    <a:pt x="31" y="47"/>
                    <a:pt x="31" y="46"/>
                  </a:cubicBezTo>
                  <a:cubicBezTo>
                    <a:pt x="31" y="46"/>
                    <a:pt x="32" y="46"/>
                    <a:pt x="32" y="46"/>
                  </a:cubicBezTo>
                  <a:cubicBezTo>
                    <a:pt x="32" y="46"/>
                    <a:pt x="33" y="45"/>
                    <a:pt x="33" y="45"/>
                  </a:cubicBezTo>
                  <a:cubicBezTo>
                    <a:pt x="33" y="44"/>
                    <a:pt x="34" y="44"/>
                    <a:pt x="35" y="44"/>
                  </a:cubicBezTo>
                  <a:cubicBezTo>
                    <a:pt x="36" y="44"/>
                    <a:pt x="36" y="44"/>
                    <a:pt x="37" y="43"/>
                  </a:cubicBezTo>
                  <a:cubicBezTo>
                    <a:pt x="38" y="43"/>
                    <a:pt x="38" y="43"/>
                    <a:pt x="38" y="42"/>
                  </a:cubicBezTo>
                  <a:cubicBezTo>
                    <a:pt x="38" y="42"/>
                    <a:pt x="38" y="41"/>
                    <a:pt x="38" y="41"/>
                  </a:cubicBezTo>
                  <a:cubicBezTo>
                    <a:pt x="38" y="41"/>
                    <a:pt x="39" y="41"/>
                    <a:pt x="39" y="40"/>
                  </a:cubicBezTo>
                  <a:cubicBezTo>
                    <a:pt x="40" y="40"/>
                    <a:pt x="40" y="41"/>
                    <a:pt x="40" y="41"/>
                  </a:cubicBezTo>
                  <a:cubicBezTo>
                    <a:pt x="41" y="41"/>
                    <a:pt x="41" y="40"/>
                    <a:pt x="42" y="40"/>
                  </a:cubicBezTo>
                  <a:cubicBezTo>
                    <a:pt x="42" y="41"/>
                    <a:pt x="42" y="41"/>
                    <a:pt x="43" y="41"/>
                  </a:cubicBezTo>
                  <a:cubicBezTo>
                    <a:pt x="43" y="41"/>
                    <a:pt x="43" y="41"/>
                    <a:pt x="44" y="41"/>
                  </a:cubicBezTo>
                  <a:cubicBezTo>
                    <a:pt x="45" y="41"/>
                    <a:pt x="45" y="40"/>
                    <a:pt x="46" y="40"/>
                  </a:cubicBezTo>
                  <a:cubicBezTo>
                    <a:pt x="47" y="40"/>
                    <a:pt x="48" y="40"/>
                    <a:pt x="49" y="39"/>
                  </a:cubicBezTo>
                  <a:cubicBezTo>
                    <a:pt x="49" y="39"/>
                    <a:pt x="50" y="39"/>
                    <a:pt x="50" y="39"/>
                  </a:cubicBezTo>
                  <a:cubicBezTo>
                    <a:pt x="51" y="39"/>
                    <a:pt x="52" y="39"/>
                    <a:pt x="52" y="40"/>
                  </a:cubicBezTo>
                  <a:cubicBezTo>
                    <a:pt x="53" y="41"/>
                    <a:pt x="54" y="42"/>
                    <a:pt x="55" y="42"/>
                  </a:cubicBezTo>
                  <a:cubicBezTo>
                    <a:pt x="55" y="42"/>
                    <a:pt x="56" y="42"/>
                    <a:pt x="56" y="43"/>
                  </a:cubicBezTo>
                  <a:cubicBezTo>
                    <a:pt x="57" y="43"/>
                    <a:pt x="57" y="44"/>
                    <a:pt x="59" y="44"/>
                  </a:cubicBezTo>
                  <a:cubicBezTo>
                    <a:pt x="59" y="44"/>
                    <a:pt x="60" y="44"/>
                    <a:pt x="60" y="44"/>
                  </a:cubicBezTo>
                  <a:cubicBezTo>
                    <a:pt x="60" y="44"/>
                    <a:pt x="61" y="45"/>
                    <a:pt x="61" y="45"/>
                  </a:cubicBezTo>
                  <a:cubicBezTo>
                    <a:pt x="62" y="45"/>
                    <a:pt x="62" y="45"/>
                    <a:pt x="62" y="45"/>
                  </a:cubicBezTo>
                  <a:cubicBezTo>
                    <a:pt x="63" y="46"/>
                    <a:pt x="63" y="46"/>
                    <a:pt x="64" y="46"/>
                  </a:cubicBezTo>
                  <a:cubicBezTo>
                    <a:pt x="64" y="46"/>
                    <a:pt x="64" y="47"/>
                    <a:pt x="64" y="47"/>
                  </a:cubicBezTo>
                  <a:cubicBezTo>
                    <a:pt x="65" y="47"/>
                    <a:pt x="64" y="48"/>
                    <a:pt x="64" y="48"/>
                  </a:cubicBezTo>
                  <a:cubicBezTo>
                    <a:pt x="64" y="49"/>
                    <a:pt x="63" y="48"/>
                    <a:pt x="63" y="48"/>
                  </a:cubicBezTo>
                  <a:cubicBezTo>
                    <a:pt x="62" y="49"/>
                    <a:pt x="60" y="49"/>
                    <a:pt x="59" y="49"/>
                  </a:cubicBezTo>
                  <a:cubicBezTo>
                    <a:pt x="58" y="49"/>
                    <a:pt x="58" y="49"/>
                    <a:pt x="57" y="49"/>
                  </a:cubicBezTo>
                  <a:cubicBezTo>
                    <a:pt x="57" y="49"/>
                    <a:pt x="57" y="49"/>
                    <a:pt x="58" y="49"/>
                  </a:cubicBezTo>
                  <a:cubicBezTo>
                    <a:pt x="59" y="50"/>
                    <a:pt x="59" y="50"/>
                    <a:pt x="60" y="50"/>
                  </a:cubicBezTo>
                  <a:cubicBezTo>
                    <a:pt x="61" y="50"/>
                    <a:pt x="62" y="51"/>
                    <a:pt x="62" y="51"/>
                  </a:cubicBezTo>
                  <a:cubicBezTo>
                    <a:pt x="62" y="50"/>
                    <a:pt x="62" y="50"/>
                    <a:pt x="63" y="49"/>
                  </a:cubicBezTo>
                  <a:cubicBezTo>
                    <a:pt x="63" y="49"/>
                    <a:pt x="63" y="49"/>
                    <a:pt x="63" y="49"/>
                  </a:cubicBezTo>
                  <a:cubicBezTo>
                    <a:pt x="64" y="49"/>
                    <a:pt x="64" y="49"/>
                    <a:pt x="65" y="49"/>
                  </a:cubicBezTo>
                  <a:cubicBezTo>
                    <a:pt x="65" y="48"/>
                    <a:pt x="65" y="48"/>
                    <a:pt x="66" y="47"/>
                  </a:cubicBezTo>
                  <a:cubicBezTo>
                    <a:pt x="66" y="47"/>
                    <a:pt x="67" y="47"/>
                    <a:pt x="66" y="47"/>
                  </a:cubicBezTo>
                  <a:cubicBezTo>
                    <a:pt x="66" y="47"/>
                    <a:pt x="66" y="46"/>
                    <a:pt x="66" y="46"/>
                  </a:cubicBezTo>
                  <a:cubicBezTo>
                    <a:pt x="65" y="46"/>
                    <a:pt x="65" y="46"/>
                    <a:pt x="65" y="46"/>
                  </a:cubicBezTo>
                  <a:cubicBezTo>
                    <a:pt x="66" y="46"/>
                    <a:pt x="66" y="45"/>
                    <a:pt x="67" y="45"/>
                  </a:cubicBezTo>
                  <a:cubicBezTo>
                    <a:pt x="67" y="45"/>
                    <a:pt x="67" y="45"/>
                    <a:pt x="68" y="46"/>
                  </a:cubicBezTo>
                  <a:cubicBezTo>
                    <a:pt x="68" y="46"/>
                    <a:pt x="68" y="46"/>
                    <a:pt x="69" y="46"/>
                  </a:cubicBezTo>
                  <a:cubicBezTo>
                    <a:pt x="69" y="46"/>
                    <a:pt x="69" y="46"/>
                    <a:pt x="69" y="45"/>
                  </a:cubicBezTo>
                  <a:cubicBezTo>
                    <a:pt x="68" y="45"/>
                    <a:pt x="67" y="45"/>
                    <a:pt x="66" y="44"/>
                  </a:cubicBezTo>
                  <a:cubicBezTo>
                    <a:pt x="65" y="44"/>
                    <a:pt x="65" y="44"/>
                    <a:pt x="64" y="43"/>
                  </a:cubicBezTo>
                  <a:cubicBezTo>
                    <a:pt x="64" y="43"/>
                    <a:pt x="64" y="43"/>
                    <a:pt x="64" y="43"/>
                  </a:cubicBezTo>
                  <a:cubicBezTo>
                    <a:pt x="64" y="43"/>
                    <a:pt x="64" y="43"/>
                    <a:pt x="64" y="43"/>
                  </a:cubicBezTo>
                  <a:cubicBezTo>
                    <a:pt x="63" y="43"/>
                    <a:pt x="63" y="43"/>
                    <a:pt x="62" y="43"/>
                  </a:cubicBezTo>
                  <a:cubicBezTo>
                    <a:pt x="61" y="42"/>
                    <a:pt x="60" y="42"/>
                    <a:pt x="60" y="41"/>
                  </a:cubicBezTo>
                  <a:cubicBezTo>
                    <a:pt x="60" y="41"/>
                    <a:pt x="59" y="40"/>
                    <a:pt x="59" y="40"/>
                  </a:cubicBezTo>
                  <a:cubicBezTo>
                    <a:pt x="58" y="40"/>
                    <a:pt x="58" y="40"/>
                    <a:pt x="57" y="39"/>
                  </a:cubicBezTo>
                  <a:cubicBezTo>
                    <a:pt x="56" y="39"/>
                    <a:pt x="58" y="38"/>
                    <a:pt x="57" y="38"/>
                  </a:cubicBezTo>
                  <a:cubicBezTo>
                    <a:pt x="57" y="38"/>
                    <a:pt x="57" y="38"/>
                    <a:pt x="57" y="38"/>
                  </a:cubicBezTo>
                  <a:cubicBezTo>
                    <a:pt x="57" y="38"/>
                    <a:pt x="57" y="38"/>
                    <a:pt x="57" y="37"/>
                  </a:cubicBezTo>
                  <a:cubicBezTo>
                    <a:pt x="58" y="37"/>
                    <a:pt x="59" y="37"/>
                    <a:pt x="60" y="37"/>
                  </a:cubicBezTo>
                  <a:cubicBezTo>
                    <a:pt x="60" y="38"/>
                    <a:pt x="60" y="38"/>
                    <a:pt x="60" y="38"/>
                  </a:cubicBezTo>
                  <a:cubicBezTo>
                    <a:pt x="60" y="38"/>
                    <a:pt x="61" y="38"/>
                    <a:pt x="62" y="38"/>
                  </a:cubicBezTo>
                  <a:cubicBezTo>
                    <a:pt x="62" y="38"/>
                    <a:pt x="62" y="38"/>
                    <a:pt x="62" y="38"/>
                  </a:cubicBezTo>
                  <a:cubicBezTo>
                    <a:pt x="62" y="38"/>
                    <a:pt x="62" y="39"/>
                    <a:pt x="62" y="39"/>
                  </a:cubicBezTo>
                  <a:cubicBezTo>
                    <a:pt x="62" y="39"/>
                    <a:pt x="63" y="39"/>
                    <a:pt x="63" y="39"/>
                  </a:cubicBezTo>
                  <a:cubicBezTo>
                    <a:pt x="63" y="40"/>
                    <a:pt x="63" y="40"/>
                    <a:pt x="63" y="40"/>
                  </a:cubicBezTo>
                  <a:cubicBezTo>
                    <a:pt x="64" y="40"/>
                    <a:pt x="64" y="41"/>
                    <a:pt x="65" y="40"/>
                  </a:cubicBezTo>
                  <a:cubicBezTo>
                    <a:pt x="66" y="40"/>
                    <a:pt x="65" y="42"/>
                    <a:pt x="66" y="41"/>
                  </a:cubicBezTo>
                  <a:cubicBezTo>
                    <a:pt x="67" y="42"/>
                    <a:pt x="69" y="42"/>
                    <a:pt x="70" y="43"/>
                  </a:cubicBezTo>
                  <a:cubicBezTo>
                    <a:pt x="71" y="43"/>
                    <a:pt x="72" y="43"/>
                    <a:pt x="71" y="44"/>
                  </a:cubicBezTo>
                  <a:cubicBezTo>
                    <a:pt x="71" y="44"/>
                    <a:pt x="72" y="45"/>
                    <a:pt x="71" y="45"/>
                  </a:cubicBezTo>
                  <a:cubicBezTo>
                    <a:pt x="71" y="45"/>
                    <a:pt x="71" y="45"/>
                    <a:pt x="71" y="46"/>
                  </a:cubicBezTo>
                  <a:cubicBezTo>
                    <a:pt x="72" y="46"/>
                    <a:pt x="72" y="46"/>
                    <a:pt x="72" y="47"/>
                  </a:cubicBezTo>
                  <a:cubicBezTo>
                    <a:pt x="72" y="47"/>
                    <a:pt x="73" y="47"/>
                    <a:pt x="73" y="47"/>
                  </a:cubicBezTo>
                  <a:cubicBezTo>
                    <a:pt x="74" y="48"/>
                    <a:pt x="74" y="49"/>
                    <a:pt x="75" y="49"/>
                  </a:cubicBezTo>
                  <a:cubicBezTo>
                    <a:pt x="75" y="49"/>
                    <a:pt x="75" y="49"/>
                    <a:pt x="75" y="49"/>
                  </a:cubicBezTo>
                  <a:cubicBezTo>
                    <a:pt x="75" y="49"/>
                    <a:pt x="75" y="50"/>
                    <a:pt x="75" y="50"/>
                  </a:cubicBezTo>
                  <a:cubicBezTo>
                    <a:pt x="75" y="50"/>
                    <a:pt x="75" y="51"/>
                    <a:pt x="75" y="51"/>
                  </a:cubicBezTo>
                  <a:cubicBezTo>
                    <a:pt x="76" y="51"/>
                    <a:pt x="76" y="51"/>
                    <a:pt x="76" y="51"/>
                  </a:cubicBezTo>
                  <a:cubicBezTo>
                    <a:pt x="77" y="52"/>
                    <a:pt x="77" y="52"/>
                    <a:pt x="78" y="51"/>
                  </a:cubicBezTo>
                  <a:cubicBezTo>
                    <a:pt x="78" y="51"/>
                    <a:pt x="78" y="52"/>
                    <a:pt x="78" y="52"/>
                  </a:cubicBezTo>
                  <a:cubicBezTo>
                    <a:pt x="78" y="51"/>
                    <a:pt x="78" y="51"/>
                    <a:pt x="78" y="51"/>
                  </a:cubicBezTo>
                  <a:cubicBezTo>
                    <a:pt x="78" y="51"/>
                    <a:pt x="78" y="51"/>
                    <a:pt x="78" y="51"/>
                  </a:cubicBezTo>
                  <a:cubicBezTo>
                    <a:pt x="78" y="50"/>
                    <a:pt x="78" y="50"/>
                    <a:pt x="78" y="50"/>
                  </a:cubicBezTo>
                  <a:cubicBezTo>
                    <a:pt x="78" y="50"/>
                    <a:pt x="78" y="50"/>
                    <a:pt x="78" y="50"/>
                  </a:cubicBezTo>
                  <a:cubicBezTo>
                    <a:pt x="78" y="50"/>
                    <a:pt x="79" y="50"/>
                    <a:pt x="79" y="50"/>
                  </a:cubicBezTo>
                  <a:cubicBezTo>
                    <a:pt x="79" y="50"/>
                    <a:pt x="79" y="50"/>
                    <a:pt x="79" y="50"/>
                  </a:cubicBezTo>
                  <a:cubicBezTo>
                    <a:pt x="79" y="50"/>
                    <a:pt x="79" y="50"/>
                    <a:pt x="79" y="50"/>
                  </a:cubicBezTo>
                  <a:cubicBezTo>
                    <a:pt x="79" y="50"/>
                    <a:pt x="79" y="50"/>
                    <a:pt x="79" y="50"/>
                  </a:cubicBezTo>
                  <a:cubicBezTo>
                    <a:pt x="80" y="50"/>
                    <a:pt x="80" y="50"/>
                    <a:pt x="80" y="50"/>
                  </a:cubicBezTo>
                  <a:cubicBezTo>
                    <a:pt x="80" y="50"/>
                    <a:pt x="80" y="50"/>
                    <a:pt x="81" y="50"/>
                  </a:cubicBezTo>
                  <a:cubicBezTo>
                    <a:pt x="81" y="50"/>
                    <a:pt x="81" y="50"/>
                    <a:pt x="81" y="50"/>
                  </a:cubicBezTo>
                  <a:cubicBezTo>
                    <a:pt x="81" y="49"/>
                    <a:pt x="81" y="49"/>
                    <a:pt x="81" y="49"/>
                  </a:cubicBezTo>
                  <a:cubicBezTo>
                    <a:pt x="80" y="49"/>
                    <a:pt x="80" y="48"/>
                    <a:pt x="79" y="48"/>
                  </a:cubicBezTo>
                  <a:cubicBezTo>
                    <a:pt x="79" y="49"/>
                    <a:pt x="78" y="49"/>
                    <a:pt x="78" y="48"/>
                  </a:cubicBezTo>
                  <a:cubicBezTo>
                    <a:pt x="78" y="48"/>
                    <a:pt x="78" y="48"/>
                    <a:pt x="78" y="48"/>
                  </a:cubicBezTo>
                  <a:cubicBezTo>
                    <a:pt x="79" y="47"/>
                    <a:pt x="79" y="47"/>
                    <a:pt x="78" y="47"/>
                  </a:cubicBezTo>
                  <a:cubicBezTo>
                    <a:pt x="78" y="47"/>
                    <a:pt x="78" y="46"/>
                    <a:pt x="78" y="46"/>
                  </a:cubicBezTo>
                  <a:cubicBezTo>
                    <a:pt x="79" y="46"/>
                    <a:pt x="79" y="46"/>
                    <a:pt x="79" y="47"/>
                  </a:cubicBezTo>
                  <a:cubicBezTo>
                    <a:pt x="81" y="45"/>
                    <a:pt x="81" y="45"/>
                    <a:pt x="82" y="45"/>
                  </a:cubicBezTo>
                  <a:cubicBezTo>
                    <a:pt x="84" y="45"/>
                    <a:pt x="85" y="46"/>
                    <a:pt x="86" y="46"/>
                  </a:cubicBezTo>
                  <a:cubicBezTo>
                    <a:pt x="85" y="47"/>
                    <a:pt x="85" y="47"/>
                    <a:pt x="85" y="48"/>
                  </a:cubicBezTo>
                  <a:cubicBezTo>
                    <a:pt x="85" y="48"/>
                    <a:pt x="85" y="48"/>
                    <a:pt x="85" y="48"/>
                  </a:cubicBezTo>
                  <a:cubicBezTo>
                    <a:pt x="86" y="48"/>
                    <a:pt x="85" y="48"/>
                    <a:pt x="85" y="48"/>
                  </a:cubicBezTo>
                  <a:cubicBezTo>
                    <a:pt x="85" y="48"/>
                    <a:pt x="86" y="48"/>
                    <a:pt x="86" y="48"/>
                  </a:cubicBezTo>
                  <a:cubicBezTo>
                    <a:pt x="86" y="48"/>
                    <a:pt x="86" y="49"/>
                    <a:pt x="86" y="49"/>
                  </a:cubicBezTo>
                  <a:cubicBezTo>
                    <a:pt x="86" y="49"/>
                    <a:pt x="85" y="49"/>
                    <a:pt x="84" y="49"/>
                  </a:cubicBezTo>
                  <a:cubicBezTo>
                    <a:pt x="84" y="49"/>
                    <a:pt x="84" y="49"/>
                    <a:pt x="84" y="49"/>
                  </a:cubicBezTo>
                  <a:cubicBezTo>
                    <a:pt x="84" y="49"/>
                    <a:pt x="84" y="50"/>
                    <a:pt x="85" y="50"/>
                  </a:cubicBezTo>
                  <a:cubicBezTo>
                    <a:pt x="86" y="50"/>
                    <a:pt x="87" y="50"/>
                    <a:pt x="87" y="51"/>
                  </a:cubicBezTo>
                  <a:cubicBezTo>
                    <a:pt x="87" y="51"/>
                    <a:pt x="87" y="52"/>
                    <a:pt x="88" y="52"/>
                  </a:cubicBezTo>
                  <a:cubicBezTo>
                    <a:pt x="88" y="52"/>
                    <a:pt x="88" y="52"/>
                    <a:pt x="88" y="52"/>
                  </a:cubicBezTo>
                  <a:cubicBezTo>
                    <a:pt x="88" y="52"/>
                    <a:pt x="88" y="53"/>
                    <a:pt x="89" y="52"/>
                  </a:cubicBezTo>
                  <a:cubicBezTo>
                    <a:pt x="90" y="52"/>
                    <a:pt x="90" y="53"/>
                    <a:pt x="91" y="53"/>
                  </a:cubicBezTo>
                  <a:cubicBezTo>
                    <a:pt x="91" y="53"/>
                    <a:pt x="91" y="53"/>
                    <a:pt x="92" y="53"/>
                  </a:cubicBezTo>
                  <a:cubicBezTo>
                    <a:pt x="92" y="53"/>
                    <a:pt x="93" y="53"/>
                    <a:pt x="93" y="53"/>
                  </a:cubicBezTo>
                  <a:cubicBezTo>
                    <a:pt x="94" y="52"/>
                    <a:pt x="94" y="53"/>
                    <a:pt x="95" y="53"/>
                  </a:cubicBezTo>
                  <a:cubicBezTo>
                    <a:pt x="95" y="53"/>
                    <a:pt x="96" y="53"/>
                    <a:pt x="97" y="54"/>
                  </a:cubicBezTo>
                  <a:cubicBezTo>
                    <a:pt x="97" y="54"/>
                    <a:pt x="98" y="54"/>
                    <a:pt x="99" y="54"/>
                  </a:cubicBezTo>
                  <a:cubicBezTo>
                    <a:pt x="100" y="54"/>
                    <a:pt x="100" y="54"/>
                    <a:pt x="101" y="54"/>
                  </a:cubicBezTo>
                  <a:cubicBezTo>
                    <a:pt x="101" y="54"/>
                    <a:pt x="102" y="54"/>
                    <a:pt x="102" y="54"/>
                  </a:cubicBezTo>
                  <a:cubicBezTo>
                    <a:pt x="102" y="54"/>
                    <a:pt x="103" y="54"/>
                    <a:pt x="103" y="54"/>
                  </a:cubicBezTo>
                  <a:cubicBezTo>
                    <a:pt x="104" y="54"/>
                    <a:pt x="104" y="54"/>
                    <a:pt x="105" y="54"/>
                  </a:cubicBezTo>
                  <a:cubicBezTo>
                    <a:pt x="104" y="54"/>
                    <a:pt x="104" y="54"/>
                    <a:pt x="104" y="55"/>
                  </a:cubicBezTo>
                  <a:cubicBezTo>
                    <a:pt x="104" y="55"/>
                    <a:pt x="103" y="55"/>
                    <a:pt x="104" y="56"/>
                  </a:cubicBezTo>
                  <a:cubicBezTo>
                    <a:pt x="105" y="56"/>
                    <a:pt x="104" y="57"/>
                    <a:pt x="103" y="58"/>
                  </a:cubicBezTo>
                  <a:cubicBezTo>
                    <a:pt x="102" y="58"/>
                    <a:pt x="102" y="59"/>
                    <a:pt x="101" y="60"/>
                  </a:cubicBezTo>
                  <a:cubicBezTo>
                    <a:pt x="101" y="61"/>
                    <a:pt x="100" y="62"/>
                    <a:pt x="99" y="62"/>
                  </a:cubicBezTo>
                  <a:cubicBezTo>
                    <a:pt x="98" y="62"/>
                    <a:pt x="97" y="61"/>
                    <a:pt x="95" y="61"/>
                  </a:cubicBezTo>
                  <a:cubicBezTo>
                    <a:pt x="95" y="61"/>
                    <a:pt x="95" y="61"/>
                    <a:pt x="95" y="61"/>
                  </a:cubicBezTo>
                  <a:cubicBezTo>
                    <a:pt x="95" y="61"/>
                    <a:pt x="95" y="61"/>
                    <a:pt x="94" y="61"/>
                  </a:cubicBezTo>
                  <a:cubicBezTo>
                    <a:pt x="93" y="61"/>
                    <a:pt x="92" y="61"/>
                    <a:pt x="91" y="61"/>
                  </a:cubicBezTo>
                  <a:cubicBezTo>
                    <a:pt x="90" y="61"/>
                    <a:pt x="90" y="61"/>
                    <a:pt x="89" y="61"/>
                  </a:cubicBezTo>
                  <a:cubicBezTo>
                    <a:pt x="89" y="61"/>
                    <a:pt x="88" y="61"/>
                    <a:pt x="87" y="61"/>
                  </a:cubicBezTo>
                  <a:cubicBezTo>
                    <a:pt x="86" y="60"/>
                    <a:pt x="85" y="60"/>
                    <a:pt x="84" y="60"/>
                  </a:cubicBezTo>
                  <a:cubicBezTo>
                    <a:pt x="83" y="59"/>
                    <a:pt x="83" y="60"/>
                    <a:pt x="82" y="60"/>
                  </a:cubicBezTo>
                  <a:cubicBezTo>
                    <a:pt x="82" y="59"/>
                    <a:pt x="82" y="59"/>
                    <a:pt x="81" y="59"/>
                  </a:cubicBezTo>
                  <a:cubicBezTo>
                    <a:pt x="81" y="59"/>
                    <a:pt x="81" y="59"/>
                    <a:pt x="81" y="59"/>
                  </a:cubicBezTo>
                  <a:cubicBezTo>
                    <a:pt x="80" y="59"/>
                    <a:pt x="79" y="59"/>
                    <a:pt x="78" y="58"/>
                  </a:cubicBezTo>
                  <a:cubicBezTo>
                    <a:pt x="78" y="58"/>
                    <a:pt x="77" y="57"/>
                    <a:pt x="77" y="57"/>
                  </a:cubicBezTo>
                  <a:cubicBezTo>
                    <a:pt x="76" y="57"/>
                    <a:pt x="75" y="57"/>
                    <a:pt x="74" y="57"/>
                  </a:cubicBezTo>
                  <a:cubicBezTo>
                    <a:pt x="73" y="57"/>
                    <a:pt x="73" y="57"/>
                    <a:pt x="72" y="58"/>
                  </a:cubicBezTo>
                  <a:cubicBezTo>
                    <a:pt x="72" y="58"/>
                    <a:pt x="71" y="59"/>
                    <a:pt x="72" y="59"/>
                  </a:cubicBezTo>
                  <a:cubicBezTo>
                    <a:pt x="72" y="60"/>
                    <a:pt x="72" y="60"/>
                    <a:pt x="71" y="61"/>
                  </a:cubicBezTo>
                  <a:cubicBezTo>
                    <a:pt x="71" y="61"/>
                    <a:pt x="70" y="61"/>
                    <a:pt x="70" y="61"/>
                  </a:cubicBezTo>
                  <a:cubicBezTo>
                    <a:pt x="70" y="61"/>
                    <a:pt x="69" y="61"/>
                    <a:pt x="69" y="60"/>
                  </a:cubicBezTo>
                  <a:cubicBezTo>
                    <a:pt x="68" y="60"/>
                    <a:pt x="67" y="59"/>
                    <a:pt x="65" y="59"/>
                  </a:cubicBezTo>
                  <a:cubicBezTo>
                    <a:pt x="64" y="59"/>
                    <a:pt x="62" y="59"/>
                    <a:pt x="63" y="58"/>
                  </a:cubicBezTo>
                  <a:cubicBezTo>
                    <a:pt x="63" y="58"/>
                    <a:pt x="62" y="57"/>
                    <a:pt x="61" y="57"/>
                  </a:cubicBezTo>
                  <a:cubicBezTo>
                    <a:pt x="60" y="56"/>
                    <a:pt x="59" y="57"/>
                    <a:pt x="57" y="57"/>
                  </a:cubicBezTo>
                  <a:cubicBezTo>
                    <a:pt x="57" y="57"/>
                    <a:pt x="56" y="56"/>
                    <a:pt x="56" y="56"/>
                  </a:cubicBezTo>
                  <a:cubicBezTo>
                    <a:pt x="55" y="56"/>
                    <a:pt x="54" y="56"/>
                    <a:pt x="54" y="55"/>
                  </a:cubicBezTo>
                  <a:cubicBezTo>
                    <a:pt x="54" y="55"/>
                    <a:pt x="54" y="55"/>
                    <a:pt x="53" y="55"/>
                  </a:cubicBezTo>
                  <a:cubicBezTo>
                    <a:pt x="53" y="56"/>
                    <a:pt x="53" y="55"/>
                    <a:pt x="52" y="55"/>
                  </a:cubicBezTo>
                  <a:cubicBezTo>
                    <a:pt x="52" y="55"/>
                    <a:pt x="52" y="54"/>
                    <a:pt x="52" y="54"/>
                  </a:cubicBezTo>
                  <a:cubicBezTo>
                    <a:pt x="53" y="54"/>
                    <a:pt x="54" y="54"/>
                    <a:pt x="54" y="53"/>
                  </a:cubicBezTo>
                  <a:cubicBezTo>
                    <a:pt x="54" y="53"/>
                    <a:pt x="54" y="53"/>
                    <a:pt x="54" y="52"/>
                  </a:cubicBezTo>
                  <a:cubicBezTo>
                    <a:pt x="53" y="51"/>
                    <a:pt x="53" y="51"/>
                    <a:pt x="54" y="51"/>
                  </a:cubicBezTo>
                  <a:cubicBezTo>
                    <a:pt x="54" y="50"/>
                    <a:pt x="54" y="50"/>
                    <a:pt x="54" y="50"/>
                  </a:cubicBezTo>
                  <a:cubicBezTo>
                    <a:pt x="53" y="50"/>
                    <a:pt x="52" y="51"/>
                    <a:pt x="52" y="50"/>
                  </a:cubicBezTo>
                  <a:cubicBezTo>
                    <a:pt x="52" y="50"/>
                    <a:pt x="51" y="49"/>
                    <a:pt x="50" y="50"/>
                  </a:cubicBezTo>
                  <a:cubicBezTo>
                    <a:pt x="50" y="50"/>
                    <a:pt x="49" y="50"/>
                    <a:pt x="48" y="50"/>
                  </a:cubicBezTo>
                  <a:cubicBezTo>
                    <a:pt x="47" y="50"/>
                    <a:pt x="46" y="50"/>
                    <a:pt x="45" y="50"/>
                  </a:cubicBezTo>
                  <a:cubicBezTo>
                    <a:pt x="45" y="50"/>
                    <a:pt x="44" y="50"/>
                    <a:pt x="43" y="51"/>
                  </a:cubicBezTo>
                  <a:cubicBezTo>
                    <a:pt x="43" y="51"/>
                    <a:pt x="42" y="51"/>
                    <a:pt x="42" y="51"/>
                  </a:cubicBezTo>
                  <a:cubicBezTo>
                    <a:pt x="41" y="50"/>
                    <a:pt x="40" y="50"/>
                    <a:pt x="39" y="50"/>
                  </a:cubicBezTo>
                  <a:cubicBezTo>
                    <a:pt x="38" y="51"/>
                    <a:pt x="37" y="51"/>
                    <a:pt x="35" y="51"/>
                  </a:cubicBezTo>
                  <a:cubicBezTo>
                    <a:pt x="34" y="51"/>
                    <a:pt x="33" y="51"/>
                    <a:pt x="33" y="52"/>
                  </a:cubicBezTo>
                  <a:cubicBezTo>
                    <a:pt x="32" y="52"/>
                    <a:pt x="31" y="52"/>
                    <a:pt x="31" y="52"/>
                  </a:cubicBezTo>
                  <a:cubicBezTo>
                    <a:pt x="30" y="52"/>
                    <a:pt x="29" y="53"/>
                    <a:pt x="29" y="53"/>
                  </a:cubicBezTo>
                  <a:cubicBezTo>
                    <a:pt x="29" y="53"/>
                    <a:pt x="28" y="53"/>
                    <a:pt x="28" y="54"/>
                  </a:cubicBezTo>
                  <a:cubicBezTo>
                    <a:pt x="27" y="54"/>
                    <a:pt x="27" y="54"/>
                    <a:pt x="26" y="54"/>
                  </a:cubicBezTo>
                  <a:cubicBezTo>
                    <a:pt x="25" y="53"/>
                    <a:pt x="24" y="53"/>
                    <a:pt x="23" y="54"/>
                  </a:cubicBezTo>
                  <a:cubicBezTo>
                    <a:pt x="23" y="54"/>
                    <a:pt x="23" y="54"/>
                    <a:pt x="23" y="54"/>
                  </a:cubicBezTo>
                  <a:cubicBezTo>
                    <a:pt x="22" y="54"/>
                    <a:pt x="22" y="54"/>
                    <a:pt x="22" y="53"/>
                  </a:cubicBezTo>
                  <a:cubicBezTo>
                    <a:pt x="20" y="53"/>
                    <a:pt x="20" y="53"/>
                    <a:pt x="20" y="54"/>
                  </a:cubicBezTo>
                  <a:cubicBezTo>
                    <a:pt x="20" y="54"/>
                    <a:pt x="19" y="54"/>
                    <a:pt x="19" y="54"/>
                  </a:cubicBezTo>
                  <a:cubicBezTo>
                    <a:pt x="19" y="55"/>
                    <a:pt x="18" y="56"/>
                    <a:pt x="17" y="56"/>
                  </a:cubicBezTo>
                  <a:cubicBezTo>
                    <a:pt x="14" y="57"/>
                    <a:pt x="14" y="57"/>
                    <a:pt x="13" y="59"/>
                  </a:cubicBezTo>
                  <a:cubicBezTo>
                    <a:pt x="13" y="59"/>
                    <a:pt x="13" y="60"/>
                    <a:pt x="13" y="60"/>
                  </a:cubicBezTo>
                  <a:cubicBezTo>
                    <a:pt x="12" y="60"/>
                    <a:pt x="12" y="61"/>
                    <a:pt x="13" y="61"/>
                  </a:cubicBezTo>
                  <a:cubicBezTo>
                    <a:pt x="13" y="62"/>
                    <a:pt x="13" y="62"/>
                    <a:pt x="13" y="63"/>
                  </a:cubicBezTo>
                  <a:cubicBezTo>
                    <a:pt x="12" y="64"/>
                    <a:pt x="10" y="65"/>
                    <a:pt x="8" y="66"/>
                  </a:cubicBezTo>
                  <a:cubicBezTo>
                    <a:pt x="7" y="66"/>
                    <a:pt x="7" y="66"/>
                    <a:pt x="7" y="67"/>
                  </a:cubicBezTo>
                  <a:cubicBezTo>
                    <a:pt x="7" y="68"/>
                    <a:pt x="5" y="68"/>
                    <a:pt x="5" y="69"/>
                  </a:cubicBezTo>
                  <a:cubicBezTo>
                    <a:pt x="4" y="70"/>
                    <a:pt x="4" y="70"/>
                    <a:pt x="4" y="71"/>
                  </a:cubicBezTo>
                  <a:cubicBezTo>
                    <a:pt x="4" y="71"/>
                    <a:pt x="4" y="71"/>
                    <a:pt x="3" y="72"/>
                  </a:cubicBezTo>
                  <a:cubicBezTo>
                    <a:pt x="3" y="72"/>
                    <a:pt x="2" y="73"/>
                    <a:pt x="2" y="74"/>
                  </a:cubicBezTo>
                  <a:cubicBezTo>
                    <a:pt x="1" y="74"/>
                    <a:pt x="1" y="75"/>
                    <a:pt x="1" y="76"/>
                  </a:cubicBezTo>
                  <a:cubicBezTo>
                    <a:pt x="0" y="76"/>
                    <a:pt x="0" y="77"/>
                    <a:pt x="0" y="77"/>
                  </a:cubicBezTo>
                  <a:cubicBezTo>
                    <a:pt x="0" y="77"/>
                    <a:pt x="1" y="78"/>
                    <a:pt x="1" y="78"/>
                  </a:cubicBezTo>
                  <a:cubicBezTo>
                    <a:pt x="2" y="78"/>
                    <a:pt x="2" y="78"/>
                    <a:pt x="2" y="79"/>
                  </a:cubicBezTo>
                  <a:cubicBezTo>
                    <a:pt x="2" y="80"/>
                    <a:pt x="2" y="80"/>
                    <a:pt x="3" y="82"/>
                  </a:cubicBezTo>
                  <a:cubicBezTo>
                    <a:pt x="3" y="82"/>
                    <a:pt x="3" y="82"/>
                    <a:pt x="3" y="82"/>
                  </a:cubicBezTo>
                  <a:cubicBezTo>
                    <a:pt x="2" y="83"/>
                    <a:pt x="2" y="84"/>
                    <a:pt x="2" y="85"/>
                  </a:cubicBezTo>
                  <a:cubicBezTo>
                    <a:pt x="2" y="85"/>
                    <a:pt x="2" y="86"/>
                    <a:pt x="1" y="86"/>
                  </a:cubicBezTo>
                  <a:cubicBezTo>
                    <a:pt x="1" y="87"/>
                    <a:pt x="1" y="87"/>
                    <a:pt x="1" y="87"/>
                  </a:cubicBezTo>
                  <a:cubicBezTo>
                    <a:pt x="1" y="87"/>
                    <a:pt x="2" y="88"/>
                    <a:pt x="2" y="88"/>
                  </a:cubicBezTo>
                  <a:cubicBezTo>
                    <a:pt x="2" y="88"/>
                    <a:pt x="3" y="88"/>
                    <a:pt x="2" y="89"/>
                  </a:cubicBezTo>
                  <a:cubicBezTo>
                    <a:pt x="2" y="89"/>
                    <a:pt x="2" y="89"/>
                    <a:pt x="2" y="90"/>
                  </a:cubicBezTo>
                  <a:cubicBezTo>
                    <a:pt x="2" y="90"/>
                    <a:pt x="3" y="90"/>
                    <a:pt x="2" y="90"/>
                  </a:cubicBezTo>
                  <a:cubicBezTo>
                    <a:pt x="2" y="90"/>
                    <a:pt x="2" y="90"/>
                    <a:pt x="2" y="90"/>
                  </a:cubicBezTo>
                  <a:cubicBezTo>
                    <a:pt x="3" y="91"/>
                    <a:pt x="3" y="91"/>
                    <a:pt x="4" y="91"/>
                  </a:cubicBezTo>
                  <a:cubicBezTo>
                    <a:pt x="5" y="91"/>
                    <a:pt x="5" y="91"/>
                    <a:pt x="5" y="91"/>
                  </a:cubicBezTo>
                  <a:cubicBezTo>
                    <a:pt x="5" y="92"/>
                    <a:pt x="6" y="92"/>
                    <a:pt x="6" y="92"/>
                  </a:cubicBezTo>
                  <a:cubicBezTo>
                    <a:pt x="7" y="92"/>
                    <a:pt x="7" y="92"/>
                    <a:pt x="7" y="93"/>
                  </a:cubicBezTo>
                  <a:cubicBezTo>
                    <a:pt x="7" y="93"/>
                    <a:pt x="7" y="93"/>
                    <a:pt x="7" y="93"/>
                  </a:cubicBezTo>
                  <a:cubicBezTo>
                    <a:pt x="9" y="94"/>
                    <a:pt x="9" y="94"/>
                    <a:pt x="10" y="95"/>
                  </a:cubicBezTo>
                  <a:cubicBezTo>
                    <a:pt x="10" y="96"/>
                    <a:pt x="10" y="97"/>
                    <a:pt x="11" y="97"/>
                  </a:cubicBezTo>
                  <a:cubicBezTo>
                    <a:pt x="12" y="97"/>
                    <a:pt x="12" y="97"/>
                    <a:pt x="13" y="98"/>
                  </a:cubicBezTo>
                  <a:cubicBezTo>
                    <a:pt x="13" y="98"/>
                    <a:pt x="14" y="98"/>
                    <a:pt x="14" y="98"/>
                  </a:cubicBezTo>
                  <a:cubicBezTo>
                    <a:pt x="15" y="99"/>
                    <a:pt x="17" y="100"/>
                    <a:pt x="18" y="100"/>
                  </a:cubicBezTo>
                  <a:cubicBezTo>
                    <a:pt x="19" y="101"/>
                    <a:pt x="20" y="101"/>
                    <a:pt x="22" y="100"/>
                  </a:cubicBezTo>
                  <a:cubicBezTo>
                    <a:pt x="23" y="100"/>
                    <a:pt x="24" y="99"/>
                    <a:pt x="25" y="99"/>
                  </a:cubicBezTo>
                  <a:cubicBezTo>
                    <a:pt x="26" y="99"/>
                    <a:pt x="26" y="99"/>
                    <a:pt x="26" y="99"/>
                  </a:cubicBezTo>
                  <a:cubicBezTo>
                    <a:pt x="27" y="99"/>
                    <a:pt x="27" y="99"/>
                    <a:pt x="28" y="99"/>
                  </a:cubicBezTo>
                  <a:cubicBezTo>
                    <a:pt x="29" y="99"/>
                    <a:pt x="29" y="99"/>
                    <a:pt x="30" y="99"/>
                  </a:cubicBezTo>
                  <a:cubicBezTo>
                    <a:pt x="31" y="99"/>
                    <a:pt x="31" y="99"/>
                    <a:pt x="32" y="99"/>
                  </a:cubicBezTo>
                  <a:cubicBezTo>
                    <a:pt x="33" y="99"/>
                    <a:pt x="33" y="98"/>
                    <a:pt x="34" y="98"/>
                  </a:cubicBezTo>
                  <a:cubicBezTo>
                    <a:pt x="34" y="98"/>
                    <a:pt x="35" y="98"/>
                    <a:pt x="35" y="98"/>
                  </a:cubicBezTo>
                  <a:cubicBezTo>
                    <a:pt x="36" y="98"/>
                    <a:pt x="36" y="97"/>
                    <a:pt x="37" y="97"/>
                  </a:cubicBezTo>
                  <a:cubicBezTo>
                    <a:pt x="37" y="97"/>
                    <a:pt x="37" y="97"/>
                    <a:pt x="38" y="97"/>
                  </a:cubicBezTo>
                  <a:cubicBezTo>
                    <a:pt x="38" y="97"/>
                    <a:pt x="39" y="97"/>
                    <a:pt x="40" y="97"/>
                  </a:cubicBezTo>
                  <a:cubicBezTo>
                    <a:pt x="40" y="96"/>
                    <a:pt x="40" y="97"/>
                    <a:pt x="41" y="97"/>
                  </a:cubicBezTo>
                  <a:cubicBezTo>
                    <a:pt x="42" y="97"/>
                    <a:pt x="43" y="98"/>
                    <a:pt x="44" y="99"/>
                  </a:cubicBezTo>
                  <a:cubicBezTo>
                    <a:pt x="44" y="99"/>
                    <a:pt x="44" y="100"/>
                    <a:pt x="45" y="100"/>
                  </a:cubicBezTo>
                  <a:cubicBezTo>
                    <a:pt x="45" y="100"/>
                    <a:pt x="45" y="100"/>
                    <a:pt x="46" y="100"/>
                  </a:cubicBezTo>
                  <a:cubicBezTo>
                    <a:pt x="46" y="100"/>
                    <a:pt x="47" y="99"/>
                    <a:pt x="48" y="99"/>
                  </a:cubicBezTo>
                  <a:cubicBezTo>
                    <a:pt x="48" y="99"/>
                    <a:pt x="48" y="99"/>
                    <a:pt x="48" y="99"/>
                  </a:cubicBezTo>
                  <a:cubicBezTo>
                    <a:pt x="49" y="99"/>
                    <a:pt x="49" y="99"/>
                    <a:pt x="50" y="100"/>
                  </a:cubicBezTo>
                  <a:cubicBezTo>
                    <a:pt x="50" y="100"/>
                    <a:pt x="50" y="101"/>
                    <a:pt x="51" y="100"/>
                  </a:cubicBezTo>
                  <a:cubicBezTo>
                    <a:pt x="51" y="100"/>
                    <a:pt x="52" y="100"/>
                    <a:pt x="51" y="100"/>
                  </a:cubicBezTo>
                  <a:cubicBezTo>
                    <a:pt x="51" y="101"/>
                    <a:pt x="51" y="101"/>
                    <a:pt x="51" y="101"/>
                  </a:cubicBezTo>
                  <a:cubicBezTo>
                    <a:pt x="52" y="101"/>
                    <a:pt x="51" y="102"/>
                    <a:pt x="51" y="102"/>
                  </a:cubicBezTo>
                  <a:cubicBezTo>
                    <a:pt x="51" y="102"/>
                    <a:pt x="52" y="103"/>
                    <a:pt x="51" y="104"/>
                  </a:cubicBezTo>
                  <a:cubicBezTo>
                    <a:pt x="50" y="104"/>
                    <a:pt x="51" y="105"/>
                    <a:pt x="51" y="105"/>
                  </a:cubicBezTo>
                  <a:cubicBezTo>
                    <a:pt x="50" y="106"/>
                    <a:pt x="51" y="106"/>
                    <a:pt x="51" y="106"/>
                  </a:cubicBezTo>
                  <a:cubicBezTo>
                    <a:pt x="51" y="107"/>
                    <a:pt x="50" y="107"/>
                    <a:pt x="50" y="107"/>
                  </a:cubicBezTo>
                  <a:cubicBezTo>
                    <a:pt x="50" y="107"/>
                    <a:pt x="49" y="107"/>
                    <a:pt x="50" y="108"/>
                  </a:cubicBezTo>
                  <a:cubicBezTo>
                    <a:pt x="50" y="108"/>
                    <a:pt x="51" y="109"/>
                    <a:pt x="51" y="110"/>
                  </a:cubicBezTo>
                  <a:cubicBezTo>
                    <a:pt x="52" y="111"/>
                    <a:pt x="53" y="112"/>
                    <a:pt x="54" y="112"/>
                  </a:cubicBezTo>
                  <a:cubicBezTo>
                    <a:pt x="54" y="113"/>
                    <a:pt x="55" y="113"/>
                    <a:pt x="55" y="114"/>
                  </a:cubicBezTo>
                  <a:cubicBezTo>
                    <a:pt x="55" y="114"/>
                    <a:pt x="56" y="115"/>
                    <a:pt x="56" y="115"/>
                  </a:cubicBezTo>
                  <a:cubicBezTo>
                    <a:pt x="55" y="116"/>
                    <a:pt x="56" y="116"/>
                    <a:pt x="56" y="117"/>
                  </a:cubicBezTo>
                  <a:cubicBezTo>
                    <a:pt x="56" y="117"/>
                    <a:pt x="57" y="118"/>
                    <a:pt x="57" y="119"/>
                  </a:cubicBezTo>
                  <a:cubicBezTo>
                    <a:pt x="58" y="119"/>
                    <a:pt x="58" y="119"/>
                    <a:pt x="57" y="120"/>
                  </a:cubicBezTo>
                  <a:cubicBezTo>
                    <a:pt x="57" y="120"/>
                    <a:pt x="57" y="120"/>
                    <a:pt x="57" y="121"/>
                  </a:cubicBezTo>
                  <a:cubicBezTo>
                    <a:pt x="57" y="121"/>
                    <a:pt x="57" y="121"/>
                    <a:pt x="57" y="121"/>
                  </a:cubicBezTo>
                  <a:cubicBezTo>
                    <a:pt x="57" y="122"/>
                    <a:pt x="58" y="122"/>
                    <a:pt x="58" y="123"/>
                  </a:cubicBezTo>
                  <a:cubicBezTo>
                    <a:pt x="58" y="123"/>
                    <a:pt x="58" y="124"/>
                    <a:pt x="57" y="125"/>
                  </a:cubicBezTo>
                  <a:cubicBezTo>
                    <a:pt x="57" y="126"/>
                    <a:pt x="56" y="126"/>
                    <a:pt x="56" y="127"/>
                  </a:cubicBezTo>
                  <a:cubicBezTo>
                    <a:pt x="55" y="128"/>
                    <a:pt x="56" y="128"/>
                    <a:pt x="55" y="129"/>
                  </a:cubicBezTo>
                  <a:cubicBezTo>
                    <a:pt x="55" y="130"/>
                    <a:pt x="55" y="131"/>
                    <a:pt x="55" y="132"/>
                  </a:cubicBezTo>
                  <a:cubicBezTo>
                    <a:pt x="55" y="132"/>
                    <a:pt x="55" y="132"/>
                    <a:pt x="55" y="133"/>
                  </a:cubicBezTo>
                  <a:cubicBezTo>
                    <a:pt x="55" y="133"/>
                    <a:pt x="55" y="134"/>
                    <a:pt x="55" y="135"/>
                  </a:cubicBezTo>
                  <a:cubicBezTo>
                    <a:pt x="56" y="136"/>
                    <a:pt x="57" y="137"/>
                    <a:pt x="57" y="138"/>
                  </a:cubicBezTo>
                  <a:cubicBezTo>
                    <a:pt x="57" y="138"/>
                    <a:pt x="57" y="138"/>
                    <a:pt x="57" y="139"/>
                  </a:cubicBezTo>
                  <a:cubicBezTo>
                    <a:pt x="58" y="140"/>
                    <a:pt x="59" y="141"/>
                    <a:pt x="59" y="142"/>
                  </a:cubicBezTo>
                  <a:cubicBezTo>
                    <a:pt x="59" y="143"/>
                    <a:pt x="59" y="143"/>
                    <a:pt x="59" y="144"/>
                  </a:cubicBezTo>
                  <a:cubicBezTo>
                    <a:pt x="59" y="145"/>
                    <a:pt x="59" y="146"/>
                    <a:pt x="60" y="147"/>
                  </a:cubicBezTo>
                  <a:cubicBezTo>
                    <a:pt x="60" y="148"/>
                    <a:pt x="60" y="149"/>
                    <a:pt x="61" y="150"/>
                  </a:cubicBezTo>
                  <a:cubicBezTo>
                    <a:pt x="62" y="150"/>
                    <a:pt x="62" y="150"/>
                    <a:pt x="62" y="151"/>
                  </a:cubicBezTo>
                  <a:cubicBezTo>
                    <a:pt x="63" y="152"/>
                    <a:pt x="63" y="153"/>
                    <a:pt x="63" y="154"/>
                  </a:cubicBezTo>
                  <a:cubicBezTo>
                    <a:pt x="64" y="154"/>
                    <a:pt x="64" y="154"/>
                    <a:pt x="64" y="155"/>
                  </a:cubicBezTo>
                  <a:cubicBezTo>
                    <a:pt x="64" y="155"/>
                    <a:pt x="65" y="156"/>
                    <a:pt x="64" y="156"/>
                  </a:cubicBezTo>
                  <a:cubicBezTo>
                    <a:pt x="64" y="156"/>
                    <a:pt x="64" y="156"/>
                    <a:pt x="64" y="157"/>
                  </a:cubicBezTo>
                  <a:cubicBezTo>
                    <a:pt x="64" y="157"/>
                    <a:pt x="64" y="158"/>
                    <a:pt x="64" y="158"/>
                  </a:cubicBezTo>
                  <a:cubicBezTo>
                    <a:pt x="64" y="158"/>
                    <a:pt x="65" y="159"/>
                    <a:pt x="66" y="159"/>
                  </a:cubicBezTo>
                  <a:cubicBezTo>
                    <a:pt x="66" y="159"/>
                    <a:pt x="66" y="159"/>
                    <a:pt x="66" y="159"/>
                  </a:cubicBezTo>
                  <a:cubicBezTo>
                    <a:pt x="67" y="160"/>
                    <a:pt x="67" y="160"/>
                    <a:pt x="67" y="159"/>
                  </a:cubicBezTo>
                  <a:cubicBezTo>
                    <a:pt x="67" y="159"/>
                    <a:pt x="68" y="159"/>
                    <a:pt x="69" y="159"/>
                  </a:cubicBezTo>
                  <a:cubicBezTo>
                    <a:pt x="70" y="159"/>
                    <a:pt x="71" y="159"/>
                    <a:pt x="72" y="159"/>
                  </a:cubicBezTo>
                  <a:cubicBezTo>
                    <a:pt x="72" y="159"/>
                    <a:pt x="72" y="158"/>
                    <a:pt x="72" y="158"/>
                  </a:cubicBezTo>
                  <a:cubicBezTo>
                    <a:pt x="73" y="158"/>
                    <a:pt x="73" y="159"/>
                    <a:pt x="73" y="159"/>
                  </a:cubicBezTo>
                  <a:cubicBezTo>
                    <a:pt x="74" y="159"/>
                    <a:pt x="74" y="158"/>
                    <a:pt x="75" y="159"/>
                  </a:cubicBezTo>
                  <a:cubicBezTo>
                    <a:pt x="75" y="159"/>
                    <a:pt x="75" y="159"/>
                    <a:pt x="75" y="159"/>
                  </a:cubicBezTo>
                  <a:cubicBezTo>
                    <a:pt x="75" y="158"/>
                    <a:pt x="76" y="158"/>
                    <a:pt x="76" y="158"/>
                  </a:cubicBezTo>
                  <a:cubicBezTo>
                    <a:pt x="77" y="159"/>
                    <a:pt x="78" y="158"/>
                    <a:pt x="79" y="158"/>
                  </a:cubicBezTo>
                  <a:cubicBezTo>
                    <a:pt x="80" y="157"/>
                    <a:pt x="81" y="156"/>
                    <a:pt x="82" y="156"/>
                  </a:cubicBezTo>
                  <a:cubicBezTo>
                    <a:pt x="82" y="155"/>
                    <a:pt x="83" y="155"/>
                    <a:pt x="84" y="154"/>
                  </a:cubicBezTo>
                  <a:cubicBezTo>
                    <a:pt x="84" y="153"/>
                    <a:pt x="85" y="153"/>
                    <a:pt x="85" y="152"/>
                  </a:cubicBezTo>
                  <a:cubicBezTo>
                    <a:pt x="86" y="152"/>
                    <a:pt x="87" y="151"/>
                    <a:pt x="87" y="151"/>
                  </a:cubicBezTo>
                  <a:cubicBezTo>
                    <a:pt x="87" y="150"/>
                    <a:pt x="88" y="149"/>
                    <a:pt x="87" y="148"/>
                  </a:cubicBezTo>
                  <a:cubicBezTo>
                    <a:pt x="87" y="148"/>
                    <a:pt x="87" y="148"/>
                    <a:pt x="87" y="147"/>
                  </a:cubicBezTo>
                  <a:cubicBezTo>
                    <a:pt x="88" y="147"/>
                    <a:pt x="88" y="147"/>
                    <a:pt x="89" y="147"/>
                  </a:cubicBezTo>
                  <a:cubicBezTo>
                    <a:pt x="90" y="146"/>
                    <a:pt x="90" y="146"/>
                    <a:pt x="91" y="146"/>
                  </a:cubicBezTo>
                  <a:cubicBezTo>
                    <a:pt x="91" y="146"/>
                    <a:pt x="91" y="146"/>
                    <a:pt x="92" y="146"/>
                  </a:cubicBezTo>
                  <a:cubicBezTo>
                    <a:pt x="92" y="145"/>
                    <a:pt x="92" y="145"/>
                    <a:pt x="92" y="145"/>
                  </a:cubicBezTo>
                  <a:cubicBezTo>
                    <a:pt x="93" y="144"/>
                    <a:pt x="92" y="142"/>
                    <a:pt x="92" y="141"/>
                  </a:cubicBezTo>
                  <a:cubicBezTo>
                    <a:pt x="92" y="141"/>
                    <a:pt x="92" y="140"/>
                    <a:pt x="91" y="140"/>
                  </a:cubicBezTo>
                  <a:cubicBezTo>
                    <a:pt x="91" y="140"/>
                    <a:pt x="92" y="139"/>
                    <a:pt x="92" y="139"/>
                  </a:cubicBezTo>
                  <a:cubicBezTo>
                    <a:pt x="93" y="139"/>
                    <a:pt x="93" y="138"/>
                    <a:pt x="94" y="138"/>
                  </a:cubicBezTo>
                  <a:cubicBezTo>
                    <a:pt x="95" y="137"/>
                    <a:pt x="95" y="137"/>
                    <a:pt x="96" y="136"/>
                  </a:cubicBezTo>
                  <a:cubicBezTo>
                    <a:pt x="96" y="136"/>
                    <a:pt x="96" y="136"/>
                    <a:pt x="97" y="136"/>
                  </a:cubicBezTo>
                  <a:cubicBezTo>
                    <a:pt x="97" y="136"/>
                    <a:pt x="98" y="136"/>
                    <a:pt x="99" y="135"/>
                  </a:cubicBezTo>
                  <a:cubicBezTo>
                    <a:pt x="100" y="135"/>
                    <a:pt x="101" y="135"/>
                    <a:pt x="101" y="134"/>
                  </a:cubicBezTo>
                  <a:cubicBezTo>
                    <a:pt x="102" y="133"/>
                    <a:pt x="102" y="133"/>
                    <a:pt x="103" y="132"/>
                  </a:cubicBezTo>
                  <a:cubicBezTo>
                    <a:pt x="103" y="132"/>
                    <a:pt x="102" y="132"/>
                    <a:pt x="102" y="132"/>
                  </a:cubicBezTo>
                  <a:cubicBezTo>
                    <a:pt x="102" y="131"/>
                    <a:pt x="102" y="131"/>
                    <a:pt x="102" y="131"/>
                  </a:cubicBezTo>
                  <a:cubicBezTo>
                    <a:pt x="102" y="130"/>
                    <a:pt x="103" y="128"/>
                    <a:pt x="103" y="127"/>
                  </a:cubicBezTo>
                  <a:cubicBezTo>
                    <a:pt x="103" y="126"/>
                    <a:pt x="103" y="126"/>
                    <a:pt x="102" y="125"/>
                  </a:cubicBezTo>
                  <a:cubicBezTo>
                    <a:pt x="102" y="125"/>
                    <a:pt x="102" y="124"/>
                    <a:pt x="102" y="124"/>
                  </a:cubicBezTo>
                  <a:cubicBezTo>
                    <a:pt x="101" y="123"/>
                    <a:pt x="102" y="122"/>
                    <a:pt x="102" y="121"/>
                  </a:cubicBezTo>
                  <a:cubicBezTo>
                    <a:pt x="102" y="121"/>
                    <a:pt x="102" y="120"/>
                    <a:pt x="102" y="120"/>
                  </a:cubicBezTo>
                  <a:cubicBezTo>
                    <a:pt x="101" y="119"/>
                    <a:pt x="101" y="119"/>
                    <a:pt x="102" y="118"/>
                  </a:cubicBezTo>
                  <a:cubicBezTo>
                    <a:pt x="102" y="117"/>
                    <a:pt x="102" y="117"/>
                    <a:pt x="103" y="117"/>
                  </a:cubicBezTo>
                  <a:cubicBezTo>
                    <a:pt x="103" y="116"/>
                    <a:pt x="103" y="116"/>
                    <a:pt x="104" y="115"/>
                  </a:cubicBezTo>
                  <a:cubicBezTo>
                    <a:pt x="104" y="115"/>
                    <a:pt x="104" y="115"/>
                    <a:pt x="104" y="114"/>
                  </a:cubicBezTo>
                  <a:cubicBezTo>
                    <a:pt x="105" y="114"/>
                    <a:pt x="105" y="114"/>
                    <a:pt x="105" y="114"/>
                  </a:cubicBezTo>
                  <a:cubicBezTo>
                    <a:pt x="106" y="113"/>
                    <a:pt x="106" y="113"/>
                    <a:pt x="107" y="113"/>
                  </a:cubicBezTo>
                  <a:cubicBezTo>
                    <a:pt x="107" y="113"/>
                    <a:pt x="107" y="112"/>
                    <a:pt x="108" y="112"/>
                  </a:cubicBezTo>
                  <a:cubicBezTo>
                    <a:pt x="109" y="111"/>
                    <a:pt x="110" y="111"/>
                    <a:pt x="111" y="110"/>
                  </a:cubicBezTo>
                  <a:cubicBezTo>
                    <a:pt x="112" y="109"/>
                    <a:pt x="112" y="109"/>
                    <a:pt x="113" y="109"/>
                  </a:cubicBezTo>
                  <a:cubicBezTo>
                    <a:pt x="114" y="109"/>
                    <a:pt x="114" y="108"/>
                    <a:pt x="115" y="108"/>
                  </a:cubicBezTo>
                  <a:cubicBezTo>
                    <a:pt x="116" y="108"/>
                    <a:pt x="116" y="108"/>
                    <a:pt x="117" y="107"/>
                  </a:cubicBezTo>
                  <a:cubicBezTo>
                    <a:pt x="119" y="107"/>
                    <a:pt x="120" y="105"/>
                    <a:pt x="122" y="104"/>
                  </a:cubicBezTo>
                  <a:cubicBezTo>
                    <a:pt x="122" y="104"/>
                    <a:pt x="122" y="104"/>
                    <a:pt x="122" y="103"/>
                  </a:cubicBezTo>
                  <a:cubicBezTo>
                    <a:pt x="122" y="103"/>
                    <a:pt x="122" y="103"/>
                    <a:pt x="123" y="102"/>
                  </a:cubicBezTo>
                  <a:cubicBezTo>
                    <a:pt x="124" y="102"/>
                    <a:pt x="124" y="101"/>
                    <a:pt x="125" y="100"/>
                  </a:cubicBezTo>
                  <a:cubicBezTo>
                    <a:pt x="126" y="100"/>
                    <a:pt x="126" y="99"/>
                    <a:pt x="126" y="98"/>
                  </a:cubicBezTo>
                  <a:cubicBezTo>
                    <a:pt x="127" y="98"/>
                    <a:pt x="127" y="97"/>
                    <a:pt x="127" y="96"/>
                  </a:cubicBezTo>
                  <a:cubicBezTo>
                    <a:pt x="128" y="96"/>
                    <a:pt x="127" y="96"/>
                    <a:pt x="127" y="96"/>
                  </a:cubicBezTo>
                  <a:cubicBezTo>
                    <a:pt x="127" y="96"/>
                    <a:pt x="126" y="96"/>
                    <a:pt x="126" y="95"/>
                  </a:cubicBezTo>
                  <a:cubicBezTo>
                    <a:pt x="126" y="96"/>
                    <a:pt x="125" y="96"/>
                    <a:pt x="125" y="96"/>
                  </a:cubicBezTo>
                  <a:cubicBezTo>
                    <a:pt x="124" y="96"/>
                    <a:pt x="124" y="96"/>
                    <a:pt x="124" y="96"/>
                  </a:cubicBezTo>
                  <a:cubicBezTo>
                    <a:pt x="123" y="96"/>
                    <a:pt x="123" y="96"/>
                    <a:pt x="122" y="96"/>
                  </a:cubicBezTo>
                  <a:cubicBezTo>
                    <a:pt x="122" y="96"/>
                    <a:pt x="121" y="95"/>
                    <a:pt x="120" y="95"/>
                  </a:cubicBezTo>
                  <a:cubicBezTo>
                    <a:pt x="119" y="96"/>
                    <a:pt x="118" y="96"/>
                    <a:pt x="117" y="96"/>
                  </a:cubicBezTo>
                  <a:cubicBezTo>
                    <a:pt x="117" y="95"/>
                    <a:pt x="117" y="96"/>
                    <a:pt x="117" y="96"/>
                  </a:cubicBezTo>
                  <a:cubicBezTo>
                    <a:pt x="115" y="96"/>
                    <a:pt x="115" y="96"/>
                    <a:pt x="113" y="94"/>
                  </a:cubicBezTo>
                  <a:cubicBezTo>
                    <a:pt x="113" y="94"/>
                    <a:pt x="113" y="94"/>
                    <a:pt x="112" y="93"/>
                  </a:cubicBezTo>
                  <a:cubicBezTo>
                    <a:pt x="112" y="93"/>
                    <a:pt x="112" y="93"/>
                    <a:pt x="112" y="93"/>
                  </a:cubicBezTo>
                  <a:cubicBezTo>
                    <a:pt x="114" y="93"/>
                    <a:pt x="114" y="93"/>
                    <a:pt x="113" y="92"/>
                  </a:cubicBezTo>
                  <a:cubicBezTo>
                    <a:pt x="112" y="91"/>
                    <a:pt x="111" y="90"/>
                    <a:pt x="110" y="89"/>
                  </a:cubicBezTo>
                  <a:cubicBezTo>
                    <a:pt x="110" y="89"/>
                    <a:pt x="109" y="88"/>
                    <a:pt x="109" y="88"/>
                  </a:cubicBezTo>
                  <a:cubicBezTo>
                    <a:pt x="108" y="88"/>
                    <a:pt x="107" y="87"/>
                    <a:pt x="107" y="87"/>
                  </a:cubicBezTo>
                  <a:cubicBezTo>
                    <a:pt x="106" y="86"/>
                    <a:pt x="106" y="86"/>
                    <a:pt x="106" y="85"/>
                  </a:cubicBezTo>
                  <a:cubicBezTo>
                    <a:pt x="107" y="84"/>
                    <a:pt x="106" y="83"/>
                    <a:pt x="105" y="83"/>
                  </a:cubicBezTo>
                  <a:cubicBezTo>
                    <a:pt x="105" y="82"/>
                    <a:pt x="104" y="82"/>
                    <a:pt x="104" y="81"/>
                  </a:cubicBezTo>
                  <a:cubicBezTo>
                    <a:pt x="104" y="81"/>
                    <a:pt x="104" y="81"/>
                    <a:pt x="104" y="81"/>
                  </a:cubicBezTo>
                  <a:cubicBezTo>
                    <a:pt x="104" y="80"/>
                    <a:pt x="103" y="79"/>
                    <a:pt x="103" y="78"/>
                  </a:cubicBezTo>
                  <a:cubicBezTo>
                    <a:pt x="104" y="77"/>
                    <a:pt x="103" y="76"/>
                    <a:pt x="102" y="75"/>
                  </a:cubicBezTo>
                  <a:cubicBezTo>
                    <a:pt x="101" y="75"/>
                    <a:pt x="101" y="74"/>
                    <a:pt x="101" y="73"/>
                  </a:cubicBezTo>
                  <a:cubicBezTo>
                    <a:pt x="101" y="73"/>
                    <a:pt x="101" y="72"/>
                    <a:pt x="101" y="72"/>
                  </a:cubicBezTo>
                  <a:cubicBezTo>
                    <a:pt x="100" y="71"/>
                    <a:pt x="99" y="70"/>
                    <a:pt x="99" y="69"/>
                  </a:cubicBezTo>
                  <a:cubicBezTo>
                    <a:pt x="98" y="68"/>
                    <a:pt x="98" y="67"/>
                    <a:pt x="97" y="66"/>
                  </a:cubicBezTo>
                  <a:cubicBezTo>
                    <a:pt x="97" y="66"/>
                    <a:pt x="97" y="66"/>
                    <a:pt x="98" y="66"/>
                  </a:cubicBezTo>
                  <a:cubicBezTo>
                    <a:pt x="98" y="66"/>
                    <a:pt x="98" y="67"/>
                    <a:pt x="99" y="67"/>
                  </a:cubicBezTo>
                  <a:cubicBezTo>
                    <a:pt x="99" y="67"/>
                    <a:pt x="99" y="67"/>
                    <a:pt x="100" y="67"/>
                  </a:cubicBezTo>
                  <a:cubicBezTo>
                    <a:pt x="100" y="66"/>
                    <a:pt x="100" y="65"/>
                    <a:pt x="100" y="65"/>
                  </a:cubicBezTo>
                  <a:cubicBezTo>
                    <a:pt x="101" y="65"/>
                    <a:pt x="101" y="65"/>
                    <a:pt x="101" y="65"/>
                  </a:cubicBezTo>
                  <a:cubicBezTo>
                    <a:pt x="101" y="65"/>
                    <a:pt x="100" y="66"/>
                    <a:pt x="101" y="66"/>
                  </a:cubicBezTo>
                  <a:cubicBezTo>
                    <a:pt x="101" y="66"/>
                    <a:pt x="99" y="66"/>
                    <a:pt x="101" y="67"/>
                  </a:cubicBezTo>
                  <a:cubicBezTo>
                    <a:pt x="101" y="67"/>
                    <a:pt x="101" y="67"/>
                    <a:pt x="102" y="67"/>
                  </a:cubicBezTo>
                  <a:cubicBezTo>
                    <a:pt x="102" y="68"/>
                    <a:pt x="102" y="68"/>
                    <a:pt x="102" y="69"/>
                  </a:cubicBezTo>
                  <a:cubicBezTo>
                    <a:pt x="103" y="70"/>
                    <a:pt x="104" y="71"/>
                    <a:pt x="104" y="72"/>
                  </a:cubicBezTo>
                  <a:cubicBezTo>
                    <a:pt x="105" y="73"/>
                    <a:pt x="105" y="73"/>
                    <a:pt x="105" y="73"/>
                  </a:cubicBezTo>
                  <a:cubicBezTo>
                    <a:pt x="107" y="74"/>
                    <a:pt x="107" y="75"/>
                    <a:pt x="108" y="76"/>
                  </a:cubicBezTo>
                  <a:cubicBezTo>
                    <a:pt x="108" y="76"/>
                    <a:pt x="108" y="76"/>
                    <a:pt x="108" y="76"/>
                  </a:cubicBezTo>
                  <a:cubicBezTo>
                    <a:pt x="107" y="77"/>
                    <a:pt x="108" y="77"/>
                    <a:pt x="107" y="78"/>
                  </a:cubicBezTo>
                  <a:cubicBezTo>
                    <a:pt x="107" y="79"/>
                    <a:pt x="108" y="79"/>
                    <a:pt x="109" y="80"/>
                  </a:cubicBezTo>
                  <a:cubicBezTo>
                    <a:pt x="110" y="80"/>
                    <a:pt x="110" y="81"/>
                    <a:pt x="111" y="82"/>
                  </a:cubicBezTo>
                  <a:cubicBezTo>
                    <a:pt x="111" y="83"/>
                    <a:pt x="111" y="83"/>
                    <a:pt x="112" y="84"/>
                  </a:cubicBezTo>
                  <a:cubicBezTo>
                    <a:pt x="113" y="85"/>
                    <a:pt x="113" y="86"/>
                    <a:pt x="113" y="87"/>
                  </a:cubicBezTo>
                  <a:cubicBezTo>
                    <a:pt x="113" y="88"/>
                    <a:pt x="113" y="90"/>
                    <a:pt x="113" y="91"/>
                  </a:cubicBezTo>
                  <a:cubicBezTo>
                    <a:pt x="113" y="91"/>
                    <a:pt x="114" y="92"/>
                    <a:pt x="114" y="92"/>
                  </a:cubicBezTo>
                  <a:cubicBezTo>
                    <a:pt x="115" y="92"/>
                    <a:pt x="116" y="93"/>
                    <a:pt x="117" y="92"/>
                  </a:cubicBezTo>
                  <a:cubicBezTo>
                    <a:pt x="117" y="92"/>
                    <a:pt x="118" y="92"/>
                    <a:pt x="119" y="92"/>
                  </a:cubicBezTo>
                  <a:cubicBezTo>
                    <a:pt x="120" y="92"/>
                    <a:pt x="120" y="92"/>
                    <a:pt x="121" y="92"/>
                  </a:cubicBezTo>
                  <a:cubicBezTo>
                    <a:pt x="121" y="92"/>
                    <a:pt x="122" y="91"/>
                    <a:pt x="123" y="91"/>
                  </a:cubicBezTo>
                  <a:cubicBezTo>
                    <a:pt x="123" y="92"/>
                    <a:pt x="124" y="92"/>
                    <a:pt x="124" y="91"/>
                  </a:cubicBezTo>
                  <a:cubicBezTo>
                    <a:pt x="124" y="91"/>
                    <a:pt x="125" y="91"/>
                    <a:pt x="125" y="91"/>
                  </a:cubicBezTo>
                  <a:cubicBezTo>
                    <a:pt x="126" y="91"/>
                    <a:pt x="126" y="91"/>
                    <a:pt x="126" y="91"/>
                  </a:cubicBezTo>
                  <a:cubicBezTo>
                    <a:pt x="127" y="91"/>
                    <a:pt x="128" y="91"/>
                    <a:pt x="130" y="91"/>
                  </a:cubicBezTo>
                  <a:cubicBezTo>
                    <a:pt x="130" y="91"/>
                    <a:pt x="131" y="91"/>
                    <a:pt x="131" y="90"/>
                  </a:cubicBezTo>
                  <a:cubicBezTo>
                    <a:pt x="130" y="90"/>
                    <a:pt x="131" y="89"/>
                    <a:pt x="132" y="89"/>
                  </a:cubicBezTo>
                  <a:cubicBezTo>
                    <a:pt x="133" y="89"/>
                    <a:pt x="134" y="89"/>
                    <a:pt x="136" y="89"/>
                  </a:cubicBezTo>
                  <a:cubicBezTo>
                    <a:pt x="136" y="89"/>
                    <a:pt x="136" y="89"/>
                    <a:pt x="136" y="89"/>
                  </a:cubicBezTo>
                  <a:cubicBezTo>
                    <a:pt x="137" y="89"/>
                    <a:pt x="137" y="88"/>
                    <a:pt x="138" y="89"/>
                  </a:cubicBezTo>
                  <a:cubicBezTo>
                    <a:pt x="139" y="89"/>
                    <a:pt x="139" y="89"/>
                    <a:pt x="139" y="88"/>
                  </a:cubicBezTo>
                  <a:cubicBezTo>
                    <a:pt x="139" y="88"/>
                    <a:pt x="140" y="87"/>
                    <a:pt x="142" y="88"/>
                  </a:cubicBezTo>
                  <a:cubicBezTo>
                    <a:pt x="142" y="88"/>
                    <a:pt x="142" y="88"/>
                    <a:pt x="142" y="87"/>
                  </a:cubicBezTo>
                  <a:cubicBezTo>
                    <a:pt x="142" y="87"/>
                    <a:pt x="142" y="87"/>
                    <a:pt x="142" y="87"/>
                  </a:cubicBezTo>
                  <a:cubicBezTo>
                    <a:pt x="142" y="87"/>
                    <a:pt x="142" y="86"/>
                    <a:pt x="143" y="86"/>
                  </a:cubicBezTo>
                  <a:cubicBezTo>
                    <a:pt x="143" y="86"/>
                    <a:pt x="144" y="86"/>
                    <a:pt x="144" y="86"/>
                  </a:cubicBezTo>
                  <a:cubicBezTo>
                    <a:pt x="144" y="85"/>
                    <a:pt x="145" y="85"/>
                    <a:pt x="146" y="85"/>
                  </a:cubicBezTo>
                  <a:cubicBezTo>
                    <a:pt x="146" y="84"/>
                    <a:pt x="147" y="84"/>
                    <a:pt x="147" y="84"/>
                  </a:cubicBezTo>
                  <a:cubicBezTo>
                    <a:pt x="147" y="83"/>
                    <a:pt x="146" y="83"/>
                    <a:pt x="146" y="83"/>
                  </a:cubicBezTo>
                  <a:cubicBezTo>
                    <a:pt x="146" y="83"/>
                    <a:pt x="146" y="82"/>
                    <a:pt x="145" y="82"/>
                  </a:cubicBezTo>
                  <a:cubicBezTo>
                    <a:pt x="145" y="81"/>
                    <a:pt x="144" y="81"/>
                    <a:pt x="143" y="81"/>
                  </a:cubicBezTo>
                  <a:cubicBezTo>
                    <a:pt x="142" y="80"/>
                    <a:pt x="142" y="80"/>
                    <a:pt x="142" y="79"/>
                  </a:cubicBezTo>
                  <a:cubicBezTo>
                    <a:pt x="141" y="78"/>
                    <a:pt x="141" y="78"/>
                    <a:pt x="142" y="77"/>
                  </a:cubicBezTo>
                  <a:cubicBezTo>
                    <a:pt x="142" y="77"/>
                    <a:pt x="142" y="77"/>
                    <a:pt x="142" y="76"/>
                  </a:cubicBezTo>
                  <a:cubicBezTo>
                    <a:pt x="141" y="76"/>
                    <a:pt x="141" y="76"/>
                    <a:pt x="141" y="76"/>
                  </a:cubicBezTo>
                  <a:cubicBezTo>
                    <a:pt x="141" y="76"/>
                    <a:pt x="141" y="77"/>
                    <a:pt x="141" y="77"/>
                  </a:cubicBezTo>
                  <a:cubicBezTo>
                    <a:pt x="140" y="77"/>
                    <a:pt x="138" y="78"/>
                    <a:pt x="137" y="78"/>
                  </a:cubicBezTo>
                  <a:cubicBezTo>
                    <a:pt x="137" y="79"/>
                    <a:pt x="136" y="79"/>
                    <a:pt x="135" y="79"/>
                  </a:cubicBezTo>
                  <a:cubicBezTo>
                    <a:pt x="135" y="78"/>
                    <a:pt x="134" y="78"/>
                    <a:pt x="133" y="78"/>
                  </a:cubicBezTo>
                  <a:cubicBezTo>
                    <a:pt x="133" y="78"/>
                    <a:pt x="132" y="78"/>
                    <a:pt x="132" y="77"/>
                  </a:cubicBezTo>
                  <a:cubicBezTo>
                    <a:pt x="131" y="77"/>
                    <a:pt x="131" y="77"/>
                    <a:pt x="132" y="77"/>
                  </a:cubicBezTo>
                  <a:cubicBezTo>
                    <a:pt x="132" y="76"/>
                    <a:pt x="133" y="75"/>
                    <a:pt x="132" y="75"/>
                  </a:cubicBezTo>
                  <a:cubicBezTo>
                    <a:pt x="131" y="75"/>
                    <a:pt x="131" y="75"/>
                    <a:pt x="130" y="76"/>
                  </a:cubicBezTo>
                  <a:cubicBezTo>
                    <a:pt x="130" y="75"/>
                    <a:pt x="129" y="75"/>
                    <a:pt x="129" y="74"/>
                  </a:cubicBezTo>
                  <a:cubicBezTo>
                    <a:pt x="130" y="74"/>
                    <a:pt x="129" y="73"/>
                    <a:pt x="129" y="73"/>
                  </a:cubicBezTo>
                  <a:cubicBezTo>
                    <a:pt x="128" y="72"/>
                    <a:pt x="127" y="71"/>
                    <a:pt x="127" y="70"/>
                  </a:cubicBezTo>
                  <a:cubicBezTo>
                    <a:pt x="127" y="70"/>
                    <a:pt x="127" y="69"/>
                    <a:pt x="126" y="69"/>
                  </a:cubicBezTo>
                  <a:cubicBezTo>
                    <a:pt x="126" y="68"/>
                    <a:pt x="127" y="68"/>
                    <a:pt x="126" y="68"/>
                  </a:cubicBezTo>
                  <a:cubicBezTo>
                    <a:pt x="127" y="68"/>
                    <a:pt x="127" y="68"/>
                    <a:pt x="127" y="68"/>
                  </a:cubicBezTo>
                  <a:cubicBezTo>
                    <a:pt x="128" y="68"/>
                    <a:pt x="128" y="68"/>
                    <a:pt x="128" y="68"/>
                  </a:cubicBezTo>
                  <a:cubicBezTo>
                    <a:pt x="129" y="67"/>
                    <a:pt x="130" y="68"/>
                    <a:pt x="130" y="68"/>
                  </a:cubicBezTo>
                  <a:cubicBezTo>
                    <a:pt x="131" y="68"/>
                    <a:pt x="131" y="69"/>
                    <a:pt x="131" y="69"/>
                  </a:cubicBezTo>
                  <a:cubicBezTo>
                    <a:pt x="132" y="70"/>
                    <a:pt x="132" y="70"/>
                    <a:pt x="132" y="71"/>
                  </a:cubicBezTo>
                  <a:cubicBezTo>
                    <a:pt x="132" y="72"/>
                    <a:pt x="133" y="72"/>
                    <a:pt x="133" y="72"/>
                  </a:cubicBezTo>
                  <a:cubicBezTo>
                    <a:pt x="134" y="73"/>
                    <a:pt x="135" y="73"/>
                    <a:pt x="136" y="74"/>
                  </a:cubicBezTo>
                  <a:cubicBezTo>
                    <a:pt x="136" y="74"/>
                    <a:pt x="137" y="75"/>
                    <a:pt x="138" y="75"/>
                  </a:cubicBezTo>
                  <a:cubicBezTo>
                    <a:pt x="138" y="76"/>
                    <a:pt x="139" y="75"/>
                    <a:pt x="140" y="75"/>
                  </a:cubicBezTo>
                  <a:cubicBezTo>
                    <a:pt x="140" y="75"/>
                    <a:pt x="141" y="75"/>
                    <a:pt x="141" y="75"/>
                  </a:cubicBezTo>
                  <a:cubicBezTo>
                    <a:pt x="142" y="75"/>
                    <a:pt x="143" y="75"/>
                    <a:pt x="143" y="76"/>
                  </a:cubicBezTo>
                  <a:cubicBezTo>
                    <a:pt x="143" y="76"/>
                    <a:pt x="143" y="77"/>
                    <a:pt x="143" y="77"/>
                  </a:cubicBezTo>
                  <a:cubicBezTo>
                    <a:pt x="144" y="78"/>
                    <a:pt x="145" y="78"/>
                    <a:pt x="145" y="78"/>
                  </a:cubicBezTo>
                  <a:cubicBezTo>
                    <a:pt x="146" y="79"/>
                    <a:pt x="146" y="79"/>
                    <a:pt x="146" y="79"/>
                  </a:cubicBezTo>
                  <a:cubicBezTo>
                    <a:pt x="147" y="79"/>
                    <a:pt x="147" y="79"/>
                    <a:pt x="148" y="79"/>
                  </a:cubicBezTo>
                  <a:cubicBezTo>
                    <a:pt x="149" y="80"/>
                    <a:pt x="150" y="81"/>
                    <a:pt x="152" y="81"/>
                  </a:cubicBezTo>
                  <a:cubicBezTo>
                    <a:pt x="154" y="81"/>
                    <a:pt x="156" y="81"/>
                    <a:pt x="158" y="82"/>
                  </a:cubicBezTo>
                  <a:cubicBezTo>
                    <a:pt x="158" y="82"/>
                    <a:pt x="158" y="82"/>
                    <a:pt x="159" y="82"/>
                  </a:cubicBezTo>
                  <a:cubicBezTo>
                    <a:pt x="160" y="82"/>
                    <a:pt x="161" y="83"/>
                    <a:pt x="161" y="83"/>
                  </a:cubicBezTo>
                  <a:cubicBezTo>
                    <a:pt x="161" y="84"/>
                    <a:pt x="161" y="84"/>
                    <a:pt x="162" y="85"/>
                  </a:cubicBezTo>
                  <a:cubicBezTo>
                    <a:pt x="162" y="85"/>
                    <a:pt x="162" y="85"/>
                    <a:pt x="162" y="85"/>
                  </a:cubicBezTo>
                  <a:cubicBezTo>
                    <a:pt x="163" y="86"/>
                    <a:pt x="163" y="86"/>
                    <a:pt x="164" y="87"/>
                  </a:cubicBezTo>
                  <a:cubicBezTo>
                    <a:pt x="164" y="87"/>
                    <a:pt x="164" y="88"/>
                    <a:pt x="165" y="88"/>
                  </a:cubicBezTo>
                  <a:cubicBezTo>
                    <a:pt x="165" y="88"/>
                    <a:pt x="166" y="88"/>
                    <a:pt x="166" y="88"/>
                  </a:cubicBezTo>
                  <a:cubicBezTo>
                    <a:pt x="166" y="88"/>
                    <a:pt x="166" y="88"/>
                    <a:pt x="166" y="88"/>
                  </a:cubicBezTo>
                  <a:cubicBezTo>
                    <a:pt x="166" y="88"/>
                    <a:pt x="165" y="88"/>
                    <a:pt x="164" y="88"/>
                  </a:cubicBezTo>
                  <a:cubicBezTo>
                    <a:pt x="164" y="89"/>
                    <a:pt x="165" y="90"/>
                    <a:pt x="165" y="90"/>
                  </a:cubicBezTo>
                  <a:cubicBezTo>
                    <a:pt x="166" y="91"/>
                    <a:pt x="166" y="91"/>
                    <a:pt x="167" y="92"/>
                  </a:cubicBezTo>
                  <a:cubicBezTo>
                    <a:pt x="168" y="92"/>
                    <a:pt x="169" y="92"/>
                    <a:pt x="170" y="91"/>
                  </a:cubicBezTo>
                  <a:cubicBezTo>
                    <a:pt x="170" y="91"/>
                    <a:pt x="170" y="91"/>
                    <a:pt x="170" y="91"/>
                  </a:cubicBezTo>
                  <a:cubicBezTo>
                    <a:pt x="169" y="90"/>
                    <a:pt x="170" y="90"/>
                    <a:pt x="170" y="90"/>
                  </a:cubicBezTo>
                  <a:cubicBezTo>
                    <a:pt x="170" y="91"/>
                    <a:pt x="171" y="91"/>
                    <a:pt x="170" y="92"/>
                  </a:cubicBezTo>
                  <a:cubicBezTo>
                    <a:pt x="171" y="93"/>
                    <a:pt x="170" y="93"/>
                    <a:pt x="170" y="94"/>
                  </a:cubicBezTo>
                  <a:cubicBezTo>
                    <a:pt x="169" y="94"/>
                    <a:pt x="169" y="94"/>
                    <a:pt x="169" y="94"/>
                  </a:cubicBezTo>
                  <a:cubicBezTo>
                    <a:pt x="170" y="95"/>
                    <a:pt x="170" y="97"/>
                    <a:pt x="169" y="98"/>
                  </a:cubicBezTo>
                  <a:cubicBezTo>
                    <a:pt x="169" y="99"/>
                    <a:pt x="170" y="101"/>
                    <a:pt x="170" y="102"/>
                  </a:cubicBezTo>
                  <a:cubicBezTo>
                    <a:pt x="170" y="102"/>
                    <a:pt x="170" y="103"/>
                    <a:pt x="170" y="104"/>
                  </a:cubicBezTo>
                  <a:cubicBezTo>
                    <a:pt x="170" y="105"/>
                    <a:pt x="170" y="105"/>
                    <a:pt x="171" y="106"/>
                  </a:cubicBezTo>
                  <a:cubicBezTo>
                    <a:pt x="171" y="108"/>
                    <a:pt x="172" y="109"/>
                    <a:pt x="172" y="111"/>
                  </a:cubicBezTo>
                  <a:cubicBezTo>
                    <a:pt x="171" y="112"/>
                    <a:pt x="172" y="113"/>
                    <a:pt x="173" y="114"/>
                  </a:cubicBezTo>
                  <a:cubicBezTo>
                    <a:pt x="173" y="113"/>
                    <a:pt x="174" y="114"/>
                    <a:pt x="174" y="113"/>
                  </a:cubicBezTo>
                  <a:cubicBezTo>
                    <a:pt x="174" y="113"/>
                    <a:pt x="175" y="113"/>
                    <a:pt x="175" y="113"/>
                  </a:cubicBezTo>
                  <a:cubicBezTo>
                    <a:pt x="176" y="113"/>
                    <a:pt x="176" y="112"/>
                    <a:pt x="176" y="112"/>
                  </a:cubicBezTo>
                  <a:cubicBezTo>
                    <a:pt x="177" y="112"/>
                    <a:pt x="177" y="112"/>
                    <a:pt x="177" y="112"/>
                  </a:cubicBezTo>
                  <a:cubicBezTo>
                    <a:pt x="178" y="112"/>
                    <a:pt x="178" y="111"/>
                    <a:pt x="178" y="111"/>
                  </a:cubicBezTo>
                  <a:cubicBezTo>
                    <a:pt x="178" y="110"/>
                    <a:pt x="178" y="110"/>
                    <a:pt x="179" y="109"/>
                  </a:cubicBezTo>
                  <a:cubicBezTo>
                    <a:pt x="180" y="109"/>
                    <a:pt x="181" y="106"/>
                    <a:pt x="181" y="105"/>
                  </a:cubicBezTo>
                  <a:cubicBezTo>
                    <a:pt x="181" y="105"/>
                    <a:pt x="181" y="104"/>
                    <a:pt x="182" y="104"/>
                  </a:cubicBezTo>
                  <a:cubicBezTo>
                    <a:pt x="182" y="104"/>
                    <a:pt x="183" y="105"/>
                    <a:pt x="183" y="104"/>
                  </a:cubicBezTo>
                  <a:cubicBezTo>
                    <a:pt x="185" y="105"/>
                    <a:pt x="185" y="104"/>
                    <a:pt x="186" y="104"/>
                  </a:cubicBezTo>
                  <a:cubicBezTo>
                    <a:pt x="186" y="103"/>
                    <a:pt x="187" y="104"/>
                    <a:pt x="187" y="103"/>
                  </a:cubicBezTo>
                  <a:cubicBezTo>
                    <a:pt x="187" y="103"/>
                    <a:pt x="188" y="103"/>
                    <a:pt x="188" y="103"/>
                  </a:cubicBezTo>
                  <a:cubicBezTo>
                    <a:pt x="188" y="103"/>
                    <a:pt x="189" y="103"/>
                    <a:pt x="189" y="103"/>
                  </a:cubicBezTo>
                  <a:cubicBezTo>
                    <a:pt x="190" y="103"/>
                    <a:pt x="191" y="103"/>
                    <a:pt x="192" y="102"/>
                  </a:cubicBezTo>
                  <a:cubicBezTo>
                    <a:pt x="192" y="102"/>
                    <a:pt x="193" y="102"/>
                    <a:pt x="193" y="102"/>
                  </a:cubicBezTo>
                  <a:cubicBezTo>
                    <a:pt x="193" y="102"/>
                    <a:pt x="193" y="102"/>
                    <a:pt x="193" y="102"/>
                  </a:cubicBezTo>
                  <a:cubicBezTo>
                    <a:pt x="194" y="102"/>
                    <a:pt x="196" y="102"/>
                    <a:pt x="196" y="101"/>
                  </a:cubicBezTo>
                  <a:cubicBezTo>
                    <a:pt x="196" y="101"/>
                    <a:pt x="196" y="101"/>
                    <a:pt x="196" y="101"/>
                  </a:cubicBezTo>
                  <a:cubicBezTo>
                    <a:pt x="197" y="100"/>
                    <a:pt x="198" y="101"/>
                    <a:pt x="199" y="100"/>
                  </a:cubicBezTo>
                  <a:cubicBezTo>
                    <a:pt x="199" y="101"/>
                    <a:pt x="199" y="101"/>
                    <a:pt x="199" y="101"/>
                  </a:cubicBezTo>
                  <a:cubicBezTo>
                    <a:pt x="199" y="101"/>
                    <a:pt x="198" y="101"/>
                    <a:pt x="199" y="101"/>
                  </a:cubicBezTo>
                  <a:cubicBezTo>
                    <a:pt x="199" y="101"/>
                    <a:pt x="200" y="101"/>
                    <a:pt x="200" y="101"/>
                  </a:cubicBezTo>
                  <a:cubicBezTo>
                    <a:pt x="201" y="102"/>
                    <a:pt x="202" y="102"/>
                    <a:pt x="203" y="102"/>
                  </a:cubicBezTo>
                  <a:cubicBezTo>
                    <a:pt x="204" y="102"/>
                    <a:pt x="204" y="102"/>
                    <a:pt x="204" y="102"/>
                  </a:cubicBezTo>
                  <a:cubicBezTo>
                    <a:pt x="204" y="101"/>
                    <a:pt x="204" y="101"/>
                    <a:pt x="204" y="101"/>
                  </a:cubicBezTo>
                  <a:cubicBezTo>
                    <a:pt x="205" y="102"/>
                    <a:pt x="205" y="102"/>
                    <a:pt x="206" y="102"/>
                  </a:cubicBezTo>
                  <a:cubicBezTo>
                    <a:pt x="206" y="103"/>
                    <a:pt x="205" y="103"/>
                    <a:pt x="205" y="103"/>
                  </a:cubicBezTo>
                  <a:cubicBezTo>
                    <a:pt x="206" y="104"/>
                    <a:pt x="205" y="104"/>
                    <a:pt x="206" y="105"/>
                  </a:cubicBezTo>
                  <a:cubicBezTo>
                    <a:pt x="206" y="106"/>
                    <a:pt x="206" y="106"/>
                    <a:pt x="207" y="107"/>
                  </a:cubicBezTo>
                  <a:cubicBezTo>
                    <a:pt x="207" y="107"/>
                    <a:pt x="207" y="107"/>
                    <a:pt x="207" y="108"/>
                  </a:cubicBezTo>
                  <a:cubicBezTo>
                    <a:pt x="207" y="108"/>
                    <a:pt x="207" y="108"/>
                    <a:pt x="207" y="109"/>
                  </a:cubicBezTo>
                  <a:cubicBezTo>
                    <a:pt x="208" y="109"/>
                    <a:pt x="208" y="110"/>
                    <a:pt x="208" y="111"/>
                  </a:cubicBezTo>
                  <a:cubicBezTo>
                    <a:pt x="208" y="111"/>
                    <a:pt x="207" y="112"/>
                    <a:pt x="207" y="112"/>
                  </a:cubicBezTo>
                  <a:cubicBezTo>
                    <a:pt x="206" y="113"/>
                    <a:pt x="206" y="113"/>
                    <a:pt x="207" y="114"/>
                  </a:cubicBezTo>
                  <a:cubicBezTo>
                    <a:pt x="207" y="114"/>
                    <a:pt x="208" y="114"/>
                    <a:pt x="208" y="114"/>
                  </a:cubicBezTo>
                  <a:cubicBezTo>
                    <a:pt x="209" y="114"/>
                    <a:pt x="209" y="114"/>
                    <a:pt x="209" y="114"/>
                  </a:cubicBezTo>
                  <a:cubicBezTo>
                    <a:pt x="209" y="114"/>
                    <a:pt x="209" y="114"/>
                    <a:pt x="210" y="114"/>
                  </a:cubicBezTo>
                  <a:cubicBezTo>
                    <a:pt x="211" y="114"/>
                    <a:pt x="211" y="114"/>
                    <a:pt x="212" y="114"/>
                  </a:cubicBezTo>
                  <a:cubicBezTo>
                    <a:pt x="212" y="114"/>
                    <a:pt x="212" y="114"/>
                    <a:pt x="212" y="115"/>
                  </a:cubicBezTo>
                  <a:cubicBezTo>
                    <a:pt x="212" y="115"/>
                    <a:pt x="212" y="115"/>
                    <a:pt x="212" y="115"/>
                  </a:cubicBezTo>
                  <a:cubicBezTo>
                    <a:pt x="212" y="116"/>
                    <a:pt x="212" y="116"/>
                    <a:pt x="212" y="116"/>
                  </a:cubicBezTo>
                  <a:cubicBezTo>
                    <a:pt x="212" y="116"/>
                    <a:pt x="213" y="117"/>
                    <a:pt x="212" y="117"/>
                  </a:cubicBezTo>
                  <a:cubicBezTo>
                    <a:pt x="212" y="117"/>
                    <a:pt x="212" y="117"/>
                    <a:pt x="212" y="118"/>
                  </a:cubicBezTo>
                  <a:cubicBezTo>
                    <a:pt x="212" y="118"/>
                    <a:pt x="212" y="119"/>
                    <a:pt x="212" y="120"/>
                  </a:cubicBezTo>
                  <a:cubicBezTo>
                    <a:pt x="212" y="120"/>
                    <a:pt x="212" y="121"/>
                    <a:pt x="212" y="122"/>
                  </a:cubicBezTo>
                  <a:cubicBezTo>
                    <a:pt x="212" y="122"/>
                    <a:pt x="211" y="122"/>
                    <a:pt x="211" y="123"/>
                  </a:cubicBezTo>
                  <a:cubicBezTo>
                    <a:pt x="211" y="123"/>
                    <a:pt x="211" y="123"/>
                    <a:pt x="211" y="123"/>
                  </a:cubicBezTo>
                  <a:cubicBezTo>
                    <a:pt x="210" y="124"/>
                    <a:pt x="210" y="124"/>
                    <a:pt x="210" y="125"/>
                  </a:cubicBezTo>
                  <a:cubicBezTo>
                    <a:pt x="210" y="125"/>
                    <a:pt x="210" y="125"/>
                    <a:pt x="210" y="125"/>
                  </a:cubicBezTo>
                  <a:cubicBezTo>
                    <a:pt x="209" y="125"/>
                    <a:pt x="209" y="126"/>
                    <a:pt x="209" y="126"/>
                  </a:cubicBezTo>
                  <a:cubicBezTo>
                    <a:pt x="209" y="126"/>
                    <a:pt x="209" y="127"/>
                    <a:pt x="209" y="127"/>
                  </a:cubicBezTo>
                  <a:cubicBezTo>
                    <a:pt x="209" y="127"/>
                    <a:pt x="209" y="127"/>
                    <a:pt x="209" y="127"/>
                  </a:cubicBezTo>
                  <a:cubicBezTo>
                    <a:pt x="209" y="128"/>
                    <a:pt x="210" y="129"/>
                    <a:pt x="210" y="130"/>
                  </a:cubicBezTo>
                  <a:cubicBezTo>
                    <a:pt x="211" y="131"/>
                    <a:pt x="211" y="131"/>
                    <a:pt x="211" y="132"/>
                  </a:cubicBezTo>
                  <a:cubicBezTo>
                    <a:pt x="210" y="133"/>
                    <a:pt x="210" y="133"/>
                    <a:pt x="210" y="134"/>
                  </a:cubicBezTo>
                  <a:cubicBezTo>
                    <a:pt x="210" y="135"/>
                    <a:pt x="211" y="136"/>
                    <a:pt x="211" y="137"/>
                  </a:cubicBezTo>
                  <a:cubicBezTo>
                    <a:pt x="211" y="137"/>
                    <a:pt x="211" y="137"/>
                    <a:pt x="211" y="138"/>
                  </a:cubicBezTo>
                  <a:cubicBezTo>
                    <a:pt x="212" y="138"/>
                    <a:pt x="212" y="139"/>
                    <a:pt x="213" y="140"/>
                  </a:cubicBezTo>
                  <a:cubicBezTo>
                    <a:pt x="213" y="140"/>
                    <a:pt x="213" y="141"/>
                    <a:pt x="213" y="141"/>
                  </a:cubicBezTo>
                  <a:cubicBezTo>
                    <a:pt x="214" y="141"/>
                    <a:pt x="214" y="141"/>
                    <a:pt x="214" y="140"/>
                  </a:cubicBezTo>
                  <a:cubicBezTo>
                    <a:pt x="214" y="140"/>
                    <a:pt x="215" y="140"/>
                    <a:pt x="214" y="139"/>
                  </a:cubicBezTo>
                  <a:cubicBezTo>
                    <a:pt x="214" y="139"/>
                    <a:pt x="214" y="138"/>
                    <a:pt x="214" y="138"/>
                  </a:cubicBezTo>
                  <a:cubicBezTo>
                    <a:pt x="214" y="137"/>
                    <a:pt x="215" y="137"/>
                    <a:pt x="215" y="136"/>
                  </a:cubicBezTo>
                  <a:cubicBezTo>
                    <a:pt x="215" y="136"/>
                    <a:pt x="215" y="135"/>
                    <a:pt x="215" y="134"/>
                  </a:cubicBezTo>
                  <a:cubicBezTo>
                    <a:pt x="214" y="133"/>
                    <a:pt x="214" y="133"/>
                    <a:pt x="213" y="132"/>
                  </a:cubicBezTo>
                  <a:cubicBezTo>
                    <a:pt x="213" y="132"/>
                    <a:pt x="213" y="131"/>
                    <a:pt x="213" y="131"/>
                  </a:cubicBezTo>
                  <a:cubicBezTo>
                    <a:pt x="212" y="131"/>
                    <a:pt x="212" y="130"/>
                    <a:pt x="211" y="130"/>
                  </a:cubicBezTo>
                  <a:cubicBezTo>
                    <a:pt x="211" y="130"/>
                    <a:pt x="211" y="129"/>
                    <a:pt x="211" y="129"/>
                  </a:cubicBezTo>
                  <a:cubicBezTo>
                    <a:pt x="212" y="129"/>
                    <a:pt x="212" y="128"/>
                    <a:pt x="212" y="128"/>
                  </a:cubicBezTo>
                  <a:cubicBezTo>
                    <a:pt x="212" y="127"/>
                    <a:pt x="212" y="127"/>
                    <a:pt x="212" y="127"/>
                  </a:cubicBezTo>
                  <a:cubicBezTo>
                    <a:pt x="212" y="127"/>
                    <a:pt x="212" y="127"/>
                    <a:pt x="211" y="126"/>
                  </a:cubicBezTo>
                  <a:cubicBezTo>
                    <a:pt x="211" y="126"/>
                    <a:pt x="211" y="126"/>
                    <a:pt x="211" y="126"/>
                  </a:cubicBezTo>
                  <a:cubicBezTo>
                    <a:pt x="211" y="125"/>
                    <a:pt x="211" y="125"/>
                    <a:pt x="212" y="124"/>
                  </a:cubicBezTo>
                  <a:cubicBezTo>
                    <a:pt x="212" y="124"/>
                    <a:pt x="213" y="124"/>
                    <a:pt x="213" y="124"/>
                  </a:cubicBezTo>
                  <a:cubicBezTo>
                    <a:pt x="213" y="123"/>
                    <a:pt x="214" y="123"/>
                    <a:pt x="214" y="123"/>
                  </a:cubicBezTo>
                  <a:cubicBezTo>
                    <a:pt x="214" y="122"/>
                    <a:pt x="215" y="122"/>
                    <a:pt x="215" y="122"/>
                  </a:cubicBezTo>
                  <a:cubicBezTo>
                    <a:pt x="215" y="121"/>
                    <a:pt x="215" y="121"/>
                    <a:pt x="216" y="122"/>
                  </a:cubicBezTo>
                  <a:cubicBezTo>
                    <a:pt x="217" y="122"/>
                    <a:pt x="216" y="122"/>
                    <a:pt x="216" y="122"/>
                  </a:cubicBezTo>
                  <a:cubicBezTo>
                    <a:pt x="216" y="123"/>
                    <a:pt x="215" y="122"/>
                    <a:pt x="216" y="123"/>
                  </a:cubicBezTo>
                  <a:cubicBezTo>
                    <a:pt x="216" y="123"/>
                    <a:pt x="216" y="123"/>
                    <a:pt x="217" y="123"/>
                  </a:cubicBezTo>
                  <a:cubicBezTo>
                    <a:pt x="217" y="123"/>
                    <a:pt x="218" y="124"/>
                    <a:pt x="218" y="124"/>
                  </a:cubicBezTo>
                  <a:cubicBezTo>
                    <a:pt x="218" y="124"/>
                    <a:pt x="218" y="125"/>
                    <a:pt x="218" y="125"/>
                  </a:cubicBezTo>
                  <a:cubicBezTo>
                    <a:pt x="219" y="125"/>
                    <a:pt x="219" y="126"/>
                    <a:pt x="218" y="127"/>
                  </a:cubicBezTo>
                  <a:cubicBezTo>
                    <a:pt x="218" y="127"/>
                    <a:pt x="219" y="127"/>
                    <a:pt x="219" y="127"/>
                  </a:cubicBezTo>
                  <a:cubicBezTo>
                    <a:pt x="219" y="127"/>
                    <a:pt x="220" y="127"/>
                    <a:pt x="219" y="128"/>
                  </a:cubicBezTo>
                  <a:cubicBezTo>
                    <a:pt x="219" y="128"/>
                    <a:pt x="219" y="128"/>
                    <a:pt x="219" y="128"/>
                  </a:cubicBezTo>
                  <a:cubicBezTo>
                    <a:pt x="219" y="128"/>
                    <a:pt x="220" y="128"/>
                    <a:pt x="220" y="128"/>
                  </a:cubicBezTo>
                  <a:cubicBezTo>
                    <a:pt x="220" y="129"/>
                    <a:pt x="221" y="129"/>
                    <a:pt x="221" y="130"/>
                  </a:cubicBezTo>
                  <a:cubicBezTo>
                    <a:pt x="221" y="130"/>
                    <a:pt x="221" y="130"/>
                    <a:pt x="221" y="130"/>
                  </a:cubicBezTo>
                  <a:cubicBezTo>
                    <a:pt x="220" y="130"/>
                    <a:pt x="220" y="131"/>
                    <a:pt x="220" y="132"/>
                  </a:cubicBezTo>
                  <a:cubicBezTo>
                    <a:pt x="221" y="132"/>
                    <a:pt x="221" y="131"/>
                    <a:pt x="222" y="131"/>
                  </a:cubicBezTo>
                  <a:cubicBezTo>
                    <a:pt x="223" y="132"/>
                    <a:pt x="223" y="131"/>
                    <a:pt x="224" y="131"/>
                  </a:cubicBezTo>
                  <a:cubicBezTo>
                    <a:pt x="224" y="131"/>
                    <a:pt x="224" y="131"/>
                    <a:pt x="225" y="131"/>
                  </a:cubicBezTo>
                  <a:cubicBezTo>
                    <a:pt x="226" y="132"/>
                    <a:pt x="227" y="131"/>
                    <a:pt x="229" y="131"/>
                  </a:cubicBezTo>
                  <a:cubicBezTo>
                    <a:pt x="229" y="131"/>
                    <a:pt x="229" y="131"/>
                    <a:pt x="229" y="131"/>
                  </a:cubicBezTo>
                  <a:cubicBezTo>
                    <a:pt x="229" y="131"/>
                    <a:pt x="229" y="130"/>
                    <a:pt x="230" y="130"/>
                  </a:cubicBezTo>
                  <a:cubicBezTo>
                    <a:pt x="230" y="130"/>
                    <a:pt x="230" y="130"/>
                    <a:pt x="230" y="129"/>
                  </a:cubicBezTo>
                  <a:cubicBezTo>
                    <a:pt x="231" y="129"/>
                    <a:pt x="230" y="128"/>
                    <a:pt x="231" y="128"/>
                  </a:cubicBezTo>
                  <a:cubicBezTo>
                    <a:pt x="231" y="128"/>
                    <a:pt x="231" y="128"/>
                    <a:pt x="231" y="127"/>
                  </a:cubicBezTo>
                  <a:cubicBezTo>
                    <a:pt x="231" y="126"/>
                    <a:pt x="231" y="125"/>
                    <a:pt x="230" y="124"/>
                  </a:cubicBezTo>
                  <a:cubicBezTo>
                    <a:pt x="230" y="123"/>
                    <a:pt x="229" y="122"/>
                    <a:pt x="229" y="122"/>
                  </a:cubicBezTo>
                  <a:cubicBezTo>
                    <a:pt x="228" y="121"/>
                    <a:pt x="229" y="120"/>
                    <a:pt x="228" y="119"/>
                  </a:cubicBezTo>
                  <a:cubicBezTo>
                    <a:pt x="228" y="118"/>
                    <a:pt x="228" y="118"/>
                    <a:pt x="229" y="117"/>
                  </a:cubicBezTo>
                  <a:cubicBezTo>
                    <a:pt x="230" y="117"/>
                    <a:pt x="230" y="117"/>
                    <a:pt x="231" y="117"/>
                  </a:cubicBezTo>
                  <a:cubicBezTo>
                    <a:pt x="232" y="116"/>
                    <a:pt x="233" y="117"/>
                    <a:pt x="234" y="117"/>
                  </a:cubicBezTo>
                  <a:cubicBezTo>
                    <a:pt x="234" y="117"/>
                    <a:pt x="235" y="117"/>
                    <a:pt x="235" y="117"/>
                  </a:cubicBezTo>
                  <a:cubicBezTo>
                    <a:pt x="236" y="117"/>
                    <a:pt x="236" y="118"/>
                    <a:pt x="237" y="118"/>
                  </a:cubicBezTo>
                  <a:cubicBezTo>
                    <a:pt x="237" y="118"/>
                    <a:pt x="237" y="118"/>
                    <a:pt x="237" y="118"/>
                  </a:cubicBezTo>
                  <a:cubicBezTo>
                    <a:pt x="236" y="118"/>
                    <a:pt x="237" y="119"/>
                    <a:pt x="236" y="120"/>
                  </a:cubicBezTo>
                  <a:cubicBezTo>
                    <a:pt x="236" y="120"/>
                    <a:pt x="237" y="120"/>
                    <a:pt x="237" y="120"/>
                  </a:cubicBezTo>
                  <a:cubicBezTo>
                    <a:pt x="238" y="121"/>
                    <a:pt x="237" y="120"/>
                    <a:pt x="237" y="120"/>
                  </a:cubicBezTo>
                  <a:cubicBezTo>
                    <a:pt x="237" y="119"/>
                    <a:pt x="238" y="119"/>
                    <a:pt x="239" y="119"/>
                  </a:cubicBezTo>
                  <a:cubicBezTo>
                    <a:pt x="240" y="120"/>
                    <a:pt x="242" y="120"/>
                    <a:pt x="243" y="120"/>
                  </a:cubicBezTo>
                  <a:cubicBezTo>
                    <a:pt x="244" y="121"/>
                    <a:pt x="244" y="121"/>
                    <a:pt x="244" y="120"/>
                  </a:cubicBezTo>
                  <a:cubicBezTo>
                    <a:pt x="244" y="120"/>
                    <a:pt x="244" y="120"/>
                    <a:pt x="244" y="120"/>
                  </a:cubicBezTo>
                  <a:cubicBezTo>
                    <a:pt x="244" y="120"/>
                    <a:pt x="245" y="120"/>
                    <a:pt x="245" y="120"/>
                  </a:cubicBezTo>
                  <a:cubicBezTo>
                    <a:pt x="245" y="120"/>
                    <a:pt x="245" y="120"/>
                    <a:pt x="245" y="120"/>
                  </a:cubicBezTo>
                  <a:cubicBezTo>
                    <a:pt x="245" y="121"/>
                    <a:pt x="245" y="121"/>
                    <a:pt x="246" y="121"/>
                  </a:cubicBezTo>
                  <a:cubicBezTo>
                    <a:pt x="246" y="121"/>
                    <a:pt x="247" y="121"/>
                    <a:pt x="248" y="122"/>
                  </a:cubicBezTo>
                  <a:cubicBezTo>
                    <a:pt x="248" y="122"/>
                    <a:pt x="249" y="123"/>
                    <a:pt x="250" y="122"/>
                  </a:cubicBezTo>
                  <a:cubicBezTo>
                    <a:pt x="250" y="122"/>
                    <a:pt x="251" y="122"/>
                    <a:pt x="252" y="122"/>
                  </a:cubicBezTo>
                  <a:cubicBezTo>
                    <a:pt x="252" y="122"/>
                    <a:pt x="253" y="122"/>
                    <a:pt x="253" y="122"/>
                  </a:cubicBezTo>
                  <a:cubicBezTo>
                    <a:pt x="253" y="122"/>
                    <a:pt x="253" y="122"/>
                    <a:pt x="253" y="122"/>
                  </a:cubicBezTo>
                  <a:cubicBezTo>
                    <a:pt x="254" y="123"/>
                    <a:pt x="255" y="122"/>
                    <a:pt x="256" y="122"/>
                  </a:cubicBezTo>
                  <a:cubicBezTo>
                    <a:pt x="256" y="122"/>
                    <a:pt x="257" y="122"/>
                    <a:pt x="257" y="122"/>
                  </a:cubicBezTo>
                  <a:cubicBezTo>
                    <a:pt x="257" y="121"/>
                    <a:pt x="258" y="121"/>
                    <a:pt x="258" y="121"/>
                  </a:cubicBezTo>
                  <a:cubicBezTo>
                    <a:pt x="259" y="121"/>
                    <a:pt x="259" y="121"/>
                    <a:pt x="259" y="121"/>
                  </a:cubicBezTo>
                  <a:cubicBezTo>
                    <a:pt x="259" y="120"/>
                    <a:pt x="260" y="121"/>
                    <a:pt x="260" y="120"/>
                  </a:cubicBezTo>
                  <a:cubicBezTo>
                    <a:pt x="261" y="120"/>
                    <a:pt x="261" y="120"/>
                    <a:pt x="261" y="120"/>
                  </a:cubicBezTo>
                  <a:cubicBezTo>
                    <a:pt x="262" y="121"/>
                    <a:pt x="263" y="120"/>
                    <a:pt x="263" y="120"/>
                  </a:cubicBezTo>
                  <a:cubicBezTo>
                    <a:pt x="263" y="119"/>
                    <a:pt x="263" y="119"/>
                    <a:pt x="263" y="119"/>
                  </a:cubicBezTo>
                  <a:cubicBezTo>
                    <a:pt x="263" y="119"/>
                    <a:pt x="264" y="119"/>
                    <a:pt x="264" y="119"/>
                  </a:cubicBezTo>
                  <a:cubicBezTo>
                    <a:pt x="264" y="119"/>
                    <a:pt x="264" y="119"/>
                    <a:pt x="264" y="119"/>
                  </a:cubicBezTo>
                  <a:cubicBezTo>
                    <a:pt x="264" y="118"/>
                    <a:pt x="264" y="118"/>
                    <a:pt x="264" y="117"/>
                  </a:cubicBezTo>
                  <a:cubicBezTo>
                    <a:pt x="263" y="117"/>
                    <a:pt x="263" y="117"/>
                    <a:pt x="263" y="117"/>
                  </a:cubicBezTo>
                  <a:cubicBezTo>
                    <a:pt x="262" y="117"/>
                    <a:pt x="262" y="117"/>
                    <a:pt x="262" y="117"/>
                  </a:cubicBezTo>
                  <a:cubicBezTo>
                    <a:pt x="263" y="117"/>
                    <a:pt x="263" y="117"/>
                    <a:pt x="264" y="117"/>
                  </a:cubicBezTo>
                  <a:cubicBezTo>
                    <a:pt x="265" y="117"/>
                    <a:pt x="265" y="117"/>
                    <a:pt x="265" y="116"/>
                  </a:cubicBezTo>
                  <a:cubicBezTo>
                    <a:pt x="265" y="116"/>
                    <a:pt x="264" y="116"/>
                    <a:pt x="264" y="115"/>
                  </a:cubicBezTo>
                  <a:cubicBezTo>
                    <a:pt x="264" y="115"/>
                    <a:pt x="265" y="115"/>
                    <a:pt x="265" y="116"/>
                  </a:cubicBezTo>
                  <a:cubicBezTo>
                    <a:pt x="265" y="116"/>
                    <a:pt x="265" y="116"/>
                    <a:pt x="265" y="116"/>
                  </a:cubicBezTo>
                  <a:cubicBezTo>
                    <a:pt x="265" y="116"/>
                    <a:pt x="266" y="116"/>
                    <a:pt x="265" y="115"/>
                  </a:cubicBezTo>
                  <a:cubicBezTo>
                    <a:pt x="265" y="114"/>
                    <a:pt x="265" y="114"/>
                    <a:pt x="265" y="113"/>
                  </a:cubicBezTo>
                  <a:cubicBezTo>
                    <a:pt x="265" y="112"/>
                    <a:pt x="265" y="111"/>
                    <a:pt x="264" y="110"/>
                  </a:cubicBezTo>
                  <a:cubicBezTo>
                    <a:pt x="263" y="109"/>
                    <a:pt x="263" y="109"/>
                    <a:pt x="264" y="109"/>
                  </a:cubicBezTo>
                  <a:cubicBezTo>
                    <a:pt x="265" y="109"/>
                    <a:pt x="266" y="109"/>
                    <a:pt x="267" y="109"/>
                  </a:cubicBezTo>
                  <a:cubicBezTo>
                    <a:pt x="269" y="109"/>
                    <a:pt x="269" y="109"/>
                    <a:pt x="270" y="110"/>
                  </a:cubicBezTo>
                  <a:cubicBezTo>
                    <a:pt x="270" y="110"/>
                    <a:pt x="271" y="110"/>
                    <a:pt x="271" y="110"/>
                  </a:cubicBezTo>
                  <a:cubicBezTo>
                    <a:pt x="271" y="110"/>
                    <a:pt x="271" y="110"/>
                    <a:pt x="271" y="110"/>
                  </a:cubicBezTo>
                  <a:cubicBezTo>
                    <a:pt x="271" y="109"/>
                    <a:pt x="271" y="109"/>
                    <a:pt x="270" y="109"/>
                  </a:cubicBezTo>
                  <a:cubicBezTo>
                    <a:pt x="270" y="109"/>
                    <a:pt x="269" y="108"/>
                    <a:pt x="269" y="108"/>
                  </a:cubicBezTo>
                  <a:cubicBezTo>
                    <a:pt x="268" y="107"/>
                    <a:pt x="267" y="107"/>
                    <a:pt x="267" y="107"/>
                  </a:cubicBezTo>
                  <a:cubicBezTo>
                    <a:pt x="266" y="107"/>
                    <a:pt x="266" y="107"/>
                    <a:pt x="266" y="107"/>
                  </a:cubicBezTo>
                  <a:cubicBezTo>
                    <a:pt x="265" y="107"/>
                    <a:pt x="264" y="106"/>
                    <a:pt x="265" y="106"/>
                  </a:cubicBezTo>
                  <a:cubicBezTo>
                    <a:pt x="266" y="105"/>
                    <a:pt x="265" y="105"/>
                    <a:pt x="264" y="104"/>
                  </a:cubicBezTo>
                  <a:cubicBezTo>
                    <a:pt x="263" y="104"/>
                    <a:pt x="263" y="103"/>
                    <a:pt x="263" y="102"/>
                  </a:cubicBezTo>
                  <a:cubicBezTo>
                    <a:pt x="263" y="102"/>
                    <a:pt x="264" y="102"/>
                    <a:pt x="264" y="102"/>
                  </a:cubicBezTo>
                  <a:cubicBezTo>
                    <a:pt x="265" y="103"/>
                    <a:pt x="266" y="103"/>
                    <a:pt x="266" y="103"/>
                  </a:cubicBezTo>
                  <a:cubicBezTo>
                    <a:pt x="267" y="103"/>
                    <a:pt x="267" y="103"/>
                    <a:pt x="267" y="103"/>
                  </a:cubicBezTo>
                  <a:cubicBezTo>
                    <a:pt x="269" y="104"/>
                    <a:pt x="270" y="103"/>
                    <a:pt x="271" y="103"/>
                  </a:cubicBezTo>
                  <a:cubicBezTo>
                    <a:pt x="272" y="103"/>
                    <a:pt x="272" y="104"/>
                    <a:pt x="273" y="105"/>
                  </a:cubicBezTo>
                  <a:cubicBezTo>
                    <a:pt x="273" y="105"/>
                    <a:pt x="272" y="105"/>
                    <a:pt x="272" y="105"/>
                  </a:cubicBezTo>
                  <a:cubicBezTo>
                    <a:pt x="272" y="105"/>
                    <a:pt x="271" y="105"/>
                    <a:pt x="271" y="105"/>
                  </a:cubicBezTo>
                  <a:cubicBezTo>
                    <a:pt x="271" y="105"/>
                    <a:pt x="271" y="105"/>
                    <a:pt x="271" y="106"/>
                  </a:cubicBezTo>
                  <a:cubicBezTo>
                    <a:pt x="271" y="106"/>
                    <a:pt x="271" y="106"/>
                    <a:pt x="270" y="106"/>
                  </a:cubicBezTo>
                  <a:cubicBezTo>
                    <a:pt x="270" y="106"/>
                    <a:pt x="270" y="106"/>
                    <a:pt x="270" y="106"/>
                  </a:cubicBezTo>
                  <a:cubicBezTo>
                    <a:pt x="270" y="106"/>
                    <a:pt x="270" y="106"/>
                    <a:pt x="270" y="106"/>
                  </a:cubicBezTo>
                  <a:cubicBezTo>
                    <a:pt x="271" y="106"/>
                    <a:pt x="271" y="107"/>
                    <a:pt x="272" y="107"/>
                  </a:cubicBezTo>
                  <a:cubicBezTo>
                    <a:pt x="273" y="107"/>
                    <a:pt x="275" y="107"/>
                    <a:pt x="276" y="108"/>
                  </a:cubicBezTo>
                  <a:cubicBezTo>
                    <a:pt x="277" y="109"/>
                    <a:pt x="278" y="109"/>
                    <a:pt x="278" y="110"/>
                  </a:cubicBezTo>
                  <a:cubicBezTo>
                    <a:pt x="278" y="110"/>
                    <a:pt x="277" y="110"/>
                    <a:pt x="277" y="111"/>
                  </a:cubicBezTo>
                  <a:cubicBezTo>
                    <a:pt x="277" y="111"/>
                    <a:pt x="277" y="111"/>
                    <a:pt x="276" y="111"/>
                  </a:cubicBezTo>
                  <a:cubicBezTo>
                    <a:pt x="276" y="111"/>
                    <a:pt x="276" y="112"/>
                    <a:pt x="277" y="112"/>
                  </a:cubicBezTo>
                  <a:cubicBezTo>
                    <a:pt x="278" y="112"/>
                    <a:pt x="278" y="113"/>
                    <a:pt x="278" y="113"/>
                  </a:cubicBezTo>
                  <a:cubicBezTo>
                    <a:pt x="278" y="113"/>
                    <a:pt x="279" y="113"/>
                    <a:pt x="279" y="114"/>
                  </a:cubicBezTo>
                  <a:cubicBezTo>
                    <a:pt x="279" y="114"/>
                    <a:pt x="279" y="115"/>
                    <a:pt x="278" y="114"/>
                  </a:cubicBezTo>
                  <a:cubicBezTo>
                    <a:pt x="277" y="114"/>
                    <a:pt x="277" y="114"/>
                    <a:pt x="277" y="115"/>
                  </a:cubicBezTo>
                  <a:cubicBezTo>
                    <a:pt x="278" y="115"/>
                    <a:pt x="278" y="116"/>
                    <a:pt x="276" y="116"/>
                  </a:cubicBezTo>
                  <a:cubicBezTo>
                    <a:pt x="276" y="116"/>
                    <a:pt x="276" y="117"/>
                    <a:pt x="276" y="117"/>
                  </a:cubicBezTo>
                  <a:cubicBezTo>
                    <a:pt x="276" y="118"/>
                    <a:pt x="276" y="118"/>
                    <a:pt x="277" y="118"/>
                  </a:cubicBezTo>
                  <a:cubicBezTo>
                    <a:pt x="277" y="119"/>
                    <a:pt x="278" y="118"/>
                    <a:pt x="279" y="119"/>
                  </a:cubicBezTo>
                  <a:cubicBezTo>
                    <a:pt x="280" y="119"/>
                    <a:pt x="280" y="119"/>
                    <a:pt x="281" y="119"/>
                  </a:cubicBezTo>
                  <a:cubicBezTo>
                    <a:pt x="281" y="120"/>
                    <a:pt x="282" y="120"/>
                    <a:pt x="282" y="119"/>
                  </a:cubicBezTo>
                  <a:cubicBezTo>
                    <a:pt x="283" y="118"/>
                    <a:pt x="284" y="117"/>
                    <a:pt x="283" y="115"/>
                  </a:cubicBezTo>
                  <a:cubicBezTo>
                    <a:pt x="282" y="114"/>
                    <a:pt x="282" y="113"/>
                    <a:pt x="281" y="112"/>
                  </a:cubicBezTo>
                  <a:cubicBezTo>
                    <a:pt x="282" y="112"/>
                    <a:pt x="283" y="112"/>
                    <a:pt x="283" y="112"/>
                  </a:cubicBezTo>
                  <a:cubicBezTo>
                    <a:pt x="284" y="113"/>
                    <a:pt x="285" y="112"/>
                    <a:pt x="286" y="113"/>
                  </a:cubicBezTo>
                  <a:cubicBezTo>
                    <a:pt x="286" y="113"/>
                    <a:pt x="287" y="113"/>
                    <a:pt x="287" y="112"/>
                  </a:cubicBezTo>
                  <a:cubicBezTo>
                    <a:pt x="287" y="112"/>
                    <a:pt x="288" y="112"/>
                    <a:pt x="289" y="112"/>
                  </a:cubicBezTo>
                  <a:cubicBezTo>
                    <a:pt x="290" y="112"/>
                    <a:pt x="291" y="112"/>
                    <a:pt x="293" y="113"/>
                  </a:cubicBezTo>
                  <a:cubicBezTo>
                    <a:pt x="293" y="113"/>
                    <a:pt x="294" y="114"/>
                    <a:pt x="294" y="114"/>
                  </a:cubicBezTo>
                  <a:cubicBezTo>
                    <a:pt x="295" y="115"/>
                    <a:pt x="296" y="115"/>
                    <a:pt x="297" y="115"/>
                  </a:cubicBezTo>
                  <a:cubicBezTo>
                    <a:pt x="297" y="115"/>
                    <a:pt x="298" y="115"/>
                    <a:pt x="298" y="116"/>
                  </a:cubicBezTo>
                  <a:cubicBezTo>
                    <a:pt x="298" y="116"/>
                    <a:pt x="299" y="116"/>
                    <a:pt x="299" y="116"/>
                  </a:cubicBezTo>
                  <a:cubicBezTo>
                    <a:pt x="301" y="116"/>
                    <a:pt x="302" y="116"/>
                    <a:pt x="304" y="116"/>
                  </a:cubicBezTo>
                  <a:cubicBezTo>
                    <a:pt x="305" y="116"/>
                    <a:pt x="306" y="116"/>
                    <a:pt x="307" y="116"/>
                  </a:cubicBezTo>
                  <a:cubicBezTo>
                    <a:pt x="308" y="116"/>
                    <a:pt x="309" y="116"/>
                    <a:pt x="310" y="116"/>
                  </a:cubicBezTo>
                  <a:cubicBezTo>
                    <a:pt x="311" y="116"/>
                    <a:pt x="312" y="116"/>
                    <a:pt x="313" y="115"/>
                  </a:cubicBezTo>
                  <a:cubicBezTo>
                    <a:pt x="314" y="115"/>
                    <a:pt x="314" y="114"/>
                    <a:pt x="314" y="114"/>
                  </a:cubicBezTo>
                  <a:cubicBezTo>
                    <a:pt x="314" y="113"/>
                    <a:pt x="315" y="113"/>
                    <a:pt x="316" y="113"/>
                  </a:cubicBezTo>
                  <a:cubicBezTo>
                    <a:pt x="316" y="113"/>
                    <a:pt x="317" y="113"/>
                    <a:pt x="317" y="112"/>
                  </a:cubicBezTo>
                  <a:cubicBezTo>
                    <a:pt x="317" y="112"/>
                    <a:pt x="317" y="112"/>
                    <a:pt x="317" y="112"/>
                  </a:cubicBezTo>
                  <a:cubicBezTo>
                    <a:pt x="318" y="112"/>
                    <a:pt x="318" y="112"/>
                    <a:pt x="318" y="111"/>
                  </a:cubicBezTo>
                  <a:cubicBezTo>
                    <a:pt x="318" y="111"/>
                    <a:pt x="318" y="111"/>
                    <a:pt x="317" y="110"/>
                  </a:cubicBezTo>
                  <a:cubicBezTo>
                    <a:pt x="317" y="110"/>
                    <a:pt x="316" y="109"/>
                    <a:pt x="317" y="109"/>
                  </a:cubicBezTo>
                  <a:cubicBezTo>
                    <a:pt x="316" y="108"/>
                    <a:pt x="316" y="107"/>
                    <a:pt x="314" y="107"/>
                  </a:cubicBezTo>
                  <a:cubicBezTo>
                    <a:pt x="313" y="107"/>
                    <a:pt x="312" y="107"/>
                    <a:pt x="312" y="106"/>
                  </a:cubicBezTo>
                  <a:cubicBezTo>
                    <a:pt x="312" y="106"/>
                    <a:pt x="311" y="106"/>
                    <a:pt x="312" y="106"/>
                  </a:cubicBezTo>
                  <a:cubicBezTo>
                    <a:pt x="312" y="106"/>
                    <a:pt x="312" y="106"/>
                    <a:pt x="312" y="106"/>
                  </a:cubicBezTo>
                  <a:cubicBezTo>
                    <a:pt x="312" y="106"/>
                    <a:pt x="312" y="106"/>
                    <a:pt x="312" y="105"/>
                  </a:cubicBezTo>
                  <a:cubicBezTo>
                    <a:pt x="311" y="105"/>
                    <a:pt x="311" y="105"/>
                    <a:pt x="311" y="105"/>
                  </a:cubicBezTo>
                  <a:cubicBezTo>
                    <a:pt x="311" y="105"/>
                    <a:pt x="311" y="105"/>
                    <a:pt x="311" y="105"/>
                  </a:cubicBezTo>
                  <a:cubicBezTo>
                    <a:pt x="310" y="104"/>
                    <a:pt x="311" y="105"/>
                    <a:pt x="311" y="105"/>
                  </a:cubicBezTo>
                  <a:cubicBezTo>
                    <a:pt x="311" y="104"/>
                    <a:pt x="311" y="104"/>
                    <a:pt x="310" y="103"/>
                  </a:cubicBezTo>
                  <a:cubicBezTo>
                    <a:pt x="310" y="103"/>
                    <a:pt x="309" y="103"/>
                    <a:pt x="309" y="102"/>
                  </a:cubicBezTo>
                  <a:cubicBezTo>
                    <a:pt x="309" y="102"/>
                    <a:pt x="309" y="102"/>
                    <a:pt x="309" y="102"/>
                  </a:cubicBezTo>
                  <a:cubicBezTo>
                    <a:pt x="309" y="102"/>
                    <a:pt x="309" y="102"/>
                    <a:pt x="309" y="102"/>
                  </a:cubicBezTo>
                  <a:cubicBezTo>
                    <a:pt x="311" y="102"/>
                    <a:pt x="313" y="103"/>
                    <a:pt x="315" y="103"/>
                  </a:cubicBezTo>
                  <a:cubicBezTo>
                    <a:pt x="315" y="103"/>
                    <a:pt x="315" y="104"/>
                    <a:pt x="315" y="103"/>
                  </a:cubicBezTo>
                  <a:cubicBezTo>
                    <a:pt x="316" y="103"/>
                    <a:pt x="317" y="104"/>
                    <a:pt x="318" y="104"/>
                  </a:cubicBezTo>
                  <a:cubicBezTo>
                    <a:pt x="319" y="104"/>
                    <a:pt x="321" y="105"/>
                    <a:pt x="322" y="104"/>
                  </a:cubicBezTo>
                  <a:cubicBezTo>
                    <a:pt x="322" y="104"/>
                    <a:pt x="322" y="104"/>
                    <a:pt x="322" y="105"/>
                  </a:cubicBezTo>
                  <a:cubicBezTo>
                    <a:pt x="323" y="105"/>
                    <a:pt x="323" y="105"/>
                    <a:pt x="324" y="105"/>
                  </a:cubicBezTo>
                  <a:cubicBezTo>
                    <a:pt x="325" y="105"/>
                    <a:pt x="326" y="106"/>
                    <a:pt x="327" y="106"/>
                  </a:cubicBezTo>
                  <a:cubicBezTo>
                    <a:pt x="328" y="107"/>
                    <a:pt x="329" y="108"/>
                    <a:pt x="330" y="108"/>
                  </a:cubicBezTo>
                  <a:cubicBezTo>
                    <a:pt x="331" y="109"/>
                    <a:pt x="332" y="109"/>
                    <a:pt x="332" y="110"/>
                  </a:cubicBezTo>
                  <a:cubicBezTo>
                    <a:pt x="332" y="111"/>
                    <a:pt x="332" y="111"/>
                    <a:pt x="333" y="111"/>
                  </a:cubicBezTo>
                  <a:cubicBezTo>
                    <a:pt x="333" y="111"/>
                    <a:pt x="334" y="112"/>
                    <a:pt x="335" y="112"/>
                  </a:cubicBezTo>
                  <a:cubicBezTo>
                    <a:pt x="335" y="112"/>
                    <a:pt x="335" y="113"/>
                    <a:pt x="335" y="113"/>
                  </a:cubicBezTo>
                  <a:cubicBezTo>
                    <a:pt x="336" y="113"/>
                    <a:pt x="336" y="114"/>
                    <a:pt x="337" y="114"/>
                  </a:cubicBezTo>
                  <a:cubicBezTo>
                    <a:pt x="337" y="114"/>
                    <a:pt x="338" y="114"/>
                    <a:pt x="338" y="114"/>
                  </a:cubicBezTo>
                  <a:cubicBezTo>
                    <a:pt x="340" y="115"/>
                    <a:pt x="341" y="116"/>
                    <a:pt x="342" y="118"/>
                  </a:cubicBezTo>
                  <a:cubicBezTo>
                    <a:pt x="342" y="118"/>
                    <a:pt x="342" y="118"/>
                    <a:pt x="342" y="118"/>
                  </a:cubicBezTo>
                  <a:cubicBezTo>
                    <a:pt x="342" y="118"/>
                    <a:pt x="343" y="118"/>
                    <a:pt x="342" y="118"/>
                  </a:cubicBezTo>
                  <a:cubicBezTo>
                    <a:pt x="342" y="118"/>
                    <a:pt x="342" y="118"/>
                    <a:pt x="342" y="118"/>
                  </a:cubicBezTo>
                  <a:cubicBezTo>
                    <a:pt x="342" y="118"/>
                    <a:pt x="342" y="118"/>
                    <a:pt x="341" y="118"/>
                  </a:cubicBezTo>
                  <a:cubicBezTo>
                    <a:pt x="341" y="118"/>
                    <a:pt x="342" y="119"/>
                    <a:pt x="342" y="119"/>
                  </a:cubicBezTo>
                  <a:cubicBezTo>
                    <a:pt x="343" y="119"/>
                    <a:pt x="343" y="120"/>
                    <a:pt x="344" y="120"/>
                  </a:cubicBezTo>
                  <a:cubicBezTo>
                    <a:pt x="345" y="121"/>
                    <a:pt x="346" y="121"/>
                    <a:pt x="346" y="122"/>
                  </a:cubicBezTo>
                  <a:cubicBezTo>
                    <a:pt x="347" y="123"/>
                    <a:pt x="348" y="123"/>
                    <a:pt x="349" y="124"/>
                  </a:cubicBezTo>
                  <a:cubicBezTo>
                    <a:pt x="348" y="123"/>
                    <a:pt x="348" y="122"/>
                    <a:pt x="348" y="122"/>
                  </a:cubicBezTo>
                  <a:cubicBezTo>
                    <a:pt x="347" y="122"/>
                    <a:pt x="347" y="121"/>
                    <a:pt x="348" y="121"/>
                  </a:cubicBezTo>
                  <a:cubicBezTo>
                    <a:pt x="348" y="121"/>
                    <a:pt x="348" y="121"/>
                    <a:pt x="348" y="121"/>
                  </a:cubicBezTo>
                  <a:cubicBezTo>
                    <a:pt x="349" y="122"/>
                    <a:pt x="349" y="122"/>
                    <a:pt x="350" y="122"/>
                  </a:cubicBezTo>
                  <a:cubicBezTo>
                    <a:pt x="351" y="123"/>
                    <a:pt x="352" y="123"/>
                    <a:pt x="353" y="123"/>
                  </a:cubicBezTo>
                  <a:cubicBezTo>
                    <a:pt x="354" y="123"/>
                    <a:pt x="354" y="123"/>
                    <a:pt x="355" y="124"/>
                  </a:cubicBezTo>
                  <a:cubicBezTo>
                    <a:pt x="356" y="124"/>
                    <a:pt x="356" y="125"/>
                    <a:pt x="357" y="125"/>
                  </a:cubicBezTo>
                  <a:cubicBezTo>
                    <a:pt x="357" y="125"/>
                    <a:pt x="357" y="126"/>
                    <a:pt x="358" y="126"/>
                  </a:cubicBezTo>
                  <a:cubicBezTo>
                    <a:pt x="359" y="126"/>
                    <a:pt x="358" y="127"/>
                    <a:pt x="359" y="127"/>
                  </a:cubicBezTo>
                  <a:cubicBezTo>
                    <a:pt x="359" y="127"/>
                    <a:pt x="359" y="127"/>
                    <a:pt x="359" y="127"/>
                  </a:cubicBezTo>
                  <a:cubicBezTo>
                    <a:pt x="359" y="128"/>
                    <a:pt x="360" y="128"/>
                    <a:pt x="360" y="128"/>
                  </a:cubicBezTo>
                  <a:cubicBezTo>
                    <a:pt x="360" y="128"/>
                    <a:pt x="360" y="128"/>
                    <a:pt x="360" y="128"/>
                  </a:cubicBezTo>
                  <a:cubicBezTo>
                    <a:pt x="360" y="128"/>
                    <a:pt x="359" y="128"/>
                    <a:pt x="359" y="128"/>
                  </a:cubicBezTo>
                  <a:cubicBezTo>
                    <a:pt x="359" y="128"/>
                    <a:pt x="359" y="129"/>
                    <a:pt x="359" y="129"/>
                  </a:cubicBezTo>
                  <a:cubicBezTo>
                    <a:pt x="359" y="130"/>
                    <a:pt x="360" y="130"/>
                    <a:pt x="360" y="130"/>
                  </a:cubicBezTo>
                  <a:cubicBezTo>
                    <a:pt x="361" y="130"/>
                    <a:pt x="362" y="131"/>
                    <a:pt x="363" y="131"/>
                  </a:cubicBezTo>
                  <a:cubicBezTo>
                    <a:pt x="364" y="132"/>
                    <a:pt x="365" y="133"/>
                    <a:pt x="365" y="132"/>
                  </a:cubicBezTo>
                  <a:cubicBezTo>
                    <a:pt x="365" y="132"/>
                    <a:pt x="366" y="132"/>
                    <a:pt x="366" y="132"/>
                  </a:cubicBezTo>
                  <a:cubicBezTo>
                    <a:pt x="367" y="132"/>
                    <a:pt x="367" y="133"/>
                    <a:pt x="368" y="133"/>
                  </a:cubicBezTo>
                  <a:cubicBezTo>
                    <a:pt x="368" y="133"/>
                    <a:pt x="368" y="134"/>
                    <a:pt x="368" y="134"/>
                  </a:cubicBezTo>
                  <a:cubicBezTo>
                    <a:pt x="368" y="134"/>
                    <a:pt x="368" y="134"/>
                    <a:pt x="368" y="134"/>
                  </a:cubicBezTo>
                  <a:cubicBezTo>
                    <a:pt x="367" y="133"/>
                    <a:pt x="367" y="134"/>
                    <a:pt x="366" y="134"/>
                  </a:cubicBezTo>
                  <a:cubicBezTo>
                    <a:pt x="365" y="134"/>
                    <a:pt x="365" y="134"/>
                    <a:pt x="364" y="133"/>
                  </a:cubicBezTo>
                  <a:cubicBezTo>
                    <a:pt x="363" y="133"/>
                    <a:pt x="362" y="132"/>
                    <a:pt x="361" y="132"/>
                  </a:cubicBezTo>
                  <a:cubicBezTo>
                    <a:pt x="359" y="131"/>
                    <a:pt x="357" y="131"/>
                    <a:pt x="355" y="130"/>
                  </a:cubicBezTo>
                  <a:cubicBezTo>
                    <a:pt x="353" y="130"/>
                    <a:pt x="352" y="129"/>
                    <a:pt x="350" y="127"/>
                  </a:cubicBezTo>
                  <a:cubicBezTo>
                    <a:pt x="350" y="128"/>
                    <a:pt x="350" y="128"/>
                    <a:pt x="350" y="128"/>
                  </a:cubicBezTo>
                  <a:cubicBezTo>
                    <a:pt x="349" y="128"/>
                    <a:pt x="349" y="128"/>
                    <a:pt x="348" y="128"/>
                  </a:cubicBezTo>
                  <a:cubicBezTo>
                    <a:pt x="348" y="128"/>
                    <a:pt x="347" y="127"/>
                    <a:pt x="347" y="128"/>
                  </a:cubicBezTo>
                  <a:cubicBezTo>
                    <a:pt x="346" y="128"/>
                    <a:pt x="345" y="129"/>
                    <a:pt x="345" y="130"/>
                  </a:cubicBezTo>
                  <a:cubicBezTo>
                    <a:pt x="345" y="130"/>
                    <a:pt x="344" y="130"/>
                    <a:pt x="344" y="131"/>
                  </a:cubicBezTo>
                  <a:cubicBezTo>
                    <a:pt x="345" y="132"/>
                    <a:pt x="344" y="132"/>
                    <a:pt x="344" y="132"/>
                  </a:cubicBezTo>
                  <a:cubicBezTo>
                    <a:pt x="344" y="133"/>
                    <a:pt x="344" y="134"/>
                    <a:pt x="343" y="135"/>
                  </a:cubicBezTo>
                  <a:cubicBezTo>
                    <a:pt x="343" y="135"/>
                    <a:pt x="344" y="136"/>
                    <a:pt x="344" y="136"/>
                  </a:cubicBezTo>
                  <a:cubicBezTo>
                    <a:pt x="345" y="136"/>
                    <a:pt x="347" y="137"/>
                    <a:pt x="348" y="136"/>
                  </a:cubicBezTo>
                  <a:cubicBezTo>
                    <a:pt x="348" y="136"/>
                    <a:pt x="349" y="136"/>
                    <a:pt x="349" y="136"/>
                  </a:cubicBezTo>
                  <a:cubicBezTo>
                    <a:pt x="349" y="136"/>
                    <a:pt x="350" y="137"/>
                    <a:pt x="351" y="137"/>
                  </a:cubicBezTo>
                  <a:cubicBezTo>
                    <a:pt x="351" y="137"/>
                    <a:pt x="351" y="137"/>
                    <a:pt x="351" y="137"/>
                  </a:cubicBezTo>
                  <a:cubicBezTo>
                    <a:pt x="352" y="136"/>
                    <a:pt x="353" y="136"/>
                    <a:pt x="354" y="138"/>
                  </a:cubicBezTo>
                  <a:cubicBezTo>
                    <a:pt x="355" y="138"/>
                    <a:pt x="356" y="139"/>
                    <a:pt x="356" y="139"/>
                  </a:cubicBezTo>
                  <a:cubicBezTo>
                    <a:pt x="356" y="139"/>
                    <a:pt x="356" y="138"/>
                    <a:pt x="356" y="138"/>
                  </a:cubicBezTo>
                  <a:close/>
                  <a:moveTo>
                    <a:pt x="58" y="18"/>
                  </a:moveTo>
                  <a:cubicBezTo>
                    <a:pt x="58" y="18"/>
                    <a:pt x="58" y="18"/>
                    <a:pt x="58" y="18"/>
                  </a:cubicBezTo>
                  <a:cubicBezTo>
                    <a:pt x="57" y="17"/>
                    <a:pt x="57" y="17"/>
                    <a:pt x="58" y="17"/>
                  </a:cubicBezTo>
                  <a:cubicBezTo>
                    <a:pt x="59" y="17"/>
                    <a:pt x="59" y="17"/>
                    <a:pt x="59" y="17"/>
                  </a:cubicBezTo>
                  <a:cubicBezTo>
                    <a:pt x="59" y="16"/>
                    <a:pt x="60" y="16"/>
                    <a:pt x="61" y="17"/>
                  </a:cubicBezTo>
                  <a:cubicBezTo>
                    <a:pt x="61" y="17"/>
                    <a:pt x="59" y="17"/>
                    <a:pt x="58" y="18"/>
                  </a:cubicBezTo>
                  <a:close/>
                  <a:moveTo>
                    <a:pt x="60" y="87"/>
                  </a:moveTo>
                  <a:cubicBezTo>
                    <a:pt x="59" y="87"/>
                    <a:pt x="60" y="87"/>
                    <a:pt x="59" y="87"/>
                  </a:cubicBezTo>
                  <a:cubicBezTo>
                    <a:pt x="58" y="86"/>
                    <a:pt x="58" y="86"/>
                    <a:pt x="58" y="85"/>
                  </a:cubicBezTo>
                  <a:cubicBezTo>
                    <a:pt x="58" y="85"/>
                    <a:pt x="58" y="85"/>
                    <a:pt x="58" y="85"/>
                  </a:cubicBezTo>
                  <a:cubicBezTo>
                    <a:pt x="59" y="86"/>
                    <a:pt x="60" y="86"/>
                    <a:pt x="61" y="87"/>
                  </a:cubicBezTo>
                  <a:cubicBezTo>
                    <a:pt x="61" y="87"/>
                    <a:pt x="60" y="87"/>
                    <a:pt x="60" y="87"/>
                  </a:cubicBezTo>
                  <a:close/>
                  <a:moveTo>
                    <a:pt x="88" y="121"/>
                  </a:moveTo>
                  <a:cubicBezTo>
                    <a:pt x="87" y="121"/>
                    <a:pt x="87" y="121"/>
                    <a:pt x="87" y="121"/>
                  </a:cubicBezTo>
                  <a:cubicBezTo>
                    <a:pt x="87" y="121"/>
                    <a:pt x="87" y="121"/>
                    <a:pt x="87" y="121"/>
                  </a:cubicBezTo>
                  <a:cubicBezTo>
                    <a:pt x="87" y="120"/>
                    <a:pt x="86" y="119"/>
                    <a:pt x="85" y="118"/>
                  </a:cubicBezTo>
                  <a:cubicBezTo>
                    <a:pt x="85" y="118"/>
                    <a:pt x="85" y="117"/>
                    <a:pt x="85" y="117"/>
                  </a:cubicBezTo>
                  <a:cubicBezTo>
                    <a:pt x="84" y="117"/>
                    <a:pt x="85" y="116"/>
                    <a:pt x="85" y="116"/>
                  </a:cubicBezTo>
                  <a:cubicBezTo>
                    <a:pt x="85" y="115"/>
                    <a:pt x="85" y="115"/>
                    <a:pt x="85" y="114"/>
                  </a:cubicBezTo>
                  <a:cubicBezTo>
                    <a:pt x="85" y="114"/>
                    <a:pt x="85" y="113"/>
                    <a:pt x="85" y="113"/>
                  </a:cubicBezTo>
                  <a:cubicBezTo>
                    <a:pt x="86" y="114"/>
                    <a:pt x="85" y="115"/>
                    <a:pt x="86" y="116"/>
                  </a:cubicBezTo>
                  <a:cubicBezTo>
                    <a:pt x="86" y="116"/>
                    <a:pt x="86" y="116"/>
                    <a:pt x="86" y="116"/>
                  </a:cubicBezTo>
                  <a:cubicBezTo>
                    <a:pt x="86" y="116"/>
                    <a:pt x="86" y="117"/>
                    <a:pt x="85" y="117"/>
                  </a:cubicBezTo>
                  <a:cubicBezTo>
                    <a:pt x="86" y="118"/>
                    <a:pt x="86" y="118"/>
                    <a:pt x="87" y="118"/>
                  </a:cubicBezTo>
                  <a:cubicBezTo>
                    <a:pt x="87" y="119"/>
                    <a:pt x="87" y="119"/>
                    <a:pt x="87" y="120"/>
                  </a:cubicBezTo>
                  <a:cubicBezTo>
                    <a:pt x="87" y="120"/>
                    <a:pt x="87" y="121"/>
                    <a:pt x="88" y="121"/>
                  </a:cubicBezTo>
                  <a:cubicBezTo>
                    <a:pt x="88" y="121"/>
                    <a:pt x="88" y="121"/>
                    <a:pt x="88" y="121"/>
                  </a:cubicBezTo>
                  <a:close/>
                  <a:moveTo>
                    <a:pt x="93" y="130"/>
                  </a:moveTo>
                  <a:cubicBezTo>
                    <a:pt x="92" y="130"/>
                    <a:pt x="93" y="130"/>
                    <a:pt x="93" y="129"/>
                  </a:cubicBezTo>
                  <a:cubicBezTo>
                    <a:pt x="92" y="129"/>
                    <a:pt x="92" y="128"/>
                    <a:pt x="92" y="127"/>
                  </a:cubicBezTo>
                  <a:cubicBezTo>
                    <a:pt x="92" y="127"/>
                    <a:pt x="92" y="127"/>
                    <a:pt x="92" y="127"/>
                  </a:cubicBezTo>
                  <a:cubicBezTo>
                    <a:pt x="92" y="127"/>
                    <a:pt x="93" y="126"/>
                    <a:pt x="92" y="126"/>
                  </a:cubicBezTo>
                  <a:cubicBezTo>
                    <a:pt x="92" y="125"/>
                    <a:pt x="93" y="124"/>
                    <a:pt x="92" y="124"/>
                  </a:cubicBezTo>
                  <a:cubicBezTo>
                    <a:pt x="92" y="124"/>
                    <a:pt x="92" y="124"/>
                    <a:pt x="92" y="124"/>
                  </a:cubicBezTo>
                  <a:cubicBezTo>
                    <a:pt x="92" y="123"/>
                    <a:pt x="92" y="123"/>
                    <a:pt x="92" y="123"/>
                  </a:cubicBezTo>
                  <a:cubicBezTo>
                    <a:pt x="93" y="123"/>
                    <a:pt x="93" y="123"/>
                    <a:pt x="93" y="123"/>
                  </a:cubicBezTo>
                  <a:cubicBezTo>
                    <a:pt x="93" y="124"/>
                    <a:pt x="93" y="124"/>
                    <a:pt x="93" y="124"/>
                  </a:cubicBezTo>
                  <a:cubicBezTo>
                    <a:pt x="93" y="125"/>
                    <a:pt x="93" y="126"/>
                    <a:pt x="93" y="127"/>
                  </a:cubicBezTo>
                  <a:cubicBezTo>
                    <a:pt x="93" y="127"/>
                    <a:pt x="93" y="127"/>
                    <a:pt x="93" y="127"/>
                  </a:cubicBezTo>
                  <a:cubicBezTo>
                    <a:pt x="93" y="127"/>
                    <a:pt x="93" y="127"/>
                    <a:pt x="93" y="128"/>
                  </a:cubicBezTo>
                  <a:cubicBezTo>
                    <a:pt x="93" y="128"/>
                    <a:pt x="93" y="129"/>
                    <a:pt x="93" y="129"/>
                  </a:cubicBezTo>
                  <a:cubicBezTo>
                    <a:pt x="93" y="129"/>
                    <a:pt x="93" y="129"/>
                    <a:pt x="93" y="129"/>
                  </a:cubicBezTo>
                  <a:cubicBezTo>
                    <a:pt x="93" y="130"/>
                    <a:pt x="94" y="130"/>
                    <a:pt x="93" y="130"/>
                  </a:cubicBezTo>
                  <a:close/>
                  <a:moveTo>
                    <a:pt x="94" y="110"/>
                  </a:moveTo>
                  <a:cubicBezTo>
                    <a:pt x="94" y="111"/>
                    <a:pt x="93" y="111"/>
                    <a:pt x="93" y="111"/>
                  </a:cubicBezTo>
                  <a:cubicBezTo>
                    <a:pt x="92" y="112"/>
                    <a:pt x="92" y="112"/>
                    <a:pt x="93" y="112"/>
                  </a:cubicBezTo>
                  <a:cubicBezTo>
                    <a:pt x="93" y="112"/>
                    <a:pt x="93" y="112"/>
                    <a:pt x="93" y="112"/>
                  </a:cubicBezTo>
                  <a:cubicBezTo>
                    <a:pt x="92" y="113"/>
                    <a:pt x="92" y="112"/>
                    <a:pt x="91" y="112"/>
                  </a:cubicBezTo>
                  <a:cubicBezTo>
                    <a:pt x="90" y="112"/>
                    <a:pt x="90" y="112"/>
                    <a:pt x="89" y="112"/>
                  </a:cubicBezTo>
                  <a:cubicBezTo>
                    <a:pt x="90" y="112"/>
                    <a:pt x="89" y="111"/>
                    <a:pt x="90" y="110"/>
                  </a:cubicBezTo>
                  <a:cubicBezTo>
                    <a:pt x="90" y="110"/>
                    <a:pt x="90" y="110"/>
                    <a:pt x="90" y="110"/>
                  </a:cubicBezTo>
                  <a:cubicBezTo>
                    <a:pt x="90" y="109"/>
                    <a:pt x="90" y="109"/>
                    <a:pt x="90" y="109"/>
                  </a:cubicBezTo>
                  <a:cubicBezTo>
                    <a:pt x="90" y="109"/>
                    <a:pt x="91" y="109"/>
                    <a:pt x="91" y="109"/>
                  </a:cubicBezTo>
                  <a:cubicBezTo>
                    <a:pt x="91" y="108"/>
                    <a:pt x="92" y="108"/>
                    <a:pt x="93" y="108"/>
                  </a:cubicBezTo>
                  <a:cubicBezTo>
                    <a:pt x="93" y="108"/>
                    <a:pt x="93" y="108"/>
                    <a:pt x="94" y="108"/>
                  </a:cubicBezTo>
                  <a:cubicBezTo>
                    <a:pt x="94" y="109"/>
                    <a:pt x="94" y="109"/>
                    <a:pt x="95" y="109"/>
                  </a:cubicBezTo>
                  <a:cubicBezTo>
                    <a:pt x="94" y="110"/>
                    <a:pt x="94" y="110"/>
                    <a:pt x="94" y="110"/>
                  </a:cubicBezTo>
                  <a:cubicBezTo>
                    <a:pt x="94" y="110"/>
                    <a:pt x="94" y="110"/>
                    <a:pt x="94" y="110"/>
                  </a:cubicBezTo>
                  <a:close/>
                  <a:moveTo>
                    <a:pt x="106" y="15"/>
                  </a:moveTo>
                  <a:cubicBezTo>
                    <a:pt x="106" y="15"/>
                    <a:pt x="107" y="15"/>
                    <a:pt x="107" y="15"/>
                  </a:cubicBezTo>
                  <a:cubicBezTo>
                    <a:pt x="107" y="15"/>
                    <a:pt x="107" y="15"/>
                    <a:pt x="108" y="15"/>
                  </a:cubicBezTo>
                  <a:cubicBezTo>
                    <a:pt x="108" y="15"/>
                    <a:pt x="108" y="15"/>
                    <a:pt x="108" y="15"/>
                  </a:cubicBezTo>
                  <a:cubicBezTo>
                    <a:pt x="108" y="15"/>
                    <a:pt x="108" y="15"/>
                    <a:pt x="108" y="15"/>
                  </a:cubicBezTo>
                  <a:cubicBezTo>
                    <a:pt x="108" y="15"/>
                    <a:pt x="109" y="15"/>
                    <a:pt x="109" y="15"/>
                  </a:cubicBezTo>
                  <a:cubicBezTo>
                    <a:pt x="109" y="16"/>
                    <a:pt x="109" y="16"/>
                    <a:pt x="110" y="17"/>
                  </a:cubicBezTo>
                  <a:cubicBezTo>
                    <a:pt x="109" y="17"/>
                    <a:pt x="109" y="17"/>
                    <a:pt x="109" y="18"/>
                  </a:cubicBezTo>
                  <a:cubicBezTo>
                    <a:pt x="109" y="18"/>
                    <a:pt x="108" y="17"/>
                    <a:pt x="108" y="17"/>
                  </a:cubicBezTo>
                  <a:cubicBezTo>
                    <a:pt x="108" y="17"/>
                    <a:pt x="107" y="17"/>
                    <a:pt x="107" y="16"/>
                  </a:cubicBezTo>
                  <a:cubicBezTo>
                    <a:pt x="106" y="16"/>
                    <a:pt x="106" y="15"/>
                    <a:pt x="106" y="15"/>
                  </a:cubicBezTo>
                  <a:close/>
                  <a:moveTo>
                    <a:pt x="98" y="15"/>
                  </a:moveTo>
                  <a:cubicBezTo>
                    <a:pt x="99" y="15"/>
                    <a:pt x="99" y="16"/>
                    <a:pt x="100" y="16"/>
                  </a:cubicBezTo>
                  <a:cubicBezTo>
                    <a:pt x="101" y="16"/>
                    <a:pt x="101" y="16"/>
                    <a:pt x="102" y="17"/>
                  </a:cubicBezTo>
                  <a:cubicBezTo>
                    <a:pt x="103" y="17"/>
                    <a:pt x="102" y="17"/>
                    <a:pt x="101" y="18"/>
                  </a:cubicBezTo>
                  <a:cubicBezTo>
                    <a:pt x="101" y="18"/>
                    <a:pt x="101" y="18"/>
                    <a:pt x="100" y="18"/>
                  </a:cubicBezTo>
                  <a:cubicBezTo>
                    <a:pt x="99" y="17"/>
                    <a:pt x="99" y="18"/>
                    <a:pt x="99" y="18"/>
                  </a:cubicBezTo>
                  <a:cubicBezTo>
                    <a:pt x="98" y="17"/>
                    <a:pt x="97" y="16"/>
                    <a:pt x="96" y="16"/>
                  </a:cubicBezTo>
                  <a:cubicBezTo>
                    <a:pt x="97" y="16"/>
                    <a:pt x="97" y="15"/>
                    <a:pt x="98" y="15"/>
                  </a:cubicBezTo>
                  <a:close/>
                  <a:moveTo>
                    <a:pt x="95" y="14"/>
                  </a:moveTo>
                  <a:cubicBezTo>
                    <a:pt x="95" y="15"/>
                    <a:pt x="95" y="15"/>
                    <a:pt x="94" y="15"/>
                  </a:cubicBezTo>
                  <a:cubicBezTo>
                    <a:pt x="94" y="15"/>
                    <a:pt x="93" y="15"/>
                    <a:pt x="93" y="15"/>
                  </a:cubicBezTo>
                  <a:cubicBezTo>
                    <a:pt x="93" y="15"/>
                    <a:pt x="92" y="16"/>
                    <a:pt x="92" y="16"/>
                  </a:cubicBezTo>
                  <a:cubicBezTo>
                    <a:pt x="92" y="15"/>
                    <a:pt x="91" y="15"/>
                    <a:pt x="90" y="15"/>
                  </a:cubicBezTo>
                  <a:cubicBezTo>
                    <a:pt x="90" y="15"/>
                    <a:pt x="90" y="15"/>
                    <a:pt x="90" y="15"/>
                  </a:cubicBezTo>
                  <a:cubicBezTo>
                    <a:pt x="90" y="15"/>
                    <a:pt x="90" y="15"/>
                    <a:pt x="90" y="15"/>
                  </a:cubicBezTo>
                  <a:cubicBezTo>
                    <a:pt x="91" y="15"/>
                    <a:pt x="91" y="15"/>
                    <a:pt x="92" y="15"/>
                  </a:cubicBezTo>
                  <a:cubicBezTo>
                    <a:pt x="92" y="15"/>
                    <a:pt x="92" y="14"/>
                    <a:pt x="93" y="14"/>
                  </a:cubicBezTo>
                  <a:cubicBezTo>
                    <a:pt x="92" y="14"/>
                    <a:pt x="92" y="14"/>
                    <a:pt x="93" y="14"/>
                  </a:cubicBezTo>
                  <a:cubicBezTo>
                    <a:pt x="94" y="14"/>
                    <a:pt x="94" y="14"/>
                    <a:pt x="94" y="14"/>
                  </a:cubicBezTo>
                  <a:cubicBezTo>
                    <a:pt x="94" y="14"/>
                    <a:pt x="95" y="14"/>
                    <a:pt x="95" y="14"/>
                  </a:cubicBezTo>
                  <a:cubicBezTo>
                    <a:pt x="94" y="13"/>
                    <a:pt x="95" y="14"/>
                    <a:pt x="96" y="14"/>
                  </a:cubicBezTo>
                  <a:cubicBezTo>
                    <a:pt x="96" y="14"/>
                    <a:pt x="95" y="14"/>
                    <a:pt x="95" y="14"/>
                  </a:cubicBezTo>
                  <a:close/>
                  <a:moveTo>
                    <a:pt x="90" y="47"/>
                  </a:moveTo>
                  <a:cubicBezTo>
                    <a:pt x="90" y="47"/>
                    <a:pt x="90" y="47"/>
                    <a:pt x="90" y="47"/>
                  </a:cubicBezTo>
                  <a:cubicBezTo>
                    <a:pt x="89" y="47"/>
                    <a:pt x="89" y="46"/>
                    <a:pt x="88" y="47"/>
                  </a:cubicBezTo>
                  <a:cubicBezTo>
                    <a:pt x="88" y="47"/>
                    <a:pt x="87" y="47"/>
                    <a:pt x="86" y="46"/>
                  </a:cubicBezTo>
                  <a:cubicBezTo>
                    <a:pt x="87" y="46"/>
                    <a:pt x="87" y="46"/>
                    <a:pt x="87" y="46"/>
                  </a:cubicBezTo>
                  <a:cubicBezTo>
                    <a:pt x="88" y="46"/>
                    <a:pt x="89" y="46"/>
                    <a:pt x="91" y="46"/>
                  </a:cubicBezTo>
                  <a:cubicBezTo>
                    <a:pt x="91" y="46"/>
                    <a:pt x="91" y="46"/>
                    <a:pt x="91" y="46"/>
                  </a:cubicBezTo>
                  <a:cubicBezTo>
                    <a:pt x="91" y="46"/>
                    <a:pt x="91" y="47"/>
                    <a:pt x="90" y="47"/>
                  </a:cubicBezTo>
                  <a:close/>
                  <a:moveTo>
                    <a:pt x="117" y="48"/>
                  </a:moveTo>
                  <a:cubicBezTo>
                    <a:pt x="117" y="48"/>
                    <a:pt x="116" y="48"/>
                    <a:pt x="115" y="48"/>
                  </a:cubicBezTo>
                  <a:cubicBezTo>
                    <a:pt x="114" y="48"/>
                    <a:pt x="113" y="49"/>
                    <a:pt x="112" y="48"/>
                  </a:cubicBezTo>
                  <a:cubicBezTo>
                    <a:pt x="112" y="48"/>
                    <a:pt x="111" y="48"/>
                    <a:pt x="111" y="48"/>
                  </a:cubicBezTo>
                  <a:cubicBezTo>
                    <a:pt x="110" y="48"/>
                    <a:pt x="109" y="48"/>
                    <a:pt x="109" y="48"/>
                  </a:cubicBezTo>
                  <a:cubicBezTo>
                    <a:pt x="108" y="48"/>
                    <a:pt x="107" y="47"/>
                    <a:pt x="106" y="47"/>
                  </a:cubicBezTo>
                  <a:cubicBezTo>
                    <a:pt x="105" y="47"/>
                    <a:pt x="105" y="46"/>
                    <a:pt x="104" y="46"/>
                  </a:cubicBezTo>
                  <a:cubicBezTo>
                    <a:pt x="103" y="46"/>
                    <a:pt x="103" y="45"/>
                    <a:pt x="102" y="46"/>
                  </a:cubicBezTo>
                  <a:cubicBezTo>
                    <a:pt x="102" y="46"/>
                    <a:pt x="102" y="46"/>
                    <a:pt x="102" y="46"/>
                  </a:cubicBezTo>
                  <a:cubicBezTo>
                    <a:pt x="100" y="45"/>
                    <a:pt x="99" y="45"/>
                    <a:pt x="98" y="46"/>
                  </a:cubicBezTo>
                  <a:cubicBezTo>
                    <a:pt x="94" y="46"/>
                    <a:pt x="95" y="46"/>
                    <a:pt x="92" y="46"/>
                  </a:cubicBezTo>
                  <a:cubicBezTo>
                    <a:pt x="91" y="46"/>
                    <a:pt x="90" y="45"/>
                    <a:pt x="89" y="45"/>
                  </a:cubicBezTo>
                  <a:cubicBezTo>
                    <a:pt x="89" y="45"/>
                    <a:pt x="89" y="45"/>
                    <a:pt x="89" y="44"/>
                  </a:cubicBezTo>
                  <a:cubicBezTo>
                    <a:pt x="89" y="44"/>
                    <a:pt x="88" y="44"/>
                    <a:pt x="89" y="43"/>
                  </a:cubicBezTo>
                  <a:cubicBezTo>
                    <a:pt x="89" y="43"/>
                    <a:pt x="89" y="42"/>
                    <a:pt x="90" y="42"/>
                  </a:cubicBezTo>
                  <a:cubicBezTo>
                    <a:pt x="90" y="42"/>
                    <a:pt x="90" y="42"/>
                    <a:pt x="90" y="42"/>
                  </a:cubicBezTo>
                  <a:cubicBezTo>
                    <a:pt x="90" y="41"/>
                    <a:pt x="91" y="41"/>
                    <a:pt x="91" y="41"/>
                  </a:cubicBezTo>
                  <a:cubicBezTo>
                    <a:pt x="91" y="40"/>
                    <a:pt x="92" y="40"/>
                    <a:pt x="92" y="40"/>
                  </a:cubicBezTo>
                  <a:cubicBezTo>
                    <a:pt x="93" y="40"/>
                    <a:pt x="93" y="40"/>
                    <a:pt x="93" y="40"/>
                  </a:cubicBezTo>
                  <a:cubicBezTo>
                    <a:pt x="93" y="39"/>
                    <a:pt x="93" y="39"/>
                    <a:pt x="94" y="39"/>
                  </a:cubicBezTo>
                  <a:cubicBezTo>
                    <a:pt x="95" y="39"/>
                    <a:pt x="95" y="39"/>
                    <a:pt x="95" y="38"/>
                  </a:cubicBezTo>
                  <a:cubicBezTo>
                    <a:pt x="95" y="38"/>
                    <a:pt x="97" y="38"/>
                    <a:pt x="97" y="38"/>
                  </a:cubicBezTo>
                  <a:cubicBezTo>
                    <a:pt x="97" y="38"/>
                    <a:pt x="97" y="38"/>
                    <a:pt x="98" y="38"/>
                  </a:cubicBezTo>
                  <a:cubicBezTo>
                    <a:pt x="98" y="39"/>
                    <a:pt x="98" y="39"/>
                    <a:pt x="99" y="39"/>
                  </a:cubicBezTo>
                  <a:cubicBezTo>
                    <a:pt x="100" y="39"/>
                    <a:pt x="100" y="39"/>
                    <a:pt x="101" y="39"/>
                  </a:cubicBezTo>
                  <a:cubicBezTo>
                    <a:pt x="101" y="39"/>
                    <a:pt x="101" y="39"/>
                    <a:pt x="101" y="39"/>
                  </a:cubicBezTo>
                  <a:cubicBezTo>
                    <a:pt x="101" y="39"/>
                    <a:pt x="101" y="40"/>
                    <a:pt x="101" y="40"/>
                  </a:cubicBezTo>
                  <a:cubicBezTo>
                    <a:pt x="100" y="40"/>
                    <a:pt x="100" y="40"/>
                    <a:pt x="99" y="40"/>
                  </a:cubicBezTo>
                  <a:cubicBezTo>
                    <a:pt x="99" y="40"/>
                    <a:pt x="99" y="40"/>
                    <a:pt x="99" y="40"/>
                  </a:cubicBezTo>
                  <a:cubicBezTo>
                    <a:pt x="99" y="40"/>
                    <a:pt x="99" y="40"/>
                    <a:pt x="99" y="40"/>
                  </a:cubicBezTo>
                  <a:cubicBezTo>
                    <a:pt x="100" y="40"/>
                    <a:pt x="101" y="41"/>
                    <a:pt x="101" y="41"/>
                  </a:cubicBezTo>
                  <a:cubicBezTo>
                    <a:pt x="101" y="42"/>
                    <a:pt x="101" y="42"/>
                    <a:pt x="102" y="42"/>
                  </a:cubicBezTo>
                  <a:cubicBezTo>
                    <a:pt x="103" y="41"/>
                    <a:pt x="105" y="41"/>
                    <a:pt x="106" y="41"/>
                  </a:cubicBezTo>
                  <a:cubicBezTo>
                    <a:pt x="106" y="41"/>
                    <a:pt x="107" y="41"/>
                    <a:pt x="107" y="41"/>
                  </a:cubicBezTo>
                  <a:cubicBezTo>
                    <a:pt x="107" y="41"/>
                    <a:pt x="107" y="41"/>
                    <a:pt x="106" y="41"/>
                  </a:cubicBezTo>
                  <a:cubicBezTo>
                    <a:pt x="106" y="41"/>
                    <a:pt x="106" y="41"/>
                    <a:pt x="106" y="41"/>
                  </a:cubicBezTo>
                  <a:cubicBezTo>
                    <a:pt x="106" y="41"/>
                    <a:pt x="105" y="41"/>
                    <a:pt x="105" y="41"/>
                  </a:cubicBezTo>
                  <a:cubicBezTo>
                    <a:pt x="104" y="41"/>
                    <a:pt x="104" y="40"/>
                    <a:pt x="104" y="40"/>
                  </a:cubicBezTo>
                  <a:cubicBezTo>
                    <a:pt x="104" y="40"/>
                    <a:pt x="104" y="39"/>
                    <a:pt x="104" y="39"/>
                  </a:cubicBezTo>
                  <a:cubicBezTo>
                    <a:pt x="105" y="39"/>
                    <a:pt x="106" y="39"/>
                    <a:pt x="107" y="39"/>
                  </a:cubicBezTo>
                  <a:cubicBezTo>
                    <a:pt x="109" y="39"/>
                    <a:pt x="110" y="39"/>
                    <a:pt x="112" y="39"/>
                  </a:cubicBezTo>
                  <a:cubicBezTo>
                    <a:pt x="113" y="39"/>
                    <a:pt x="113" y="39"/>
                    <a:pt x="113" y="39"/>
                  </a:cubicBezTo>
                  <a:cubicBezTo>
                    <a:pt x="113" y="39"/>
                    <a:pt x="113" y="39"/>
                    <a:pt x="113" y="39"/>
                  </a:cubicBezTo>
                  <a:cubicBezTo>
                    <a:pt x="112" y="39"/>
                    <a:pt x="111" y="39"/>
                    <a:pt x="111" y="39"/>
                  </a:cubicBezTo>
                  <a:cubicBezTo>
                    <a:pt x="111" y="40"/>
                    <a:pt x="110" y="40"/>
                    <a:pt x="110" y="40"/>
                  </a:cubicBezTo>
                  <a:cubicBezTo>
                    <a:pt x="110" y="40"/>
                    <a:pt x="111" y="40"/>
                    <a:pt x="111" y="40"/>
                  </a:cubicBezTo>
                  <a:cubicBezTo>
                    <a:pt x="110" y="41"/>
                    <a:pt x="110" y="41"/>
                    <a:pt x="109" y="41"/>
                  </a:cubicBezTo>
                  <a:cubicBezTo>
                    <a:pt x="109" y="41"/>
                    <a:pt x="109" y="42"/>
                    <a:pt x="108" y="41"/>
                  </a:cubicBezTo>
                  <a:cubicBezTo>
                    <a:pt x="108" y="41"/>
                    <a:pt x="108" y="41"/>
                    <a:pt x="108" y="41"/>
                  </a:cubicBezTo>
                  <a:cubicBezTo>
                    <a:pt x="108" y="41"/>
                    <a:pt x="108" y="41"/>
                    <a:pt x="108" y="41"/>
                  </a:cubicBezTo>
                  <a:cubicBezTo>
                    <a:pt x="108" y="42"/>
                    <a:pt x="108" y="42"/>
                    <a:pt x="109" y="42"/>
                  </a:cubicBezTo>
                  <a:cubicBezTo>
                    <a:pt x="111" y="43"/>
                    <a:pt x="112" y="44"/>
                    <a:pt x="114" y="45"/>
                  </a:cubicBezTo>
                  <a:cubicBezTo>
                    <a:pt x="114" y="45"/>
                    <a:pt x="115" y="46"/>
                    <a:pt x="116" y="46"/>
                  </a:cubicBezTo>
                  <a:cubicBezTo>
                    <a:pt x="117" y="47"/>
                    <a:pt x="117" y="47"/>
                    <a:pt x="117" y="48"/>
                  </a:cubicBezTo>
                  <a:close/>
                  <a:moveTo>
                    <a:pt x="140" y="54"/>
                  </a:moveTo>
                  <a:cubicBezTo>
                    <a:pt x="140" y="54"/>
                    <a:pt x="139" y="53"/>
                    <a:pt x="139" y="53"/>
                  </a:cubicBezTo>
                  <a:cubicBezTo>
                    <a:pt x="139" y="54"/>
                    <a:pt x="139" y="54"/>
                    <a:pt x="139" y="54"/>
                  </a:cubicBezTo>
                  <a:cubicBezTo>
                    <a:pt x="139" y="55"/>
                    <a:pt x="139" y="55"/>
                    <a:pt x="139" y="55"/>
                  </a:cubicBezTo>
                  <a:cubicBezTo>
                    <a:pt x="140" y="55"/>
                    <a:pt x="140" y="55"/>
                    <a:pt x="140" y="55"/>
                  </a:cubicBezTo>
                  <a:cubicBezTo>
                    <a:pt x="139" y="55"/>
                    <a:pt x="139" y="56"/>
                    <a:pt x="140" y="56"/>
                  </a:cubicBezTo>
                  <a:cubicBezTo>
                    <a:pt x="141" y="56"/>
                    <a:pt x="141" y="57"/>
                    <a:pt x="141" y="57"/>
                  </a:cubicBezTo>
                  <a:cubicBezTo>
                    <a:pt x="140" y="58"/>
                    <a:pt x="140" y="58"/>
                    <a:pt x="140" y="59"/>
                  </a:cubicBezTo>
                  <a:cubicBezTo>
                    <a:pt x="140" y="59"/>
                    <a:pt x="141" y="60"/>
                    <a:pt x="140" y="59"/>
                  </a:cubicBezTo>
                  <a:cubicBezTo>
                    <a:pt x="139" y="59"/>
                    <a:pt x="138" y="59"/>
                    <a:pt x="137" y="59"/>
                  </a:cubicBezTo>
                  <a:cubicBezTo>
                    <a:pt x="135" y="59"/>
                    <a:pt x="134" y="59"/>
                    <a:pt x="133" y="58"/>
                  </a:cubicBezTo>
                  <a:cubicBezTo>
                    <a:pt x="133" y="57"/>
                    <a:pt x="132" y="57"/>
                    <a:pt x="131" y="57"/>
                  </a:cubicBezTo>
                  <a:cubicBezTo>
                    <a:pt x="131" y="57"/>
                    <a:pt x="131" y="57"/>
                    <a:pt x="131" y="56"/>
                  </a:cubicBezTo>
                  <a:cubicBezTo>
                    <a:pt x="130" y="56"/>
                    <a:pt x="131" y="55"/>
                    <a:pt x="131" y="55"/>
                  </a:cubicBezTo>
                  <a:cubicBezTo>
                    <a:pt x="131" y="54"/>
                    <a:pt x="132" y="55"/>
                    <a:pt x="132" y="54"/>
                  </a:cubicBezTo>
                  <a:cubicBezTo>
                    <a:pt x="132" y="54"/>
                    <a:pt x="132" y="53"/>
                    <a:pt x="133" y="53"/>
                  </a:cubicBezTo>
                  <a:cubicBezTo>
                    <a:pt x="133" y="53"/>
                    <a:pt x="133" y="53"/>
                    <a:pt x="134" y="53"/>
                  </a:cubicBezTo>
                  <a:cubicBezTo>
                    <a:pt x="133" y="53"/>
                    <a:pt x="133" y="53"/>
                    <a:pt x="132" y="52"/>
                  </a:cubicBezTo>
                  <a:cubicBezTo>
                    <a:pt x="132" y="51"/>
                    <a:pt x="131" y="50"/>
                    <a:pt x="130" y="49"/>
                  </a:cubicBezTo>
                  <a:cubicBezTo>
                    <a:pt x="129" y="48"/>
                    <a:pt x="129" y="48"/>
                    <a:pt x="129" y="47"/>
                  </a:cubicBezTo>
                  <a:cubicBezTo>
                    <a:pt x="129" y="47"/>
                    <a:pt x="129" y="47"/>
                    <a:pt x="128" y="46"/>
                  </a:cubicBezTo>
                  <a:cubicBezTo>
                    <a:pt x="128" y="46"/>
                    <a:pt x="128" y="45"/>
                    <a:pt x="129" y="45"/>
                  </a:cubicBezTo>
                  <a:cubicBezTo>
                    <a:pt x="129" y="45"/>
                    <a:pt x="129" y="45"/>
                    <a:pt x="130" y="44"/>
                  </a:cubicBezTo>
                  <a:cubicBezTo>
                    <a:pt x="130" y="44"/>
                    <a:pt x="130" y="44"/>
                    <a:pt x="130" y="44"/>
                  </a:cubicBezTo>
                  <a:cubicBezTo>
                    <a:pt x="132" y="44"/>
                    <a:pt x="132" y="44"/>
                    <a:pt x="133" y="44"/>
                  </a:cubicBezTo>
                  <a:cubicBezTo>
                    <a:pt x="135" y="44"/>
                    <a:pt x="136" y="43"/>
                    <a:pt x="138" y="43"/>
                  </a:cubicBezTo>
                  <a:cubicBezTo>
                    <a:pt x="138" y="43"/>
                    <a:pt x="138" y="43"/>
                    <a:pt x="138" y="43"/>
                  </a:cubicBezTo>
                  <a:cubicBezTo>
                    <a:pt x="139" y="44"/>
                    <a:pt x="139" y="44"/>
                    <a:pt x="140" y="44"/>
                  </a:cubicBezTo>
                  <a:cubicBezTo>
                    <a:pt x="140" y="44"/>
                    <a:pt x="141" y="44"/>
                    <a:pt x="142" y="44"/>
                  </a:cubicBezTo>
                  <a:cubicBezTo>
                    <a:pt x="142" y="45"/>
                    <a:pt x="142" y="46"/>
                    <a:pt x="141" y="46"/>
                  </a:cubicBezTo>
                  <a:cubicBezTo>
                    <a:pt x="141" y="46"/>
                    <a:pt x="140" y="46"/>
                    <a:pt x="141" y="46"/>
                  </a:cubicBezTo>
                  <a:cubicBezTo>
                    <a:pt x="141" y="46"/>
                    <a:pt x="141" y="47"/>
                    <a:pt x="141" y="47"/>
                  </a:cubicBezTo>
                  <a:cubicBezTo>
                    <a:pt x="140" y="47"/>
                    <a:pt x="140" y="46"/>
                    <a:pt x="140" y="46"/>
                  </a:cubicBezTo>
                  <a:cubicBezTo>
                    <a:pt x="139" y="46"/>
                    <a:pt x="139" y="46"/>
                    <a:pt x="138" y="46"/>
                  </a:cubicBezTo>
                  <a:cubicBezTo>
                    <a:pt x="138" y="46"/>
                    <a:pt x="138" y="46"/>
                    <a:pt x="137" y="46"/>
                  </a:cubicBezTo>
                  <a:cubicBezTo>
                    <a:pt x="136" y="46"/>
                    <a:pt x="137" y="47"/>
                    <a:pt x="137" y="47"/>
                  </a:cubicBezTo>
                  <a:cubicBezTo>
                    <a:pt x="137" y="47"/>
                    <a:pt x="136" y="47"/>
                    <a:pt x="135" y="47"/>
                  </a:cubicBezTo>
                  <a:cubicBezTo>
                    <a:pt x="135" y="47"/>
                    <a:pt x="135" y="47"/>
                    <a:pt x="135" y="47"/>
                  </a:cubicBezTo>
                  <a:cubicBezTo>
                    <a:pt x="135" y="47"/>
                    <a:pt x="135" y="47"/>
                    <a:pt x="135" y="47"/>
                  </a:cubicBezTo>
                  <a:cubicBezTo>
                    <a:pt x="136" y="47"/>
                    <a:pt x="136" y="48"/>
                    <a:pt x="137" y="49"/>
                  </a:cubicBezTo>
                  <a:cubicBezTo>
                    <a:pt x="138" y="50"/>
                    <a:pt x="138" y="50"/>
                    <a:pt x="140" y="50"/>
                  </a:cubicBezTo>
                  <a:cubicBezTo>
                    <a:pt x="139" y="51"/>
                    <a:pt x="139" y="52"/>
                    <a:pt x="139" y="53"/>
                  </a:cubicBezTo>
                  <a:cubicBezTo>
                    <a:pt x="140" y="52"/>
                    <a:pt x="140" y="52"/>
                    <a:pt x="140" y="52"/>
                  </a:cubicBezTo>
                  <a:cubicBezTo>
                    <a:pt x="141" y="52"/>
                    <a:pt x="142" y="52"/>
                    <a:pt x="142" y="53"/>
                  </a:cubicBezTo>
                  <a:cubicBezTo>
                    <a:pt x="142" y="53"/>
                    <a:pt x="143" y="53"/>
                    <a:pt x="143" y="54"/>
                  </a:cubicBezTo>
                  <a:cubicBezTo>
                    <a:pt x="142" y="54"/>
                    <a:pt x="141" y="54"/>
                    <a:pt x="140" y="54"/>
                  </a:cubicBezTo>
                  <a:close/>
                  <a:moveTo>
                    <a:pt x="159" y="49"/>
                  </a:moveTo>
                  <a:cubicBezTo>
                    <a:pt x="159" y="49"/>
                    <a:pt x="158" y="49"/>
                    <a:pt x="158" y="49"/>
                  </a:cubicBezTo>
                  <a:cubicBezTo>
                    <a:pt x="157" y="50"/>
                    <a:pt x="157" y="50"/>
                    <a:pt x="158" y="50"/>
                  </a:cubicBezTo>
                  <a:cubicBezTo>
                    <a:pt x="158" y="50"/>
                    <a:pt x="158" y="51"/>
                    <a:pt x="158" y="51"/>
                  </a:cubicBezTo>
                  <a:cubicBezTo>
                    <a:pt x="159" y="51"/>
                    <a:pt x="159" y="51"/>
                    <a:pt x="158" y="51"/>
                  </a:cubicBezTo>
                  <a:cubicBezTo>
                    <a:pt x="157" y="52"/>
                    <a:pt x="157" y="52"/>
                    <a:pt x="156" y="53"/>
                  </a:cubicBezTo>
                  <a:cubicBezTo>
                    <a:pt x="156" y="53"/>
                    <a:pt x="156" y="53"/>
                    <a:pt x="156" y="53"/>
                  </a:cubicBezTo>
                  <a:cubicBezTo>
                    <a:pt x="155" y="53"/>
                    <a:pt x="155" y="53"/>
                    <a:pt x="154" y="53"/>
                  </a:cubicBezTo>
                  <a:cubicBezTo>
                    <a:pt x="154" y="52"/>
                    <a:pt x="152" y="52"/>
                    <a:pt x="151" y="51"/>
                  </a:cubicBezTo>
                  <a:cubicBezTo>
                    <a:pt x="151" y="51"/>
                    <a:pt x="151" y="51"/>
                    <a:pt x="151" y="50"/>
                  </a:cubicBezTo>
                  <a:cubicBezTo>
                    <a:pt x="151" y="50"/>
                    <a:pt x="152" y="49"/>
                    <a:pt x="153" y="49"/>
                  </a:cubicBezTo>
                  <a:cubicBezTo>
                    <a:pt x="153" y="48"/>
                    <a:pt x="154" y="48"/>
                    <a:pt x="154" y="49"/>
                  </a:cubicBezTo>
                  <a:cubicBezTo>
                    <a:pt x="154" y="49"/>
                    <a:pt x="154" y="49"/>
                    <a:pt x="154" y="48"/>
                  </a:cubicBezTo>
                  <a:cubicBezTo>
                    <a:pt x="154" y="48"/>
                    <a:pt x="155" y="48"/>
                    <a:pt x="155" y="48"/>
                  </a:cubicBezTo>
                  <a:cubicBezTo>
                    <a:pt x="156" y="49"/>
                    <a:pt x="156" y="49"/>
                    <a:pt x="156" y="48"/>
                  </a:cubicBezTo>
                  <a:cubicBezTo>
                    <a:pt x="156" y="48"/>
                    <a:pt x="156" y="48"/>
                    <a:pt x="156" y="48"/>
                  </a:cubicBezTo>
                  <a:cubicBezTo>
                    <a:pt x="156" y="48"/>
                    <a:pt x="157" y="48"/>
                    <a:pt x="157" y="48"/>
                  </a:cubicBezTo>
                  <a:cubicBezTo>
                    <a:pt x="158" y="48"/>
                    <a:pt x="158" y="49"/>
                    <a:pt x="158" y="49"/>
                  </a:cubicBezTo>
                  <a:cubicBezTo>
                    <a:pt x="158" y="49"/>
                    <a:pt x="159" y="49"/>
                    <a:pt x="159" y="49"/>
                  </a:cubicBezTo>
                  <a:cubicBezTo>
                    <a:pt x="159" y="49"/>
                    <a:pt x="159" y="49"/>
                    <a:pt x="159" y="49"/>
                  </a:cubicBezTo>
                  <a:close/>
                  <a:moveTo>
                    <a:pt x="186" y="57"/>
                  </a:moveTo>
                  <a:cubicBezTo>
                    <a:pt x="185" y="57"/>
                    <a:pt x="184" y="57"/>
                    <a:pt x="184" y="58"/>
                  </a:cubicBezTo>
                  <a:cubicBezTo>
                    <a:pt x="183" y="58"/>
                    <a:pt x="183" y="58"/>
                    <a:pt x="183" y="58"/>
                  </a:cubicBezTo>
                  <a:cubicBezTo>
                    <a:pt x="182" y="57"/>
                    <a:pt x="182" y="57"/>
                    <a:pt x="184" y="56"/>
                  </a:cubicBezTo>
                  <a:cubicBezTo>
                    <a:pt x="186" y="56"/>
                    <a:pt x="188" y="57"/>
                    <a:pt x="189" y="57"/>
                  </a:cubicBezTo>
                  <a:cubicBezTo>
                    <a:pt x="188" y="57"/>
                    <a:pt x="187" y="57"/>
                    <a:pt x="186" y="57"/>
                  </a:cubicBezTo>
                  <a:close/>
                  <a:moveTo>
                    <a:pt x="260" y="73"/>
                  </a:moveTo>
                  <a:cubicBezTo>
                    <a:pt x="260" y="73"/>
                    <a:pt x="260" y="73"/>
                    <a:pt x="259" y="73"/>
                  </a:cubicBezTo>
                  <a:cubicBezTo>
                    <a:pt x="259" y="74"/>
                    <a:pt x="259" y="74"/>
                    <a:pt x="257" y="74"/>
                  </a:cubicBezTo>
                  <a:cubicBezTo>
                    <a:pt x="257" y="73"/>
                    <a:pt x="258" y="74"/>
                    <a:pt x="257" y="74"/>
                  </a:cubicBezTo>
                  <a:cubicBezTo>
                    <a:pt x="257" y="74"/>
                    <a:pt x="256" y="74"/>
                    <a:pt x="256" y="74"/>
                  </a:cubicBezTo>
                  <a:cubicBezTo>
                    <a:pt x="255" y="74"/>
                    <a:pt x="254" y="74"/>
                    <a:pt x="254" y="74"/>
                  </a:cubicBezTo>
                  <a:cubicBezTo>
                    <a:pt x="253" y="74"/>
                    <a:pt x="252" y="74"/>
                    <a:pt x="252" y="73"/>
                  </a:cubicBezTo>
                  <a:cubicBezTo>
                    <a:pt x="251" y="73"/>
                    <a:pt x="251" y="74"/>
                    <a:pt x="251" y="74"/>
                  </a:cubicBezTo>
                  <a:cubicBezTo>
                    <a:pt x="250" y="74"/>
                    <a:pt x="250" y="74"/>
                    <a:pt x="250" y="74"/>
                  </a:cubicBezTo>
                  <a:cubicBezTo>
                    <a:pt x="249" y="73"/>
                    <a:pt x="248" y="73"/>
                    <a:pt x="247" y="73"/>
                  </a:cubicBezTo>
                  <a:cubicBezTo>
                    <a:pt x="247" y="72"/>
                    <a:pt x="247" y="72"/>
                    <a:pt x="247" y="72"/>
                  </a:cubicBezTo>
                  <a:cubicBezTo>
                    <a:pt x="246" y="72"/>
                    <a:pt x="246" y="72"/>
                    <a:pt x="246" y="72"/>
                  </a:cubicBezTo>
                  <a:cubicBezTo>
                    <a:pt x="246" y="72"/>
                    <a:pt x="247" y="72"/>
                    <a:pt x="247" y="72"/>
                  </a:cubicBezTo>
                  <a:cubicBezTo>
                    <a:pt x="248" y="73"/>
                    <a:pt x="250" y="73"/>
                    <a:pt x="251" y="73"/>
                  </a:cubicBezTo>
                  <a:cubicBezTo>
                    <a:pt x="252" y="73"/>
                    <a:pt x="253" y="73"/>
                    <a:pt x="254" y="73"/>
                  </a:cubicBezTo>
                  <a:cubicBezTo>
                    <a:pt x="255" y="73"/>
                    <a:pt x="256" y="73"/>
                    <a:pt x="256" y="73"/>
                  </a:cubicBezTo>
                  <a:cubicBezTo>
                    <a:pt x="257" y="72"/>
                    <a:pt x="258" y="72"/>
                    <a:pt x="259" y="72"/>
                  </a:cubicBezTo>
                  <a:cubicBezTo>
                    <a:pt x="259" y="72"/>
                    <a:pt x="260" y="72"/>
                    <a:pt x="260" y="72"/>
                  </a:cubicBezTo>
                  <a:cubicBezTo>
                    <a:pt x="260" y="72"/>
                    <a:pt x="261" y="72"/>
                    <a:pt x="261" y="72"/>
                  </a:cubicBezTo>
                  <a:cubicBezTo>
                    <a:pt x="260" y="72"/>
                    <a:pt x="260" y="73"/>
                    <a:pt x="260"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14" name="Freeform 14">
              <a:extLst>
                <a:ext uri="{FF2B5EF4-FFF2-40B4-BE49-F238E27FC236}">
                  <a16:creationId xmlns:a16="http://schemas.microsoft.com/office/drawing/2014/main" id="{06E338B0-03F5-71C2-5AF3-A27BC0DD9731}"/>
                </a:ext>
              </a:extLst>
            </p:cNvPr>
            <p:cNvSpPr>
              <a:spLocks noEditPoints="1"/>
            </p:cNvSpPr>
            <p:nvPr/>
          </p:nvSpPr>
          <p:spPr bwMode="auto">
            <a:xfrm>
              <a:off x="160" y="959"/>
              <a:ext cx="2912" cy="1861"/>
            </a:xfrm>
            <a:custGeom>
              <a:avLst/>
              <a:gdLst>
                <a:gd name="T0" fmla="*/ 255 w 284"/>
                <a:gd name="T1" fmla="*/ 91 h 180"/>
                <a:gd name="T2" fmla="*/ 228 w 284"/>
                <a:gd name="T3" fmla="*/ 83 h 180"/>
                <a:gd name="T4" fmla="*/ 208 w 284"/>
                <a:gd name="T5" fmla="*/ 89 h 180"/>
                <a:gd name="T6" fmla="*/ 190 w 284"/>
                <a:gd name="T7" fmla="*/ 90 h 180"/>
                <a:gd name="T8" fmla="*/ 173 w 284"/>
                <a:gd name="T9" fmla="*/ 92 h 180"/>
                <a:gd name="T10" fmla="*/ 160 w 284"/>
                <a:gd name="T11" fmla="*/ 81 h 180"/>
                <a:gd name="T12" fmla="*/ 177 w 284"/>
                <a:gd name="T13" fmla="*/ 72 h 180"/>
                <a:gd name="T14" fmla="*/ 190 w 284"/>
                <a:gd name="T15" fmla="*/ 57 h 180"/>
                <a:gd name="T16" fmla="*/ 191 w 284"/>
                <a:gd name="T17" fmla="*/ 48 h 180"/>
                <a:gd name="T18" fmla="*/ 205 w 284"/>
                <a:gd name="T19" fmla="*/ 37 h 180"/>
                <a:gd name="T20" fmla="*/ 204 w 284"/>
                <a:gd name="T21" fmla="*/ 31 h 180"/>
                <a:gd name="T22" fmla="*/ 222 w 284"/>
                <a:gd name="T23" fmla="*/ 18 h 180"/>
                <a:gd name="T24" fmla="*/ 198 w 284"/>
                <a:gd name="T25" fmla="*/ 15 h 180"/>
                <a:gd name="T26" fmla="*/ 170 w 284"/>
                <a:gd name="T27" fmla="*/ 21 h 180"/>
                <a:gd name="T28" fmla="*/ 168 w 284"/>
                <a:gd name="T29" fmla="*/ 37 h 180"/>
                <a:gd name="T30" fmla="*/ 144 w 284"/>
                <a:gd name="T31" fmla="*/ 32 h 180"/>
                <a:gd name="T32" fmla="*/ 160 w 284"/>
                <a:gd name="T33" fmla="*/ 17 h 180"/>
                <a:gd name="T34" fmla="*/ 170 w 284"/>
                <a:gd name="T35" fmla="*/ 9 h 180"/>
                <a:gd name="T36" fmla="*/ 180 w 284"/>
                <a:gd name="T37" fmla="*/ 14 h 180"/>
                <a:gd name="T38" fmla="*/ 197 w 284"/>
                <a:gd name="T39" fmla="*/ 8 h 180"/>
                <a:gd name="T40" fmla="*/ 201 w 284"/>
                <a:gd name="T41" fmla="*/ 3 h 180"/>
                <a:gd name="T42" fmla="*/ 185 w 284"/>
                <a:gd name="T43" fmla="*/ 2 h 180"/>
                <a:gd name="T44" fmla="*/ 160 w 284"/>
                <a:gd name="T45" fmla="*/ 7 h 180"/>
                <a:gd name="T46" fmla="*/ 151 w 284"/>
                <a:gd name="T47" fmla="*/ 14 h 180"/>
                <a:gd name="T48" fmla="*/ 147 w 284"/>
                <a:gd name="T49" fmla="*/ 18 h 180"/>
                <a:gd name="T50" fmla="*/ 140 w 284"/>
                <a:gd name="T51" fmla="*/ 23 h 180"/>
                <a:gd name="T52" fmla="*/ 129 w 284"/>
                <a:gd name="T53" fmla="*/ 24 h 180"/>
                <a:gd name="T54" fmla="*/ 132 w 284"/>
                <a:gd name="T55" fmla="*/ 31 h 180"/>
                <a:gd name="T56" fmla="*/ 115 w 284"/>
                <a:gd name="T57" fmla="*/ 38 h 180"/>
                <a:gd name="T58" fmla="*/ 99 w 284"/>
                <a:gd name="T59" fmla="*/ 49 h 180"/>
                <a:gd name="T60" fmla="*/ 65 w 284"/>
                <a:gd name="T61" fmla="*/ 69 h 180"/>
                <a:gd name="T62" fmla="*/ 22 w 284"/>
                <a:gd name="T63" fmla="*/ 104 h 180"/>
                <a:gd name="T64" fmla="*/ 26 w 284"/>
                <a:gd name="T65" fmla="*/ 109 h 180"/>
                <a:gd name="T66" fmla="*/ 65 w 284"/>
                <a:gd name="T67" fmla="*/ 92 h 180"/>
                <a:gd name="T68" fmla="*/ 77 w 284"/>
                <a:gd name="T69" fmla="*/ 91 h 180"/>
                <a:gd name="T70" fmla="*/ 89 w 284"/>
                <a:gd name="T71" fmla="*/ 90 h 180"/>
                <a:gd name="T72" fmla="*/ 116 w 284"/>
                <a:gd name="T73" fmla="*/ 100 h 180"/>
                <a:gd name="T74" fmla="*/ 131 w 284"/>
                <a:gd name="T75" fmla="*/ 101 h 180"/>
                <a:gd name="T76" fmla="*/ 148 w 284"/>
                <a:gd name="T77" fmla="*/ 103 h 180"/>
                <a:gd name="T78" fmla="*/ 190 w 284"/>
                <a:gd name="T79" fmla="*/ 99 h 180"/>
                <a:gd name="T80" fmla="*/ 206 w 284"/>
                <a:gd name="T81" fmla="*/ 99 h 180"/>
                <a:gd name="T82" fmla="*/ 208 w 284"/>
                <a:gd name="T83" fmla="*/ 118 h 180"/>
                <a:gd name="T84" fmla="*/ 235 w 284"/>
                <a:gd name="T85" fmla="*/ 139 h 180"/>
                <a:gd name="T86" fmla="*/ 241 w 284"/>
                <a:gd name="T87" fmla="*/ 162 h 180"/>
                <a:gd name="T88" fmla="*/ 242 w 284"/>
                <a:gd name="T89" fmla="*/ 174 h 180"/>
                <a:gd name="T90" fmla="*/ 250 w 284"/>
                <a:gd name="T91" fmla="*/ 179 h 180"/>
                <a:gd name="T92" fmla="*/ 254 w 284"/>
                <a:gd name="T93" fmla="*/ 179 h 180"/>
                <a:gd name="T94" fmla="*/ 252 w 284"/>
                <a:gd name="T95" fmla="*/ 169 h 180"/>
                <a:gd name="T96" fmla="*/ 254 w 284"/>
                <a:gd name="T97" fmla="*/ 156 h 180"/>
                <a:gd name="T98" fmla="*/ 265 w 284"/>
                <a:gd name="T99" fmla="*/ 138 h 180"/>
                <a:gd name="T100" fmla="*/ 278 w 284"/>
                <a:gd name="T101" fmla="*/ 117 h 180"/>
                <a:gd name="T102" fmla="*/ 89 w 284"/>
                <a:gd name="T103" fmla="*/ 59 h 180"/>
                <a:gd name="T104" fmla="*/ 84 w 284"/>
                <a:gd name="T105" fmla="*/ 61 h 180"/>
                <a:gd name="T106" fmla="*/ 94 w 284"/>
                <a:gd name="T107" fmla="*/ 87 h 180"/>
                <a:gd name="T108" fmla="*/ 108 w 284"/>
                <a:gd name="T109" fmla="*/ 60 h 180"/>
                <a:gd name="T110" fmla="*/ 132 w 284"/>
                <a:gd name="T111" fmla="*/ 56 h 180"/>
                <a:gd name="T112" fmla="*/ 136 w 284"/>
                <a:gd name="T113" fmla="*/ 53 h 180"/>
                <a:gd name="T114" fmla="*/ 181 w 284"/>
                <a:gd name="T115" fmla="*/ 48 h 180"/>
                <a:gd name="T116" fmla="*/ 173 w 284"/>
                <a:gd name="T117" fmla="*/ 50 h 180"/>
                <a:gd name="T118" fmla="*/ 163 w 284"/>
                <a:gd name="T119" fmla="*/ 53 h 180"/>
                <a:gd name="T120" fmla="*/ 167 w 284"/>
                <a:gd name="T121" fmla="*/ 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180">
                  <a:moveTo>
                    <a:pt x="284" y="95"/>
                  </a:moveTo>
                  <a:cubicBezTo>
                    <a:pt x="283" y="94"/>
                    <a:pt x="283" y="93"/>
                    <a:pt x="282" y="93"/>
                  </a:cubicBezTo>
                  <a:cubicBezTo>
                    <a:pt x="282" y="92"/>
                    <a:pt x="281" y="92"/>
                    <a:pt x="281" y="92"/>
                  </a:cubicBezTo>
                  <a:cubicBezTo>
                    <a:pt x="280" y="93"/>
                    <a:pt x="279" y="92"/>
                    <a:pt x="278" y="92"/>
                  </a:cubicBezTo>
                  <a:cubicBezTo>
                    <a:pt x="277" y="92"/>
                    <a:pt x="276" y="91"/>
                    <a:pt x="275" y="91"/>
                  </a:cubicBezTo>
                  <a:cubicBezTo>
                    <a:pt x="275" y="91"/>
                    <a:pt x="274" y="90"/>
                    <a:pt x="273" y="90"/>
                  </a:cubicBezTo>
                  <a:cubicBezTo>
                    <a:pt x="271" y="91"/>
                    <a:pt x="270" y="91"/>
                    <a:pt x="268" y="91"/>
                  </a:cubicBezTo>
                  <a:cubicBezTo>
                    <a:pt x="268" y="91"/>
                    <a:pt x="267" y="91"/>
                    <a:pt x="267" y="91"/>
                  </a:cubicBezTo>
                  <a:cubicBezTo>
                    <a:pt x="267" y="91"/>
                    <a:pt x="267" y="92"/>
                    <a:pt x="266" y="92"/>
                  </a:cubicBezTo>
                  <a:cubicBezTo>
                    <a:pt x="266" y="92"/>
                    <a:pt x="266" y="92"/>
                    <a:pt x="266" y="92"/>
                  </a:cubicBezTo>
                  <a:cubicBezTo>
                    <a:pt x="265" y="91"/>
                    <a:pt x="265" y="91"/>
                    <a:pt x="264" y="90"/>
                  </a:cubicBezTo>
                  <a:cubicBezTo>
                    <a:pt x="262" y="90"/>
                    <a:pt x="261" y="90"/>
                    <a:pt x="260" y="90"/>
                  </a:cubicBezTo>
                  <a:cubicBezTo>
                    <a:pt x="259" y="90"/>
                    <a:pt x="259" y="91"/>
                    <a:pt x="259" y="91"/>
                  </a:cubicBezTo>
                  <a:cubicBezTo>
                    <a:pt x="258" y="92"/>
                    <a:pt x="258" y="92"/>
                    <a:pt x="258" y="93"/>
                  </a:cubicBezTo>
                  <a:cubicBezTo>
                    <a:pt x="257" y="93"/>
                    <a:pt x="257" y="93"/>
                    <a:pt x="257" y="93"/>
                  </a:cubicBezTo>
                  <a:cubicBezTo>
                    <a:pt x="257" y="92"/>
                    <a:pt x="258" y="92"/>
                    <a:pt x="258" y="91"/>
                  </a:cubicBezTo>
                  <a:cubicBezTo>
                    <a:pt x="258" y="91"/>
                    <a:pt x="258" y="91"/>
                    <a:pt x="257" y="90"/>
                  </a:cubicBezTo>
                  <a:cubicBezTo>
                    <a:pt x="257" y="90"/>
                    <a:pt x="256" y="90"/>
                    <a:pt x="256" y="90"/>
                  </a:cubicBezTo>
                  <a:cubicBezTo>
                    <a:pt x="256" y="90"/>
                    <a:pt x="256" y="90"/>
                    <a:pt x="256" y="90"/>
                  </a:cubicBezTo>
                  <a:cubicBezTo>
                    <a:pt x="256" y="91"/>
                    <a:pt x="256" y="91"/>
                    <a:pt x="255" y="91"/>
                  </a:cubicBezTo>
                  <a:cubicBezTo>
                    <a:pt x="255" y="91"/>
                    <a:pt x="255" y="91"/>
                    <a:pt x="255" y="90"/>
                  </a:cubicBezTo>
                  <a:cubicBezTo>
                    <a:pt x="255" y="90"/>
                    <a:pt x="255" y="90"/>
                    <a:pt x="255" y="90"/>
                  </a:cubicBezTo>
                  <a:cubicBezTo>
                    <a:pt x="255" y="90"/>
                    <a:pt x="254" y="90"/>
                    <a:pt x="254" y="90"/>
                  </a:cubicBezTo>
                  <a:cubicBezTo>
                    <a:pt x="254" y="90"/>
                    <a:pt x="254" y="90"/>
                    <a:pt x="255" y="89"/>
                  </a:cubicBezTo>
                  <a:cubicBezTo>
                    <a:pt x="255" y="89"/>
                    <a:pt x="255" y="88"/>
                    <a:pt x="254" y="88"/>
                  </a:cubicBezTo>
                  <a:cubicBezTo>
                    <a:pt x="253" y="87"/>
                    <a:pt x="253" y="87"/>
                    <a:pt x="252" y="86"/>
                  </a:cubicBezTo>
                  <a:cubicBezTo>
                    <a:pt x="252" y="86"/>
                    <a:pt x="251" y="86"/>
                    <a:pt x="251" y="85"/>
                  </a:cubicBezTo>
                  <a:cubicBezTo>
                    <a:pt x="251" y="85"/>
                    <a:pt x="250" y="85"/>
                    <a:pt x="250" y="85"/>
                  </a:cubicBezTo>
                  <a:cubicBezTo>
                    <a:pt x="250" y="85"/>
                    <a:pt x="249" y="85"/>
                    <a:pt x="249" y="84"/>
                  </a:cubicBezTo>
                  <a:cubicBezTo>
                    <a:pt x="247" y="84"/>
                    <a:pt x="244" y="84"/>
                    <a:pt x="243" y="85"/>
                  </a:cubicBezTo>
                  <a:cubicBezTo>
                    <a:pt x="242" y="85"/>
                    <a:pt x="241" y="85"/>
                    <a:pt x="240" y="85"/>
                  </a:cubicBezTo>
                  <a:cubicBezTo>
                    <a:pt x="239" y="85"/>
                    <a:pt x="238" y="85"/>
                    <a:pt x="237" y="85"/>
                  </a:cubicBezTo>
                  <a:cubicBezTo>
                    <a:pt x="237" y="85"/>
                    <a:pt x="237" y="85"/>
                    <a:pt x="237" y="85"/>
                  </a:cubicBezTo>
                  <a:cubicBezTo>
                    <a:pt x="237" y="84"/>
                    <a:pt x="237" y="84"/>
                    <a:pt x="236" y="84"/>
                  </a:cubicBezTo>
                  <a:cubicBezTo>
                    <a:pt x="234" y="83"/>
                    <a:pt x="233" y="83"/>
                    <a:pt x="232" y="84"/>
                  </a:cubicBezTo>
                  <a:cubicBezTo>
                    <a:pt x="232" y="84"/>
                    <a:pt x="232" y="84"/>
                    <a:pt x="232" y="84"/>
                  </a:cubicBezTo>
                  <a:cubicBezTo>
                    <a:pt x="232" y="84"/>
                    <a:pt x="232" y="84"/>
                    <a:pt x="232" y="84"/>
                  </a:cubicBezTo>
                  <a:cubicBezTo>
                    <a:pt x="232" y="83"/>
                    <a:pt x="232" y="83"/>
                    <a:pt x="232" y="83"/>
                  </a:cubicBezTo>
                  <a:cubicBezTo>
                    <a:pt x="231" y="83"/>
                    <a:pt x="230" y="83"/>
                    <a:pt x="230" y="83"/>
                  </a:cubicBezTo>
                  <a:cubicBezTo>
                    <a:pt x="229" y="83"/>
                    <a:pt x="229" y="83"/>
                    <a:pt x="228" y="83"/>
                  </a:cubicBezTo>
                  <a:cubicBezTo>
                    <a:pt x="228" y="82"/>
                    <a:pt x="228" y="82"/>
                    <a:pt x="228" y="82"/>
                  </a:cubicBezTo>
                  <a:cubicBezTo>
                    <a:pt x="229" y="82"/>
                    <a:pt x="229" y="82"/>
                    <a:pt x="229" y="82"/>
                  </a:cubicBezTo>
                  <a:cubicBezTo>
                    <a:pt x="228" y="82"/>
                    <a:pt x="228" y="82"/>
                    <a:pt x="228" y="82"/>
                  </a:cubicBezTo>
                  <a:cubicBezTo>
                    <a:pt x="228" y="82"/>
                    <a:pt x="228" y="82"/>
                    <a:pt x="227" y="82"/>
                  </a:cubicBezTo>
                  <a:cubicBezTo>
                    <a:pt x="227" y="83"/>
                    <a:pt x="226" y="83"/>
                    <a:pt x="226" y="84"/>
                  </a:cubicBezTo>
                  <a:cubicBezTo>
                    <a:pt x="225" y="84"/>
                    <a:pt x="224" y="85"/>
                    <a:pt x="223" y="84"/>
                  </a:cubicBezTo>
                  <a:cubicBezTo>
                    <a:pt x="222" y="84"/>
                    <a:pt x="221" y="84"/>
                    <a:pt x="220" y="85"/>
                  </a:cubicBezTo>
                  <a:cubicBezTo>
                    <a:pt x="220" y="86"/>
                    <a:pt x="219" y="86"/>
                    <a:pt x="218" y="85"/>
                  </a:cubicBezTo>
                  <a:cubicBezTo>
                    <a:pt x="218" y="84"/>
                    <a:pt x="217" y="85"/>
                    <a:pt x="216" y="85"/>
                  </a:cubicBezTo>
                  <a:cubicBezTo>
                    <a:pt x="216" y="85"/>
                    <a:pt x="215" y="85"/>
                    <a:pt x="215" y="85"/>
                  </a:cubicBezTo>
                  <a:cubicBezTo>
                    <a:pt x="215" y="84"/>
                    <a:pt x="215" y="85"/>
                    <a:pt x="215" y="85"/>
                  </a:cubicBezTo>
                  <a:cubicBezTo>
                    <a:pt x="214" y="85"/>
                    <a:pt x="214" y="85"/>
                    <a:pt x="215" y="85"/>
                  </a:cubicBezTo>
                  <a:cubicBezTo>
                    <a:pt x="215" y="85"/>
                    <a:pt x="215" y="85"/>
                    <a:pt x="215" y="85"/>
                  </a:cubicBezTo>
                  <a:cubicBezTo>
                    <a:pt x="214" y="86"/>
                    <a:pt x="213" y="87"/>
                    <a:pt x="213" y="87"/>
                  </a:cubicBezTo>
                  <a:cubicBezTo>
                    <a:pt x="213" y="87"/>
                    <a:pt x="212" y="87"/>
                    <a:pt x="212" y="87"/>
                  </a:cubicBezTo>
                  <a:cubicBezTo>
                    <a:pt x="212" y="87"/>
                    <a:pt x="212" y="87"/>
                    <a:pt x="212" y="86"/>
                  </a:cubicBezTo>
                  <a:cubicBezTo>
                    <a:pt x="213" y="85"/>
                    <a:pt x="213" y="85"/>
                    <a:pt x="212" y="85"/>
                  </a:cubicBezTo>
                  <a:cubicBezTo>
                    <a:pt x="211" y="86"/>
                    <a:pt x="210" y="87"/>
                    <a:pt x="210" y="88"/>
                  </a:cubicBezTo>
                  <a:cubicBezTo>
                    <a:pt x="209" y="88"/>
                    <a:pt x="209" y="88"/>
                    <a:pt x="209" y="88"/>
                  </a:cubicBezTo>
                  <a:cubicBezTo>
                    <a:pt x="208" y="88"/>
                    <a:pt x="208" y="89"/>
                    <a:pt x="208" y="89"/>
                  </a:cubicBezTo>
                  <a:cubicBezTo>
                    <a:pt x="208" y="89"/>
                    <a:pt x="208" y="90"/>
                    <a:pt x="207" y="89"/>
                  </a:cubicBezTo>
                  <a:cubicBezTo>
                    <a:pt x="207" y="89"/>
                    <a:pt x="207" y="90"/>
                    <a:pt x="207" y="90"/>
                  </a:cubicBezTo>
                  <a:cubicBezTo>
                    <a:pt x="206" y="90"/>
                    <a:pt x="206" y="91"/>
                    <a:pt x="206" y="91"/>
                  </a:cubicBezTo>
                  <a:cubicBezTo>
                    <a:pt x="206" y="91"/>
                    <a:pt x="206" y="92"/>
                    <a:pt x="207" y="92"/>
                  </a:cubicBezTo>
                  <a:cubicBezTo>
                    <a:pt x="207" y="92"/>
                    <a:pt x="207" y="92"/>
                    <a:pt x="206" y="92"/>
                  </a:cubicBezTo>
                  <a:cubicBezTo>
                    <a:pt x="206" y="92"/>
                    <a:pt x="206" y="93"/>
                    <a:pt x="206" y="93"/>
                  </a:cubicBezTo>
                  <a:cubicBezTo>
                    <a:pt x="206" y="93"/>
                    <a:pt x="205" y="94"/>
                    <a:pt x="205" y="94"/>
                  </a:cubicBezTo>
                  <a:cubicBezTo>
                    <a:pt x="205" y="94"/>
                    <a:pt x="205" y="94"/>
                    <a:pt x="205" y="95"/>
                  </a:cubicBezTo>
                  <a:cubicBezTo>
                    <a:pt x="205" y="95"/>
                    <a:pt x="205" y="95"/>
                    <a:pt x="205" y="95"/>
                  </a:cubicBezTo>
                  <a:cubicBezTo>
                    <a:pt x="205" y="95"/>
                    <a:pt x="205" y="95"/>
                    <a:pt x="205" y="95"/>
                  </a:cubicBezTo>
                  <a:cubicBezTo>
                    <a:pt x="205" y="95"/>
                    <a:pt x="205" y="95"/>
                    <a:pt x="205" y="95"/>
                  </a:cubicBezTo>
                  <a:cubicBezTo>
                    <a:pt x="203" y="94"/>
                    <a:pt x="202" y="94"/>
                    <a:pt x="200" y="95"/>
                  </a:cubicBezTo>
                  <a:cubicBezTo>
                    <a:pt x="199" y="95"/>
                    <a:pt x="199" y="96"/>
                    <a:pt x="198" y="97"/>
                  </a:cubicBezTo>
                  <a:cubicBezTo>
                    <a:pt x="197" y="98"/>
                    <a:pt x="197" y="98"/>
                    <a:pt x="195" y="97"/>
                  </a:cubicBezTo>
                  <a:cubicBezTo>
                    <a:pt x="195" y="97"/>
                    <a:pt x="194" y="97"/>
                    <a:pt x="194" y="97"/>
                  </a:cubicBezTo>
                  <a:cubicBezTo>
                    <a:pt x="193" y="97"/>
                    <a:pt x="192" y="97"/>
                    <a:pt x="192" y="96"/>
                  </a:cubicBezTo>
                  <a:cubicBezTo>
                    <a:pt x="192" y="96"/>
                    <a:pt x="191" y="96"/>
                    <a:pt x="191" y="96"/>
                  </a:cubicBezTo>
                  <a:cubicBezTo>
                    <a:pt x="191" y="95"/>
                    <a:pt x="191" y="94"/>
                    <a:pt x="191" y="93"/>
                  </a:cubicBezTo>
                  <a:cubicBezTo>
                    <a:pt x="191" y="92"/>
                    <a:pt x="190" y="92"/>
                    <a:pt x="190" y="92"/>
                  </a:cubicBezTo>
                  <a:cubicBezTo>
                    <a:pt x="191" y="91"/>
                    <a:pt x="190" y="91"/>
                    <a:pt x="190" y="90"/>
                  </a:cubicBezTo>
                  <a:cubicBezTo>
                    <a:pt x="189" y="90"/>
                    <a:pt x="188" y="90"/>
                    <a:pt x="187" y="90"/>
                  </a:cubicBezTo>
                  <a:cubicBezTo>
                    <a:pt x="186" y="91"/>
                    <a:pt x="186" y="91"/>
                    <a:pt x="185" y="91"/>
                  </a:cubicBezTo>
                  <a:cubicBezTo>
                    <a:pt x="184" y="91"/>
                    <a:pt x="184" y="92"/>
                    <a:pt x="183" y="92"/>
                  </a:cubicBezTo>
                  <a:cubicBezTo>
                    <a:pt x="183" y="92"/>
                    <a:pt x="183" y="92"/>
                    <a:pt x="182" y="93"/>
                  </a:cubicBezTo>
                  <a:cubicBezTo>
                    <a:pt x="182" y="93"/>
                    <a:pt x="182" y="93"/>
                    <a:pt x="181" y="93"/>
                  </a:cubicBezTo>
                  <a:cubicBezTo>
                    <a:pt x="181" y="93"/>
                    <a:pt x="181" y="93"/>
                    <a:pt x="181" y="93"/>
                  </a:cubicBezTo>
                  <a:cubicBezTo>
                    <a:pt x="181" y="93"/>
                    <a:pt x="180" y="94"/>
                    <a:pt x="180" y="94"/>
                  </a:cubicBezTo>
                  <a:cubicBezTo>
                    <a:pt x="179" y="94"/>
                    <a:pt x="180" y="93"/>
                    <a:pt x="180" y="93"/>
                  </a:cubicBezTo>
                  <a:cubicBezTo>
                    <a:pt x="180" y="92"/>
                    <a:pt x="180" y="92"/>
                    <a:pt x="180" y="91"/>
                  </a:cubicBezTo>
                  <a:cubicBezTo>
                    <a:pt x="180" y="91"/>
                    <a:pt x="179" y="90"/>
                    <a:pt x="179" y="89"/>
                  </a:cubicBezTo>
                  <a:cubicBezTo>
                    <a:pt x="179" y="89"/>
                    <a:pt x="179" y="89"/>
                    <a:pt x="179" y="89"/>
                  </a:cubicBezTo>
                  <a:cubicBezTo>
                    <a:pt x="180" y="89"/>
                    <a:pt x="180" y="89"/>
                    <a:pt x="180" y="90"/>
                  </a:cubicBezTo>
                  <a:cubicBezTo>
                    <a:pt x="180" y="89"/>
                    <a:pt x="180" y="88"/>
                    <a:pt x="180" y="87"/>
                  </a:cubicBezTo>
                  <a:cubicBezTo>
                    <a:pt x="179" y="87"/>
                    <a:pt x="179" y="86"/>
                    <a:pt x="180" y="86"/>
                  </a:cubicBezTo>
                  <a:cubicBezTo>
                    <a:pt x="180" y="85"/>
                    <a:pt x="180" y="85"/>
                    <a:pt x="179" y="84"/>
                  </a:cubicBezTo>
                  <a:cubicBezTo>
                    <a:pt x="179" y="85"/>
                    <a:pt x="178" y="85"/>
                    <a:pt x="177" y="86"/>
                  </a:cubicBezTo>
                  <a:cubicBezTo>
                    <a:pt x="176" y="86"/>
                    <a:pt x="176" y="86"/>
                    <a:pt x="175" y="87"/>
                  </a:cubicBezTo>
                  <a:cubicBezTo>
                    <a:pt x="174" y="88"/>
                    <a:pt x="174" y="88"/>
                    <a:pt x="174" y="89"/>
                  </a:cubicBezTo>
                  <a:cubicBezTo>
                    <a:pt x="174" y="89"/>
                    <a:pt x="174" y="90"/>
                    <a:pt x="174" y="90"/>
                  </a:cubicBezTo>
                  <a:cubicBezTo>
                    <a:pt x="174" y="91"/>
                    <a:pt x="174" y="92"/>
                    <a:pt x="173" y="92"/>
                  </a:cubicBezTo>
                  <a:cubicBezTo>
                    <a:pt x="173" y="93"/>
                    <a:pt x="173" y="93"/>
                    <a:pt x="172" y="93"/>
                  </a:cubicBezTo>
                  <a:cubicBezTo>
                    <a:pt x="172" y="93"/>
                    <a:pt x="172" y="93"/>
                    <a:pt x="172" y="93"/>
                  </a:cubicBezTo>
                  <a:cubicBezTo>
                    <a:pt x="171" y="94"/>
                    <a:pt x="170" y="95"/>
                    <a:pt x="169" y="95"/>
                  </a:cubicBezTo>
                  <a:cubicBezTo>
                    <a:pt x="169" y="95"/>
                    <a:pt x="168" y="95"/>
                    <a:pt x="167" y="96"/>
                  </a:cubicBezTo>
                  <a:cubicBezTo>
                    <a:pt x="167" y="96"/>
                    <a:pt x="167" y="95"/>
                    <a:pt x="167" y="96"/>
                  </a:cubicBezTo>
                  <a:cubicBezTo>
                    <a:pt x="166" y="96"/>
                    <a:pt x="166" y="96"/>
                    <a:pt x="166" y="96"/>
                  </a:cubicBezTo>
                  <a:cubicBezTo>
                    <a:pt x="165" y="95"/>
                    <a:pt x="165" y="96"/>
                    <a:pt x="164" y="95"/>
                  </a:cubicBezTo>
                  <a:cubicBezTo>
                    <a:pt x="164" y="95"/>
                    <a:pt x="164" y="95"/>
                    <a:pt x="164" y="95"/>
                  </a:cubicBezTo>
                  <a:cubicBezTo>
                    <a:pt x="163" y="95"/>
                    <a:pt x="163" y="95"/>
                    <a:pt x="162" y="95"/>
                  </a:cubicBezTo>
                  <a:cubicBezTo>
                    <a:pt x="161" y="94"/>
                    <a:pt x="161" y="94"/>
                    <a:pt x="161" y="94"/>
                  </a:cubicBezTo>
                  <a:cubicBezTo>
                    <a:pt x="160" y="93"/>
                    <a:pt x="159" y="93"/>
                    <a:pt x="160" y="92"/>
                  </a:cubicBezTo>
                  <a:cubicBezTo>
                    <a:pt x="160" y="92"/>
                    <a:pt x="159" y="92"/>
                    <a:pt x="159" y="91"/>
                  </a:cubicBezTo>
                  <a:cubicBezTo>
                    <a:pt x="159" y="91"/>
                    <a:pt x="159" y="90"/>
                    <a:pt x="158" y="89"/>
                  </a:cubicBezTo>
                  <a:cubicBezTo>
                    <a:pt x="158" y="89"/>
                    <a:pt x="158" y="89"/>
                    <a:pt x="158" y="89"/>
                  </a:cubicBezTo>
                  <a:cubicBezTo>
                    <a:pt x="159" y="88"/>
                    <a:pt x="159" y="88"/>
                    <a:pt x="158" y="88"/>
                  </a:cubicBezTo>
                  <a:cubicBezTo>
                    <a:pt x="158" y="88"/>
                    <a:pt x="158" y="87"/>
                    <a:pt x="158" y="87"/>
                  </a:cubicBezTo>
                  <a:cubicBezTo>
                    <a:pt x="157" y="87"/>
                    <a:pt x="157" y="86"/>
                    <a:pt x="157" y="86"/>
                  </a:cubicBezTo>
                  <a:cubicBezTo>
                    <a:pt x="157" y="85"/>
                    <a:pt x="157" y="85"/>
                    <a:pt x="158" y="84"/>
                  </a:cubicBezTo>
                  <a:cubicBezTo>
                    <a:pt x="158" y="83"/>
                    <a:pt x="158" y="83"/>
                    <a:pt x="158" y="83"/>
                  </a:cubicBezTo>
                  <a:cubicBezTo>
                    <a:pt x="159" y="82"/>
                    <a:pt x="160" y="82"/>
                    <a:pt x="160" y="81"/>
                  </a:cubicBezTo>
                  <a:cubicBezTo>
                    <a:pt x="160" y="81"/>
                    <a:pt x="160" y="81"/>
                    <a:pt x="160" y="80"/>
                  </a:cubicBezTo>
                  <a:cubicBezTo>
                    <a:pt x="160" y="80"/>
                    <a:pt x="161" y="80"/>
                    <a:pt x="161" y="80"/>
                  </a:cubicBezTo>
                  <a:cubicBezTo>
                    <a:pt x="162" y="79"/>
                    <a:pt x="162" y="79"/>
                    <a:pt x="164" y="79"/>
                  </a:cubicBezTo>
                  <a:cubicBezTo>
                    <a:pt x="165" y="78"/>
                    <a:pt x="165" y="78"/>
                    <a:pt x="165" y="77"/>
                  </a:cubicBezTo>
                  <a:cubicBezTo>
                    <a:pt x="166" y="77"/>
                    <a:pt x="166" y="78"/>
                    <a:pt x="167" y="78"/>
                  </a:cubicBezTo>
                  <a:cubicBezTo>
                    <a:pt x="167" y="78"/>
                    <a:pt x="167" y="78"/>
                    <a:pt x="168" y="77"/>
                  </a:cubicBezTo>
                  <a:cubicBezTo>
                    <a:pt x="168" y="77"/>
                    <a:pt x="169" y="76"/>
                    <a:pt x="170" y="76"/>
                  </a:cubicBezTo>
                  <a:cubicBezTo>
                    <a:pt x="170" y="76"/>
                    <a:pt x="170" y="76"/>
                    <a:pt x="170" y="76"/>
                  </a:cubicBezTo>
                  <a:cubicBezTo>
                    <a:pt x="170" y="76"/>
                    <a:pt x="170" y="76"/>
                    <a:pt x="170" y="76"/>
                  </a:cubicBezTo>
                  <a:cubicBezTo>
                    <a:pt x="170" y="76"/>
                    <a:pt x="169" y="76"/>
                    <a:pt x="169" y="75"/>
                  </a:cubicBezTo>
                  <a:cubicBezTo>
                    <a:pt x="169" y="75"/>
                    <a:pt x="169" y="75"/>
                    <a:pt x="169" y="75"/>
                  </a:cubicBezTo>
                  <a:cubicBezTo>
                    <a:pt x="169" y="75"/>
                    <a:pt x="169" y="75"/>
                    <a:pt x="168" y="75"/>
                  </a:cubicBezTo>
                  <a:cubicBezTo>
                    <a:pt x="168" y="76"/>
                    <a:pt x="168" y="75"/>
                    <a:pt x="168" y="75"/>
                  </a:cubicBezTo>
                  <a:cubicBezTo>
                    <a:pt x="168" y="75"/>
                    <a:pt x="168" y="75"/>
                    <a:pt x="168" y="75"/>
                  </a:cubicBezTo>
                  <a:cubicBezTo>
                    <a:pt x="168" y="75"/>
                    <a:pt x="169" y="75"/>
                    <a:pt x="169" y="75"/>
                  </a:cubicBezTo>
                  <a:cubicBezTo>
                    <a:pt x="169" y="74"/>
                    <a:pt x="170" y="74"/>
                    <a:pt x="171" y="73"/>
                  </a:cubicBezTo>
                  <a:cubicBezTo>
                    <a:pt x="171" y="73"/>
                    <a:pt x="172" y="73"/>
                    <a:pt x="172" y="73"/>
                  </a:cubicBezTo>
                  <a:cubicBezTo>
                    <a:pt x="172" y="74"/>
                    <a:pt x="172" y="73"/>
                    <a:pt x="173" y="73"/>
                  </a:cubicBezTo>
                  <a:cubicBezTo>
                    <a:pt x="174" y="72"/>
                    <a:pt x="175" y="71"/>
                    <a:pt x="176" y="72"/>
                  </a:cubicBezTo>
                  <a:cubicBezTo>
                    <a:pt x="177" y="72"/>
                    <a:pt x="177" y="72"/>
                    <a:pt x="177" y="72"/>
                  </a:cubicBezTo>
                  <a:cubicBezTo>
                    <a:pt x="178" y="72"/>
                    <a:pt x="178" y="71"/>
                    <a:pt x="178" y="71"/>
                  </a:cubicBezTo>
                  <a:cubicBezTo>
                    <a:pt x="178" y="71"/>
                    <a:pt x="179" y="70"/>
                    <a:pt x="179" y="70"/>
                  </a:cubicBezTo>
                  <a:cubicBezTo>
                    <a:pt x="180" y="70"/>
                    <a:pt x="180" y="70"/>
                    <a:pt x="180" y="70"/>
                  </a:cubicBezTo>
                  <a:cubicBezTo>
                    <a:pt x="181" y="71"/>
                    <a:pt x="181" y="71"/>
                    <a:pt x="182" y="71"/>
                  </a:cubicBezTo>
                  <a:cubicBezTo>
                    <a:pt x="183" y="71"/>
                    <a:pt x="183" y="71"/>
                    <a:pt x="182" y="71"/>
                  </a:cubicBezTo>
                  <a:cubicBezTo>
                    <a:pt x="182" y="72"/>
                    <a:pt x="184" y="72"/>
                    <a:pt x="184" y="73"/>
                  </a:cubicBezTo>
                  <a:cubicBezTo>
                    <a:pt x="185" y="73"/>
                    <a:pt x="185" y="74"/>
                    <a:pt x="187" y="74"/>
                  </a:cubicBezTo>
                  <a:cubicBezTo>
                    <a:pt x="187" y="74"/>
                    <a:pt x="187" y="74"/>
                    <a:pt x="187" y="74"/>
                  </a:cubicBezTo>
                  <a:cubicBezTo>
                    <a:pt x="187" y="75"/>
                    <a:pt x="188" y="75"/>
                    <a:pt x="188" y="74"/>
                  </a:cubicBezTo>
                  <a:cubicBezTo>
                    <a:pt x="188" y="74"/>
                    <a:pt x="189" y="74"/>
                    <a:pt x="189" y="74"/>
                  </a:cubicBezTo>
                  <a:cubicBezTo>
                    <a:pt x="189" y="73"/>
                    <a:pt x="188" y="72"/>
                    <a:pt x="188" y="71"/>
                  </a:cubicBezTo>
                  <a:cubicBezTo>
                    <a:pt x="187" y="70"/>
                    <a:pt x="186" y="70"/>
                    <a:pt x="186" y="69"/>
                  </a:cubicBezTo>
                  <a:cubicBezTo>
                    <a:pt x="186" y="69"/>
                    <a:pt x="185" y="69"/>
                    <a:pt x="184" y="68"/>
                  </a:cubicBezTo>
                  <a:cubicBezTo>
                    <a:pt x="183" y="67"/>
                    <a:pt x="183" y="66"/>
                    <a:pt x="184" y="64"/>
                  </a:cubicBezTo>
                  <a:cubicBezTo>
                    <a:pt x="185" y="63"/>
                    <a:pt x="186" y="62"/>
                    <a:pt x="186" y="61"/>
                  </a:cubicBezTo>
                  <a:cubicBezTo>
                    <a:pt x="186" y="61"/>
                    <a:pt x="187" y="61"/>
                    <a:pt x="187" y="61"/>
                  </a:cubicBezTo>
                  <a:cubicBezTo>
                    <a:pt x="187" y="60"/>
                    <a:pt x="188" y="60"/>
                    <a:pt x="188" y="60"/>
                  </a:cubicBezTo>
                  <a:cubicBezTo>
                    <a:pt x="188" y="59"/>
                    <a:pt x="188" y="59"/>
                    <a:pt x="188" y="59"/>
                  </a:cubicBezTo>
                  <a:cubicBezTo>
                    <a:pt x="189" y="58"/>
                    <a:pt x="189" y="58"/>
                    <a:pt x="190" y="58"/>
                  </a:cubicBezTo>
                  <a:cubicBezTo>
                    <a:pt x="190" y="57"/>
                    <a:pt x="190" y="57"/>
                    <a:pt x="190" y="57"/>
                  </a:cubicBezTo>
                  <a:cubicBezTo>
                    <a:pt x="189" y="57"/>
                    <a:pt x="189" y="57"/>
                    <a:pt x="190" y="56"/>
                  </a:cubicBezTo>
                  <a:cubicBezTo>
                    <a:pt x="190" y="56"/>
                    <a:pt x="190" y="56"/>
                    <a:pt x="191" y="56"/>
                  </a:cubicBezTo>
                  <a:cubicBezTo>
                    <a:pt x="191" y="56"/>
                    <a:pt x="191" y="56"/>
                    <a:pt x="191" y="56"/>
                  </a:cubicBezTo>
                  <a:cubicBezTo>
                    <a:pt x="191" y="56"/>
                    <a:pt x="191" y="56"/>
                    <a:pt x="190" y="56"/>
                  </a:cubicBezTo>
                  <a:cubicBezTo>
                    <a:pt x="190" y="56"/>
                    <a:pt x="190" y="56"/>
                    <a:pt x="189" y="56"/>
                  </a:cubicBezTo>
                  <a:cubicBezTo>
                    <a:pt x="190" y="56"/>
                    <a:pt x="190" y="56"/>
                    <a:pt x="190" y="55"/>
                  </a:cubicBezTo>
                  <a:cubicBezTo>
                    <a:pt x="190" y="55"/>
                    <a:pt x="190" y="55"/>
                    <a:pt x="190" y="54"/>
                  </a:cubicBezTo>
                  <a:cubicBezTo>
                    <a:pt x="190" y="54"/>
                    <a:pt x="189" y="54"/>
                    <a:pt x="189" y="54"/>
                  </a:cubicBezTo>
                  <a:cubicBezTo>
                    <a:pt x="188" y="54"/>
                    <a:pt x="189" y="53"/>
                    <a:pt x="189" y="53"/>
                  </a:cubicBezTo>
                  <a:cubicBezTo>
                    <a:pt x="189" y="53"/>
                    <a:pt x="189" y="53"/>
                    <a:pt x="188" y="53"/>
                  </a:cubicBezTo>
                  <a:cubicBezTo>
                    <a:pt x="188" y="53"/>
                    <a:pt x="188" y="53"/>
                    <a:pt x="188" y="53"/>
                  </a:cubicBezTo>
                  <a:cubicBezTo>
                    <a:pt x="188" y="52"/>
                    <a:pt x="187" y="52"/>
                    <a:pt x="188" y="51"/>
                  </a:cubicBezTo>
                  <a:cubicBezTo>
                    <a:pt x="188" y="52"/>
                    <a:pt x="188" y="52"/>
                    <a:pt x="189" y="52"/>
                  </a:cubicBezTo>
                  <a:cubicBezTo>
                    <a:pt x="189" y="52"/>
                    <a:pt x="190" y="53"/>
                    <a:pt x="190" y="53"/>
                  </a:cubicBezTo>
                  <a:cubicBezTo>
                    <a:pt x="190" y="53"/>
                    <a:pt x="190" y="52"/>
                    <a:pt x="190" y="52"/>
                  </a:cubicBezTo>
                  <a:cubicBezTo>
                    <a:pt x="191" y="51"/>
                    <a:pt x="191" y="51"/>
                    <a:pt x="190" y="51"/>
                  </a:cubicBezTo>
                  <a:cubicBezTo>
                    <a:pt x="190" y="50"/>
                    <a:pt x="190" y="50"/>
                    <a:pt x="191" y="50"/>
                  </a:cubicBezTo>
                  <a:cubicBezTo>
                    <a:pt x="191" y="50"/>
                    <a:pt x="191" y="50"/>
                    <a:pt x="191" y="50"/>
                  </a:cubicBezTo>
                  <a:cubicBezTo>
                    <a:pt x="191" y="50"/>
                    <a:pt x="191" y="49"/>
                    <a:pt x="192" y="49"/>
                  </a:cubicBezTo>
                  <a:cubicBezTo>
                    <a:pt x="192" y="48"/>
                    <a:pt x="192" y="48"/>
                    <a:pt x="191" y="48"/>
                  </a:cubicBezTo>
                  <a:cubicBezTo>
                    <a:pt x="191" y="48"/>
                    <a:pt x="191" y="48"/>
                    <a:pt x="192" y="47"/>
                  </a:cubicBezTo>
                  <a:cubicBezTo>
                    <a:pt x="193" y="47"/>
                    <a:pt x="194" y="46"/>
                    <a:pt x="194" y="46"/>
                  </a:cubicBezTo>
                  <a:cubicBezTo>
                    <a:pt x="195" y="46"/>
                    <a:pt x="195" y="46"/>
                    <a:pt x="195" y="45"/>
                  </a:cubicBezTo>
                  <a:cubicBezTo>
                    <a:pt x="194" y="46"/>
                    <a:pt x="193" y="46"/>
                    <a:pt x="192" y="46"/>
                  </a:cubicBezTo>
                  <a:cubicBezTo>
                    <a:pt x="193" y="46"/>
                    <a:pt x="194" y="45"/>
                    <a:pt x="195" y="45"/>
                  </a:cubicBezTo>
                  <a:cubicBezTo>
                    <a:pt x="195" y="45"/>
                    <a:pt x="196" y="45"/>
                    <a:pt x="196" y="44"/>
                  </a:cubicBezTo>
                  <a:cubicBezTo>
                    <a:pt x="196" y="44"/>
                    <a:pt x="196" y="44"/>
                    <a:pt x="196" y="44"/>
                  </a:cubicBezTo>
                  <a:cubicBezTo>
                    <a:pt x="197" y="44"/>
                    <a:pt x="197" y="44"/>
                    <a:pt x="197" y="43"/>
                  </a:cubicBezTo>
                  <a:cubicBezTo>
                    <a:pt x="198" y="43"/>
                    <a:pt x="198" y="43"/>
                    <a:pt x="198" y="43"/>
                  </a:cubicBezTo>
                  <a:cubicBezTo>
                    <a:pt x="196" y="42"/>
                    <a:pt x="196" y="41"/>
                    <a:pt x="197" y="40"/>
                  </a:cubicBezTo>
                  <a:cubicBezTo>
                    <a:pt x="198" y="39"/>
                    <a:pt x="199" y="38"/>
                    <a:pt x="201" y="37"/>
                  </a:cubicBezTo>
                  <a:cubicBezTo>
                    <a:pt x="201" y="37"/>
                    <a:pt x="202" y="37"/>
                    <a:pt x="202" y="36"/>
                  </a:cubicBezTo>
                  <a:cubicBezTo>
                    <a:pt x="202" y="36"/>
                    <a:pt x="203" y="36"/>
                    <a:pt x="203" y="36"/>
                  </a:cubicBezTo>
                  <a:cubicBezTo>
                    <a:pt x="204" y="35"/>
                    <a:pt x="205" y="34"/>
                    <a:pt x="206" y="34"/>
                  </a:cubicBezTo>
                  <a:cubicBezTo>
                    <a:pt x="206" y="34"/>
                    <a:pt x="207" y="33"/>
                    <a:pt x="207" y="33"/>
                  </a:cubicBezTo>
                  <a:cubicBezTo>
                    <a:pt x="207" y="34"/>
                    <a:pt x="208" y="33"/>
                    <a:pt x="209" y="33"/>
                  </a:cubicBezTo>
                  <a:cubicBezTo>
                    <a:pt x="208" y="33"/>
                    <a:pt x="208" y="34"/>
                    <a:pt x="207" y="34"/>
                  </a:cubicBezTo>
                  <a:cubicBezTo>
                    <a:pt x="207" y="34"/>
                    <a:pt x="207" y="34"/>
                    <a:pt x="207" y="34"/>
                  </a:cubicBezTo>
                  <a:cubicBezTo>
                    <a:pt x="206" y="34"/>
                    <a:pt x="206" y="35"/>
                    <a:pt x="205" y="35"/>
                  </a:cubicBezTo>
                  <a:cubicBezTo>
                    <a:pt x="205" y="36"/>
                    <a:pt x="205" y="37"/>
                    <a:pt x="205" y="37"/>
                  </a:cubicBezTo>
                  <a:cubicBezTo>
                    <a:pt x="206" y="37"/>
                    <a:pt x="206" y="37"/>
                    <a:pt x="207" y="36"/>
                  </a:cubicBezTo>
                  <a:cubicBezTo>
                    <a:pt x="207" y="36"/>
                    <a:pt x="208" y="36"/>
                    <a:pt x="208" y="35"/>
                  </a:cubicBezTo>
                  <a:cubicBezTo>
                    <a:pt x="208" y="35"/>
                    <a:pt x="209" y="35"/>
                    <a:pt x="209" y="34"/>
                  </a:cubicBezTo>
                  <a:cubicBezTo>
                    <a:pt x="210" y="33"/>
                    <a:pt x="212" y="33"/>
                    <a:pt x="213" y="32"/>
                  </a:cubicBezTo>
                  <a:cubicBezTo>
                    <a:pt x="214" y="32"/>
                    <a:pt x="214" y="32"/>
                    <a:pt x="214" y="31"/>
                  </a:cubicBezTo>
                  <a:cubicBezTo>
                    <a:pt x="214" y="31"/>
                    <a:pt x="215" y="31"/>
                    <a:pt x="216" y="30"/>
                  </a:cubicBezTo>
                  <a:cubicBezTo>
                    <a:pt x="216" y="30"/>
                    <a:pt x="216" y="29"/>
                    <a:pt x="216" y="29"/>
                  </a:cubicBezTo>
                  <a:cubicBezTo>
                    <a:pt x="215" y="30"/>
                    <a:pt x="215" y="29"/>
                    <a:pt x="215" y="29"/>
                  </a:cubicBezTo>
                  <a:cubicBezTo>
                    <a:pt x="215" y="29"/>
                    <a:pt x="215" y="29"/>
                    <a:pt x="214" y="29"/>
                  </a:cubicBezTo>
                  <a:cubicBezTo>
                    <a:pt x="214" y="29"/>
                    <a:pt x="214" y="29"/>
                    <a:pt x="214" y="29"/>
                  </a:cubicBezTo>
                  <a:cubicBezTo>
                    <a:pt x="214" y="30"/>
                    <a:pt x="212" y="30"/>
                    <a:pt x="213" y="31"/>
                  </a:cubicBezTo>
                  <a:cubicBezTo>
                    <a:pt x="213" y="31"/>
                    <a:pt x="213" y="31"/>
                    <a:pt x="213" y="31"/>
                  </a:cubicBezTo>
                  <a:cubicBezTo>
                    <a:pt x="212" y="31"/>
                    <a:pt x="212" y="32"/>
                    <a:pt x="211" y="32"/>
                  </a:cubicBezTo>
                  <a:cubicBezTo>
                    <a:pt x="210" y="32"/>
                    <a:pt x="210" y="32"/>
                    <a:pt x="209" y="32"/>
                  </a:cubicBezTo>
                  <a:cubicBezTo>
                    <a:pt x="208" y="32"/>
                    <a:pt x="208" y="32"/>
                    <a:pt x="207" y="32"/>
                  </a:cubicBezTo>
                  <a:cubicBezTo>
                    <a:pt x="206" y="32"/>
                    <a:pt x="206" y="32"/>
                    <a:pt x="205" y="31"/>
                  </a:cubicBezTo>
                  <a:cubicBezTo>
                    <a:pt x="205" y="31"/>
                    <a:pt x="206" y="31"/>
                    <a:pt x="206" y="31"/>
                  </a:cubicBezTo>
                  <a:cubicBezTo>
                    <a:pt x="206" y="30"/>
                    <a:pt x="206" y="30"/>
                    <a:pt x="206" y="30"/>
                  </a:cubicBezTo>
                  <a:cubicBezTo>
                    <a:pt x="206" y="30"/>
                    <a:pt x="205" y="30"/>
                    <a:pt x="205" y="30"/>
                  </a:cubicBezTo>
                  <a:cubicBezTo>
                    <a:pt x="205" y="31"/>
                    <a:pt x="204" y="31"/>
                    <a:pt x="204" y="31"/>
                  </a:cubicBezTo>
                  <a:cubicBezTo>
                    <a:pt x="203" y="31"/>
                    <a:pt x="203" y="31"/>
                    <a:pt x="202" y="31"/>
                  </a:cubicBezTo>
                  <a:cubicBezTo>
                    <a:pt x="203" y="31"/>
                    <a:pt x="204" y="31"/>
                    <a:pt x="204" y="30"/>
                  </a:cubicBezTo>
                  <a:cubicBezTo>
                    <a:pt x="205" y="30"/>
                    <a:pt x="205" y="30"/>
                    <a:pt x="206" y="29"/>
                  </a:cubicBezTo>
                  <a:cubicBezTo>
                    <a:pt x="206" y="29"/>
                    <a:pt x="206" y="29"/>
                    <a:pt x="206" y="28"/>
                  </a:cubicBezTo>
                  <a:cubicBezTo>
                    <a:pt x="206" y="28"/>
                    <a:pt x="205" y="28"/>
                    <a:pt x="205" y="28"/>
                  </a:cubicBezTo>
                  <a:cubicBezTo>
                    <a:pt x="204" y="29"/>
                    <a:pt x="202" y="29"/>
                    <a:pt x="201" y="30"/>
                  </a:cubicBezTo>
                  <a:cubicBezTo>
                    <a:pt x="199" y="31"/>
                    <a:pt x="197" y="32"/>
                    <a:pt x="196" y="34"/>
                  </a:cubicBezTo>
                  <a:cubicBezTo>
                    <a:pt x="196" y="34"/>
                    <a:pt x="196" y="34"/>
                    <a:pt x="195" y="34"/>
                  </a:cubicBezTo>
                  <a:cubicBezTo>
                    <a:pt x="195" y="34"/>
                    <a:pt x="195" y="34"/>
                    <a:pt x="195" y="34"/>
                  </a:cubicBezTo>
                  <a:cubicBezTo>
                    <a:pt x="196" y="33"/>
                    <a:pt x="197" y="32"/>
                    <a:pt x="198" y="31"/>
                  </a:cubicBezTo>
                  <a:cubicBezTo>
                    <a:pt x="199" y="30"/>
                    <a:pt x="200" y="30"/>
                    <a:pt x="200" y="29"/>
                  </a:cubicBezTo>
                  <a:cubicBezTo>
                    <a:pt x="200" y="28"/>
                    <a:pt x="202" y="28"/>
                    <a:pt x="203" y="27"/>
                  </a:cubicBezTo>
                  <a:cubicBezTo>
                    <a:pt x="205" y="27"/>
                    <a:pt x="206" y="26"/>
                    <a:pt x="208" y="25"/>
                  </a:cubicBezTo>
                  <a:cubicBezTo>
                    <a:pt x="209" y="25"/>
                    <a:pt x="209" y="25"/>
                    <a:pt x="209" y="25"/>
                  </a:cubicBezTo>
                  <a:cubicBezTo>
                    <a:pt x="211" y="25"/>
                    <a:pt x="212" y="24"/>
                    <a:pt x="214" y="24"/>
                  </a:cubicBezTo>
                  <a:cubicBezTo>
                    <a:pt x="214" y="24"/>
                    <a:pt x="214" y="24"/>
                    <a:pt x="214" y="23"/>
                  </a:cubicBezTo>
                  <a:cubicBezTo>
                    <a:pt x="215" y="23"/>
                    <a:pt x="215" y="22"/>
                    <a:pt x="216" y="22"/>
                  </a:cubicBezTo>
                  <a:cubicBezTo>
                    <a:pt x="217" y="21"/>
                    <a:pt x="218" y="20"/>
                    <a:pt x="218" y="20"/>
                  </a:cubicBezTo>
                  <a:cubicBezTo>
                    <a:pt x="220" y="20"/>
                    <a:pt x="221" y="19"/>
                    <a:pt x="221" y="18"/>
                  </a:cubicBezTo>
                  <a:cubicBezTo>
                    <a:pt x="222" y="18"/>
                    <a:pt x="222" y="18"/>
                    <a:pt x="222" y="18"/>
                  </a:cubicBezTo>
                  <a:cubicBezTo>
                    <a:pt x="221" y="17"/>
                    <a:pt x="221" y="17"/>
                    <a:pt x="221" y="17"/>
                  </a:cubicBezTo>
                  <a:cubicBezTo>
                    <a:pt x="221" y="16"/>
                    <a:pt x="221" y="16"/>
                    <a:pt x="221" y="16"/>
                  </a:cubicBezTo>
                  <a:cubicBezTo>
                    <a:pt x="220" y="16"/>
                    <a:pt x="219" y="16"/>
                    <a:pt x="219" y="16"/>
                  </a:cubicBezTo>
                  <a:cubicBezTo>
                    <a:pt x="218" y="17"/>
                    <a:pt x="218" y="17"/>
                    <a:pt x="218" y="16"/>
                  </a:cubicBezTo>
                  <a:cubicBezTo>
                    <a:pt x="218" y="16"/>
                    <a:pt x="217" y="16"/>
                    <a:pt x="217" y="16"/>
                  </a:cubicBezTo>
                  <a:cubicBezTo>
                    <a:pt x="215" y="16"/>
                    <a:pt x="217" y="16"/>
                    <a:pt x="217" y="15"/>
                  </a:cubicBezTo>
                  <a:cubicBezTo>
                    <a:pt x="216" y="16"/>
                    <a:pt x="214" y="16"/>
                    <a:pt x="213" y="16"/>
                  </a:cubicBezTo>
                  <a:cubicBezTo>
                    <a:pt x="212" y="16"/>
                    <a:pt x="212" y="16"/>
                    <a:pt x="211" y="16"/>
                  </a:cubicBezTo>
                  <a:cubicBezTo>
                    <a:pt x="211" y="16"/>
                    <a:pt x="211" y="16"/>
                    <a:pt x="211" y="16"/>
                  </a:cubicBezTo>
                  <a:cubicBezTo>
                    <a:pt x="210" y="16"/>
                    <a:pt x="210" y="16"/>
                    <a:pt x="210" y="16"/>
                  </a:cubicBezTo>
                  <a:cubicBezTo>
                    <a:pt x="209" y="16"/>
                    <a:pt x="209" y="16"/>
                    <a:pt x="208" y="16"/>
                  </a:cubicBezTo>
                  <a:cubicBezTo>
                    <a:pt x="207" y="16"/>
                    <a:pt x="207" y="16"/>
                    <a:pt x="208" y="15"/>
                  </a:cubicBezTo>
                  <a:cubicBezTo>
                    <a:pt x="208" y="15"/>
                    <a:pt x="208" y="15"/>
                    <a:pt x="208" y="15"/>
                  </a:cubicBezTo>
                  <a:cubicBezTo>
                    <a:pt x="207" y="15"/>
                    <a:pt x="207" y="15"/>
                    <a:pt x="207" y="15"/>
                  </a:cubicBezTo>
                  <a:cubicBezTo>
                    <a:pt x="206" y="14"/>
                    <a:pt x="206" y="14"/>
                    <a:pt x="205" y="14"/>
                  </a:cubicBezTo>
                  <a:cubicBezTo>
                    <a:pt x="204" y="13"/>
                    <a:pt x="203" y="13"/>
                    <a:pt x="202" y="13"/>
                  </a:cubicBezTo>
                  <a:cubicBezTo>
                    <a:pt x="201" y="13"/>
                    <a:pt x="200" y="12"/>
                    <a:pt x="199" y="12"/>
                  </a:cubicBezTo>
                  <a:cubicBezTo>
                    <a:pt x="199" y="12"/>
                    <a:pt x="199" y="13"/>
                    <a:pt x="198" y="13"/>
                  </a:cubicBezTo>
                  <a:cubicBezTo>
                    <a:pt x="197" y="14"/>
                    <a:pt x="199" y="14"/>
                    <a:pt x="198" y="15"/>
                  </a:cubicBezTo>
                  <a:cubicBezTo>
                    <a:pt x="198" y="15"/>
                    <a:pt x="198" y="15"/>
                    <a:pt x="198" y="15"/>
                  </a:cubicBezTo>
                  <a:cubicBezTo>
                    <a:pt x="197" y="16"/>
                    <a:pt x="196" y="17"/>
                    <a:pt x="195" y="17"/>
                  </a:cubicBezTo>
                  <a:cubicBezTo>
                    <a:pt x="195" y="18"/>
                    <a:pt x="194" y="18"/>
                    <a:pt x="194" y="18"/>
                  </a:cubicBezTo>
                  <a:cubicBezTo>
                    <a:pt x="193" y="17"/>
                    <a:pt x="192" y="17"/>
                    <a:pt x="192" y="17"/>
                  </a:cubicBezTo>
                  <a:cubicBezTo>
                    <a:pt x="191" y="17"/>
                    <a:pt x="190" y="18"/>
                    <a:pt x="190" y="18"/>
                  </a:cubicBezTo>
                  <a:cubicBezTo>
                    <a:pt x="190" y="18"/>
                    <a:pt x="189" y="18"/>
                    <a:pt x="189" y="18"/>
                  </a:cubicBezTo>
                  <a:cubicBezTo>
                    <a:pt x="190" y="18"/>
                    <a:pt x="190" y="18"/>
                    <a:pt x="190" y="18"/>
                  </a:cubicBezTo>
                  <a:cubicBezTo>
                    <a:pt x="190" y="17"/>
                    <a:pt x="190" y="17"/>
                    <a:pt x="190" y="17"/>
                  </a:cubicBezTo>
                  <a:cubicBezTo>
                    <a:pt x="189" y="18"/>
                    <a:pt x="189" y="17"/>
                    <a:pt x="189" y="17"/>
                  </a:cubicBezTo>
                  <a:cubicBezTo>
                    <a:pt x="189" y="17"/>
                    <a:pt x="189" y="16"/>
                    <a:pt x="189" y="16"/>
                  </a:cubicBezTo>
                  <a:cubicBezTo>
                    <a:pt x="189" y="16"/>
                    <a:pt x="189" y="15"/>
                    <a:pt x="189" y="15"/>
                  </a:cubicBezTo>
                  <a:cubicBezTo>
                    <a:pt x="189" y="15"/>
                    <a:pt x="189" y="15"/>
                    <a:pt x="189" y="15"/>
                  </a:cubicBezTo>
                  <a:cubicBezTo>
                    <a:pt x="188" y="16"/>
                    <a:pt x="188" y="16"/>
                    <a:pt x="187" y="16"/>
                  </a:cubicBezTo>
                  <a:cubicBezTo>
                    <a:pt x="187" y="16"/>
                    <a:pt x="186" y="16"/>
                    <a:pt x="186" y="16"/>
                  </a:cubicBezTo>
                  <a:cubicBezTo>
                    <a:pt x="185" y="16"/>
                    <a:pt x="184" y="17"/>
                    <a:pt x="184" y="16"/>
                  </a:cubicBezTo>
                  <a:cubicBezTo>
                    <a:pt x="184" y="16"/>
                    <a:pt x="183" y="16"/>
                    <a:pt x="182" y="16"/>
                  </a:cubicBezTo>
                  <a:cubicBezTo>
                    <a:pt x="180" y="16"/>
                    <a:pt x="180" y="16"/>
                    <a:pt x="178" y="18"/>
                  </a:cubicBezTo>
                  <a:cubicBezTo>
                    <a:pt x="178" y="18"/>
                    <a:pt x="177" y="18"/>
                    <a:pt x="177" y="18"/>
                  </a:cubicBezTo>
                  <a:cubicBezTo>
                    <a:pt x="176" y="18"/>
                    <a:pt x="176" y="18"/>
                    <a:pt x="175" y="18"/>
                  </a:cubicBezTo>
                  <a:cubicBezTo>
                    <a:pt x="175" y="18"/>
                    <a:pt x="174" y="19"/>
                    <a:pt x="173" y="19"/>
                  </a:cubicBezTo>
                  <a:cubicBezTo>
                    <a:pt x="172" y="19"/>
                    <a:pt x="171" y="20"/>
                    <a:pt x="170" y="21"/>
                  </a:cubicBezTo>
                  <a:cubicBezTo>
                    <a:pt x="170" y="21"/>
                    <a:pt x="170" y="21"/>
                    <a:pt x="170" y="21"/>
                  </a:cubicBezTo>
                  <a:cubicBezTo>
                    <a:pt x="171" y="21"/>
                    <a:pt x="172" y="21"/>
                    <a:pt x="172" y="21"/>
                  </a:cubicBezTo>
                  <a:cubicBezTo>
                    <a:pt x="172" y="22"/>
                    <a:pt x="171" y="22"/>
                    <a:pt x="172" y="22"/>
                  </a:cubicBezTo>
                  <a:cubicBezTo>
                    <a:pt x="173" y="22"/>
                    <a:pt x="173" y="23"/>
                    <a:pt x="173" y="23"/>
                  </a:cubicBezTo>
                  <a:cubicBezTo>
                    <a:pt x="173" y="23"/>
                    <a:pt x="173" y="24"/>
                    <a:pt x="173" y="24"/>
                  </a:cubicBezTo>
                  <a:cubicBezTo>
                    <a:pt x="172" y="26"/>
                    <a:pt x="172" y="26"/>
                    <a:pt x="174" y="26"/>
                  </a:cubicBezTo>
                  <a:cubicBezTo>
                    <a:pt x="176" y="26"/>
                    <a:pt x="177" y="26"/>
                    <a:pt x="177" y="27"/>
                  </a:cubicBezTo>
                  <a:cubicBezTo>
                    <a:pt x="178" y="28"/>
                    <a:pt x="177" y="29"/>
                    <a:pt x="176" y="30"/>
                  </a:cubicBezTo>
                  <a:cubicBezTo>
                    <a:pt x="176" y="30"/>
                    <a:pt x="175" y="30"/>
                    <a:pt x="175" y="30"/>
                  </a:cubicBezTo>
                  <a:cubicBezTo>
                    <a:pt x="174" y="31"/>
                    <a:pt x="174" y="31"/>
                    <a:pt x="173" y="32"/>
                  </a:cubicBezTo>
                  <a:cubicBezTo>
                    <a:pt x="173" y="32"/>
                    <a:pt x="172" y="32"/>
                    <a:pt x="173" y="33"/>
                  </a:cubicBezTo>
                  <a:cubicBezTo>
                    <a:pt x="174" y="33"/>
                    <a:pt x="174" y="34"/>
                    <a:pt x="175" y="34"/>
                  </a:cubicBezTo>
                  <a:cubicBezTo>
                    <a:pt x="175" y="35"/>
                    <a:pt x="176" y="35"/>
                    <a:pt x="175" y="36"/>
                  </a:cubicBezTo>
                  <a:cubicBezTo>
                    <a:pt x="175" y="36"/>
                    <a:pt x="176" y="36"/>
                    <a:pt x="176" y="36"/>
                  </a:cubicBezTo>
                  <a:cubicBezTo>
                    <a:pt x="176" y="36"/>
                    <a:pt x="176" y="36"/>
                    <a:pt x="176" y="36"/>
                  </a:cubicBezTo>
                  <a:cubicBezTo>
                    <a:pt x="176" y="36"/>
                    <a:pt x="176" y="36"/>
                    <a:pt x="175" y="36"/>
                  </a:cubicBezTo>
                  <a:cubicBezTo>
                    <a:pt x="175" y="36"/>
                    <a:pt x="174" y="36"/>
                    <a:pt x="174" y="37"/>
                  </a:cubicBezTo>
                  <a:cubicBezTo>
                    <a:pt x="173" y="37"/>
                    <a:pt x="173" y="38"/>
                    <a:pt x="172" y="38"/>
                  </a:cubicBezTo>
                  <a:cubicBezTo>
                    <a:pt x="172" y="37"/>
                    <a:pt x="171" y="37"/>
                    <a:pt x="170" y="37"/>
                  </a:cubicBezTo>
                  <a:cubicBezTo>
                    <a:pt x="169" y="38"/>
                    <a:pt x="169" y="37"/>
                    <a:pt x="168" y="37"/>
                  </a:cubicBezTo>
                  <a:cubicBezTo>
                    <a:pt x="167" y="37"/>
                    <a:pt x="168" y="37"/>
                    <a:pt x="168" y="37"/>
                  </a:cubicBezTo>
                  <a:cubicBezTo>
                    <a:pt x="168" y="36"/>
                    <a:pt x="167" y="35"/>
                    <a:pt x="166" y="34"/>
                  </a:cubicBezTo>
                  <a:cubicBezTo>
                    <a:pt x="166" y="34"/>
                    <a:pt x="166" y="34"/>
                    <a:pt x="165" y="35"/>
                  </a:cubicBezTo>
                  <a:cubicBezTo>
                    <a:pt x="164" y="35"/>
                    <a:pt x="163" y="35"/>
                    <a:pt x="162" y="36"/>
                  </a:cubicBezTo>
                  <a:cubicBezTo>
                    <a:pt x="161" y="36"/>
                    <a:pt x="161" y="37"/>
                    <a:pt x="160" y="37"/>
                  </a:cubicBezTo>
                  <a:cubicBezTo>
                    <a:pt x="159" y="37"/>
                    <a:pt x="158" y="37"/>
                    <a:pt x="158" y="37"/>
                  </a:cubicBezTo>
                  <a:cubicBezTo>
                    <a:pt x="157" y="37"/>
                    <a:pt x="156" y="38"/>
                    <a:pt x="155" y="38"/>
                  </a:cubicBezTo>
                  <a:cubicBezTo>
                    <a:pt x="154" y="38"/>
                    <a:pt x="152" y="38"/>
                    <a:pt x="151" y="39"/>
                  </a:cubicBezTo>
                  <a:cubicBezTo>
                    <a:pt x="150" y="39"/>
                    <a:pt x="150" y="39"/>
                    <a:pt x="149" y="39"/>
                  </a:cubicBezTo>
                  <a:cubicBezTo>
                    <a:pt x="148" y="39"/>
                    <a:pt x="148" y="39"/>
                    <a:pt x="147" y="40"/>
                  </a:cubicBezTo>
                  <a:cubicBezTo>
                    <a:pt x="146" y="41"/>
                    <a:pt x="145" y="41"/>
                    <a:pt x="144" y="41"/>
                  </a:cubicBezTo>
                  <a:cubicBezTo>
                    <a:pt x="144" y="41"/>
                    <a:pt x="144" y="40"/>
                    <a:pt x="144" y="40"/>
                  </a:cubicBezTo>
                  <a:cubicBezTo>
                    <a:pt x="143" y="40"/>
                    <a:pt x="142" y="40"/>
                    <a:pt x="140" y="41"/>
                  </a:cubicBezTo>
                  <a:cubicBezTo>
                    <a:pt x="140" y="41"/>
                    <a:pt x="139" y="41"/>
                    <a:pt x="139" y="41"/>
                  </a:cubicBezTo>
                  <a:cubicBezTo>
                    <a:pt x="138" y="40"/>
                    <a:pt x="138" y="39"/>
                    <a:pt x="139" y="38"/>
                  </a:cubicBezTo>
                  <a:cubicBezTo>
                    <a:pt x="140" y="36"/>
                    <a:pt x="140" y="35"/>
                    <a:pt x="142" y="34"/>
                  </a:cubicBezTo>
                  <a:cubicBezTo>
                    <a:pt x="142" y="33"/>
                    <a:pt x="142" y="33"/>
                    <a:pt x="142" y="33"/>
                  </a:cubicBezTo>
                  <a:cubicBezTo>
                    <a:pt x="142" y="33"/>
                    <a:pt x="142" y="33"/>
                    <a:pt x="142" y="33"/>
                  </a:cubicBezTo>
                  <a:cubicBezTo>
                    <a:pt x="142" y="33"/>
                    <a:pt x="142" y="33"/>
                    <a:pt x="142" y="33"/>
                  </a:cubicBezTo>
                  <a:cubicBezTo>
                    <a:pt x="143" y="33"/>
                    <a:pt x="143" y="32"/>
                    <a:pt x="144" y="32"/>
                  </a:cubicBezTo>
                  <a:cubicBezTo>
                    <a:pt x="144" y="32"/>
                    <a:pt x="144" y="32"/>
                    <a:pt x="144" y="31"/>
                  </a:cubicBezTo>
                  <a:cubicBezTo>
                    <a:pt x="144" y="31"/>
                    <a:pt x="144" y="31"/>
                    <a:pt x="144" y="31"/>
                  </a:cubicBezTo>
                  <a:cubicBezTo>
                    <a:pt x="144" y="31"/>
                    <a:pt x="144" y="31"/>
                    <a:pt x="144" y="31"/>
                  </a:cubicBezTo>
                  <a:cubicBezTo>
                    <a:pt x="144" y="31"/>
                    <a:pt x="144" y="30"/>
                    <a:pt x="145" y="30"/>
                  </a:cubicBezTo>
                  <a:cubicBezTo>
                    <a:pt x="145" y="30"/>
                    <a:pt x="145" y="30"/>
                    <a:pt x="145" y="30"/>
                  </a:cubicBezTo>
                  <a:cubicBezTo>
                    <a:pt x="145" y="29"/>
                    <a:pt x="145" y="29"/>
                    <a:pt x="146" y="29"/>
                  </a:cubicBezTo>
                  <a:cubicBezTo>
                    <a:pt x="148" y="28"/>
                    <a:pt x="149" y="27"/>
                    <a:pt x="150" y="26"/>
                  </a:cubicBezTo>
                  <a:cubicBezTo>
                    <a:pt x="150" y="26"/>
                    <a:pt x="150" y="26"/>
                    <a:pt x="150" y="25"/>
                  </a:cubicBezTo>
                  <a:cubicBezTo>
                    <a:pt x="150" y="25"/>
                    <a:pt x="150" y="25"/>
                    <a:pt x="150" y="25"/>
                  </a:cubicBezTo>
                  <a:cubicBezTo>
                    <a:pt x="150" y="25"/>
                    <a:pt x="150" y="25"/>
                    <a:pt x="150" y="25"/>
                  </a:cubicBezTo>
                  <a:cubicBezTo>
                    <a:pt x="150" y="24"/>
                    <a:pt x="151" y="23"/>
                    <a:pt x="152" y="23"/>
                  </a:cubicBezTo>
                  <a:cubicBezTo>
                    <a:pt x="152" y="23"/>
                    <a:pt x="151" y="23"/>
                    <a:pt x="150" y="23"/>
                  </a:cubicBezTo>
                  <a:cubicBezTo>
                    <a:pt x="151" y="22"/>
                    <a:pt x="152" y="22"/>
                    <a:pt x="153" y="21"/>
                  </a:cubicBezTo>
                  <a:cubicBezTo>
                    <a:pt x="154" y="21"/>
                    <a:pt x="155" y="21"/>
                    <a:pt x="155" y="21"/>
                  </a:cubicBezTo>
                  <a:cubicBezTo>
                    <a:pt x="155" y="21"/>
                    <a:pt x="156" y="21"/>
                    <a:pt x="156" y="21"/>
                  </a:cubicBezTo>
                  <a:cubicBezTo>
                    <a:pt x="155" y="22"/>
                    <a:pt x="156" y="21"/>
                    <a:pt x="157" y="21"/>
                  </a:cubicBezTo>
                  <a:cubicBezTo>
                    <a:pt x="157" y="21"/>
                    <a:pt x="157" y="21"/>
                    <a:pt x="157" y="21"/>
                  </a:cubicBezTo>
                  <a:cubicBezTo>
                    <a:pt x="158" y="21"/>
                    <a:pt x="157" y="21"/>
                    <a:pt x="157" y="21"/>
                  </a:cubicBezTo>
                  <a:cubicBezTo>
                    <a:pt x="156" y="20"/>
                    <a:pt x="156" y="21"/>
                    <a:pt x="157" y="20"/>
                  </a:cubicBezTo>
                  <a:cubicBezTo>
                    <a:pt x="158" y="19"/>
                    <a:pt x="159" y="18"/>
                    <a:pt x="160" y="17"/>
                  </a:cubicBezTo>
                  <a:cubicBezTo>
                    <a:pt x="161" y="17"/>
                    <a:pt x="161" y="16"/>
                    <a:pt x="160" y="16"/>
                  </a:cubicBezTo>
                  <a:cubicBezTo>
                    <a:pt x="159" y="16"/>
                    <a:pt x="159" y="16"/>
                    <a:pt x="158" y="16"/>
                  </a:cubicBezTo>
                  <a:cubicBezTo>
                    <a:pt x="159" y="15"/>
                    <a:pt x="159" y="15"/>
                    <a:pt x="160" y="14"/>
                  </a:cubicBezTo>
                  <a:cubicBezTo>
                    <a:pt x="159" y="14"/>
                    <a:pt x="159" y="14"/>
                    <a:pt x="158" y="14"/>
                  </a:cubicBezTo>
                  <a:cubicBezTo>
                    <a:pt x="157" y="15"/>
                    <a:pt x="156" y="14"/>
                    <a:pt x="155" y="15"/>
                  </a:cubicBezTo>
                  <a:cubicBezTo>
                    <a:pt x="155" y="15"/>
                    <a:pt x="154" y="16"/>
                    <a:pt x="153" y="16"/>
                  </a:cubicBezTo>
                  <a:cubicBezTo>
                    <a:pt x="154" y="15"/>
                    <a:pt x="154" y="15"/>
                    <a:pt x="155" y="15"/>
                  </a:cubicBezTo>
                  <a:cubicBezTo>
                    <a:pt x="155" y="14"/>
                    <a:pt x="156" y="14"/>
                    <a:pt x="157" y="14"/>
                  </a:cubicBezTo>
                  <a:cubicBezTo>
                    <a:pt x="158" y="13"/>
                    <a:pt x="159" y="13"/>
                    <a:pt x="160" y="12"/>
                  </a:cubicBezTo>
                  <a:cubicBezTo>
                    <a:pt x="160" y="12"/>
                    <a:pt x="161" y="12"/>
                    <a:pt x="162" y="12"/>
                  </a:cubicBezTo>
                  <a:cubicBezTo>
                    <a:pt x="162" y="11"/>
                    <a:pt x="162" y="12"/>
                    <a:pt x="162" y="12"/>
                  </a:cubicBezTo>
                  <a:cubicBezTo>
                    <a:pt x="162" y="12"/>
                    <a:pt x="162" y="12"/>
                    <a:pt x="162" y="12"/>
                  </a:cubicBezTo>
                  <a:cubicBezTo>
                    <a:pt x="161" y="12"/>
                    <a:pt x="161" y="12"/>
                    <a:pt x="161" y="12"/>
                  </a:cubicBezTo>
                  <a:cubicBezTo>
                    <a:pt x="161" y="12"/>
                    <a:pt x="161" y="12"/>
                    <a:pt x="161" y="12"/>
                  </a:cubicBezTo>
                  <a:cubicBezTo>
                    <a:pt x="161" y="12"/>
                    <a:pt x="161" y="12"/>
                    <a:pt x="162" y="12"/>
                  </a:cubicBezTo>
                  <a:cubicBezTo>
                    <a:pt x="163" y="12"/>
                    <a:pt x="163" y="11"/>
                    <a:pt x="165" y="10"/>
                  </a:cubicBezTo>
                  <a:cubicBezTo>
                    <a:pt x="164" y="10"/>
                    <a:pt x="166" y="10"/>
                    <a:pt x="166" y="9"/>
                  </a:cubicBezTo>
                  <a:cubicBezTo>
                    <a:pt x="167" y="9"/>
                    <a:pt x="168" y="9"/>
                    <a:pt x="168" y="9"/>
                  </a:cubicBezTo>
                  <a:cubicBezTo>
                    <a:pt x="169" y="10"/>
                    <a:pt x="170" y="9"/>
                    <a:pt x="171" y="9"/>
                  </a:cubicBezTo>
                  <a:cubicBezTo>
                    <a:pt x="171" y="9"/>
                    <a:pt x="171" y="9"/>
                    <a:pt x="170" y="9"/>
                  </a:cubicBezTo>
                  <a:cubicBezTo>
                    <a:pt x="170" y="9"/>
                    <a:pt x="170" y="10"/>
                    <a:pt x="170" y="10"/>
                  </a:cubicBezTo>
                  <a:cubicBezTo>
                    <a:pt x="170" y="10"/>
                    <a:pt x="171" y="10"/>
                    <a:pt x="172" y="9"/>
                  </a:cubicBezTo>
                  <a:cubicBezTo>
                    <a:pt x="172" y="9"/>
                    <a:pt x="173" y="9"/>
                    <a:pt x="173" y="9"/>
                  </a:cubicBezTo>
                  <a:cubicBezTo>
                    <a:pt x="174" y="8"/>
                    <a:pt x="174" y="9"/>
                    <a:pt x="175" y="8"/>
                  </a:cubicBezTo>
                  <a:cubicBezTo>
                    <a:pt x="176" y="8"/>
                    <a:pt x="176" y="9"/>
                    <a:pt x="177" y="8"/>
                  </a:cubicBezTo>
                  <a:cubicBezTo>
                    <a:pt x="178" y="8"/>
                    <a:pt x="178" y="8"/>
                    <a:pt x="179" y="8"/>
                  </a:cubicBezTo>
                  <a:cubicBezTo>
                    <a:pt x="179" y="9"/>
                    <a:pt x="180" y="9"/>
                    <a:pt x="179" y="9"/>
                  </a:cubicBezTo>
                  <a:cubicBezTo>
                    <a:pt x="178" y="10"/>
                    <a:pt x="178" y="11"/>
                    <a:pt x="176" y="11"/>
                  </a:cubicBezTo>
                  <a:cubicBezTo>
                    <a:pt x="176" y="11"/>
                    <a:pt x="176" y="12"/>
                    <a:pt x="176" y="12"/>
                  </a:cubicBezTo>
                  <a:cubicBezTo>
                    <a:pt x="176" y="12"/>
                    <a:pt x="176" y="12"/>
                    <a:pt x="177" y="12"/>
                  </a:cubicBezTo>
                  <a:cubicBezTo>
                    <a:pt x="177" y="12"/>
                    <a:pt x="177" y="12"/>
                    <a:pt x="178" y="12"/>
                  </a:cubicBezTo>
                  <a:cubicBezTo>
                    <a:pt x="177" y="12"/>
                    <a:pt x="177" y="13"/>
                    <a:pt x="176" y="13"/>
                  </a:cubicBezTo>
                  <a:cubicBezTo>
                    <a:pt x="176" y="13"/>
                    <a:pt x="175" y="14"/>
                    <a:pt x="174" y="14"/>
                  </a:cubicBezTo>
                  <a:cubicBezTo>
                    <a:pt x="174" y="14"/>
                    <a:pt x="173" y="14"/>
                    <a:pt x="172" y="15"/>
                  </a:cubicBezTo>
                  <a:cubicBezTo>
                    <a:pt x="171" y="15"/>
                    <a:pt x="169" y="16"/>
                    <a:pt x="169" y="17"/>
                  </a:cubicBezTo>
                  <a:cubicBezTo>
                    <a:pt x="170" y="17"/>
                    <a:pt x="172" y="17"/>
                    <a:pt x="173" y="16"/>
                  </a:cubicBezTo>
                  <a:cubicBezTo>
                    <a:pt x="174" y="16"/>
                    <a:pt x="174" y="15"/>
                    <a:pt x="175" y="15"/>
                  </a:cubicBezTo>
                  <a:cubicBezTo>
                    <a:pt x="176" y="15"/>
                    <a:pt x="176" y="15"/>
                    <a:pt x="177" y="14"/>
                  </a:cubicBezTo>
                  <a:cubicBezTo>
                    <a:pt x="177" y="14"/>
                    <a:pt x="178" y="14"/>
                    <a:pt x="178" y="14"/>
                  </a:cubicBezTo>
                  <a:cubicBezTo>
                    <a:pt x="179" y="13"/>
                    <a:pt x="179" y="14"/>
                    <a:pt x="180" y="14"/>
                  </a:cubicBezTo>
                  <a:cubicBezTo>
                    <a:pt x="181" y="14"/>
                    <a:pt x="182" y="13"/>
                    <a:pt x="184" y="13"/>
                  </a:cubicBezTo>
                  <a:cubicBezTo>
                    <a:pt x="183" y="13"/>
                    <a:pt x="183" y="13"/>
                    <a:pt x="183" y="14"/>
                  </a:cubicBezTo>
                  <a:cubicBezTo>
                    <a:pt x="183" y="14"/>
                    <a:pt x="183" y="14"/>
                    <a:pt x="183" y="14"/>
                  </a:cubicBezTo>
                  <a:cubicBezTo>
                    <a:pt x="183" y="14"/>
                    <a:pt x="184" y="14"/>
                    <a:pt x="184" y="14"/>
                  </a:cubicBezTo>
                  <a:cubicBezTo>
                    <a:pt x="185" y="14"/>
                    <a:pt x="186" y="14"/>
                    <a:pt x="187" y="13"/>
                  </a:cubicBezTo>
                  <a:cubicBezTo>
                    <a:pt x="188" y="13"/>
                    <a:pt x="188" y="13"/>
                    <a:pt x="188" y="13"/>
                  </a:cubicBezTo>
                  <a:cubicBezTo>
                    <a:pt x="189" y="13"/>
                    <a:pt x="190" y="13"/>
                    <a:pt x="191" y="12"/>
                  </a:cubicBezTo>
                  <a:cubicBezTo>
                    <a:pt x="193" y="12"/>
                    <a:pt x="194" y="12"/>
                    <a:pt x="195" y="11"/>
                  </a:cubicBezTo>
                  <a:cubicBezTo>
                    <a:pt x="195" y="11"/>
                    <a:pt x="196" y="11"/>
                    <a:pt x="196" y="11"/>
                  </a:cubicBezTo>
                  <a:cubicBezTo>
                    <a:pt x="196" y="11"/>
                    <a:pt x="195" y="11"/>
                    <a:pt x="195" y="11"/>
                  </a:cubicBezTo>
                  <a:cubicBezTo>
                    <a:pt x="194" y="11"/>
                    <a:pt x="193" y="11"/>
                    <a:pt x="192" y="11"/>
                  </a:cubicBezTo>
                  <a:cubicBezTo>
                    <a:pt x="191" y="11"/>
                    <a:pt x="190" y="11"/>
                    <a:pt x="189" y="11"/>
                  </a:cubicBezTo>
                  <a:cubicBezTo>
                    <a:pt x="189" y="11"/>
                    <a:pt x="189" y="11"/>
                    <a:pt x="190" y="11"/>
                  </a:cubicBezTo>
                  <a:cubicBezTo>
                    <a:pt x="192" y="10"/>
                    <a:pt x="194" y="10"/>
                    <a:pt x="196" y="9"/>
                  </a:cubicBezTo>
                  <a:cubicBezTo>
                    <a:pt x="196" y="9"/>
                    <a:pt x="197" y="10"/>
                    <a:pt x="197" y="10"/>
                  </a:cubicBezTo>
                  <a:cubicBezTo>
                    <a:pt x="197" y="10"/>
                    <a:pt x="197" y="9"/>
                    <a:pt x="197" y="9"/>
                  </a:cubicBezTo>
                  <a:cubicBezTo>
                    <a:pt x="197" y="9"/>
                    <a:pt x="198" y="9"/>
                    <a:pt x="198" y="9"/>
                  </a:cubicBezTo>
                  <a:cubicBezTo>
                    <a:pt x="198" y="8"/>
                    <a:pt x="197" y="8"/>
                    <a:pt x="197" y="8"/>
                  </a:cubicBezTo>
                  <a:cubicBezTo>
                    <a:pt x="197" y="8"/>
                    <a:pt x="197" y="8"/>
                    <a:pt x="197" y="8"/>
                  </a:cubicBezTo>
                  <a:cubicBezTo>
                    <a:pt x="197" y="8"/>
                    <a:pt x="197" y="8"/>
                    <a:pt x="197" y="8"/>
                  </a:cubicBezTo>
                  <a:cubicBezTo>
                    <a:pt x="198" y="8"/>
                    <a:pt x="198" y="8"/>
                    <a:pt x="198" y="8"/>
                  </a:cubicBezTo>
                  <a:cubicBezTo>
                    <a:pt x="198" y="8"/>
                    <a:pt x="198" y="8"/>
                    <a:pt x="198" y="7"/>
                  </a:cubicBezTo>
                  <a:cubicBezTo>
                    <a:pt x="197" y="7"/>
                    <a:pt x="196" y="7"/>
                    <a:pt x="195" y="7"/>
                  </a:cubicBezTo>
                  <a:cubicBezTo>
                    <a:pt x="195" y="7"/>
                    <a:pt x="194" y="7"/>
                    <a:pt x="194" y="7"/>
                  </a:cubicBezTo>
                  <a:cubicBezTo>
                    <a:pt x="193" y="7"/>
                    <a:pt x="192" y="8"/>
                    <a:pt x="192" y="7"/>
                  </a:cubicBezTo>
                  <a:cubicBezTo>
                    <a:pt x="191" y="7"/>
                    <a:pt x="191" y="7"/>
                    <a:pt x="191" y="7"/>
                  </a:cubicBezTo>
                  <a:cubicBezTo>
                    <a:pt x="190" y="7"/>
                    <a:pt x="190" y="7"/>
                    <a:pt x="189" y="7"/>
                  </a:cubicBezTo>
                  <a:cubicBezTo>
                    <a:pt x="190" y="7"/>
                    <a:pt x="190" y="7"/>
                    <a:pt x="190" y="7"/>
                  </a:cubicBezTo>
                  <a:cubicBezTo>
                    <a:pt x="191" y="6"/>
                    <a:pt x="191" y="6"/>
                    <a:pt x="191" y="6"/>
                  </a:cubicBezTo>
                  <a:cubicBezTo>
                    <a:pt x="191" y="6"/>
                    <a:pt x="191" y="6"/>
                    <a:pt x="190" y="6"/>
                  </a:cubicBezTo>
                  <a:cubicBezTo>
                    <a:pt x="190" y="6"/>
                    <a:pt x="190" y="6"/>
                    <a:pt x="190" y="6"/>
                  </a:cubicBezTo>
                  <a:cubicBezTo>
                    <a:pt x="191" y="6"/>
                    <a:pt x="191" y="5"/>
                    <a:pt x="191" y="5"/>
                  </a:cubicBezTo>
                  <a:cubicBezTo>
                    <a:pt x="193" y="5"/>
                    <a:pt x="194" y="5"/>
                    <a:pt x="195" y="5"/>
                  </a:cubicBezTo>
                  <a:cubicBezTo>
                    <a:pt x="196" y="5"/>
                    <a:pt x="196" y="5"/>
                    <a:pt x="197" y="5"/>
                  </a:cubicBezTo>
                  <a:cubicBezTo>
                    <a:pt x="198" y="5"/>
                    <a:pt x="199" y="5"/>
                    <a:pt x="199" y="5"/>
                  </a:cubicBezTo>
                  <a:cubicBezTo>
                    <a:pt x="199" y="5"/>
                    <a:pt x="200" y="5"/>
                    <a:pt x="200" y="4"/>
                  </a:cubicBezTo>
                  <a:cubicBezTo>
                    <a:pt x="200" y="4"/>
                    <a:pt x="200" y="4"/>
                    <a:pt x="199" y="4"/>
                  </a:cubicBezTo>
                  <a:cubicBezTo>
                    <a:pt x="199" y="4"/>
                    <a:pt x="199" y="4"/>
                    <a:pt x="199" y="4"/>
                  </a:cubicBezTo>
                  <a:cubicBezTo>
                    <a:pt x="199" y="4"/>
                    <a:pt x="200" y="3"/>
                    <a:pt x="200" y="4"/>
                  </a:cubicBezTo>
                  <a:cubicBezTo>
                    <a:pt x="200" y="4"/>
                    <a:pt x="201" y="3"/>
                    <a:pt x="201" y="3"/>
                  </a:cubicBezTo>
                  <a:cubicBezTo>
                    <a:pt x="202" y="2"/>
                    <a:pt x="201" y="2"/>
                    <a:pt x="202" y="2"/>
                  </a:cubicBezTo>
                  <a:cubicBezTo>
                    <a:pt x="202" y="2"/>
                    <a:pt x="203" y="1"/>
                    <a:pt x="203" y="1"/>
                  </a:cubicBezTo>
                  <a:cubicBezTo>
                    <a:pt x="203" y="1"/>
                    <a:pt x="202" y="1"/>
                    <a:pt x="202" y="1"/>
                  </a:cubicBezTo>
                  <a:cubicBezTo>
                    <a:pt x="201" y="1"/>
                    <a:pt x="201" y="1"/>
                    <a:pt x="200" y="2"/>
                  </a:cubicBezTo>
                  <a:cubicBezTo>
                    <a:pt x="199" y="2"/>
                    <a:pt x="199" y="1"/>
                    <a:pt x="199" y="2"/>
                  </a:cubicBezTo>
                  <a:cubicBezTo>
                    <a:pt x="198" y="2"/>
                    <a:pt x="198" y="2"/>
                    <a:pt x="197" y="2"/>
                  </a:cubicBezTo>
                  <a:cubicBezTo>
                    <a:pt x="196" y="2"/>
                    <a:pt x="195" y="2"/>
                    <a:pt x="194" y="2"/>
                  </a:cubicBezTo>
                  <a:cubicBezTo>
                    <a:pt x="194" y="2"/>
                    <a:pt x="193" y="2"/>
                    <a:pt x="193" y="2"/>
                  </a:cubicBezTo>
                  <a:cubicBezTo>
                    <a:pt x="192" y="3"/>
                    <a:pt x="192" y="3"/>
                    <a:pt x="191" y="3"/>
                  </a:cubicBezTo>
                  <a:cubicBezTo>
                    <a:pt x="190" y="3"/>
                    <a:pt x="189" y="3"/>
                    <a:pt x="187" y="3"/>
                  </a:cubicBezTo>
                  <a:cubicBezTo>
                    <a:pt x="188" y="3"/>
                    <a:pt x="188" y="2"/>
                    <a:pt x="188" y="2"/>
                  </a:cubicBezTo>
                  <a:cubicBezTo>
                    <a:pt x="188" y="2"/>
                    <a:pt x="189" y="2"/>
                    <a:pt x="190" y="2"/>
                  </a:cubicBezTo>
                  <a:cubicBezTo>
                    <a:pt x="190" y="2"/>
                    <a:pt x="190" y="1"/>
                    <a:pt x="190" y="1"/>
                  </a:cubicBezTo>
                  <a:cubicBezTo>
                    <a:pt x="189" y="1"/>
                    <a:pt x="188" y="2"/>
                    <a:pt x="187" y="2"/>
                  </a:cubicBezTo>
                  <a:cubicBezTo>
                    <a:pt x="187" y="2"/>
                    <a:pt x="187" y="2"/>
                    <a:pt x="188" y="1"/>
                  </a:cubicBezTo>
                  <a:cubicBezTo>
                    <a:pt x="188" y="1"/>
                    <a:pt x="188" y="1"/>
                    <a:pt x="189" y="1"/>
                  </a:cubicBezTo>
                  <a:cubicBezTo>
                    <a:pt x="189" y="1"/>
                    <a:pt x="189" y="1"/>
                    <a:pt x="189" y="1"/>
                  </a:cubicBezTo>
                  <a:cubicBezTo>
                    <a:pt x="189" y="1"/>
                    <a:pt x="189" y="1"/>
                    <a:pt x="189" y="0"/>
                  </a:cubicBezTo>
                  <a:cubicBezTo>
                    <a:pt x="188" y="0"/>
                    <a:pt x="187" y="1"/>
                    <a:pt x="186" y="1"/>
                  </a:cubicBezTo>
                  <a:cubicBezTo>
                    <a:pt x="186" y="1"/>
                    <a:pt x="186" y="1"/>
                    <a:pt x="185" y="2"/>
                  </a:cubicBezTo>
                  <a:cubicBezTo>
                    <a:pt x="186" y="1"/>
                    <a:pt x="186" y="1"/>
                    <a:pt x="186" y="1"/>
                  </a:cubicBezTo>
                  <a:cubicBezTo>
                    <a:pt x="186" y="1"/>
                    <a:pt x="185" y="1"/>
                    <a:pt x="184" y="1"/>
                  </a:cubicBezTo>
                  <a:cubicBezTo>
                    <a:pt x="183" y="1"/>
                    <a:pt x="183" y="2"/>
                    <a:pt x="182" y="2"/>
                  </a:cubicBezTo>
                  <a:cubicBezTo>
                    <a:pt x="181" y="2"/>
                    <a:pt x="180" y="2"/>
                    <a:pt x="179" y="3"/>
                  </a:cubicBezTo>
                  <a:cubicBezTo>
                    <a:pt x="179" y="3"/>
                    <a:pt x="178" y="3"/>
                    <a:pt x="177" y="4"/>
                  </a:cubicBezTo>
                  <a:cubicBezTo>
                    <a:pt x="178" y="3"/>
                    <a:pt x="179" y="3"/>
                    <a:pt x="179" y="3"/>
                  </a:cubicBezTo>
                  <a:cubicBezTo>
                    <a:pt x="179" y="2"/>
                    <a:pt x="179" y="2"/>
                    <a:pt x="179" y="2"/>
                  </a:cubicBezTo>
                  <a:cubicBezTo>
                    <a:pt x="179" y="2"/>
                    <a:pt x="179" y="2"/>
                    <a:pt x="179" y="2"/>
                  </a:cubicBezTo>
                  <a:cubicBezTo>
                    <a:pt x="178" y="2"/>
                    <a:pt x="177" y="2"/>
                    <a:pt x="176" y="3"/>
                  </a:cubicBezTo>
                  <a:cubicBezTo>
                    <a:pt x="175" y="4"/>
                    <a:pt x="174" y="4"/>
                    <a:pt x="174" y="4"/>
                  </a:cubicBezTo>
                  <a:cubicBezTo>
                    <a:pt x="173" y="4"/>
                    <a:pt x="172" y="4"/>
                    <a:pt x="172" y="4"/>
                  </a:cubicBezTo>
                  <a:cubicBezTo>
                    <a:pt x="171" y="4"/>
                    <a:pt x="171" y="4"/>
                    <a:pt x="171" y="4"/>
                  </a:cubicBezTo>
                  <a:cubicBezTo>
                    <a:pt x="171" y="3"/>
                    <a:pt x="170" y="4"/>
                    <a:pt x="169" y="4"/>
                  </a:cubicBezTo>
                  <a:cubicBezTo>
                    <a:pt x="168" y="5"/>
                    <a:pt x="168" y="5"/>
                    <a:pt x="166" y="5"/>
                  </a:cubicBezTo>
                  <a:cubicBezTo>
                    <a:pt x="167" y="4"/>
                    <a:pt x="168" y="4"/>
                    <a:pt x="168" y="4"/>
                  </a:cubicBezTo>
                  <a:cubicBezTo>
                    <a:pt x="167" y="4"/>
                    <a:pt x="165" y="4"/>
                    <a:pt x="163" y="5"/>
                  </a:cubicBezTo>
                  <a:cubicBezTo>
                    <a:pt x="162" y="5"/>
                    <a:pt x="160" y="6"/>
                    <a:pt x="159" y="7"/>
                  </a:cubicBezTo>
                  <a:cubicBezTo>
                    <a:pt x="158" y="7"/>
                    <a:pt x="158" y="7"/>
                    <a:pt x="158" y="7"/>
                  </a:cubicBezTo>
                  <a:cubicBezTo>
                    <a:pt x="158" y="7"/>
                    <a:pt x="158" y="8"/>
                    <a:pt x="158" y="8"/>
                  </a:cubicBezTo>
                  <a:cubicBezTo>
                    <a:pt x="159" y="7"/>
                    <a:pt x="159" y="7"/>
                    <a:pt x="160" y="7"/>
                  </a:cubicBezTo>
                  <a:cubicBezTo>
                    <a:pt x="161" y="8"/>
                    <a:pt x="162" y="7"/>
                    <a:pt x="163" y="6"/>
                  </a:cubicBezTo>
                  <a:cubicBezTo>
                    <a:pt x="164" y="6"/>
                    <a:pt x="165" y="5"/>
                    <a:pt x="166" y="5"/>
                  </a:cubicBezTo>
                  <a:cubicBezTo>
                    <a:pt x="166" y="5"/>
                    <a:pt x="165" y="6"/>
                    <a:pt x="165" y="6"/>
                  </a:cubicBezTo>
                  <a:cubicBezTo>
                    <a:pt x="164" y="6"/>
                    <a:pt x="164" y="6"/>
                    <a:pt x="164" y="6"/>
                  </a:cubicBezTo>
                  <a:cubicBezTo>
                    <a:pt x="163" y="7"/>
                    <a:pt x="163" y="7"/>
                    <a:pt x="161" y="8"/>
                  </a:cubicBezTo>
                  <a:cubicBezTo>
                    <a:pt x="161" y="8"/>
                    <a:pt x="160" y="9"/>
                    <a:pt x="159" y="9"/>
                  </a:cubicBezTo>
                  <a:cubicBezTo>
                    <a:pt x="159" y="9"/>
                    <a:pt x="159" y="9"/>
                    <a:pt x="159" y="10"/>
                  </a:cubicBezTo>
                  <a:cubicBezTo>
                    <a:pt x="159" y="9"/>
                    <a:pt x="159" y="9"/>
                    <a:pt x="159" y="9"/>
                  </a:cubicBezTo>
                  <a:cubicBezTo>
                    <a:pt x="160" y="8"/>
                    <a:pt x="159" y="8"/>
                    <a:pt x="159" y="8"/>
                  </a:cubicBezTo>
                  <a:cubicBezTo>
                    <a:pt x="158" y="8"/>
                    <a:pt x="158" y="8"/>
                    <a:pt x="158" y="8"/>
                  </a:cubicBezTo>
                  <a:cubicBezTo>
                    <a:pt x="158" y="8"/>
                    <a:pt x="158" y="8"/>
                    <a:pt x="158" y="8"/>
                  </a:cubicBezTo>
                  <a:cubicBezTo>
                    <a:pt x="157" y="7"/>
                    <a:pt x="156" y="8"/>
                    <a:pt x="156" y="8"/>
                  </a:cubicBezTo>
                  <a:cubicBezTo>
                    <a:pt x="155" y="8"/>
                    <a:pt x="155" y="9"/>
                    <a:pt x="154" y="9"/>
                  </a:cubicBezTo>
                  <a:cubicBezTo>
                    <a:pt x="153" y="9"/>
                    <a:pt x="152" y="9"/>
                    <a:pt x="152" y="10"/>
                  </a:cubicBezTo>
                  <a:cubicBezTo>
                    <a:pt x="151" y="10"/>
                    <a:pt x="151" y="12"/>
                    <a:pt x="149" y="11"/>
                  </a:cubicBezTo>
                  <a:cubicBezTo>
                    <a:pt x="149" y="12"/>
                    <a:pt x="149" y="12"/>
                    <a:pt x="149" y="12"/>
                  </a:cubicBezTo>
                  <a:cubicBezTo>
                    <a:pt x="149" y="12"/>
                    <a:pt x="149" y="12"/>
                    <a:pt x="149" y="12"/>
                  </a:cubicBezTo>
                  <a:cubicBezTo>
                    <a:pt x="148" y="13"/>
                    <a:pt x="148" y="13"/>
                    <a:pt x="149" y="13"/>
                  </a:cubicBezTo>
                  <a:cubicBezTo>
                    <a:pt x="150" y="14"/>
                    <a:pt x="149" y="14"/>
                    <a:pt x="149" y="14"/>
                  </a:cubicBezTo>
                  <a:cubicBezTo>
                    <a:pt x="149" y="14"/>
                    <a:pt x="150" y="14"/>
                    <a:pt x="151" y="14"/>
                  </a:cubicBezTo>
                  <a:cubicBezTo>
                    <a:pt x="151" y="14"/>
                    <a:pt x="151" y="14"/>
                    <a:pt x="151" y="14"/>
                  </a:cubicBezTo>
                  <a:cubicBezTo>
                    <a:pt x="151" y="14"/>
                    <a:pt x="152" y="15"/>
                    <a:pt x="151" y="15"/>
                  </a:cubicBezTo>
                  <a:cubicBezTo>
                    <a:pt x="150" y="15"/>
                    <a:pt x="150" y="15"/>
                    <a:pt x="150" y="15"/>
                  </a:cubicBezTo>
                  <a:cubicBezTo>
                    <a:pt x="151" y="14"/>
                    <a:pt x="151" y="14"/>
                    <a:pt x="150" y="15"/>
                  </a:cubicBezTo>
                  <a:cubicBezTo>
                    <a:pt x="149" y="15"/>
                    <a:pt x="149" y="15"/>
                    <a:pt x="148" y="15"/>
                  </a:cubicBezTo>
                  <a:cubicBezTo>
                    <a:pt x="147" y="15"/>
                    <a:pt x="147" y="14"/>
                    <a:pt x="146" y="14"/>
                  </a:cubicBezTo>
                  <a:cubicBezTo>
                    <a:pt x="146" y="14"/>
                    <a:pt x="147" y="13"/>
                    <a:pt x="147" y="13"/>
                  </a:cubicBezTo>
                  <a:cubicBezTo>
                    <a:pt x="147" y="13"/>
                    <a:pt x="148" y="12"/>
                    <a:pt x="148" y="12"/>
                  </a:cubicBezTo>
                  <a:cubicBezTo>
                    <a:pt x="149" y="12"/>
                    <a:pt x="149" y="11"/>
                    <a:pt x="149" y="11"/>
                  </a:cubicBezTo>
                  <a:cubicBezTo>
                    <a:pt x="148" y="12"/>
                    <a:pt x="147" y="12"/>
                    <a:pt x="146" y="13"/>
                  </a:cubicBezTo>
                  <a:cubicBezTo>
                    <a:pt x="143" y="14"/>
                    <a:pt x="141" y="15"/>
                    <a:pt x="140" y="17"/>
                  </a:cubicBezTo>
                  <a:cubicBezTo>
                    <a:pt x="140" y="17"/>
                    <a:pt x="140" y="17"/>
                    <a:pt x="140" y="17"/>
                  </a:cubicBezTo>
                  <a:cubicBezTo>
                    <a:pt x="139" y="18"/>
                    <a:pt x="140" y="18"/>
                    <a:pt x="140" y="18"/>
                  </a:cubicBezTo>
                  <a:cubicBezTo>
                    <a:pt x="140" y="19"/>
                    <a:pt x="140" y="19"/>
                    <a:pt x="140" y="19"/>
                  </a:cubicBezTo>
                  <a:cubicBezTo>
                    <a:pt x="142" y="19"/>
                    <a:pt x="144" y="18"/>
                    <a:pt x="145" y="17"/>
                  </a:cubicBezTo>
                  <a:cubicBezTo>
                    <a:pt x="144" y="18"/>
                    <a:pt x="143" y="18"/>
                    <a:pt x="142" y="19"/>
                  </a:cubicBezTo>
                  <a:cubicBezTo>
                    <a:pt x="142" y="19"/>
                    <a:pt x="142" y="19"/>
                    <a:pt x="142" y="19"/>
                  </a:cubicBezTo>
                  <a:cubicBezTo>
                    <a:pt x="142" y="19"/>
                    <a:pt x="142" y="20"/>
                    <a:pt x="142" y="20"/>
                  </a:cubicBezTo>
                  <a:cubicBezTo>
                    <a:pt x="144" y="19"/>
                    <a:pt x="145" y="19"/>
                    <a:pt x="147" y="18"/>
                  </a:cubicBezTo>
                  <a:cubicBezTo>
                    <a:pt x="147" y="18"/>
                    <a:pt x="147" y="18"/>
                    <a:pt x="147" y="18"/>
                  </a:cubicBezTo>
                  <a:cubicBezTo>
                    <a:pt x="148" y="17"/>
                    <a:pt x="149" y="17"/>
                    <a:pt x="151" y="17"/>
                  </a:cubicBezTo>
                  <a:cubicBezTo>
                    <a:pt x="151" y="17"/>
                    <a:pt x="151" y="17"/>
                    <a:pt x="151" y="17"/>
                  </a:cubicBezTo>
                  <a:cubicBezTo>
                    <a:pt x="151" y="18"/>
                    <a:pt x="151" y="18"/>
                    <a:pt x="152" y="17"/>
                  </a:cubicBezTo>
                  <a:cubicBezTo>
                    <a:pt x="152" y="17"/>
                    <a:pt x="152" y="18"/>
                    <a:pt x="152" y="18"/>
                  </a:cubicBezTo>
                  <a:cubicBezTo>
                    <a:pt x="152" y="18"/>
                    <a:pt x="152" y="18"/>
                    <a:pt x="152" y="18"/>
                  </a:cubicBezTo>
                  <a:cubicBezTo>
                    <a:pt x="151" y="18"/>
                    <a:pt x="151" y="19"/>
                    <a:pt x="151" y="19"/>
                  </a:cubicBezTo>
                  <a:cubicBezTo>
                    <a:pt x="151" y="19"/>
                    <a:pt x="151" y="20"/>
                    <a:pt x="150" y="21"/>
                  </a:cubicBezTo>
                  <a:cubicBezTo>
                    <a:pt x="149" y="20"/>
                    <a:pt x="149" y="20"/>
                    <a:pt x="148" y="21"/>
                  </a:cubicBezTo>
                  <a:cubicBezTo>
                    <a:pt x="149" y="21"/>
                    <a:pt x="149" y="21"/>
                    <a:pt x="149" y="21"/>
                  </a:cubicBezTo>
                  <a:cubicBezTo>
                    <a:pt x="149" y="21"/>
                    <a:pt x="150" y="21"/>
                    <a:pt x="150" y="21"/>
                  </a:cubicBezTo>
                  <a:cubicBezTo>
                    <a:pt x="149" y="22"/>
                    <a:pt x="149" y="22"/>
                    <a:pt x="148" y="22"/>
                  </a:cubicBezTo>
                  <a:cubicBezTo>
                    <a:pt x="147" y="22"/>
                    <a:pt x="147" y="22"/>
                    <a:pt x="146" y="22"/>
                  </a:cubicBezTo>
                  <a:cubicBezTo>
                    <a:pt x="146" y="23"/>
                    <a:pt x="146" y="22"/>
                    <a:pt x="146" y="22"/>
                  </a:cubicBezTo>
                  <a:cubicBezTo>
                    <a:pt x="146" y="22"/>
                    <a:pt x="146" y="22"/>
                    <a:pt x="146" y="22"/>
                  </a:cubicBezTo>
                  <a:cubicBezTo>
                    <a:pt x="147" y="21"/>
                    <a:pt x="147" y="21"/>
                    <a:pt x="146" y="21"/>
                  </a:cubicBezTo>
                  <a:cubicBezTo>
                    <a:pt x="145" y="21"/>
                    <a:pt x="144" y="21"/>
                    <a:pt x="143" y="21"/>
                  </a:cubicBezTo>
                  <a:cubicBezTo>
                    <a:pt x="143" y="22"/>
                    <a:pt x="142" y="23"/>
                    <a:pt x="142" y="23"/>
                  </a:cubicBezTo>
                  <a:cubicBezTo>
                    <a:pt x="142" y="24"/>
                    <a:pt x="141" y="24"/>
                    <a:pt x="141" y="24"/>
                  </a:cubicBezTo>
                  <a:cubicBezTo>
                    <a:pt x="141" y="24"/>
                    <a:pt x="141" y="23"/>
                    <a:pt x="141" y="23"/>
                  </a:cubicBezTo>
                  <a:cubicBezTo>
                    <a:pt x="140" y="23"/>
                    <a:pt x="140" y="23"/>
                    <a:pt x="140" y="23"/>
                  </a:cubicBezTo>
                  <a:cubicBezTo>
                    <a:pt x="140" y="23"/>
                    <a:pt x="139" y="23"/>
                    <a:pt x="139" y="23"/>
                  </a:cubicBezTo>
                  <a:cubicBezTo>
                    <a:pt x="138" y="23"/>
                    <a:pt x="138" y="24"/>
                    <a:pt x="138" y="24"/>
                  </a:cubicBezTo>
                  <a:cubicBezTo>
                    <a:pt x="137" y="24"/>
                    <a:pt x="137" y="24"/>
                    <a:pt x="136" y="24"/>
                  </a:cubicBezTo>
                  <a:cubicBezTo>
                    <a:pt x="136" y="24"/>
                    <a:pt x="137" y="24"/>
                    <a:pt x="137" y="23"/>
                  </a:cubicBezTo>
                  <a:cubicBezTo>
                    <a:pt x="137" y="23"/>
                    <a:pt x="137" y="23"/>
                    <a:pt x="138" y="23"/>
                  </a:cubicBezTo>
                  <a:cubicBezTo>
                    <a:pt x="137" y="23"/>
                    <a:pt x="136" y="23"/>
                    <a:pt x="135" y="23"/>
                  </a:cubicBezTo>
                  <a:cubicBezTo>
                    <a:pt x="135" y="23"/>
                    <a:pt x="134" y="23"/>
                    <a:pt x="134" y="23"/>
                  </a:cubicBezTo>
                  <a:cubicBezTo>
                    <a:pt x="134" y="22"/>
                    <a:pt x="134" y="23"/>
                    <a:pt x="133" y="23"/>
                  </a:cubicBezTo>
                  <a:cubicBezTo>
                    <a:pt x="132" y="23"/>
                    <a:pt x="131" y="23"/>
                    <a:pt x="131" y="23"/>
                  </a:cubicBezTo>
                  <a:cubicBezTo>
                    <a:pt x="131" y="23"/>
                    <a:pt x="132" y="22"/>
                    <a:pt x="132" y="22"/>
                  </a:cubicBezTo>
                  <a:cubicBezTo>
                    <a:pt x="132" y="21"/>
                    <a:pt x="132" y="21"/>
                    <a:pt x="133" y="21"/>
                  </a:cubicBezTo>
                  <a:cubicBezTo>
                    <a:pt x="135" y="20"/>
                    <a:pt x="136" y="19"/>
                    <a:pt x="137" y="18"/>
                  </a:cubicBezTo>
                  <a:cubicBezTo>
                    <a:pt x="137" y="17"/>
                    <a:pt x="137" y="17"/>
                    <a:pt x="137" y="17"/>
                  </a:cubicBezTo>
                  <a:cubicBezTo>
                    <a:pt x="137" y="17"/>
                    <a:pt x="137" y="17"/>
                    <a:pt x="138" y="16"/>
                  </a:cubicBezTo>
                  <a:cubicBezTo>
                    <a:pt x="137" y="17"/>
                    <a:pt x="137" y="17"/>
                    <a:pt x="137" y="17"/>
                  </a:cubicBezTo>
                  <a:cubicBezTo>
                    <a:pt x="135" y="17"/>
                    <a:pt x="134" y="18"/>
                    <a:pt x="133" y="19"/>
                  </a:cubicBezTo>
                  <a:cubicBezTo>
                    <a:pt x="130" y="19"/>
                    <a:pt x="129" y="21"/>
                    <a:pt x="127" y="22"/>
                  </a:cubicBezTo>
                  <a:cubicBezTo>
                    <a:pt x="127" y="22"/>
                    <a:pt x="127" y="22"/>
                    <a:pt x="127" y="22"/>
                  </a:cubicBezTo>
                  <a:cubicBezTo>
                    <a:pt x="127" y="23"/>
                    <a:pt x="127" y="24"/>
                    <a:pt x="128" y="24"/>
                  </a:cubicBezTo>
                  <a:cubicBezTo>
                    <a:pt x="129" y="23"/>
                    <a:pt x="129" y="24"/>
                    <a:pt x="129" y="24"/>
                  </a:cubicBezTo>
                  <a:cubicBezTo>
                    <a:pt x="129" y="24"/>
                    <a:pt x="129" y="24"/>
                    <a:pt x="129" y="25"/>
                  </a:cubicBezTo>
                  <a:cubicBezTo>
                    <a:pt x="128" y="25"/>
                    <a:pt x="129" y="25"/>
                    <a:pt x="128" y="26"/>
                  </a:cubicBezTo>
                  <a:cubicBezTo>
                    <a:pt x="127" y="26"/>
                    <a:pt x="127" y="27"/>
                    <a:pt x="127" y="27"/>
                  </a:cubicBezTo>
                  <a:cubicBezTo>
                    <a:pt x="127" y="27"/>
                    <a:pt x="128" y="27"/>
                    <a:pt x="128" y="27"/>
                  </a:cubicBezTo>
                  <a:cubicBezTo>
                    <a:pt x="127" y="28"/>
                    <a:pt x="128" y="28"/>
                    <a:pt x="128" y="28"/>
                  </a:cubicBezTo>
                  <a:cubicBezTo>
                    <a:pt x="129" y="28"/>
                    <a:pt x="129" y="28"/>
                    <a:pt x="129" y="28"/>
                  </a:cubicBezTo>
                  <a:cubicBezTo>
                    <a:pt x="130" y="28"/>
                    <a:pt x="130" y="27"/>
                    <a:pt x="131" y="27"/>
                  </a:cubicBezTo>
                  <a:cubicBezTo>
                    <a:pt x="131" y="27"/>
                    <a:pt x="132" y="27"/>
                    <a:pt x="132" y="27"/>
                  </a:cubicBezTo>
                  <a:cubicBezTo>
                    <a:pt x="132" y="27"/>
                    <a:pt x="132" y="27"/>
                    <a:pt x="132" y="27"/>
                  </a:cubicBezTo>
                  <a:cubicBezTo>
                    <a:pt x="133" y="27"/>
                    <a:pt x="133" y="27"/>
                    <a:pt x="133" y="27"/>
                  </a:cubicBezTo>
                  <a:cubicBezTo>
                    <a:pt x="133" y="28"/>
                    <a:pt x="133" y="28"/>
                    <a:pt x="133" y="27"/>
                  </a:cubicBezTo>
                  <a:cubicBezTo>
                    <a:pt x="133" y="27"/>
                    <a:pt x="134" y="27"/>
                    <a:pt x="134" y="27"/>
                  </a:cubicBezTo>
                  <a:cubicBezTo>
                    <a:pt x="134" y="27"/>
                    <a:pt x="134" y="27"/>
                    <a:pt x="134" y="27"/>
                  </a:cubicBezTo>
                  <a:cubicBezTo>
                    <a:pt x="135" y="27"/>
                    <a:pt x="135" y="27"/>
                    <a:pt x="135" y="27"/>
                  </a:cubicBezTo>
                  <a:cubicBezTo>
                    <a:pt x="134" y="27"/>
                    <a:pt x="134" y="27"/>
                    <a:pt x="134" y="28"/>
                  </a:cubicBezTo>
                  <a:cubicBezTo>
                    <a:pt x="133" y="28"/>
                    <a:pt x="133" y="29"/>
                    <a:pt x="132" y="30"/>
                  </a:cubicBezTo>
                  <a:cubicBezTo>
                    <a:pt x="131" y="30"/>
                    <a:pt x="131" y="30"/>
                    <a:pt x="131" y="30"/>
                  </a:cubicBezTo>
                  <a:cubicBezTo>
                    <a:pt x="131" y="30"/>
                    <a:pt x="132" y="30"/>
                    <a:pt x="132" y="30"/>
                  </a:cubicBezTo>
                  <a:cubicBezTo>
                    <a:pt x="132" y="30"/>
                    <a:pt x="132" y="30"/>
                    <a:pt x="132" y="30"/>
                  </a:cubicBezTo>
                  <a:cubicBezTo>
                    <a:pt x="132" y="30"/>
                    <a:pt x="132" y="31"/>
                    <a:pt x="132" y="31"/>
                  </a:cubicBezTo>
                  <a:cubicBezTo>
                    <a:pt x="132" y="31"/>
                    <a:pt x="132" y="31"/>
                    <a:pt x="131" y="31"/>
                  </a:cubicBezTo>
                  <a:cubicBezTo>
                    <a:pt x="131" y="31"/>
                    <a:pt x="131" y="31"/>
                    <a:pt x="130" y="32"/>
                  </a:cubicBezTo>
                  <a:cubicBezTo>
                    <a:pt x="130" y="32"/>
                    <a:pt x="130" y="31"/>
                    <a:pt x="130" y="31"/>
                  </a:cubicBezTo>
                  <a:cubicBezTo>
                    <a:pt x="130" y="31"/>
                    <a:pt x="130" y="31"/>
                    <a:pt x="130" y="30"/>
                  </a:cubicBezTo>
                  <a:cubicBezTo>
                    <a:pt x="129" y="31"/>
                    <a:pt x="129" y="31"/>
                    <a:pt x="128" y="31"/>
                  </a:cubicBezTo>
                  <a:cubicBezTo>
                    <a:pt x="128" y="31"/>
                    <a:pt x="128" y="31"/>
                    <a:pt x="127" y="31"/>
                  </a:cubicBezTo>
                  <a:cubicBezTo>
                    <a:pt x="128" y="31"/>
                    <a:pt x="128" y="31"/>
                    <a:pt x="128" y="31"/>
                  </a:cubicBezTo>
                  <a:cubicBezTo>
                    <a:pt x="129" y="30"/>
                    <a:pt x="130" y="30"/>
                    <a:pt x="131" y="29"/>
                  </a:cubicBezTo>
                  <a:cubicBezTo>
                    <a:pt x="130" y="29"/>
                    <a:pt x="129" y="29"/>
                    <a:pt x="129" y="29"/>
                  </a:cubicBezTo>
                  <a:cubicBezTo>
                    <a:pt x="128" y="28"/>
                    <a:pt x="127" y="30"/>
                    <a:pt x="127" y="30"/>
                  </a:cubicBezTo>
                  <a:cubicBezTo>
                    <a:pt x="126" y="30"/>
                    <a:pt x="126" y="30"/>
                    <a:pt x="126" y="30"/>
                  </a:cubicBezTo>
                  <a:cubicBezTo>
                    <a:pt x="125" y="30"/>
                    <a:pt x="125" y="30"/>
                    <a:pt x="125" y="30"/>
                  </a:cubicBezTo>
                  <a:cubicBezTo>
                    <a:pt x="124" y="31"/>
                    <a:pt x="124" y="32"/>
                    <a:pt x="122" y="33"/>
                  </a:cubicBezTo>
                  <a:cubicBezTo>
                    <a:pt x="124" y="32"/>
                    <a:pt x="125" y="32"/>
                    <a:pt x="126" y="32"/>
                  </a:cubicBezTo>
                  <a:cubicBezTo>
                    <a:pt x="125" y="32"/>
                    <a:pt x="124" y="33"/>
                    <a:pt x="125" y="33"/>
                  </a:cubicBezTo>
                  <a:cubicBezTo>
                    <a:pt x="125" y="33"/>
                    <a:pt x="125" y="34"/>
                    <a:pt x="124" y="34"/>
                  </a:cubicBezTo>
                  <a:cubicBezTo>
                    <a:pt x="123" y="34"/>
                    <a:pt x="122" y="35"/>
                    <a:pt x="122" y="35"/>
                  </a:cubicBezTo>
                  <a:cubicBezTo>
                    <a:pt x="121" y="36"/>
                    <a:pt x="120" y="37"/>
                    <a:pt x="119" y="37"/>
                  </a:cubicBezTo>
                  <a:cubicBezTo>
                    <a:pt x="119" y="37"/>
                    <a:pt x="118" y="38"/>
                    <a:pt x="117" y="38"/>
                  </a:cubicBezTo>
                  <a:cubicBezTo>
                    <a:pt x="117" y="38"/>
                    <a:pt x="116" y="38"/>
                    <a:pt x="115" y="38"/>
                  </a:cubicBezTo>
                  <a:cubicBezTo>
                    <a:pt x="115" y="39"/>
                    <a:pt x="114" y="39"/>
                    <a:pt x="114" y="40"/>
                  </a:cubicBezTo>
                  <a:cubicBezTo>
                    <a:pt x="113" y="40"/>
                    <a:pt x="113" y="40"/>
                    <a:pt x="113" y="40"/>
                  </a:cubicBezTo>
                  <a:cubicBezTo>
                    <a:pt x="112" y="40"/>
                    <a:pt x="111" y="40"/>
                    <a:pt x="110" y="40"/>
                  </a:cubicBezTo>
                  <a:cubicBezTo>
                    <a:pt x="110" y="40"/>
                    <a:pt x="109" y="41"/>
                    <a:pt x="109" y="41"/>
                  </a:cubicBezTo>
                  <a:cubicBezTo>
                    <a:pt x="108" y="41"/>
                    <a:pt x="108" y="42"/>
                    <a:pt x="108" y="42"/>
                  </a:cubicBezTo>
                  <a:cubicBezTo>
                    <a:pt x="107" y="43"/>
                    <a:pt x="106" y="43"/>
                    <a:pt x="105" y="44"/>
                  </a:cubicBezTo>
                  <a:cubicBezTo>
                    <a:pt x="105" y="44"/>
                    <a:pt x="105" y="44"/>
                    <a:pt x="105" y="44"/>
                  </a:cubicBezTo>
                  <a:cubicBezTo>
                    <a:pt x="105" y="44"/>
                    <a:pt x="105" y="44"/>
                    <a:pt x="105" y="44"/>
                  </a:cubicBezTo>
                  <a:cubicBezTo>
                    <a:pt x="106" y="44"/>
                    <a:pt x="106" y="44"/>
                    <a:pt x="107" y="43"/>
                  </a:cubicBezTo>
                  <a:cubicBezTo>
                    <a:pt x="107" y="43"/>
                    <a:pt x="108" y="42"/>
                    <a:pt x="109" y="42"/>
                  </a:cubicBezTo>
                  <a:cubicBezTo>
                    <a:pt x="109" y="42"/>
                    <a:pt x="108" y="43"/>
                    <a:pt x="107" y="43"/>
                  </a:cubicBezTo>
                  <a:cubicBezTo>
                    <a:pt x="106" y="44"/>
                    <a:pt x="106" y="44"/>
                    <a:pt x="107" y="44"/>
                  </a:cubicBezTo>
                  <a:cubicBezTo>
                    <a:pt x="108" y="45"/>
                    <a:pt x="108" y="45"/>
                    <a:pt x="108" y="45"/>
                  </a:cubicBezTo>
                  <a:cubicBezTo>
                    <a:pt x="108" y="45"/>
                    <a:pt x="108" y="45"/>
                    <a:pt x="108" y="45"/>
                  </a:cubicBezTo>
                  <a:cubicBezTo>
                    <a:pt x="108" y="45"/>
                    <a:pt x="108" y="46"/>
                    <a:pt x="107" y="46"/>
                  </a:cubicBezTo>
                  <a:cubicBezTo>
                    <a:pt x="107" y="46"/>
                    <a:pt x="107" y="46"/>
                    <a:pt x="107" y="46"/>
                  </a:cubicBezTo>
                  <a:cubicBezTo>
                    <a:pt x="107" y="45"/>
                    <a:pt x="107" y="45"/>
                    <a:pt x="106" y="45"/>
                  </a:cubicBezTo>
                  <a:cubicBezTo>
                    <a:pt x="106" y="45"/>
                    <a:pt x="105" y="46"/>
                    <a:pt x="104" y="46"/>
                  </a:cubicBezTo>
                  <a:cubicBezTo>
                    <a:pt x="103" y="46"/>
                    <a:pt x="102" y="47"/>
                    <a:pt x="101" y="47"/>
                  </a:cubicBezTo>
                  <a:cubicBezTo>
                    <a:pt x="101" y="48"/>
                    <a:pt x="99" y="48"/>
                    <a:pt x="99" y="49"/>
                  </a:cubicBezTo>
                  <a:cubicBezTo>
                    <a:pt x="97" y="51"/>
                    <a:pt x="94" y="52"/>
                    <a:pt x="92" y="53"/>
                  </a:cubicBezTo>
                  <a:cubicBezTo>
                    <a:pt x="92" y="53"/>
                    <a:pt x="93" y="52"/>
                    <a:pt x="93" y="52"/>
                  </a:cubicBezTo>
                  <a:cubicBezTo>
                    <a:pt x="94" y="52"/>
                    <a:pt x="94" y="51"/>
                    <a:pt x="94" y="51"/>
                  </a:cubicBezTo>
                  <a:cubicBezTo>
                    <a:pt x="94" y="51"/>
                    <a:pt x="94" y="51"/>
                    <a:pt x="93" y="51"/>
                  </a:cubicBezTo>
                  <a:cubicBezTo>
                    <a:pt x="92" y="52"/>
                    <a:pt x="91" y="52"/>
                    <a:pt x="90" y="53"/>
                  </a:cubicBezTo>
                  <a:cubicBezTo>
                    <a:pt x="89" y="53"/>
                    <a:pt x="88" y="54"/>
                    <a:pt x="87" y="55"/>
                  </a:cubicBezTo>
                  <a:cubicBezTo>
                    <a:pt x="86" y="56"/>
                    <a:pt x="85" y="56"/>
                    <a:pt x="84" y="56"/>
                  </a:cubicBezTo>
                  <a:cubicBezTo>
                    <a:pt x="83" y="56"/>
                    <a:pt x="82" y="57"/>
                    <a:pt x="81" y="58"/>
                  </a:cubicBezTo>
                  <a:cubicBezTo>
                    <a:pt x="81" y="58"/>
                    <a:pt x="81" y="58"/>
                    <a:pt x="81" y="58"/>
                  </a:cubicBezTo>
                  <a:cubicBezTo>
                    <a:pt x="80" y="59"/>
                    <a:pt x="78" y="60"/>
                    <a:pt x="77" y="60"/>
                  </a:cubicBezTo>
                  <a:cubicBezTo>
                    <a:pt x="76" y="61"/>
                    <a:pt x="76" y="61"/>
                    <a:pt x="75" y="62"/>
                  </a:cubicBezTo>
                  <a:cubicBezTo>
                    <a:pt x="75" y="63"/>
                    <a:pt x="74" y="63"/>
                    <a:pt x="73" y="63"/>
                  </a:cubicBezTo>
                  <a:cubicBezTo>
                    <a:pt x="73" y="63"/>
                    <a:pt x="73" y="63"/>
                    <a:pt x="73" y="63"/>
                  </a:cubicBezTo>
                  <a:cubicBezTo>
                    <a:pt x="72" y="63"/>
                    <a:pt x="72" y="63"/>
                    <a:pt x="72" y="64"/>
                  </a:cubicBezTo>
                  <a:cubicBezTo>
                    <a:pt x="72" y="64"/>
                    <a:pt x="72" y="64"/>
                    <a:pt x="72" y="65"/>
                  </a:cubicBezTo>
                  <a:cubicBezTo>
                    <a:pt x="71" y="65"/>
                    <a:pt x="71" y="66"/>
                    <a:pt x="70" y="66"/>
                  </a:cubicBezTo>
                  <a:cubicBezTo>
                    <a:pt x="69" y="67"/>
                    <a:pt x="68" y="66"/>
                    <a:pt x="68" y="66"/>
                  </a:cubicBezTo>
                  <a:cubicBezTo>
                    <a:pt x="67" y="66"/>
                    <a:pt x="67" y="67"/>
                    <a:pt x="66" y="67"/>
                  </a:cubicBezTo>
                  <a:cubicBezTo>
                    <a:pt x="65" y="67"/>
                    <a:pt x="66" y="68"/>
                    <a:pt x="66" y="68"/>
                  </a:cubicBezTo>
                  <a:cubicBezTo>
                    <a:pt x="65" y="68"/>
                    <a:pt x="65" y="69"/>
                    <a:pt x="65" y="69"/>
                  </a:cubicBezTo>
                  <a:cubicBezTo>
                    <a:pt x="63" y="70"/>
                    <a:pt x="63" y="71"/>
                    <a:pt x="62" y="72"/>
                  </a:cubicBezTo>
                  <a:cubicBezTo>
                    <a:pt x="62" y="72"/>
                    <a:pt x="62" y="72"/>
                    <a:pt x="62" y="72"/>
                  </a:cubicBezTo>
                  <a:cubicBezTo>
                    <a:pt x="62" y="71"/>
                    <a:pt x="62" y="71"/>
                    <a:pt x="63" y="70"/>
                  </a:cubicBezTo>
                  <a:cubicBezTo>
                    <a:pt x="62" y="71"/>
                    <a:pt x="61" y="72"/>
                    <a:pt x="60" y="73"/>
                  </a:cubicBezTo>
                  <a:cubicBezTo>
                    <a:pt x="60" y="73"/>
                    <a:pt x="59" y="74"/>
                    <a:pt x="58" y="74"/>
                  </a:cubicBezTo>
                  <a:cubicBezTo>
                    <a:pt x="58" y="75"/>
                    <a:pt x="57" y="75"/>
                    <a:pt x="57" y="76"/>
                  </a:cubicBezTo>
                  <a:cubicBezTo>
                    <a:pt x="56" y="77"/>
                    <a:pt x="56" y="77"/>
                    <a:pt x="55" y="77"/>
                  </a:cubicBezTo>
                  <a:cubicBezTo>
                    <a:pt x="55" y="77"/>
                    <a:pt x="55" y="77"/>
                    <a:pt x="54" y="78"/>
                  </a:cubicBezTo>
                  <a:cubicBezTo>
                    <a:pt x="54" y="79"/>
                    <a:pt x="52" y="80"/>
                    <a:pt x="52" y="81"/>
                  </a:cubicBezTo>
                  <a:cubicBezTo>
                    <a:pt x="51" y="82"/>
                    <a:pt x="50" y="82"/>
                    <a:pt x="49" y="83"/>
                  </a:cubicBezTo>
                  <a:cubicBezTo>
                    <a:pt x="48" y="84"/>
                    <a:pt x="47" y="85"/>
                    <a:pt x="47" y="85"/>
                  </a:cubicBezTo>
                  <a:cubicBezTo>
                    <a:pt x="46" y="85"/>
                    <a:pt x="45" y="86"/>
                    <a:pt x="44" y="86"/>
                  </a:cubicBezTo>
                  <a:cubicBezTo>
                    <a:pt x="43" y="88"/>
                    <a:pt x="41" y="89"/>
                    <a:pt x="40" y="89"/>
                  </a:cubicBezTo>
                  <a:cubicBezTo>
                    <a:pt x="38" y="90"/>
                    <a:pt x="37" y="92"/>
                    <a:pt x="36" y="93"/>
                  </a:cubicBezTo>
                  <a:cubicBezTo>
                    <a:pt x="36" y="93"/>
                    <a:pt x="35" y="93"/>
                    <a:pt x="35" y="93"/>
                  </a:cubicBezTo>
                  <a:cubicBezTo>
                    <a:pt x="35" y="94"/>
                    <a:pt x="34" y="94"/>
                    <a:pt x="34" y="95"/>
                  </a:cubicBezTo>
                  <a:cubicBezTo>
                    <a:pt x="33" y="95"/>
                    <a:pt x="32" y="95"/>
                    <a:pt x="32" y="96"/>
                  </a:cubicBezTo>
                  <a:cubicBezTo>
                    <a:pt x="29" y="98"/>
                    <a:pt x="26" y="100"/>
                    <a:pt x="24" y="103"/>
                  </a:cubicBezTo>
                  <a:cubicBezTo>
                    <a:pt x="24" y="103"/>
                    <a:pt x="23" y="103"/>
                    <a:pt x="23" y="104"/>
                  </a:cubicBezTo>
                  <a:cubicBezTo>
                    <a:pt x="23" y="104"/>
                    <a:pt x="22" y="104"/>
                    <a:pt x="22" y="104"/>
                  </a:cubicBezTo>
                  <a:cubicBezTo>
                    <a:pt x="21" y="105"/>
                    <a:pt x="20" y="106"/>
                    <a:pt x="19" y="107"/>
                  </a:cubicBezTo>
                  <a:cubicBezTo>
                    <a:pt x="18" y="107"/>
                    <a:pt x="18" y="108"/>
                    <a:pt x="17" y="109"/>
                  </a:cubicBezTo>
                  <a:cubicBezTo>
                    <a:pt x="17" y="109"/>
                    <a:pt x="16" y="109"/>
                    <a:pt x="16" y="110"/>
                  </a:cubicBezTo>
                  <a:cubicBezTo>
                    <a:pt x="15" y="110"/>
                    <a:pt x="15" y="110"/>
                    <a:pt x="15" y="111"/>
                  </a:cubicBezTo>
                  <a:cubicBezTo>
                    <a:pt x="15" y="111"/>
                    <a:pt x="15" y="110"/>
                    <a:pt x="15" y="110"/>
                  </a:cubicBezTo>
                  <a:cubicBezTo>
                    <a:pt x="14" y="111"/>
                    <a:pt x="14" y="111"/>
                    <a:pt x="13" y="111"/>
                  </a:cubicBezTo>
                  <a:cubicBezTo>
                    <a:pt x="13" y="111"/>
                    <a:pt x="13" y="112"/>
                    <a:pt x="13" y="112"/>
                  </a:cubicBezTo>
                  <a:cubicBezTo>
                    <a:pt x="12" y="114"/>
                    <a:pt x="11" y="115"/>
                    <a:pt x="9" y="116"/>
                  </a:cubicBezTo>
                  <a:cubicBezTo>
                    <a:pt x="9" y="117"/>
                    <a:pt x="9" y="118"/>
                    <a:pt x="8" y="118"/>
                  </a:cubicBezTo>
                  <a:cubicBezTo>
                    <a:pt x="8" y="119"/>
                    <a:pt x="7" y="120"/>
                    <a:pt x="6" y="121"/>
                  </a:cubicBezTo>
                  <a:cubicBezTo>
                    <a:pt x="5" y="122"/>
                    <a:pt x="5" y="123"/>
                    <a:pt x="5" y="124"/>
                  </a:cubicBezTo>
                  <a:cubicBezTo>
                    <a:pt x="4" y="124"/>
                    <a:pt x="4" y="125"/>
                    <a:pt x="4" y="125"/>
                  </a:cubicBezTo>
                  <a:cubicBezTo>
                    <a:pt x="4" y="126"/>
                    <a:pt x="4" y="127"/>
                    <a:pt x="3" y="128"/>
                  </a:cubicBezTo>
                  <a:cubicBezTo>
                    <a:pt x="2" y="128"/>
                    <a:pt x="1" y="129"/>
                    <a:pt x="1" y="130"/>
                  </a:cubicBezTo>
                  <a:cubicBezTo>
                    <a:pt x="0" y="130"/>
                    <a:pt x="0" y="130"/>
                    <a:pt x="0" y="131"/>
                  </a:cubicBezTo>
                  <a:cubicBezTo>
                    <a:pt x="4" y="127"/>
                    <a:pt x="8" y="123"/>
                    <a:pt x="12" y="120"/>
                  </a:cubicBezTo>
                  <a:cubicBezTo>
                    <a:pt x="12" y="119"/>
                    <a:pt x="13" y="118"/>
                    <a:pt x="15" y="117"/>
                  </a:cubicBezTo>
                  <a:cubicBezTo>
                    <a:pt x="15" y="115"/>
                    <a:pt x="16" y="113"/>
                    <a:pt x="19" y="113"/>
                  </a:cubicBezTo>
                  <a:cubicBezTo>
                    <a:pt x="20" y="112"/>
                    <a:pt x="22" y="112"/>
                    <a:pt x="23" y="111"/>
                  </a:cubicBezTo>
                  <a:cubicBezTo>
                    <a:pt x="24" y="111"/>
                    <a:pt x="25" y="110"/>
                    <a:pt x="26" y="109"/>
                  </a:cubicBezTo>
                  <a:cubicBezTo>
                    <a:pt x="29" y="107"/>
                    <a:pt x="32" y="105"/>
                    <a:pt x="35" y="104"/>
                  </a:cubicBezTo>
                  <a:cubicBezTo>
                    <a:pt x="41" y="101"/>
                    <a:pt x="46" y="99"/>
                    <a:pt x="52" y="98"/>
                  </a:cubicBezTo>
                  <a:cubicBezTo>
                    <a:pt x="53" y="97"/>
                    <a:pt x="54" y="97"/>
                    <a:pt x="54" y="97"/>
                  </a:cubicBezTo>
                  <a:cubicBezTo>
                    <a:pt x="54" y="97"/>
                    <a:pt x="55" y="97"/>
                    <a:pt x="55" y="97"/>
                  </a:cubicBezTo>
                  <a:cubicBezTo>
                    <a:pt x="55" y="97"/>
                    <a:pt x="55" y="97"/>
                    <a:pt x="55" y="97"/>
                  </a:cubicBezTo>
                  <a:cubicBezTo>
                    <a:pt x="55" y="97"/>
                    <a:pt x="55" y="97"/>
                    <a:pt x="56" y="97"/>
                  </a:cubicBezTo>
                  <a:cubicBezTo>
                    <a:pt x="57" y="97"/>
                    <a:pt x="58" y="96"/>
                    <a:pt x="59" y="96"/>
                  </a:cubicBezTo>
                  <a:cubicBezTo>
                    <a:pt x="59" y="96"/>
                    <a:pt x="60" y="95"/>
                    <a:pt x="61" y="95"/>
                  </a:cubicBezTo>
                  <a:cubicBezTo>
                    <a:pt x="61" y="94"/>
                    <a:pt x="62" y="94"/>
                    <a:pt x="62" y="93"/>
                  </a:cubicBezTo>
                  <a:cubicBezTo>
                    <a:pt x="62" y="93"/>
                    <a:pt x="61" y="94"/>
                    <a:pt x="61" y="94"/>
                  </a:cubicBezTo>
                  <a:cubicBezTo>
                    <a:pt x="61" y="94"/>
                    <a:pt x="61" y="94"/>
                    <a:pt x="61" y="93"/>
                  </a:cubicBezTo>
                  <a:cubicBezTo>
                    <a:pt x="62" y="93"/>
                    <a:pt x="62" y="92"/>
                    <a:pt x="63" y="93"/>
                  </a:cubicBezTo>
                  <a:cubicBezTo>
                    <a:pt x="63" y="93"/>
                    <a:pt x="63" y="93"/>
                    <a:pt x="64" y="92"/>
                  </a:cubicBezTo>
                  <a:cubicBezTo>
                    <a:pt x="64" y="92"/>
                    <a:pt x="64" y="92"/>
                    <a:pt x="64" y="92"/>
                  </a:cubicBezTo>
                  <a:cubicBezTo>
                    <a:pt x="64" y="92"/>
                    <a:pt x="64" y="92"/>
                    <a:pt x="64" y="91"/>
                  </a:cubicBezTo>
                  <a:cubicBezTo>
                    <a:pt x="64" y="91"/>
                    <a:pt x="64" y="91"/>
                    <a:pt x="64" y="91"/>
                  </a:cubicBezTo>
                  <a:cubicBezTo>
                    <a:pt x="64" y="91"/>
                    <a:pt x="64" y="91"/>
                    <a:pt x="65" y="91"/>
                  </a:cubicBezTo>
                  <a:cubicBezTo>
                    <a:pt x="65" y="91"/>
                    <a:pt x="65" y="91"/>
                    <a:pt x="65" y="91"/>
                  </a:cubicBezTo>
                  <a:cubicBezTo>
                    <a:pt x="65" y="91"/>
                    <a:pt x="65" y="92"/>
                    <a:pt x="65" y="92"/>
                  </a:cubicBezTo>
                  <a:cubicBezTo>
                    <a:pt x="65" y="92"/>
                    <a:pt x="65" y="92"/>
                    <a:pt x="65" y="92"/>
                  </a:cubicBezTo>
                  <a:cubicBezTo>
                    <a:pt x="65" y="92"/>
                    <a:pt x="66" y="93"/>
                    <a:pt x="66" y="92"/>
                  </a:cubicBezTo>
                  <a:cubicBezTo>
                    <a:pt x="67" y="91"/>
                    <a:pt x="66" y="91"/>
                    <a:pt x="66" y="91"/>
                  </a:cubicBezTo>
                  <a:cubicBezTo>
                    <a:pt x="67" y="91"/>
                    <a:pt x="67" y="91"/>
                    <a:pt x="68" y="91"/>
                  </a:cubicBezTo>
                  <a:cubicBezTo>
                    <a:pt x="68" y="91"/>
                    <a:pt x="68" y="91"/>
                    <a:pt x="68" y="91"/>
                  </a:cubicBezTo>
                  <a:cubicBezTo>
                    <a:pt x="68" y="91"/>
                    <a:pt x="68" y="92"/>
                    <a:pt x="68" y="92"/>
                  </a:cubicBezTo>
                  <a:cubicBezTo>
                    <a:pt x="68" y="92"/>
                    <a:pt x="67" y="92"/>
                    <a:pt x="67" y="92"/>
                  </a:cubicBezTo>
                  <a:cubicBezTo>
                    <a:pt x="67" y="93"/>
                    <a:pt x="67" y="93"/>
                    <a:pt x="68" y="93"/>
                  </a:cubicBezTo>
                  <a:cubicBezTo>
                    <a:pt x="68" y="93"/>
                    <a:pt x="68" y="93"/>
                    <a:pt x="68" y="93"/>
                  </a:cubicBezTo>
                  <a:cubicBezTo>
                    <a:pt x="68" y="93"/>
                    <a:pt x="68" y="92"/>
                    <a:pt x="68" y="92"/>
                  </a:cubicBezTo>
                  <a:cubicBezTo>
                    <a:pt x="69" y="92"/>
                    <a:pt x="69" y="92"/>
                    <a:pt x="70" y="92"/>
                  </a:cubicBezTo>
                  <a:cubicBezTo>
                    <a:pt x="69" y="93"/>
                    <a:pt x="70" y="93"/>
                    <a:pt x="71" y="93"/>
                  </a:cubicBezTo>
                  <a:cubicBezTo>
                    <a:pt x="71" y="93"/>
                    <a:pt x="72" y="92"/>
                    <a:pt x="73" y="92"/>
                  </a:cubicBezTo>
                  <a:cubicBezTo>
                    <a:pt x="73" y="92"/>
                    <a:pt x="73" y="92"/>
                    <a:pt x="73" y="92"/>
                  </a:cubicBezTo>
                  <a:cubicBezTo>
                    <a:pt x="73" y="91"/>
                    <a:pt x="71" y="92"/>
                    <a:pt x="72" y="91"/>
                  </a:cubicBezTo>
                  <a:cubicBezTo>
                    <a:pt x="72" y="90"/>
                    <a:pt x="73" y="91"/>
                    <a:pt x="73" y="91"/>
                  </a:cubicBezTo>
                  <a:cubicBezTo>
                    <a:pt x="74" y="90"/>
                    <a:pt x="75" y="90"/>
                    <a:pt x="76" y="89"/>
                  </a:cubicBezTo>
                  <a:cubicBezTo>
                    <a:pt x="76" y="90"/>
                    <a:pt x="76" y="90"/>
                    <a:pt x="76" y="90"/>
                  </a:cubicBezTo>
                  <a:cubicBezTo>
                    <a:pt x="76" y="90"/>
                    <a:pt x="76" y="90"/>
                    <a:pt x="76" y="90"/>
                  </a:cubicBezTo>
                  <a:cubicBezTo>
                    <a:pt x="77" y="90"/>
                    <a:pt x="77" y="90"/>
                    <a:pt x="77" y="91"/>
                  </a:cubicBezTo>
                  <a:cubicBezTo>
                    <a:pt x="77" y="91"/>
                    <a:pt x="77" y="91"/>
                    <a:pt x="77" y="91"/>
                  </a:cubicBezTo>
                  <a:cubicBezTo>
                    <a:pt x="78" y="91"/>
                    <a:pt x="78" y="91"/>
                    <a:pt x="78" y="91"/>
                  </a:cubicBezTo>
                  <a:cubicBezTo>
                    <a:pt x="79" y="90"/>
                    <a:pt x="79" y="89"/>
                    <a:pt x="80" y="89"/>
                  </a:cubicBezTo>
                  <a:cubicBezTo>
                    <a:pt x="80" y="89"/>
                    <a:pt x="80" y="89"/>
                    <a:pt x="80" y="90"/>
                  </a:cubicBezTo>
                  <a:cubicBezTo>
                    <a:pt x="80" y="90"/>
                    <a:pt x="80" y="90"/>
                    <a:pt x="80" y="91"/>
                  </a:cubicBezTo>
                  <a:cubicBezTo>
                    <a:pt x="80" y="90"/>
                    <a:pt x="81" y="90"/>
                    <a:pt x="81" y="89"/>
                  </a:cubicBezTo>
                  <a:cubicBezTo>
                    <a:pt x="81" y="89"/>
                    <a:pt x="81" y="89"/>
                    <a:pt x="82" y="89"/>
                  </a:cubicBezTo>
                  <a:cubicBezTo>
                    <a:pt x="81" y="89"/>
                    <a:pt x="81" y="89"/>
                    <a:pt x="81" y="90"/>
                  </a:cubicBezTo>
                  <a:cubicBezTo>
                    <a:pt x="81" y="90"/>
                    <a:pt x="81" y="90"/>
                    <a:pt x="81" y="90"/>
                  </a:cubicBezTo>
                  <a:cubicBezTo>
                    <a:pt x="81" y="90"/>
                    <a:pt x="81" y="90"/>
                    <a:pt x="81" y="90"/>
                  </a:cubicBezTo>
                  <a:cubicBezTo>
                    <a:pt x="82" y="89"/>
                    <a:pt x="83" y="89"/>
                    <a:pt x="83" y="90"/>
                  </a:cubicBezTo>
                  <a:cubicBezTo>
                    <a:pt x="83" y="90"/>
                    <a:pt x="83" y="90"/>
                    <a:pt x="83" y="90"/>
                  </a:cubicBezTo>
                  <a:cubicBezTo>
                    <a:pt x="83" y="90"/>
                    <a:pt x="83" y="90"/>
                    <a:pt x="84" y="90"/>
                  </a:cubicBezTo>
                  <a:cubicBezTo>
                    <a:pt x="84" y="90"/>
                    <a:pt x="85" y="90"/>
                    <a:pt x="85" y="90"/>
                  </a:cubicBezTo>
                  <a:cubicBezTo>
                    <a:pt x="86" y="89"/>
                    <a:pt x="87" y="89"/>
                    <a:pt x="87" y="89"/>
                  </a:cubicBezTo>
                  <a:cubicBezTo>
                    <a:pt x="86" y="90"/>
                    <a:pt x="86" y="90"/>
                    <a:pt x="84" y="91"/>
                  </a:cubicBezTo>
                  <a:cubicBezTo>
                    <a:pt x="84" y="91"/>
                    <a:pt x="83" y="91"/>
                    <a:pt x="83" y="92"/>
                  </a:cubicBezTo>
                  <a:cubicBezTo>
                    <a:pt x="83" y="92"/>
                    <a:pt x="84" y="92"/>
                    <a:pt x="84" y="92"/>
                  </a:cubicBezTo>
                  <a:cubicBezTo>
                    <a:pt x="84" y="92"/>
                    <a:pt x="85" y="92"/>
                    <a:pt x="85" y="92"/>
                  </a:cubicBezTo>
                  <a:cubicBezTo>
                    <a:pt x="85" y="91"/>
                    <a:pt x="86" y="91"/>
                    <a:pt x="86" y="91"/>
                  </a:cubicBezTo>
                  <a:cubicBezTo>
                    <a:pt x="87" y="91"/>
                    <a:pt x="88" y="90"/>
                    <a:pt x="89" y="90"/>
                  </a:cubicBezTo>
                  <a:cubicBezTo>
                    <a:pt x="90" y="90"/>
                    <a:pt x="91" y="90"/>
                    <a:pt x="92" y="89"/>
                  </a:cubicBezTo>
                  <a:cubicBezTo>
                    <a:pt x="92" y="89"/>
                    <a:pt x="92" y="89"/>
                    <a:pt x="92" y="89"/>
                  </a:cubicBezTo>
                  <a:cubicBezTo>
                    <a:pt x="93" y="89"/>
                    <a:pt x="93" y="89"/>
                    <a:pt x="92" y="89"/>
                  </a:cubicBezTo>
                  <a:cubicBezTo>
                    <a:pt x="92" y="90"/>
                    <a:pt x="92" y="90"/>
                    <a:pt x="91" y="90"/>
                  </a:cubicBezTo>
                  <a:cubicBezTo>
                    <a:pt x="92" y="90"/>
                    <a:pt x="92" y="90"/>
                    <a:pt x="92" y="90"/>
                  </a:cubicBezTo>
                  <a:cubicBezTo>
                    <a:pt x="94" y="91"/>
                    <a:pt x="95" y="91"/>
                    <a:pt x="96" y="92"/>
                  </a:cubicBezTo>
                  <a:cubicBezTo>
                    <a:pt x="96" y="93"/>
                    <a:pt x="96" y="94"/>
                    <a:pt x="96" y="94"/>
                  </a:cubicBezTo>
                  <a:cubicBezTo>
                    <a:pt x="97" y="95"/>
                    <a:pt x="97" y="95"/>
                    <a:pt x="97" y="96"/>
                  </a:cubicBezTo>
                  <a:cubicBezTo>
                    <a:pt x="97" y="96"/>
                    <a:pt x="97" y="97"/>
                    <a:pt x="98" y="97"/>
                  </a:cubicBezTo>
                  <a:cubicBezTo>
                    <a:pt x="98" y="97"/>
                    <a:pt x="98" y="97"/>
                    <a:pt x="99" y="98"/>
                  </a:cubicBezTo>
                  <a:cubicBezTo>
                    <a:pt x="99" y="98"/>
                    <a:pt x="99" y="98"/>
                    <a:pt x="99" y="99"/>
                  </a:cubicBezTo>
                  <a:cubicBezTo>
                    <a:pt x="99" y="100"/>
                    <a:pt x="101" y="99"/>
                    <a:pt x="101" y="99"/>
                  </a:cubicBezTo>
                  <a:cubicBezTo>
                    <a:pt x="102" y="100"/>
                    <a:pt x="103" y="100"/>
                    <a:pt x="104" y="100"/>
                  </a:cubicBezTo>
                  <a:cubicBezTo>
                    <a:pt x="105" y="100"/>
                    <a:pt x="105" y="100"/>
                    <a:pt x="105" y="100"/>
                  </a:cubicBezTo>
                  <a:cubicBezTo>
                    <a:pt x="105" y="101"/>
                    <a:pt x="106" y="100"/>
                    <a:pt x="106" y="101"/>
                  </a:cubicBezTo>
                  <a:cubicBezTo>
                    <a:pt x="107" y="100"/>
                    <a:pt x="107" y="100"/>
                    <a:pt x="107" y="100"/>
                  </a:cubicBezTo>
                  <a:cubicBezTo>
                    <a:pt x="107" y="101"/>
                    <a:pt x="108" y="101"/>
                    <a:pt x="109" y="101"/>
                  </a:cubicBezTo>
                  <a:cubicBezTo>
                    <a:pt x="110" y="101"/>
                    <a:pt x="110" y="101"/>
                    <a:pt x="110" y="101"/>
                  </a:cubicBezTo>
                  <a:cubicBezTo>
                    <a:pt x="110" y="101"/>
                    <a:pt x="112" y="101"/>
                    <a:pt x="112" y="101"/>
                  </a:cubicBezTo>
                  <a:cubicBezTo>
                    <a:pt x="113" y="101"/>
                    <a:pt x="114" y="100"/>
                    <a:pt x="116" y="100"/>
                  </a:cubicBezTo>
                  <a:cubicBezTo>
                    <a:pt x="117" y="100"/>
                    <a:pt x="117" y="100"/>
                    <a:pt x="118" y="100"/>
                  </a:cubicBezTo>
                  <a:cubicBezTo>
                    <a:pt x="119" y="100"/>
                    <a:pt x="120" y="101"/>
                    <a:pt x="121" y="101"/>
                  </a:cubicBezTo>
                  <a:cubicBezTo>
                    <a:pt x="122" y="101"/>
                    <a:pt x="122" y="101"/>
                    <a:pt x="123" y="102"/>
                  </a:cubicBezTo>
                  <a:cubicBezTo>
                    <a:pt x="123" y="102"/>
                    <a:pt x="123" y="102"/>
                    <a:pt x="124" y="102"/>
                  </a:cubicBezTo>
                  <a:cubicBezTo>
                    <a:pt x="125" y="102"/>
                    <a:pt x="126" y="102"/>
                    <a:pt x="126" y="102"/>
                  </a:cubicBezTo>
                  <a:cubicBezTo>
                    <a:pt x="127" y="102"/>
                    <a:pt x="127" y="102"/>
                    <a:pt x="128" y="103"/>
                  </a:cubicBezTo>
                  <a:cubicBezTo>
                    <a:pt x="128" y="103"/>
                    <a:pt x="127" y="103"/>
                    <a:pt x="127" y="104"/>
                  </a:cubicBezTo>
                  <a:cubicBezTo>
                    <a:pt x="127" y="104"/>
                    <a:pt x="128" y="104"/>
                    <a:pt x="129" y="104"/>
                  </a:cubicBezTo>
                  <a:cubicBezTo>
                    <a:pt x="129" y="104"/>
                    <a:pt x="130" y="103"/>
                    <a:pt x="130" y="103"/>
                  </a:cubicBezTo>
                  <a:cubicBezTo>
                    <a:pt x="131" y="103"/>
                    <a:pt x="132" y="103"/>
                    <a:pt x="132" y="103"/>
                  </a:cubicBezTo>
                  <a:cubicBezTo>
                    <a:pt x="133" y="103"/>
                    <a:pt x="133" y="104"/>
                    <a:pt x="133" y="104"/>
                  </a:cubicBezTo>
                  <a:cubicBezTo>
                    <a:pt x="133" y="104"/>
                    <a:pt x="134" y="104"/>
                    <a:pt x="134" y="104"/>
                  </a:cubicBezTo>
                  <a:cubicBezTo>
                    <a:pt x="135" y="104"/>
                    <a:pt x="135" y="104"/>
                    <a:pt x="135" y="104"/>
                  </a:cubicBezTo>
                  <a:cubicBezTo>
                    <a:pt x="137" y="104"/>
                    <a:pt x="138" y="104"/>
                    <a:pt x="139" y="104"/>
                  </a:cubicBezTo>
                  <a:cubicBezTo>
                    <a:pt x="139" y="105"/>
                    <a:pt x="139" y="104"/>
                    <a:pt x="139" y="104"/>
                  </a:cubicBezTo>
                  <a:cubicBezTo>
                    <a:pt x="140" y="104"/>
                    <a:pt x="140" y="103"/>
                    <a:pt x="139" y="103"/>
                  </a:cubicBezTo>
                  <a:cubicBezTo>
                    <a:pt x="138" y="103"/>
                    <a:pt x="138" y="103"/>
                    <a:pt x="137" y="103"/>
                  </a:cubicBezTo>
                  <a:cubicBezTo>
                    <a:pt x="137" y="103"/>
                    <a:pt x="136" y="103"/>
                    <a:pt x="136" y="103"/>
                  </a:cubicBezTo>
                  <a:cubicBezTo>
                    <a:pt x="136" y="102"/>
                    <a:pt x="135" y="102"/>
                    <a:pt x="134" y="102"/>
                  </a:cubicBezTo>
                  <a:cubicBezTo>
                    <a:pt x="133" y="101"/>
                    <a:pt x="132" y="101"/>
                    <a:pt x="131" y="101"/>
                  </a:cubicBezTo>
                  <a:cubicBezTo>
                    <a:pt x="130" y="101"/>
                    <a:pt x="130" y="101"/>
                    <a:pt x="130" y="101"/>
                  </a:cubicBezTo>
                  <a:cubicBezTo>
                    <a:pt x="130" y="101"/>
                    <a:pt x="129" y="101"/>
                    <a:pt x="129" y="100"/>
                  </a:cubicBezTo>
                  <a:cubicBezTo>
                    <a:pt x="128" y="100"/>
                    <a:pt x="127" y="100"/>
                    <a:pt x="126" y="100"/>
                  </a:cubicBezTo>
                  <a:cubicBezTo>
                    <a:pt x="125" y="100"/>
                    <a:pt x="125" y="100"/>
                    <a:pt x="125" y="100"/>
                  </a:cubicBezTo>
                  <a:cubicBezTo>
                    <a:pt x="124" y="100"/>
                    <a:pt x="124" y="99"/>
                    <a:pt x="123" y="98"/>
                  </a:cubicBezTo>
                  <a:cubicBezTo>
                    <a:pt x="124" y="98"/>
                    <a:pt x="125" y="98"/>
                    <a:pt x="126" y="97"/>
                  </a:cubicBezTo>
                  <a:cubicBezTo>
                    <a:pt x="126" y="97"/>
                    <a:pt x="127" y="97"/>
                    <a:pt x="127" y="98"/>
                  </a:cubicBezTo>
                  <a:cubicBezTo>
                    <a:pt x="127" y="98"/>
                    <a:pt x="128" y="98"/>
                    <a:pt x="129" y="99"/>
                  </a:cubicBezTo>
                  <a:cubicBezTo>
                    <a:pt x="129" y="99"/>
                    <a:pt x="130" y="99"/>
                    <a:pt x="129" y="99"/>
                  </a:cubicBezTo>
                  <a:cubicBezTo>
                    <a:pt x="130" y="99"/>
                    <a:pt x="131" y="99"/>
                    <a:pt x="131" y="99"/>
                  </a:cubicBezTo>
                  <a:cubicBezTo>
                    <a:pt x="131" y="100"/>
                    <a:pt x="134" y="98"/>
                    <a:pt x="134" y="99"/>
                  </a:cubicBezTo>
                  <a:cubicBezTo>
                    <a:pt x="134" y="99"/>
                    <a:pt x="135" y="99"/>
                    <a:pt x="135" y="99"/>
                  </a:cubicBezTo>
                  <a:cubicBezTo>
                    <a:pt x="136" y="99"/>
                    <a:pt x="136" y="100"/>
                    <a:pt x="137" y="99"/>
                  </a:cubicBezTo>
                  <a:cubicBezTo>
                    <a:pt x="137" y="99"/>
                    <a:pt x="137" y="99"/>
                    <a:pt x="137" y="100"/>
                  </a:cubicBezTo>
                  <a:cubicBezTo>
                    <a:pt x="137" y="100"/>
                    <a:pt x="138" y="100"/>
                    <a:pt x="138" y="100"/>
                  </a:cubicBezTo>
                  <a:cubicBezTo>
                    <a:pt x="139" y="100"/>
                    <a:pt x="139" y="100"/>
                    <a:pt x="140" y="100"/>
                  </a:cubicBezTo>
                  <a:cubicBezTo>
                    <a:pt x="140" y="100"/>
                    <a:pt x="142" y="100"/>
                    <a:pt x="143" y="100"/>
                  </a:cubicBezTo>
                  <a:cubicBezTo>
                    <a:pt x="144" y="100"/>
                    <a:pt x="145" y="100"/>
                    <a:pt x="146" y="101"/>
                  </a:cubicBezTo>
                  <a:cubicBezTo>
                    <a:pt x="147" y="101"/>
                    <a:pt x="148" y="101"/>
                    <a:pt x="148" y="102"/>
                  </a:cubicBezTo>
                  <a:cubicBezTo>
                    <a:pt x="148" y="102"/>
                    <a:pt x="148" y="103"/>
                    <a:pt x="148" y="103"/>
                  </a:cubicBezTo>
                  <a:cubicBezTo>
                    <a:pt x="148" y="104"/>
                    <a:pt x="149" y="104"/>
                    <a:pt x="149" y="104"/>
                  </a:cubicBezTo>
                  <a:cubicBezTo>
                    <a:pt x="151" y="104"/>
                    <a:pt x="152" y="104"/>
                    <a:pt x="154" y="104"/>
                  </a:cubicBezTo>
                  <a:cubicBezTo>
                    <a:pt x="154" y="104"/>
                    <a:pt x="155" y="103"/>
                    <a:pt x="156" y="103"/>
                  </a:cubicBezTo>
                  <a:cubicBezTo>
                    <a:pt x="156" y="103"/>
                    <a:pt x="156" y="103"/>
                    <a:pt x="157" y="103"/>
                  </a:cubicBezTo>
                  <a:cubicBezTo>
                    <a:pt x="157" y="103"/>
                    <a:pt x="158" y="103"/>
                    <a:pt x="159" y="103"/>
                  </a:cubicBezTo>
                  <a:cubicBezTo>
                    <a:pt x="161" y="102"/>
                    <a:pt x="162" y="102"/>
                    <a:pt x="164" y="101"/>
                  </a:cubicBezTo>
                  <a:cubicBezTo>
                    <a:pt x="165" y="102"/>
                    <a:pt x="166" y="101"/>
                    <a:pt x="166" y="101"/>
                  </a:cubicBezTo>
                  <a:cubicBezTo>
                    <a:pt x="167" y="101"/>
                    <a:pt x="168" y="100"/>
                    <a:pt x="169" y="99"/>
                  </a:cubicBezTo>
                  <a:cubicBezTo>
                    <a:pt x="169" y="99"/>
                    <a:pt x="169" y="98"/>
                    <a:pt x="170" y="98"/>
                  </a:cubicBezTo>
                  <a:cubicBezTo>
                    <a:pt x="170" y="98"/>
                    <a:pt x="171" y="98"/>
                    <a:pt x="172" y="98"/>
                  </a:cubicBezTo>
                  <a:cubicBezTo>
                    <a:pt x="173" y="98"/>
                    <a:pt x="173" y="98"/>
                    <a:pt x="174" y="98"/>
                  </a:cubicBezTo>
                  <a:cubicBezTo>
                    <a:pt x="175" y="99"/>
                    <a:pt x="177" y="99"/>
                    <a:pt x="178" y="98"/>
                  </a:cubicBezTo>
                  <a:cubicBezTo>
                    <a:pt x="179" y="98"/>
                    <a:pt x="179" y="98"/>
                    <a:pt x="179" y="98"/>
                  </a:cubicBezTo>
                  <a:cubicBezTo>
                    <a:pt x="180" y="98"/>
                    <a:pt x="181" y="97"/>
                    <a:pt x="182" y="97"/>
                  </a:cubicBezTo>
                  <a:cubicBezTo>
                    <a:pt x="183" y="97"/>
                    <a:pt x="183" y="97"/>
                    <a:pt x="184" y="96"/>
                  </a:cubicBezTo>
                  <a:cubicBezTo>
                    <a:pt x="184" y="96"/>
                    <a:pt x="184" y="97"/>
                    <a:pt x="185" y="97"/>
                  </a:cubicBezTo>
                  <a:cubicBezTo>
                    <a:pt x="185" y="97"/>
                    <a:pt x="186" y="97"/>
                    <a:pt x="187" y="97"/>
                  </a:cubicBezTo>
                  <a:cubicBezTo>
                    <a:pt x="188" y="98"/>
                    <a:pt x="189" y="98"/>
                    <a:pt x="189" y="99"/>
                  </a:cubicBezTo>
                  <a:cubicBezTo>
                    <a:pt x="188" y="99"/>
                    <a:pt x="189" y="99"/>
                    <a:pt x="189" y="99"/>
                  </a:cubicBezTo>
                  <a:cubicBezTo>
                    <a:pt x="190" y="99"/>
                    <a:pt x="190" y="99"/>
                    <a:pt x="190" y="99"/>
                  </a:cubicBezTo>
                  <a:cubicBezTo>
                    <a:pt x="190" y="99"/>
                    <a:pt x="190" y="99"/>
                    <a:pt x="190" y="99"/>
                  </a:cubicBezTo>
                  <a:cubicBezTo>
                    <a:pt x="190" y="99"/>
                    <a:pt x="191" y="98"/>
                    <a:pt x="191" y="98"/>
                  </a:cubicBezTo>
                  <a:cubicBezTo>
                    <a:pt x="191" y="99"/>
                    <a:pt x="192" y="99"/>
                    <a:pt x="193" y="99"/>
                  </a:cubicBezTo>
                  <a:cubicBezTo>
                    <a:pt x="193" y="99"/>
                    <a:pt x="193" y="99"/>
                    <a:pt x="193" y="99"/>
                  </a:cubicBezTo>
                  <a:cubicBezTo>
                    <a:pt x="194" y="100"/>
                    <a:pt x="194" y="99"/>
                    <a:pt x="194" y="99"/>
                  </a:cubicBezTo>
                  <a:cubicBezTo>
                    <a:pt x="194" y="99"/>
                    <a:pt x="195" y="100"/>
                    <a:pt x="195" y="99"/>
                  </a:cubicBezTo>
                  <a:cubicBezTo>
                    <a:pt x="196" y="98"/>
                    <a:pt x="196" y="99"/>
                    <a:pt x="197" y="99"/>
                  </a:cubicBezTo>
                  <a:cubicBezTo>
                    <a:pt x="197" y="99"/>
                    <a:pt x="197" y="99"/>
                    <a:pt x="197" y="99"/>
                  </a:cubicBezTo>
                  <a:cubicBezTo>
                    <a:pt x="197" y="99"/>
                    <a:pt x="198" y="99"/>
                    <a:pt x="198" y="99"/>
                  </a:cubicBezTo>
                  <a:cubicBezTo>
                    <a:pt x="198" y="99"/>
                    <a:pt x="198" y="99"/>
                    <a:pt x="198" y="99"/>
                  </a:cubicBezTo>
                  <a:cubicBezTo>
                    <a:pt x="199" y="99"/>
                    <a:pt x="199" y="99"/>
                    <a:pt x="199" y="99"/>
                  </a:cubicBezTo>
                  <a:cubicBezTo>
                    <a:pt x="199" y="99"/>
                    <a:pt x="199" y="99"/>
                    <a:pt x="199" y="99"/>
                  </a:cubicBezTo>
                  <a:cubicBezTo>
                    <a:pt x="199" y="99"/>
                    <a:pt x="200" y="99"/>
                    <a:pt x="200" y="98"/>
                  </a:cubicBezTo>
                  <a:cubicBezTo>
                    <a:pt x="200" y="98"/>
                    <a:pt x="200" y="98"/>
                    <a:pt x="200" y="98"/>
                  </a:cubicBezTo>
                  <a:cubicBezTo>
                    <a:pt x="199" y="98"/>
                    <a:pt x="199" y="98"/>
                    <a:pt x="199" y="98"/>
                  </a:cubicBezTo>
                  <a:cubicBezTo>
                    <a:pt x="199" y="97"/>
                    <a:pt x="200" y="97"/>
                    <a:pt x="200" y="96"/>
                  </a:cubicBezTo>
                  <a:cubicBezTo>
                    <a:pt x="200" y="96"/>
                    <a:pt x="201" y="96"/>
                    <a:pt x="201" y="96"/>
                  </a:cubicBezTo>
                  <a:cubicBezTo>
                    <a:pt x="202" y="96"/>
                    <a:pt x="202" y="96"/>
                    <a:pt x="203" y="96"/>
                  </a:cubicBezTo>
                  <a:cubicBezTo>
                    <a:pt x="203" y="97"/>
                    <a:pt x="204" y="97"/>
                    <a:pt x="204" y="97"/>
                  </a:cubicBezTo>
                  <a:cubicBezTo>
                    <a:pt x="205" y="97"/>
                    <a:pt x="206" y="98"/>
                    <a:pt x="206" y="99"/>
                  </a:cubicBezTo>
                  <a:cubicBezTo>
                    <a:pt x="206" y="99"/>
                    <a:pt x="205" y="99"/>
                    <a:pt x="206" y="99"/>
                  </a:cubicBezTo>
                  <a:cubicBezTo>
                    <a:pt x="206" y="99"/>
                    <a:pt x="206" y="100"/>
                    <a:pt x="206" y="100"/>
                  </a:cubicBezTo>
                  <a:cubicBezTo>
                    <a:pt x="207" y="100"/>
                    <a:pt x="207" y="101"/>
                    <a:pt x="207" y="101"/>
                  </a:cubicBezTo>
                  <a:cubicBezTo>
                    <a:pt x="207" y="102"/>
                    <a:pt x="207" y="103"/>
                    <a:pt x="206" y="104"/>
                  </a:cubicBezTo>
                  <a:cubicBezTo>
                    <a:pt x="206" y="104"/>
                    <a:pt x="206" y="104"/>
                    <a:pt x="206" y="105"/>
                  </a:cubicBezTo>
                  <a:cubicBezTo>
                    <a:pt x="206" y="105"/>
                    <a:pt x="206" y="105"/>
                    <a:pt x="206" y="106"/>
                  </a:cubicBezTo>
                  <a:cubicBezTo>
                    <a:pt x="206" y="106"/>
                    <a:pt x="206" y="106"/>
                    <a:pt x="205" y="107"/>
                  </a:cubicBezTo>
                  <a:cubicBezTo>
                    <a:pt x="204" y="107"/>
                    <a:pt x="204" y="107"/>
                    <a:pt x="205" y="108"/>
                  </a:cubicBezTo>
                  <a:cubicBezTo>
                    <a:pt x="205" y="108"/>
                    <a:pt x="205" y="109"/>
                    <a:pt x="205" y="109"/>
                  </a:cubicBezTo>
                  <a:cubicBezTo>
                    <a:pt x="204" y="109"/>
                    <a:pt x="205" y="110"/>
                    <a:pt x="204" y="110"/>
                  </a:cubicBezTo>
                  <a:cubicBezTo>
                    <a:pt x="204" y="111"/>
                    <a:pt x="205" y="111"/>
                    <a:pt x="205" y="111"/>
                  </a:cubicBezTo>
                  <a:cubicBezTo>
                    <a:pt x="205" y="112"/>
                    <a:pt x="205" y="112"/>
                    <a:pt x="205" y="112"/>
                  </a:cubicBezTo>
                  <a:cubicBezTo>
                    <a:pt x="205" y="112"/>
                    <a:pt x="205" y="112"/>
                    <a:pt x="205" y="112"/>
                  </a:cubicBezTo>
                  <a:cubicBezTo>
                    <a:pt x="206" y="113"/>
                    <a:pt x="206" y="113"/>
                    <a:pt x="206" y="112"/>
                  </a:cubicBezTo>
                  <a:cubicBezTo>
                    <a:pt x="206" y="112"/>
                    <a:pt x="207" y="112"/>
                    <a:pt x="207" y="112"/>
                  </a:cubicBezTo>
                  <a:cubicBezTo>
                    <a:pt x="207" y="112"/>
                    <a:pt x="207" y="113"/>
                    <a:pt x="207" y="113"/>
                  </a:cubicBezTo>
                  <a:cubicBezTo>
                    <a:pt x="207" y="113"/>
                    <a:pt x="206" y="114"/>
                    <a:pt x="206" y="115"/>
                  </a:cubicBezTo>
                  <a:cubicBezTo>
                    <a:pt x="205" y="115"/>
                    <a:pt x="205" y="116"/>
                    <a:pt x="206" y="116"/>
                  </a:cubicBezTo>
                  <a:cubicBezTo>
                    <a:pt x="206" y="116"/>
                    <a:pt x="207" y="117"/>
                    <a:pt x="207" y="117"/>
                  </a:cubicBezTo>
                  <a:cubicBezTo>
                    <a:pt x="207" y="118"/>
                    <a:pt x="207" y="118"/>
                    <a:pt x="208" y="118"/>
                  </a:cubicBezTo>
                  <a:cubicBezTo>
                    <a:pt x="209" y="118"/>
                    <a:pt x="209" y="118"/>
                    <a:pt x="210" y="119"/>
                  </a:cubicBezTo>
                  <a:cubicBezTo>
                    <a:pt x="210" y="119"/>
                    <a:pt x="211" y="119"/>
                    <a:pt x="211" y="119"/>
                  </a:cubicBezTo>
                  <a:cubicBezTo>
                    <a:pt x="212" y="119"/>
                    <a:pt x="212" y="120"/>
                    <a:pt x="212" y="120"/>
                  </a:cubicBezTo>
                  <a:cubicBezTo>
                    <a:pt x="213" y="121"/>
                    <a:pt x="214" y="121"/>
                    <a:pt x="214" y="122"/>
                  </a:cubicBezTo>
                  <a:cubicBezTo>
                    <a:pt x="216" y="123"/>
                    <a:pt x="217" y="123"/>
                    <a:pt x="218" y="124"/>
                  </a:cubicBezTo>
                  <a:cubicBezTo>
                    <a:pt x="219" y="124"/>
                    <a:pt x="219" y="125"/>
                    <a:pt x="219" y="125"/>
                  </a:cubicBezTo>
                  <a:cubicBezTo>
                    <a:pt x="219" y="126"/>
                    <a:pt x="220" y="126"/>
                    <a:pt x="220" y="126"/>
                  </a:cubicBezTo>
                  <a:cubicBezTo>
                    <a:pt x="221" y="126"/>
                    <a:pt x="222" y="127"/>
                    <a:pt x="223" y="127"/>
                  </a:cubicBezTo>
                  <a:cubicBezTo>
                    <a:pt x="224" y="127"/>
                    <a:pt x="225" y="127"/>
                    <a:pt x="227" y="127"/>
                  </a:cubicBezTo>
                  <a:cubicBezTo>
                    <a:pt x="227" y="127"/>
                    <a:pt x="228" y="127"/>
                    <a:pt x="228" y="127"/>
                  </a:cubicBezTo>
                  <a:cubicBezTo>
                    <a:pt x="229" y="128"/>
                    <a:pt x="230" y="128"/>
                    <a:pt x="231" y="128"/>
                  </a:cubicBezTo>
                  <a:cubicBezTo>
                    <a:pt x="231" y="128"/>
                    <a:pt x="231" y="128"/>
                    <a:pt x="231" y="128"/>
                  </a:cubicBezTo>
                  <a:cubicBezTo>
                    <a:pt x="231" y="128"/>
                    <a:pt x="231" y="129"/>
                    <a:pt x="231" y="129"/>
                  </a:cubicBezTo>
                  <a:cubicBezTo>
                    <a:pt x="231" y="129"/>
                    <a:pt x="231" y="129"/>
                    <a:pt x="232" y="129"/>
                  </a:cubicBezTo>
                  <a:cubicBezTo>
                    <a:pt x="233" y="130"/>
                    <a:pt x="233" y="132"/>
                    <a:pt x="233" y="133"/>
                  </a:cubicBezTo>
                  <a:cubicBezTo>
                    <a:pt x="233" y="134"/>
                    <a:pt x="233" y="134"/>
                    <a:pt x="233" y="135"/>
                  </a:cubicBezTo>
                  <a:cubicBezTo>
                    <a:pt x="233" y="135"/>
                    <a:pt x="234" y="135"/>
                    <a:pt x="234" y="136"/>
                  </a:cubicBezTo>
                  <a:cubicBezTo>
                    <a:pt x="234" y="136"/>
                    <a:pt x="234" y="137"/>
                    <a:pt x="234" y="137"/>
                  </a:cubicBezTo>
                  <a:cubicBezTo>
                    <a:pt x="234" y="138"/>
                    <a:pt x="234" y="138"/>
                    <a:pt x="234" y="138"/>
                  </a:cubicBezTo>
                  <a:cubicBezTo>
                    <a:pt x="234" y="139"/>
                    <a:pt x="235" y="139"/>
                    <a:pt x="235" y="139"/>
                  </a:cubicBezTo>
                  <a:cubicBezTo>
                    <a:pt x="235" y="140"/>
                    <a:pt x="235" y="141"/>
                    <a:pt x="235" y="142"/>
                  </a:cubicBezTo>
                  <a:cubicBezTo>
                    <a:pt x="235" y="143"/>
                    <a:pt x="235" y="144"/>
                    <a:pt x="236" y="144"/>
                  </a:cubicBezTo>
                  <a:cubicBezTo>
                    <a:pt x="236" y="144"/>
                    <a:pt x="236" y="145"/>
                    <a:pt x="236" y="145"/>
                  </a:cubicBezTo>
                  <a:cubicBezTo>
                    <a:pt x="236" y="146"/>
                    <a:pt x="236" y="147"/>
                    <a:pt x="236" y="147"/>
                  </a:cubicBezTo>
                  <a:cubicBezTo>
                    <a:pt x="237" y="147"/>
                    <a:pt x="237" y="148"/>
                    <a:pt x="237" y="148"/>
                  </a:cubicBezTo>
                  <a:cubicBezTo>
                    <a:pt x="237" y="149"/>
                    <a:pt x="237" y="150"/>
                    <a:pt x="237" y="151"/>
                  </a:cubicBezTo>
                  <a:cubicBezTo>
                    <a:pt x="238" y="152"/>
                    <a:pt x="237" y="154"/>
                    <a:pt x="237" y="156"/>
                  </a:cubicBezTo>
                  <a:cubicBezTo>
                    <a:pt x="237" y="156"/>
                    <a:pt x="237" y="156"/>
                    <a:pt x="237" y="156"/>
                  </a:cubicBezTo>
                  <a:cubicBezTo>
                    <a:pt x="237" y="156"/>
                    <a:pt x="237" y="157"/>
                    <a:pt x="237" y="157"/>
                  </a:cubicBezTo>
                  <a:cubicBezTo>
                    <a:pt x="238" y="158"/>
                    <a:pt x="238" y="158"/>
                    <a:pt x="238" y="159"/>
                  </a:cubicBezTo>
                  <a:cubicBezTo>
                    <a:pt x="238" y="159"/>
                    <a:pt x="239" y="159"/>
                    <a:pt x="238" y="160"/>
                  </a:cubicBezTo>
                  <a:cubicBezTo>
                    <a:pt x="238" y="160"/>
                    <a:pt x="239" y="161"/>
                    <a:pt x="238" y="161"/>
                  </a:cubicBezTo>
                  <a:cubicBezTo>
                    <a:pt x="238" y="162"/>
                    <a:pt x="238" y="162"/>
                    <a:pt x="239" y="163"/>
                  </a:cubicBezTo>
                  <a:cubicBezTo>
                    <a:pt x="239" y="163"/>
                    <a:pt x="239" y="163"/>
                    <a:pt x="239" y="163"/>
                  </a:cubicBezTo>
                  <a:cubicBezTo>
                    <a:pt x="238" y="164"/>
                    <a:pt x="239" y="164"/>
                    <a:pt x="239" y="165"/>
                  </a:cubicBezTo>
                  <a:cubicBezTo>
                    <a:pt x="239" y="165"/>
                    <a:pt x="240" y="165"/>
                    <a:pt x="240" y="165"/>
                  </a:cubicBezTo>
                  <a:cubicBezTo>
                    <a:pt x="240" y="165"/>
                    <a:pt x="240" y="165"/>
                    <a:pt x="240" y="164"/>
                  </a:cubicBezTo>
                  <a:cubicBezTo>
                    <a:pt x="239" y="164"/>
                    <a:pt x="239" y="163"/>
                    <a:pt x="240" y="162"/>
                  </a:cubicBezTo>
                  <a:cubicBezTo>
                    <a:pt x="240" y="162"/>
                    <a:pt x="240" y="162"/>
                    <a:pt x="240" y="162"/>
                  </a:cubicBezTo>
                  <a:cubicBezTo>
                    <a:pt x="240" y="162"/>
                    <a:pt x="241" y="162"/>
                    <a:pt x="241" y="162"/>
                  </a:cubicBezTo>
                  <a:cubicBezTo>
                    <a:pt x="240" y="163"/>
                    <a:pt x="240" y="163"/>
                    <a:pt x="241" y="163"/>
                  </a:cubicBezTo>
                  <a:cubicBezTo>
                    <a:pt x="241" y="162"/>
                    <a:pt x="241" y="162"/>
                    <a:pt x="241" y="163"/>
                  </a:cubicBezTo>
                  <a:cubicBezTo>
                    <a:pt x="241" y="163"/>
                    <a:pt x="241" y="163"/>
                    <a:pt x="241" y="163"/>
                  </a:cubicBezTo>
                  <a:cubicBezTo>
                    <a:pt x="241" y="164"/>
                    <a:pt x="241" y="164"/>
                    <a:pt x="241" y="165"/>
                  </a:cubicBezTo>
                  <a:cubicBezTo>
                    <a:pt x="242" y="166"/>
                    <a:pt x="241" y="167"/>
                    <a:pt x="242" y="169"/>
                  </a:cubicBezTo>
                  <a:cubicBezTo>
                    <a:pt x="241" y="169"/>
                    <a:pt x="242" y="169"/>
                    <a:pt x="242" y="169"/>
                  </a:cubicBezTo>
                  <a:cubicBezTo>
                    <a:pt x="241" y="169"/>
                    <a:pt x="241" y="169"/>
                    <a:pt x="241" y="169"/>
                  </a:cubicBezTo>
                  <a:cubicBezTo>
                    <a:pt x="241" y="168"/>
                    <a:pt x="241" y="169"/>
                    <a:pt x="240" y="169"/>
                  </a:cubicBezTo>
                  <a:cubicBezTo>
                    <a:pt x="240" y="169"/>
                    <a:pt x="240" y="169"/>
                    <a:pt x="240" y="169"/>
                  </a:cubicBezTo>
                  <a:cubicBezTo>
                    <a:pt x="240" y="170"/>
                    <a:pt x="240" y="170"/>
                    <a:pt x="240" y="170"/>
                  </a:cubicBezTo>
                  <a:cubicBezTo>
                    <a:pt x="240" y="170"/>
                    <a:pt x="239" y="170"/>
                    <a:pt x="239" y="171"/>
                  </a:cubicBezTo>
                  <a:cubicBezTo>
                    <a:pt x="239" y="171"/>
                    <a:pt x="239" y="171"/>
                    <a:pt x="239" y="171"/>
                  </a:cubicBezTo>
                  <a:cubicBezTo>
                    <a:pt x="239" y="171"/>
                    <a:pt x="240" y="171"/>
                    <a:pt x="240" y="171"/>
                  </a:cubicBezTo>
                  <a:cubicBezTo>
                    <a:pt x="240" y="170"/>
                    <a:pt x="241" y="171"/>
                    <a:pt x="242" y="170"/>
                  </a:cubicBezTo>
                  <a:cubicBezTo>
                    <a:pt x="242" y="170"/>
                    <a:pt x="242" y="171"/>
                    <a:pt x="242" y="171"/>
                  </a:cubicBezTo>
                  <a:cubicBezTo>
                    <a:pt x="241" y="171"/>
                    <a:pt x="241" y="171"/>
                    <a:pt x="241" y="172"/>
                  </a:cubicBezTo>
                  <a:cubicBezTo>
                    <a:pt x="242" y="172"/>
                    <a:pt x="242" y="172"/>
                    <a:pt x="242" y="172"/>
                  </a:cubicBezTo>
                  <a:cubicBezTo>
                    <a:pt x="242" y="172"/>
                    <a:pt x="242" y="173"/>
                    <a:pt x="242" y="173"/>
                  </a:cubicBezTo>
                  <a:cubicBezTo>
                    <a:pt x="242" y="173"/>
                    <a:pt x="242" y="173"/>
                    <a:pt x="242" y="173"/>
                  </a:cubicBezTo>
                  <a:cubicBezTo>
                    <a:pt x="242" y="173"/>
                    <a:pt x="241" y="173"/>
                    <a:pt x="242" y="174"/>
                  </a:cubicBezTo>
                  <a:cubicBezTo>
                    <a:pt x="242" y="174"/>
                    <a:pt x="241" y="174"/>
                    <a:pt x="241" y="175"/>
                  </a:cubicBezTo>
                  <a:cubicBezTo>
                    <a:pt x="241" y="175"/>
                    <a:pt x="241" y="175"/>
                    <a:pt x="241" y="175"/>
                  </a:cubicBezTo>
                  <a:cubicBezTo>
                    <a:pt x="241" y="175"/>
                    <a:pt x="241" y="175"/>
                    <a:pt x="242" y="175"/>
                  </a:cubicBezTo>
                  <a:cubicBezTo>
                    <a:pt x="242" y="175"/>
                    <a:pt x="242" y="175"/>
                    <a:pt x="242" y="175"/>
                  </a:cubicBezTo>
                  <a:cubicBezTo>
                    <a:pt x="243" y="175"/>
                    <a:pt x="243" y="175"/>
                    <a:pt x="243" y="174"/>
                  </a:cubicBezTo>
                  <a:cubicBezTo>
                    <a:pt x="242" y="174"/>
                    <a:pt x="243" y="174"/>
                    <a:pt x="243" y="174"/>
                  </a:cubicBezTo>
                  <a:cubicBezTo>
                    <a:pt x="244" y="174"/>
                    <a:pt x="243" y="175"/>
                    <a:pt x="243" y="175"/>
                  </a:cubicBezTo>
                  <a:cubicBezTo>
                    <a:pt x="243" y="176"/>
                    <a:pt x="243" y="176"/>
                    <a:pt x="244" y="176"/>
                  </a:cubicBezTo>
                  <a:cubicBezTo>
                    <a:pt x="244" y="176"/>
                    <a:pt x="245" y="177"/>
                    <a:pt x="245" y="177"/>
                  </a:cubicBezTo>
                  <a:cubicBezTo>
                    <a:pt x="245" y="177"/>
                    <a:pt x="245" y="177"/>
                    <a:pt x="245" y="178"/>
                  </a:cubicBezTo>
                  <a:cubicBezTo>
                    <a:pt x="246" y="178"/>
                    <a:pt x="246" y="178"/>
                    <a:pt x="247" y="179"/>
                  </a:cubicBezTo>
                  <a:cubicBezTo>
                    <a:pt x="247" y="179"/>
                    <a:pt x="246" y="179"/>
                    <a:pt x="246" y="179"/>
                  </a:cubicBezTo>
                  <a:cubicBezTo>
                    <a:pt x="247" y="179"/>
                    <a:pt x="247" y="179"/>
                    <a:pt x="247" y="180"/>
                  </a:cubicBezTo>
                  <a:cubicBezTo>
                    <a:pt x="248" y="180"/>
                    <a:pt x="248" y="179"/>
                    <a:pt x="248" y="179"/>
                  </a:cubicBezTo>
                  <a:cubicBezTo>
                    <a:pt x="248" y="179"/>
                    <a:pt x="248" y="179"/>
                    <a:pt x="248" y="179"/>
                  </a:cubicBezTo>
                  <a:cubicBezTo>
                    <a:pt x="248" y="179"/>
                    <a:pt x="248" y="179"/>
                    <a:pt x="249" y="179"/>
                  </a:cubicBezTo>
                  <a:cubicBezTo>
                    <a:pt x="249" y="179"/>
                    <a:pt x="249" y="179"/>
                    <a:pt x="248" y="179"/>
                  </a:cubicBezTo>
                  <a:cubicBezTo>
                    <a:pt x="248" y="179"/>
                    <a:pt x="248" y="179"/>
                    <a:pt x="248" y="179"/>
                  </a:cubicBezTo>
                  <a:cubicBezTo>
                    <a:pt x="248" y="179"/>
                    <a:pt x="249" y="179"/>
                    <a:pt x="249" y="179"/>
                  </a:cubicBezTo>
                  <a:cubicBezTo>
                    <a:pt x="249" y="179"/>
                    <a:pt x="249" y="179"/>
                    <a:pt x="250" y="179"/>
                  </a:cubicBezTo>
                  <a:cubicBezTo>
                    <a:pt x="249" y="179"/>
                    <a:pt x="250" y="178"/>
                    <a:pt x="249" y="178"/>
                  </a:cubicBezTo>
                  <a:cubicBezTo>
                    <a:pt x="249" y="178"/>
                    <a:pt x="249" y="178"/>
                    <a:pt x="249" y="178"/>
                  </a:cubicBezTo>
                  <a:cubicBezTo>
                    <a:pt x="249" y="177"/>
                    <a:pt x="250" y="176"/>
                    <a:pt x="251" y="176"/>
                  </a:cubicBezTo>
                  <a:cubicBezTo>
                    <a:pt x="250" y="176"/>
                    <a:pt x="250" y="177"/>
                    <a:pt x="250" y="177"/>
                  </a:cubicBezTo>
                  <a:cubicBezTo>
                    <a:pt x="250" y="177"/>
                    <a:pt x="250" y="177"/>
                    <a:pt x="251" y="177"/>
                  </a:cubicBezTo>
                  <a:cubicBezTo>
                    <a:pt x="251" y="177"/>
                    <a:pt x="251" y="177"/>
                    <a:pt x="251" y="177"/>
                  </a:cubicBezTo>
                  <a:cubicBezTo>
                    <a:pt x="251" y="177"/>
                    <a:pt x="251" y="177"/>
                    <a:pt x="251" y="177"/>
                  </a:cubicBezTo>
                  <a:cubicBezTo>
                    <a:pt x="251" y="177"/>
                    <a:pt x="251" y="177"/>
                    <a:pt x="251" y="177"/>
                  </a:cubicBezTo>
                  <a:cubicBezTo>
                    <a:pt x="251" y="177"/>
                    <a:pt x="250" y="178"/>
                    <a:pt x="251" y="178"/>
                  </a:cubicBezTo>
                  <a:cubicBezTo>
                    <a:pt x="251" y="178"/>
                    <a:pt x="251" y="179"/>
                    <a:pt x="251" y="179"/>
                  </a:cubicBezTo>
                  <a:cubicBezTo>
                    <a:pt x="251" y="179"/>
                    <a:pt x="251" y="179"/>
                    <a:pt x="250" y="178"/>
                  </a:cubicBezTo>
                  <a:cubicBezTo>
                    <a:pt x="250" y="178"/>
                    <a:pt x="250" y="178"/>
                    <a:pt x="250" y="178"/>
                  </a:cubicBezTo>
                  <a:cubicBezTo>
                    <a:pt x="251" y="178"/>
                    <a:pt x="250" y="178"/>
                    <a:pt x="250" y="178"/>
                  </a:cubicBezTo>
                  <a:cubicBezTo>
                    <a:pt x="250" y="178"/>
                    <a:pt x="250" y="178"/>
                    <a:pt x="250" y="178"/>
                  </a:cubicBezTo>
                  <a:cubicBezTo>
                    <a:pt x="250" y="179"/>
                    <a:pt x="250" y="179"/>
                    <a:pt x="250" y="179"/>
                  </a:cubicBezTo>
                  <a:cubicBezTo>
                    <a:pt x="250" y="179"/>
                    <a:pt x="249" y="180"/>
                    <a:pt x="248" y="180"/>
                  </a:cubicBezTo>
                  <a:cubicBezTo>
                    <a:pt x="250" y="180"/>
                    <a:pt x="251" y="180"/>
                    <a:pt x="252" y="179"/>
                  </a:cubicBezTo>
                  <a:cubicBezTo>
                    <a:pt x="252" y="179"/>
                    <a:pt x="252" y="179"/>
                    <a:pt x="252" y="179"/>
                  </a:cubicBezTo>
                  <a:cubicBezTo>
                    <a:pt x="252" y="180"/>
                    <a:pt x="252" y="180"/>
                    <a:pt x="252" y="180"/>
                  </a:cubicBezTo>
                  <a:cubicBezTo>
                    <a:pt x="253" y="179"/>
                    <a:pt x="253" y="179"/>
                    <a:pt x="254" y="179"/>
                  </a:cubicBezTo>
                  <a:cubicBezTo>
                    <a:pt x="254" y="180"/>
                    <a:pt x="254" y="179"/>
                    <a:pt x="254" y="179"/>
                  </a:cubicBezTo>
                  <a:cubicBezTo>
                    <a:pt x="254" y="179"/>
                    <a:pt x="253" y="179"/>
                    <a:pt x="253" y="178"/>
                  </a:cubicBezTo>
                  <a:cubicBezTo>
                    <a:pt x="254" y="179"/>
                    <a:pt x="255" y="179"/>
                    <a:pt x="255" y="178"/>
                  </a:cubicBezTo>
                  <a:cubicBezTo>
                    <a:pt x="256" y="178"/>
                    <a:pt x="256" y="178"/>
                    <a:pt x="257" y="177"/>
                  </a:cubicBezTo>
                  <a:cubicBezTo>
                    <a:pt x="257" y="177"/>
                    <a:pt x="257" y="177"/>
                    <a:pt x="258" y="177"/>
                  </a:cubicBezTo>
                  <a:cubicBezTo>
                    <a:pt x="256" y="177"/>
                    <a:pt x="255" y="177"/>
                    <a:pt x="254" y="177"/>
                  </a:cubicBezTo>
                  <a:cubicBezTo>
                    <a:pt x="253" y="176"/>
                    <a:pt x="253" y="176"/>
                    <a:pt x="253" y="176"/>
                  </a:cubicBezTo>
                  <a:cubicBezTo>
                    <a:pt x="252" y="176"/>
                    <a:pt x="252" y="175"/>
                    <a:pt x="252" y="175"/>
                  </a:cubicBezTo>
                  <a:cubicBezTo>
                    <a:pt x="252" y="175"/>
                    <a:pt x="252" y="176"/>
                    <a:pt x="251" y="176"/>
                  </a:cubicBezTo>
                  <a:cubicBezTo>
                    <a:pt x="251" y="176"/>
                    <a:pt x="251" y="176"/>
                    <a:pt x="251" y="175"/>
                  </a:cubicBezTo>
                  <a:cubicBezTo>
                    <a:pt x="251" y="175"/>
                    <a:pt x="251" y="175"/>
                    <a:pt x="251" y="175"/>
                  </a:cubicBezTo>
                  <a:cubicBezTo>
                    <a:pt x="251" y="175"/>
                    <a:pt x="251" y="175"/>
                    <a:pt x="251" y="175"/>
                  </a:cubicBezTo>
                  <a:cubicBezTo>
                    <a:pt x="251" y="175"/>
                    <a:pt x="251" y="175"/>
                    <a:pt x="252" y="175"/>
                  </a:cubicBezTo>
                  <a:cubicBezTo>
                    <a:pt x="252" y="175"/>
                    <a:pt x="252" y="175"/>
                    <a:pt x="252" y="175"/>
                  </a:cubicBezTo>
                  <a:cubicBezTo>
                    <a:pt x="252" y="175"/>
                    <a:pt x="252" y="175"/>
                    <a:pt x="252" y="175"/>
                  </a:cubicBezTo>
                  <a:cubicBezTo>
                    <a:pt x="251" y="175"/>
                    <a:pt x="251" y="174"/>
                    <a:pt x="251" y="174"/>
                  </a:cubicBezTo>
                  <a:cubicBezTo>
                    <a:pt x="251" y="173"/>
                    <a:pt x="250" y="173"/>
                    <a:pt x="250" y="173"/>
                  </a:cubicBezTo>
                  <a:cubicBezTo>
                    <a:pt x="250" y="172"/>
                    <a:pt x="251" y="172"/>
                    <a:pt x="251" y="172"/>
                  </a:cubicBezTo>
                  <a:cubicBezTo>
                    <a:pt x="251" y="171"/>
                    <a:pt x="252" y="171"/>
                    <a:pt x="252" y="171"/>
                  </a:cubicBezTo>
                  <a:cubicBezTo>
                    <a:pt x="251" y="170"/>
                    <a:pt x="252" y="169"/>
                    <a:pt x="252" y="169"/>
                  </a:cubicBezTo>
                  <a:cubicBezTo>
                    <a:pt x="253" y="168"/>
                    <a:pt x="254" y="167"/>
                    <a:pt x="253" y="166"/>
                  </a:cubicBezTo>
                  <a:cubicBezTo>
                    <a:pt x="252" y="167"/>
                    <a:pt x="251" y="166"/>
                    <a:pt x="250" y="166"/>
                  </a:cubicBezTo>
                  <a:cubicBezTo>
                    <a:pt x="250" y="165"/>
                    <a:pt x="250" y="164"/>
                    <a:pt x="252" y="163"/>
                  </a:cubicBezTo>
                  <a:cubicBezTo>
                    <a:pt x="252" y="163"/>
                    <a:pt x="252" y="163"/>
                    <a:pt x="252" y="163"/>
                  </a:cubicBezTo>
                  <a:cubicBezTo>
                    <a:pt x="252" y="162"/>
                    <a:pt x="253" y="162"/>
                    <a:pt x="252" y="161"/>
                  </a:cubicBezTo>
                  <a:cubicBezTo>
                    <a:pt x="252" y="161"/>
                    <a:pt x="252" y="161"/>
                    <a:pt x="252" y="161"/>
                  </a:cubicBezTo>
                  <a:cubicBezTo>
                    <a:pt x="252" y="161"/>
                    <a:pt x="252" y="160"/>
                    <a:pt x="253" y="160"/>
                  </a:cubicBezTo>
                  <a:cubicBezTo>
                    <a:pt x="252" y="160"/>
                    <a:pt x="252" y="160"/>
                    <a:pt x="252" y="160"/>
                  </a:cubicBezTo>
                  <a:cubicBezTo>
                    <a:pt x="252" y="160"/>
                    <a:pt x="252" y="159"/>
                    <a:pt x="252" y="159"/>
                  </a:cubicBezTo>
                  <a:cubicBezTo>
                    <a:pt x="252" y="159"/>
                    <a:pt x="252" y="159"/>
                    <a:pt x="252" y="159"/>
                  </a:cubicBezTo>
                  <a:cubicBezTo>
                    <a:pt x="252" y="159"/>
                    <a:pt x="252" y="159"/>
                    <a:pt x="253" y="159"/>
                  </a:cubicBezTo>
                  <a:cubicBezTo>
                    <a:pt x="253" y="159"/>
                    <a:pt x="253" y="159"/>
                    <a:pt x="253" y="159"/>
                  </a:cubicBezTo>
                  <a:cubicBezTo>
                    <a:pt x="253" y="159"/>
                    <a:pt x="254" y="159"/>
                    <a:pt x="254" y="159"/>
                  </a:cubicBezTo>
                  <a:cubicBezTo>
                    <a:pt x="254" y="159"/>
                    <a:pt x="254" y="158"/>
                    <a:pt x="253" y="158"/>
                  </a:cubicBezTo>
                  <a:cubicBezTo>
                    <a:pt x="253" y="158"/>
                    <a:pt x="253" y="158"/>
                    <a:pt x="253" y="158"/>
                  </a:cubicBezTo>
                  <a:cubicBezTo>
                    <a:pt x="253" y="158"/>
                    <a:pt x="253" y="159"/>
                    <a:pt x="252" y="159"/>
                  </a:cubicBezTo>
                  <a:cubicBezTo>
                    <a:pt x="252" y="159"/>
                    <a:pt x="252" y="159"/>
                    <a:pt x="252" y="159"/>
                  </a:cubicBezTo>
                  <a:cubicBezTo>
                    <a:pt x="251" y="158"/>
                    <a:pt x="251" y="158"/>
                    <a:pt x="251" y="157"/>
                  </a:cubicBezTo>
                  <a:cubicBezTo>
                    <a:pt x="250" y="157"/>
                    <a:pt x="251" y="157"/>
                    <a:pt x="251" y="157"/>
                  </a:cubicBezTo>
                  <a:cubicBezTo>
                    <a:pt x="252" y="157"/>
                    <a:pt x="253" y="156"/>
                    <a:pt x="254" y="156"/>
                  </a:cubicBezTo>
                  <a:cubicBezTo>
                    <a:pt x="254" y="156"/>
                    <a:pt x="254" y="156"/>
                    <a:pt x="255" y="156"/>
                  </a:cubicBezTo>
                  <a:cubicBezTo>
                    <a:pt x="255" y="155"/>
                    <a:pt x="254" y="155"/>
                    <a:pt x="254" y="155"/>
                  </a:cubicBezTo>
                  <a:cubicBezTo>
                    <a:pt x="254" y="155"/>
                    <a:pt x="254" y="155"/>
                    <a:pt x="254" y="154"/>
                  </a:cubicBezTo>
                  <a:cubicBezTo>
                    <a:pt x="254" y="154"/>
                    <a:pt x="254" y="154"/>
                    <a:pt x="254" y="153"/>
                  </a:cubicBezTo>
                  <a:cubicBezTo>
                    <a:pt x="254" y="153"/>
                    <a:pt x="254" y="153"/>
                    <a:pt x="254" y="153"/>
                  </a:cubicBezTo>
                  <a:cubicBezTo>
                    <a:pt x="254" y="153"/>
                    <a:pt x="254" y="153"/>
                    <a:pt x="254" y="153"/>
                  </a:cubicBezTo>
                  <a:cubicBezTo>
                    <a:pt x="254" y="153"/>
                    <a:pt x="254" y="153"/>
                    <a:pt x="255" y="153"/>
                  </a:cubicBezTo>
                  <a:cubicBezTo>
                    <a:pt x="256" y="152"/>
                    <a:pt x="257" y="151"/>
                    <a:pt x="259" y="150"/>
                  </a:cubicBezTo>
                  <a:cubicBezTo>
                    <a:pt x="259" y="150"/>
                    <a:pt x="260" y="150"/>
                    <a:pt x="260" y="149"/>
                  </a:cubicBezTo>
                  <a:cubicBezTo>
                    <a:pt x="260" y="149"/>
                    <a:pt x="260" y="148"/>
                    <a:pt x="260" y="148"/>
                  </a:cubicBezTo>
                  <a:cubicBezTo>
                    <a:pt x="261" y="148"/>
                    <a:pt x="261" y="147"/>
                    <a:pt x="261" y="147"/>
                  </a:cubicBezTo>
                  <a:cubicBezTo>
                    <a:pt x="261" y="147"/>
                    <a:pt x="261" y="146"/>
                    <a:pt x="260" y="147"/>
                  </a:cubicBezTo>
                  <a:cubicBezTo>
                    <a:pt x="260" y="147"/>
                    <a:pt x="259" y="146"/>
                    <a:pt x="259" y="146"/>
                  </a:cubicBezTo>
                  <a:cubicBezTo>
                    <a:pt x="259" y="145"/>
                    <a:pt x="259" y="145"/>
                    <a:pt x="258" y="145"/>
                  </a:cubicBezTo>
                  <a:cubicBezTo>
                    <a:pt x="257" y="145"/>
                    <a:pt x="257" y="145"/>
                    <a:pt x="257" y="144"/>
                  </a:cubicBezTo>
                  <a:cubicBezTo>
                    <a:pt x="258" y="144"/>
                    <a:pt x="258" y="144"/>
                    <a:pt x="259" y="144"/>
                  </a:cubicBezTo>
                  <a:cubicBezTo>
                    <a:pt x="260" y="144"/>
                    <a:pt x="261" y="144"/>
                    <a:pt x="262" y="144"/>
                  </a:cubicBezTo>
                  <a:cubicBezTo>
                    <a:pt x="263" y="143"/>
                    <a:pt x="263" y="143"/>
                    <a:pt x="264" y="142"/>
                  </a:cubicBezTo>
                  <a:cubicBezTo>
                    <a:pt x="264" y="142"/>
                    <a:pt x="264" y="141"/>
                    <a:pt x="264" y="141"/>
                  </a:cubicBezTo>
                  <a:cubicBezTo>
                    <a:pt x="265" y="140"/>
                    <a:pt x="265" y="139"/>
                    <a:pt x="265" y="138"/>
                  </a:cubicBezTo>
                  <a:cubicBezTo>
                    <a:pt x="265" y="138"/>
                    <a:pt x="265" y="137"/>
                    <a:pt x="265" y="137"/>
                  </a:cubicBezTo>
                  <a:cubicBezTo>
                    <a:pt x="266" y="136"/>
                    <a:pt x="266" y="136"/>
                    <a:pt x="266" y="135"/>
                  </a:cubicBezTo>
                  <a:cubicBezTo>
                    <a:pt x="266" y="135"/>
                    <a:pt x="266" y="135"/>
                    <a:pt x="266" y="135"/>
                  </a:cubicBezTo>
                  <a:cubicBezTo>
                    <a:pt x="267" y="135"/>
                    <a:pt x="267" y="135"/>
                    <a:pt x="267" y="136"/>
                  </a:cubicBezTo>
                  <a:cubicBezTo>
                    <a:pt x="267" y="136"/>
                    <a:pt x="267" y="136"/>
                    <a:pt x="267" y="136"/>
                  </a:cubicBezTo>
                  <a:cubicBezTo>
                    <a:pt x="267" y="136"/>
                    <a:pt x="267" y="135"/>
                    <a:pt x="267" y="134"/>
                  </a:cubicBezTo>
                  <a:cubicBezTo>
                    <a:pt x="267" y="134"/>
                    <a:pt x="268" y="133"/>
                    <a:pt x="268" y="133"/>
                  </a:cubicBezTo>
                  <a:cubicBezTo>
                    <a:pt x="269" y="132"/>
                    <a:pt x="269" y="131"/>
                    <a:pt x="269" y="130"/>
                  </a:cubicBezTo>
                  <a:cubicBezTo>
                    <a:pt x="268" y="130"/>
                    <a:pt x="268" y="129"/>
                    <a:pt x="268" y="129"/>
                  </a:cubicBezTo>
                  <a:cubicBezTo>
                    <a:pt x="268" y="128"/>
                    <a:pt x="268" y="128"/>
                    <a:pt x="268" y="127"/>
                  </a:cubicBezTo>
                  <a:cubicBezTo>
                    <a:pt x="268" y="127"/>
                    <a:pt x="269" y="126"/>
                    <a:pt x="269" y="126"/>
                  </a:cubicBezTo>
                  <a:cubicBezTo>
                    <a:pt x="270" y="125"/>
                    <a:pt x="270" y="124"/>
                    <a:pt x="272" y="123"/>
                  </a:cubicBezTo>
                  <a:cubicBezTo>
                    <a:pt x="272" y="123"/>
                    <a:pt x="272" y="123"/>
                    <a:pt x="272" y="123"/>
                  </a:cubicBezTo>
                  <a:cubicBezTo>
                    <a:pt x="272" y="123"/>
                    <a:pt x="273" y="122"/>
                    <a:pt x="273" y="122"/>
                  </a:cubicBezTo>
                  <a:cubicBezTo>
                    <a:pt x="274" y="122"/>
                    <a:pt x="274" y="122"/>
                    <a:pt x="275" y="121"/>
                  </a:cubicBezTo>
                  <a:cubicBezTo>
                    <a:pt x="275" y="121"/>
                    <a:pt x="276" y="121"/>
                    <a:pt x="276" y="121"/>
                  </a:cubicBezTo>
                  <a:cubicBezTo>
                    <a:pt x="276" y="121"/>
                    <a:pt x="277" y="121"/>
                    <a:pt x="277" y="120"/>
                  </a:cubicBezTo>
                  <a:cubicBezTo>
                    <a:pt x="277" y="120"/>
                    <a:pt x="278" y="120"/>
                    <a:pt x="278" y="119"/>
                  </a:cubicBezTo>
                  <a:cubicBezTo>
                    <a:pt x="279" y="119"/>
                    <a:pt x="278" y="118"/>
                    <a:pt x="278" y="118"/>
                  </a:cubicBezTo>
                  <a:cubicBezTo>
                    <a:pt x="278" y="118"/>
                    <a:pt x="278" y="117"/>
                    <a:pt x="278" y="117"/>
                  </a:cubicBezTo>
                  <a:cubicBezTo>
                    <a:pt x="279" y="117"/>
                    <a:pt x="279" y="116"/>
                    <a:pt x="279" y="115"/>
                  </a:cubicBezTo>
                  <a:cubicBezTo>
                    <a:pt x="279" y="115"/>
                    <a:pt x="280" y="115"/>
                    <a:pt x="279" y="115"/>
                  </a:cubicBezTo>
                  <a:cubicBezTo>
                    <a:pt x="279" y="114"/>
                    <a:pt x="279" y="113"/>
                    <a:pt x="280" y="112"/>
                  </a:cubicBezTo>
                  <a:cubicBezTo>
                    <a:pt x="280" y="112"/>
                    <a:pt x="280" y="112"/>
                    <a:pt x="280" y="112"/>
                  </a:cubicBezTo>
                  <a:cubicBezTo>
                    <a:pt x="280" y="111"/>
                    <a:pt x="280" y="110"/>
                    <a:pt x="279" y="109"/>
                  </a:cubicBezTo>
                  <a:cubicBezTo>
                    <a:pt x="279" y="108"/>
                    <a:pt x="279" y="107"/>
                    <a:pt x="279" y="106"/>
                  </a:cubicBezTo>
                  <a:cubicBezTo>
                    <a:pt x="279" y="106"/>
                    <a:pt x="279" y="105"/>
                    <a:pt x="279" y="105"/>
                  </a:cubicBezTo>
                  <a:cubicBezTo>
                    <a:pt x="279" y="104"/>
                    <a:pt x="279" y="104"/>
                    <a:pt x="279" y="104"/>
                  </a:cubicBezTo>
                  <a:cubicBezTo>
                    <a:pt x="279" y="104"/>
                    <a:pt x="280" y="104"/>
                    <a:pt x="280" y="104"/>
                  </a:cubicBezTo>
                  <a:cubicBezTo>
                    <a:pt x="280" y="104"/>
                    <a:pt x="280" y="104"/>
                    <a:pt x="280" y="103"/>
                  </a:cubicBezTo>
                  <a:cubicBezTo>
                    <a:pt x="280" y="102"/>
                    <a:pt x="281" y="101"/>
                    <a:pt x="282" y="100"/>
                  </a:cubicBezTo>
                  <a:cubicBezTo>
                    <a:pt x="283" y="99"/>
                    <a:pt x="283" y="98"/>
                    <a:pt x="283" y="97"/>
                  </a:cubicBezTo>
                  <a:cubicBezTo>
                    <a:pt x="284" y="96"/>
                    <a:pt x="284" y="95"/>
                    <a:pt x="284" y="95"/>
                  </a:cubicBezTo>
                  <a:close/>
                  <a:moveTo>
                    <a:pt x="182" y="8"/>
                  </a:moveTo>
                  <a:cubicBezTo>
                    <a:pt x="184" y="8"/>
                    <a:pt x="185" y="7"/>
                    <a:pt x="186" y="7"/>
                  </a:cubicBezTo>
                  <a:cubicBezTo>
                    <a:pt x="186" y="8"/>
                    <a:pt x="185" y="8"/>
                    <a:pt x="185" y="8"/>
                  </a:cubicBezTo>
                  <a:cubicBezTo>
                    <a:pt x="184" y="9"/>
                    <a:pt x="184" y="8"/>
                    <a:pt x="183" y="9"/>
                  </a:cubicBezTo>
                  <a:cubicBezTo>
                    <a:pt x="183" y="10"/>
                    <a:pt x="182" y="9"/>
                    <a:pt x="182" y="9"/>
                  </a:cubicBezTo>
                  <a:cubicBezTo>
                    <a:pt x="182" y="9"/>
                    <a:pt x="182" y="8"/>
                    <a:pt x="182" y="8"/>
                  </a:cubicBezTo>
                  <a:close/>
                  <a:moveTo>
                    <a:pt x="89" y="59"/>
                  </a:moveTo>
                  <a:cubicBezTo>
                    <a:pt x="89" y="60"/>
                    <a:pt x="88" y="60"/>
                    <a:pt x="87" y="61"/>
                  </a:cubicBezTo>
                  <a:cubicBezTo>
                    <a:pt x="87" y="61"/>
                    <a:pt x="87" y="61"/>
                    <a:pt x="86" y="61"/>
                  </a:cubicBezTo>
                  <a:cubicBezTo>
                    <a:pt x="86" y="62"/>
                    <a:pt x="85" y="62"/>
                    <a:pt x="85" y="62"/>
                  </a:cubicBezTo>
                  <a:cubicBezTo>
                    <a:pt x="86" y="63"/>
                    <a:pt x="85" y="63"/>
                    <a:pt x="84" y="63"/>
                  </a:cubicBezTo>
                  <a:cubicBezTo>
                    <a:pt x="84" y="63"/>
                    <a:pt x="83" y="64"/>
                    <a:pt x="83" y="65"/>
                  </a:cubicBezTo>
                  <a:cubicBezTo>
                    <a:pt x="82" y="65"/>
                    <a:pt x="82" y="66"/>
                    <a:pt x="81" y="66"/>
                  </a:cubicBezTo>
                  <a:cubicBezTo>
                    <a:pt x="81" y="67"/>
                    <a:pt x="80" y="67"/>
                    <a:pt x="79" y="68"/>
                  </a:cubicBezTo>
                  <a:cubicBezTo>
                    <a:pt x="80" y="67"/>
                    <a:pt x="81" y="66"/>
                    <a:pt x="81" y="65"/>
                  </a:cubicBezTo>
                  <a:cubicBezTo>
                    <a:pt x="80" y="64"/>
                    <a:pt x="82" y="64"/>
                    <a:pt x="82" y="64"/>
                  </a:cubicBezTo>
                  <a:cubicBezTo>
                    <a:pt x="81" y="64"/>
                    <a:pt x="80" y="64"/>
                    <a:pt x="79" y="66"/>
                  </a:cubicBezTo>
                  <a:cubicBezTo>
                    <a:pt x="79" y="66"/>
                    <a:pt x="78" y="66"/>
                    <a:pt x="77" y="67"/>
                  </a:cubicBezTo>
                  <a:cubicBezTo>
                    <a:pt x="77" y="67"/>
                    <a:pt x="76" y="68"/>
                    <a:pt x="76" y="68"/>
                  </a:cubicBezTo>
                  <a:cubicBezTo>
                    <a:pt x="76" y="68"/>
                    <a:pt x="75" y="68"/>
                    <a:pt x="75" y="68"/>
                  </a:cubicBezTo>
                  <a:cubicBezTo>
                    <a:pt x="75" y="68"/>
                    <a:pt x="75" y="68"/>
                    <a:pt x="75" y="68"/>
                  </a:cubicBezTo>
                  <a:cubicBezTo>
                    <a:pt x="75" y="68"/>
                    <a:pt x="75" y="68"/>
                    <a:pt x="76" y="68"/>
                  </a:cubicBezTo>
                  <a:cubicBezTo>
                    <a:pt x="78" y="66"/>
                    <a:pt x="80" y="64"/>
                    <a:pt x="82" y="62"/>
                  </a:cubicBezTo>
                  <a:cubicBezTo>
                    <a:pt x="82" y="62"/>
                    <a:pt x="84" y="61"/>
                    <a:pt x="85" y="60"/>
                  </a:cubicBezTo>
                  <a:cubicBezTo>
                    <a:pt x="85" y="60"/>
                    <a:pt x="85" y="60"/>
                    <a:pt x="85" y="60"/>
                  </a:cubicBezTo>
                  <a:cubicBezTo>
                    <a:pt x="85" y="60"/>
                    <a:pt x="85" y="60"/>
                    <a:pt x="85" y="60"/>
                  </a:cubicBezTo>
                  <a:cubicBezTo>
                    <a:pt x="85" y="61"/>
                    <a:pt x="84" y="61"/>
                    <a:pt x="84" y="61"/>
                  </a:cubicBezTo>
                  <a:cubicBezTo>
                    <a:pt x="84" y="62"/>
                    <a:pt x="85" y="61"/>
                    <a:pt x="85" y="61"/>
                  </a:cubicBezTo>
                  <a:cubicBezTo>
                    <a:pt x="86" y="60"/>
                    <a:pt x="87" y="60"/>
                    <a:pt x="88" y="59"/>
                  </a:cubicBezTo>
                  <a:cubicBezTo>
                    <a:pt x="88" y="59"/>
                    <a:pt x="88" y="58"/>
                    <a:pt x="89" y="58"/>
                  </a:cubicBezTo>
                  <a:cubicBezTo>
                    <a:pt x="89" y="58"/>
                    <a:pt x="89" y="59"/>
                    <a:pt x="89" y="59"/>
                  </a:cubicBezTo>
                  <a:close/>
                  <a:moveTo>
                    <a:pt x="95" y="88"/>
                  </a:moveTo>
                  <a:cubicBezTo>
                    <a:pt x="95" y="88"/>
                    <a:pt x="94" y="88"/>
                    <a:pt x="94" y="89"/>
                  </a:cubicBezTo>
                  <a:cubicBezTo>
                    <a:pt x="94" y="89"/>
                    <a:pt x="93" y="89"/>
                    <a:pt x="93" y="89"/>
                  </a:cubicBezTo>
                  <a:cubicBezTo>
                    <a:pt x="93" y="89"/>
                    <a:pt x="93" y="89"/>
                    <a:pt x="94" y="89"/>
                  </a:cubicBezTo>
                  <a:cubicBezTo>
                    <a:pt x="94" y="88"/>
                    <a:pt x="94" y="88"/>
                    <a:pt x="93" y="88"/>
                  </a:cubicBezTo>
                  <a:cubicBezTo>
                    <a:pt x="93" y="87"/>
                    <a:pt x="92" y="88"/>
                    <a:pt x="91" y="88"/>
                  </a:cubicBezTo>
                  <a:cubicBezTo>
                    <a:pt x="91" y="88"/>
                    <a:pt x="91" y="88"/>
                    <a:pt x="91" y="88"/>
                  </a:cubicBezTo>
                  <a:cubicBezTo>
                    <a:pt x="91" y="88"/>
                    <a:pt x="91" y="88"/>
                    <a:pt x="91" y="88"/>
                  </a:cubicBezTo>
                  <a:cubicBezTo>
                    <a:pt x="91" y="88"/>
                    <a:pt x="91" y="88"/>
                    <a:pt x="91" y="88"/>
                  </a:cubicBezTo>
                  <a:cubicBezTo>
                    <a:pt x="90" y="89"/>
                    <a:pt x="89" y="88"/>
                    <a:pt x="91" y="88"/>
                  </a:cubicBezTo>
                  <a:cubicBezTo>
                    <a:pt x="90" y="88"/>
                    <a:pt x="90" y="88"/>
                    <a:pt x="91" y="88"/>
                  </a:cubicBezTo>
                  <a:cubicBezTo>
                    <a:pt x="91" y="88"/>
                    <a:pt x="91" y="88"/>
                    <a:pt x="91" y="87"/>
                  </a:cubicBezTo>
                  <a:cubicBezTo>
                    <a:pt x="91" y="87"/>
                    <a:pt x="92" y="87"/>
                    <a:pt x="92" y="87"/>
                  </a:cubicBezTo>
                  <a:cubicBezTo>
                    <a:pt x="92" y="87"/>
                    <a:pt x="93" y="87"/>
                    <a:pt x="93" y="87"/>
                  </a:cubicBezTo>
                  <a:cubicBezTo>
                    <a:pt x="93" y="86"/>
                    <a:pt x="93" y="86"/>
                    <a:pt x="94" y="87"/>
                  </a:cubicBezTo>
                  <a:cubicBezTo>
                    <a:pt x="94" y="87"/>
                    <a:pt x="94" y="87"/>
                    <a:pt x="94" y="87"/>
                  </a:cubicBezTo>
                  <a:cubicBezTo>
                    <a:pt x="95" y="86"/>
                    <a:pt x="95" y="87"/>
                    <a:pt x="96" y="88"/>
                  </a:cubicBezTo>
                  <a:cubicBezTo>
                    <a:pt x="96" y="88"/>
                    <a:pt x="96" y="88"/>
                    <a:pt x="95" y="88"/>
                  </a:cubicBezTo>
                  <a:close/>
                  <a:moveTo>
                    <a:pt x="105" y="55"/>
                  </a:moveTo>
                  <a:cubicBezTo>
                    <a:pt x="104" y="55"/>
                    <a:pt x="104" y="56"/>
                    <a:pt x="104" y="57"/>
                  </a:cubicBezTo>
                  <a:cubicBezTo>
                    <a:pt x="103" y="58"/>
                    <a:pt x="103" y="58"/>
                    <a:pt x="102" y="59"/>
                  </a:cubicBezTo>
                  <a:cubicBezTo>
                    <a:pt x="101" y="59"/>
                    <a:pt x="101" y="60"/>
                    <a:pt x="100" y="60"/>
                  </a:cubicBezTo>
                  <a:cubicBezTo>
                    <a:pt x="99" y="62"/>
                    <a:pt x="98" y="63"/>
                    <a:pt x="95" y="64"/>
                  </a:cubicBezTo>
                  <a:cubicBezTo>
                    <a:pt x="95" y="64"/>
                    <a:pt x="95" y="64"/>
                    <a:pt x="94" y="64"/>
                  </a:cubicBezTo>
                  <a:cubicBezTo>
                    <a:pt x="95" y="64"/>
                    <a:pt x="95" y="63"/>
                    <a:pt x="96" y="63"/>
                  </a:cubicBezTo>
                  <a:cubicBezTo>
                    <a:pt x="96" y="63"/>
                    <a:pt x="96" y="63"/>
                    <a:pt x="97" y="62"/>
                  </a:cubicBezTo>
                  <a:cubicBezTo>
                    <a:pt x="97" y="61"/>
                    <a:pt x="98" y="61"/>
                    <a:pt x="99" y="60"/>
                  </a:cubicBezTo>
                  <a:cubicBezTo>
                    <a:pt x="98" y="60"/>
                    <a:pt x="98" y="60"/>
                    <a:pt x="98" y="60"/>
                  </a:cubicBezTo>
                  <a:cubicBezTo>
                    <a:pt x="98" y="60"/>
                    <a:pt x="97" y="61"/>
                    <a:pt x="97" y="60"/>
                  </a:cubicBezTo>
                  <a:cubicBezTo>
                    <a:pt x="97" y="60"/>
                    <a:pt x="98" y="60"/>
                    <a:pt x="98" y="59"/>
                  </a:cubicBezTo>
                  <a:cubicBezTo>
                    <a:pt x="99" y="59"/>
                    <a:pt x="99" y="59"/>
                    <a:pt x="100" y="59"/>
                  </a:cubicBezTo>
                  <a:cubicBezTo>
                    <a:pt x="101" y="58"/>
                    <a:pt x="103" y="57"/>
                    <a:pt x="103" y="56"/>
                  </a:cubicBezTo>
                  <a:cubicBezTo>
                    <a:pt x="104" y="56"/>
                    <a:pt x="104" y="56"/>
                    <a:pt x="104" y="55"/>
                  </a:cubicBezTo>
                  <a:cubicBezTo>
                    <a:pt x="105" y="54"/>
                    <a:pt x="106" y="53"/>
                    <a:pt x="107" y="53"/>
                  </a:cubicBezTo>
                  <a:cubicBezTo>
                    <a:pt x="106" y="54"/>
                    <a:pt x="106" y="54"/>
                    <a:pt x="105" y="55"/>
                  </a:cubicBezTo>
                  <a:close/>
                  <a:moveTo>
                    <a:pt x="108" y="60"/>
                  </a:moveTo>
                  <a:cubicBezTo>
                    <a:pt x="108" y="59"/>
                    <a:pt x="108" y="59"/>
                    <a:pt x="109" y="58"/>
                  </a:cubicBezTo>
                  <a:cubicBezTo>
                    <a:pt x="110" y="57"/>
                    <a:pt x="110" y="56"/>
                    <a:pt x="112" y="56"/>
                  </a:cubicBezTo>
                  <a:cubicBezTo>
                    <a:pt x="112" y="56"/>
                    <a:pt x="112" y="56"/>
                    <a:pt x="112" y="56"/>
                  </a:cubicBezTo>
                  <a:cubicBezTo>
                    <a:pt x="113" y="55"/>
                    <a:pt x="113" y="55"/>
                    <a:pt x="114" y="55"/>
                  </a:cubicBezTo>
                  <a:cubicBezTo>
                    <a:pt x="111" y="57"/>
                    <a:pt x="110" y="58"/>
                    <a:pt x="108" y="60"/>
                  </a:cubicBezTo>
                  <a:close/>
                  <a:moveTo>
                    <a:pt x="126" y="52"/>
                  </a:moveTo>
                  <a:cubicBezTo>
                    <a:pt x="126" y="52"/>
                    <a:pt x="125" y="53"/>
                    <a:pt x="124" y="54"/>
                  </a:cubicBezTo>
                  <a:cubicBezTo>
                    <a:pt x="125" y="53"/>
                    <a:pt x="125" y="53"/>
                    <a:pt x="125" y="53"/>
                  </a:cubicBezTo>
                  <a:cubicBezTo>
                    <a:pt x="125" y="53"/>
                    <a:pt x="125" y="52"/>
                    <a:pt x="125" y="52"/>
                  </a:cubicBezTo>
                  <a:cubicBezTo>
                    <a:pt x="125" y="52"/>
                    <a:pt x="124" y="52"/>
                    <a:pt x="125" y="52"/>
                  </a:cubicBezTo>
                  <a:cubicBezTo>
                    <a:pt x="125" y="51"/>
                    <a:pt x="125" y="51"/>
                    <a:pt x="126" y="50"/>
                  </a:cubicBezTo>
                  <a:cubicBezTo>
                    <a:pt x="126" y="50"/>
                    <a:pt x="126" y="50"/>
                    <a:pt x="126" y="50"/>
                  </a:cubicBezTo>
                  <a:cubicBezTo>
                    <a:pt x="126" y="50"/>
                    <a:pt x="126" y="50"/>
                    <a:pt x="126" y="50"/>
                  </a:cubicBezTo>
                  <a:cubicBezTo>
                    <a:pt x="126" y="50"/>
                    <a:pt x="126" y="51"/>
                    <a:pt x="126" y="51"/>
                  </a:cubicBezTo>
                  <a:cubicBezTo>
                    <a:pt x="126" y="51"/>
                    <a:pt x="127" y="51"/>
                    <a:pt x="126" y="52"/>
                  </a:cubicBezTo>
                  <a:close/>
                  <a:moveTo>
                    <a:pt x="135" y="56"/>
                  </a:moveTo>
                  <a:cubicBezTo>
                    <a:pt x="135" y="56"/>
                    <a:pt x="134" y="56"/>
                    <a:pt x="134" y="56"/>
                  </a:cubicBezTo>
                  <a:cubicBezTo>
                    <a:pt x="134" y="56"/>
                    <a:pt x="134" y="56"/>
                    <a:pt x="134" y="56"/>
                  </a:cubicBezTo>
                  <a:cubicBezTo>
                    <a:pt x="133" y="55"/>
                    <a:pt x="133" y="55"/>
                    <a:pt x="132" y="55"/>
                  </a:cubicBezTo>
                  <a:cubicBezTo>
                    <a:pt x="132" y="55"/>
                    <a:pt x="132" y="56"/>
                    <a:pt x="132" y="56"/>
                  </a:cubicBezTo>
                  <a:cubicBezTo>
                    <a:pt x="132" y="56"/>
                    <a:pt x="132" y="56"/>
                    <a:pt x="131" y="56"/>
                  </a:cubicBezTo>
                  <a:cubicBezTo>
                    <a:pt x="131" y="55"/>
                    <a:pt x="132" y="55"/>
                    <a:pt x="132" y="55"/>
                  </a:cubicBezTo>
                  <a:cubicBezTo>
                    <a:pt x="132" y="55"/>
                    <a:pt x="132" y="55"/>
                    <a:pt x="132" y="55"/>
                  </a:cubicBezTo>
                  <a:cubicBezTo>
                    <a:pt x="132" y="55"/>
                    <a:pt x="132" y="55"/>
                    <a:pt x="132" y="55"/>
                  </a:cubicBezTo>
                  <a:cubicBezTo>
                    <a:pt x="132" y="55"/>
                    <a:pt x="132" y="54"/>
                    <a:pt x="132" y="54"/>
                  </a:cubicBezTo>
                  <a:cubicBezTo>
                    <a:pt x="132" y="54"/>
                    <a:pt x="132" y="54"/>
                    <a:pt x="132" y="54"/>
                  </a:cubicBezTo>
                  <a:cubicBezTo>
                    <a:pt x="132" y="54"/>
                    <a:pt x="132" y="53"/>
                    <a:pt x="132" y="53"/>
                  </a:cubicBezTo>
                  <a:cubicBezTo>
                    <a:pt x="133" y="53"/>
                    <a:pt x="133" y="53"/>
                    <a:pt x="133" y="53"/>
                  </a:cubicBezTo>
                  <a:cubicBezTo>
                    <a:pt x="133" y="54"/>
                    <a:pt x="133" y="54"/>
                    <a:pt x="133" y="54"/>
                  </a:cubicBezTo>
                  <a:cubicBezTo>
                    <a:pt x="133" y="54"/>
                    <a:pt x="134" y="54"/>
                    <a:pt x="134" y="54"/>
                  </a:cubicBezTo>
                  <a:cubicBezTo>
                    <a:pt x="134" y="54"/>
                    <a:pt x="133" y="54"/>
                    <a:pt x="134" y="54"/>
                  </a:cubicBezTo>
                  <a:cubicBezTo>
                    <a:pt x="134" y="54"/>
                    <a:pt x="134" y="55"/>
                    <a:pt x="134" y="55"/>
                  </a:cubicBezTo>
                  <a:cubicBezTo>
                    <a:pt x="134" y="56"/>
                    <a:pt x="134" y="56"/>
                    <a:pt x="135" y="56"/>
                  </a:cubicBezTo>
                  <a:cubicBezTo>
                    <a:pt x="135" y="56"/>
                    <a:pt x="135" y="56"/>
                    <a:pt x="135" y="56"/>
                  </a:cubicBezTo>
                  <a:close/>
                  <a:moveTo>
                    <a:pt x="140" y="53"/>
                  </a:moveTo>
                  <a:cubicBezTo>
                    <a:pt x="140" y="53"/>
                    <a:pt x="140" y="53"/>
                    <a:pt x="140" y="53"/>
                  </a:cubicBezTo>
                  <a:cubicBezTo>
                    <a:pt x="139" y="53"/>
                    <a:pt x="139" y="53"/>
                    <a:pt x="139" y="53"/>
                  </a:cubicBezTo>
                  <a:cubicBezTo>
                    <a:pt x="139" y="53"/>
                    <a:pt x="139" y="53"/>
                    <a:pt x="138" y="53"/>
                  </a:cubicBezTo>
                  <a:cubicBezTo>
                    <a:pt x="138" y="54"/>
                    <a:pt x="138" y="54"/>
                    <a:pt x="137" y="54"/>
                  </a:cubicBezTo>
                  <a:cubicBezTo>
                    <a:pt x="137" y="54"/>
                    <a:pt x="135" y="54"/>
                    <a:pt x="136" y="53"/>
                  </a:cubicBezTo>
                  <a:cubicBezTo>
                    <a:pt x="136" y="53"/>
                    <a:pt x="136" y="53"/>
                    <a:pt x="136" y="53"/>
                  </a:cubicBezTo>
                  <a:cubicBezTo>
                    <a:pt x="135" y="53"/>
                    <a:pt x="135" y="53"/>
                    <a:pt x="135" y="53"/>
                  </a:cubicBezTo>
                  <a:cubicBezTo>
                    <a:pt x="135" y="53"/>
                    <a:pt x="135" y="53"/>
                    <a:pt x="135" y="52"/>
                  </a:cubicBezTo>
                  <a:cubicBezTo>
                    <a:pt x="135" y="52"/>
                    <a:pt x="136" y="51"/>
                    <a:pt x="136" y="51"/>
                  </a:cubicBezTo>
                  <a:cubicBezTo>
                    <a:pt x="136" y="51"/>
                    <a:pt x="137" y="51"/>
                    <a:pt x="137" y="51"/>
                  </a:cubicBezTo>
                  <a:cubicBezTo>
                    <a:pt x="138" y="51"/>
                    <a:pt x="139" y="52"/>
                    <a:pt x="140" y="53"/>
                  </a:cubicBezTo>
                  <a:cubicBezTo>
                    <a:pt x="140" y="53"/>
                    <a:pt x="140" y="53"/>
                    <a:pt x="140" y="53"/>
                  </a:cubicBezTo>
                  <a:cubicBezTo>
                    <a:pt x="140" y="53"/>
                    <a:pt x="140" y="53"/>
                    <a:pt x="140" y="53"/>
                  </a:cubicBezTo>
                  <a:close/>
                  <a:moveTo>
                    <a:pt x="179" y="48"/>
                  </a:moveTo>
                  <a:cubicBezTo>
                    <a:pt x="179" y="47"/>
                    <a:pt x="180" y="47"/>
                    <a:pt x="181" y="46"/>
                  </a:cubicBezTo>
                  <a:cubicBezTo>
                    <a:pt x="181" y="46"/>
                    <a:pt x="182" y="46"/>
                    <a:pt x="182" y="46"/>
                  </a:cubicBezTo>
                  <a:cubicBezTo>
                    <a:pt x="183" y="45"/>
                    <a:pt x="184" y="45"/>
                    <a:pt x="185" y="44"/>
                  </a:cubicBezTo>
                  <a:cubicBezTo>
                    <a:pt x="185" y="44"/>
                    <a:pt x="186" y="45"/>
                    <a:pt x="185" y="45"/>
                  </a:cubicBezTo>
                  <a:cubicBezTo>
                    <a:pt x="184" y="46"/>
                    <a:pt x="184" y="46"/>
                    <a:pt x="183" y="46"/>
                  </a:cubicBezTo>
                  <a:cubicBezTo>
                    <a:pt x="182" y="47"/>
                    <a:pt x="181" y="47"/>
                    <a:pt x="180" y="48"/>
                  </a:cubicBezTo>
                  <a:cubicBezTo>
                    <a:pt x="180" y="48"/>
                    <a:pt x="179" y="48"/>
                    <a:pt x="179" y="48"/>
                  </a:cubicBezTo>
                  <a:cubicBezTo>
                    <a:pt x="179" y="48"/>
                    <a:pt x="179" y="48"/>
                    <a:pt x="179" y="48"/>
                  </a:cubicBezTo>
                  <a:close/>
                  <a:moveTo>
                    <a:pt x="178" y="50"/>
                  </a:moveTo>
                  <a:cubicBezTo>
                    <a:pt x="179" y="49"/>
                    <a:pt x="179" y="49"/>
                    <a:pt x="180" y="48"/>
                  </a:cubicBezTo>
                  <a:cubicBezTo>
                    <a:pt x="180" y="48"/>
                    <a:pt x="180" y="48"/>
                    <a:pt x="181" y="48"/>
                  </a:cubicBezTo>
                  <a:cubicBezTo>
                    <a:pt x="181" y="48"/>
                    <a:pt x="181" y="48"/>
                    <a:pt x="181" y="49"/>
                  </a:cubicBezTo>
                  <a:cubicBezTo>
                    <a:pt x="180" y="49"/>
                    <a:pt x="176" y="52"/>
                    <a:pt x="176" y="53"/>
                  </a:cubicBezTo>
                  <a:cubicBezTo>
                    <a:pt x="175" y="53"/>
                    <a:pt x="174" y="54"/>
                    <a:pt x="173" y="54"/>
                  </a:cubicBezTo>
                  <a:cubicBezTo>
                    <a:pt x="173" y="53"/>
                    <a:pt x="173" y="53"/>
                    <a:pt x="174" y="53"/>
                  </a:cubicBezTo>
                  <a:cubicBezTo>
                    <a:pt x="174" y="53"/>
                    <a:pt x="174" y="53"/>
                    <a:pt x="174" y="52"/>
                  </a:cubicBezTo>
                  <a:cubicBezTo>
                    <a:pt x="175" y="51"/>
                    <a:pt x="177" y="50"/>
                    <a:pt x="178" y="50"/>
                  </a:cubicBezTo>
                  <a:close/>
                  <a:moveTo>
                    <a:pt x="169" y="48"/>
                  </a:moveTo>
                  <a:cubicBezTo>
                    <a:pt x="168" y="48"/>
                    <a:pt x="168" y="48"/>
                    <a:pt x="168" y="48"/>
                  </a:cubicBezTo>
                  <a:cubicBezTo>
                    <a:pt x="168" y="48"/>
                    <a:pt x="168" y="48"/>
                    <a:pt x="168" y="48"/>
                  </a:cubicBezTo>
                  <a:cubicBezTo>
                    <a:pt x="168" y="48"/>
                    <a:pt x="168" y="48"/>
                    <a:pt x="168" y="48"/>
                  </a:cubicBezTo>
                  <a:cubicBezTo>
                    <a:pt x="170" y="48"/>
                    <a:pt x="171" y="47"/>
                    <a:pt x="172" y="47"/>
                  </a:cubicBezTo>
                  <a:cubicBezTo>
                    <a:pt x="173" y="46"/>
                    <a:pt x="174" y="46"/>
                    <a:pt x="175" y="46"/>
                  </a:cubicBezTo>
                  <a:cubicBezTo>
                    <a:pt x="175" y="46"/>
                    <a:pt x="178" y="46"/>
                    <a:pt x="178" y="46"/>
                  </a:cubicBezTo>
                  <a:cubicBezTo>
                    <a:pt x="178" y="46"/>
                    <a:pt x="178" y="47"/>
                    <a:pt x="177" y="47"/>
                  </a:cubicBezTo>
                  <a:cubicBezTo>
                    <a:pt x="177" y="47"/>
                    <a:pt x="177" y="47"/>
                    <a:pt x="177" y="47"/>
                  </a:cubicBezTo>
                  <a:cubicBezTo>
                    <a:pt x="176" y="47"/>
                    <a:pt x="176" y="47"/>
                    <a:pt x="176" y="47"/>
                  </a:cubicBezTo>
                  <a:cubicBezTo>
                    <a:pt x="176" y="47"/>
                    <a:pt x="175" y="47"/>
                    <a:pt x="175" y="47"/>
                  </a:cubicBezTo>
                  <a:cubicBezTo>
                    <a:pt x="175" y="48"/>
                    <a:pt x="175" y="49"/>
                    <a:pt x="175" y="49"/>
                  </a:cubicBezTo>
                  <a:cubicBezTo>
                    <a:pt x="175" y="50"/>
                    <a:pt x="175" y="50"/>
                    <a:pt x="174" y="51"/>
                  </a:cubicBezTo>
                  <a:cubicBezTo>
                    <a:pt x="174" y="51"/>
                    <a:pt x="173" y="51"/>
                    <a:pt x="173" y="50"/>
                  </a:cubicBezTo>
                  <a:cubicBezTo>
                    <a:pt x="173" y="50"/>
                    <a:pt x="172" y="50"/>
                    <a:pt x="171" y="51"/>
                  </a:cubicBezTo>
                  <a:cubicBezTo>
                    <a:pt x="171" y="51"/>
                    <a:pt x="171" y="51"/>
                    <a:pt x="171" y="51"/>
                  </a:cubicBezTo>
                  <a:cubicBezTo>
                    <a:pt x="171" y="51"/>
                    <a:pt x="171" y="51"/>
                    <a:pt x="171" y="51"/>
                  </a:cubicBezTo>
                  <a:cubicBezTo>
                    <a:pt x="171" y="51"/>
                    <a:pt x="170" y="51"/>
                    <a:pt x="170" y="51"/>
                  </a:cubicBezTo>
                  <a:cubicBezTo>
                    <a:pt x="171" y="51"/>
                    <a:pt x="171" y="51"/>
                    <a:pt x="171" y="50"/>
                  </a:cubicBezTo>
                  <a:cubicBezTo>
                    <a:pt x="172" y="50"/>
                    <a:pt x="171" y="49"/>
                    <a:pt x="170" y="49"/>
                  </a:cubicBezTo>
                  <a:cubicBezTo>
                    <a:pt x="170" y="49"/>
                    <a:pt x="170" y="49"/>
                    <a:pt x="170" y="49"/>
                  </a:cubicBezTo>
                  <a:cubicBezTo>
                    <a:pt x="170" y="49"/>
                    <a:pt x="169" y="49"/>
                    <a:pt x="169" y="49"/>
                  </a:cubicBezTo>
                  <a:cubicBezTo>
                    <a:pt x="168" y="49"/>
                    <a:pt x="168" y="49"/>
                    <a:pt x="167" y="49"/>
                  </a:cubicBezTo>
                  <a:cubicBezTo>
                    <a:pt x="167" y="49"/>
                    <a:pt x="167" y="50"/>
                    <a:pt x="167" y="50"/>
                  </a:cubicBezTo>
                  <a:cubicBezTo>
                    <a:pt x="167" y="51"/>
                    <a:pt x="167" y="51"/>
                    <a:pt x="166" y="51"/>
                  </a:cubicBezTo>
                  <a:cubicBezTo>
                    <a:pt x="165" y="52"/>
                    <a:pt x="165" y="52"/>
                    <a:pt x="166" y="53"/>
                  </a:cubicBezTo>
                  <a:cubicBezTo>
                    <a:pt x="166" y="53"/>
                    <a:pt x="165" y="54"/>
                    <a:pt x="165" y="54"/>
                  </a:cubicBezTo>
                  <a:cubicBezTo>
                    <a:pt x="166" y="54"/>
                    <a:pt x="166" y="54"/>
                    <a:pt x="166" y="54"/>
                  </a:cubicBezTo>
                  <a:cubicBezTo>
                    <a:pt x="166" y="55"/>
                    <a:pt x="167" y="54"/>
                    <a:pt x="167" y="55"/>
                  </a:cubicBezTo>
                  <a:cubicBezTo>
                    <a:pt x="167" y="56"/>
                    <a:pt x="167" y="56"/>
                    <a:pt x="166" y="57"/>
                  </a:cubicBezTo>
                  <a:cubicBezTo>
                    <a:pt x="166" y="57"/>
                    <a:pt x="165" y="57"/>
                    <a:pt x="164" y="57"/>
                  </a:cubicBezTo>
                  <a:cubicBezTo>
                    <a:pt x="164" y="57"/>
                    <a:pt x="164" y="56"/>
                    <a:pt x="163" y="56"/>
                  </a:cubicBezTo>
                  <a:cubicBezTo>
                    <a:pt x="163" y="55"/>
                    <a:pt x="163" y="54"/>
                    <a:pt x="163" y="54"/>
                  </a:cubicBezTo>
                  <a:cubicBezTo>
                    <a:pt x="163" y="54"/>
                    <a:pt x="163" y="53"/>
                    <a:pt x="163" y="53"/>
                  </a:cubicBezTo>
                  <a:cubicBezTo>
                    <a:pt x="163" y="53"/>
                    <a:pt x="163" y="53"/>
                    <a:pt x="163" y="53"/>
                  </a:cubicBezTo>
                  <a:cubicBezTo>
                    <a:pt x="163" y="52"/>
                    <a:pt x="163" y="52"/>
                    <a:pt x="164" y="51"/>
                  </a:cubicBezTo>
                  <a:cubicBezTo>
                    <a:pt x="166" y="50"/>
                    <a:pt x="167" y="49"/>
                    <a:pt x="169" y="48"/>
                  </a:cubicBezTo>
                  <a:close/>
                  <a:moveTo>
                    <a:pt x="156" y="54"/>
                  </a:moveTo>
                  <a:cubicBezTo>
                    <a:pt x="156" y="54"/>
                    <a:pt x="155" y="53"/>
                    <a:pt x="155" y="54"/>
                  </a:cubicBezTo>
                  <a:cubicBezTo>
                    <a:pt x="154" y="54"/>
                    <a:pt x="154" y="54"/>
                    <a:pt x="153" y="55"/>
                  </a:cubicBezTo>
                  <a:cubicBezTo>
                    <a:pt x="153" y="54"/>
                    <a:pt x="154" y="54"/>
                    <a:pt x="154" y="53"/>
                  </a:cubicBezTo>
                  <a:cubicBezTo>
                    <a:pt x="154" y="53"/>
                    <a:pt x="155" y="52"/>
                    <a:pt x="156" y="52"/>
                  </a:cubicBezTo>
                  <a:cubicBezTo>
                    <a:pt x="156" y="52"/>
                    <a:pt x="156" y="51"/>
                    <a:pt x="156" y="51"/>
                  </a:cubicBezTo>
                  <a:cubicBezTo>
                    <a:pt x="157" y="51"/>
                    <a:pt x="157" y="50"/>
                    <a:pt x="158" y="50"/>
                  </a:cubicBezTo>
                  <a:cubicBezTo>
                    <a:pt x="158" y="49"/>
                    <a:pt x="159" y="49"/>
                    <a:pt x="159" y="48"/>
                  </a:cubicBezTo>
                  <a:cubicBezTo>
                    <a:pt x="159" y="48"/>
                    <a:pt x="159" y="48"/>
                    <a:pt x="159" y="48"/>
                  </a:cubicBezTo>
                  <a:cubicBezTo>
                    <a:pt x="160" y="48"/>
                    <a:pt x="160" y="48"/>
                    <a:pt x="160" y="48"/>
                  </a:cubicBezTo>
                  <a:cubicBezTo>
                    <a:pt x="161" y="47"/>
                    <a:pt x="162" y="47"/>
                    <a:pt x="162" y="47"/>
                  </a:cubicBezTo>
                  <a:cubicBezTo>
                    <a:pt x="163" y="47"/>
                    <a:pt x="163" y="47"/>
                    <a:pt x="164" y="47"/>
                  </a:cubicBezTo>
                  <a:cubicBezTo>
                    <a:pt x="164" y="47"/>
                    <a:pt x="164" y="47"/>
                    <a:pt x="164" y="47"/>
                  </a:cubicBezTo>
                  <a:cubicBezTo>
                    <a:pt x="166" y="46"/>
                    <a:pt x="166" y="47"/>
                    <a:pt x="167" y="47"/>
                  </a:cubicBezTo>
                  <a:cubicBezTo>
                    <a:pt x="167" y="47"/>
                    <a:pt x="167" y="47"/>
                    <a:pt x="167" y="47"/>
                  </a:cubicBezTo>
                  <a:cubicBezTo>
                    <a:pt x="166" y="48"/>
                    <a:pt x="168" y="47"/>
                    <a:pt x="167" y="48"/>
                  </a:cubicBezTo>
                  <a:cubicBezTo>
                    <a:pt x="167" y="48"/>
                    <a:pt x="167" y="48"/>
                    <a:pt x="167" y="48"/>
                  </a:cubicBezTo>
                  <a:cubicBezTo>
                    <a:pt x="166" y="48"/>
                    <a:pt x="165" y="49"/>
                    <a:pt x="164" y="50"/>
                  </a:cubicBezTo>
                  <a:cubicBezTo>
                    <a:pt x="163" y="50"/>
                    <a:pt x="162" y="51"/>
                    <a:pt x="162" y="51"/>
                  </a:cubicBezTo>
                  <a:cubicBezTo>
                    <a:pt x="161" y="50"/>
                    <a:pt x="160" y="51"/>
                    <a:pt x="160" y="51"/>
                  </a:cubicBezTo>
                  <a:cubicBezTo>
                    <a:pt x="159" y="51"/>
                    <a:pt x="159" y="51"/>
                    <a:pt x="158" y="52"/>
                  </a:cubicBezTo>
                  <a:cubicBezTo>
                    <a:pt x="158" y="52"/>
                    <a:pt x="157" y="53"/>
                    <a:pt x="157" y="53"/>
                  </a:cubicBezTo>
                  <a:cubicBezTo>
                    <a:pt x="156" y="53"/>
                    <a:pt x="156" y="53"/>
                    <a:pt x="156" y="54"/>
                  </a:cubicBezTo>
                  <a:close/>
                  <a:moveTo>
                    <a:pt x="214" y="90"/>
                  </a:moveTo>
                  <a:cubicBezTo>
                    <a:pt x="214" y="90"/>
                    <a:pt x="214" y="90"/>
                    <a:pt x="213" y="90"/>
                  </a:cubicBezTo>
                  <a:cubicBezTo>
                    <a:pt x="213" y="90"/>
                    <a:pt x="213" y="89"/>
                    <a:pt x="213" y="89"/>
                  </a:cubicBezTo>
                  <a:cubicBezTo>
                    <a:pt x="213" y="89"/>
                    <a:pt x="213" y="89"/>
                    <a:pt x="213" y="89"/>
                  </a:cubicBezTo>
                  <a:cubicBezTo>
                    <a:pt x="213" y="88"/>
                    <a:pt x="213" y="88"/>
                    <a:pt x="213" y="88"/>
                  </a:cubicBezTo>
                  <a:cubicBezTo>
                    <a:pt x="213" y="88"/>
                    <a:pt x="213" y="88"/>
                    <a:pt x="213" y="88"/>
                  </a:cubicBezTo>
                  <a:cubicBezTo>
                    <a:pt x="214" y="88"/>
                    <a:pt x="214" y="88"/>
                    <a:pt x="214" y="89"/>
                  </a:cubicBezTo>
                  <a:cubicBezTo>
                    <a:pt x="215" y="89"/>
                    <a:pt x="214" y="89"/>
                    <a:pt x="214" y="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16" name="Freeform 15">
              <a:extLst>
                <a:ext uri="{FF2B5EF4-FFF2-40B4-BE49-F238E27FC236}">
                  <a16:creationId xmlns:a16="http://schemas.microsoft.com/office/drawing/2014/main" id="{E8898A66-B600-9FD8-A468-4E09F21B6029}"/>
                </a:ext>
              </a:extLst>
            </p:cNvPr>
            <p:cNvSpPr>
              <a:spLocks/>
            </p:cNvSpPr>
            <p:nvPr/>
          </p:nvSpPr>
          <p:spPr bwMode="auto">
            <a:xfrm>
              <a:off x="5431" y="2510"/>
              <a:ext cx="605" cy="538"/>
            </a:xfrm>
            <a:custGeom>
              <a:avLst/>
              <a:gdLst>
                <a:gd name="T0" fmla="*/ 59 w 59"/>
                <a:gd name="T1" fmla="*/ 40 h 52"/>
                <a:gd name="T2" fmla="*/ 57 w 59"/>
                <a:gd name="T3" fmla="*/ 36 h 52"/>
                <a:gd name="T4" fmla="*/ 57 w 59"/>
                <a:gd name="T5" fmla="*/ 33 h 52"/>
                <a:gd name="T6" fmla="*/ 57 w 59"/>
                <a:gd name="T7" fmla="*/ 30 h 52"/>
                <a:gd name="T8" fmla="*/ 56 w 59"/>
                <a:gd name="T9" fmla="*/ 25 h 52"/>
                <a:gd name="T10" fmla="*/ 56 w 59"/>
                <a:gd name="T11" fmla="*/ 23 h 52"/>
                <a:gd name="T12" fmla="*/ 57 w 59"/>
                <a:gd name="T13" fmla="*/ 19 h 52"/>
                <a:gd name="T14" fmla="*/ 56 w 59"/>
                <a:gd name="T15" fmla="*/ 16 h 52"/>
                <a:gd name="T16" fmla="*/ 57 w 59"/>
                <a:gd name="T17" fmla="*/ 13 h 52"/>
                <a:gd name="T18" fmla="*/ 56 w 59"/>
                <a:gd name="T19" fmla="*/ 12 h 52"/>
                <a:gd name="T20" fmla="*/ 54 w 59"/>
                <a:gd name="T21" fmla="*/ 13 h 52"/>
                <a:gd name="T22" fmla="*/ 52 w 59"/>
                <a:gd name="T23" fmla="*/ 16 h 52"/>
                <a:gd name="T24" fmla="*/ 47 w 59"/>
                <a:gd name="T25" fmla="*/ 16 h 52"/>
                <a:gd name="T26" fmla="*/ 45 w 59"/>
                <a:gd name="T27" fmla="*/ 13 h 52"/>
                <a:gd name="T28" fmla="*/ 45 w 59"/>
                <a:gd name="T29" fmla="*/ 9 h 52"/>
                <a:gd name="T30" fmla="*/ 48 w 59"/>
                <a:gd name="T31" fmla="*/ 8 h 52"/>
                <a:gd name="T32" fmla="*/ 47 w 59"/>
                <a:gd name="T33" fmla="*/ 7 h 52"/>
                <a:gd name="T34" fmla="*/ 44 w 59"/>
                <a:gd name="T35" fmla="*/ 4 h 52"/>
                <a:gd name="T36" fmla="*/ 42 w 59"/>
                <a:gd name="T37" fmla="*/ 2 h 52"/>
                <a:gd name="T38" fmla="*/ 40 w 59"/>
                <a:gd name="T39" fmla="*/ 2 h 52"/>
                <a:gd name="T40" fmla="*/ 36 w 59"/>
                <a:gd name="T41" fmla="*/ 3 h 52"/>
                <a:gd name="T42" fmla="*/ 35 w 59"/>
                <a:gd name="T43" fmla="*/ 4 h 52"/>
                <a:gd name="T44" fmla="*/ 33 w 59"/>
                <a:gd name="T45" fmla="*/ 1 h 52"/>
                <a:gd name="T46" fmla="*/ 29 w 59"/>
                <a:gd name="T47" fmla="*/ 0 h 52"/>
                <a:gd name="T48" fmla="*/ 27 w 59"/>
                <a:gd name="T49" fmla="*/ 1 h 52"/>
                <a:gd name="T50" fmla="*/ 24 w 59"/>
                <a:gd name="T51" fmla="*/ 2 h 52"/>
                <a:gd name="T52" fmla="*/ 23 w 59"/>
                <a:gd name="T53" fmla="*/ 1 h 52"/>
                <a:gd name="T54" fmla="*/ 19 w 59"/>
                <a:gd name="T55" fmla="*/ 3 h 52"/>
                <a:gd name="T56" fmla="*/ 13 w 59"/>
                <a:gd name="T57" fmla="*/ 1 h 52"/>
                <a:gd name="T58" fmla="*/ 8 w 59"/>
                <a:gd name="T59" fmla="*/ 1 h 52"/>
                <a:gd name="T60" fmla="*/ 6 w 59"/>
                <a:gd name="T61" fmla="*/ 1 h 52"/>
                <a:gd name="T62" fmla="*/ 5 w 59"/>
                <a:gd name="T63" fmla="*/ 6 h 52"/>
                <a:gd name="T64" fmla="*/ 3 w 59"/>
                <a:gd name="T65" fmla="*/ 10 h 52"/>
                <a:gd name="T66" fmla="*/ 2 w 59"/>
                <a:gd name="T67" fmla="*/ 16 h 52"/>
                <a:gd name="T68" fmla="*/ 1 w 59"/>
                <a:gd name="T69" fmla="*/ 19 h 52"/>
                <a:gd name="T70" fmla="*/ 7 w 59"/>
                <a:gd name="T71" fmla="*/ 21 h 52"/>
                <a:gd name="T72" fmla="*/ 12 w 59"/>
                <a:gd name="T73" fmla="*/ 23 h 52"/>
                <a:gd name="T74" fmla="*/ 17 w 59"/>
                <a:gd name="T75" fmla="*/ 24 h 52"/>
                <a:gd name="T76" fmla="*/ 24 w 59"/>
                <a:gd name="T77" fmla="*/ 27 h 52"/>
                <a:gd name="T78" fmla="*/ 27 w 59"/>
                <a:gd name="T79" fmla="*/ 32 h 52"/>
                <a:gd name="T80" fmla="*/ 27 w 59"/>
                <a:gd name="T81" fmla="*/ 35 h 52"/>
                <a:gd name="T82" fmla="*/ 31 w 59"/>
                <a:gd name="T83" fmla="*/ 34 h 52"/>
                <a:gd name="T84" fmla="*/ 29 w 59"/>
                <a:gd name="T85" fmla="*/ 36 h 52"/>
                <a:gd name="T86" fmla="*/ 30 w 59"/>
                <a:gd name="T87" fmla="*/ 37 h 52"/>
                <a:gd name="T88" fmla="*/ 31 w 59"/>
                <a:gd name="T89" fmla="*/ 38 h 52"/>
                <a:gd name="T90" fmla="*/ 30 w 59"/>
                <a:gd name="T91" fmla="*/ 41 h 52"/>
                <a:gd name="T92" fmla="*/ 34 w 59"/>
                <a:gd name="T93" fmla="*/ 47 h 52"/>
                <a:gd name="T94" fmla="*/ 36 w 59"/>
                <a:gd name="T95" fmla="*/ 48 h 52"/>
                <a:gd name="T96" fmla="*/ 37 w 59"/>
                <a:gd name="T97" fmla="*/ 50 h 52"/>
                <a:gd name="T98" fmla="*/ 41 w 59"/>
                <a:gd name="T99" fmla="*/ 51 h 52"/>
                <a:gd name="T100" fmla="*/ 46 w 59"/>
                <a:gd name="T101" fmla="*/ 49 h 52"/>
                <a:gd name="T102" fmla="*/ 51 w 59"/>
                <a:gd name="T103" fmla="*/ 48 h 52"/>
                <a:gd name="T104" fmla="*/ 53 w 59"/>
                <a:gd name="T105" fmla="*/ 46 h 52"/>
                <a:gd name="T106" fmla="*/ 57 w 59"/>
                <a:gd name="T107" fmla="*/ 4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 h="52">
                  <a:moveTo>
                    <a:pt x="57" y="41"/>
                  </a:moveTo>
                  <a:cubicBezTo>
                    <a:pt x="58" y="41"/>
                    <a:pt x="58" y="41"/>
                    <a:pt x="58" y="40"/>
                  </a:cubicBezTo>
                  <a:cubicBezTo>
                    <a:pt x="58" y="40"/>
                    <a:pt x="59" y="41"/>
                    <a:pt x="59" y="40"/>
                  </a:cubicBezTo>
                  <a:cubicBezTo>
                    <a:pt x="58" y="40"/>
                    <a:pt x="58" y="40"/>
                    <a:pt x="58" y="39"/>
                  </a:cubicBezTo>
                  <a:cubicBezTo>
                    <a:pt x="58" y="39"/>
                    <a:pt x="58" y="39"/>
                    <a:pt x="58" y="38"/>
                  </a:cubicBezTo>
                  <a:cubicBezTo>
                    <a:pt x="58" y="38"/>
                    <a:pt x="58" y="37"/>
                    <a:pt x="57" y="36"/>
                  </a:cubicBezTo>
                  <a:cubicBezTo>
                    <a:pt x="57" y="35"/>
                    <a:pt x="57" y="35"/>
                    <a:pt x="58" y="35"/>
                  </a:cubicBezTo>
                  <a:cubicBezTo>
                    <a:pt x="58" y="35"/>
                    <a:pt x="58" y="35"/>
                    <a:pt x="58" y="35"/>
                  </a:cubicBezTo>
                  <a:cubicBezTo>
                    <a:pt x="58" y="34"/>
                    <a:pt x="57" y="33"/>
                    <a:pt x="57" y="33"/>
                  </a:cubicBezTo>
                  <a:cubicBezTo>
                    <a:pt x="56" y="33"/>
                    <a:pt x="57" y="33"/>
                    <a:pt x="57" y="33"/>
                  </a:cubicBezTo>
                  <a:cubicBezTo>
                    <a:pt x="57" y="32"/>
                    <a:pt x="57" y="32"/>
                    <a:pt x="57" y="31"/>
                  </a:cubicBezTo>
                  <a:cubicBezTo>
                    <a:pt x="57" y="31"/>
                    <a:pt x="56" y="30"/>
                    <a:pt x="57" y="30"/>
                  </a:cubicBezTo>
                  <a:cubicBezTo>
                    <a:pt x="57" y="30"/>
                    <a:pt x="57" y="30"/>
                    <a:pt x="57" y="30"/>
                  </a:cubicBezTo>
                  <a:cubicBezTo>
                    <a:pt x="57" y="28"/>
                    <a:pt x="56" y="27"/>
                    <a:pt x="56" y="26"/>
                  </a:cubicBezTo>
                  <a:cubicBezTo>
                    <a:pt x="55" y="26"/>
                    <a:pt x="55" y="25"/>
                    <a:pt x="56" y="25"/>
                  </a:cubicBezTo>
                  <a:cubicBezTo>
                    <a:pt x="56" y="25"/>
                    <a:pt x="56" y="25"/>
                    <a:pt x="56" y="24"/>
                  </a:cubicBezTo>
                  <a:cubicBezTo>
                    <a:pt x="56" y="24"/>
                    <a:pt x="55" y="24"/>
                    <a:pt x="56" y="24"/>
                  </a:cubicBezTo>
                  <a:cubicBezTo>
                    <a:pt x="56" y="24"/>
                    <a:pt x="56" y="24"/>
                    <a:pt x="56" y="23"/>
                  </a:cubicBezTo>
                  <a:cubicBezTo>
                    <a:pt x="57" y="22"/>
                    <a:pt x="56" y="21"/>
                    <a:pt x="57" y="21"/>
                  </a:cubicBezTo>
                  <a:cubicBezTo>
                    <a:pt x="57" y="20"/>
                    <a:pt x="57" y="20"/>
                    <a:pt x="57" y="20"/>
                  </a:cubicBezTo>
                  <a:cubicBezTo>
                    <a:pt x="57" y="19"/>
                    <a:pt x="57" y="19"/>
                    <a:pt x="57" y="19"/>
                  </a:cubicBezTo>
                  <a:cubicBezTo>
                    <a:pt x="57" y="19"/>
                    <a:pt x="57" y="18"/>
                    <a:pt x="56" y="17"/>
                  </a:cubicBezTo>
                  <a:cubicBezTo>
                    <a:pt x="56" y="17"/>
                    <a:pt x="56" y="17"/>
                    <a:pt x="56" y="17"/>
                  </a:cubicBezTo>
                  <a:cubicBezTo>
                    <a:pt x="56" y="17"/>
                    <a:pt x="56" y="16"/>
                    <a:pt x="56" y="16"/>
                  </a:cubicBezTo>
                  <a:cubicBezTo>
                    <a:pt x="56" y="15"/>
                    <a:pt x="57" y="15"/>
                    <a:pt x="57" y="15"/>
                  </a:cubicBezTo>
                  <a:cubicBezTo>
                    <a:pt x="57" y="14"/>
                    <a:pt x="56" y="14"/>
                    <a:pt x="57" y="14"/>
                  </a:cubicBezTo>
                  <a:cubicBezTo>
                    <a:pt x="57" y="14"/>
                    <a:pt x="57" y="13"/>
                    <a:pt x="57" y="13"/>
                  </a:cubicBezTo>
                  <a:cubicBezTo>
                    <a:pt x="57" y="13"/>
                    <a:pt x="57" y="12"/>
                    <a:pt x="57" y="12"/>
                  </a:cubicBezTo>
                  <a:cubicBezTo>
                    <a:pt x="57" y="12"/>
                    <a:pt x="57" y="12"/>
                    <a:pt x="57" y="12"/>
                  </a:cubicBezTo>
                  <a:cubicBezTo>
                    <a:pt x="57" y="11"/>
                    <a:pt x="57" y="11"/>
                    <a:pt x="56" y="12"/>
                  </a:cubicBezTo>
                  <a:cubicBezTo>
                    <a:pt x="56" y="12"/>
                    <a:pt x="56" y="12"/>
                    <a:pt x="55" y="12"/>
                  </a:cubicBezTo>
                  <a:cubicBezTo>
                    <a:pt x="55" y="12"/>
                    <a:pt x="55" y="13"/>
                    <a:pt x="55" y="13"/>
                  </a:cubicBezTo>
                  <a:cubicBezTo>
                    <a:pt x="55" y="13"/>
                    <a:pt x="54" y="13"/>
                    <a:pt x="54" y="13"/>
                  </a:cubicBezTo>
                  <a:cubicBezTo>
                    <a:pt x="54" y="14"/>
                    <a:pt x="53" y="14"/>
                    <a:pt x="53" y="15"/>
                  </a:cubicBezTo>
                  <a:cubicBezTo>
                    <a:pt x="52" y="15"/>
                    <a:pt x="52" y="15"/>
                    <a:pt x="52" y="16"/>
                  </a:cubicBezTo>
                  <a:cubicBezTo>
                    <a:pt x="52" y="16"/>
                    <a:pt x="52" y="16"/>
                    <a:pt x="52" y="16"/>
                  </a:cubicBezTo>
                  <a:cubicBezTo>
                    <a:pt x="51" y="17"/>
                    <a:pt x="50" y="17"/>
                    <a:pt x="49" y="18"/>
                  </a:cubicBezTo>
                  <a:cubicBezTo>
                    <a:pt x="49" y="18"/>
                    <a:pt x="48" y="18"/>
                    <a:pt x="48" y="18"/>
                  </a:cubicBezTo>
                  <a:cubicBezTo>
                    <a:pt x="48" y="17"/>
                    <a:pt x="47" y="17"/>
                    <a:pt x="47" y="16"/>
                  </a:cubicBezTo>
                  <a:cubicBezTo>
                    <a:pt x="47" y="16"/>
                    <a:pt x="47" y="15"/>
                    <a:pt x="47" y="15"/>
                  </a:cubicBezTo>
                  <a:cubicBezTo>
                    <a:pt x="46" y="15"/>
                    <a:pt x="46" y="15"/>
                    <a:pt x="46" y="14"/>
                  </a:cubicBezTo>
                  <a:cubicBezTo>
                    <a:pt x="46" y="14"/>
                    <a:pt x="46" y="13"/>
                    <a:pt x="45" y="13"/>
                  </a:cubicBezTo>
                  <a:cubicBezTo>
                    <a:pt x="44" y="12"/>
                    <a:pt x="45" y="11"/>
                    <a:pt x="44" y="10"/>
                  </a:cubicBezTo>
                  <a:cubicBezTo>
                    <a:pt x="44" y="10"/>
                    <a:pt x="43" y="9"/>
                    <a:pt x="44" y="9"/>
                  </a:cubicBezTo>
                  <a:cubicBezTo>
                    <a:pt x="44" y="9"/>
                    <a:pt x="45" y="9"/>
                    <a:pt x="45" y="9"/>
                  </a:cubicBezTo>
                  <a:cubicBezTo>
                    <a:pt x="45" y="9"/>
                    <a:pt x="45" y="9"/>
                    <a:pt x="45" y="9"/>
                  </a:cubicBezTo>
                  <a:cubicBezTo>
                    <a:pt x="45" y="8"/>
                    <a:pt x="46" y="8"/>
                    <a:pt x="46" y="8"/>
                  </a:cubicBezTo>
                  <a:cubicBezTo>
                    <a:pt x="47" y="9"/>
                    <a:pt x="47" y="8"/>
                    <a:pt x="48" y="8"/>
                  </a:cubicBezTo>
                  <a:cubicBezTo>
                    <a:pt x="48" y="8"/>
                    <a:pt x="48" y="7"/>
                    <a:pt x="48" y="7"/>
                  </a:cubicBezTo>
                  <a:cubicBezTo>
                    <a:pt x="48" y="7"/>
                    <a:pt x="48" y="7"/>
                    <a:pt x="47" y="7"/>
                  </a:cubicBezTo>
                  <a:cubicBezTo>
                    <a:pt x="47" y="7"/>
                    <a:pt x="47" y="7"/>
                    <a:pt x="47" y="7"/>
                  </a:cubicBezTo>
                  <a:cubicBezTo>
                    <a:pt x="47" y="7"/>
                    <a:pt x="47" y="7"/>
                    <a:pt x="47" y="7"/>
                  </a:cubicBezTo>
                  <a:cubicBezTo>
                    <a:pt x="47" y="7"/>
                    <a:pt x="47" y="6"/>
                    <a:pt x="46" y="6"/>
                  </a:cubicBezTo>
                  <a:cubicBezTo>
                    <a:pt x="45" y="6"/>
                    <a:pt x="44" y="5"/>
                    <a:pt x="44" y="4"/>
                  </a:cubicBezTo>
                  <a:cubicBezTo>
                    <a:pt x="44" y="4"/>
                    <a:pt x="43" y="3"/>
                    <a:pt x="43" y="3"/>
                  </a:cubicBezTo>
                  <a:cubicBezTo>
                    <a:pt x="43" y="2"/>
                    <a:pt x="43" y="2"/>
                    <a:pt x="42" y="2"/>
                  </a:cubicBezTo>
                  <a:cubicBezTo>
                    <a:pt x="42" y="2"/>
                    <a:pt x="42" y="2"/>
                    <a:pt x="42" y="2"/>
                  </a:cubicBezTo>
                  <a:cubicBezTo>
                    <a:pt x="42" y="3"/>
                    <a:pt x="42" y="3"/>
                    <a:pt x="42" y="3"/>
                  </a:cubicBezTo>
                  <a:cubicBezTo>
                    <a:pt x="42" y="3"/>
                    <a:pt x="41" y="3"/>
                    <a:pt x="41" y="3"/>
                  </a:cubicBezTo>
                  <a:cubicBezTo>
                    <a:pt x="41" y="3"/>
                    <a:pt x="40" y="3"/>
                    <a:pt x="40" y="2"/>
                  </a:cubicBezTo>
                  <a:cubicBezTo>
                    <a:pt x="40" y="2"/>
                    <a:pt x="40" y="2"/>
                    <a:pt x="40" y="2"/>
                  </a:cubicBezTo>
                  <a:cubicBezTo>
                    <a:pt x="39" y="2"/>
                    <a:pt x="39" y="2"/>
                    <a:pt x="39" y="2"/>
                  </a:cubicBezTo>
                  <a:cubicBezTo>
                    <a:pt x="37" y="2"/>
                    <a:pt x="37" y="3"/>
                    <a:pt x="36" y="3"/>
                  </a:cubicBezTo>
                  <a:cubicBezTo>
                    <a:pt x="36" y="3"/>
                    <a:pt x="35" y="3"/>
                    <a:pt x="35" y="4"/>
                  </a:cubicBezTo>
                  <a:cubicBezTo>
                    <a:pt x="36" y="4"/>
                    <a:pt x="36" y="4"/>
                    <a:pt x="35" y="4"/>
                  </a:cubicBezTo>
                  <a:cubicBezTo>
                    <a:pt x="35" y="4"/>
                    <a:pt x="35" y="4"/>
                    <a:pt x="35" y="4"/>
                  </a:cubicBezTo>
                  <a:cubicBezTo>
                    <a:pt x="34" y="3"/>
                    <a:pt x="34" y="3"/>
                    <a:pt x="33" y="3"/>
                  </a:cubicBezTo>
                  <a:cubicBezTo>
                    <a:pt x="33" y="3"/>
                    <a:pt x="33" y="3"/>
                    <a:pt x="33" y="3"/>
                  </a:cubicBezTo>
                  <a:cubicBezTo>
                    <a:pt x="33" y="3"/>
                    <a:pt x="33" y="2"/>
                    <a:pt x="33" y="1"/>
                  </a:cubicBezTo>
                  <a:cubicBezTo>
                    <a:pt x="33" y="1"/>
                    <a:pt x="33" y="1"/>
                    <a:pt x="32" y="0"/>
                  </a:cubicBezTo>
                  <a:cubicBezTo>
                    <a:pt x="32" y="0"/>
                    <a:pt x="31" y="0"/>
                    <a:pt x="31" y="0"/>
                  </a:cubicBezTo>
                  <a:cubicBezTo>
                    <a:pt x="31" y="1"/>
                    <a:pt x="30" y="0"/>
                    <a:pt x="29" y="0"/>
                  </a:cubicBezTo>
                  <a:cubicBezTo>
                    <a:pt x="29" y="0"/>
                    <a:pt x="29" y="0"/>
                    <a:pt x="29" y="0"/>
                  </a:cubicBezTo>
                  <a:cubicBezTo>
                    <a:pt x="29" y="0"/>
                    <a:pt x="29" y="1"/>
                    <a:pt x="29" y="0"/>
                  </a:cubicBezTo>
                  <a:cubicBezTo>
                    <a:pt x="28" y="0"/>
                    <a:pt x="27" y="0"/>
                    <a:pt x="27" y="1"/>
                  </a:cubicBezTo>
                  <a:cubicBezTo>
                    <a:pt x="27" y="1"/>
                    <a:pt x="27" y="1"/>
                    <a:pt x="26" y="1"/>
                  </a:cubicBezTo>
                  <a:cubicBezTo>
                    <a:pt x="26" y="1"/>
                    <a:pt x="25" y="1"/>
                    <a:pt x="25" y="1"/>
                  </a:cubicBezTo>
                  <a:cubicBezTo>
                    <a:pt x="25" y="2"/>
                    <a:pt x="25" y="2"/>
                    <a:pt x="24" y="2"/>
                  </a:cubicBezTo>
                  <a:cubicBezTo>
                    <a:pt x="24" y="1"/>
                    <a:pt x="24" y="1"/>
                    <a:pt x="24" y="1"/>
                  </a:cubicBezTo>
                  <a:cubicBezTo>
                    <a:pt x="24" y="0"/>
                    <a:pt x="24" y="0"/>
                    <a:pt x="24" y="0"/>
                  </a:cubicBezTo>
                  <a:cubicBezTo>
                    <a:pt x="23" y="0"/>
                    <a:pt x="23" y="0"/>
                    <a:pt x="23" y="1"/>
                  </a:cubicBezTo>
                  <a:cubicBezTo>
                    <a:pt x="22" y="1"/>
                    <a:pt x="22" y="2"/>
                    <a:pt x="21" y="2"/>
                  </a:cubicBezTo>
                  <a:cubicBezTo>
                    <a:pt x="20" y="2"/>
                    <a:pt x="20" y="2"/>
                    <a:pt x="20" y="2"/>
                  </a:cubicBezTo>
                  <a:cubicBezTo>
                    <a:pt x="20" y="3"/>
                    <a:pt x="19" y="3"/>
                    <a:pt x="19" y="3"/>
                  </a:cubicBezTo>
                  <a:cubicBezTo>
                    <a:pt x="18" y="2"/>
                    <a:pt x="17" y="2"/>
                    <a:pt x="16" y="2"/>
                  </a:cubicBezTo>
                  <a:cubicBezTo>
                    <a:pt x="16" y="2"/>
                    <a:pt x="16" y="2"/>
                    <a:pt x="16" y="2"/>
                  </a:cubicBezTo>
                  <a:cubicBezTo>
                    <a:pt x="15" y="2"/>
                    <a:pt x="14" y="1"/>
                    <a:pt x="13" y="1"/>
                  </a:cubicBezTo>
                  <a:cubicBezTo>
                    <a:pt x="13" y="1"/>
                    <a:pt x="13" y="1"/>
                    <a:pt x="13" y="1"/>
                  </a:cubicBezTo>
                  <a:cubicBezTo>
                    <a:pt x="13" y="0"/>
                    <a:pt x="12" y="0"/>
                    <a:pt x="11" y="0"/>
                  </a:cubicBezTo>
                  <a:cubicBezTo>
                    <a:pt x="10" y="1"/>
                    <a:pt x="9" y="0"/>
                    <a:pt x="8" y="1"/>
                  </a:cubicBezTo>
                  <a:cubicBezTo>
                    <a:pt x="8" y="1"/>
                    <a:pt x="7" y="1"/>
                    <a:pt x="7" y="0"/>
                  </a:cubicBezTo>
                  <a:cubicBezTo>
                    <a:pt x="7" y="0"/>
                    <a:pt x="7" y="0"/>
                    <a:pt x="7" y="0"/>
                  </a:cubicBezTo>
                  <a:cubicBezTo>
                    <a:pt x="7" y="0"/>
                    <a:pt x="6" y="1"/>
                    <a:pt x="6" y="1"/>
                  </a:cubicBezTo>
                  <a:cubicBezTo>
                    <a:pt x="6" y="2"/>
                    <a:pt x="6" y="2"/>
                    <a:pt x="5" y="2"/>
                  </a:cubicBezTo>
                  <a:cubicBezTo>
                    <a:pt x="5" y="3"/>
                    <a:pt x="5" y="3"/>
                    <a:pt x="5" y="3"/>
                  </a:cubicBezTo>
                  <a:cubicBezTo>
                    <a:pt x="5" y="4"/>
                    <a:pt x="4" y="5"/>
                    <a:pt x="5" y="6"/>
                  </a:cubicBezTo>
                  <a:cubicBezTo>
                    <a:pt x="5" y="6"/>
                    <a:pt x="5" y="6"/>
                    <a:pt x="4" y="6"/>
                  </a:cubicBezTo>
                  <a:cubicBezTo>
                    <a:pt x="4" y="6"/>
                    <a:pt x="3" y="6"/>
                    <a:pt x="3" y="7"/>
                  </a:cubicBezTo>
                  <a:cubicBezTo>
                    <a:pt x="4" y="8"/>
                    <a:pt x="3" y="8"/>
                    <a:pt x="3" y="10"/>
                  </a:cubicBezTo>
                  <a:cubicBezTo>
                    <a:pt x="3" y="10"/>
                    <a:pt x="3" y="11"/>
                    <a:pt x="3" y="12"/>
                  </a:cubicBezTo>
                  <a:cubicBezTo>
                    <a:pt x="3" y="12"/>
                    <a:pt x="2" y="12"/>
                    <a:pt x="3" y="13"/>
                  </a:cubicBezTo>
                  <a:cubicBezTo>
                    <a:pt x="3" y="14"/>
                    <a:pt x="2" y="15"/>
                    <a:pt x="2" y="16"/>
                  </a:cubicBezTo>
                  <a:cubicBezTo>
                    <a:pt x="2" y="17"/>
                    <a:pt x="1" y="17"/>
                    <a:pt x="1" y="17"/>
                  </a:cubicBezTo>
                  <a:cubicBezTo>
                    <a:pt x="0" y="17"/>
                    <a:pt x="0" y="17"/>
                    <a:pt x="0" y="18"/>
                  </a:cubicBezTo>
                  <a:cubicBezTo>
                    <a:pt x="0" y="18"/>
                    <a:pt x="1" y="18"/>
                    <a:pt x="1" y="19"/>
                  </a:cubicBezTo>
                  <a:cubicBezTo>
                    <a:pt x="1" y="20"/>
                    <a:pt x="2" y="20"/>
                    <a:pt x="3" y="21"/>
                  </a:cubicBezTo>
                  <a:cubicBezTo>
                    <a:pt x="4" y="20"/>
                    <a:pt x="6" y="21"/>
                    <a:pt x="6" y="21"/>
                  </a:cubicBezTo>
                  <a:cubicBezTo>
                    <a:pt x="7" y="21"/>
                    <a:pt x="7" y="21"/>
                    <a:pt x="7" y="21"/>
                  </a:cubicBezTo>
                  <a:cubicBezTo>
                    <a:pt x="8" y="21"/>
                    <a:pt x="8" y="22"/>
                    <a:pt x="9" y="22"/>
                  </a:cubicBezTo>
                  <a:cubicBezTo>
                    <a:pt x="9" y="22"/>
                    <a:pt x="10" y="23"/>
                    <a:pt x="11" y="23"/>
                  </a:cubicBezTo>
                  <a:cubicBezTo>
                    <a:pt x="11" y="24"/>
                    <a:pt x="12" y="24"/>
                    <a:pt x="12" y="23"/>
                  </a:cubicBezTo>
                  <a:cubicBezTo>
                    <a:pt x="13" y="23"/>
                    <a:pt x="14" y="23"/>
                    <a:pt x="15" y="23"/>
                  </a:cubicBezTo>
                  <a:cubicBezTo>
                    <a:pt x="15" y="23"/>
                    <a:pt x="15" y="23"/>
                    <a:pt x="16" y="23"/>
                  </a:cubicBezTo>
                  <a:cubicBezTo>
                    <a:pt x="16" y="23"/>
                    <a:pt x="17" y="23"/>
                    <a:pt x="17" y="24"/>
                  </a:cubicBezTo>
                  <a:cubicBezTo>
                    <a:pt x="18" y="24"/>
                    <a:pt x="19" y="25"/>
                    <a:pt x="20" y="25"/>
                  </a:cubicBezTo>
                  <a:cubicBezTo>
                    <a:pt x="21" y="25"/>
                    <a:pt x="22" y="26"/>
                    <a:pt x="23" y="27"/>
                  </a:cubicBezTo>
                  <a:cubicBezTo>
                    <a:pt x="24" y="27"/>
                    <a:pt x="24" y="27"/>
                    <a:pt x="24" y="27"/>
                  </a:cubicBezTo>
                  <a:cubicBezTo>
                    <a:pt x="25" y="28"/>
                    <a:pt x="26" y="29"/>
                    <a:pt x="26" y="30"/>
                  </a:cubicBezTo>
                  <a:cubicBezTo>
                    <a:pt x="26" y="30"/>
                    <a:pt x="27" y="31"/>
                    <a:pt x="27" y="31"/>
                  </a:cubicBezTo>
                  <a:cubicBezTo>
                    <a:pt x="26" y="31"/>
                    <a:pt x="27" y="32"/>
                    <a:pt x="27" y="32"/>
                  </a:cubicBezTo>
                  <a:cubicBezTo>
                    <a:pt x="27" y="33"/>
                    <a:pt x="28" y="34"/>
                    <a:pt x="27" y="34"/>
                  </a:cubicBezTo>
                  <a:cubicBezTo>
                    <a:pt x="27" y="34"/>
                    <a:pt x="27" y="34"/>
                    <a:pt x="27" y="34"/>
                  </a:cubicBezTo>
                  <a:cubicBezTo>
                    <a:pt x="27" y="35"/>
                    <a:pt x="27" y="35"/>
                    <a:pt x="27" y="35"/>
                  </a:cubicBezTo>
                  <a:cubicBezTo>
                    <a:pt x="27" y="35"/>
                    <a:pt x="27" y="35"/>
                    <a:pt x="28" y="35"/>
                  </a:cubicBezTo>
                  <a:cubicBezTo>
                    <a:pt x="28" y="35"/>
                    <a:pt x="28" y="34"/>
                    <a:pt x="29" y="35"/>
                  </a:cubicBezTo>
                  <a:cubicBezTo>
                    <a:pt x="30" y="35"/>
                    <a:pt x="30" y="35"/>
                    <a:pt x="31" y="34"/>
                  </a:cubicBezTo>
                  <a:cubicBezTo>
                    <a:pt x="31" y="34"/>
                    <a:pt x="31" y="34"/>
                    <a:pt x="32" y="35"/>
                  </a:cubicBezTo>
                  <a:cubicBezTo>
                    <a:pt x="31" y="35"/>
                    <a:pt x="30" y="35"/>
                    <a:pt x="30" y="36"/>
                  </a:cubicBezTo>
                  <a:cubicBezTo>
                    <a:pt x="29" y="36"/>
                    <a:pt x="29" y="36"/>
                    <a:pt x="29" y="36"/>
                  </a:cubicBezTo>
                  <a:cubicBezTo>
                    <a:pt x="29" y="36"/>
                    <a:pt x="29" y="36"/>
                    <a:pt x="28" y="36"/>
                  </a:cubicBezTo>
                  <a:cubicBezTo>
                    <a:pt x="29" y="37"/>
                    <a:pt x="29" y="37"/>
                    <a:pt x="29" y="37"/>
                  </a:cubicBezTo>
                  <a:cubicBezTo>
                    <a:pt x="29" y="37"/>
                    <a:pt x="30" y="37"/>
                    <a:pt x="30" y="37"/>
                  </a:cubicBezTo>
                  <a:cubicBezTo>
                    <a:pt x="30" y="37"/>
                    <a:pt x="30" y="36"/>
                    <a:pt x="31" y="36"/>
                  </a:cubicBezTo>
                  <a:cubicBezTo>
                    <a:pt x="31" y="37"/>
                    <a:pt x="31" y="37"/>
                    <a:pt x="30" y="38"/>
                  </a:cubicBezTo>
                  <a:cubicBezTo>
                    <a:pt x="30" y="38"/>
                    <a:pt x="30" y="38"/>
                    <a:pt x="31" y="38"/>
                  </a:cubicBezTo>
                  <a:cubicBezTo>
                    <a:pt x="31" y="39"/>
                    <a:pt x="31" y="39"/>
                    <a:pt x="31" y="39"/>
                  </a:cubicBezTo>
                  <a:cubicBezTo>
                    <a:pt x="31" y="40"/>
                    <a:pt x="32" y="41"/>
                    <a:pt x="30" y="41"/>
                  </a:cubicBezTo>
                  <a:cubicBezTo>
                    <a:pt x="30" y="41"/>
                    <a:pt x="30" y="41"/>
                    <a:pt x="30" y="41"/>
                  </a:cubicBezTo>
                  <a:cubicBezTo>
                    <a:pt x="30" y="43"/>
                    <a:pt x="31" y="44"/>
                    <a:pt x="31" y="45"/>
                  </a:cubicBezTo>
                  <a:cubicBezTo>
                    <a:pt x="33" y="45"/>
                    <a:pt x="33" y="46"/>
                    <a:pt x="33" y="46"/>
                  </a:cubicBezTo>
                  <a:cubicBezTo>
                    <a:pt x="33" y="47"/>
                    <a:pt x="34" y="47"/>
                    <a:pt x="34" y="47"/>
                  </a:cubicBezTo>
                  <a:cubicBezTo>
                    <a:pt x="35" y="47"/>
                    <a:pt x="35" y="47"/>
                    <a:pt x="36" y="47"/>
                  </a:cubicBezTo>
                  <a:cubicBezTo>
                    <a:pt x="36" y="47"/>
                    <a:pt x="36" y="47"/>
                    <a:pt x="36" y="47"/>
                  </a:cubicBezTo>
                  <a:cubicBezTo>
                    <a:pt x="36" y="48"/>
                    <a:pt x="36" y="48"/>
                    <a:pt x="36" y="48"/>
                  </a:cubicBezTo>
                  <a:cubicBezTo>
                    <a:pt x="36" y="48"/>
                    <a:pt x="36" y="48"/>
                    <a:pt x="36" y="48"/>
                  </a:cubicBezTo>
                  <a:cubicBezTo>
                    <a:pt x="36" y="48"/>
                    <a:pt x="36" y="48"/>
                    <a:pt x="36" y="48"/>
                  </a:cubicBezTo>
                  <a:cubicBezTo>
                    <a:pt x="36" y="49"/>
                    <a:pt x="37" y="49"/>
                    <a:pt x="37" y="50"/>
                  </a:cubicBezTo>
                  <a:cubicBezTo>
                    <a:pt x="38" y="50"/>
                    <a:pt x="39" y="50"/>
                    <a:pt x="39" y="50"/>
                  </a:cubicBezTo>
                  <a:cubicBezTo>
                    <a:pt x="40" y="50"/>
                    <a:pt x="40" y="50"/>
                    <a:pt x="40" y="50"/>
                  </a:cubicBezTo>
                  <a:cubicBezTo>
                    <a:pt x="41" y="50"/>
                    <a:pt x="41" y="51"/>
                    <a:pt x="41" y="51"/>
                  </a:cubicBezTo>
                  <a:cubicBezTo>
                    <a:pt x="42" y="52"/>
                    <a:pt x="43" y="51"/>
                    <a:pt x="43" y="51"/>
                  </a:cubicBezTo>
                  <a:cubicBezTo>
                    <a:pt x="44" y="50"/>
                    <a:pt x="45" y="49"/>
                    <a:pt x="46" y="49"/>
                  </a:cubicBezTo>
                  <a:cubicBezTo>
                    <a:pt x="46" y="49"/>
                    <a:pt x="46" y="49"/>
                    <a:pt x="46" y="49"/>
                  </a:cubicBezTo>
                  <a:cubicBezTo>
                    <a:pt x="47" y="48"/>
                    <a:pt x="48" y="48"/>
                    <a:pt x="49" y="48"/>
                  </a:cubicBezTo>
                  <a:cubicBezTo>
                    <a:pt x="49" y="48"/>
                    <a:pt x="49" y="48"/>
                    <a:pt x="50" y="48"/>
                  </a:cubicBezTo>
                  <a:cubicBezTo>
                    <a:pt x="50" y="48"/>
                    <a:pt x="51" y="48"/>
                    <a:pt x="51" y="48"/>
                  </a:cubicBezTo>
                  <a:cubicBezTo>
                    <a:pt x="51" y="47"/>
                    <a:pt x="52" y="47"/>
                    <a:pt x="52" y="47"/>
                  </a:cubicBezTo>
                  <a:cubicBezTo>
                    <a:pt x="52" y="47"/>
                    <a:pt x="52" y="47"/>
                    <a:pt x="53" y="47"/>
                  </a:cubicBezTo>
                  <a:cubicBezTo>
                    <a:pt x="53" y="47"/>
                    <a:pt x="53" y="46"/>
                    <a:pt x="53" y="46"/>
                  </a:cubicBezTo>
                  <a:cubicBezTo>
                    <a:pt x="54" y="46"/>
                    <a:pt x="54" y="46"/>
                    <a:pt x="54" y="45"/>
                  </a:cubicBezTo>
                  <a:cubicBezTo>
                    <a:pt x="55" y="45"/>
                    <a:pt x="56" y="45"/>
                    <a:pt x="56" y="44"/>
                  </a:cubicBezTo>
                  <a:cubicBezTo>
                    <a:pt x="56" y="43"/>
                    <a:pt x="57" y="42"/>
                    <a:pt x="57" y="4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17" name="Freeform 16">
              <a:extLst>
                <a:ext uri="{FF2B5EF4-FFF2-40B4-BE49-F238E27FC236}">
                  <a16:creationId xmlns:a16="http://schemas.microsoft.com/office/drawing/2014/main" id="{78D69CB1-1CC2-D54B-FAA7-0DC1910345B0}"/>
                </a:ext>
              </a:extLst>
            </p:cNvPr>
            <p:cNvSpPr>
              <a:spLocks noEditPoints="1"/>
            </p:cNvSpPr>
            <p:nvPr/>
          </p:nvSpPr>
          <p:spPr bwMode="auto">
            <a:xfrm>
              <a:off x="1924" y="494"/>
              <a:ext cx="1395" cy="476"/>
            </a:xfrm>
            <a:custGeom>
              <a:avLst/>
              <a:gdLst>
                <a:gd name="T0" fmla="*/ 111 w 136"/>
                <a:gd name="T1" fmla="*/ 20 h 46"/>
                <a:gd name="T2" fmla="*/ 116 w 136"/>
                <a:gd name="T3" fmla="*/ 18 h 46"/>
                <a:gd name="T4" fmla="*/ 110 w 136"/>
                <a:gd name="T5" fmla="*/ 18 h 46"/>
                <a:gd name="T6" fmla="*/ 115 w 136"/>
                <a:gd name="T7" fmla="*/ 17 h 46"/>
                <a:gd name="T8" fmla="*/ 113 w 136"/>
                <a:gd name="T9" fmla="*/ 16 h 46"/>
                <a:gd name="T10" fmla="*/ 120 w 136"/>
                <a:gd name="T11" fmla="*/ 13 h 46"/>
                <a:gd name="T12" fmla="*/ 120 w 136"/>
                <a:gd name="T13" fmla="*/ 12 h 46"/>
                <a:gd name="T14" fmla="*/ 119 w 136"/>
                <a:gd name="T15" fmla="*/ 10 h 46"/>
                <a:gd name="T16" fmla="*/ 123 w 136"/>
                <a:gd name="T17" fmla="*/ 8 h 46"/>
                <a:gd name="T18" fmla="*/ 116 w 136"/>
                <a:gd name="T19" fmla="*/ 9 h 46"/>
                <a:gd name="T20" fmla="*/ 121 w 136"/>
                <a:gd name="T21" fmla="*/ 5 h 46"/>
                <a:gd name="T22" fmla="*/ 129 w 136"/>
                <a:gd name="T23" fmla="*/ 2 h 46"/>
                <a:gd name="T24" fmla="*/ 135 w 136"/>
                <a:gd name="T25" fmla="*/ 0 h 46"/>
                <a:gd name="T26" fmla="*/ 117 w 136"/>
                <a:gd name="T27" fmla="*/ 2 h 46"/>
                <a:gd name="T28" fmla="*/ 113 w 136"/>
                <a:gd name="T29" fmla="*/ 2 h 46"/>
                <a:gd name="T30" fmla="*/ 105 w 136"/>
                <a:gd name="T31" fmla="*/ 4 h 46"/>
                <a:gd name="T32" fmla="*/ 106 w 136"/>
                <a:gd name="T33" fmla="*/ 2 h 46"/>
                <a:gd name="T34" fmla="*/ 84 w 136"/>
                <a:gd name="T35" fmla="*/ 5 h 46"/>
                <a:gd name="T36" fmla="*/ 65 w 136"/>
                <a:gd name="T37" fmla="*/ 10 h 46"/>
                <a:gd name="T38" fmla="*/ 59 w 136"/>
                <a:gd name="T39" fmla="*/ 12 h 46"/>
                <a:gd name="T40" fmla="*/ 61 w 136"/>
                <a:gd name="T41" fmla="*/ 12 h 46"/>
                <a:gd name="T42" fmla="*/ 54 w 136"/>
                <a:gd name="T43" fmla="*/ 14 h 46"/>
                <a:gd name="T44" fmla="*/ 43 w 136"/>
                <a:gd name="T45" fmla="*/ 17 h 46"/>
                <a:gd name="T46" fmla="*/ 39 w 136"/>
                <a:gd name="T47" fmla="*/ 18 h 46"/>
                <a:gd name="T48" fmla="*/ 23 w 136"/>
                <a:gd name="T49" fmla="*/ 25 h 46"/>
                <a:gd name="T50" fmla="*/ 17 w 136"/>
                <a:gd name="T51" fmla="*/ 30 h 46"/>
                <a:gd name="T52" fmla="*/ 2 w 136"/>
                <a:gd name="T53" fmla="*/ 38 h 46"/>
                <a:gd name="T54" fmla="*/ 7 w 136"/>
                <a:gd name="T55" fmla="*/ 37 h 46"/>
                <a:gd name="T56" fmla="*/ 10 w 136"/>
                <a:gd name="T57" fmla="*/ 37 h 46"/>
                <a:gd name="T58" fmla="*/ 14 w 136"/>
                <a:gd name="T59" fmla="*/ 37 h 46"/>
                <a:gd name="T60" fmla="*/ 21 w 136"/>
                <a:gd name="T61" fmla="*/ 34 h 46"/>
                <a:gd name="T62" fmla="*/ 35 w 136"/>
                <a:gd name="T63" fmla="*/ 31 h 46"/>
                <a:gd name="T64" fmla="*/ 39 w 136"/>
                <a:gd name="T65" fmla="*/ 31 h 46"/>
                <a:gd name="T66" fmla="*/ 42 w 136"/>
                <a:gd name="T67" fmla="*/ 33 h 46"/>
                <a:gd name="T68" fmla="*/ 41 w 136"/>
                <a:gd name="T69" fmla="*/ 34 h 46"/>
                <a:gd name="T70" fmla="*/ 48 w 136"/>
                <a:gd name="T71" fmla="*/ 33 h 46"/>
                <a:gd name="T72" fmla="*/ 51 w 136"/>
                <a:gd name="T73" fmla="*/ 33 h 46"/>
                <a:gd name="T74" fmla="*/ 44 w 136"/>
                <a:gd name="T75" fmla="*/ 37 h 46"/>
                <a:gd name="T76" fmla="*/ 49 w 136"/>
                <a:gd name="T77" fmla="*/ 35 h 46"/>
                <a:gd name="T78" fmla="*/ 52 w 136"/>
                <a:gd name="T79" fmla="*/ 36 h 46"/>
                <a:gd name="T80" fmla="*/ 47 w 136"/>
                <a:gd name="T81" fmla="*/ 40 h 46"/>
                <a:gd name="T82" fmla="*/ 52 w 136"/>
                <a:gd name="T83" fmla="*/ 43 h 46"/>
                <a:gd name="T84" fmla="*/ 57 w 136"/>
                <a:gd name="T85" fmla="*/ 45 h 46"/>
                <a:gd name="T86" fmla="*/ 63 w 136"/>
                <a:gd name="T87" fmla="*/ 46 h 46"/>
                <a:gd name="T88" fmla="*/ 70 w 136"/>
                <a:gd name="T89" fmla="*/ 45 h 46"/>
                <a:gd name="T90" fmla="*/ 74 w 136"/>
                <a:gd name="T91" fmla="*/ 41 h 46"/>
                <a:gd name="T92" fmla="*/ 77 w 136"/>
                <a:gd name="T93" fmla="*/ 37 h 46"/>
                <a:gd name="T94" fmla="*/ 77 w 136"/>
                <a:gd name="T95" fmla="*/ 35 h 46"/>
                <a:gd name="T96" fmla="*/ 82 w 136"/>
                <a:gd name="T97" fmla="*/ 32 h 46"/>
                <a:gd name="T98" fmla="*/ 83 w 136"/>
                <a:gd name="T99" fmla="*/ 33 h 46"/>
                <a:gd name="T100" fmla="*/ 91 w 136"/>
                <a:gd name="T101" fmla="*/ 29 h 46"/>
                <a:gd name="T102" fmla="*/ 101 w 136"/>
                <a:gd name="T103" fmla="*/ 25 h 46"/>
                <a:gd name="T104" fmla="*/ 106 w 136"/>
                <a:gd name="T105" fmla="*/ 21 h 46"/>
                <a:gd name="T106" fmla="*/ 103 w 136"/>
                <a:gd name="T107"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6" h="46">
                  <a:moveTo>
                    <a:pt x="106" y="21"/>
                  </a:moveTo>
                  <a:cubicBezTo>
                    <a:pt x="106" y="21"/>
                    <a:pt x="107" y="21"/>
                    <a:pt x="108" y="21"/>
                  </a:cubicBezTo>
                  <a:cubicBezTo>
                    <a:pt x="108" y="20"/>
                    <a:pt x="108" y="20"/>
                    <a:pt x="108" y="20"/>
                  </a:cubicBezTo>
                  <a:cubicBezTo>
                    <a:pt x="108" y="20"/>
                    <a:pt x="108" y="19"/>
                    <a:pt x="109" y="19"/>
                  </a:cubicBezTo>
                  <a:cubicBezTo>
                    <a:pt x="110" y="19"/>
                    <a:pt x="110" y="19"/>
                    <a:pt x="111" y="20"/>
                  </a:cubicBezTo>
                  <a:cubicBezTo>
                    <a:pt x="112" y="20"/>
                    <a:pt x="112" y="20"/>
                    <a:pt x="113" y="20"/>
                  </a:cubicBezTo>
                  <a:cubicBezTo>
                    <a:pt x="114" y="20"/>
                    <a:pt x="114" y="20"/>
                    <a:pt x="115" y="19"/>
                  </a:cubicBezTo>
                  <a:cubicBezTo>
                    <a:pt x="115" y="20"/>
                    <a:pt x="116" y="20"/>
                    <a:pt x="116" y="20"/>
                  </a:cubicBezTo>
                  <a:cubicBezTo>
                    <a:pt x="116" y="19"/>
                    <a:pt x="117" y="19"/>
                    <a:pt x="117" y="19"/>
                  </a:cubicBezTo>
                  <a:cubicBezTo>
                    <a:pt x="117" y="19"/>
                    <a:pt x="116" y="19"/>
                    <a:pt x="116" y="18"/>
                  </a:cubicBezTo>
                  <a:cubicBezTo>
                    <a:pt x="116" y="18"/>
                    <a:pt x="116" y="18"/>
                    <a:pt x="115" y="18"/>
                  </a:cubicBezTo>
                  <a:cubicBezTo>
                    <a:pt x="115" y="18"/>
                    <a:pt x="115" y="18"/>
                    <a:pt x="115" y="18"/>
                  </a:cubicBezTo>
                  <a:cubicBezTo>
                    <a:pt x="115" y="18"/>
                    <a:pt x="115" y="18"/>
                    <a:pt x="114" y="18"/>
                  </a:cubicBezTo>
                  <a:cubicBezTo>
                    <a:pt x="113" y="18"/>
                    <a:pt x="113" y="17"/>
                    <a:pt x="111" y="18"/>
                  </a:cubicBezTo>
                  <a:cubicBezTo>
                    <a:pt x="111" y="18"/>
                    <a:pt x="110" y="18"/>
                    <a:pt x="110" y="18"/>
                  </a:cubicBezTo>
                  <a:cubicBezTo>
                    <a:pt x="109" y="17"/>
                    <a:pt x="109" y="17"/>
                    <a:pt x="108" y="17"/>
                  </a:cubicBezTo>
                  <a:cubicBezTo>
                    <a:pt x="108" y="17"/>
                    <a:pt x="108" y="17"/>
                    <a:pt x="108" y="17"/>
                  </a:cubicBezTo>
                  <a:cubicBezTo>
                    <a:pt x="108" y="17"/>
                    <a:pt x="108" y="17"/>
                    <a:pt x="108" y="17"/>
                  </a:cubicBezTo>
                  <a:cubicBezTo>
                    <a:pt x="109" y="16"/>
                    <a:pt x="109" y="16"/>
                    <a:pt x="110" y="17"/>
                  </a:cubicBezTo>
                  <a:cubicBezTo>
                    <a:pt x="111" y="17"/>
                    <a:pt x="114" y="17"/>
                    <a:pt x="115" y="17"/>
                  </a:cubicBezTo>
                  <a:cubicBezTo>
                    <a:pt x="115" y="17"/>
                    <a:pt x="116" y="17"/>
                    <a:pt x="115" y="17"/>
                  </a:cubicBezTo>
                  <a:cubicBezTo>
                    <a:pt x="115" y="16"/>
                    <a:pt x="115" y="16"/>
                    <a:pt x="115" y="16"/>
                  </a:cubicBezTo>
                  <a:cubicBezTo>
                    <a:pt x="115" y="16"/>
                    <a:pt x="115" y="16"/>
                    <a:pt x="116" y="16"/>
                  </a:cubicBezTo>
                  <a:cubicBezTo>
                    <a:pt x="114" y="16"/>
                    <a:pt x="113" y="16"/>
                    <a:pt x="111" y="16"/>
                  </a:cubicBezTo>
                  <a:cubicBezTo>
                    <a:pt x="112" y="16"/>
                    <a:pt x="112" y="15"/>
                    <a:pt x="113" y="16"/>
                  </a:cubicBezTo>
                  <a:cubicBezTo>
                    <a:pt x="114" y="16"/>
                    <a:pt x="115" y="15"/>
                    <a:pt x="116" y="15"/>
                  </a:cubicBezTo>
                  <a:cubicBezTo>
                    <a:pt x="116" y="15"/>
                    <a:pt x="117" y="15"/>
                    <a:pt x="117" y="15"/>
                  </a:cubicBezTo>
                  <a:cubicBezTo>
                    <a:pt x="118" y="15"/>
                    <a:pt x="119" y="15"/>
                    <a:pt x="119" y="14"/>
                  </a:cubicBezTo>
                  <a:cubicBezTo>
                    <a:pt x="119" y="14"/>
                    <a:pt x="118" y="14"/>
                    <a:pt x="117" y="14"/>
                  </a:cubicBezTo>
                  <a:cubicBezTo>
                    <a:pt x="118" y="14"/>
                    <a:pt x="119" y="13"/>
                    <a:pt x="120" y="13"/>
                  </a:cubicBezTo>
                  <a:cubicBezTo>
                    <a:pt x="121" y="13"/>
                    <a:pt x="121" y="13"/>
                    <a:pt x="122" y="12"/>
                  </a:cubicBezTo>
                  <a:cubicBezTo>
                    <a:pt x="121" y="13"/>
                    <a:pt x="119" y="13"/>
                    <a:pt x="118" y="13"/>
                  </a:cubicBezTo>
                  <a:cubicBezTo>
                    <a:pt x="118" y="12"/>
                    <a:pt x="118" y="12"/>
                    <a:pt x="118" y="12"/>
                  </a:cubicBezTo>
                  <a:cubicBezTo>
                    <a:pt x="119" y="12"/>
                    <a:pt x="119" y="12"/>
                    <a:pt x="120" y="12"/>
                  </a:cubicBezTo>
                  <a:cubicBezTo>
                    <a:pt x="120" y="12"/>
                    <a:pt x="120" y="12"/>
                    <a:pt x="120" y="12"/>
                  </a:cubicBezTo>
                  <a:cubicBezTo>
                    <a:pt x="121" y="12"/>
                    <a:pt x="121" y="12"/>
                    <a:pt x="121" y="11"/>
                  </a:cubicBezTo>
                  <a:cubicBezTo>
                    <a:pt x="121" y="11"/>
                    <a:pt x="121" y="11"/>
                    <a:pt x="121" y="11"/>
                  </a:cubicBezTo>
                  <a:cubicBezTo>
                    <a:pt x="120" y="11"/>
                    <a:pt x="120" y="11"/>
                    <a:pt x="120" y="11"/>
                  </a:cubicBezTo>
                  <a:cubicBezTo>
                    <a:pt x="119" y="11"/>
                    <a:pt x="120" y="10"/>
                    <a:pt x="120" y="10"/>
                  </a:cubicBezTo>
                  <a:cubicBezTo>
                    <a:pt x="120" y="10"/>
                    <a:pt x="119" y="10"/>
                    <a:pt x="119" y="10"/>
                  </a:cubicBezTo>
                  <a:cubicBezTo>
                    <a:pt x="118" y="10"/>
                    <a:pt x="116" y="11"/>
                    <a:pt x="115" y="10"/>
                  </a:cubicBezTo>
                  <a:cubicBezTo>
                    <a:pt x="116" y="10"/>
                    <a:pt x="116" y="10"/>
                    <a:pt x="117" y="10"/>
                  </a:cubicBezTo>
                  <a:cubicBezTo>
                    <a:pt x="118" y="9"/>
                    <a:pt x="118" y="9"/>
                    <a:pt x="119" y="9"/>
                  </a:cubicBezTo>
                  <a:cubicBezTo>
                    <a:pt x="120" y="9"/>
                    <a:pt x="122" y="9"/>
                    <a:pt x="123" y="9"/>
                  </a:cubicBezTo>
                  <a:cubicBezTo>
                    <a:pt x="123" y="9"/>
                    <a:pt x="123" y="8"/>
                    <a:pt x="123" y="8"/>
                  </a:cubicBezTo>
                  <a:cubicBezTo>
                    <a:pt x="123" y="8"/>
                    <a:pt x="122" y="8"/>
                    <a:pt x="122" y="8"/>
                  </a:cubicBezTo>
                  <a:cubicBezTo>
                    <a:pt x="121" y="8"/>
                    <a:pt x="121" y="9"/>
                    <a:pt x="120" y="8"/>
                  </a:cubicBezTo>
                  <a:cubicBezTo>
                    <a:pt x="120" y="8"/>
                    <a:pt x="119" y="8"/>
                    <a:pt x="119" y="8"/>
                  </a:cubicBezTo>
                  <a:cubicBezTo>
                    <a:pt x="118" y="9"/>
                    <a:pt x="118" y="9"/>
                    <a:pt x="118" y="8"/>
                  </a:cubicBezTo>
                  <a:cubicBezTo>
                    <a:pt x="117" y="8"/>
                    <a:pt x="116" y="8"/>
                    <a:pt x="116" y="9"/>
                  </a:cubicBezTo>
                  <a:cubicBezTo>
                    <a:pt x="116" y="9"/>
                    <a:pt x="115" y="9"/>
                    <a:pt x="115" y="9"/>
                  </a:cubicBezTo>
                  <a:cubicBezTo>
                    <a:pt x="115" y="9"/>
                    <a:pt x="115" y="8"/>
                    <a:pt x="115" y="8"/>
                  </a:cubicBezTo>
                  <a:cubicBezTo>
                    <a:pt x="116" y="8"/>
                    <a:pt x="116" y="6"/>
                    <a:pt x="119" y="6"/>
                  </a:cubicBezTo>
                  <a:cubicBezTo>
                    <a:pt x="119" y="6"/>
                    <a:pt x="119" y="6"/>
                    <a:pt x="120" y="6"/>
                  </a:cubicBezTo>
                  <a:cubicBezTo>
                    <a:pt x="120" y="5"/>
                    <a:pt x="120" y="5"/>
                    <a:pt x="121" y="5"/>
                  </a:cubicBezTo>
                  <a:cubicBezTo>
                    <a:pt x="122" y="5"/>
                    <a:pt x="122" y="5"/>
                    <a:pt x="122" y="5"/>
                  </a:cubicBezTo>
                  <a:cubicBezTo>
                    <a:pt x="123" y="4"/>
                    <a:pt x="124" y="4"/>
                    <a:pt x="124" y="4"/>
                  </a:cubicBezTo>
                  <a:cubicBezTo>
                    <a:pt x="125" y="3"/>
                    <a:pt x="126" y="3"/>
                    <a:pt x="127" y="3"/>
                  </a:cubicBezTo>
                  <a:cubicBezTo>
                    <a:pt x="125" y="3"/>
                    <a:pt x="124" y="3"/>
                    <a:pt x="123" y="3"/>
                  </a:cubicBezTo>
                  <a:cubicBezTo>
                    <a:pt x="125" y="3"/>
                    <a:pt x="127" y="2"/>
                    <a:pt x="129" y="2"/>
                  </a:cubicBezTo>
                  <a:cubicBezTo>
                    <a:pt x="130" y="2"/>
                    <a:pt x="131" y="2"/>
                    <a:pt x="130" y="2"/>
                  </a:cubicBezTo>
                  <a:cubicBezTo>
                    <a:pt x="130" y="1"/>
                    <a:pt x="131" y="1"/>
                    <a:pt x="131" y="1"/>
                  </a:cubicBezTo>
                  <a:cubicBezTo>
                    <a:pt x="132" y="1"/>
                    <a:pt x="134" y="1"/>
                    <a:pt x="135" y="1"/>
                  </a:cubicBezTo>
                  <a:cubicBezTo>
                    <a:pt x="135" y="0"/>
                    <a:pt x="136" y="0"/>
                    <a:pt x="136" y="0"/>
                  </a:cubicBezTo>
                  <a:cubicBezTo>
                    <a:pt x="136" y="0"/>
                    <a:pt x="135" y="0"/>
                    <a:pt x="135" y="0"/>
                  </a:cubicBezTo>
                  <a:cubicBezTo>
                    <a:pt x="133" y="0"/>
                    <a:pt x="132" y="0"/>
                    <a:pt x="130" y="0"/>
                  </a:cubicBezTo>
                  <a:cubicBezTo>
                    <a:pt x="129" y="0"/>
                    <a:pt x="127" y="0"/>
                    <a:pt x="126" y="1"/>
                  </a:cubicBezTo>
                  <a:cubicBezTo>
                    <a:pt x="125" y="1"/>
                    <a:pt x="125" y="1"/>
                    <a:pt x="124" y="1"/>
                  </a:cubicBezTo>
                  <a:cubicBezTo>
                    <a:pt x="123" y="2"/>
                    <a:pt x="123" y="2"/>
                    <a:pt x="122" y="2"/>
                  </a:cubicBezTo>
                  <a:cubicBezTo>
                    <a:pt x="120" y="2"/>
                    <a:pt x="118" y="2"/>
                    <a:pt x="117" y="2"/>
                  </a:cubicBezTo>
                  <a:cubicBezTo>
                    <a:pt x="116" y="3"/>
                    <a:pt x="116" y="3"/>
                    <a:pt x="115" y="3"/>
                  </a:cubicBezTo>
                  <a:cubicBezTo>
                    <a:pt x="114" y="3"/>
                    <a:pt x="112" y="4"/>
                    <a:pt x="111" y="4"/>
                  </a:cubicBezTo>
                  <a:cubicBezTo>
                    <a:pt x="111" y="5"/>
                    <a:pt x="110" y="5"/>
                    <a:pt x="109" y="5"/>
                  </a:cubicBezTo>
                  <a:cubicBezTo>
                    <a:pt x="111" y="4"/>
                    <a:pt x="112" y="4"/>
                    <a:pt x="113" y="3"/>
                  </a:cubicBezTo>
                  <a:cubicBezTo>
                    <a:pt x="113" y="3"/>
                    <a:pt x="114" y="3"/>
                    <a:pt x="113" y="2"/>
                  </a:cubicBezTo>
                  <a:cubicBezTo>
                    <a:pt x="113" y="2"/>
                    <a:pt x="113" y="2"/>
                    <a:pt x="112" y="2"/>
                  </a:cubicBezTo>
                  <a:cubicBezTo>
                    <a:pt x="111" y="2"/>
                    <a:pt x="110" y="2"/>
                    <a:pt x="109" y="3"/>
                  </a:cubicBezTo>
                  <a:cubicBezTo>
                    <a:pt x="109" y="3"/>
                    <a:pt x="108" y="3"/>
                    <a:pt x="108" y="3"/>
                  </a:cubicBezTo>
                  <a:cubicBezTo>
                    <a:pt x="107" y="4"/>
                    <a:pt x="107" y="4"/>
                    <a:pt x="106" y="4"/>
                  </a:cubicBezTo>
                  <a:cubicBezTo>
                    <a:pt x="106" y="4"/>
                    <a:pt x="106" y="4"/>
                    <a:pt x="105" y="4"/>
                  </a:cubicBezTo>
                  <a:cubicBezTo>
                    <a:pt x="105" y="4"/>
                    <a:pt x="104" y="4"/>
                    <a:pt x="104" y="4"/>
                  </a:cubicBezTo>
                  <a:cubicBezTo>
                    <a:pt x="106" y="3"/>
                    <a:pt x="108" y="3"/>
                    <a:pt x="110" y="2"/>
                  </a:cubicBezTo>
                  <a:cubicBezTo>
                    <a:pt x="111" y="2"/>
                    <a:pt x="113" y="2"/>
                    <a:pt x="114" y="1"/>
                  </a:cubicBezTo>
                  <a:cubicBezTo>
                    <a:pt x="113" y="1"/>
                    <a:pt x="111" y="1"/>
                    <a:pt x="109" y="2"/>
                  </a:cubicBezTo>
                  <a:cubicBezTo>
                    <a:pt x="108" y="2"/>
                    <a:pt x="107" y="2"/>
                    <a:pt x="106" y="2"/>
                  </a:cubicBezTo>
                  <a:cubicBezTo>
                    <a:pt x="106" y="2"/>
                    <a:pt x="105" y="2"/>
                    <a:pt x="105" y="2"/>
                  </a:cubicBezTo>
                  <a:cubicBezTo>
                    <a:pt x="105" y="2"/>
                    <a:pt x="104" y="2"/>
                    <a:pt x="104" y="2"/>
                  </a:cubicBezTo>
                  <a:cubicBezTo>
                    <a:pt x="103" y="2"/>
                    <a:pt x="103" y="2"/>
                    <a:pt x="103" y="2"/>
                  </a:cubicBezTo>
                  <a:cubicBezTo>
                    <a:pt x="98" y="3"/>
                    <a:pt x="93" y="3"/>
                    <a:pt x="88" y="4"/>
                  </a:cubicBezTo>
                  <a:cubicBezTo>
                    <a:pt x="86" y="4"/>
                    <a:pt x="85" y="5"/>
                    <a:pt x="84" y="5"/>
                  </a:cubicBezTo>
                  <a:cubicBezTo>
                    <a:pt x="81" y="6"/>
                    <a:pt x="78" y="6"/>
                    <a:pt x="75" y="7"/>
                  </a:cubicBezTo>
                  <a:cubicBezTo>
                    <a:pt x="74" y="7"/>
                    <a:pt x="75" y="7"/>
                    <a:pt x="75" y="8"/>
                  </a:cubicBezTo>
                  <a:cubicBezTo>
                    <a:pt x="75" y="8"/>
                    <a:pt x="74" y="8"/>
                    <a:pt x="74" y="8"/>
                  </a:cubicBezTo>
                  <a:cubicBezTo>
                    <a:pt x="73" y="8"/>
                    <a:pt x="73" y="8"/>
                    <a:pt x="72" y="8"/>
                  </a:cubicBezTo>
                  <a:cubicBezTo>
                    <a:pt x="70" y="9"/>
                    <a:pt x="67" y="9"/>
                    <a:pt x="65" y="10"/>
                  </a:cubicBezTo>
                  <a:cubicBezTo>
                    <a:pt x="63" y="10"/>
                    <a:pt x="60" y="11"/>
                    <a:pt x="58" y="12"/>
                  </a:cubicBezTo>
                  <a:cubicBezTo>
                    <a:pt x="57" y="12"/>
                    <a:pt x="57" y="12"/>
                    <a:pt x="56" y="12"/>
                  </a:cubicBezTo>
                  <a:cubicBezTo>
                    <a:pt x="56" y="12"/>
                    <a:pt x="57" y="12"/>
                    <a:pt x="57" y="12"/>
                  </a:cubicBezTo>
                  <a:cubicBezTo>
                    <a:pt x="57" y="12"/>
                    <a:pt x="58" y="12"/>
                    <a:pt x="59" y="12"/>
                  </a:cubicBezTo>
                  <a:cubicBezTo>
                    <a:pt x="59" y="12"/>
                    <a:pt x="59" y="12"/>
                    <a:pt x="59" y="12"/>
                  </a:cubicBezTo>
                  <a:cubicBezTo>
                    <a:pt x="58" y="13"/>
                    <a:pt x="56" y="13"/>
                    <a:pt x="55" y="13"/>
                  </a:cubicBezTo>
                  <a:cubicBezTo>
                    <a:pt x="55" y="13"/>
                    <a:pt x="56" y="14"/>
                    <a:pt x="57" y="13"/>
                  </a:cubicBezTo>
                  <a:cubicBezTo>
                    <a:pt x="58" y="13"/>
                    <a:pt x="58" y="13"/>
                    <a:pt x="59" y="13"/>
                  </a:cubicBezTo>
                  <a:cubicBezTo>
                    <a:pt x="59" y="13"/>
                    <a:pt x="60" y="13"/>
                    <a:pt x="61" y="12"/>
                  </a:cubicBezTo>
                  <a:cubicBezTo>
                    <a:pt x="61" y="12"/>
                    <a:pt x="61" y="12"/>
                    <a:pt x="61" y="12"/>
                  </a:cubicBezTo>
                  <a:cubicBezTo>
                    <a:pt x="62" y="13"/>
                    <a:pt x="62" y="13"/>
                    <a:pt x="62" y="13"/>
                  </a:cubicBezTo>
                  <a:cubicBezTo>
                    <a:pt x="61" y="13"/>
                    <a:pt x="61" y="13"/>
                    <a:pt x="60" y="13"/>
                  </a:cubicBezTo>
                  <a:cubicBezTo>
                    <a:pt x="60" y="13"/>
                    <a:pt x="59" y="14"/>
                    <a:pt x="58" y="13"/>
                  </a:cubicBezTo>
                  <a:cubicBezTo>
                    <a:pt x="57" y="13"/>
                    <a:pt x="57" y="14"/>
                    <a:pt x="56" y="14"/>
                  </a:cubicBezTo>
                  <a:cubicBezTo>
                    <a:pt x="55" y="14"/>
                    <a:pt x="54" y="14"/>
                    <a:pt x="54" y="14"/>
                  </a:cubicBezTo>
                  <a:cubicBezTo>
                    <a:pt x="53" y="14"/>
                    <a:pt x="52" y="15"/>
                    <a:pt x="52" y="15"/>
                  </a:cubicBezTo>
                  <a:cubicBezTo>
                    <a:pt x="50" y="15"/>
                    <a:pt x="49" y="15"/>
                    <a:pt x="47" y="16"/>
                  </a:cubicBezTo>
                  <a:cubicBezTo>
                    <a:pt x="48" y="16"/>
                    <a:pt x="48" y="16"/>
                    <a:pt x="49" y="16"/>
                  </a:cubicBezTo>
                  <a:cubicBezTo>
                    <a:pt x="48" y="16"/>
                    <a:pt x="47" y="17"/>
                    <a:pt x="46" y="17"/>
                  </a:cubicBezTo>
                  <a:cubicBezTo>
                    <a:pt x="45" y="17"/>
                    <a:pt x="44" y="17"/>
                    <a:pt x="43" y="17"/>
                  </a:cubicBezTo>
                  <a:cubicBezTo>
                    <a:pt x="42" y="17"/>
                    <a:pt x="42" y="18"/>
                    <a:pt x="42" y="18"/>
                  </a:cubicBezTo>
                  <a:cubicBezTo>
                    <a:pt x="43" y="18"/>
                    <a:pt x="42" y="18"/>
                    <a:pt x="42" y="19"/>
                  </a:cubicBezTo>
                  <a:cubicBezTo>
                    <a:pt x="42" y="19"/>
                    <a:pt x="41" y="19"/>
                    <a:pt x="41" y="19"/>
                  </a:cubicBezTo>
                  <a:cubicBezTo>
                    <a:pt x="41" y="19"/>
                    <a:pt x="41" y="19"/>
                    <a:pt x="41" y="19"/>
                  </a:cubicBezTo>
                  <a:cubicBezTo>
                    <a:pt x="41" y="18"/>
                    <a:pt x="40" y="18"/>
                    <a:pt x="39" y="18"/>
                  </a:cubicBezTo>
                  <a:cubicBezTo>
                    <a:pt x="37" y="19"/>
                    <a:pt x="35" y="20"/>
                    <a:pt x="33" y="21"/>
                  </a:cubicBezTo>
                  <a:cubicBezTo>
                    <a:pt x="31" y="22"/>
                    <a:pt x="28" y="22"/>
                    <a:pt x="25" y="23"/>
                  </a:cubicBezTo>
                  <a:cubicBezTo>
                    <a:pt x="24" y="24"/>
                    <a:pt x="24" y="24"/>
                    <a:pt x="25" y="24"/>
                  </a:cubicBezTo>
                  <a:cubicBezTo>
                    <a:pt x="25" y="25"/>
                    <a:pt x="24" y="25"/>
                    <a:pt x="24" y="25"/>
                  </a:cubicBezTo>
                  <a:cubicBezTo>
                    <a:pt x="24" y="25"/>
                    <a:pt x="23" y="25"/>
                    <a:pt x="23" y="25"/>
                  </a:cubicBezTo>
                  <a:cubicBezTo>
                    <a:pt x="20" y="26"/>
                    <a:pt x="18" y="27"/>
                    <a:pt x="15" y="29"/>
                  </a:cubicBezTo>
                  <a:cubicBezTo>
                    <a:pt x="14" y="29"/>
                    <a:pt x="13" y="30"/>
                    <a:pt x="11" y="31"/>
                  </a:cubicBezTo>
                  <a:cubicBezTo>
                    <a:pt x="12" y="31"/>
                    <a:pt x="12" y="31"/>
                    <a:pt x="12" y="31"/>
                  </a:cubicBezTo>
                  <a:cubicBezTo>
                    <a:pt x="14" y="30"/>
                    <a:pt x="15" y="30"/>
                    <a:pt x="16" y="30"/>
                  </a:cubicBezTo>
                  <a:cubicBezTo>
                    <a:pt x="17" y="29"/>
                    <a:pt x="17" y="30"/>
                    <a:pt x="17" y="30"/>
                  </a:cubicBezTo>
                  <a:cubicBezTo>
                    <a:pt x="17" y="30"/>
                    <a:pt x="16" y="31"/>
                    <a:pt x="16" y="31"/>
                  </a:cubicBezTo>
                  <a:cubicBezTo>
                    <a:pt x="15" y="32"/>
                    <a:pt x="13" y="32"/>
                    <a:pt x="12" y="33"/>
                  </a:cubicBezTo>
                  <a:cubicBezTo>
                    <a:pt x="10" y="33"/>
                    <a:pt x="9" y="34"/>
                    <a:pt x="8" y="35"/>
                  </a:cubicBezTo>
                  <a:cubicBezTo>
                    <a:pt x="8" y="35"/>
                    <a:pt x="7" y="35"/>
                    <a:pt x="7" y="35"/>
                  </a:cubicBezTo>
                  <a:cubicBezTo>
                    <a:pt x="5" y="36"/>
                    <a:pt x="3" y="37"/>
                    <a:pt x="2" y="38"/>
                  </a:cubicBezTo>
                  <a:cubicBezTo>
                    <a:pt x="1" y="38"/>
                    <a:pt x="1" y="38"/>
                    <a:pt x="1" y="38"/>
                  </a:cubicBezTo>
                  <a:cubicBezTo>
                    <a:pt x="0" y="38"/>
                    <a:pt x="0" y="39"/>
                    <a:pt x="0" y="39"/>
                  </a:cubicBezTo>
                  <a:cubicBezTo>
                    <a:pt x="1" y="39"/>
                    <a:pt x="1" y="39"/>
                    <a:pt x="1" y="39"/>
                  </a:cubicBezTo>
                  <a:cubicBezTo>
                    <a:pt x="2" y="38"/>
                    <a:pt x="3" y="38"/>
                    <a:pt x="4" y="38"/>
                  </a:cubicBezTo>
                  <a:cubicBezTo>
                    <a:pt x="5" y="37"/>
                    <a:pt x="6" y="37"/>
                    <a:pt x="7" y="37"/>
                  </a:cubicBezTo>
                  <a:cubicBezTo>
                    <a:pt x="8" y="37"/>
                    <a:pt x="9" y="37"/>
                    <a:pt x="10" y="36"/>
                  </a:cubicBezTo>
                  <a:cubicBezTo>
                    <a:pt x="8" y="37"/>
                    <a:pt x="6" y="38"/>
                    <a:pt x="5" y="38"/>
                  </a:cubicBezTo>
                  <a:cubicBezTo>
                    <a:pt x="5" y="38"/>
                    <a:pt x="4" y="39"/>
                    <a:pt x="4" y="39"/>
                  </a:cubicBezTo>
                  <a:cubicBezTo>
                    <a:pt x="4" y="39"/>
                    <a:pt x="5" y="39"/>
                    <a:pt x="5" y="39"/>
                  </a:cubicBezTo>
                  <a:cubicBezTo>
                    <a:pt x="6" y="38"/>
                    <a:pt x="8" y="38"/>
                    <a:pt x="10" y="37"/>
                  </a:cubicBezTo>
                  <a:cubicBezTo>
                    <a:pt x="10" y="37"/>
                    <a:pt x="10" y="37"/>
                    <a:pt x="10" y="37"/>
                  </a:cubicBezTo>
                  <a:cubicBezTo>
                    <a:pt x="10" y="38"/>
                    <a:pt x="9" y="38"/>
                    <a:pt x="9" y="38"/>
                  </a:cubicBezTo>
                  <a:cubicBezTo>
                    <a:pt x="9" y="38"/>
                    <a:pt x="9" y="38"/>
                    <a:pt x="10" y="38"/>
                  </a:cubicBezTo>
                  <a:cubicBezTo>
                    <a:pt x="11" y="38"/>
                    <a:pt x="12" y="37"/>
                    <a:pt x="14" y="37"/>
                  </a:cubicBezTo>
                  <a:cubicBezTo>
                    <a:pt x="14" y="37"/>
                    <a:pt x="15" y="37"/>
                    <a:pt x="14" y="37"/>
                  </a:cubicBezTo>
                  <a:cubicBezTo>
                    <a:pt x="13" y="37"/>
                    <a:pt x="14" y="36"/>
                    <a:pt x="14" y="36"/>
                  </a:cubicBezTo>
                  <a:cubicBezTo>
                    <a:pt x="15" y="36"/>
                    <a:pt x="15" y="37"/>
                    <a:pt x="16" y="36"/>
                  </a:cubicBezTo>
                  <a:cubicBezTo>
                    <a:pt x="16" y="36"/>
                    <a:pt x="16" y="36"/>
                    <a:pt x="17" y="36"/>
                  </a:cubicBezTo>
                  <a:cubicBezTo>
                    <a:pt x="17" y="36"/>
                    <a:pt x="18" y="35"/>
                    <a:pt x="19" y="35"/>
                  </a:cubicBezTo>
                  <a:cubicBezTo>
                    <a:pt x="19" y="35"/>
                    <a:pt x="20" y="34"/>
                    <a:pt x="21" y="34"/>
                  </a:cubicBezTo>
                  <a:cubicBezTo>
                    <a:pt x="21" y="34"/>
                    <a:pt x="22" y="34"/>
                    <a:pt x="23" y="33"/>
                  </a:cubicBezTo>
                  <a:cubicBezTo>
                    <a:pt x="24" y="33"/>
                    <a:pt x="26" y="33"/>
                    <a:pt x="27" y="32"/>
                  </a:cubicBezTo>
                  <a:cubicBezTo>
                    <a:pt x="29" y="32"/>
                    <a:pt x="30" y="31"/>
                    <a:pt x="31" y="31"/>
                  </a:cubicBezTo>
                  <a:cubicBezTo>
                    <a:pt x="32" y="31"/>
                    <a:pt x="33" y="30"/>
                    <a:pt x="33" y="31"/>
                  </a:cubicBezTo>
                  <a:cubicBezTo>
                    <a:pt x="33" y="32"/>
                    <a:pt x="34" y="31"/>
                    <a:pt x="35" y="31"/>
                  </a:cubicBezTo>
                  <a:cubicBezTo>
                    <a:pt x="35" y="31"/>
                    <a:pt x="36" y="31"/>
                    <a:pt x="36" y="31"/>
                  </a:cubicBezTo>
                  <a:cubicBezTo>
                    <a:pt x="37" y="31"/>
                    <a:pt x="37" y="31"/>
                    <a:pt x="37" y="31"/>
                  </a:cubicBezTo>
                  <a:cubicBezTo>
                    <a:pt x="37" y="31"/>
                    <a:pt x="38" y="31"/>
                    <a:pt x="38" y="31"/>
                  </a:cubicBezTo>
                  <a:cubicBezTo>
                    <a:pt x="38" y="31"/>
                    <a:pt x="38" y="31"/>
                    <a:pt x="38" y="31"/>
                  </a:cubicBezTo>
                  <a:cubicBezTo>
                    <a:pt x="39" y="32"/>
                    <a:pt x="39" y="31"/>
                    <a:pt x="39" y="31"/>
                  </a:cubicBezTo>
                  <a:cubicBezTo>
                    <a:pt x="40" y="32"/>
                    <a:pt x="40" y="32"/>
                    <a:pt x="40" y="32"/>
                  </a:cubicBezTo>
                  <a:cubicBezTo>
                    <a:pt x="41" y="32"/>
                    <a:pt x="42" y="31"/>
                    <a:pt x="41" y="32"/>
                  </a:cubicBezTo>
                  <a:cubicBezTo>
                    <a:pt x="41" y="32"/>
                    <a:pt x="42" y="32"/>
                    <a:pt x="42" y="32"/>
                  </a:cubicBezTo>
                  <a:cubicBezTo>
                    <a:pt x="42" y="32"/>
                    <a:pt x="42" y="32"/>
                    <a:pt x="42" y="32"/>
                  </a:cubicBezTo>
                  <a:cubicBezTo>
                    <a:pt x="43" y="32"/>
                    <a:pt x="43" y="33"/>
                    <a:pt x="42" y="33"/>
                  </a:cubicBezTo>
                  <a:cubicBezTo>
                    <a:pt x="42" y="33"/>
                    <a:pt x="42" y="33"/>
                    <a:pt x="42" y="33"/>
                  </a:cubicBezTo>
                  <a:cubicBezTo>
                    <a:pt x="41" y="33"/>
                    <a:pt x="41" y="33"/>
                    <a:pt x="41" y="33"/>
                  </a:cubicBezTo>
                  <a:cubicBezTo>
                    <a:pt x="41" y="33"/>
                    <a:pt x="42" y="33"/>
                    <a:pt x="42" y="33"/>
                  </a:cubicBezTo>
                  <a:cubicBezTo>
                    <a:pt x="42" y="33"/>
                    <a:pt x="42" y="33"/>
                    <a:pt x="42" y="34"/>
                  </a:cubicBezTo>
                  <a:cubicBezTo>
                    <a:pt x="41" y="34"/>
                    <a:pt x="42" y="34"/>
                    <a:pt x="41" y="34"/>
                  </a:cubicBezTo>
                  <a:cubicBezTo>
                    <a:pt x="41" y="35"/>
                    <a:pt x="42" y="35"/>
                    <a:pt x="42" y="35"/>
                  </a:cubicBezTo>
                  <a:cubicBezTo>
                    <a:pt x="43" y="34"/>
                    <a:pt x="44" y="34"/>
                    <a:pt x="45" y="34"/>
                  </a:cubicBezTo>
                  <a:cubicBezTo>
                    <a:pt x="45" y="34"/>
                    <a:pt x="45" y="33"/>
                    <a:pt x="46" y="33"/>
                  </a:cubicBezTo>
                  <a:cubicBezTo>
                    <a:pt x="47" y="33"/>
                    <a:pt x="47" y="33"/>
                    <a:pt x="48" y="32"/>
                  </a:cubicBezTo>
                  <a:cubicBezTo>
                    <a:pt x="48" y="32"/>
                    <a:pt x="48" y="32"/>
                    <a:pt x="48" y="33"/>
                  </a:cubicBezTo>
                  <a:cubicBezTo>
                    <a:pt x="48" y="33"/>
                    <a:pt x="47" y="33"/>
                    <a:pt x="47" y="34"/>
                  </a:cubicBezTo>
                  <a:cubicBezTo>
                    <a:pt x="48" y="33"/>
                    <a:pt x="49" y="33"/>
                    <a:pt x="51" y="33"/>
                  </a:cubicBezTo>
                  <a:cubicBezTo>
                    <a:pt x="51" y="33"/>
                    <a:pt x="51" y="33"/>
                    <a:pt x="51" y="33"/>
                  </a:cubicBezTo>
                  <a:cubicBezTo>
                    <a:pt x="52" y="33"/>
                    <a:pt x="52" y="33"/>
                    <a:pt x="52" y="33"/>
                  </a:cubicBezTo>
                  <a:cubicBezTo>
                    <a:pt x="52" y="33"/>
                    <a:pt x="51" y="33"/>
                    <a:pt x="51" y="33"/>
                  </a:cubicBezTo>
                  <a:cubicBezTo>
                    <a:pt x="50" y="34"/>
                    <a:pt x="50" y="34"/>
                    <a:pt x="49" y="34"/>
                  </a:cubicBezTo>
                  <a:cubicBezTo>
                    <a:pt x="47" y="34"/>
                    <a:pt x="46" y="34"/>
                    <a:pt x="44" y="35"/>
                  </a:cubicBezTo>
                  <a:cubicBezTo>
                    <a:pt x="44" y="35"/>
                    <a:pt x="45" y="35"/>
                    <a:pt x="46" y="35"/>
                  </a:cubicBezTo>
                  <a:cubicBezTo>
                    <a:pt x="45" y="36"/>
                    <a:pt x="44" y="36"/>
                    <a:pt x="44" y="36"/>
                  </a:cubicBezTo>
                  <a:cubicBezTo>
                    <a:pt x="44" y="36"/>
                    <a:pt x="44" y="37"/>
                    <a:pt x="44" y="37"/>
                  </a:cubicBezTo>
                  <a:cubicBezTo>
                    <a:pt x="44" y="37"/>
                    <a:pt x="45" y="37"/>
                    <a:pt x="45" y="37"/>
                  </a:cubicBezTo>
                  <a:cubicBezTo>
                    <a:pt x="45" y="37"/>
                    <a:pt x="46" y="37"/>
                    <a:pt x="46" y="37"/>
                  </a:cubicBezTo>
                  <a:cubicBezTo>
                    <a:pt x="47" y="37"/>
                    <a:pt x="48" y="36"/>
                    <a:pt x="49" y="36"/>
                  </a:cubicBezTo>
                  <a:cubicBezTo>
                    <a:pt x="50" y="36"/>
                    <a:pt x="50" y="35"/>
                    <a:pt x="50" y="35"/>
                  </a:cubicBezTo>
                  <a:cubicBezTo>
                    <a:pt x="50" y="35"/>
                    <a:pt x="50" y="35"/>
                    <a:pt x="49" y="35"/>
                  </a:cubicBezTo>
                  <a:cubicBezTo>
                    <a:pt x="49" y="35"/>
                    <a:pt x="48" y="35"/>
                    <a:pt x="48" y="35"/>
                  </a:cubicBezTo>
                  <a:cubicBezTo>
                    <a:pt x="48" y="35"/>
                    <a:pt x="48" y="35"/>
                    <a:pt x="47" y="35"/>
                  </a:cubicBezTo>
                  <a:cubicBezTo>
                    <a:pt x="47" y="35"/>
                    <a:pt x="47" y="35"/>
                    <a:pt x="47" y="35"/>
                  </a:cubicBezTo>
                  <a:cubicBezTo>
                    <a:pt x="49" y="35"/>
                    <a:pt x="50" y="34"/>
                    <a:pt x="52" y="34"/>
                  </a:cubicBezTo>
                  <a:cubicBezTo>
                    <a:pt x="52" y="35"/>
                    <a:pt x="53" y="35"/>
                    <a:pt x="52" y="36"/>
                  </a:cubicBezTo>
                  <a:cubicBezTo>
                    <a:pt x="52" y="36"/>
                    <a:pt x="52" y="36"/>
                    <a:pt x="53" y="36"/>
                  </a:cubicBezTo>
                  <a:cubicBezTo>
                    <a:pt x="52" y="36"/>
                    <a:pt x="51" y="36"/>
                    <a:pt x="51" y="37"/>
                  </a:cubicBezTo>
                  <a:cubicBezTo>
                    <a:pt x="50" y="37"/>
                    <a:pt x="49" y="37"/>
                    <a:pt x="48" y="38"/>
                  </a:cubicBezTo>
                  <a:cubicBezTo>
                    <a:pt x="48" y="38"/>
                    <a:pt x="48" y="39"/>
                    <a:pt x="48" y="39"/>
                  </a:cubicBezTo>
                  <a:cubicBezTo>
                    <a:pt x="47" y="39"/>
                    <a:pt x="47" y="40"/>
                    <a:pt x="47" y="40"/>
                  </a:cubicBezTo>
                  <a:cubicBezTo>
                    <a:pt x="47" y="40"/>
                    <a:pt x="48" y="40"/>
                    <a:pt x="49" y="40"/>
                  </a:cubicBezTo>
                  <a:cubicBezTo>
                    <a:pt x="49" y="40"/>
                    <a:pt x="49" y="40"/>
                    <a:pt x="49" y="40"/>
                  </a:cubicBezTo>
                  <a:cubicBezTo>
                    <a:pt x="49" y="40"/>
                    <a:pt x="48" y="41"/>
                    <a:pt x="48" y="41"/>
                  </a:cubicBezTo>
                  <a:cubicBezTo>
                    <a:pt x="48" y="41"/>
                    <a:pt x="49" y="41"/>
                    <a:pt x="49" y="41"/>
                  </a:cubicBezTo>
                  <a:cubicBezTo>
                    <a:pt x="51" y="41"/>
                    <a:pt x="52" y="42"/>
                    <a:pt x="52" y="43"/>
                  </a:cubicBezTo>
                  <a:cubicBezTo>
                    <a:pt x="52" y="43"/>
                    <a:pt x="52" y="43"/>
                    <a:pt x="52" y="43"/>
                  </a:cubicBezTo>
                  <a:cubicBezTo>
                    <a:pt x="53" y="43"/>
                    <a:pt x="53" y="42"/>
                    <a:pt x="55" y="42"/>
                  </a:cubicBezTo>
                  <a:cubicBezTo>
                    <a:pt x="55" y="42"/>
                    <a:pt x="55" y="42"/>
                    <a:pt x="55" y="42"/>
                  </a:cubicBezTo>
                  <a:cubicBezTo>
                    <a:pt x="53" y="43"/>
                    <a:pt x="53" y="44"/>
                    <a:pt x="55" y="44"/>
                  </a:cubicBezTo>
                  <a:cubicBezTo>
                    <a:pt x="56" y="44"/>
                    <a:pt x="57" y="44"/>
                    <a:pt x="57" y="45"/>
                  </a:cubicBezTo>
                  <a:cubicBezTo>
                    <a:pt x="57" y="45"/>
                    <a:pt x="57" y="44"/>
                    <a:pt x="57" y="45"/>
                  </a:cubicBezTo>
                  <a:cubicBezTo>
                    <a:pt x="58" y="45"/>
                    <a:pt x="59" y="45"/>
                    <a:pt x="59" y="45"/>
                  </a:cubicBezTo>
                  <a:cubicBezTo>
                    <a:pt x="60" y="45"/>
                    <a:pt x="61" y="45"/>
                    <a:pt x="61" y="45"/>
                  </a:cubicBezTo>
                  <a:cubicBezTo>
                    <a:pt x="62" y="45"/>
                    <a:pt x="62" y="45"/>
                    <a:pt x="62" y="45"/>
                  </a:cubicBezTo>
                  <a:cubicBezTo>
                    <a:pt x="62" y="46"/>
                    <a:pt x="62" y="46"/>
                    <a:pt x="63" y="46"/>
                  </a:cubicBezTo>
                  <a:cubicBezTo>
                    <a:pt x="63" y="45"/>
                    <a:pt x="64" y="45"/>
                    <a:pt x="65" y="45"/>
                  </a:cubicBezTo>
                  <a:cubicBezTo>
                    <a:pt x="66" y="44"/>
                    <a:pt x="66" y="44"/>
                    <a:pt x="67" y="45"/>
                  </a:cubicBezTo>
                  <a:cubicBezTo>
                    <a:pt x="67" y="45"/>
                    <a:pt x="67" y="45"/>
                    <a:pt x="68" y="44"/>
                  </a:cubicBezTo>
                  <a:cubicBezTo>
                    <a:pt x="68" y="44"/>
                    <a:pt x="68" y="44"/>
                    <a:pt x="69" y="45"/>
                  </a:cubicBezTo>
                  <a:cubicBezTo>
                    <a:pt x="69" y="45"/>
                    <a:pt x="69" y="45"/>
                    <a:pt x="70" y="45"/>
                  </a:cubicBezTo>
                  <a:cubicBezTo>
                    <a:pt x="70" y="45"/>
                    <a:pt x="70" y="45"/>
                    <a:pt x="70" y="45"/>
                  </a:cubicBezTo>
                  <a:cubicBezTo>
                    <a:pt x="70" y="45"/>
                    <a:pt x="70" y="44"/>
                    <a:pt x="70" y="44"/>
                  </a:cubicBezTo>
                  <a:cubicBezTo>
                    <a:pt x="72" y="45"/>
                    <a:pt x="72" y="45"/>
                    <a:pt x="73" y="44"/>
                  </a:cubicBezTo>
                  <a:cubicBezTo>
                    <a:pt x="74" y="43"/>
                    <a:pt x="73" y="42"/>
                    <a:pt x="74" y="41"/>
                  </a:cubicBezTo>
                  <a:cubicBezTo>
                    <a:pt x="74" y="41"/>
                    <a:pt x="74" y="41"/>
                    <a:pt x="74" y="41"/>
                  </a:cubicBezTo>
                  <a:cubicBezTo>
                    <a:pt x="74" y="41"/>
                    <a:pt x="74" y="40"/>
                    <a:pt x="73" y="40"/>
                  </a:cubicBezTo>
                  <a:cubicBezTo>
                    <a:pt x="73" y="40"/>
                    <a:pt x="73" y="40"/>
                    <a:pt x="74" y="40"/>
                  </a:cubicBezTo>
                  <a:cubicBezTo>
                    <a:pt x="74" y="40"/>
                    <a:pt x="74" y="40"/>
                    <a:pt x="74" y="39"/>
                  </a:cubicBezTo>
                  <a:cubicBezTo>
                    <a:pt x="75" y="39"/>
                    <a:pt x="76" y="38"/>
                    <a:pt x="77" y="37"/>
                  </a:cubicBezTo>
                  <a:cubicBezTo>
                    <a:pt x="77" y="37"/>
                    <a:pt x="77" y="37"/>
                    <a:pt x="77" y="37"/>
                  </a:cubicBezTo>
                  <a:cubicBezTo>
                    <a:pt x="76" y="37"/>
                    <a:pt x="76" y="36"/>
                    <a:pt x="77" y="36"/>
                  </a:cubicBezTo>
                  <a:cubicBezTo>
                    <a:pt x="77" y="36"/>
                    <a:pt x="77" y="36"/>
                    <a:pt x="77" y="36"/>
                  </a:cubicBezTo>
                  <a:cubicBezTo>
                    <a:pt x="77" y="36"/>
                    <a:pt x="77" y="36"/>
                    <a:pt x="76" y="36"/>
                  </a:cubicBezTo>
                  <a:cubicBezTo>
                    <a:pt x="76" y="36"/>
                    <a:pt x="76" y="36"/>
                    <a:pt x="76" y="36"/>
                  </a:cubicBezTo>
                  <a:cubicBezTo>
                    <a:pt x="76" y="36"/>
                    <a:pt x="76" y="35"/>
                    <a:pt x="77" y="35"/>
                  </a:cubicBezTo>
                  <a:cubicBezTo>
                    <a:pt x="77" y="35"/>
                    <a:pt x="78" y="35"/>
                    <a:pt x="78" y="35"/>
                  </a:cubicBezTo>
                  <a:cubicBezTo>
                    <a:pt x="78" y="34"/>
                    <a:pt x="77" y="34"/>
                    <a:pt x="78" y="34"/>
                  </a:cubicBezTo>
                  <a:cubicBezTo>
                    <a:pt x="78" y="34"/>
                    <a:pt x="78" y="34"/>
                    <a:pt x="79" y="34"/>
                  </a:cubicBezTo>
                  <a:cubicBezTo>
                    <a:pt x="80" y="34"/>
                    <a:pt x="80" y="34"/>
                    <a:pt x="81" y="33"/>
                  </a:cubicBezTo>
                  <a:cubicBezTo>
                    <a:pt x="82" y="33"/>
                    <a:pt x="82" y="33"/>
                    <a:pt x="82" y="32"/>
                  </a:cubicBezTo>
                  <a:cubicBezTo>
                    <a:pt x="82" y="32"/>
                    <a:pt x="82" y="32"/>
                    <a:pt x="83" y="32"/>
                  </a:cubicBezTo>
                  <a:cubicBezTo>
                    <a:pt x="83" y="32"/>
                    <a:pt x="83" y="32"/>
                    <a:pt x="83" y="32"/>
                  </a:cubicBezTo>
                  <a:cubicBezTo>
                    <a:pt x="83" y="32"/>
                    <a:pt x="83" y="32"/>
                    <a:pt x="83" y="32"/>
                  </a:cubicBezTo>
                  <a:cubicBezTo>
                    <a:pt x="83" y="32"/>
                    <a:pt x="83" y="32"/>
                    <a:pt x="83" y="32"/>
                  </a:cubicBezTo>
                  <a:cubicBezTo>
                    <a:pt x="83" y="33"/>
                    <a:pt x="82" y="33"/>
                    <a:pt x="83" y="33"/>
                  </a:cubicBezTo>
                  <a:cubicBezTo>
                    <a:pt x="83" y="33"/>
                    <a:pt x="83" y="33"/>
                    <a:pt x="83" y="33"/>
                  </a:cubicBezTo>
                  <a:cubicBezTo>
                    <a:pt x="84" y="33"/>
                    <a:pt x="84" y="32"/>
                    <a:pt x="84" y="32"/>
                  </a:cubicBezTo>
                  <a:cubicBezTo>
                    <a:pt x="85" y="32"/>
                    <a:pt x="85" y="32"/>
                    <a:pt x="86" y="32"/>
                  </a:cubicBezTo>
                  <a:cubicBezTo>
                    <a:pt x="87" y="32"/>
                    <a:pt x="87" y="31"/>
                    <a:pt x="88" y="31"/>
                  </a:cubicBezTo>
                  <a:cubicBezTo>
                    <a:pt x="90" y="30"/>
                    <a:pt x="91" y="30"/>
                    <a:pt x="91" y="29"/>
                  </a:cubicBezTo>
                  <a:cubicBezTo>
                    <a:pt x="91" y="28"/>
                    <a:pt x="92" y="28"/>
                    <a:pt x="93" y="28"/>
                  </a:cubicBezTo>
                  <a:cubicBezTo>
                    <a:pt x="93" y="27"/>
                    <a:pt x="95" y="27"/>
                    <a:pt x="95" y="27"/>
                  </a:cubicBezTo>
                  <a:cubicBezTo>
                    <a:pt x="95" y="27"/>
                    <a:pt x="95" y="27"/>
                    <a:pt x="95" y="27"/>
                  </a:cubicBezTo>
                  <a:cubicBezTo>
                    <a:pt x="96" y="27"/>
                    <a:pt x="97" y="26"/>
                    <a:pt x="98" y="26"/>
                  </a:cubicBezTo>
                  <a:cubicBezTo>
                    <a:pt x="99" y="25"/>
                    <a:pt x="100" y="26"/>
                    <a:pt x="101" y="25"/>
                  </a:cubicBezTo>
                  <a:cubicBezTo>
                    <a:pt x="102" y="25"/>
                    <a:pt x="104" y="24"/>
                    <a:pt x="106" y="24"/>
                  </a:cubicBezTo>
                  <a:cubicBezTo>
                    <a:pt x="106" y="24"/>
                    <a:pt x="107" y="24"/>
                    <a:pt x="107" y="24"/>
                  </a:cubicBezTo>
                  <a:cubicBezTo>
                    <a:pt x="108" y="23"/>
                    <a:pt x="109" y="22"/>
                    <a:pt x="110" y="22"/>
                  </a:cubicBezTo>
                  <a:cubicBezTo>
                    <a:pt x="112" y="22"/>
                    <a:pt x="113" y="21"/>
                    <a:pt x="115" y="20"/>
                  </a:cubicBezTo>
                  <a:cubicBezTo>
                    <a:pt x="112" y="21"/>
                    <a:pt x="109" y="21"/>
                    <a:pt x="106" y="21"/>
                  </a:cubicBezTo>
                  <a:close/>
                  <a:moveTo>
                    <a:pt x="94" y="6"/>
                  </a:moveTo>
                  <a:cubicBezTo>
                    <a:pt x="94" y="5"/>
                    <a:pt x="94" y="5"/>
                    <a:pt x="94" y="5"/>
                  </a:cubicBezTo>
                  <a:cubicBezTo>
                    <a:pt x="94" y="5"/>
                    <a:pt x="94" y="5"/>
                    <a:pt x="94" y="5"/>
                  </a:cubicBezTo>
                  <a:cubicBezTo>
                    <a:pt x="97" y="5"/>
                    <a:pt x="100" y="4"/>
                    <a:pt x="103" y="4"/>
                  </a:cubicBezTo>
                  <a:cubicBezTo>
                    <a:pt x="103" y="4"/>
                    <a:pt x="103" y="4"/>
                    <a:pt x="103" y="4"/>
                  </a:cubicBezTo>
                  <a:cubicBezTo>
                    <a:pt x="100" y="4"/>
                    <a:pt x="97" y="5"/>
                    <a:pt x="94"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18" name="Freeform 17">
              <a:extLst>
                <a:ext uri="{FF2B5EF4-FFF2-40B4-BE49-F238E27FC236}">
                  <a16:creationId xmlns:a16="http://schemas.microsoft.com/office/drawing/2014/main" id="{227FB545-C101-4E59-B76E-5C80B6189AD0}"/>
                </a:ext>
              </a:extLst>
            </p:cNvPr>
            <p:cNvSpPr>
              <a:spLocks/>
            </p:cNvSpPr>
            <p:nvPr/>
          </p:nvSpPr>
          <p:spPr bwMode="auto">
            <a:xfrm>
              <a:off x="1391" y="732"/>
              <a:ext cx="779" cy="383"/>
            </a:xfrm>
            <a:custGeom>
              <a:avLst/>
              <a:gdLst>
                <a:gd name="T0" fmla="*/ 6 w 76"/>
                <a:gd name="T1" fmla="*/ 35 h 37"/>
                <a:gd name="T2" fmla="*/ 10 w 76"/>
                <a:gd name="T3" fmla="*/ 33 h 37"/>
                <a:gd name="T4" fmla="*/ 6 w 76"/>
                <a:gd name="T5" fmla="*/ 36 h 37"/>
                <a:gd name="T6" fmla="*/ 15 w 76"/>
                <a:gd name="T7" fmla="*/ 32 h 37"/>
                <a:gd name="T8" fmla="*/ 25 w 76"/>
                <a:gd name="T9" fmla="*/ 26 h 37"/>
                <a:gd name="T10" fmla="*/ 24 w 76"/>
                <a:gd name="T11" fmla="*/ 25 h 37"/>
                <a:gd name="T12" fmla="*/ 21 w 76"/>
                <a:gd name="T13" fmla="*/ 29 h 37"/>
                <a:gd name="T14" fmla="*/ 24 w 76"/>
                <a:gd name="T15" fmla="*/ 28 h 37"/>
                <a:gd name="T16" fmla="*/ 25 w 76"/>
                <a:gd name="T17" fmla="*/ 28 h 37"/>
                <a:gd name="T18" fmla="*/ 28 w 76"/>
                <a:gd name="T19" fmla="*/ 28 h 37"/>
                <a:gd name="T20" fmla="*/ 20 w 76"/>
                <a:gd name="T21" fmla="*/ 31 h 37"/>
                <a:gd name="T22" fmla="*/ 22 w 76"/>
                <a:gd name="T23" fmla="*/ 31 h 37"/>
                <a:gd name="T24" fmla="*/ 18 w 76"/>
                <a:gd name="T25" fmla="*/ 34 h 37"/>
                <a:gd name="T26" fmla="*/ 22 w 76"/>
                <a:gd name="T27" fmla="*/ 32 h 37"/>
                <a:gd name="T28" fmla="*/ 26 w 76"/>
                <a:gd name="T29" fmla="*/ 30 h 37"/>
                <a:gd name="T30" fmla="*/ 32 w 76"/>
                <a:gd name="T31" fmla="*/ 27 h 37"/>
                <a:gd name="T32" fmla="*/ 37 w 76"/>
                <a:gd name="T33" fmla="*/ 25 h 37"/>
                <a:gd name="T34" fmla="*/ 42 w 76"/>
                <a:gd name="T35" fmla="*/ 22 h 37"/>
                <a:gd name="T36" fmla="*/ 39 w 76"/>
                <a:gd name="T37" fmla="*/ 23 h 37"/>
                <a:gd name="T38" fmla="*/ 41 w 76"/>
                <a:gd name="T39" fmla="*/ 21 h 37"/>
                <a:gd name="T40" fmla="*/ 47 w 76"/>
                <a:gd name="T41" fmla="*/ 18 h 37"/>
                <a:gd name="T42" fmla="*/ 48 w 76"/>
                <a:gd name="T43" fmla="*/ 16 h 37"/>
                <a:gd name="T44" fmla="*/ 50 w 76"/>
                <a:gd name="T45" fmla="*/ 14 h 37"/>
                <a:gd name="T46" fmla="*/ 57 w 76"/>
                <a:gd name="T47" fmla="*/ 11 h 37"/>
                <a:gd name="T48" fmla="*/ 64 w 76"/>
                <a:gd name="T49" fmla="*/ 7 h 37"/>
                <a:gd name="T50" fmla="*/ 66 w 76"/>
                <a:gd name="T51" fmla="*/ 5 h 37"/>
                <a:gd name="T52" fmla="*/ 75 w 76"/>
                <a:gd name="T53" fmla="*/ 1 h 37"/>
                <a:gd name="T54" fmla="*/ 73 w 76"/>
                <a:gd name="T55" fmla="*/ 1 h 37"/>
                <a:gd name="T56" fmla="*/ 66 w 76"/>
                <a:gd name="T57" fmla="*/ 3 h 37"/>
                <a:gd name="T58" fmla="*/ 60 w 76"/>
                <a:gd name="T59" fmla="*/ 5 h 37"/>
                <a:gd name="T60" fmla="*/ 51 w 76"/>
                <a:gd name="T61" fmla="*/ 8 h 37"/>
                <a:gd name="T62" fmla="*/ 45 w 76"/>
                <a:gd name="T63" fmla="*/ 11 h 37"/>
                <a:gd name="T64" fmla="*/ 34 w 76"/>
                <a:gd name="T65" fmla="*/ 16 h 37"/>
                <a:gd name="T66" fmla="*/ 28 w 76"/>
                <a:gd name="T67" fmla="*/ 20 h 37"/>
                <a:gd name="T68" fmla="*/ 23 w 76"/>
                <a:gd name="T69" fmla="*/ 21 h 37"/>
                <a:gd name="T70" fmla="*/ 19 w 76"/>
                <a:gd name="T71" fmla="*/ 24 h 37"/>
                <a:gd name="T72" fmla="*/ 10 w 76"/>
                <a:gd name="T73" fmla="*/ 29 h 37"/>
                <a:gd name="T74" fmla="*/ 13 w 76"/>
                <a:gd name="T75" fmla="*/ 29 h 37"/>
                <a:gd name="T76" fmla="*/ 22 w 76"/>
                <a:gd name="T77" fmla="*/ 24 h 37"/>
                <a:gd name="T78" fmla="*/ 23 w 76"/>
                <a:gd name="T79" fmla="*/ 24 h 37"/>
                <a:gd name="T80" fmla="*/ 33 w 76"/>
                <a:gd name="T81" fmla="*/ 20 h 37"/>
                <a:gd name="T82" fmla="*/ 38 w 76"/>
                <a:gd name="T83" fmla="*/ 17 h 37"/>
                <a:gd name="T84" fmla="*/ 32 w 76"/>
                <a:gd name="T85" fmla="*/ 21 h 37"/>
                <a:gd name="T86" fmla="*/ 30 w 76"/>
                <a:gd name="T87" fmla="*/ 22 h 37"/>
                <a:gd name="T88" fmla="*/ 21 w 76"/>
                <a:gd name="T89" fmla="*/ 26 h 37"/>
                <a:gd name="T90" fmla="*/ 19 w 76"/>
                <a:gd name="T91" fmla="*/ 27 h 37"/>
                <a:gd name="T92" fmla="*/ 12 w 76"/>
                <a:gd name="T93" fmla="*/ 30 h 37"/>
                <a:gd name="T94" fmla="*/ 5 w 76"/>
                <a:gd name="T95" fmla="*/ 32 h 37"/>
                <a:gd name="T96" fmla="*/ 2 w 76"/>
                <a:gd name="T97" fmla="*/ 34 h 37"/>
                <a:gd name="T98" fmla="*/ 1 w 76"/>
                <a:gd name="T99"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6" h="37">
                  <a:moveTo>
                    <a:pt x="3" y="37"/>
                  </a:moveTo>
                  <a:cubicBezTo>
                    <a:pt x="3" y="37"/>
                    <a:pt x="3" y="37"/>
                    <a:pt x="4" y="36"/>
                  </a:cubicBezTo>
                  <a:cubicBezTo>
                    <a:pt x="4" y="36"/>
                    <a:pt x="5" y="35"/>
                    <a:pt x="6" y="35"/>
                  </a:cubicBezTo>
                  <a:cubicBezTo>
                    <a:pt x="7" y="35"/>
                    <a:pt x="8" y="34"/>
                    <a:pt x="9" y="34"/>
                  </a:cubicBezTo>
                  <a:cubicBezTo>
                    <a:pt x="9" y="33"/>
                    <a:pt x="9" y="33"/>
                    <a:pt x="9" y="33"/>
                  </a:cubicBezTo>
                  <a:cubicBezTo>
                    <a:pt x="9" y="33"/>
                    <a:pt x="9" y="33"/>
                    <a:pt x="10" y="33"/>
                  </a:cubicBezTo>
                  <a:cubicBezTo>
                    <a:pt x="10" y="33"/>
                    <a:pt x="9" y="34"/>
                    <a:pt x="9" y="34"/>
                  </a:cubicBezTo>
                  <a:cubicBezTo>
                    <a:pt x="8" y="34"/>
                    <a:pt x="7" y="35"/>
                    <a:pt x="7" y="35"/>
                  </a:cubicBezTo>
                  <a:cubicBezTo>
                    <a:pt x="6" y="35"/>
                    <a:pt x="6" y="35"/>
                    <a:pt x="6" y="36"/>
                  </a:cubicBezTo>
                  <a:cubicBezTo>
                    <a:pt x="8" y="35"/>
                    <a:pt x="9" y="35"/>
                    <a:pt x="10" y="35"/>
                  </a:cubicBezTo>
                  <a:cubicBezTo>
                    <a:pt x="12" y="34"/>
                    <a:pt x="13" y="34"/>
                    <a:pt x="15" y="33"/>
                  </a:cubicBezTo>
                  <a:cubicBezTo>
                    <a:pt x="15" y="32"/>
                    <a:pt x="15" y="32"/>
                    <a:pt x="15" y="32"/>
                  </a:cubicBezTo>
                  <a:cubicBezTo>
                    <a:pt x="17" y="32"/>
                    <a:pt x="17" y="31"/>
                    <a:pt x="18" y="30"/>
                  </a:cubicBezTo>
                  <a:cubicBezTo>
                    <a:pt x="21" y="29"/>
                    <a:pt x="22" y="27"/>
                    <a:pt x="24" y="26"/>
                  </a:cubicBezTo>
                  <a:cubicBezTo>
                    <a:pt x="25" y="26"/>
                    <a:pt x="25" y="26"/>
                    <a:pt x="25" y="26"/>
                  </a:cubicBezTo>
                  <a:cubicBezTo>
                    <a:pt x="25" y="26"/>
                    <a:pt x="25" y="26"/>
                    <a:pt x="24" y="26"/>
                  </a:cubicBezTo>
                  <a:cubicBezTo>
                    <a:pt x="24" y="26"/>
                    <a:pt x="24" y="26"/>
                    <a:pt x="24" y="26"/>
                  </a:cubicBezTo>
                  <a:cubicBezTo>
                    <a:pt x="24" y="26"/>
                    <a:pt x="24" y="26"/>
                    <a:pt x="24" y="25"/>
                  </a:cubicBezTo>
                  <a:cubicBezTo>
                    <a:pt x="25" y="25"/>
                    <a:pt x="26" y="25"/>
                    <a:pt x="27" y="25"/>
                  </a:cubicBezTo>
                  <a:cubicBezTo>
                    <a:pt x="27" y="25"/>
                    <a:pt x="26" y="26"/>
                    <a:pt x="26" y="26"/>
                  </a:cubicBezTo>
                  <a:cubicBezTo>
                    <a:pt x="24" y="27"/>
                    <a:pt x="23" y="28"/>
                    <a:pt x="21" y="29"/>
                  </a:cubicBezTo>
                  <a:cubicBezTo>
                    <a:pt x="21" y="29"/>
                    <a:pt x="21" y="29"/>
                    <a:pt x="21" y="29"/>
                  </a:cubicBezTo>
                  <a:cubicBezTo>
                    <a:pt x="21" y="29"/>
                    <a:pt x="21" y="29"/>
                    <a:pt x="21" y="29"/>
                  </a:cubicBezTo>
                  <a:cubicBezTo>
                    <a:pt x="22" y="29"/>
                    <a:pt x="23" y="28"/>
                    <a:pt x="24" y="28"/>
                  </a:cubicBezTo>
                  <a:cubicBezTo>
                    <a:pt x="25" y="28"/>
                    <a:pt x="25" y="27"/>
                    <a:pt x="26" y="27"/>
                  </a:cubicBezTo>
                  <a:cubicBezTo>
                    <a:pt x="26" y="27"/>
                    <a:pt x="26" y="27"/>
                    <a:pt x="26" y="27"/>
                  </a:cubicBezTo>
                  <a:cubicBezTo>
                    <a:pt x="26" y="27"/>
                    <a:pt x="26" y="28"/>
                    <a:pt x="25" y="28"/>
                  </a:cubicBezTo>
                  <a:cubicBezTo>
                    <a:pt x="26" y="28"/>
                    <a:pt x="26" y="28"/>
                    <a:pt x="26" y="28"/>
                  </a:cubicBezTo>
                  <a:cubicBezTo>
                    <a:pt x="27" y="28"/>
                    <a:pt x="27" y="28"/>
                    <a:pt x="27" y="27"/>
                  </a:cubicBezTo>
                  <a:cubicBezTo>
                    <a:pt x="28" y="27"/>
                    <a:pt x="28" y="27"/>
                    <a:pt x="28" y="28"/>
                  </a:cubicBezTo>
                  <a:cubicBezTo>
                    <a:pt x="28" y="28"/>
                    <a:pt x="28" y="28"/>
                    <a:pt x="27" y="28"/>
                  </a:cubicBezTo>
                  <a:cubicBezTo>
                    <a:pt x="26" y="28"/>
                    <a:pt x="25" y="29"/>
                    <a:pt x="24" y="29"/>
                  </a:cubicBezTo>
                  <a:cubicBezTo>
                    <a:pt x="24" y="29"/>
                    <a:pt x="20" y="30"/>
                    <a:pt x="20" y="31"/>
                  </a:cubicBezTo>
                  <a:cubicBezTo>
                    <a:pt x="20" y="31"/>
                    <a:pt x="21" y="31"/>
                    <a:pt x="21" y="31"/>
                  </a:cubicBezTo>
                  <a:cubicBezTo>
                    <a:pt x="22" y="31"/>
                    <a:pt x="22" y="31"/>
                    <a:pt x="22" y="31"/>
                  </a:cubicBezTo>
                  <a:cubicBezTo>
                    <a:pt x="22" y="31"/>
                    <a:pt x="22" y="31"/>
                    <a:pt x="22" y="31"/>
                  </a:cubicBezTo>
                  <a:cubicBezTo>
                    <a:pt x="21" y="32"/>
                    <a:pt x="20" y="32"/>
                    <a:pt x="19" y="32"/>
                  </a:cubicBezTo>
                  <a:cubicBezTo>
                    <a:pt x="19" y="32"/>
                    <a:pt x="19" y="33"/>
                    <a:pt x="18" y="33"/>
                  </a:cubicBezTo>
                  <a:cubicBezTo>
                    <a:pt x="18" y="33"/>
                    <a:pt x="18" y="34"/>
                    <a:pt x="18" y="34"/>
                  </a:cubicBezTo>
                  <a:cubicBezTo>
                    <a:pt x="18" y="34"/>
                    <a:pt x="18" y="34"/>
                    <a:pt x="19" y="33"/>
                  </a:cubicBezTo>
                  <a:cubicBezTo>
                    <a:pt x="19" y="33"/>
                    <a:pt x="20" y="33"/>
                    <a:pt x="21" y="33"/>
                  </a:cubicBezTo>
                  <a:cubicBezTo>
                    <a:pt x="21" y="33"/>
                    <a:pt x="22" y="32"/>
                    <a:pt x="22" y="32"/>
                  </a:cubicBezTo>
                  <a:cubicBezTo>
                    <a:pt x="22" y="32"/>
                    <a:pt x="23" y="32"/>
                    <a:pt x="23" y="32"/>
                  </a:cubicBezTo>
                  <a:cubicBezTo>
                    <a:pt x="23" y="32"/>
                    <a:pt x="24" y="31"/>
                    <a:pt x="24" y="31"/>
                  </a:cubicBezTo>
                  <a:cubicBezTo>
                    <a:pt x="25" y="31"/>
                    <a:pt x="25" y="31"/>
                    <a:pt x="26" y="30"/>
                  </a:cubicBezTo>
                  <a:cubicBezTo>
                    <a:pt x="27" y="30"/>
                    <a:pt x="28" y="30"/>
                    <a:pt x="29" y="29"/>
                  </a:cubicBezTo>
                  <a:cubicBezTo>
                    <a:pt x="30" y="28"/>
                    <a:pt x="31" y="28"/>
                    <a:pt x="32" y="27"/>
                  </a:cubicBezTo>
                  <a:cubicBezTo>
                    <a:pt x="32" y="27"/>
                    <a:pt x="32" y="27"/>
                    <a:pt x="32" y="27"/>
                  </a:cubicBezTo>
                  <a:cubicBezTo>
                    <a:pt x="33" y="26"/>
                    <a:pt x="34" y="26"/>
                    <a:pt x="35" y="26"/>
                  </a:cubicBezTo>
                  <a:cubicBezTo>
                    <a:pt x="35" y="26"/>
                    <a:pt x="36" y="26"/>
                    <a:pt x="36" y="26"/>
                  </a:cubicBezTo>
                  <a:cubicBezTo>
                    <a:pt x="36" y="26"/>
                    <a:pt x="37" y="26"/>
                    <a:pt x="37" y="25"/>
                  </a:cubicBezTo>
                  <a:cubicBezTo>
                    <a:pt x="38" y="24"/>
                    <a:pt x="40" y="24"/>
                    <a:pt x="41" y="23"/>
                  </a:cubicBezTo>
                  <a:cubicBezTo>
                    <a:pt x="41" y="23"/>
                    <a:pt x="42" y="23"/>
                    <a:pt x="42" y="23"/>
                  </a:cubicBezTo>
                  <a:cubicBezTo>
                    <a:pt x="42" y="22"/>
                    <a:pt x="42" y="22"/>
                    <a:pt x="42" y="22"/>
                  </a:cubicBezTo>
                  <a:cubicBezTo>
                    <a:pt x="42" y="22"/>
                    <a:pt x="42" y="22"/>
                    <a:pt x="42" y="22"/>
                  </a:cubicBezTo>
                  <a:cubicBezTo>
                    <a:pt x="42" y="22"/>
                    <a:pt x="41" y="22"/>
                    <a:pt x="41" y="22"/>
                  </a:cubicBezTo>
                  <a:cubicBezTo>
                    <a:pt x="40" y="23"/>
                    <a:pt x="40" y="23"/>
                    <a:pt x="39" y="23"/>
                  </a:cubicBezTo>
                  <a:cubicBezTo>
                    <a:pt x="39" y="23"/>
                    <a:pt x="40" y="22"/>
                    <a:pt x="40" y="22"/>
                  </a:cubicBezTo>
                  <a:cubicBezTo>
                    <a:pt x="40" y="22"/>
                    <a:pt x="41" y="22"/>
                    <a:pt x="41" y="22"/>
                  </a:cubicBezTo>
                  <a:cubicBezTo>
                    <a:pt x="41" y="21"/>
                    <a:pt x="41" y="21"/>
                    <a:pt x="41" y="21"/>
                  </a:cubicBezTo>
                  <a:cubicBezTo>
                    <a:pt x="41" y="21"/>
                    <a:pt x="42" y="20"/>
                    <a:pt x="42" y="20"/>
                  </a:cubicBezTo>
                  <a:cubicBezTo>
                    <a:pt x="43" y="20"/>
                    <a:pt x="44" y="19"/>
                    <a:pt x="45" y="19"/>
                  </a:cubicBezTo>
                  <a:cubicBezTo>
                    <a:pt x="46" y="19"/>
                    <a:pt x="46" y="18"/>
                    <a:pt x="47" y="18"/>
                  </a:cubicBezTo>
                  <a:cubicBezTo>
                    <a:pt x="47" y="18"/>
                    <a:pt x="47" y="17"/>
                    <a:pt x="48" y="17"/>
                  </a:cubicBezTo>
                  <a:cubicBezTo>
                    <a:pt x="48" y="17"/>
                    <a:pt x="48" y="17"/>
                    <a:pt x="48" y="17"/>
                  </a:cubicBezTo>
                  <a:cubicBezTo>
                    <a:pt x="47" y="17"/>
                    <a:pt x="48" y="16"/>
                    <a:pt x="48" y="16"/>
                  </a:cubicBezTo>
                  <a:cubicBezTo>
                    <a:pt x="48" y="16"/>
                    <a:pt x="47" y="16"/>
                    <a:pt x="47" y="16"/>
                  </a:cubicBezTo>
                  <a:cubicBezTo>
                    <a:pt x="48" y="15"/>
                    <a:pt x="48" y="15"/>
                    <a:pt x="49" y="15"/>
                  </a:cubicBezTo>
                  <a:cubicBezTo>
                    <a:pt x="50" y="15"/>
                    <a:pt x="51" y="14"/>
                    <a:pt x="50" y="14"/>
                  </a:cubicBezTo>
                  <a:cubicBezTo>
                    <a:pt x="51" y="14"/>
                    <a:pt x="52" y="13"/>
                    <a:pt x="52" y="13"/>
                  </a:cubicBezTo>
                  <a:cubicBezTo>
                    <a:pt x="54" y="13"/>
                    <a:pt x="55" y="12"/>
                    <a:pt x="56" y="11"/>
                  </a:cubicBezTo>
                  <a:cubicBezTo>
                    <a:pt x="56" y="11"/>
                    <a:pt x="56" y="11"/>
                    <a:pt x="57" y="11"/>
                  </a:cubicBezTo>
                  <a:cubicBezTo>
                    <a:pt x="58" y="10"/>
                    <a:pt x="59" y="9"/>
                    <a:pt x="60" y="8"/>
                  </a:cubicBezTo>
                  <a:cubicBezTo>
                    <a:pt x="61" y="8"/>
                    <a:pt x="62" y="8"/>
                    <a:pt x="63" y="7"/>
                  </a:cubicBezTo>
                  <a:cubicBezTo>
                    <a:pt x="63" y="7"/>
                    <a:pt x="63" y="7"/>
                    <a:pt x="64" y="7"/>
                  </a:cubicBezTo>
                  <a:cubicBezTo>
                    <a:pt x="65" y="6"/>
                    <a:pt x="67" y="5"/>
                    <a:pt x="69" y="4"/>
                  </a:cubicBezTo>
                  <a:cubicBezTo>
                    <a:pt x="69" y="4"/>
                    <a:pt x="69" y="4"/>
                    <a:pt x="69" y="4"/>
                  </a:cubicBezTo>
                  <a:cubicBezTo>
                    <a:pt x="68" y="4"/>
                    <a:pt x="67" y="4"/>
                    <a:pt x="66" y="5"/>
                  </a:cubicBezTo>
                  <a:cubicBezTo>
                    <a:pt x="67" y="4"/>
                    <a:pt x="68" y="4"/>
                    <a:pt x="69" y="3"/>
                  </a:cubicBezTo>
                  <a:cubicBezTo>
                    <a:pt x="70" y="3"/>
                    <a:pt x="71" y="3"/>
                    <a:pt x="72" y="2"/>
                  </a:cubicBezTo>
                  <a:cubicBezTo>
                    <a:pt x="73" y="2"/>
                    <a:pt x="74" y="1"/>
                    <a:pt x="75" y="1"/>
                  </a:cubicBezTo>
                  <a:cubicBezTo>
                    <a:pt x="76" y="1"/>
                    <a:pt x="76" y="0"/>
                    <a:pt x="76" y="0"/>
                  </a:cubicBezTo>
                  <a:cubicBezTo>
                    <a:pt x="76" y="0"/>
                    <a:pt x="75" y="0"/>
                    <a:pt x="75" y="0"/>
                  </a:cubicBezTo>
                  <a:cubicBezTo>
                    <a:pt x="74" y="0"/>
                    <a:pt x="74" y="1"/>
                    <a:pt x="73" y="1"/>
                  </a:cubicBezTo>
                  <a:cubicBezTo>
                    <a:pt x="72" y="1"/>
                    <a:pt x="72" y="1"/>
                    <a:pt x="71" y="1"/>
                  </a:cubicBezTo>
                  <a:cubicBezTo>
                    <a:pt x="70" y="1"/>
                    <a:pt x="69" y="2"/>
                    <a:pt x="68" y="2"/>
                  </a:cubicBezTo>
                  <a:cubicBezTo>
                    <a:pt x="67" y="2"/>
                    <a:pt x="66" y="3"/>
                    <a:pt x="66" y="3"/>
                  </a:cubicBezTo>
                  <a:cubicBezTo>
                    <a:pt x="65" y="3"/>
                    <a:pt x="64" y="3"/>
                    <a:pt x="64" y="4"/>
                  </a:cubicBezTo>
                  <a:cubicBezTo>
                    <a:pt x="63" y="4"/>
                    <a:pt x="63" y="4"/>
                    <a:pt x="62" y="4"/>
                  </a:cubicBezTo>
                  <a:cubicBezTo>
                    <a:pt x="61" y="4"/>
                    <a:pt x="61" y="5"/>
                    <a:pt x="60" y="5"/>
                  </a:cubicBezTo>
                  <a:cubicBezTo>
                    <a:pt x="59" y="5"/>
                    <a:pt x="58" y="6"/>
                    <a:pt x="56" y="6"/>
                  </a:cubicBezTo>
                  <a:cubicBezTo>
                    <a:pt x="55" y="6"/>
                    <a:pt x="54" y="7"/>
                    <a:pt x="53" y="7"/>
                  </a:cubicBezTo>
                  <a:cubicBezTo>
                    <a:pt x="53" y="8"/>
                    <a:pt x="52" y="8"/>
                    <a:pt x="51" y="8"/>
                  </a:cubicBezTo>
                  <a:cubicBezTo>
                    <a:pt x="50" y="9"/>
                    <a:pt x="49" y="9"/>
                    <a:pt x="48" y="10"/>
                  </a:cubicBezTo>
                  <a:cubicBezTo>
                    <a:pt x="48" y="10"/>
                    <a:pt x="48" y="10"/>
                    <a:pt x="47" y="10"/>
                  </a:cubicBezTo>
                  <a:cubicBezTo>
                    <a:pt x="47" y="10"/>
                    <a:pt x="46" y="10"/>
                    <a:pt x="45" y="11"/>
                  </a:cubicBezTo>
                  <a:cubicBezTo>
                    <a:pt x="43" y="11"/>
                    <a:pt x="42" y="12"/>
                    <a:pt x="40" y="13"/>
                  </a:cubicBezTo>
                  <a:cubicBezTo>
                    <a:pt x="39" y="14"/>
                    <a:pt x="37" y="15"/>
                    <a:pt x="35" y="15"/>
                  </a:cubicBezTo>
                  <a:cubicBezTo>
                    <a:pt x="35" y="15"/>
                    <a:pt x="34" y="15"/>
                    <a:pt x="34" y="16"/>
                  </a:cubicBezTo>
                  <a:cubicBezTo>
                    <a:pt x="34" y="16"/>
                    <a:pt x="35" y="16"/>
                    <a:pt x="34" y="16"/>
                  </a:cubicBezTo>
                  <a:cubicBezTo>
                    <a:pt x="32" y="16"/>
                    <a:pt x="31" y="17"/>
                    <a:pt x="30" y="18"/>
                  </a:cubicBezTo>
                  <a:cubicBezTo>
                    <a:pt x="29" y="18"/>
                    <a:pt x="29" y="19"/>
                    <a:pt x="28" y="20"/>
                  </a:cubicBezTo>
                  <a:cubicBezTo>
                    <a:pt x="27" y="20"/>
                    <a:pt x="26" y="20"/>
                    <a:pt x="25" y="20"/>
                  </a:cubicBezTo>
                  <a:cubicBezTo>
                    <a:pt x="25" y="21"/>
                    <a:pt x="25" y="21"/>
                    <a:pt x="25" y="21"/>
                  </a:cubicBezTo>
                  <a:cubicBezTo>
                    <a:pt x="25" y="21"/>
                    <a:pt x="24" y="21"/>
                    <a:pt x="23" y="21"/>
                  </a:cubicBezTo>
                  <a:cubicBezTo>
                    <a:pt x="23" y="21"/>
                    <a:pt x="22" y="22"/>
                    <a:pt x="21" y="22"/>
                  </a:cubicBezTo>
                  <a:cubicBezTo>
                    <a:pt x="21" y="23"/>
                    <a:pt x="20" y="23"/>
                    <a:pt x="20" y="24"/>
                  </a:cubicBezTo>
                  <a:cubicBezTo>
                    <a:pt x="20" y="24"/>
                    <a:pt x="19" y="24"/>
                    <a:pt x="19" y="24"/>
                  </a:cubicBezTo>
                  <a:cubicBezTo>
                    <a:pt x="18" y="24"/>
                    <a:pt x="16" y="25"/>
                    <a:pt x="16" y="26"/>
                  </a:cubicBezTo>
                  <a:cubicBezTo>
                    <a:pt x="15" y="26"/>
                    <a:pt x="14" y="27"/>
                    <a:pt x="13" y="27"/>
                  </a:cubicBezTo>
                  <a:cubicBezTo>
                    <a:pt x="12" y="28"/>
                    <a:pt x="11" y="28"/>
                    <a:pt x="10" y="29"/>
                  </a:cubicBezTo>
                  <a:cubicBezTo>
                    <a:pt x="11" y="29"/>
                    <a:pt x="11" y="29"/>
                    <a:pt x="12" y="28"/>
                  </a:cubicBezTo>
                  <a:cubicBezTo>
                    <a:pt x="13" y="28"/>
                    <a:pt x="13" y="28"/>
                    <a:pt x="14" y="28"/>
                  </a:cubicBezTo>
                  <a:cubicBezTo>
                    <a:pt x="14" y="28"/>
                    <a:pt x="13" y="28"/>
                    <a:pt x="13" y="29"/>
                  </a:cubicBezTo>
                  <a:cubicBezTo>
                    <a:pt x="14" y="28"/>
                    <a:pt x="16" y="27"/>
                    <a:pt x="17" y="27"/>
                  </a:cubicBezTo>
                  <a:cubicBezTo>
                    <a:pt x="19" y="27"/>
                    <a:pt x="20" y="26"/>
                    <a:pt x="21" y="25"/>
                  </a:cubicBezTo>
                  <a:cubicBezTo>
                    <a:pt x="21" y="24"/>
                    <a:pt x="22" y="24"/>
                    <a:pt x="22" y="24"/>
                  </a:cubicBezTo>
                  <a:cubicBezTo>
                    <a:pt x="23" y="24"/>
                    <a:pt x="23" y="24"/>
                    <a:pt x="23" y="24"/>
                  </a:cubicBezTo>
                  <a:cubicBezTo>
                    <a:pt x="22" y="24"/>
                    <a:pt x="22" y="25"/>
                    <a:pt x="21" y="25"/>
                  </a:cubicBezTo>
                  <a:cubicBezTo>
                    <a:pt x="22" y="25"/>
                    <a:pt x="23" y="24"/>
                    <a:pt x="23" y="24"/>
                  </a:cubicBezTo>
                  <a:cubicBezTo>
                    <a:pt x="25" y="24"/>
                    <a:pt x="26" y="23"/>
                    <a:pt x="27" y="22"/>
                  </a:cubicBezTo>
                  <a:cubicBezTo>
                    <a:pt x="27" y="22"/>
                    <a:pt x="28" y="22"/>
                    <a:pt x="28" y="22"/>
                  </a:cubicBezTo>
                  <a:cubicBezTo>
                    <a:pt x="30" y="22"/>
                    <a:pt x="31" y="21"/>
                    <a:pt x="33" y="20"/>
                  </a:cubicBezTo>
                  <a:cubicBezTo>
                    <a:pt x="34" y="19"/>
                    <a:pt x="35" y="18"/>
                    <a:pt x="36" y="18"/>
                  </a:cubicBezTo>
                  <a:cubicBezTo>
                    <a:pt x="37" y="18"/>
                    <a:pt x="37" y="17"/>
                    <a:pt x="37" y="17"/>
                  </a:cubicBezTo>
                  <a:cubicBezTo>
                    <a:pt x="37" y="17"/>
                    <a:pt x="38" y="17"/>
                    <a:pt x="38" y="17"/>
                  </a:cubicBezTo>
                  <a:cubicBezTo>
                    <a:pt x="38" y="17"/>
                    <a:pt x="38" y="17"/>
                    <a:pt x="38" y="17"/>
                  </a:cubicBezTo>
                  <a:cubicBezTo>
                    <a:pt x="37" y="18"/>
                    <a:pt x="35" y="19"/>
                    <a:pt x="34" y="20"/>
                  </a:cubicBezTo>
                  <a:cubicBezTo>
                    <a:pt x="33" y="20"/>
                    <a:pt x="32" y="20"/>
                    <a:pt x="32" y="21"/>
                  </a:cubicBezTo>
                  <a:cubicBezTo>
                    <a:pt x="31" y="21"/>
                    <a:pt x="30" y="21"/>
                    <a:pt x="29" y="22"/>
                  </a:cubicBezTo>
                  <a:cubicBezTo>
                    <a:pt x="29" y="22"/>
                    <a:pt x="29" y="22"/>
                    <a:pt x="29" y="22"/>
                  </a:cubicBezTo>
                  <a:cubicBezTo>
                    <a:pt x="30" y="22"/>
                    <a:pt x="30" y="22"/>
                    <a:pt x="30" y="22"/>
                  </a:cubicBezTo>
                  <a:cubicBezTo>
                    <a:pt x="30" y="22"/>
                    <a:pt x="30" y="22"/>
                    <a:pt x="30" y="22"/>
                  </a:cubicBezTo>
                  <a:cubicBezTo>
                    <a:pt x="29" y="22"/>
                    <a:pt x="29" y="23"/>
                    <a:pt x="29" y="23"/>
                  </a:cubicBezTo>
                  <a:cubicBezTo>
                    <a:pt x="26" y="23"/>
                    <a:pt x="24" y="25"/>
                    <a:pt x="21" y="26"/>
                  </a:cubicBezTo>
                  <a:cubicBezTo>
                    <a:pt x="22" y="26"/>
                    <a:pt x="22" y="26"/>
                    <a:pt x="22" y="26"/>
                  </a:cubicBezTo>
                  <a:cubicBezTo>
                    <a:pt x="22" y="26"/>
                    <a:pt x="21" y="27"/>
                    <a:pt x="21" y="27"/>
                  </a:cubicBezTo>
                  <a:cubicBezTo>
                    <a:pt x="21" y="27"/>
                    <a:pt x="20" y="27"/>
                    <a:pt x="19" y="27"/>
                  </a:cubicBezTo>
                  <a:cubicBezTo>
                    <a:pt x="19" y="27"/>
                    <a:pt x="19" y="27"/>
                    <a:pt x="18" y="27"/>
                  </a:cubicBezTo>
                  <a:cubicBezTo>
                    <a:pt x="17" y="28"/>
                    <a:pt x="16" y="29"/>
                    <a:pt x="15" y="28"/>
                  </a:cubicBezTo>
                  <a:cubicBezTo>
                    <a:pt x="14" y="29"/>
                    <a:pt x="13" y="29"/>
                    <a:pt x="12" y="30"/>
                  </a:cubicBezTo>
                  <a:cubicBezTo>
                    <a:pt x="12" y="30"/>
                    <a:pt x="11" y="30"/>
                    <a:pt x="10" y="30"/>
                  </a:cubicBezTo>
                  <a:cubicBezTo>
                    <a:pt x="8" y="30"/>
                    <a:pt x="7" y="31"/>
                    <a:pt x="5" y="32"/>
                  </a:cubicBezTo>
                  <a:cubicBezTo>
                    <a:pt x="5" y="32"/>
                    <a:pt x="5" y="32"/>
                    <a:pt x="5" y="32"/>
                  </a:cubicBezTo>
                  <a:cubicBezTo>
                    <a:pt x="5" y="33"/>
                    <a:pt x="4" y="33"/>
                    <a:pt x="4" y="33"/>
                  </a:cubicBezTo>
                  <a:cubicBezTo>
                    <a:pt x="3" y="34"/>
                    <a:pt x="3" y="34"/>
                    <a:pt x="2" y="34"/>
                  </a:cubicBezTo>
                  <a:cubicBezTo>
                    <a:pt x="2" y="34"/>
                    <a:pt x="2" y="34"/>
                    <a:pt x="2" y="34"/>
                  </a:cubicBezTo>
                  <a:cubicBezTo>
                    <a:pt x="3" y="34"/>
                    <a:pt x="4" y="34"/>
                    <a:pt x="4" y="34"/>
                  </a:cubicBezTo>
                  <a:cubicBezTo>
                    <a:pt x="4" y="34"/>
                    <a:pt x="3" y="34"/>
                    <a:pt x="2" y="35"/>
                  </a:cubicBezTo>
                  <a:cubicBezTo>
                    <a:pt x="2" y="35"/>
                    <a:pt x="1" y="36"/>
                    <a:pt x="1" y="37"/>
                  </a:cubicBezTo>
                  <a:cubicBezTo>
                    <a:pt x="0" y="37"/>
                    <a:pt x="1" y="37"/>
                    <a:pt x="1" y="37"/>
                  </a:cubicBezTo>
                  <a:cubicBezTo>
                    <a:pt x="1" y="37"/>
                    <a:pt x="3" y="36"/>
                    <a:pt x="3" y="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19" name="Freeform 18">
              <a:extLst>
                <a:ext uri="{FF2B5EF4-FFF2-40B4-BE49-F238E27FC236}">
                  <a16:creationId xmlns:a16="http://schemas.microsoft.com/office/drawing/2014/main" id="{69E3EEA5-AC71-2991-35B6-C74AE1F6E2AD}"/>
                </a:ext>
              </a:extLst>
            </p:cNvPr>
            <p:cNvSpPr>
              <a:spLocks/>
            </p:cNvSpPr>
            <p:nvPr/>
          </p:nvSpPr>
          <p:spPr bwMode="auto">
            <a:xfrm>
              <a:off x="5923" y="2376"/>
              <a:ext cx="215" cy="341"/>
            </a:xfrm>
            <a:custGeom>
              <a:avLst/>
              <a:gdLst>
                <a:gd name="T0" fmla="*/ 17 w 21"/>
                <a:gd name="T1" fmla="*/ 16 h 33"/>
                <a:gd name="T2" fmla="*/ 15 w 21"/>
                <a:gd name="T3" fmla="*/ 13 h 33"/>
                <a:gd name="T4" fmla="*/ 12 w 21"/>
                <a:gd name="T5" fmla="*/ 11 h 33"/>
                <a:gd name="T6" fmla="*/ 9 w 21"/>
                <a:gd name="T7" fmla="*/ 8 h 33"/>
                <a:gd name="T8" fmla="*/ 7 w 21"/>
                <a:gd name="T9" fmla="*/ 8 h 33"/>
                <a:gd name="T10" fmla="*/ 5 w 21"/>
                <a:gd name="T11" fmla="*/ 7 h 33"/>
                <a:gd name="T12" fmla="*/ 4 w 21"/>
                <a:gd name="T13" fmla="*/ 2 h 33"/>
                <a:gd name="T14" fmla="*/ 4 w 21"/>
                <a:gd name="T15" fmla="*/ 1 h 33"/>
                <a:gd name="T16" fmla="*/ 1 w 21"/>
                <a:gd name="T17" fmla="*/ 1 h 33"/>
                <a:gd name="T18" fmla="*/ 1 w 21"/>
                <a:gd name="T19" fmla="*/ 1 h 33"/>
                <a:gd name="T20" fmla="*/ 0 w 21"/>
                <a:gd name="T21" fmla="*/ 0 h 33"/>
                <a:gd name="T22" fmla="*/ 1 w 21"/>
                <a:gd name="T23" fmla="*/ 3 h 33"/>
                <a:gd name="T24" fmla="*/ 2 w 21"/>
                <a:gd name="T25" fmla="*/ 4 h 33"/>
                <a:gd name="T26" fmla="*/ 3 w 21"/>
                <a:gd name="T27" fmla="*/ 5 h 33"/>
                <a:gd name="T28" fmla="*/ 3 w 21"/>
                <a:gd name="T29" fmla="*/ 5 h 33"/>
                <a:gd name="T30" fmla="*/ 1 w 21"/>
                <a:gd name="T31" fmla="*/ 7 h 33"/>
                <a:gd name="T32" fmla="*/ 3 w 21"/>
                <a:gd name="T33" fmla="*/ 7 h 33"/>
                <a:gd name="T34" fmla="*/ 7 w 21"/>
                <a:gd name="T35" fmla="*/ 12 h 33"/>
                <a:gd name="T36" fmla="*/ 7 w 21"/>
                <a:gd name="T37" fmla="*/ 16 h 33"/>
                <a:gd name="T38" fmla="*/ 4 w 21"/>
                <a:gd name="T39" fmla="*/ 16 h 33"/>
                <a:gd name="T40" fmla="*/ 8 w 21"/>
                <a:gd name="T41" fmla="*/ 20 h 33"/>
                <a:gd name="T42" fmla="*/ 12 w 21"/>
                <a:gd name="T43" fmla="*/ 23 h 33"/>
                <a:gd name="T44" fmla="*/ 13 w 21"/>
                <a:gd name="T45" fmla="*/ 22 h 33"/>
                <a:gd name="T46" fmla="*/ 16 w 21"/>
                <a:gd name="T47" fmla="*/ 24 h 33"/>
                <a:gd name="T48" fmla="*/ 17 w 21"/>
                <a:gd name="T49" fmla="*/ 28 h 33"/>
                <a:gd name="T50" fmla="*/ 19 w 21"/>
                <a:gd name="T51" fmla="*/ 32 h 33"/>
                <a:gd name="T52" fmla="*/ 21 w 21"/>
                <a:gd name="T53" fmla="*/ 33 h 33"/>
                <a:gd name="T54" fmla="*/ 20 w 21"/>
                <a:gd name="T55" fmla="*/ 32 h 33"/>
                <a:gd name="T56" fmla="*/ 20 w 21"/>
                <a:gd name="T57" fmla="*/ 30 h 33"/>
                <a:gd name="T58" fmla="*/ 20 w 21"/>
                <a:gd name="T59" fmla="*/ 29 h 33"/>
                <a:gd name="T60" fmla="*/ 19 w 21"/>
                <a:gd name="T61" fmla="*/ 26 h 33"/>
                <a:gd name="T62" fmla="*/ 20 w 21"/>
                <a:gd name="T63" fmla="*/ 25 h 33"/>
                <a:gd name="T64" fmla="*/ 20 w 21"/>
                <a:gd name="T65" fmla="*/ 24 h 33"/>
                <a:gd name="T66" fmla="*/ 19 w 21"/>
                <a:gd name="T67"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33">
                  <a:moveTo>
                    <a:pt x="19" y="20"/>
                  </a:moveTo>
                  <a:cubicBezTo>
                    <a:pt x="19" y="19"/>
                    <a:pt x="18" y="17"/>
                    <a:pt x="17" y="16"/>
                  </a:cubicBezTo>
                  <a:cubicBezTo>
                    <a:pt x="16" y="15"/>
                    <a:pt x="16" y="15"/>
                    <a:pt x="16" y="14"/>
                  </a:cubicBezTo>
                  <a:cubicBezTo>
                    <a:pt x="15" y="14"/>
                    <a:pt x="15" y="13"/>
                    <a:pt x="15" y="13"/>
                  </a:cubicBezTo>
                  <a:cubicBezTo>
                    <a:pt x="14" y="13"/>
                    <a:pt x="14" y="12"/>
                    <a:pt x="14" y="12"/>
                  </a:cubicBezTo>
                  <a:cubicBezTo>
                    <a:pt x="13" y="12"/>
                    <a:pt x="13" y="11"/>
                    <a:pt x="12" y="11"/>
                  </a:cubicBezTo>
                  <a:cubicBezTo>
                    <a:pt x="12" y="10"/>
                    <a:pt x="12" y="9"/>
                    <a:pt x="11" y="9"/>
                  </a:cubicBezTo>
                  <a:cubicBezTo>
                    <a:pt x="10" y="8"/>
                    <a:pt x="10" y="8"/>
                    <a:pt x="9" y="8"/>
                  </a:cubicBezTo>
                  <a:cubicBezTo>
                    <a:pt x="9" y="8"/>
                    <a:pt x="9" y="8"/>
                    <a:pt x="8" y="8"/>
                  </a:cubicBezTo>
                  <a:cubicBezTo>
                    <a:pt x="8" y="8"/>
                    <a:pt x="8" y="8"/>
                    <a:pt x="7" y="8"/>
                  </a:cubicBezTo>
                  <a:cubicBezTo>
                    <a:pt x="7" y="8"/>
                    <a:pt x="7" y="8"/>
                    <a:pt x="6" y="8"/>
                  </a:cubicBezTo>
                  <a:cubicBezTo>
                    <a:pt x="5" y="8"/>
                    <a:pt x="5" y="8"/>
                    <a:pt x="5" y="7"/>
                  </a:cubicBezTo>
                  <a:cubicBezTo>
                    <a:pt x="5" y="6"/>
                    <a:pt x="4" y="6"/>
                    <a:pt x="5" y="5"/>
                  </a:cubicBezTo>
                  <a:cubicBezTo>
                    <a:pt x="6" y="4"/>
                    <a:pt x="5" y="3"/>
                    <a:pt x="4" y="2"/>
                  </a:cubicBezTo>
                  <a:cubicBezTo>
                    <a:pt x="4" y="2"/>
                    <a:pt x="4" y="2"/>
                    <a:pt x="4" y="2"/>
                  </a:cubicBezTo>
                  <a:cubicBezTo>
                    <a:pt x="4" y="2"/>
                    <a:pt x="4" y="1"/>
                    <a:pt x="4" y="1"/>
                  </a:cubicBezTo>
                  <a:cubicBezTo>
                    <a:pt x="3" y="1"/>
                    <a:pt x="3" y="1"/>
                    <a:pt x="3" y="1"/>
                  </a:cubicBezTo>
                  <a:cubicBezTo>
                    <a:pt x="2" y="1"/>
                    <a:pt x="2" y="1"/>
                    <a:pt x="1" y="1"/>
                  </a:cubicBezTo>
                  <a:cubicBezTo>
                    <a:pt x="1" y="1"/>
                    <a:pt x="1" y="1"/>
                    <a:pt x="1" y="1"/>
                  </a:cubicBezTo>
                  <a:cubicBezTo>
                    <a:pt x="1" y="1"/>
                    <a:pt x="1" y="1"/>
                    <a:pt x="1" y="1"/>
                  </a:cubicBezTo>
                  <a:cubicBezTo>
                    <a:pt x="1" y="0"/>
                    <a:pt x="1" y="0"/>
                    <a:pt x="0" y="0"/>
                  </a:cubicBezTo>
                  <a:cubicBezTo>
                    <a:pt x="0" y="0"/>
                    <a:pt x="0" y="0"/>
                    <a:pt x="0" y="0"/>
                  </a:cubicBezTo>
                  <a:cubicBezTo>
                    <a:pt x="0" y="1"/>
                    <a:pt x="0" y="1"/>
                    <a:pt x="1" y="2"/>
                  </a:cubicBezTo>
                  <a:cubicBezTo>
                    <a:pt x="1" y="2"/>
                    <a:pt x="2" y="2"/>
                    <a:pt x="1" y="3"/>
                  </a:cubicBezTo>
                  <a:cubicBezTo>
                    <a:pt x="1" y="3"/>
                    <a:pt x="2" y="3"/>
                    <a:pt x="2" y="3"/>
                  </a:cubicBezTo>
                  <a:cubicBezTo>
                    <a:pt x="2" y="4"/>
                    <a:pt x="2" y="4"/>
                    <a:pt x="2" y="4"/>
                  </a:cubicBezTo>
                  <a:cubicBezTo>
                    <a:pt x="2" y="4"/>
                    <a:pt x="3" y="4"/>
                    <a:pt x="3" y="4"/>
                  </a:cubicBezTo>
                  <a:cubicBezTo>
                    <a:pt x="3" y="4"/>
                    <a:pt x="3" y="5"/>
                    <a:pt x="3" y="5"/>
                  </a:cubicBezTo>
                  <a:cubicBezTo>
                    <a:pt x="4" y="5"/>
                    <a:pt x="4" y="5"/>
                    <a:pt x="4" y="5"/>
                  </a:cubicBezTo>
                  <a:cubicBezTo>
                    <a:pt x="4" y="5"/>
                    <a:pt x="3" y="5"/>
                    <a:pt x="3" y="5"/>
                  </a:cubicBezTo>
                  <a:cubicBezTo>
                    <a:pt x="2" y="5"/>
                    <a:pt x="2" y="4"/>
                    <a:pt x="1" y="4"/>
                  </a:cubicBezTo>
                  <a:cubicBezTo>
                    <a:pt x="1" y="5"/>
                    <a:pt x="1" y="5"/>
                    <a:pt x="1" y="7"/>
                  </a:cubicBezTo>
                  <a:cubicBezTo>
                    <a:pt x="2" y="7"/>
                    <a:pt x="2" y="7"/>
                    <a:pt x="2" y="7"/>
                  </a:cubicBezTo>
                  <a:cubicBezTo>
                    <a:pt x="2" y="7"/>
                    <a:pt x="3" y="7"/>
                    <a:pt x="3" y="7"/>
                  </a:cubicBezTo>
                  <a:cubicBezTo>
                    <a:pt x="3" y="8"/>
                    <a:pt x="4" y="9"/>
                    <a:pt x="5" y="10"/>
                  </a:cubicBezTo>
                  <a:cubicBezTo>
                    <a:pt x="6" y="11"/>
                    <a:pt x="6" y="11"/>
                    <a:pt x="7" y="12"/>
                  </a:cubicBezTo>
                  <a:cubicBezTo>
                    <a:pt x="7" y="12"/>
                    <a:pt x="8" y="13"/>
                    <a:pt x="7" y="14"/>
                  </a:cubicBezTo>
                  <a:cubicBezTo>
                    <a:pt x="7" y="14"/>
                    <a:pt x="7" y="15"/>
                    <a:pt x="7" y="16"/>
                  </a:cubicBezTo>
                  <a:cubicBezTo>
                    <a:pt x="7" y="16"/>
                    <a:pt x="7" y="16"/>
                    <a:pt x="6" y="16"/>
                  </a:cubicBezTo>
                  <a:cubicBezTo>
                    <a:pt x="6" y="16"/>
                    <a:pt x="5" y="16"/>
                    <a:pt x="4" y="16"/>
                  </a:cubicBezTo>
                  <a:cubicBezTo>
                    <a:pt x="5" y="17"/>
                    <a:pt x="6" y="18"/>
                    <a:pt x="7" y="18"/>
                  </a:cubicBezTo>
                  <a:cubicBezTo>
                    <a:pt x="8" y="18"/>
                    <a:pt x="8" y="19"/>
                    <a:pt x="8" y="20"/>
                  </a:cubicBezTo>
                  <a:cubicBezTo>
                    <a:pt x="8" y="21"/>
                    <a:pt x="9" y="21"/>
                    <a:pt x="9" y="22"/>
                  </a:cubicBezTo>
                  <a:cubicBezTo>
                    <a:pt x="10" y="22"/>
                    <a:pt x="11" y="23"/>
                    <a:pt x="12" y="23"/>
                  </a:cubicBezTo>
                  <a:cubicBezTo>
                    <a:pt x="12" y="22"/>
                    <a:pt x="12" y="22"/>
                    <a:pt x="13" y="22"/>
                  </a:cubicBezTo>
                  <a:cubicBezTo>
                    <a:pt x="13" y="22"/>
                    <a:pt x="13" y="22"/>
                    <a:pt x="13" y="22"/>
                  </a:cubicBezTo>
                  <a:cubicBezTo>
                    <a:pt x="14" y="22"/>
                    <a:pt x="14" y="23"/>
                    <a:pt x="15" y="23"/>
                  </a:cubicBezTo>
                  <a:cubicBezTo>
                    <a:pt x="15" y="23"/>
                    <a:pt x="16" y="23"/>
                    <a:pt x="16" y="24"/>
                  </a:cubicBezTo>
                  <a:cubicBezTo>
                    <a:pt x="16" y="24"/>
                    <a:pt x="17" y="25"/>
                    <a:pt x="17" y="25"/>
                  </a:cubicBezTo>
                  <a:cubicBezTo>
                    <a:pt x="17" y="26"/>
                    <a:pt x="17" y="27"/>
                    <a:pt x="17" y="28"/>
                  </a:cubicBezTo>
                  <a:cubicBezTo>
                    <a:pt x="17" y="29"/>
                    <a:pt x="18" y="30"/>
                    <a:pt x="18" y="30"/>
                  </a:cubicBezTo>
                  <a:cubicBezTo>
                    <a:pt x="19" y="31"/>
                    <a:pt x="19" y="31"/>
                    <a:pt x="19" y="32"/>
                  </a:cubicBezTo>
                  <a:cubicBezTo>
                    <a:pt x="20" y="32"/>
                    <a:pt x="20" y="32"/>
                    <a:pt x="21" y="33"/>
                  </a:cubicBezTo>
                  <a:cubicBezTo>
                    <a:pt x="21" y="33"/>
                    <a:pt x="21" y="33"/>
                    <a:pt x="21" y="33"/>
                  </a:cubicBezTo>
                  <a:cubicBezTo>
                    <a:pt x="21" y="33"/>
                    <a:pt x="21" y="33"/>
                    <a:pt x="21" y="33"/>
                  </a:cubicBezTo>
                  <a:cubicBezTo>
                    <a:pt x="21" y="32"/>
                    <a:pt x="21" y="32"/>
                    <a:pt x="20" y="32"/>
                  </a:cubicBezTo>
                  <a:cubicBezTo>
                    <a:pt x="20" y="31"/>
                    <a:pt x="21" y="31"/>
                    <a:pt x="21" y="31"/>
                  </a:cubicBezTo>
                  <a:cubicBezTo>
                    <a:pt x="20" y="31"/>
                    <a:pt x="20" y="30"/>
                    <a:pt x="20" y="30"/>
                  </a:cubicBezTo>
                  <a:cubicBezTo>
                    <a:pt x="20" y="30"/>
                    <a:pt x="20" y="30"/>
                    <a:pt x="20" y="30"/>
                  </a:cubicBezTo>
                  <a:cubicBezTo>
                    <a:pt x="20" y="30"/>
                    <a:pt x="20" y="30"/>
                    <a:pt x="20" y="29"/>
                  </a:cubicBezTo>
                  <a:cubicBezTo>
                    <a:pt x="20" y="29"/>
                    <a:pt x="19" y="29"/>
                    <a:pt x="19" y="29"/>
                  </a:cubicBezTo>
                  <a:cubicBezTo>
                    <a:pt x="20" y="28"/>
                    <a:pt x="19" y="27"/>
                    <a:pt x="19" y="26"/>
                  </a:cubicBezTo>
                  <a:cubicBezTo>
                    <a:pt x="19" y="26"/>
                    <a:pt x="19" y="26"/>
                    <a:pt x="19" y="25"/>
                  </a:cubicBezTo>
                  <a:cubicBezTo>
                    <a:pt x="19" y="25"/>
                    <a:pt x="19" y="25"/>
                    <a:pt x="20" y="25"/>
                  </a:cubicBezTo>
                  <a:cubicBezTo>
                    <a:pt x="21" y="25"/>
                    <a:pt x="21" y="25"/>
                    <a:pt x="21" y="25"/>
                  </a:cubicBezTo>
                  <a:cubicBezTo>
                    <a:pt x="21" y="24"/>
                    <a:pt x="21" y="24"/>
                    <a:pt x="20" y="24"/>
                  </a:cubicBezTo>
                  <a:cubicBezTo>
                    <a:pt x="20" y="23"/>
                    <a:pt x="20" y="23"/>
                    <a:pt x="20" y="23"/>
                  </a:cubicBezTo>
                  <a:cubicBezTo>
                    <a:pt x="19" y="22"/>
                    <a:pt x="18" y="21"/>
                    <a:pt x="19" y="21"/>
                  </a:cubicBezTo>
                  <a:cubicBezTo>
                    <a:pt x="19" y="21"/>
                    <a:pt x="19" y="20"/>
                    <a:pt x="19" y="2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20" name="Freeform 19">
              <a:extLst>
                <a:ext uri="{FF2B5EF4-FFF2-40B4-BE49-F238E27FC236}">
                  <a16:creationId xmlns:a16="http://schemas.microsoft.com/office/drawing/2014/main" id="{1A10AB68-B86A-A6D0-F6D5-EB554AEA6E1D}"/>
                </a:ext>
              </a:extLst>
            </p:cNvPr>
            <p:cNvSpPr>
              <a:spLocks/>
            </p:cNvSpPr>
            <p:nvPr/>
          </p:nvSpPr>
          <p:spPr bwMode="auto">
            <a:xfrm>
              <a:off x="5585" y="2138"/>
              <a:ext cx="205" cy="134"/>
            </a:xfrm>
            <a:custGeom>
              <a:avLst/>
              <a:gdLst>
                <a:gd name="T0" fmla="*/ 2 w 20"/>
                <a:gd name="T1" fmla="*/ 0 h 13"/>
                <a:gd name="T2" fmla="*/ 0 w 20"/>
                <a:gd name="T3" fmla="*/ 2 h 13"/>
                <a:gd name="T4" fmla="*/ 0 w 20"/>
                <a:gd name="T5" fmla="*/ 3 h 13"/>
                <a:gd name="T6" fmla="*/ 0 w 20"/>
                <a:gd name="T7" fmla="*/ 4 h 13"/>
                <a:gd name="T8" fmla="*/ 0 w 20"/>
                <a:gd name="T9" fmla="*/ 6 h 13"/>
                <a:gd name="T10" fmla="*/ 0 w 20"/>
                <a:gd name="T11" fmla="*/ 6 h 13"/>
                <a:gd name="T12" fmla="*/ 0 w 20"/>
                <a:gd name="T13" fmla="*/ 8 h 13"/>
                <a:gd name="T14" fmla="*/ 2 w 20"/>
                <a:gd name="T15" fmla="*/ 9 h 13"/>
                <a:gd name="T16" fmla="*/ 2 w 20"/>
                <a:gd name="T17" fmla="*/ 9 h 13"/>
                <a:gd name="T18" fmla="*/ 2 w 20"/>
                <a:gd name="T19" fmla="*/ 10 h 13"/>
                <a:gd name="T20" fmla="*/ 3 w 20"/>
                <a:gd name="T21" fmla="*/ 10 h 13"/>
                <a:gd name="T22" fmla="*/ 3 w 20"/>
                <a:gd name="T23" fmla="*/ 10 h 13"/>
                <a:gd name="T24" fmla="*/ 5 w 20"/>
                <a:gd name="T25" fmla="*/ 11 h 13"/>
                <a:gd name="T26" fmla="*/ 5 w 20"/>
                <a:gd name="T27" fmla="*/ 11 h 13"/>
                <a:gd name="T28" fmla="*/ 6 w 20"/>
                <a:gd name="T29" fmla="*/ 12 h 13"/>
                <a:gd name="T30" fmla="*/ 6 w 20"/>
                <a:gd name="T31" fmla="*/ 13 h 13"/>
                <a:gd name="T32" fmla="*/ 9 w 20"/>
                <a:gd name="T33" fmla="*/ 13 h 13"/>
                <a:gd name="T34" fmla="*/ 10 w 20"/>
                <a:gd name="T35" fmla="*/ 12 h 13"/>
                <a:gd name="T36" fmla="*/ 10 w 20"/>
                <a:gd name="T37" fmla="*/ 12 h 13"/>
                <a:gd name="T38" fmla="*/ 12 w 20"/>
                <a:gd name="T39" fmla="*/ 11 h 13"/>
                <a:gd name="T40" fmla="*/ 14 w 20"/>
                <a:gd name="T41" fmla="*/ 10 h 13"/>
                <a:gd name="T42" fmla="*/ 16 w 20"/>
                <a:gd name="T43" fmla="*/ 9 h 13"/>
                <a:gd name="T44" fmla="*/ 16 w 20"/>
                <a:gd name="T45" fmla="*/ 10 h 13"/>
                <a:gd name="T46" fmla="*/ 16 w 20"/>
                <a:gd name="T47" fmla="*/ 9 h 13"/>
                <a:gd name="T48" fmla="*/ 16 w 20"/>
                <a:gd name="T49" fmla="*/ 8 h 13"/>
                <a:gd name="T50" fmla="*/ 16 w 20"/>
                <a:gd name="T51" fmla="*/ 7 h 13"/>
                <a:gd name="T52" fmla="*/ 16 w 20"/>
                <a:gd name="T53" fmla="*/ 7 h 13"/>
                <a:gd name="T54" fmla="*/ 16 w 20"/>
                <a:gd name="T55" fmla="*/ 6 h 13"/>
                <a:gd name="T56" fmla="*/ 16 w 20"/>
                <a:gd name="T57" fmla="*/ 5 h 13"/>
                <a:gd name="T58" fmla="*/ 16 w 20"/>
                <a:gd name="T59" fmla="*/ 5 h 13"/>
                <a:gd name="T60" fmla="*/ 17 w 20"/>
                <a:gd name="T61" fmla="*/ 4 h 13"/>
                <a:gd name="T62" fmla="*/ 18 w 20"/>
                <a:gd name="T63" fmla="*/ 5 h 13"/>
                <a:gd name="T64" fmla="*/ 18 w 20"/>
                <a:gd name="T65" fmla="*/ 5 h 13"/>
                <a:gd name="T66" fmla="*/ 18 w 20"/>
                <a:gd name="T67" fmla="*/ 4 h 13"/>
                <a:gd name="T68" fmla="*/ 19 w 20"/>
                <a:gd name="T69" fmla="*/ 4 h 13"/>
                <a:gd name="T70" fmla="*/ 20 w 20"/>
                <a:gd name="T71" fmla="*/ 4 h 13"/>
                <a:gd name="T72" fmla="*/ 19 w 20"/>
                <a:gd name="T73" fmla="*/ 3 h 13"/>
                <a:gd name="T74" fmla="*/ 18 w 20"/>
                <a:gd name="T75" fmla="*/ 1 h 13"/>
                <a:gd name="T76" fmla="*/ 18 w 20"/>
                <a:gd name="T77" fmla="*/ 0 h 13"/>
                <a:gd name="T78" fmla="*/ 17 w 20"/>
                <a:gd name="T79" fmla="*/ 0 h 13"/>
                <a:gd name="T80" fmla="*/ 14 w 20"/>
                <a:gd name="T81" fmla="*/ 1 h 13"/>
                <a:gd name="T82" fmla="*/ 14 w 20"/>
                <a:gd name="T83" fmla="*/ 1 h 13"/>
                <a:gd name="T84" fmla="*/ 13 w 20"/>
                <a:gd name="T85" fmla="*/ 1 h 13"/>
                <a:gd name="T86" fmla="*/ 10 w 20"/>
                <a:gd name="T87" fmla="*/ 1 h 13"/>
                <a:gd name="T88" fmla="*/ 7 w 20"/>
                <a:gd name="T89" fmla="*/ 1 h 13"/>
                <a:gd name="T90" fmla="*/ 5 w 20"/>
                <a:gd name="T91" fmla="*/ 2 h 13"/>
                <a:gd name="T92" fmla="*/ 4 w 20"/>
                <a:gd name="T93" fmla="*/ 2 h 13"/>
                <a:gd name="T94" fmla="*/ 4 w 20"/>
                <a:gd name="T95" fmla="*/ 2 h 13"/>
                <a:gd name="T96" fmla="*/ 3 w 20"/>
                <a:gd name="T97" fmla="*/ 1 h 13"/>
                <a:gd name="T98" fmla="*/ 2 w 20"/>
                <a:gd name="T9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 h="13">
                  <a:moveTo>
                    <a:pt x="2" y="0"/>
                  </a:moveTo>
                  <a:cubicBezTo>
                    <a:pt x="1" y="1"/>
                    <a:pt x="0" y="1"/>
                    <a:pt x="0" y="2"/>
                  </a:cubicBezTo>
                  <a:cubicBezTo>
                    <a:pt x="0" y="2"/>
                    <a:pt x="0" y="3"/>
                    <a:pt x="0" y="3"/>
                  </a:cubicBezTo>
                  <a:cubicBezTo>
                    <a:pt x="0" y="3"/>
                    <a:pt x="0" y="4"/>
                    <a:pt x="0" y="4"/>
                  </a:cubicBezTo>
                  <a:cubicBezTo>
                    <a:pt x="1" y="5"/>
                    <a:pt x="1" y="5"/>
                    <a:pt x="0" y="6"/>
                  </a:cubicBezTo>
                  <a:cubicBezTo>
                    <a:pt x="0" y="6"/>
                    <a:pt x="0" y="6"/>
                    <a:pt x="0" y="6"/>
                  </a:cubicBezTo>
                  <a:cubicBezTo>
                    <a:pt x="0" y="7"/>
                    <a:pt x="0" y="7"/>
                    <a:pt x="0" y="8"/>
                  </a:cubicBezTo>
                  <a:cubicBezTo>
                    <a:pt x="1" y="8"/>
                    <a:pt x="1" y="9"/>
                    <a:pt x="2" y="9"/>
                  </a:cubicBezTo>
                  <a:cubicBezTo>
                    <a:pt x="2" y="9"/>
                    <a:pt x="3" y="9"/>
                    <a:pt x="2" y="9"/>
                  </a:cubicBezTo>
                  <a:cubicBezTo>
                    <a:pt x="2" y="9"/>
                    <a:pt x="2" y="10"/>
                    <a:pt x="2" y="10"/>
                  </a:cubicBezTo>
                  <a:cubicBezTo>
                    <a:pt x="2" y="10"/>
                    <a:pt x="3" y="10"/>
                    <a:pt x="3" y="10"/>
                  </a:cubicBezTo>
                  <a:cubicBezTo>
                    <a:pt x="3" y="10"/>
                    <a:pt x="3" y="10"/>
                    <a:pt x="3" y="10"/>
                  </a:cubicBezTo>
                  <a:cubicBezTo>
                    <a:pt x="4" y="10"/>
                    <a:pt x="5" y="10"/>
                    <a:pt x="5" y="11"/>
                  </a:cubicBezTo>
                  <a:cubicBezTo>
                    <a:pt x="5" y="11"/>
                    <a:pt x="5" y="11"/>
                    <a:pt x="5" y="11"/>
                  </a:cubicBezTo>
                  <a:cubicBezTo>
                    <a:pt x="6" y="12"/>
                    <a:pt x="6" y="12"/>
                    <a:pt x="6" y="12"/>
                  </a:cubicBezTo>
                  <a:cubicBezTo>
                    <a:pt x="6" y="13"/>
                    <a:pt x="6" y="13"/>
                    <a:pt x="6" y="13"/>
                  </a:cubicBezTo>
                  <a:cubicBezTo>
                    <a:pt x="7" y="13"/>
                    <a:pt x="8" y="13"/>
                    <a:pt x="9" y="13"/>
                  </a:cubicBezTo>
                  <a:cubicBezTo>
                    <a:pt x="9" y="13"/>
                    <a:pt x="10" y="12"/>
                    <a:pt x="10" y="12"/>
                  </a:cubicBezTo>
                  <a:cubicBezTo>
                    <a:pt x="10" y="12"/>
                    <a:pt x="10" y="12"/>
                    <a:pt x="10" y="12"/>
                  </a:cubicBezTo>
                  <a:cubicBezTo>
                    <a:pt x="10" y="11"/>
                    <a:pt x="11" y="11"/>
                    <a:pt x="12" y="11"/>
                  </a:cubicBezTo>
                  <a:cubicBezTo>
                    <a:pt x="13" y="11"/>
                    <a:pt x="13" y="11"/>
                    <a:pt x="14" y="10"/>
                  </a:cubicBezTo>
                  <a:cubicBezTo>
                    <a:pt x="14" y="9"/>
                    <a:pt x="15" y="9"/>
                    <a:pt x="16" y="9"/>
                  </a:cubicBezTo>
                  <a:cubicBezTo>
                    <a:pt x="16" y="10"/>
                    <a:pt x="16" y="10"/>
                    <a:pt x="16" y="10"/>
                  </a:cubicBezTo>
                  <a:cubicBezTo>
                    <a:pt x="16" y="10"/>
                    <a:pt x="16" y="9"/>
                    <a:pt x="16" y="9"/>
                  </a:cubicBezTo>
                  <a:cubicBezTo>
                    <a:pt x="16" y="9"/>
                    <a:pt x="16" y="8"/>
                    <a:pt x="16" y="8"/>
                  </a:cubicBezTo>
                  <a:cubicBezTo>
                    <a:pt x="16" y="8"/>
                    <a:pt x="16" y="7"/>
                    <a:pt x="16" y="7"/>
                  </a:cubicBezTo>
                  <a:cubicBezTo>
                    <a:pt x="17" y="8"/>
                    <a:pt x="16" y="7"/>
                    <a:pt x="16" y="7"/>
                  </a:cubicBezTo>
                  <a:cubicBezTo>
                    <a:pt x="16" y="7"/>
                    <a:pt x="16" y="6"/>
                    <a:pt x="16" y="6"/>
                  </a:cubicBezTo>
                  <a:cubicBezTo>
                    <a:pt x="16" y="6"/>
                    <a:pt x="15" y="4"/>
                    <a:pt x="16" y="5"/>
                  </a:cubicBezTo>
                  <a:cubicBezTo>
                    <a:pt x="16" y="5"/>
                    <a:pt x="16" y="5"/>
                    <a:pt x="16" y="5"/>
                  </a:cubicBezTo>
                  <a:cubicBezTo>
                    <a:pt x="16" y="4"/>
                    <a:pt x="16" y="4"/>
                    <a:pt x="17" y="4"/>
                  </a:cubicBezTo>
                  <a:cubicBezTo>
                    <a:pt x="17" y="4"/>
                    <a:pt x="17" y="5"/>
                    <a:pt x="18" y="5"/>
                  </a:cubicBezTo>
                  <a:cubicBezTo>
                    <a:pt x="18" y="5"/>
                    <a:pt x="18" y="5"/>
                    <a:pt x="18" y="5"/>
                  </a:cubicBezTo>
                  <a:cubicBezTo>
                    <a:pt x="18" y="4"/>
                    <a:pt x="18" y="4"/>
                    <a:pt x="18" y="4"/>
                  </a:cubicBezTo>
                  <a:cubicBezTo>
                    <a:pt x="19" y="4"/>
                    <a:pt x="19" y="4"/>
                    <a:pt x="19" y="4"/>
                  </a:cubicBezTo>
                  <a:cubicBezTo>
                    <a:pt x="20" y="4"/>
                    <a:pt x="20" y="4"/>
                    <a:pt x="20" y="4"/>
                  </a:cubicBezTo>
                  <a:cubicBezTo>
                    <a:pt x="20" y="4"/>
                    <a:pt x="20" y="3"/>
                    <a:pt x="19" y="3"/>
                  </a:cubicBezTo>
                  <a:cubicBezTo>
                    <a:pt x="19" y="3"/>
                    <a:pt x="18" y="2"/>
                    <a:pt x="18" y="1"/>
                  </a:cubicBezTo>
                  <a:cubicBezTo>
                    <a:pt x="19" y="1"/>
                    <a:pt x="18" y="1"/>
                    <a:pt x="18" y="0"/>
                  </a:cubicBezTo>
                  <a:cubicBezTo>
                    <a:pt x="18" y="1"/>
                    <a:pt x="17" y="0"/>
                    <a:pt x="17" y="0"/>
                  </a:cubicBezTo>
                  <a:cubicBezTo>
                    <a:pt x="16" y="0"/>
                    <a:pt x="15" y="1"/>
                    <a:pt x="14" y="1"/>
                  </a:cubicBezTo>
                  <a:cubicBezTo>
                    <a:pt x="14" y="1"/>
                    <a:pt x="14" y="1"/>
                    <a:pt x="14" y="1"/>
                  </a:cubicBezTo>
                  <a:cubicBezTo>
                    <a:pt x="13" y="2"/>
                    <a:pt x="13" y="1"/>
                    <a:pt x="13" y="1"/>
                  </a:cubicBezTo>
                  <a:cubicBezTo>
                    <a:pt x="11" y="1"/>
                    <a:pt x="10" y="1"/>
                    <a:pt x="10" y="1"/>
                  </a:cubicBezTo>
                  <a:cubicBezTo>
                    <a:pt x="9" y="2"/>
                    <a:pt x="8" y="2"/>
                    <a:pt x="7" y="1"/>
                  </a:cubicBezTo>
                  <a:cubicBezTo>
                    <a:pt x="6" y="1"/>
                    <a:pt x="6" y="1"/>
                    <a:pt x="5" y="2"/>
                  </a:cubicBezTo>
                  <a:cubicBezTo>
                    <a:pt x="5" y="2"/>
                    <a:pt x="5" y="2"/>
                    <a:pt x="4" y="2"/>
                  </a:cubicBezTo>
                  <a:cubicBezTo>
                    <a:pt x="4" y="2"/>
                    <a:pt x="4" y="2"/>
                    <a:pt x="4" y="2"/>
                  </a:cubicBezTo>
                  <a:cubicBezTo>
                    <a:pt x="4" y="1"/>
                    <a:pt x="3" y="1"/>
                    <a:pt x="3" y="1"/>
                  </a:cubicBezTo>
                  <a:cubicBezTo>
                    <a:pt x="2" y="0"/>
                    <a:pt x="2" y="0"/>
                    <a:pt x="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21" name="Freeform 20">
              <a:extLst>
                <a:ext uri="{FF2B5EF4-FFF2-40B4-BE49-F238E27FC236}">
                  <a16:creationId xmlns:a16="http://schemas.microsoft.com/office/drawing/2014/main" id="{77EF8895-AB8B-2AD5-A01F-B02DB519E7E8}"/>
                </a:ext>
              </a:extLst>
            </p:cNvPr>
            <p:cNvSpPr>
              <a:spLocks/>
            </p:cNvSpPr>
            <p:nvPr/>
          </p:nvSpPr>
          <p:spPr bwMode="auto">
            <a:xfrm>
              <a:off x="991" y="1290"/>
              <a:ext cx="390" cy="228"/>
            </a:xfrm>
            <a:custGeom>
              <a:avLst/>
              <a:gdLst>
                <a:gd name="T0" fmla="*/ 38 w 38"/>
                <a:gd name="T1" fmla="*/ 2 h 22"/>
                <a:gd name="T2" fmla="*/ 38 w 38"/>
                <a:gd name="T3" fmla="*/ 1 h 22"/>
                <a:gd name="T4" fmla="*/ 30 w 38"/>
                <a:gd name="T5" fmla="*/ 3 h 22"/>
                <a:gd name="T6" fmla="*/ 27 w 38"/>
                <a:gd name="T7" fmla="*/ 3 h 22"/>
                <a:gd name="T8" fmla="*/ 26 w 38"/>
                <a:gd name="T9" fmla="*/ 2 h 22"/>
                <a:gd name="T10" fmla="*/ 24 w 38"/>
                <a:gd name="T11" fmla="*/ 3 h 22"/>
                <a:gd name="T12" fmla="*/ 21 w 38"/>
                <a:gd name="T13" fmla="*/ 6 h 22"/>
                <a:gd name="T14" fmla="*/ 23 w 38"/>
                <a:gd name="T15" fmla="*/ 6 h 22"/>
                <a:gd name="T16" fmla="*/ 22 w 38"/>
                <a:gd name="T17" fmla="*/ 7 h 22"/>
                <a:gd name="T18" fmla="*/ 18 w 38"/>
                <a:gd name="T19" fmla="*/ 8 h 22"/>
                <a:gd name="T20" fmla="*/ 18 w 38"/>
                <a:gd name="T21" fmla="*/ 9 h 22"/>
                <a:gd name="T22" fmla="*/ 15 w 38"/>
                <a:gd name="T23" fmla="*/ 11 h 22"/>
                <a:gd name="T24" fmla="*/ 11 w 38"/>
                <a:gd name="T25" fmla="*/ 12 h 22"/>
                <a:gd name="T26" fmla="*/ 10 w 38"/>
                <a:gd name="T27" fmla="*/ 14 h 22"/>
                <a:gd name="T28" fmla="*/ 8 w 38"/>
                <a:gd name="T29" fmla="*/ 13 h 22"/>
                <a:gd name="T30" fmla="*/ 4 w 38"/>
                <a:gd name="T31" fmla="*/ 17 h 22"/>
                <a:gd name="T32" fmla="*/ 1 w 38"/>
                <a:gd name="T33" fmla="*/ 20 h 22"/>
                <a:gd name="T34" fmla="*/ 0 w 38"/>
                <a:gd name="T35" fmla="*/ 21 h 22"/>
                <a:gd name="T36" fmla="*/ 5 w 38"/>
                <a:gd name="T37" fmla="*/ 19 h 22"/>
                <a:gd name="T38" fmla="*/ 3 w 38"/>
                <a:gd name="T39" fmla="*/ 22 h 22"/>
                <a:gd name="T40" fmla="*/ 11 w 38"/>
                <a:gd name="T41" fmla="*/ 16 h 22"/>
                <a:gd name="T42" fmla="*/ 9 w 38"/>
                <a:gd name="T43" fmla="*/ 19 h 22"/>
                <a:gd name="T44" fmla="*/ 6 w 38"/>
                <a:gd name="T45" fmla="*/ 21 h 22"/>
                <a:gd name="T46" fmla="*/ 9 w 38"/>
                <a:gd name="T47" fmla="*/ 20 h 22"/>
                <a:gd name="T48" fmla="*/ 14 w 38"/>
                <a:gd name="T49" fmla="*/ 18 h 22"/>
                <a:gd name="T50" fmla="*/ 18 w 38"/>
                <a:gd name="T51" fmla="*/ 16 h 22"/>
                <a:gd name="T52" fmla="*/ 24 w 38"/>
                <a:gd name="T53" fmla="*/ 11 h 22"/>
                <a:gd name="T54" fmla="*/ 27 w 38"/>
                <a:gd name="T55" fmla="*/ 8 h 22"/>
                <a:gd name="T56" fmla="*/ 31 w 38"/>
                <a:gd name="T57" fmla="*/ 7 h 22"/>
                <a:gd name="T58" fmla="*/ 36 w 38"/>
                <a:gd name="T59" fmla="*/ 4 h 22"/>
                <a:gd name="T60" fmla="*/ 36 w 38"/>
                <a:gd name="T61" fmla="*/ 3 h 22"/>
                <a:gd name="T62" fmla="*/ 36 w 38"/>
                <a:gd name="T6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 h="22">
                  <a:moveTo>
                    <a:pt x="36" y="3"/>
                  </a:moveTo>
                  <a:cubicBezTo>
                    <a:pt x="36" y="3"/>
                    <a:pt x="37" y="2"/>
                    <a:pt x="38" y="2"/>
                  </a:cubicBezTo>
                  <a:cubicBezTo>
                    <a:pt x="38" y="2"/>
                    <a:pt x="38" y="2"/>
                    <a:pt x="38" y="1"/>
                  </a:cubicBezTo>
                  <a:cubicBezTo>
                    <a:pt x="38" y="1"/>
                    <a:pt x="38" y="1"/>
                    <a:pt x="38" y="1"/>
                  </a:cubicBezTo>
                  <a:cubicBezTo>
                    <a:pt x="36" y="2"/>
                    <a:pt x="34" y="2"/>
                    <a:pt x="32" y="3"/>
                  </a:cubicBezTo>
                  <a:cubicBezTo>
                    <a:pt x="31" y="4"/>
                    <a:pt x="30" y="4"/>
                    <a:pt x="30" y="3"/>
                  </a:cubicBezTo>
                  <a:cubicBezTo>
                    <a:pt x="30" y="3"/>
                    <a:pt x="29" y="3"/>
                    <a:pt x="29" y="3"/>
                  </a:cubicBezTo>
                  <a:cubicBezTo>
                    <a:pt x="28" y="3"/>
                    <a:pt x="27" y="3"/>
                    <a:pt x="27" y="3"/>
                  </a:cubicBezTo>
                  <a:cubicBezTo>
                    <a:pt x="27" y="2"/>
                    <a:pt x="28" y="1"/>
                    <a:pt x="28" y="0"/>
                  </a:cubicBezTo>
                  <a:cubicBezTo>
                    <a:pt x="27" y="1"/>
                    <a:pt x="26" y="1"/>
                    <a:pt x="26" y="2"/>
                  </a:cubicBezTo>
                  <a:cubicBezTo>
                    <a:pt x="25" y="2"/>
                    <a:pt x="24" y="3"/>
                    <a:pt x="23" y="4"/>
                  </a:cubicBezTo>
                  <a:cubicBezTo>
                    <a:pt x="23" y="3"/>
                    <a:pt x="24" y="3"/>
                    <a:pt x="24" y="3"/>
                  </a:cubicBezTo>
                  <a:cubicBezTo>
                    <a:pt x="24" y="4"/>
                    <a:pt x="23" y="4"/>
                    <a:pt x="23" y="4"/>
                  </a:cubicBezTo>
                  <a:cubicBezTo>
                    <a:pt x="22" y="5"/>
                    <a:pt x="21" y="5"/>
                    <a:pt x="21" y="6"/>
                  </a:cubicBezTo>
                  <a:cubicBezTo>
                    <a:pt x="21" y="6"/>
                    <a:pt x="22" y="6"/>
                    <a:pt x="22" y="6"/>
                  </a:cubicBezTo>
                  <a:cubicBezTo>
                    <a:pt x="23" y="6"/>
                    <a:pt x="23" y="6"/>
                    <a:pt x="23" y="6"/>
                  </a:cubicBezTo>
                  <a:cubicBezTo>
                    <a:pt x="23" y="6"/>
                    <a:pt x="24" y="6"/>
                    <a:pt x="23" y="7"/>
                  </a:cubicBezTo>
                  <a:cubicBezTo>
                    <a:pt x="23" y="7"/>
                    <a:pt x="23" y="7"/>
                    <a:pt x="22" y="7"/>
                  </a:cubicBezTo>
                  <a:cubicBezTo>
                    <a:pt x="22" y="7"/>
                    <a:pt x="22" y="7"/>
                    <a:pt x="22" y="7"/>
                  </a:cubicBezTo>
                  <a:cubicBezTo>
                    <a:pt x="21" y="7"/>
                    <a:pt x="19" y="7"/>
                    <a:pt x="18" y="8"/>
                  </a:cubicBezTo>
                  <a:cubicBezTo>
                    <a:pt x="17" y="8"/>
                    <a:pt x="17" y="8"/>
                    <a:pt x="16" y="9"/>
                  </a:cubicBezTo>
                  <a:cubicBezTo>
                    <a:pt x="17" y="9"/>
                    <a:pt x="17" y="9"/>
                    <a:pt x="18" y="9"/>
                  </a:cubicBezTo>
                  <a:cubicBezTo>
                    <a:pt x="17" y="9"/>
                    <a:pt x="16" y="10"/>
                    <a:pt x="16" y="10"/>
                  </a:cubicBezTo>
                  <a:cubicBezTo>
                    <a:pt x="16" y="10"/>
                    <a:pt x="15" y="11"/>
                    <a:pt x="15" y="11"/>
                  </a:cubicBezTo>
                  <a:cubicBezTo>
                    <a:pt x="16" y="9"/>
                    <a:pt x="14" y="11"/>
                    <a:pt x="14" y="11"/>
                  </a:cubicBezTo>
                  <a:cubicBezTo>
                    <a:pt x="13" y="11"/>
                    <a:pt x="12" y="12"/>
                    <a:pt x="11" y="12"/>
                  </a:cubicBezTo>
                  <a:cubicBezTo>
                    <a:pt x="11" y="12"/>
                    <a:pt x="11" y="12"/>
                    <a:pt x="11" y="13"/>
                  </a:cubicBezTo>
                  <a:cubicBezTo>
                    <a:pt x="10" y="13"/>
                    <a:pt x="10" y="13"/>
                    <a:pt x="10" y="14"/>
                  </a:cubicBezTo>
                  <a:cubicBezTo>
                    <a:pt x="10" y="14"/>
                    <a:pt x="9" y="14"/>
                    <a:pt x="9" y="13"/>
                  </a:cubicBezTo>
                  <a:cubicBezTo>
                    <a:pt x="9" y="13"/>
                    <a:pt x="8" y="13"/>
                    <a:pt x="8" y="13"/>
                  </a:cubicBezTo>
                  <a:cubicBezTo>
                    <a:pt x="7" y="14"/>
                    <a:pt x="6" y="15"/>
                    <a:pt x="6" y="15"/>
                  </a:cubicBezTo>
                  <a:cubicBezTo>
                    <a:pt x="6" y="16"/>
                    <a:pt x="4" y="16"/>
                    <a:pt x="4" y="17"/>
                  </a:cubicBezTo>
                  <a:cubicBezTo>
                    <a:pt x="3" y="17"/>
                    <a:pt x="3" y="18"/>
                    <a:pt x="2" y="19"/>
                  </a:cubicBezTo>
                  <a:cubicBezTo>
                    <a:pt x="2" y="19"/>
                    <a:pt x="2" y="19"/>
                    <a:pt x="1" y="20"/>
                  </a:cubicBezTo>
                  <a:cubicBezTo>
                    <a:pt x="2" y="20"/>
                    <a:pt x="2" y="20"/>
                    <a:pt x="1" y="20"/>
                  </a:cubicBezTo>
                  <a:cubicBezTo>
                    <a:pt x="1" y="21"/>
                    <a:pt x="1" y="21"/>
                    <a:pt x="0" y="21"/>
                  </a:cubicBezTo>
                  <a:cubicBezTo>
                    <a:pt x="0" y="22"/>
                    <a:pt x="1" y="22"/>
                    <a:pt x="1" y="21"/>
                  </a:cubicBezTo>
                  <a:cubicBezTo>
                    <a:pt x="2" y="21"/>
                    <a:pt x="4" y="20"/>
                    <a:pt x="5" y="19"/>
                  </a:cubicBezTo>
                  <a:cubicBezTo>
                    <a:pt x="5" y="19"/>
                    <a:pt x="5" y="19"/>
                    <a:pt x="6" y="19"/>
                  </a:cubicBezTo>
                  <a:cubicBezTo>
                    <a:pt x="5" y="20"/>
                    <a:pt x="3" y="20"/>
                    <a:pt x="3" y="22"/>
                  </a:cubicBezTo>
                  <a:cubicBezTo>
                    <a:pt x="3" y="21"/>
                    <a:pt x="4" y="21"/>
                    <a:pt x="5" y="20"/>
                  </a:cubicBezTo>
                  <a:cubicBezTo>
                    <a:pt x="7" y="19"/>
                    <a:pt x="9" y="18"/>
                    <a:pt x="11" y="16"/>
                  </a:cubicBezTo>
                  <a:cubicBezTo>
                    <a:pt x="13" y="15"/>
                    <a:pt x="14" y="15"/>
                    <a:pt x="16" y="14"/>
                  </a:cubicBezTo>
                  <a:cubicBezTo>
                    <a:pt x="13" y="16"/>
                    <a:pt x="11" y="17"/>
                    <a:pt x="9" y="19"/>
                  </a:cubicBezTo>
                  <a:cubicBezTo>
                    <a:pt x="8" y="19"/>
                    <a:pt x="7" y="20"/>
                    <a:pt x="6" y="21"/>
                  </a:cubicBezTo>
                  <a:cubicBezTo>
                    <a:pt x="6" y="21"/>
                    <a:pt x="6" y="21"/>
                    <a:pt x="6" y="21"/>
                  </a:cubicBezTo>
                  <a:cubicBezTo>
                    <a:pt x="6" y="21"/>
                    <a:pt x="6" y="22"/>
                    <a:pt x="6" y="22"/>
                  </a:cubicBezTo>
                  <a:cubicBezTo>
                    <a:pt x="7" y="21"/>
                    <a:pt x="8" y="21"/>
                    <a:pt x="9" y="20"/>
                  </a:cubicBezTo>
                  <a:cubicBezTo>
                    <a:pt x="10" y="20"/>
                    <a:pt x="10" y="19"/>
                    <a:pt x="11" y="19"/>
                  </a:cubicBezTo>
                  <a:cubicBezTo>
                    <a:pt x="12" y="18"/>
                    <a:pt x="13" y="18"/>
                    <a:pt x="14" y="18"/>
                  </a:cubicBezTo>
                  <a:cubicBezTo>
                    <a:pt x="14" y="18"/>
                    <a:pt x="15" y="18"/>
                    <a:pt x="16" y="17"/>
                  </a:cubicBezTo>
                  <a:cubicBezTo>
                    <a:pt x="16" y="17"/>
                    <a:pt x="17" y="16"/>
                    <a:pt x="18" y="16"/>
                  </a:cubicBezTo>
                  <a:cubicBezTo>
                    <a:pt x="19" y="15"/>
                    <a:pt x="21" y="14"/>
                    <a:pt x="23" y="12"/>
                  </a:cubicBezTo>
                  <a:cubicBezTo>
                    <a:pt x="23" y="12"/>
                    <a:pt x="24" y="11"/>
                    <a:pt x="24" y="11"/>
                  </a:cubicBezTo>
                  <a:cubicBezTo>
                    <a:pt x="25" y="10"/>
                    <a:pt x="26" y="10"/>
                    <a:pt x="27" y="9"/>
                  </a:cubicBezTo>
                  <a:cubicBezTo>
                    <a:pt x="27" y="9"/>
                    <a:pt x="27" y="8"/>
                    <a:pt x="27" y="8"/>
                  </a:cubicBezTo>
                  <a:cubicBezTo>
                    <a:pt x="28" y="9"/>
                    <a:pt x="30" y="7"/>
                    <a:pt x="31" y="7"/>
                  </a:cubicBezTo>
                  <a:cubicBezTo>
                    <a:pt x="31" y="7"/>
                    <a:pt x="31" y="7"/>
                    <a:pt x="31" y="7"/>
                  </a:cubicBezTo>
                  <a:cubicBezTo>
                    <a:pt x="32" y="7"/>
                    <a:pt x="32" y="6"/>
                    <a:pt x="32" y="6"/>
                  </a:cubicBezTo>
                  <a:cubicBezTo>
                    <a:pt x="34" y="5"/>
                    <a:pt x="34" y="5"/>
                    <a:pt x="36" y="4"/>
                  </a:cubicBezTo>
                  <a:cubicBezTo>
                    <a:pt x="36" y="4"/>
                    <a:pt x="37" y="4"/>
                    <a:pt x="36" y="4"/>
                  </a:cubicBezTo>
                  <a:cubicBezTo>
                    <a:pt x="36" y="3"/>
                    <a:pt x="36" y="3"/>
                    <a:pt x="36" y="3"/>
                  </a:cubicBezTo>
                  <a:cubicBezTo>
                    <a:pt x="35" y="3"/>
                    <a:pt x="35" y="4"/>
                    <a:pt x="35" y="4"/>
                  </a:cubicBezTo>
                  <a:cubicBezTo>
                    <a:pt x="35" y="3"/>
                    <a:pt x="35" y="3"/>
                    <a:pt x="36"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22" name="Freeform 21">
              <a:extLst>
                <a:ext uri="{FF2B5EF4-FFF2-40B4-BE49-F238E27FC236}">
                  <a16:creationId xmlns:a16="http://schemas.microsoft.com/office/drawing/2014/main" id="{8070872E-164D-79A6-42FC-FB95A56EA003}"/>
                </a:ext>
              </a:extLst>
            </p:cNvPr>
            <p:cNvSpPr>
              <a:spLocks/>
            </p:cNvSpPr>
            <p:nvPr/>
          </p:nvSpPr>
          <p:spPr bwMode="auto">
            <a:xfrm>
              <a:off x="4385" y="2004"/>
              <a:ext cx="143" cy="196"/>
            </a:xfrm>
            <a:custGeom>
              <a:avLst/>
              <a:gdLst>
                <a:gd name="T0" fmla="*/ 14 w 14"/>
                <a:gd name="T1" fmla="*/ 4 h 19"/>
                <a:gd name="T2" fmla="*/ 13 w 14"/>
                <a:gd name="T3" fmla="*/ 0 h 19"/>
                <a:gd name="T4" fmla="*/ 12 w 14"/>
                <a:gd name="T5" fmla="*/ 1 h 19"/>
                <a:gd name="T6" fmla="*/ 12 w 14"/>
                <a:gd name="T7" fmla="*/ 2 h 19"/>
                <a:gd name="T8" fmla="*/ 10 w 14"/>
                <a:gd name="T9" fmla="*/ 3 h 19"/>
                <a:gd name="T10" fmla="*/ 10 w 14"/>
                <a:gd name="T11" fmla="*/ 3 h 19"/>
                <a:gd name="T12" fmla="*/ 8 w 14"/>
                <a:gd name="T13" fmla="*/ 4 h 19"/>
                <a:gd name="T14" fmla="*/ 7 w 14"/>
                <a:gd name="T15" fmla="*/ 4 h 19"/>
                <a:gd name="T16" fmla="*/ 6 w 14"/>
                <a:gd name="T17" fmla="*/ 5 h 19"/>
                <a:gd name="T18" fmla="*/ 5 w 14"/>
                <a:gd name="T19" fmla="*/ 4 h 19"/>
                <a:gd name="T20" fmla="*/ 4 w 14"/>
                <a:gd name="T21" fmla="*/ 5 h 19"/>
                <a:gd name="T22" fmla="*/ 3 w 14"/>
                <a:gd name="T23" fmla="*/ 6 h 19"/>
                <a:gd name="T24" fmla="*/ 3 w 14"/>
                <a:gd name="T25" fmla="*/ 6 h 19"/>
                <a:gd name="T26" fmla="*/ 3 w 14"/>
                <a:gd name="T27" fmla="*/ 8 h 19"/>
                <a:gd name="T28" fmla="*/ 2 w 14"/>
                <a:gd name="T29" fmla="*/ 12 h 19"/>
                <a:gd name="T30" fmla="*/ 1 w 14"/>
                <a:gd name="T31" fmla="*/ 14 h 19"/>
                <a:gd name="T32" fmla="*/ 1 w 14"/>
                <a:gd name="T33" fmla="*/ 16 h 19"/>
                <a:gd name="T34" fmla="*/ 2 w 14"/>
                <a:gd name="T35" fmla="*/ 18 h 19"/>
                <a:gd name="T36" fmla="*/ 4 w 14"/>
                <a:gd name="T37" fmla="*/ 19 h 19"/>
                <a:gd name="T38" fmla="*/ 6 w 14"/>
                <a:gd name="T39" fmla="*/ 18 h 19"/>
                <a:gd name="T40" fmla="*/ 6 w 14"/>
                <a:gd name="T41" fmla="*/ 18 h 19"/>
                <a:gd name="T42" fmla="*/ 8 w 14"/>
                <a:gd name="T43" fmla="*/ 15 h 19"/>
                <a:gd name="T44" fmla="*/ 9 w 14"/>
                <a:gd name="T45" fmla="*/ 13 h 19"/>
                <a:gd name="T46" fmla="*/ 11 w 14"/>
                <a:gd name="T47" fmla="*/ 11 h 19"/>
                <a:gd name="T48" fmla="*/ 12 w 14"/>
                <a:gd name="T49" fmla="*/ 8 h 19"/>
                <a:gd name="T50" fmla="*/ 12 w 14"/>
                <a:gd name="T51" fmla="*/ 7 h 19"/>
                <a:gd name="T52" fmla="*/ 13 w 14"/>
                <a:gd name="T53" fmla="*/ 5 h 19"/>
                <a:gd name="T54" fmla="*/ 13 w 14"/>
                <a:gd name="T55" fmla="*/ 5 h 19"/>
                <a:gd name="T56" fmla="*/ 13 w 14"/>
                <a:gd name="T57" fmla="*/ 5 h 19"/>
                <a:gd name="T58" fmla="*/ 14 w 14"/>
                <a:gd name="T59" fmla="*/ 6 h 19"/>
                <a:gd name="T60" fmla="*/ 14 w 14"/>
                <a:gd name="T61" fmla="*/ 5 h 19"/>
                <a:gd name="T62" fmla="*/ 14 w 14"/>
                <a:gd name="T63"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 h="19">
                  <a:moveTo>
                    <a:pt x="14" y="4"/>
                  </a:moveTo>
                  <a:cubicBezTo>
                    <a:pt x="14" y="2"/>
                    <a:pt x="14" y="1"/>
                    <a:pt x="13" y="0"/>
                  </a:cubicBezTo>
                  <a:cubicBezTo>
                    <a:pt x="12" y="0"/>
                    <a:pt x="12" y="1"/>
                    <a:pt x="12" y="1"/>
                  </a:cubicBezTo>
                  <a:cubicBezTo>
                    <a:pt x="12" y="1"/>
                    <a:pt x="12" y="2"/>
                    <a:pt x="12" y="2"/>
                  </a:cubicBezTo>
                  <a:cubicBezTo>
                    <a:pt x="11" y="2"/>
                    <a:pt x="11" y="2"/>
                    <a:pt x="10" y="3"/>
                  </a:cubicBezTo>
                  <a:cubicBezTo>
                    <a:pt x="10" y="3"/>
                    <a:pt x="10" y="3"/>
                    <a:pt x="10" y="3"/>
                  </a:cubicBezTo>
                  <a:cubicBezTo>
                    <a:pt x="9" y="3"/>
                    <a:pt x="9" y="4"/>
                    <a:pt x="8" y="4"/>
                  </a:cubicBezTo>
                  <a:cubicBezTo>
                    <a:pt x="8" y="4"/>
                    <a:pt x="8" y="4"/>
                    <a:pt x="7" y="4"/>
                  </a:cubicBezTo>
                  <a:cubicBezTo>
                    <a:pt x="7" y="5"/>
                    <a:pt x="6" y="4"/>
                    <a:pt x="6" y="5"/>
                  </a:cubicBezTo>
                  <a:cubicBezTo>
                    <a:pt x="5" y="5"/>
                    <a:pt x="5" y="4"/>
                    <a:pt x="5" y="4"/>
                  </a:cubicBezTo>
                  <a:cubicBezTo>
                    <a:pt x="5" y="5"/>
                    <a:pt x="4" y="5"/>
                    <a:pt x="4" y="5"/>
                  </a:cubicBezTo>
                  <a:cubicBezTo>
                    <a:pt x="4" y="6"/>
                    <a:pt x="3" y="6"/>
                    <a:pt x="3" y="6"/>
                  </a:cubicBezTo>
                  <a:cubicBezTo>
                    <a:pt x="3" y="6"/>
                    <a:pt x="3" y="6"/>
                    <a:pt x="3" y="6"/>
                  </a:cubicBezTo>
                  <a:cubicBezTo>
                    <a:pt x="3" y="7"/>
                    <a:pt x="3" y="7"/>
                    <a:pt x="3" y="8"/>
                  </a:cubicBezTo>
                  <a:cubicBezTo>
                    <a:pt x="3" y="10"/>
                    <a:pt x="3" y="10"/>
                    <a:pt x="2" y="12"/>
                  </a:cubicBezTo>
                  <a:cubicBezTo>
                    <a:pt x="1" y="12"/>
                    <a:pt x="0" y="13"/>
                    <a:pt x="1" y="14"/>
                  </a:cubicBezTo>
                  <a:cubicBezTo>
                    <a:pt x="1" y="15"/>
                    <a:pt x="1" y="15"/>
                    <a:pt x="1" y="16"/>
                  </a:cubicBezTo>
                  <a:cubicBezTo>
                    <a:pt x="1" y="17"/>
                    <a:pt x="1" y="18"/>
                    <a:pt x="2" y="18"/>
                  </a:cubicBezTo>
                  <a:cubicBezTo>
                    <a:pt x="3" y="19"/>
                    <a:pt x="3" y="19"/>
                    <a:pt x="4" y="19"/>
                  </a:cubicBezTo>
                  <a:cubicBezTo>
                    <a:pt x="5" y="18"/>
                    <a:pt x="5" y="19"/>
                    <a:pt x="6" y="18"/>
                  </a:cubicBezTo>
                  <a:cubicBezTo>
                    <a:pt x="6" y="18"/>
                    <a:pt x="6" y="18"/>
                    <a:pt x="6" y="18"/>
                  </a:cubicBezTo>
                  <a:cubicBezTo>
                    <a:pt x="7" y="17"/>
                    <a:pt x="8" y="16"/>
                    <a:pt x="8" y="15"/>
                  </a:cubicBezTo>
                  <a:cubicBezTo>
                    <a:pt x="8" y="14"/>
                    <a:pt x="9" y="14"/>
                    <a:pt x="9" y="13"/>
                  </a:cubicBezTo>
                  <a:cubicBezTo>
                    <a:pt x="10" y="12"/>
                    <a:pt x="10" y="11"/>
                    <a:pt x="11" y="11"/>
                  </a:cubicBezTo>
                  <a:cubicBezTo>
                    <a:pt x="11" y="10"/>
                    <a:pt x="12" y="9"/>
                    <a:pt x="12" y="8"/>
                  </a:cubicBezTo>
                  <a:cubicBezTo>
                    <a:pt x="12" y="8"/>
                    <a:pt x="12" y="7"/>
                    <a:pt x="12" y="7"/>
                  </a:cubicBezTo>
                  <a:cubicBezTo>
                    <a:pt x="13" y="7"/>
                    <a:pt x="13" y="6"/>
                    <a:pt x="13" y="5"/>
                  </a:cubicBezTo>
                  <a:cubicBezTo>
                    <a:pt x="13" y="5"/>
                    <a:pt x="13" y="5"/>
                    <a:pt x="13" y="5"/>
                  </a:cubicBezTo>
                  <a:cubicBezTo>
                    <a:pt x="13" y="5"/>
                    <a:pt x="13" y="5"/>
                    <a:pt x="13" y="5"/>
                  </a:cubicBezTo>
                  <a:cubicBezTo>
                    <a:pt x="13" y="5"/>
                    <a:pt x="14" y="6"/>
                    <a:pt x="14" y="6"/>
                  </a:cubicBezTo>
                  <a:cubicBezTo>
                    <a:pt x="14" y="6"/>
                    <a:pt x="14" y="5"/>
                    <a:pt x="14" y="5"/>
                  </a:cubicBezTo>
                  <a:cubicBezTo>
                    <a:pt x="14" y="5"/>
                    <a:pt x="14" y="4"/>
                    <a:pt x="1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23" name="Freeform 22">
              <a:extLst>
                <a:ext uri="{FF2B5EF4-FFF2-40B4-BE49-F238E27FC236}">
                  <a16:creationId xmlns:a16="http://schemas.microsoft.com/office/drawing/2014/main" id="{6DA81817-8A61-A7E3-6D3E-C74FC44D19B7}"/>
                </a:ext>
              </a:extLst>
            </p:cNvPr>
            <p:cNvSpPr>
              <a:spLocks/>
            </p:cNvSpPr>
            <p:nvPr/>
          </p:nvSpPr>
          <p:spPr bwMode="auto">
            <a:xfrm>
              <a:off x="5390" y="1983"/>
              <a:ext cx="123" cy="238"/>
            </a:xfrm>
            <a:custGeom>
              <a:avLst/>
              <a:gdLst>
                <a:gd name="T0" fmla="*/ 10 w 12"/>
                <a:gd name="T1" fmla="*/ 23 h 23"/>
                <a:gd name="T2" fmla="*/ 10 w 12"/>
                <a:gd name="T3" fmla="*/ 23 h 23"/>
                <a:gd name="T4" fmla="*/ 10 w 12"/>
                <a:gd name="T5" fmla="*/ 23 h 23"/>
                <a:gd name="T6" fmla="*/ 10 w 12"/>
                <a:gd name="T7" fmla="*/ 22 h 23"/>
                <a:gd name="T8" fmla="*/ 11 w 12"/>
                <a:gd name="T9" fmla="*/ 21 h 23"/>
                <a:gd name="T10" fmla="*/ 11 w 12"/>
                <a:gd name="T11" fmla="*/ 21 h 23"/>
                <a:gd name="T12" fmla="*/ 12 w 12"/>
                <a:gd name="T13" fmla="*/ 20 h 23"/>
                <a:gd name="T14" fmla="*/ 12 w 12"/>
                <a:gd name="T15" fmla="*/ 20 h 23"/>
                <a:gd name="T16" fmla="*/ 11 w 12"/>
                <a:gd name="T17" fmla="*/ 18 h 23"/>
                <a:gd name="T18" fmla="*/ 11 w 12"/>
                <a:gd name="T19" fmla="*/ 16 h 23"/>
                <a:gd name="T20" fmla="*/ 10 w 12"/>
                <a:gd name="T21" fmla="*/ 15 h 23"/>
                <a:gd name="T22" fmla="*/ 10 w 12"/>
                <a:gd name="T23" fmla="*/ 14 h 23"/>
                <a:gd name="T24" fmla="*/ 10 w 12"/>
                <a:gd name="T25" fmla="*/ 12 h 23"/>
                <a:gd name="T26" fmla="*/ 10 w 12"/>
                <a:gd name="T27" fmla="*/ 12 h 23"/>
                <a:gd name="T28" fmla="*/ 9 w 12"/>
                <a:gd name="T29" fmla="*/ 10 h 23"/>
                <a:gd name="T30" fmla="*/ 8 w 12"/>
                <a:gd name="T31" fmla="*/ 10 h 23"/>
                <a:gd name="T32" fmla="*/ 8 w 12"/>
                <a:gd name="T33" fmla="*/ 9 h 23"/>
                <a:gd name="T34" fmla="*/ 6 w 12"/>
                <a:gd name="T35" fmla="*/ 7 h 23"/>
                <a:gd name="T36" fmla="*/ 5 w 12"/>
                <a:gd name="T37" fmla="*/ 5 h 23"/>
                <a:gd name="T38" fmla="*/ 4 w 12"/>
                <a:gd name="T39" fmla="*/ 3 h 23"/>
                <a:gd name="T40" fmla="*/ 3 w 12"/>
                <a:gd name="T41" fmla="*/ 1 h 23"/>
                <a:gd name="T42" fmla="*/ 1 w 12"/>
                <a:gd name="T43" fmla="*/ 0 h 23"/>
                <a:gd name="T44" fmla="*/ 0 w 12"/>
                <a:gd name="T45" fmla="*/ 0 h 23"/>
                <a:gd name="T46" fmla="*/ 0 w 12"/>
                <a:gd name="T47" fmla="*/ 0 h 23"/>
                <a:gd name="T48" fmla="*/ 1 w 12"/>
                <a:gd name="T49" fmla="*/ 3 h 23"/>
                <a:gd name="T50" fmla="*/ 2 w 12"/>
                <a:gd name="T51" fmla="*/ 5 h 23"/>
                <a:gd name="T52" fmla="*/ 2 w 12"/>
                <a:gd name="T53" fmla="*/ 6 h 23"/>
                <a:gd name="T54" fmla="*/ 3 w 12"/>
                <a:gd name="T55" fmla="*/ 9 h 23"/>
                <a:gd name="T56" fmla="*/ 4 w 12"/>
                <a:gd name="T57" fmla="*/ 10 h 23"/>
                <a:gd name="T58" fmla="*/ 5 w 12"/>
                <a:gd name="T59" fmla="*/ 14 h 23"/>
                <a:gd name="T60" fmla="*/ 5 w 12"/>
                <a:gd name="T61" fmla="*/ 15 h 23"/>
                <a:gd name="T62" fmla="*/ 6 w 12"/>
                <a:gd name="T63" fmla="*/ 18 h 23"/>
                <a:gd name="T64" fmla="*/ 8 w 12"/>
                <a:gd name="T65" fmla="*/ 22 h 23"/>
                <a:gd name="T66" fmla="*/ 9 w 12"/>
                <a:gd name="T67" fmla="*/ 22 h 23"/>
                <a:gd name="T68" fmla="*/ 9 w 12"/>
                <a:gd name="T69" fmla="*/ 22 h 23"/>
                <a:gd name="T70" fmla="*/ 10 w 12"/>
                <a:gd name="T7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3">
                  <a:moveTo>
                    <a:pt x="10" y="23"/>
                  </a:moveTo>
                  <a:cubicBezTo>
                    <a:pt x="10" y="23"/>
                    <a:pt x="10" y="23"/>
                    <a:pt x="10" y="23"/>
                  </a:cubicBezTo>
                  <a:cubicBezTo>
                    <a:pt x="10" y="23"/>
                    <a:pt x="10" y="23"/>
                    <a:pt x="10" y="23"/>
                  </a:cubicBezTo>
                  <a:cubicBezTo>
                    <a:pt x="10" y="23"/>
                    <a:pt x="10" y="23"/>
                    <a:pt x="10" y="22"/>
                  </a:cubicBezTo>
                  <a:cubicBezTo>
                    <a:pt x="11" y="22"/>
                    <a:pt x="11" y="22"/>
                    <a:pt x="11" y="21"/>
                  </a:cubicBezTo>
                  <a:cubicBezTo>
                    <a:pt x="11" y="21"/>
                    <a:pt x="11" y="21"/>
                    <a:pt x="11" y="21"/>
                  </a:cubicBezTo>
                  <a:cubicBezTo>
                    <a:pt x="11" y="21"/>
                    <a:pt x="12" y="20"/>
                    <a:pt x="12" y="20"/>
                  </a:cubicBezTo>
                  <a:cubicBezTo>
                    <a:pt x="11" y="20"/>
                    <a:pt x="12" y="20"/>
                    <a:pt x="12" y="20"/>
                  </a:cubicBezTo>
                  <a:cubicBezTo>
                    <a:pt x="12" y="19"/>
                    <a:pt x="12" y="18"/>
                    <a:pt x="11" y="18"/>
                  </a:cubicBezTo>
                  <a:cubicBezTo>
                    <a:pt x="11" y="17"/>
                    <a:pt x="10" y="16"/>
                    <a:pt x="11" y="16"/>
                  </a:cubicBezTo>
                  <a:cubicBezTo>
                    <a:pt x="11" y="16"/>
                    <a:pt x="11" y="15"/>
                    <a:pt x="10" y="15"/>
                  </a:cubicBezTo>
                  <a:cubicBezTo>
                    <a:pt x="10" y="15"/>
                    <a:pt x="9" y="14"/>
                    <a:pt x="10" y="14"/>
                  </a:cubicBezTo>
                  <a:cubicBezTo>
                    <a:pt x="10" y="13"/>
                    <a:pt x="11" y="13"/>
                    <a:pt x="10" y="12"/>
                  </a:cubicBezTo>
                  <a:cubicBezTo>
                    <a:pt x="10" y="12"/>
                    <a:pt x="10" y="12"/>
                    <a:pt x="10" y="12"/>
                  </a:cubicBezTo>
                  <a:cubicBezTo>
                    <a:pt x="10" y="11"/>
                    <a:pt x="9" y="11"/>
                    <a:pt x="9" y="10"/>
                  </a:cubicBezTo>
                  <a:cubicBezTo>
                    <a:pt x="8" y="10"/>
                    <a:pt x="8" y="10"/>
                    <a:pt x="8" y="10"/>
                  </a:cubicBezTo>
                  <a:cubicBezTo>
                    <a:pt x="9" y="9"/>
                    <a:pt x="8" y="9"/>
                    <a:pt x="8" y="9"/>
                  </a:cubicBezTo>
                  <a:cubicBezTo>
                    <a:pt x="7" y="8"/>
                    <a:pt x="6" y="7"/>
                    <a:pt x="6" y="7"/>
                  </a:cubicBezTo>
                  <a:cubicBezTo>
                    <a:pt x="6" y="6"/>
                    <a:pt x="6" y="5"/>
                    <a:pt x="5" y="5"/>
                  </a:cubicBezTo>
                  <a:cubicBezTo>
                    <a:pt x="4" y="4"/>
                    <a:pt x="4" y="4"/>
                    <a:pt x="4" y="3"/>
                  </a:cubicBezTo>
                  <a:cubicBezTo>
                    <a:pt x="4" y="2"/>
                    <a:pt x="4" y="2"/>
                    <a:pt x="3" y="1"/>
                  </a:cubicBezTo>
                  <a:cubicBezTo>
                    <a:pt x="2" y="1"/>
                    <a:pt x="1" y="1"/>
                    <a:pt x="1" y="0"/>
                  </a:cubicBezTo>
                  <a:cubicBezTo>
                    <a:pt x="1" y="0"/>
                    <a:pt x="0" y="0"/>
                    <a:pt x="0" y="0"/>
                  </a:cubicBezTo>
                  <a:cubicBezTo>
                    <a:pt x="0" y="0"/>
                    <a:pt x="0" y="0"/>
                    <a:pt x="0" y="0"/>
                  </a:cubicBezTo>
                  <a:cubicBezTo>
                    <a:pt x="0" y="1"/>
                    <a:pt x="0" y="2"/>
                    <a:pt x="1" y="3"/>
                  </a:cubicBezTo>
                  <a:cubicBezTo>
                    <a:pt x="2" y="4"/>
                    <a:pt x="2" y="5"/>
                    <a:pt x="2" y="5"/>
                  </a:cubicBezTo>
                  <a:cubicBezTo>
                    <a:pt x="2" y="6"/>
                    <a:pt x="2" y="6"/>
                    <a:pt x="2" y="6"/>
                  </a:cubicBezTo>
                  <a:cubicBezTo>
                    <a:pt x="4" y="7"/>
                    <a:pt x="3" y="8"/>
                    <a:pt x="3" y="9"/>
                  </a:cubicBezTo>
                  <a:cubicBezTo>
                    <a:pt x="3" y="9"/>
                    <a:pt x="3" y="10"/>
                    <a:pt x="4" y="10"/>
                  </a:cubicBezTo>
                  <a:cubicBezTo>
                    <a:pt x="4" y="11"/>
                    <a:pt x="4" y="12"/>
                    <a:pt x="5" y="14"/>
                  </a:cubicBezTo>
                  <a:cubicBezTo>
                    <a:pt x="4" y="14"/>
                    <a:pt x="5" y="15"/>
                    <a:pt x="5" y="15"/>
                  </a:cubicBezTo>
                  <a:cubicBezTo>
                    <a:pt x="5" y="16"/>
                    <a:pt x="6" y="17"/>
                    <a:pt x="6" y="18"/>
                  </a:cubicBezTo>
                  <a:cubicBezTo>
                    <a:pt x="7" y="19"/>
                    <a:pt x="7" y="21"/>
                    <a:pt x="8" y="22"/>
                  </a:cubicBezTo>
                  <a:cubicBezTo>
                    <a:pt x="8" y="22"/>
                    <a:pt x="8" y="22"/>
                    <a:pt x="9" y="22"/>
                  </a:cubicBezTo>
                  <a:cubicBezTo>
                    <a:pt x="9" y="22"/>
                    <a:pt x="9" y="22"/>
                    <a:pt x="9" y="22"/>
                  </a:cubicBezTo>
                  <a:cubicBezTo>
                    <a:pt x="10" y="22"/>
                    <a:pt x="10" y="23"/>
                    <a:pt x="10" y="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24" name="Freeform 23">
              <a:extLst>
                <a:ext uri="{FF2B5EF4-FFF2-40B4-BE49-F238E27FC236}">
                  <a16:creationId xmlns:a16="http://schemas.microsoft.com/office/drawing/2014/main" id="{2543F660-79BD-910D-3450-5821AD2F72D8}"/>
                </a:ext>
              </a:extLst>
            </p:cNvPr>
            <p:cNvSpPr>
              <a:spLocks/>
            </p:cNvSpPr>
            <p:nvPr/>
          </p:nvSpPr>
          <p:spPr bwMode="auto">
            <a:xfrm>
              <a:off x="3493" y="835"/>
              <a:ext cx="184" cy="135"/>
            </a:xfrm>
            <a:custGeom>
              <a:avLst/>
              <a:gdLst>
                <a:gd name="T0" fmla="*/ 1 w 18"/>
                <a:gd name="T1" fmla="*/ 4 h 13"/>
                <a:gd name="T2" fmla="*/ 1 w 18"/>
                <a:gd name="T3" fmla="*/ 4 h 13"/>
                <a:gd name="T4" fmla="*/ 2 w 18"/>
                <a:gd name="T5" fmla="*/ 4 h 13"/>
                <a:gd name="T6" fmla="*/ 2 w 18"/>
                <a:gd name="T7" fmla="*/ 4 h 13"/>
                <a:gd name="T8" fmla="*/ 2 w 18"/>
                <a:gd name="T9" fmla="*/ 5 h 13"/>
                <a:gd name="T10" fmla="*/ 2 w 18"/>
                <a:gd name="T11" fmla="*/ 4 h 13"/>
                <a:gd name="T12" fmla="*/ 3 w 18"/>
                <a:gd name="T13" fmla="*/ 5 h 13"/>
                <a:gd name="T14" fmla="*/ 3 w 18"/>
                <a:gd name="T15" fmla="*/ 5 h 13"/>
                <a:gd name="T16" fmla="*/ 3 w 18"/>
                <a:gd name="T17" fmla="*/ 6 h 13"/>
                <a:gd name="T18" fmla="*/ 3 w 18"/>
                <a:gd name="T19" fmla="*/ 6 h 13"/>
                <a:gd name="T20" fmla="*/ 4 w 18"/>
                <a:gd name="T21" fmla="*/ 6 h 13"/>
                <a:gd name="T22" fmla="*/ 6 w 18"/>
                <a:gd name="T23" fmla="*/ 7 h 13"/>
                <a:gd name="T24" fmla="*/ 6 w 18"/>
                <a:gd name="T25" fmla="*/ 7 h 13"/>
                <a:gd name="T26" fmla="*/ 7 w 18"/>
                <a:gd name="T27" fmla="*/ 8 h 13"/>
                <a:gd name="T28" fmla="*/ 7 w 18"/>
                <a:gd name="T29" fmla="*/ 8 h 13"/>
                <a:gd name="T30" fmla="*/ 4 w 18"/>
                <a:gd name="T31" fmla="*/ 9 h 13"/>
                <a:gd name="T32" fmla="*/ 5 w 18"/>
                <a:gd name="T33" fmla="*/ 9 h 13"/>
                <a:gd name="T34" fmla="*/ 5 w 18"/>
                <a:gd name="T35" fmla="*/ 9 h 13"/>
                <a:gd name="T36" fmla="*/ 5 w 18"/>
                <a:gd name="T37" fmla="*/ 10 h 13"/>
                <a:gd name="T38" fmla="*/ 3 w 18"/>
                <a:gd name="T39" fmla="*/ 10 h 13"/>
                <a:gd name="T40" fmla="*/ 3 w 18"/>
                <a:gd name="T41" fmla="*/ 11 h 13"/>
                <a:gd name="T42" fmla="*/ 3 w 18"/>
                <a:gd name="T43" fmla="*/ 11 h 13"/>
                <a:gd name="T44" fmla="*/ 8 w 18"/>
                <a:gd name="T45" fmla="*/ 11 h 13"/>
                <a:gd name="T46" fmla="*/ 6 w 18"/>
                <a:gd name="T47" fmla="*/ 11 h 13"/>
                <a:gd name="T48" fmla="*/ 5 w 18"/>
                <a:gd name="T49" fmla="*/ 12 h 13"/>
                <a:gd name="T50" fmla="*/ 2 w 18"/>
                <a:gd name="T51" fmla="*/ 13 h 13"/>
                <a:gd name="T52" fmla="*/ 3 w 18"/>
                <a:gd name="T53" fmla="*/ 13 h 13"/>
                <a:gd name="T54" fmla="*/ 5 w 18"/>
                <a:gd name="T55" fmla="*/ 13 h 13"/>
                <a:gd name="T56" fmla="*/ 6 w 18"/>
                <a:gd name="T57" fmla="*/ 13 h 13"/>
                <a:gd name="T58" fmla="*/ 8 w 18"/>
                <a:gd name="T59" fmla="*/ 12 h 13"/>
                <a:gd name="T60" fmla="*/ 10 w 18"/>
                <a:gd name="T61" fmla="*/ 12 h 13"/>
                <a:gd name="T62" fmla="*/ 13 w 18"/>
                <a:gd name="T63" fmla="*/ 12 h 13"/>
                <a:gd name="T64" fmla="*/ 17 w 18"/>
                <a:gd name="T65" fmla="*/ 11 h 13"/>
                <a:gd name="T66" fmla="*/ 17 w 18"/>
                <a:gd name="T67" fmla="*/ 11 h 13"/>
                <a:gd name="T68" fmla="*/ 17 w 18"/>
                <a:gd name="T69" fmla="*/ 11 h 13"/>
                <a:gd name="T70" fmla="*/ 15 w 18"/>
                <a:gd name="T71" fmla="*/ 11 h 13"/>
                <a:gd name="T72" fmla="*/ 17 w 18"/>
                <a:gd name="T73" fmla="*/ 10 h 13"/>
                <a:gd name="T74" fmla="*/ 17 w 18"/>
                <a:gd name="T75" fmla="*/ 9 h 13"/>
                <a:gd name="T76" fmla="*/ 16 w 18"/>
                <a:gd name="T77" fmla="*/ 8 h 13"/>
                <a:gd name="T78" fmla="*/ 15 w 18"/>
                <a:gd name="T79" fmla="*/ 9 h 13"/>
                <a:gd name="T80" fmla="*/ 14 w 18"/>
                <a:gd name="T81" fmla="*/ 8 h 13"/>
                <a:gd name="T82" fmla="*/ 12 w 18"/>
                <a:gd name="T83" fmla="*/ 6 h 13"/>
                <a:gd name="T84" fmla="*/ 10 w 18"/>
                <a:gd name="T85" fmla="*/ 5 h 13"/>
                <a:gd name="T86" fmla="*/ 7 w 18"/>
                <a:gd name="T87" fmla="*/ 4 h 13"/>
                <a:gd name="T88" fmla="*/ 6 w 18"/>
                <a:gd name="T89" fmla="*/ 4 h 13"/>
                <a:gd name="T90" fmla="*/ 8 w 18"/>
                <a:gd name="T91" fmla="*/ 3 h 13"/>
                <a:gd name="T92" fmla="*/ 10 w 18"/>
                <a:gd name="T93" fmla="*/ 1 h 13"/>
                <a:gd name="T94" fmla="*/ 4 w 18"/>
                <a:gd name="T95" fmla="*/ 2 h 13"/>
                <a:gd name="T96" fmla="*/ 7 w 18"/>
                <a:gd name="T97" fmla="*/ 0 h 13"/>
                <a:gd name="T98" fmla="*/ 3 w 18"/>
                <a:gd name="T99" fmla="*/ 0 h 13"/>
                <a:gd name="T100" fmla="*/ 2 w 18"/>
                <a:gd name="T101" fmla="*/ 1 h 13"/>
                <a:gd name="T102" fmla="*/ 1 w 18"/>
                <a:gd name="T103" fmla="*/ 2 h 13"/>
                <a:gd name="T104" fmla="*/ 1 w 18"/>
                <a:gd name="T105" fmla="*/ 3 h 13"/>
                <a:gd name="T106" fmla="*/ 0 w 18"/>
                <a:gd name="T107" fmla="*/ 3 h 13"/>
                <a:gd name="T108" fmla="*/ 0 w 18"/>
                <a:gd name="T109" fmla="*/ 4 h 13"/>
                <a:gd name="T110" fmla="*/ 1 w 18"/>
                <a:gd name="T111"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 h="13">
                  <a:moveTo>
                    <a:pt x="1" y="4"/>
                  </a:moveTo>
                  <a:cubicBezTo>
                    <a:pt x="1" y="4"/>
                    <a:pt x="1" y="4"/>
                    <a:pt x="1" y="4"/>
                  </a:cubicBezTo>
                  <a:cubicBezTo>
                    <a:pt x="1" y="4"/>
                    <a:pt x="2" y="4"/>
                    <a:pt x="2" y="4"/>
                  </a:cubicBezTo>
                  <a:cubicBezTo>
                    <a:pt x="2" y="4"/>
                    <a:pt x="2" y="4"/>
                    <a:pt x="2" y="4"/>
                  </a:cubicBezTo>
                  <a:cubicBezTo>
                    <a:pt x="2" y="4"/>
                    <a:pt x="2" y="5"/>
                    <a:pt x="2" y="5"/>
                  </a:cubicBezTo>
                  <a:cubicBezTo>
                    <a:pt x="2" y="5"/>
                    <a:pt x="2" y="5"/>
                    <a:pt x="2" y="4"/>
                  </a:cubicBezTo>
                  <a:cubicBezTo>
                    <a:pt x="3" y="5"/>
                    <a:pt x="3" y="5"/>
                    <a:pt x="3" y="5"/>
                  </a:cubicBezTo>
                  <a:cubicBezTo>
                    <a:pt x="4" y="5"/>
                    <a:pt x="3" y="5"/>
                    <a:pt x="3" y="5"/>
                  </a:cubicBezTo>
                  <a:cubicBezTo>
                    <a:pt x="3" y="6"/>
                    <a:pt x="2" y="6"/>
                    <a:pt x="3" y="6"/>
                  </a:cubicBezTo>
                  <a:cubicBezTo>
                    <a:pt x="3" y="6"/>
                    <a:pt x="3" y="6"/>
                    <a:pt x="3" y="6"/>
                  </a:cubicBezTo>
                  <a:cubicBezTo>
                    <a:pt x="3" y="6"/>
                    <a:pt x="4" y="7"/>
                    <a:pt x="4" y="6"/>
                  </a:cubicBezTo>
                  <a:cubicBezTo>
                    <a:pt x="5" y="6"/>
                    <a:pt x="5" y="6"/>
                    <a:pt x="6" y="7"/>
                  </a:cubicBezTo>
                  <a:cubicBezTo>
                    <a:pt x="6" y="7"/>
                    <a:pt x="6" y="7"/>
                    <a:pt x="6" y="7"/>
                  </a:cubicBezTo>
                  <a:cubicBezTo>
                    <a:pt x="7" y="7"/>
                    <a:pt x="7" y="8"/>
                    <a:pt x="7" y="8"/>
                  </a:cubicBezTo>
                  <a:cubicBezTo>
                    <a:pt x="7" y="8"/>
                    <a:pt x="7" y="8"/>
                    <a:pt x="7" y="8"/>
                  </a:cubicBezTo>
                  <a:cubicBezTo>
                    <a:pt x="6" y="8"/>
                    <a:pt x="4" y="8"/>
                    <a:pt x="4" y="9"/>
                  </a:cubicBezTo>
                  <a:cubicBezTo>
                    <a:pt x="4" y="9"/>
                    <a:pt x="4" y="9"/>
                    <a:pt x="5" y="9"/>
                  </a:cubicBezTo>
                  <a:cubicBezTo>
                    <a:pt x="5" y="9"/>
                    <a:pt x="5" y="9"/>
                    <a:pt x="5" y="9"/>
                  </a:cubicBezTo>
                  <a:cubicBezTo>
                    <a:pt x="5" y="9"/>
                    <a:pt x="5" y="10"/>
                    <a:pt x="5" y="10"/>
                  </a:cubicBezTo>
                  <a:cubicBezTo>
                    <a:pt x="4" y="10"/>
                    <a:pt x="4" y="10"/>
                    <a:pt x="3" y="10"/>
                  </a:cubicBezTo>
                  <a:cubicBezTo>
                    <a:pt x="3" y="10"/>
                    <a:pt x="3" y="11"/>
                    <a:pt x="3" y="11"/>
                  </a:cubicBezTo>
                  <a:cubicBezTo>
                    <a:pt x="3" y="11"/>
                    <a:pt x="3" y="11"/>
                    <a:pt x="3" y="11"/>
                  </a:cubicBezTo>
                  <a:cubicBezTo>
                    <a:pt x="5" y="11"/>
                    <a:pt x="6" y="11"/>
                    <a:pt x="8" y="11"/>
                  </a:cubicBezTo>
                  <a:cubicBezTo>
                    <a:pt x="7" y="11"/>
                    <a:pt x="7" y="12"/>
                    <a:pt x="6" y="11"/>
                  </a:cubicBezTo>
                  <a:cubicBezTo>
                    <a:pt x="6" y="11"/>
                    <a:pt x="5" y="11"/>
                    <a:pt x="5" y="12"/>
                  </a:cubicBezTo>
                  <a:cubicBezTo>
                    <a:pt x="4" y="12"/>
                    <a:pt x="3" y="13"/>
                    <a:pt x="2" y="13"/>
                  </a:cubicBezTo>
                  <a:cubicBezTo>
                    <a:pt x="2" y="13"/>
                    <a:pt x="3" y="13"/>
                    <a:pt x="3" y="13"/>
                  </a:cubicBezTo>
                  <a:cubicBezTo>
                    <a:pt x="3" y="13"/>
                    <a:pt x="4" y="13"/>
                    <a:pt x="5" y="13"/>
                  </a:cubicBezTo>
                  <a:cubicBezTo>
                    <a:pt x="6" y="13"/>
                    <a:pt x="6" y="13"/>
                    <a:pt x="6" y="13"/>
                  </a:cubicBezTo>
                  <a:cubicBezTo>
                    <a:pt x="7" y="12"/>
                    <a:pt x="8" y="12"/>
                    <a:pt x="8" y="12"/>
                  </a:cubicBezTo>
                  <a:cubicBezTo>
                    <a:pt x="9" y="12"/>
                    <a:pt x="9" y="12"/>
                    <a:pt x="10" y="12"/>
                  </a:cubicBezTo>
                  <a:cubicBezTo>
                    <a:pt x="11" y="12"/>
                    <a:pt x="12" y="12"/>
                    <a:pt x="13" y="12"/>
                  </a:cubicBezTo>
                  <a:cubicBezTo>
                    <a:pt x="14" y="11"/>
                    <a:pt x="16" y="11"/>
                    <a:pt x="17" y="11"/>
                  </a:cubicBezTo>
                  <a:cubicBezTo>
                    <a:pt x="17" y="11"/>
                    <a:pt x="17" y="11"/>
                    <a:pt x="17" y="11"/>
                  </a:cubicBezTo>
                  <a:cubicBezTo>
                    <a:pt x="17" y="11"/>
                    <a:pt x="17" y="11"/>
                    <a:pt x="17" y="11"/>
                  </a:cubicBezTo>
                  <a:cubicBezTo>
                    <a:pt x="16" y="11"/>
                    <a:pt x="16" y="11"/>
                    <a:pt x="15" y="11"/>
                  </a:cubicBezTo>
                  <a:cubicBezTo>
                    <a:pt x="16" y="10"/>
                    <a:pt x="16" y="10"/>
                    <a:pt x="17" y="10"/>
                  </a:cubicBezTo>
                  <a:cubicBezTo>
                    <a:pt x="18" y="10"/>
                    <a:pt x="17" y="9"/>
                    <a:pt x="17" y="9"/>
                  </a:cubicBezTo>
                  <a:cubicBezTo>
                    <a:pt x="17" y="8"/>
                    <a:pt x="16" y="8"/>
                    <a:pt x="16" y="8"/>
                  </a:cubicBezTo>
                  <a:cubicBezTo>
                    <a:pt x="15" y="8"/>
                    <a:pt x="15" y="9"/>
                    <a:pt x="15" y="9"/>
                  </a:cubicBezTo>
                  <a:cubicBezTo>
                    <a:pt x="14" y="9"/>
                    <a:pt x="14" y="9"/>
                    <a:pt x="14" y="8"/>
                  </a:cubicBezTo>
                  <a:cubicBezTo>
                    <a:pt x="14" y="7"/>
                    <a:pt x="13" y="6"/>
                    <a:pt x="12" y="6"/>
                  </a:cubicBezTo>
                  <a:cubicBezTo>
                    <a:pt x="11" y="6"/>
                    <a:pt x="11" y="6"/>
                    <a:pt x="10" y="5"/>
                  </a:cubicBezTo>
                  <a:cubicBezTo>
                    <a:pt x="10" y="4"/>
                    <a:pt x="9" y="4"/>
                    <a:pt x="7" y="4"/>
                  </a:cubicBezTo>
                  <a:cubicBezTo>
                    <a:pt x="7" y="4"/>
                    <a:pt x="6" y="4"/>
                    <a:pt x="6" y="4"/>
                  </a:cubicBezTo>
                  <a:cubicBezTo>
                    <a:pt x="7" y="4"/>
                    <a:pt x="7" y="3"/>
                    <a:pt x="8" y="3"/>
                  </a:cubicBezTo>
                  <a:cubicBezTo>
                    <a:pt x="9" y="3"/>
                    <a:pt x="9" y="2"/>
                    <a:pt x="10" y="1"/>
                  </a:cubicBezTo>
                  <a:cubicBezTo>
                    <a:pt x="8" y="2"/>
                    <a:pt x="6" y="2"/>
                    <a:pt x="4" y="2"/>
                  </a:cubicBezTo>
                  <a:cubicBezTo>
                    <a:pt x="5" y="1"/>
                    <a:pt x="6" y="1"/>
                    <a:pt x="7" y="0"/>
                  </a:cubicBezTo>
                  <a:cubicBezTo>
                    <a:pt x="5" y="0"/>
                    <a:pt x="4" y="0"/>
                    <a:pt x="3" y="0"/>
                  </a:cubicBezTo>
                  <a:cubicBezTo>
                    <a:pt x="3" y="0"/>
                    <a:pt x="2" y="1"/>
                    <a:pt x="2" y="1"/>
                  </a:cubicBezTo>
                  <a:cubicBezTo>
                    <a:pt x="2" y="1"/>
                    <a:pt x="2" y="1"/>
                    <a:pt x="1" y="2"/>
                  </a:cubicBezTo>
                  <a:cubicBezTo>
                    <a:pt x="0" y="2"/>
                    <a:pt x="1" y="3"/>
                    <a:pt x="1" y="3"/>
                  </a:cubicBezTo>
                  <a:cubicBezTo>
                    <a:pt x="1" y="3"/>
                    <a:pt x="1" y="3"/>
                    <a:pt x="0" y="3"/>
                  </a:cubicBezTo>
                  <a:cubicBezTo>
                    <a:pt x="0" y="3"/>
                    <a:pt x="0" y="4"/>
                    <a:pt x="0" y="4"/>
                  </a:cubicBezTo>
                  <a:cubicBezTo>
                    <a:pt x="0" y="4"/>
                    <a:pt x="0" y="4"/>
                    <a:pt x="1"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25" name="Freeform 24">
              <a:extLst>
                <a:ext uri="{FF2B5EF4-FFF2-40B4-BE49-F238E27FC236}">
                  <a16:creationId xmlns:a16="http://schemas.microsoft.com/office/drawing/2014/main" id="{217FFBBF-C4B6-BEB0-523B-1717F7D5D894}"/>
                </a:ext>
              </a:extLst>
            </p:cNvPr>
            <p:cNvSpPr>
              <a:spLocks/>
            </p:cNvSpPr>
            <p:nvPr/>
          </p:nvSpPr>
          <p:spPr bwMode="auto">
            <a:xfrm>
              <a:off x="6190" y="1910"/>
              <a:ext cx="287" cy="104"/>
            </a:xfrm>
            <a:custGeom>
              <a:avLst/>
              <a:gdLst>
                <a:gd name="T0" fmla="*/ 17 w 28"/>
                <a:gd name="T1" fmla="*/ 4 h 10"/>
                <a:gd name="T2" fmla="*/ 16 w 28"/>
                <a:gd name="T3" fmla="*/ 4 h 10"/>
                <a:gd name="T4" fmla="*/ 16 w 28"/>
                <a:gd name="T5" fmla="*/ 4 h 10"/>
                <a:gd name="T6" fmla="*/ 15 w 28"/>
                <a:gd name="T7" fmla="*/ 4 h 10"/>
                <a:gd name="T8" fmla="*/ 14 w 28"/>
                <a:gd name="T9" fmla="*/ 5 h 10"/>
                <a:gd name="T10" fmla="*/ 12 w 28"/>
                <a:gd name="T11" fmla="*/ 4 h 10"/>
                <a:gd name="T12" fmla="*/ 11 w 28"/>
                <a:gd name="T13" fmla="*/ 3 h 10"/>
                <a:gd name="T14" fmla="*/ 8 w 28"/>
                <a:gd name="T15" fmla="*/ 2 h 10"/>
                <a:gd name="T16" fmla="*/ 7 w 28"/>
                <a:gd name="T17" fmla="*/ 1 h 10"/>
                <a:gd name="T18" fmla="*/ 5 w 28"/>
                <a:gd name="T19" fmla="*/ 1 h 10"/>
                <a:gd name="T20" fmla="*/ 1 w 28"/>
                <a:gd name="T21" fmla="*/ 1 h 10"/>
                <a:gd name="T22" fmla="*/ 0 w 28"/>
                <a:gd name="T23" fmla="*/ 1 h 10"/>
                <a:gd name="T24" fmla="*/ 1 w 28"/>
                <a:gd name="T25" fmla="*/ 2 h 10"/>
                <a:gd name="T26" fmla="*/ 2 w 28"/>
                <a:gd name="T27" fmla="*/ 2 h 10"/>
                <a:gd name="T28" fmla="*/ 2 w 28"/>
                <a:gd name="T29" fmla="*/ 2 h 10"/>
                <a:gd name="T30" fmla="*/ 0 w 28"/>
                <a:gd name="T31" fmla="*/ 3 h 10"/>
                <a:gd name="T32" fmla="*/ 0 w 28"/>
                <a:gd name="T33" fmla="*/ 3 h 10"/>
                <a:gd name="T34" fmla="*/ 1 w 28"/>
                <a:gd name="T35" fmla="*/ 4 h 10"/>
                <a:gd name="T36" fmla="*/ 1 w 28"/>
                <a:gd name="T37" fmla="*/ 5 h 10"/>
                <a:gd name="T38" fmla="*/ 2 w 28"/>
                <a:gd name="T39" fmla="*/ 5 h 10"/>
                <a:gd name="T40" fmla="*/ 4 w 28"/>
                <a:gd name="T41" fmla="*/ 4 h 10"/>
                <a:gd name="T42" fmla="*/ 4 w 28"/>
                <a:gd name="T43" fmla="*/ 2 h 10"/>
                <a:gd name="T44" fmla="*/ 3 w 28"/>
                <a:gd name="T45" fmla="*/ 1 h 10"/>
                <a:gd name="T46" fmla="*/ 4 w 28"/>
                <a:gd name="T47" fmla="*/ 2 h 10"/>
                <a:gd name="T48" fmla="*/ 5 w 28"/>
                <a:gd name="T49" fmla="*/ 2 h 10"/>
                <a:gd name="T50" fmla="*/ 5 w 28"/>
                <a:gd name="T51" fmla="*/ 3 h 10"/>
                <a:gd name="T52" fmla="*/ 6 w 28"/>
                <a:gd name="T53" fmla="*/ 2 h 10"/>
                <a:gd name="T54" fmla="*/ 8 w 28"/>
                <a:gd name="T55" fmla="*/ 3 h 10"/>
                <a:gd name="T56" fmla="*/ 11 w 28"/>
                <a:gd name="T57" fmla="*/ 5 h 10"/>
                <a:gd name="T58" fmla="*/ 11 w 28"/>
                <a:gd name="T59" fmla="*/ 5 h 10"/>
                <a:gd name="T60" fmla="*/ 11 w 28"/>
                <a:gd name="T61" fmla="*/ 7 h 10"/>
                <a:gd name="T62" fmla="*/ 14 w 28"/>
                <a:gd name="T63" fmla="*/ 7 h 10"/>
                <a:gd name="T64" fmla="*/ 14 w 28"/>
                <a:gd name="T65" fmla="*/ 7 h 10"/>
                <a:gd name="T66" fmla="*/ 14 w 28"/>
                <a:gd name="T67" fmla="*/ 7 h 10"/>
                <a:gd name="T68" fmla="*/ 17 w 28"/>
                <a:gd name="T69" fmla="*/ 8 h 10"/>
                <a:gd name="T70" fmla="*/ 17 w 28"/>
                <a:gd name="T71" fmla="*/ 9 h 10"/>
                <a:gd name="T72" fmla="*/ 18 w 28"/>
                <a:gd name="T73" fmla="*/ 10 h 10"/>
                <a:gd name="T74" fmla="*/ 20 w 28"/>
                <a:gd name="T75" fmla="*/ 9 h 10"/>
                <a:gd name="T76" fmla="*/ 19 w 28"/>
                <a:gd name="T77" fmla="*/ 10 h 10"/>
                <a:gd name="T78" fmla="*/ 21 w 28"/>
                <a:gd name="T79" fmla="*/ 10 h 10"/>
                <a:gd name="T80" fmla="*/ 22 w 28"/>
                <a:gd name="T81" fmla="*/ 10 h 10"/>
                <a:gd name="T82" fmla="*/ 23 w 28"/>
                <a:gd name="T83" fmla="*/ 9 h 10"/>
                <a:gd name="T84" fmla="*/ 24 w 28"/>
                <a:gd name="T85" fmla="*/ 8 h 10"/>
                <a:gd name="T86" fmla="*/ 25 w 28"/>
                <a:gd name="T87" fmla="*/ 8 h 10"/>
                <a:gd name="T88" fmla="*/ 27 w 28"/>
                <a:gd name="T89" fmla="*/ 7 h 10"/>
                <a:gd name="T90" fmla="*/ 27 w 28"/>
                <a:gd name="T91" fmla="*/ 7 h 10"/>
                <a:gd name="T92" fmla="*/ 27 w 28"/>
                <a:gd name="T93" fmla="*/ 6 h 10"/>
                <a:gd name="T94" fmla="*/ 27 w 28"/>
                <a:gd name="T95" fmla="*/ 5 h 10"/>
                <a:gd name="T96" fmla="*/ 27 w 28"/>
                <a:gd name="T97" fmla="*/ 4 h 10"/>
                <a:gd name="T98" fmla="*/ 26 w 28"/>
                <a:gd name="T99" fmla="*/ 3 h 10"/>
                <a:gd name="T100" fmla="*/ 25 w 28"/>
                <a:gd name="T101" fmla="*/ 3 h 10"/>
                <a:gd name="T102" fmla="*/ 24 w 28"/>
                <a:gd name="T103" fmla="*/ 3 h 10"/>
                <a:gd name="T104" fmla="*/ 24 w 28"/>
                <a:gd name="T105" fmla="*/ 5 h 10"/>
                <a:gd name="T106" fmla="*/ 24 w 28"/>
                <a:gd name="T107" fmla="*/ 5 h 10"/>
                <a:gd name="T108" fmla="*/ 17 w 28"/>
                <a:gd name="T109" fmla="*/ 5 h 10"/>
                <a:gd name="T110" fmla="*/ 16 w 28"/>
                <a:gd name="T111" fmla="*/ 4 h 10"/>
                <a:gd name="T112" fmla="*/ 17 w 28"/>
                <a:gd name="T113" fmla="*/ 4 h 10"/>
                <a:gd name="T114" fmla="*/ 17 w 28"/>
                <a:gd name="T115"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 h="10">
                  <a:moveTo>
                    <a:pt x="17" y="4"/>
                  </a:moveTo>
                  <a:cubicBezTo>
                    <a:pt x="17" y="4"/>
                    <a:pt x="16" y="3"/>
                    <a:pt x="16" y="4"/>
                  </a:cubicBezTo>
                  <a:cubicBezTo>
                    <a:pt x="16" y="4"/>
                    <a:pt x="16" y="4"/>
                    <a:pt x="16" y="4"/>
                  </a:cubicBezTo>
                  <a:cubicBezTo>
                    <a:pt x="16" y="4"/>
                    <a:pt x="15" y="4"/>
                    <a:pt x="15" y="4"/>
                  </a:cubicBezTo>
                  <a:cubicBezTo>
                    <a:pt x="14" y="4"/>
                    <a:pt x="14" y="4"/>
                    <a:pt x="14" y="5"/>
                  </a:cubicBezTo>
                  <a:cubicBezTo>
                    <a:pt x="13" y="5"/>
                    <a:pt x="13" y="5"/>
                    <a:pt x="12" y="4"/>
                  </a:cubicBezTo>
                  <a:cubicBezTo>
                    <a:pt x="12" y="4"/>
                    <a:pt x="11" y="3"/>
                    <a:pt x="11" y="3"/>
                  </a:cubicBezTo>
                  <a:cubicBezTo>
                    <a:pt x="10" y="3"/>
                    <a:pt x="9" y="2"/>
                    <a:pt x="8" y="2"/>
                  </a:cubicBezTo>
                  <a:cubicBezTo>
                    <a:pt x="8" y="1"/>
                    <a:pt x="7" y="1"/>
                    <a:pt x="7" y="1"/>
                  </a:cubicBezTo>
                  <a:cubicBezTo>
                    <a:pt x="6" y="1"/>
                    <a:pt x="5" y="1"/>
                    <a:pt x="5" y="1"/>
                  </a:cubicBezTo>
                  <a:cubicBezTo>
                    <a:pt x="3" y="0"/>
                    <a:pt x="2" y="1"/>
                    <a:pt x="1" y="1"/>
                  </a:cubicBezTo>
                  <a:cubicBezTo>
                    <a:pt x="0" y="0"/>
                    <a:pt x="0" y="1"/>
                    <a:pt x="0" y="1"/>
                  </a:cubicBezTo>
                  <a:cubicBezTo>
                    <a:pt x="0" y="1"/>
                    <a:pt x="1" y="2"/>
                    <a:pt x="1" y="2"/>
                  </a:cubicBezTo>
                  <a:cubicBezTo>
                    <a:pt x="1" y="2"/>
                    <a:pt x="1" y="2"/>
                    <a:pt x="2" y="2"/>
                  </a:cubicBezTo>
                  <a:cubicBezTo>
                    <a:pt x="2" y="2"/>
                    <a:pt x="2" y="2"/>
                    <a:pt x="2" y="2"/>
                  </a:cubicBezTo>
                  <a:cubicBezTo>
                    <a:pt x="1" y="2"/>
                    <a:pt x="1" y="3"/>
                    <a:pt x="0" y="3"/>
                  </a:cubicBezTo>
                  <a:cubicBezTo>
                    <a:pt x="0" y="3"/>
                    <a:pt x="1" y="4"/>
                    <a:pt x="0" y="3"/>
                  </a:cubicBezTo>
                  <a:cubicBezTo>
                    <a:pt x="0" y="4"/>
                    <a:pt x="0" y="4"/>
                    <a:pt x="1" y="4"/>
                  </a:cubicBezTo>
                  <a:cubicBezTo>
                    <a:pt x="1" y="4"/>
                    <a:pt x="1" y="4"/>
                    <a:pt x="1" y="5"/>
                  </a:cubicBezTo>
                  <a:cubicBezTo>
                    <a:pt x="1" y="5"/>
                    <a:pt x="2" y="5"/>
                    <a:pt x="2" y="5"/>
                  </a:cubicBezTo>
                  <a:cubicBezTo>
                    <a:pt x="3" y="4"/>
                    <a:pt x="3" y="4"/>
                    <a:pt x="4" y="4"/>
                  </a:cubicBezTo>
                  <a:cubicBezTo>
                    <a:pt x="4" y="4"/>
                    <a:pt x="4" y="2"/>
                    <a:pt x="4" y="2"/>
                  </a:cubicBezTo>
                  <a:cubicBezTo>
                    <a:pt x="4" y="2"/>
                    <a:pt x="3" y="2"/>
                    <a:pt x="3" y="1"/>
                  </a:cubicBezTo>
                  <a:cubicBezTo>
                    <a:pt x="4" y="1"/>
                    <a:pt x="4" y="1"/>
                    <a:pt x="4" y="2"/>
                  </a:cubicBezTo>
                  <a:cubicBezTo>
                    <a:pt x="5" y="2"/>
                    <a:pt x="5" y="2"/>
                    <a:pt x="5" y="2"/>
                  </a:cubicBezTo>
                  <a:cubicBezTo>
                    <a:pt x="5" y="2"/>
                    <a:pt x="5" y="2"/>
                    <a:pt x="5" y="3"/>
                  </a:cubicBezTo>
                  <a:cubicBezTo>
                    <a:pt x="6" y="2"/>
                    <a:pt x="6" y="2"/>
                    <a:pt x="6" y="2"/>
                  </a:cubicBezTo>
                  <a:cubicBezTo>
                    <a:pt x="7" y="3"/>
                    <a:pt x="7" y="3"/>
                    <a:pt x="8" y="3"/>
                  </a:cubicBezTo>
                  <a:cubicBezTo>
                    <a:pt x="9" y="4"/>
                    <a:pt x="10" y="4"/>
                    <a:pt x="11" y="5"/>
                  </a:cubicBezTo>
                  <a:cubicBezTo>
                    <a:pt x="11" y="5"/>
                    <a:pt x="12" y="5"/>
                    <a:pt x="11" y="5"/>
                  </a:cubicBezTo>
                  <a:cubicBezTo>
                    <a:pt x="10" y="5"/>
                    <a:pt x="11" y="6"/>
                    <a:pt x="11" y="7"/>
                  </a:cubicBezTo>
                  <a:cubicBezTo>
                    <a:pt x="12" y="7"/>
                    <a:pt x="13" y="7"/>
                    <a:pt x="14" y="7"/>
                  </a:cubicBezTo>
                  <a:cubicBezTo>
                    <a:pt x="14" y="7"/>
                    <a:pt x="14" y="7"/>
                    <a:pt x="14" y="7"/>
                  </a:cubicBezTo>
                  <a:cubicBezTo>
                    <a:pt x="14" y="7"/>
                    <a:pt x="14" y="6"/>
                    <a:pt x="14" y="7"/>
                  </a:cubicBezTo>
                  <a:cubicBezTo>
                    <a:pt x="15" y="8"/>
                    <a:pt x="16" y="8"/>
                    <a:pt x="17" y="8"/>
                  </a:cubicBezTo>
                  <a:cubicBezTo>
                    <a:pt x="17" y="9"/>
                    <a:pt x="18" y="9"/>
                    <a:pt x="17" y="9"/>
                  </a:cubicBezTo>
                  <a:cubicBezTo>
                    <a:pt x="17" y="9"/>
                    <a:pt x="18" y="9"/>
                    <a:pt x="18" y="10"/>
                  </a:cubicBezTo>
                  <a:cubicBezTo>
                    <a:pt x="18" y="9"/>
                    <a:pt x="19" y="9"/>
                    <a:pt x="20" y="9"/>
                  </a:cubicBezTo>
                  <a:cubicBezTo>
                    <a:pt x="20" y="10"/>
                    <a:pt x="20" y="10"/>
                    <a:pt x="19" y="10"/>
                  </a:cubicBezTo>
                  <a:cubicBezTo>
                    <a:pt x="20" y="10"/>
                    <a:pt x="20" y="10"/>
                    <a:pt x="21" y="10"/>
                  </a:cubicBezTo>
                  <a:cubicBezTo>
                    <a:pt x="21" y="10"/>
                    <a:pt x="21" y="10"/>
                    <a:pt x="22" y="10"/>
                  </a:cubicBezTo>
                  <a:cubicBezTo>
                    <a:pt x="21" y="9"/>
                    <a:pt x="22" y="9"/>
                    <a:pt x="23" y="9"/>
                  </a:cubicBezTo>
                  <a:cubicBezTo>
                    <a:pt x="23" y="9"/>
                    <a:pt x="24" y="8"/>
                    <a:pt x="24" y="8"/>
                  </a:cubicBezTo>
                  <a:cubicBezTo>
                    <a:pt x="24" y="8"/>
                    <a:pt x="24" y="7"/>
                    <a:pt x="25" y="8"/>
                  </a:cubicBezTo>
                  <a:cubicBezTo>
                    <a:pt x="26" y="8"/>
                    <a:pt x="26" y="7"/>
                    <a:pt x="27" y="7"/>
                  </a:cubicBezTo>
                  <a:cubicBezTo>
                    <a:pt x="27" y="7"/>
                    <a:pt x="27" y="7"/>
                    <a:pt x="27" y="7"/>
                  </a:cubicBezTo>
                  <a:cubicBezTo>
                    <a:pt x="27" y="7"/>
                    <a:pt x="27" y="6"/>
                    <a:pt x="27" y="6"/>
                  </a:cubicBezTo>
                  <a:cubicBezTo>
                    <a:pt x="27" y="5"/>
                    <a:pt x="27" y="5"/>
                    <a:pt x="27" y="5"/>
                  </a:cubicBezTo>
                  <a:cubicBezTo>
                    <a:pt x="28" y="5"/>
                    <a:pt x="28" y="4"/>
                    <a:pt x="27" y="4"/>
                  </a:cubicBezTo>
                  <a:cubicBezTo>
                    <a:pt x="27" y="3"/>
                    <a:pt x="26" y="4"/>
                    <a:pt x="26" y="3"/>
                  </a:cubicBezTo>
                  <a:cubicBezTo>
                    <a:pt x="26" y="3"/>
                    <a:pt x="25" y="3"/>
                    <a:pt x="25" y="3"/>
                  </a:cubicBezTo>
                  <a:cubicBezTo>
                    <a:pt x="25" y="3"/>
                    <a:pt x="24" y="3"/>
                    <a:pt x="24" y="3"/>
                  </a:cubicBezTo>
                  <a:cubicBezTo>
                    <a:pt x="25" y="4"/>
                    <a:pt x="23" y="4"/>
                    <a:pt x="24" y="5"/>
                  </a:cubicBezTo>
                  <a:cubicBezTo>
                    <a:pt x="24" y="5"/>
                    <a:pt x="24" y="5"/>
                    <a:pt x="24" y="5"/>
                  </a:cubicBezTo>
                  <a:cubicBezTo>
                    <a:pt x="22" y="5"/>
                    <a:pt x="20" y="6"/>
                    <a:pt x="17" y="5"/>
                  </a:cubicBezTo>
                  <a:cubicBezTo>
                    <a:pt x="17" y="5"/>
                    <a:pt x="17" y="5"/>
                    <a:pt x="16" y="4"/>
                  </a:cubicBezTo>
                  <a:cubicBezTo>
                    <a:pt x="16" y="4"/>
                    <a:pt x="17" y="4"/>
                    <a:pt x="17" y="4"/>
                  </a:cubicBezTo>
                  <a:cubicBezTo>
                    <a:pt x="17" y="4"/>
                    <a:pt x="17"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26" name="Freeform 25">
              <a:extLst>
                <a:ext uri="{FF2B5EF4-FFF2-40B4-BE49-F238E27FC236}">
                  <a16:creationId xmlns:a16="http://schemas.microsoft.com/office/drawing/2014/main" id="{78227CD3-B72A-4A84-1640-CE919423A2BE}"/>
                </a:ext>
              </a:extLst>
            </p:cNvPr>
            <p:cNvSpPr>
              <a:spLocks/>
            </p:cNvSpPr>
            <p:nvPr/>
          </p:nvSpPr>
          <p:spPr bwMode="auto">
            <a:xfrm>
              <a:off x="4816" y="691"/>
              <a:ext cx="410" cy="72"/>
            </a:xfrm>
            <a:custGeom>
              <a:avLst/>
              <a:gdLst>
                <a:gd name="T0" fmla="*/ 0 w 40"/>
                <a:gd name="T1" fmla="*/ 3 h 7"/>
                <a:gd name="T2" fmla="*/ 1 w 40"/>
                <a:gd name="T3" fmla="*/ 3 h 7"/>
                <a:gd name="T4" fmla="*/ 2 w 40"/>
                <a:gd name="T5" fmla="*/ 4 h 7"/>
                <a:gd name="T6" fmla="*/ 3 w 40"/>
                <a:gd name="T7" fmla="*/ 5 h 7"/>
                <a:gd name="T8" fmla="*/ 3 w 40"/>
                <a:gd name="T9" fmla="*/ 5 h 7"/>
                <a:gd name="T10" fmla="*/ 5 w 40"/>
                <a:gd name="T11" fmla="*/ 5 h 7"/>
                <a:gd name="T12" fmla="*/ 4 w 40"/>
                <a:gd name="T13" fmla="*/ 5 h 7"/>
                <a:gd name="T14" fmla="*/ 6 w 40"/>
                <a:gd name="T15" fmla="*/ 6 h 7"/>
                <a:gd name="T16" fmla="*/ 8 w 40"/>
                <a:gd name="T17" fmla="*/ 6 h 7"/>
                <a:gd name="T18" fmla="*/ 10 w 40"/>
                <a:gd name="T19" fmla="*/ 7 h 7"/>
                <a:gd name="T20" fmla="*/ 13 w 40"/>
                <a:gd name="T21" fmla="*/ 7 h 7"/>
                <a:gd name="T22" fmla="*/ 9 w 40"/>
                <a:gd name="T23" fmla="*/ 5 h 7"/>
                <a:gd name="T24" fmla="*/ 10 w 40"/>
                <a:gd name="T25" fmla="*/ 3 h 7"/>
                <a:gd name="T26" fmla="*/ 14 w 40"/>
                <a:gd name="T27" fmla="*/ 3 h 7"/>
                <a:gd name="T28" fmla="*/ 19 w 40"/>
                <a:gd name="T29" fmla="*/ 3 h 7"/>
                <a:gd name="T30" fmla="*/ 21 w 40"/>
                <a:gd name="T31" fmla="*/ 3 h 7"/>
                <a:gd name="T32" fmla="*/ 22 w 40"/>
                <a:gd name="T33" fmla="*/ 3 h 7"/>
                <a:gd name="T34" fmla="*/ 28 w 40"/>
                <a:gd name="T35" fmla="*/ 3 h 7"/>
                <a:gd name="T36" fmla="*/ 30 w 40"/>
                <a:gd name="T37" fmla="*/ 4 h 7"/>
                <a:gd name="T38" fmla="*/ 32 w 40"/>
                <a:gd name="T39" fmla="*/ 4 h 7"/>
                <a:gd name="T40" fmla="*/ 39 w 40"/>
                <a:gd name="T41" fmla="*/ 5 h 7"/>
                <a:gd name="T42" fmla="*/ 40 w 40"/>
                <a:gd name="T43" fmla="*/ 5 h 7"/>
                <a:gd name="T44" fmla="*/ 39 w 40"/>
                <a:gd name="T45" fmla="*/ 4 h 7"/>
                <a:gd name="T46" fmla="*/ 33 w 40"/>
                <a:gd name="T47" fmla="*/ 3 h 7"/>
                <a:gd name="T48" fmla="*/ 33 w 40"/>
                <a:gd name="T49" fmla="*/ 3 h 7"/>
                <a:gd name="T50" fmla="*/ 28 w 40"/>
                <a:gd name="T51" fmla="*/ 2 h 7"/>
                <a:gd name="T52" fmla="*/ 24 w 40"/>
                <a:gd name="T53" fmla="*/ 1 h 7"/>
                <a:gd name="T54" fmla="*/ 18 w 40"/>
                <a:gd name="T55" fmla="*/ 0 h 7"/>
                <a:gd name="T56" fmla="*/ 17 w 40"/>
                <a:gd name="T57" fmla="*/ 0 h 7"/>
                <a:gd name="T58" fmla="*/ 10 w 40"/>
                <a:gd name="T59" fmla="*/ 0 h 7"/>
                <a:gd name="T60" fmla="*/ 11 w 40"/>
                <a:gd name="T61" fmla="*/ 0 h 7"/>
                <a:gd name="T62" fmla="*/ 5 w 40"/>
                <a:gd name="T63" fmla="*/ 1 h 7"/>
                <a:gd name="T64" fmla="*/ 6 w 40"/>
                <a:gd name="T65" fmla="*/ 1 h 7"/>
                <a:gd name="T66" fmla="*/ 6 w 40"/>
                <a:gd name="T67" fmla="*/ 2 h 7"/>
                <a:gd name="T68" fmla="*/ 6 w 40"/>
                <a:gd name="T69" fmla="*/ 2 h 7"/>
                <a:gd name="T70" fmla="*/ 3 w 40"/>
                <a:gd name="T71" fmla="*/ 2 h 7"/>
                <a:gd name="T72" fmla="*/ 1 w 40"/>
                <a:gd name="T73" fmla="*/ 3 h 7"/>
                <a:gd name="T74" fmla="*/ 0 w 40"/>
                <a:gd name="T75" fmla="*/ 2 h 7"/>
                <a:gd name="T76" fmla="*/ 0 w 40"/>
                <a:gd name="T7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7">
                  <a:moveTo>
                    <a:pt x="0" y="3"/>
                  </a:moveTo>
                  <a:cubicBezTo>
                    <a:pt x="0" y="3"/>
                    <a:pt x="0" y="3"/>
                    <a:pt x="1" y="3"/>
                  </a:cubicBezTo>
                  <a:cubicBezTo>
                    <a:pt x="2" y="3"/>
                    <a:pt x="2" y="4"/>
                    <a:pt x="2" y="4"/>
                  </a:cubicBezTo>
                  <a:cubicBezTo>
                    <a:pt x="2" y="4"/>
                    <a:pt x="2" y="4"/>
                    <a:pt x="3" y="5"/>
                  </a:cubicBezTo>
                  <a:cubicBezTo>
                    <a:pt x="3" y="5"/>
                    <a:pt x="3" y="5"/>
                    <a:pt x="3" y="5"/>
                  </a:cubicBezTo>
                  <a:cubicBezTo>
                    <a:pt x="4" y="4"/>
                    <a:pt x="4" y="4"/>
                    <a:pt x="5" y="5"/>
                  </a:cubicBezTo>
                  <a:cubicBezTo>
                    <a:pt x="5" y="5"/>
                    <a:pt x="4" y="5"/>
                    <a:pt x="4" y="5"/>
                  </a:cubicBezTo>
                  <a:cubicBezTo>
                    <a:pt x="5" y="5"/>
                    <a:pt x="5" y="6"/>
                    <a:pt x="6" y="6"/>
                  </a:cubicBezTo>
                  <a:cubicBezTo>
                    <a:pt x="6" y="6"/>
                    <a:pt x="7" y="6"/>
                    <a:pt x="8" y="6"/>
                  </a:cubicBezTo>
                  <a:cubicBezTo>
                    <a:pt x="9" y="6"/>
                    <a:pt x="10" y="6"/>
                    <a:pt x="10" y="7"/>
                  </a:cubicBezTo>
                  <a:cubicBezTo>
                    <a:pt x="11" y="7"/>
                    <a:pt x="12" y="7"/>
                    <a:pt x="13" y="7"/>
                  </a:cubicBezTo>
                  <a:cubicBezTo>
                    <a:pt x="11" y="6"/>
                    <a:pt x="10" y="6"/>
                    <a:pt x="9" y="5"/>
                  </a:cubicBezTo>
                  <a:cubicBezTo>
                    <a:pt x="8" y="4"/>
                    <a:pt x="8" y="4"/>
                    <a:pt x="10" y="3"/>
                  </a:cubicBezTo>
                  <a:cubicBezTo>
                    <a:pt x="11" y="3"/>
                    <a:pt x="13" y="3"/>
                    <a:pt x="14" y="3"/>
                  </a:cubicBezTo>
                  <a:cubicBezTo>
                    <a:pt x="16" y="3"/>
                    <a:pt x="17" y="2"/>
                    <a:pt x="19" y="3"/>
                  </a:cubicBezTo>
                  <a:cubicBezTo>
                    <a:pt x="20" y="3"/>
                    <a:pt x="20" y="3"/>
                    <a:pt x="21" y="3"/>
                  </a:cubicBezTo>
                  <a:cubicBezTo>
                    <a:pt x="21" y="3"/>
                    <a:pt x="22" y="3"/>
                    <a:pt x="22" y="3"/>
                  </a:cubicBezTo>
                  <a:cubicBezTo>
                    <a:pt x="24" y="3"/>
                    <a:pt x="26" y="3"/>
                    <a:pt x="28" y="3"/>
                  </a:cubicBezTo>
                  <a:cubicBezTo>
                    <a:pt x="28" y="3"/>
                    <a:pt x="29" y="3"/>
                    <a:pt x="30" y="4"/>
                  </a:cubicBezTo>
                  <a:cubicBezTo>
                    <a:pt x="31" y="4"/>
                    <a:pt x="32" y="4"/>
                    <a:pt x="32" y="4"/>
                  </a:cubicBezTo>
                  <a:cubicBezTo>
                    <a:pt x="35" y="5"/>
                    <a:pt x="37" y="5"/>
                    <a:pt x="39" y="5"/>
                  </a:cubicBezTo>
                  <a:cubicBezTo>
                    <a:pt x="39" y="5"/>
                    <a:pt x="40" y="5"/>
                    <a:pt x="40" y="5"/>
                  </a:cubicBezTo>
                  <a:cubicBezTo>
                    <a:pt x="40" y="5"/>
                    <a:pt x="39" y="4"/>
                    <a:pt x="39" y="4"/>
                  </a:cubicBezTo>
                  <a:cubicBezTo>
                    <a:pt x="37" y="3"/>
                    <a:pt x="35" y="3"/>
                    <a:pt x="33" y="3"/>
                  </a:cubicBezTo>
                  <a:cubicBezTo>
                    <a:pt x="33" y="3"/>
                    <a:pt x="33" y="3"/>
                    <a:pt x="33" y="3"/>
                  </a:cubicBezTo>
                  <a:cubicBezTo>
                    <a:pt x="31" y="3"/>
                    <a:pt x="29" y="2"/>
                    <a:pt x="28" y="2"/>
                  </a:cubicBezTo>
                  <a:cubicBezTo>
                    <a:pt x="27" y="2"/>
                    <a:pt x="25" y="2"/>
                    <a:pt x="24" y="1"/>
                  </a:cubicBezTo>
                  <a:cubicBezTo>
                    <a:pt x="22" y="1"/>
                    <a:pt x="20" y="1"/>
                    <a:pt x="18" y="0"/>
                  </a:cubicBezTo>
                  <a:cubicBezTo>
                    <a:pt x="18" y="0"/>
                    <a:pt x="17" y="0"/>
                    <a:pt x="17" y="0"/>
                  </a:cubicBezTo>
                  <a:cubicBezTo>
                    <a:pt x="15" y="0"/>
                    <a:pt x="13" y="0"/>
                    <a:pt x="10" y="0"/>
                  </a:cubicBezTo>
                  <a:cubicBezTo>
                    <a:pt x="11" y="0"/>
                    <a:pt x="11" y="0"/>
                    <a:pt x="11" y="0"/>
                  </a:cubicBezTo>
                  <a:cubicBezTo>
                    <a:pt x="10" y="1"/>
                    <a:pt x="8" y="1"/>
                    <a:pt x="5" y="1"/>
                  </a:cubicBezTo>
                  <a:cubicBezTo>
                    <a:pt x="6" y="1"/>
                    <a:pt x="6" y="1"/>
                    <a:pt x="6" y="1"/>
                  </a:cubicBezTo>
                  <a:cubicBezTo>
                    <a:pt x="6" y="1"/>
                    <a:pt x="7" y="1"/>
                    <a:pt x="6" y="2"/>
                  </a:cubicBezTo>
                  <a:cubicBezTo>
                    <a:pt x="6" y="2"/>
                    <a:pt x="6" y="2"/>
                    <a:pt x="6" y="2"/>
                  </a:cubicBezTo>
                  <a:cubicBezTo>
                    <a:pt x="4" y="1"/>
                    <a:pt x="3" y="2"/>
                    <a:pt x="3" y="2"/>
                  </a:cubicBezTo>
                  <a:cubicBezTo>
                    <a:pt x="2" y="2"/>
                    <a:pt x="2" y="3"/>
                    <a:pt x="1" y="3"/>
                  </a:cubicBezTo>
                  <a:cubicBezTo>
                    <a:pt x="1" y="3"/>
                    <a:pt x="0" y="2"/>
                    <a:pt x="0" y="2"/>
                  </a:cubicBezTo>
                  <a:cubicBezTo>
                    <a:pt x="0" y="2"/>
                    <a:pt x="0" y="3"/>
                    <a:pt x="0"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27" name="Freeform 26">
              <a:extLst>
                <a:ext uri="{FF2B5EF4-FFF2-40B4-BE49-F238E27FC236}">
                  <a16:creationId xmlns:a16="http://schemas.microsoft.com/office/drawing/2014/main" id="{8D9359D1-0446-FC29-3D6A-1F267077D786}"/>
                </a:ext>
              </a:extLst>
            </p:cNvPr>
            <p:cNvSpPr>
              <a:spLocks/>
            </p:cNvSpPr>
            <p:nvPr/>
          </p:nvSpPr>
          <p:spPr bwMode="auto">
            <a:xfrm>
              <a:off x="3072" y="742"/>
              <a:ext cx="247" cy="62"/>
            </a:xfrm>
            <a:custGeom>
              <a:avLst/>
              <a:gdLst>
                <a:gd name="T0" fmla="*/ 21 w 24"/>
                <a:gd name="T1" fmla="*/ 3 h 6"/>
                <a:gd name="T2" fmla="*/ 21 w 24"/>
                <a:gd name="T3" fmla="*/ 3 h 6"/>
                <a:gd name="T4" fmla="*/ 23 w 24"/>
                <a:gd name="T5" fmla="*/ 2 h 6"/>
                <a:gd name="T6" fmla="*/ 24 w 24"/>
                <a:gd name="T7" fmla="*/ 1 h 6"/>
                <a:gd name="T8" fmla="*/ 23 w 24"/>
                <a:gd name="T9" fmla="*/ 1 h 6"/>
                <a:gd name="T10" fmla="*/ 21 w 24"/>
                <a:gd name="T11" fmla="*/ 0 h 6"/>
                <a:gd name="T12" fmla="*/ 20 w 24"/>
                <a:gd name="T13" fmla="*/ 0 h 6"/>
                <a:gd name="T14" fmla="*/ 18 w 24"/>
                <a:gd name="T15" fmla="*/ 0 h 6"/>
                <a:gd name="T16" fmla="*/ 17 w 24"/>
                <a:gd name="T17" fmla="*/ 0 h 6"/>
                <a:gd name="T18" fmla="*/ 15 w 24"/>
                <a:gd name="T19" fmla="*/ 1 h 6"/>
                <a:gd name="T20" fmla="*/ 13 w 24"/>
                <a:gd name="T21" fmla="*/ 1 h 6"/>
                <a:gd name="T22" fmla="*/ 11 w 24"/>
                <a:gd name="T23" fmla="*/ 2 h 6"/>
                <a:gd name="T24" fmla="*/ 10 w 24"/>
                <a:gd name="T25" fmla="*/ 2 h 6"/>
                <a:gd name="T26" fmla="*/ 9 w 24"/>
                <a:gd name="T27" fmla="*/ 1 h 6"/>
                <a:gd name="T28" fmla="*/ 9 w 24"/>
                <a:gd name="T29" fmla="*/ 2 h 6"/>
                <a:gd name="T30" fmla="*/ 7 w 24"/>
                <a:gd name="T31" fmla="*/ 3 h 6"/>
                <a:gd name="T32" fmla="*/ 7 w 24"/>
                <a:gd name="T33" fmla="*/ 3 h 6"/>
                <a:gd name="T34" fmla="*/ 7 w 24"/>
                <a:gd name="T35" fmla="*/ 3 h 6"/>
                <a:gd name="T36" fmla="*/ 5 w 24"/>
                <a:gd name="T37" fmla="*/ 2 h 6"/>
                <a:gd name="T38" fmla="*/ 3 w 24"/>
                <a:gd name="T39" fmla="*/ 2 h 6"/>
                <a:gd name="T40" fmla="*/ 3 w 24"/>
                <a:gd name="T41" fmla="*/ 2 h 6"/>
                <a:gd name="T42" fmla="*/ 3 w 24"/>
                <a:gd name="T43" fmla="*/ 2 h 6"/>
                <a:gd name="T44" fmla="*/ 1 w 24"/>
                <a:gd name="T45" fmla="*/ 3 h 6"/>
                <a:gd name="T46" fmla="*/ 0 w 24"/>
                <a:gd name="T47" fmla="*/ 4 h 6"/>
                <a:gd name="T48" fmla="*/ 2 w 24"/>
                <a:gd name="T49" fmla="*/ 3 h 6"/>
                <a:gd name="T50" fmla="*/ 4 w 24"/>
                <a:gd name="T51" fmla="*/ 3 h 6"/>
                <a:gd name="T52" fmla="*/ 5 w 24"/>
                <a:gd name="T53" fmla="*/ 3 h 6"/>
                <a:gd name="T54" fmla="*/ 3 w 24"/>
                <a:gd name="T55" fmla="*/ 4 h 6"/>
                <a:gd name="T56" fmla="*/ 1 w 24"/>
                <a:gd name="T57" fmla="*/ 4 h 6"/>
                <a:gd name="T58" fmla="*/ 3 w 24"/>
                <a:gd name="T59" fmla="*/ 4 h 6"/>
                <a:gd name="T60" fmla="*/ 5 w 24"/>
                <a:gd name="T61" fmla="*/ 5 h 6"/>
                <a:gd name="T62" fmla="*/ 6 w 24"/>
                <a:gd name="T63" fmla="*/ 5 h 6"/>
                <a:gd name="T64" fmla="*/ 5 w 24"/>
                <a:gd name="T65" fmla="*/ 5 h 6"/>
                <a:gd name="T66" fmla="*/ 4 w 24"/>
                <a:gd name="T67" fmla="*/ 5 h 6"/>
                <a:gd name="T68" fmla="*/ 4 w 24"/>
                <a:gd name="T69" fmla="*/ 6 h 6"/>
                <a:gd name="T70" fmla="*/ 7 w 24"/>
                <a:gd name="T71" fmla="*/ 5 h 6"/>
                <a:gd name="T72" fmla="*/ 9 w 24"/>
                <a:gd name="T73" fmla="*/ 5 h 6"/>
                <a:gd name="T74" fmla="*/ 13 w 24"/>
                <a:gd name="T75" fmla="*/ 5 h 6"/>
                <a:gd name="T76" fmla="*/ 17 w 24"/>
                <a:gd name="T77" fmla="*/ 4 h 6"/>
                <a:gd name="T78" fmla="*/ 21 w 24"/>
                <a:gd name="T7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6">
                  <a:moveTo>
                    <a:pt x="21" y="3"/>
                  </a:moveTo>
                  <a:cubicBezTo>
                    <a:pt x="21" y="3"/>
                    <a:pt x="21" y="3"/>
                    <a:pt x="21" y="3"/>
                  </a:cubicBezTo>
                  <a:cubicBezTo>
                    <a:pt x="22" y="2"/>
                    <a:pt x="22" y="2"/>
                    <a:pt x="23" y="2"/>
                  </a:cubicBezTo>
                  <a:cubicBezTo>
                    <a:pt x="23" y="2"/>
                    <a:pt x="24" y="2"/>
                    <a:pt x="24" y="1"/>
                  </a:cubicBezTo>
                  <a:cubicBezTo>
                    <a:pt x="24" y="1"/>
                    <a:pt x="23" y="1"/>
                    <a:pt x="23" y="1"/>
                  </a:cubicBezTo>
                  <a:cubicBezTo>
                    <a:pt x="22" y="1"/>
                    <a:pt x="22" y="1"/>
                    <a:pt x="21" y="0"/>
                  </a:cubicBezTo>
                  <a:cubicBezTo>
                    <a:pt x="21" y="0"/>
                    <a:pt x="21" y="0"/>
                    <a:pt x="20" y="0"/>
                  </a:cubicBezTo>
                  <a:cubicBezTo>
                    <a:pt x="20" y="0"/>
                    <a:pt x="19" y="0"/>
                    <a:pt x="18" y="0"/>
                  </a:cubicBezTo>
                  <a:cubicBezTo>
                    <a:pt x="18" y="0"/>
                    <a:pt x="17" y="0"/>
                    <a:pt x="17" y="0"/>
                  </a:cubicBezTo>
                  <a:cubicBezTo>
                    <a:pt x="16" y="1"/>
                    <a:pt x="15" y="1"/>
                    <a:pt x="15" y="1"/>
                  </a:cubicBezTo>
                  <a:cubicBezTo>
                    <a:pt x="14" y="0"/>
                    <a:pt x="13" y="1"/>
                    <a:pt x="13" y="1"/>
                  </a:cubicBezTo>
                  <a:cubicBezTo>
                    <a:pt x="12" y="1"/>
                    <a:pt x="11" y="1"/>
                    <a:pt x="11" y="2"/>
                  </a:cubicBezTo>
                  <a:cubicBezTo>
                    <a:pt x="10" y="2"/>
                    <a:pt x="10" y="2"/>
                    <a:pt x="10" y="2"/>
                  </a:cubicBezTo>
                  <a:cubicBezTo>
                    <a:pt x="10" y="2"/>
                    <a:pt x="9" y="1"/>
                    <a:pt x="9" y="1"/>
                  </a:cubicBezTo>
                  <a:cubicBezTo>
                    <a:pt x="9" y="1"/>
                    <a:pt x="8" y="2"/>
                    <a:pt x="9" y="2"/>
                  </a:cubicBezTo>
                  <a:cubicBezTo>
                    <a:pt x="9" y="2"/>
                    <a:pt x="8" y="2"/>
                    <a:pt x="7" y="3"/>
                  </a:cubicBezTo>
                  <a:cubicBezTo>
                    <a:pt x="7" y="3"/>
                    <a:pt x="7" y="3"/>
                    <a:pt x="7" y="3"/>
                  </a:cubicBezTo>
                  <a:cubicBezTo>
                    <a:pt x="7" y="3"/>
                    <a:pt x="7" y="3"/>
                    <a:pt x="7" y="3"/>
                  </a:cubicBezTo>
                  <a:cubicBezTo>
                    <a:pt x="7" y="2"/>
                    <a:pt x="6" y="2"/>
                    <a:pt x="5" y="2"/>
                  </a:cubicBezTo>
                  <a:cubicBezTo>
                    <a:pt x="5" y="2"/>
                    <a:pt x="4" y="2"/>
                    <a:pt x="3" y="2"/>
                  </a:cubicBezTo>
                  <a:cubicBezTo>
                    <a:pt x="3" y="2"/>
                    <a:pt x="3" y="2"/>
                    <a:pt x="3" y="2"/>
                  </a:cubicBezTo>
                  <a:cubicBezTo>
                    <a:pt x="3" y="2"/>
                    <a:pt x="3" y="2"/>
                    <a:pt x="3" y="2"/>
                  </a:cubicBezTo>
                  <a:cubicBezTo>
                    <a:pt x="2" y="3"/>
                    <a:pt x="1" y="2"/>
                    <a:pt x="1" y="3"/>
                  </a:cubicBezTo>
                  <a:cubicBezTo>
                    <a:pt x="1" y="3"/>
                    <a:pt x="1" y="3"/>
                    <a:pt x="0" y="4"/>
                  </a:cubicBezTo>
                  <a:cubicBezTo>
                    <a:pt x="1" y="4"/>
                    <a:pt x="1" y="4"/>
                    <a:pt x="2" y="3"/>
                  </a:cubicBezTo>
                  <a:cubicBezTo>
                    <a:pt x="3" y="3"/>
                    <a:pt x="4" y="3"/>
                    <a:pt x="4" y="3"/>
                  </a:cubicBezTo>
                  <a:cubicBezTo>
                    <a:pt x="4" y="3"/>
                    <a:pt x="5" y="3"/>
                    <a:pt x="5" y="3"/>
                  </a:cubicBezTo>
                  <a:cubicBezTo>
                    <a:pt x="4" y="4"/>
                    <a:pt x="4" y="4"/>
                    <a:pt x="3" y="4"/>
                  </a:cubicBezTo>
                  <a:cubicBezTo>
                    <a:pt x="2" y="4"/>
                    <a:pt x="2" y="4"/>
                    <a:pt x="1" y="4"/>
                  </a:cubicBezTo>
                  <a:cubicBezTo>
                    <a:pt x="1" y="5"/>
                    <a:pt x="2" y="5"/>
                    <a:pt x="3" y="4"/>
                  </a:cubicBezTo>
                  <a:cubicBezTo>
                    <a:pt x="3" y="4"/>
                    <a:pt x="4" y="4"/>
                    <a:pt x="5" y="5"/>
                  </a:cubicBezTo>
                  <a:cubicBezTo>
                    <a:pt x="5" y="5"/>
                    <a:pt x="5" y="5"/>
                    <a:pt x="6" y="5"/>
                  </a:cubicBezTo>
                  <a:cubicBezTo>
                    <a:pt x="5" y="5"/>
                    <a:pt x="5" y="5"/>
                    <a:pt x="5" y="5"/>
                  </a:cubicBezTo>
                  <a:cubicBezTo>
                    <a:pt x="5" y="5"/>
                    <a:pt x="4" y="5"/>
                    <a:pt x="4" y="5"/>
                  </a:cubicBezTo>
                  <a:cubicBezTo>
                    <a:pt x="4" y="5"/>
                    <a:pt x="4" y="6"/>
                    <a:pt x="4" y="6"/>
                  </a:cubicBezTo>
                  <a:cubicBezTo>
                    <a:pt x="5" y="5"/>
                    <a:pt x="6" y="5"/>
                    <a:pt x="7" y="5"/>
                  </a:cubicBezTo>
                  <a:cubicBezTo>
                    <a:pt x="8" y="5"/>
                    <a:pt x="8" y="5"/>
                    <a:pt x="9" y="5"/>
                  </a:cubicBezTo>
                  <a:cubicBezTo>
                    <a:pt x="10" y="5"/>
                    <a:pt x="12" y="5"/>
                    <a:pt x="13" y="5"/>
                  </a:cubicBezTo>
                  <a:cubicBezTo>
                    <a:pt x="14" y="5"/>
                    <a:pt x="15" y="4"/>
                    <a:pt x="17" y="4"/>
                  </a:cubicBezTo>
                  <a:cubicBezTo>
                    <a:pt x="18" y="4"/>
                    <a:pt x="19" y="3"/>
                    <a:pt x="2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28" name="Freeform 27">
              <a:extLst>
                <a:ext uri="{FF2B5EF4-FFF2-40B4-BE49-F238E27FC236}">
                  <a16:creationId xmlns:a16="http://schemas.microsoft.com/office/drawing/2014/main" id="{34C734A9-EC76-AB49-ADAE-7FC88BEB828A}"/>
                </a:ext>
              </a:extLst>
            </p:cNvPr>
            <p:cNvSpPr>
              <a:spLocks/>
            </p:cNvSpPr>
            <p:nvPr/>
          </p:nvSpPr>
          <p:spPr bwMode="auto">
            <a:xfrm>
              <a:off x="858" y="1445"/>
              <a:ext cx="195" cy="155"/>
            </a:xfrm>
            <a:custGeom>
              <a:avLst/>
              <a:gdLst>
                <a:gd name="T0" fmla="*/ 5 w 19"/>
                <a:gd name="T1" fmla="*/ 13 h 15"/>
                <a:gd name="T2" fmla="*/ 8 w 19"/>
                <a:gd name="T3" fmla="*/ 11 h 15"/>
                <a:gd name="T4" fmla="*/ 10 w 19"/>
                <a:gd name="T5" fmla="*/ 10 h 15"/>
                <a:gd name="T6" fmla="*/ 11 w 19"/>
                <a:gd name="T7" fmla="*/ 9 h 15"/>
                <a:gd name="T8" fmla="*/ 13 w 19"/>
                <a:gd name="T9" fmla="*/ 5 h 15"/>
                <a:gd name="T10" fmla="*/ 19 w 19"/>
                <a:gd name="T11" fmla="*/ 0 h 15"/>
                <a:gd name="T12" fmla="*/ 19 w 19"/>
                <a:gd name="T13" fmla="*/ 0 h 15"/>
                <a:gd name="T14" fmla="*/ 19 w 19"/>
                <a:gd name="T15" fmla="*/ 0 h 15"/>
                <a:gd name="T16" fmla="*/ 12 w 19"/>
                <a:gd name="T17" fmla="*/ 3 h 15"/>
                <a:gd name="T18" fmla="*/ 9 w 19"/>
                <a:gd name="T19" fmla="*/ 5 h 15"/>
                <a:gd name="T20" fmla="*/ 6 w 19"/>
                <a:gd name="T21" fmla="*/ 7 h 15"/>
                <a:gd name="T22" fmla="*/ 3 w 19"/>
                <a:gd name="T23" fmla="*/ 9 h 15"/>
                <a:gd name="T24" fmla="*/ 0 w 19"/>
                <a:gd name="T25" fmla="*/ 11 h 15"/>
                <a:gd name="T26" fmla="*/ 2 w 19"/>
                <a:gd name="T27" fmla="*/ 11 h 15"/>
                <a:gd name="T28" fmla="*/ 2 w 19"/>
                <a:gd name="T29" fmla="*/ 12 h 15"/>
                <a:gd name="T30" fmla="*/ 2 w 19"/>
                <a:gd name="T31" fmla="*/ 12 h 15"/>
                <a:gd name="T32" fmla="*/ 1 w 19"/>
                <a:gd name="T33" fmla="*/ 14 h 15"/>
                <a:gd name="T34" fmla="*/ 1 w 19"/>
                <a:gd name="T35" fmla="*/ 15 h 15"/>
                <a:gd name="T36" fmla="*/ 1 w 19"/>
                <a:gd name="T37" fmla="*/ 15 h 15"/>
                <a:gd name="T38" fmla="*/ 5 w 19"/>
                <a:gd name="T39"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 h="15">
                  <a:moveTo>
                    <a:pt x="5" y="13"/>
                  </a:moveTo>
                  <a:cubicBezTo>
                    <a:pt x="6" y="13"/>
                    <a:pt x="7" y="12"/>
                    <a:pt x="8" y="11"/>
                  </a:cubicBezTo>
                  <a:cubicBezTo>
                    <a:pt x="9" y="11"/>
                    <a:pt x="9" y="10"/>
                    <a:pt x="10" y="10"/>
                  </a:cubicBezTo>
                  <a:cubicBezTo>
                    <a:pt x="10" y="9"/>
                    <a:pt x="11" y="9"/>
                    <a:pt x="11" y="9"/>
                  </a:cubicBezTo>
                  <a:cubicBezTo>
                    <a:pt x="11" y="7"/>
                    <a:pt x="12" y="6"/>
                    <a:pt x="13" y="5"/>
                  </a:cubicBezTo>
                  <a:cubicBezTo>
                    <a:pt x="15" y="3"/>
                    <a:pt x="17" y="2"/>
                    <a:pt x="19" y="0"/>
                  </a:cubicBezTo>
                  <a:cubicBezTo>
                    <a:pt x="19" y="0"/>
                    <a:pt x="19" y="0"/>
                    <a:pt x="19" y="0"/>
                  </a:cubicBezTo>
                  <a:cubicBezTo>
                    <a:pt x="19" y="0"/>
                    <a:pt x="19" y="0"/>
                    <a:pt x="19" y="0"/>
                  </a:cubicBezTo>
                  <a:cubicBezTo>
                    <a:pt x="16" y="0"/>
                    <a:pt x="14" y="1"/>
                    <a:pt x="12" y="3"/>
                  </a:cubicBezTo>
                  <a:cubicBezTo>
                    <a:pt x="11" y="3"/>
                    <a:pt x="10" y="4"/>
                    <a:pt x="9" y="5"/>
                  </a:cubicBezTo>
                  <a:cubicBezTo>
                    <a:pt x="8" y="6"/>
                    <a:pt x="6" y="6"/>
                    <a:pt x="6" y="7"/>
                  </a:cubicBezTo>
                  <a:cubicBezTo>
                    <a:pt x="5" y="8"/>
                    <a:pt x="4" y="8"/>
                    <a:pt x="3" y="9"/>
                  </a:cubicBezTo>
                  <a:cubicBezTo>
                    <a:pt x="3" y="9"/>
                    <a:pt x="2" y="10"/>
                    <a:pt x="0" y="11"/>
                  </a:cubicBezTo>
                  <a:cubicBezTo>
                    <a:pt x="1" y="11"/>
                    <a:pt x="1" y="11"/>
                    <a:pt x="2" y="11"/>
                  </a:cubicBezTo>
                  <a:cubicBezTo>
                    <a:pt x="2" y="11"/>
                    <a:pt x="3" y="11"/>
                    <a:pt x="2" y="12"/>
                  </a:cubicBezTo>
                  <a:cubicBezTo>
                    <a:pt x="2" y="12"/>
                    <a:pt x="2" y="12"/>
                    <a:pt x="2" y="12"/>
                  </a:cubicBezTo>
                  <a:cubicBezTo>
                    <a:pt x="1" y="13"/>
                    <a:pt x="1" y="14"/>
                    <a:pt x="1" y="14"/>
                  </a:cubicBezTo>
                  <a:cubicBezTo>
                    <a:pt x="1" y="15"/>
                    <a:pt x="1" y="15"/>
                    <a:pt x="1" y="15"/>
                  </a:cubicBezTo>
                  <a:cubicBezTo>
                    <a:pt x="1" y="15"/>
                    <a:pt x="1" y="15"/>
                    <a:pt x="1" y="15"/>
                  </a:cubicBezTo>
                  <a:cubicBezTo>
                    <a:pt x="3" y="14"/>
                    <a:pt x="4" y="13"/>
                    <a:pt x="5"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29" name="Freeform 28">
              <a:extLst>
                <a:ext uri="{FF2B5EF4-FFF2-40B4-BE49-F238E27FC236}">
                  <a16:creationId xmlns:a16="http://schemas.microsoft.com/office/drawing/2014/main" id="{D48D6BF3-8657-7F1B-4674-FEE18D72C047}"/>
                </a:ext>
              </a:extLst>
            </p:cNvPr>
            <p:cNvSpPr>
              <a:spLocks/>
            </p:cNvSpPr>
            <p:nvPr/>
          </p:nvSpPr>
          <p:spPr bwMode="auto">
            <a:xfrm>
              <a:off x="3872" y="494"/>
              <a:ext cx="328" cy="62"/>
            </a:xfrm>
            <a:custGeom>
              <a:avLst/>
              <a:gdLst>
                <a:gd name="T0" fmla="*/ 2 w 32"/>
                <a:gd name="T1" fmla="*/ 1 h 6"/>
                <a:gd name="T2" fmla="*/ 2 w 32"/>
                <a:gd name="T3" fmla="*/ 1 h 6"/>
                <a:gd name="T4" fmla="*/ 3 w 32"/>
                <a:gd name="T5" fmla="*/ 2 h 6"/>
                <a:gd name="T6" fmla="*/ 4 w 32"/>
                <a:gd name="T7" fmla="*/ 3 h 6"/>
                <a:gd name="T8" fmla="*/ 9 w 32"/>
                <a:gd name="T9" fmla="*/ 2 h 6"/>
                <a:gd name="T10" fmla="*/ 9 w 32"/>
                <a:gd name="T11" fmla="*/ 2 h 6"/>
                <a:gd name="T12" fmla="*/ 13 w 32"/>
                <a:gd name="T13" fmla="*/ 3 h 6"/>
                <a:gd name="T14" fmla="*/ 7 w 32"/>
                <a:gd name="T15" fmla="*/ 3 h 6"/>
                <a:gd name="T16" fmla="*/ 7 w 32"/>
                <a:gd name="T17" fmla="*/ 3 h 6"/>
                <a:gd name="T18" fmla="*/ 10 w 32"/>
                <a:gd name="T19" fmla="*/ 4 h 6"/>
                <a:gd name="T20" fmla="*/ 8 w 32"/>
                <a:gd name="T21" fmla="*/ 4 h 6"/>
                <a:gd name="T22" fmla="*/ 8 w 32"/>
                <a:gd name="T23" fmla="*/ 4 h 6"/>
                <a:gd name="T24" fmla="*/ 8 w 32"/>
                <a:gd name="T25" fmla="*/ 4 h 6"/>
                <a:gd name="T26" fmla="*/ 12 w 32"/>
                <a:gd name="T27" fmla="*/ 5 h 6"/>
                <a:gd name="T28" fmla="*/ 14 w 32"/>
                <a:gd name="T29" fmla="*/ 5 h 6"/>
                <a:gd name="T30" fmla="*/ 15 w 32"/>
                <a:gd name="T31" fmla="*/ 5 h 6"/>
                <a:gd name="T32" fmla="*/ 17 w 32"/>
                <a:gd name="T33" fmla="*/ 4 h 6"/>
                <a:gd name="T34" fmla="*/ 19 w 32"/>
                <a:gd name="T35" fmla="*/ 3 h 6"/>
                <a:gd name="T36" fmla="*/ 21 w 32"/>
                <a:gd name="T37" fmla="*/ 3 h 6"/>
                <a:gd name="T38" fmla="*/ 24 w 32"/>
                <a:gd name="T39" fmla="*/ 4 h 6"/>
                <a:gd name="T40" fmla="*/ 23 w 32"/>
                <a:gd name="T41" fmla="*/ 5 h 6"/>
                <a:gd name="T42" fmla="*/ 26 w 32"/>
                <a:gd name="T43" fmla="*/ 5 h 6"/>
                <a:gd name="T44" fmla="*/ 27 w 32"/>
                <a:gd name="T45" fmla="*/ 5 h 6"/>
                <a:gd name="T46" fmla="*/ 27 w 32"/>
                <a:gd name="T47" fmla="*/ 5 h 6"/>
                <a:gd name="T48" fmla="*/ 31 w 32"/>
                <a:gd name="T49" fmla="*/ 5 h 6"/>
                <a:gd name="T50" fmla="*/ 32 w 32"/>
                <a:gd name="T51" fmla="*/ 4 h 6"/>
                <a:gd name="T52" fmla="*/ 31 w 32"/>
                <a:gd name="T53" fmla="*/ 4 h 6"/>
                <a:gd name="T54" fmla="*/ 31 w 32"/>
                <a:gd name="T55" fmla="*/ 4 h 6"/>
                <a:gd name="T56" fmla="*/ 29 w 32"/>
                <a:gd name="T57" fmla="*/ 4 h 6"/>
                <a:gd name="T58" fmla="*/ 28 w 32"/>
                <a:gd name="T59" fmla="*/ 4 h 6"/>
                <a:gd name="T60" fmla="*/ 26 w 32"/>
                <a:gd name="T61" fmla="*/ 3 h 6"/>
                <a:gd name="T62" fmla="*/ 22 w 32"/>
                <a:gd name="T63" fmla="*/ 2 h 6"/>
                <a:gd name="T64" fmla="*/ 19 w 32"/>
                <a:gd name="T65" fmla="*/ 2 h 6"/>
                <a:gd name="T66" fmla="*/ 18 w 32"/>
                <a:gd name="T67" fmla="*/ 1 h 6"/>
                <a:gd name="T68" fmla="*/ 16 w 32"/>
                <a:gd name="T69" fmla="*/ 1 h 6"/>
                <a:gd name="T70" fmla="*/ 16 w 32"/>
                <a:gd name="T71" fmla="*/ 1 h 6"/>
                <a:gd name="T72" fmla="*/ 16 w 32"/>
                <a:gd name="T73" fmla="*/ 1 h 6"/>
                <a:gd name="T74" fmla="*/ 17 w 32"/>
                <a:gd name="T75" fmla="*/ 1 h 6"/>
                <a:gd name="T76" fmla="*/ 16 w 32"/>
                <a:gd name="T77" fmla="*/ 1 h 6"/>
                <a:gd name="T78" fmla="*/ 14 w 32"/>
                <a:gd name="T79" fmla="*/ 0 h 6"/>
                <a:gd name="T80" fmla="*/ 11 w 32"/>
                <a:gd name="T81" fmla="*/ 1 h 6"/>
                <a:gd name="T82" fmla="*/ 12 w 32"/>
                <a:gd name="T83" fmla="*/ 2 h 6"/>
                <a:gd name="T84" fmla="*/ 11 w 32"/>
                <a:gd name="T85" fmla="*/ 2 h 6"/>
                <a:gd name="T86" fmla="*/ 10 w 32"/>
                <a:gd name="T87" fmla="*/ 1 h 6"/>
                <a:gd name="T88" fmla="*/ 8 w 32"/>
                <a:gd name="T89" fmla="*/ 1 h 6"/>
                <a:gd name="T90" fmla="*/ 5 w 32"/>
                <a:gd name="T91" fmla="*/ 1 h 6"/>
                <a:gd name="T92" fmla="*/ 7 w 32"/>
                <a:gd name="T93" fmla="*/ 1 h 6"/>
                <a:gd name="T94" fmla="*/ 7 w 32"/>
                <a:gd name="T95" fmla="*/ 0 h 6"/>
                <a:gd name="T96" fmla="*/ 6 w 32"/>
                <a:gd name="T97" fmla="*/ 0 h 6"/>
                <a:gd name="T98" fmla="*/ 4 w 32"/>
                <a:gd name="T99" fmla="*/ 0 h 6"/>
                <a:gd name="T100" fmla="*/ 3 w 32"/>
                <a:gd name="T101" fmla="*/ 0 h 6"/>
                <a:gd name="T102" fmla="*/ 0 w 32"/>
                <a:gd name="T103" fmla="*/ 1 h 6"/>
                <a:gd name="T104" fmla="*/ 0 w 32"/>
                <a:gd name="T105" fmla="*/ 1 h 6"/>
                <a:gd name="T106" fmla="*/ 2 w 32"/>
                <a:gd name="T10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 h="6">
                  <a:moveTo>
                    <a:pt x="2" y="1"/>
                  </a:moveTo>
                  <a:cubicBezTo>
                    <a:pt x="2" y="1"/>
                    <a:pt x="3" y="1"/>
                    <a:pt x="2" y="1"/>
                  </a:cubicBezTo>
                  <a:cubicBezTo>
                    <a:pt x="2" y="2"/>
                    <a:pt x="2" y="2"/>
                    <a:pt x="3" y="2"/>
                  </a:cubicBezTo>
                  <a:cubicBezTo>
                    <a:pt x="3" y="2"/>
                    <a:pt x="4" y="2"/>
                    <a:pt x="4" y="3"/>
                  </a:cubicBezTo>
                  <a:cubicBezTo>
                    <a:pt x="6" y="3"/>
                    <a:pt x="7" y="3"/>
                    <a:pt x="9" y="2"/>
                  </a:cubicBezTo>
                  <a:cubicBezTo>
                    <a:pt x="9" y="2"/>
                    <a:pt x="9" y="2"/>
                    <a:pt x="9" y="2"/>
                  </a:cubicBezTo>
                  <a:cubicBezTo>
                    <a:pt x="11" y="2"/>
                    <a:pt x="12" y="3"/>
                    <a:pt x="13" y="3"/>
                  </a:cubicBezTo>
                  <a:cubicBezTo>
                    <a:pt x="11" y="3"/>
                    <a:pt x="9" y="3"/>
                    <a:pt x="7" y="3"/>
                  </a:cubicBezTo>
                  <a:cubicBezTo>
                    <a:pt x="7" y="3"/>
                    <a:pt x="7" y="3"/>
                    <a:pt x="7" y="3"/>
                  </a:cubicBezTo>
                  <a:cubicBezTo>
                    <a:pt x="8" y="3"/>
                    <a:pt x="9" y="4"/>
                    <a:pt x="10" y="4"/>
                  </a:cubicBezTo>
                  <a:cubicBezTo>
                    <a:pt x="9" y="4"/>
                    <a:pt x="9" y="4"/>
                    <a:pt x="8" y="4"/>
                  </a:cubicBezTo>
                  <a:cubicBezTo>
                    <a:pt x="8" y="4"/>
                    <a:pt x="8" y="4"/>
                    <a:pt x="8" y="4"/>
                  </a:cubicBezTo>
                  <a:cubicBezTo>
                    <a:pt x="8" y="4"/>
                    <a:pt x="8" y="4"/>
                    <a:pt x="8" y="4"/>
                  </a:cubicBezTo>
                  <a:cubicBezTo>
                    <a:pt x="9" y="4"/>
                    <a:pt x="11" y="5"/>
                    <a:pt x="12" y="5"/>
                  </a:cubicBezTo>
                  <a:cubicBezTo>
                    <a:pt x="13" y="5"/>
                    <a:pt x="13" y="6"/>
                    <a:pt x="14" y="5"/>
                  </a:cubicBezTo>
                  <a:cubicBezTo>
                    <a:pt x="14" y="5"/>
                    <a:pt x="15" y="5"/>
                    <a:pt x="15" y="5"/>
                  </a:cubicBezTo>
                  <a:cubicBezTo>
                    <a:pt x="16" y="4"/>
                    <a:pt x="17" y="5"/>
                    <a:pt x="17" y="4"/>
                  </a:cubicBezTo>
                  <a:cubicBezTo>
                    <a:pt x="18" y="3"/>
                    <a:pt x="19" y="3"/>
                    <a:pt x="19" y="3"/>
                  </a:cubicBezTo>
                  <a:cubicBezTo>
                    <a:pt x="20" y="3"/>
                    <a:pt x="20" y="3"/>
                    <a:pt x="21" y="3"/>
                  </a:cubicBezTo>
                  <a:cubicBezTo>
                    <a:pt x="22" y="3"/>
                    <a:pt x="23" y="3"/>
                    <a:pt x="24" y="4"/>
                  </a:cubicBezTo>
                  <a:cubicBezTo>
                    <a:pt x="25" y="4"/>
                    <a:pt x="25" y="4"/>
                    <a:pt x="23" y="5"/>
                  </a:cubicBezTo>
                  <a:cubicBezTo>
                    <a:pt x="24" y="5"/>
                    <a:pt x="25" y="5"/>
                    <a:pt x="26" y="5"/>
                  </a:cubicBezTo>
                  <a:cubicBezTo>
                    <a:pt x="27" y="4"/>
                    <a:pt x="27" y="5"/>
                    <a:pt x="27" y="5"/>
                  </a:cubicBezTo>
                  <a:cubicBezTo>
                    <a:pt x="27" y="5"/>
                    <a:pt x="27" y="5"/>
                    <a:pt x="27" y="5"/>
                  </a:cubicBezTo>
                  <a:cubicBezTo>
                    <a:pt x="29" y="5"/>
                    <a:pt x="30" y="5"/>
                    <a:pt x="31" y="5"/>
                  </a:cubicBezTo>
                  <a:cubicBezTo>
                    <a:pt x="31" y="5"/>
                    <a:pt x="32" y="5"/>
                    <a:pt x="32" y="4"/>
                  </a:cubicBezTo>
                  <a:cubicBezTo>
                    <a:pt x="32" y="4"/>
                    <a:pt x="31" y="4"/>
                    <a:pt x="31" y="4"/>
                  </a:cubicBezTo>
                  <a:cubicBezTo>
                    <a:pt x="31" y="4"/>
                    <a:pt x="31" y="4"/>
                    <a:pt x="31" y="4"/>
                  </a:cubicBezTo>
                  <a:cubicBezTo>
                    <a:pt x="30" y="5"/>
                    <a:pt x="30" y="4"/>
                    <a:pt x="29" y="4"/>
                  </a:cubicBezTo>
                  <a:cubicBezTo>
                    <a:pt x="29" y="4"/>
                    <a:pt x="28" y="4"/>
                    <a:pt x="28" y="4"/>
                  </a:cubicBezTo>
                  <a:cubicBezTo>
                    <a:pt x="27" y="4"/>
                    <a:pt x="26" y="4"/>
                    <a:pt x="26" y="3"/>
                  </a:cubicBezTo>
                  <a:cubicBezTo>
                    <a:pt x="25" y="3"/>
                    <a:pt x="24" y="2"/>
                    <a:pt x="22" y="2"/>
                  </a:cubicBezTo>
                  <a:cubicBezTo>
                    <a:pt x="21" y="2"/>
                    <a:pt x="20" y="2"/>
                    <a:pt x="19" y="2"/>
                  </a:cubicBezTo>
                  <a:cubicBezTo>
                    <a:pt x="19" y="1"/>
                    <a:pt x="18" y="1"/>
                    <a:pt x="18" y="1"/>
                  </a:cubicBezTo>
                  <a:cubicBezTo>
                    <a:pt x="17" y="1"/>
                    <a:pt x="17" y="1"/>
                    <a:pt x="16" y="1"/>
                  </a:cubicBezTo>
                  <a:cubicBezTo>
                    <a:pt x="16" y="1"/>
                    <a:pt x="16" y="1"/>
                    <a:pt x="16" y="1"/>
                  </a:cubicBezTo>
                  <a:cubicBezTo>
                    <a:pt x="16" y="1"/>
                    <a:pt x="16" y="1"/>
                    <a:pt x="16" y="1"/>
                  </a:cubicBezTo>
                  <a:cubicBezTo>
                    <a:pt x="16" y="1"/>
                    <a:pt x="17" y="1"/>
                    <a:pt x="17" y="1"/>
                  </a:cubicBezTo>
                  <a:cubicBezTo>
                    <a:pt x="17" y="1"/>
                    <a:pt x="16" y="1"/>
                    <a:pt x="16" y="1"/>
                  </a:cubicBezTo>
                  <a:cubicBezTo>
                    <a:pt x="16" y="1"/>
                    <a:pt x="15" y="1"/>
                    <a:pt x="14" y="0"/>
                  </a:cubicBezTo>
                  <a:cubicBezTo>
                    <a:pt x="13" y="0"/>
                    <a:pt x="12" y="0"/>
                    <a:pt x="11" y="1"/>
                  </a:cubicBezTo>
                  <a:cubicBezTo>
                    <a:pt x="12" y="1"/>
                    <a:pt x="12" y="1"/>
                    <a:pt x="12" y="2"/>
                  </a:cubicBezTo>
                  <a:cubicBezTo>
                    <a:pt x="12" y="2"/>
                    <a:pt x="12" y="2"/>
                    <a:pt x="11" y="2"/>
                  </a:cubicBezTo>
                  <a:cubicBezTo>
                    <a:pt x="11" y="1"/>
                    <a:pt x="11" y="1"/>
                    <a:pt x="10" y="1"/>
                  </a:cubicBezTo>
                  <a:cubicBezTo>
                    <a:pt x="10" y="1"/>
                    <a:pt x="9" y="0"/>
                    <a:pt x="8" y="1"/>
                  </a:cubicBezTo>
                  <a:cubicBezTo>
                    <a:pt x="7" y="1"/>
                    <a:pt x="6" y="1"/>
                    <a:pt x="5" y="1"/>
                  </a:cubicBezTo>
                  <a:cubicBezTo>
                    <a:pt x="6" y="1"/>
                    <a:pt x="7" y="1"/>
                    <a:pt x="7" y="1"/>
                  </a:cubicBezTo>
                  <a:cubicBezTo>
                    <a:pt x="7" y="0"/>
                    <a:pt x="7" y="0"/>
                    <a:pt x="7" y="0"/>
                  </a:cubicBezTo>
                  <a:cubicBezTo>
                    <a:pt x="7" y="0"/>
                    <a:pt x="6" y="0"/>
                    <a:pt x="6" y="0"/>
                  </a:cubicBezTo>
                  <a:cubicBezTo>
                    <a:pt x="5" y="0"/>
                    <a:pt x="5" y="0"/>
                    <a:pt x="4" y="0"/>
                  </a:cubicBezTo>
                  <a:cubicBezTo>
                    <a:pt x="4" y="0"/>
                    <a:pt x="3" y="0"/>
                    <a:pt x="3" y="0"/>
                  </a:cubicBezTo>
                  <a:cubicBezTo>
                    <a:pt x="2" y="0"/>
                    <a:pt x="1" y="1"/>
                    <a:pt x="0" y="1"/>
                  </a:cubicBezTo>
                  <a:cubicBezTo>
                    <a:pt x="0" y="1"/>
                    <a:pt x="0" y="1"/>
                    <a:pt x="0" y="1"/>
                  </a:cubicBezTo>
                  <a:cubicBezTo>
                    <a:pt x="1" y="1"/>
                    <a:pt x="1" y="2"/>
                    <a:pt x="2"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32" name="Freeform 29">
              <a:extLst>
                <a:ext uri="{FF2B5EF4-FFF2-40B4-BE49-F238E27FC236}">
                  <a16:creationId xmlns:a16="http://schemas.microsoft.com/office/drawing/2014/main" id="{53AD492A-BAD0-69A5-62C0-496C4C91C125}"/>
                </a:ext>
              </a:extLst>
            </p:cNvPr>
            <p:cNvSpPr>
              <a:spLocks/>
            </p:cNvSpPr>
            <p:nvPr/>
          </p:nvSpPr>
          <p:spPr bwMode="auto">
            <a:xfrm>
              <a:off x="1411" y="1001"/>
              <a:ext cx="390" cy="165"/>
            </a:xfrm>
            <a:custGeom>
              <a:avLst/>
              <a:gdLst>
                <a:gd name="T0" fmla="*/ 12 w 38"/>
                <a:gd name="T1" fmla="*/ 13 h 16"/>
                <a:gd name="T2" fmla="*/ 13 w 38"/>
                <a:gd name="T3" fmla="*/ 12 h 16"/>
                <a:gd name="T4" fmla="*/ 14 w 38"/>
                <a:gd name="T5" fmla="*/ 12 h 16"/>
                <a:gd name="T6" fmla="*/ 18 w 38"/>
                <a:gd name="T7" fmla="*/ 10 h 16"/>
                <a:gd name="T8" fmla="*/ 19 w 38"/>
                <a:gd name="T9" fmla="*/ 9 h 16"/>
                <a:gd name="T10" fmla="*/ 20 w 38"/>
                <a:gd name="T11" fmla="*/ 9 h 16"/>
                <a:gd name="T12" fmla="*/ 23 w 38"/>
                <a:gd name="T13" fmla="*/ 8 h 16"/>
                <a:gd name="T14" fmla="*/ 24 w 38"/>
                <a:gd name="T15" fmla="*/ 7 h 16"/>
                <a:gd name="T16" fmla="*/ 26 w 38"/>
                <a:gd name="T17" fmla="*/ 6 h 16"/>
                <a:gd name="T18" fmla="*/ 27 w 38"/>
                <a:gd name="T19" fmla="*/ 6 h 16"/>
                <a:gd name="T20" fmla="*/ 29 w 38"/>
                <a:gd name="T21" fmla="*/ 5 h 16"/>
                <a:gd name="T22" fmla="*/ 32 w 38"/>
                <a:gd name="T23" fmla="*/ 3 h 16"/>
                <a:gd name="T24" fmla="*/ 34 w 38"/>
                <a:gd name="T25" fmla="*/ 3 h 16"/>
                <a:gd name="T26" fmla="*/ 36 w 38"/>
                <a:gd name="T27" fmla="*/ 2 h 16"/>
                <a:gd name="T28" fmla="*/ 38 w 38"/>
                <a:gd name="T29" fmla="*/ 0 h 16"/>
                <a:gd name="T30" fmla="*/ 38 w 38"/>
                <a:gd name="T31" fmla="*/ 0 h 16"/>
                <a:gd name="T32" fmla="*/ 37 w 38"/>
                <a:gd name="T33" fmla="*/ 1 h 16"/>
                <a:gd name="T34" fmla="*/ 37 w 38"/>
                <a:gd name="T35" fmla="*/ 0 h 16"/>
                <a:gd name="T36" fmla="*/ 37 w 38"/>
                <a:gd name="T37" fmla="*/ 0 h 16"/>
                <a:gd name="T38" fmla="*/ 37 w 38"/>
                <a:gd name="T39" fmla="*/ 0 h 16"/>
                <a:gd name="T40" fmla="*/ 34 w 38"/>
                <a:gd name="T41" fmla="*/ 1 h 16"/>
                <a:gd name="T42" fmla="*/ 31 w 38"/>
                <a:gd name="T43" fmla="*/ 1 h 16"/>
                <a:gd name="T44" fmla="*/ 31 w 38"/>
                <a:gd name="T45" fmla="*/ 2 h 16"/>
                <a:gd name="T46" fmla="*/ 29 w 38"/>
                <a:gd name="T47" fmla="*/ 3 h 16"/>
                <a:gd name="T48" fmla="*/ 28 w 38"/>
                <a:gd name="T49" fmla="*/ 3 h 16"/>
                <a:gd name="T50" fmla="*/ 24 w 38"/>
                <a:gd name="T51" fmla="*/ 5 h 16"/>
                <a:gd name="T52" fmla="*/ 23 w 38"/>
                <a:gd name="T53" fmla="*/ 6 h 16"/>
                <a:gd name="T54" fmla="*/ 21 w 38"/>
                <a:gd name="T55" fmla="*/ 7 h 16"/>
                <a:gd name="T56" fmla="*/ 18 w 38"/>
                <a:gd name="T57" fmla="*/ 8 h 16"/>
                <a:gd name="T58" fmla="*/ 18 w 38"/>
                <a:gd name="T59" fmla="*/ 9 h 16"/>
                <a:gd name="T60" fmla="*/ 17 w 38"/>
                <a:gd name="T61" fmla="*/ 9 h 16"/>
                <a:gd name="T62" fmla="*/ 16 w 38"/>
                <a:gd name="T63" fmla="*/ 9 h 16"/>
                <a:gd name="T64" fmla="*/ 14 w 38"/>
                <a:gd name="T65" fmla="*/ 10 h 16"/>
                <a:gd name="T66" fmla="*/ 14 w 38"/>
                <a:gd name="T67" fmla="*/ 10 h 16"/>
                <a:gd name="T68" fmla="*/ 16 w 38"/>
                <a:gd name="T69" fmla="*/ 8 h 16"/>
                <a:gd name="T70" fmla="*/ 15 w 38"/>
                <a:gd name="T71" fmla="*/ 8 h 16"/>
                <a:gd name="T72" fmla="*/ 15 w 38"/>
                <a:gd name="T73" fmla="*/ 8 h 16"/>
                <a:gd name="T74" fmla="*/ 14 w 38"/>
                <a:gd name="T75" fmla="*/ 9 h 16"/>
                <a:gd name="T76" fmla="*/ 14 w 38"/>
                <a:gd name="T77" fmla="*/ 9 h 16"/>
                <a:gd name="T78" fmla="*/ 11 w 38"/>
                <a:gd name="T79" fmla="*/ 10 h 16"/>
                <a:gd name="T80" fmla="*/ 7 w 38"/>
                <a:gd name="T81" fmla="*/ 12 h 16"/>
                <a:gd name="T82" fmla="*/ 1 w 38"/>
                <a:gd name="T83" fmla="*/ 14 h 16"/>
                <a:gd name="T84" fmla="*/ 0 w 38"/>
                <a:gd name="T85" fmla="*/ 16 h 16"/>
                <a:gd name="T86" fmla="*/ 2 w 38"/>
                <a:gd name="T87" fmla="*/ 15 h 16"/>
                <a:gd name="T88" fmla="*/ 4 w 38"/>
                <a:gd name="T89" fmla="*/ 14 h 16"/>
                <a:gd name="T90" fmla="*/ 6 w 38"/>
                <a:gd name="T91" fmla="*/ 13 h 16"/>
                <a:gd name="T92" fmla="*/ 11 w 38"/>
                <a:gd name="T93" fmla="*/ 12 h 16"/>
                <a:gd name="T94" fmla="*/ 10 w 38"/>
                <a:gd name="T95" fmla="*/ 13 h 16"/>
                <a:gd name="T96" fmla="*/ 12 w 38"/>
                <a:gd name="T97"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 h="16">
                  <a:moveTo>
                    <a:pt x="12" y="13"/>
                  </a:moveTo>
                  <a:cubicBezTo>
                    <a:pt x="12" y="13"/>
                    <a:pt x="13" y="13"/>
                    <a:pt x="13" y="12"/>
                  </a:cubicBezTo>
                  <a:cubicBezTo>
                    <a:pt x="13" y="12"/>
                    <a:pt x="14" y="12"/>
                    <a:pt x="14" y="12"/>
                  </a:cubicBezTo>
                  <a:cubicBezTo>
                    <a:pt x="15" y="12"/>
                    <a:pt x="17" y="11"/>
                    <a:pt x="18" y="10"/>
                  </a:cubicBezTo>
                  <a:cubicBezTo>
                    <a:pt x="18" y="9"/>
                    <a:pt x="19" y="9"/>
                    <a:pt x="19" y="9"/>
                  </a:cubicBezTo>
                  <a:cubicBezTo>
                    <a:pt x="19" y="9"/>
                    <a:pt x="20" y="9"/>
                    <a:pt x="20" y="9"/>
                  </a:cubicBezTo>
                  <a:cubicBezTo>
                    <a:pt x="21" y="9"/>
                    <a:pt x="22" y="8"/>
                    <a:pt x="23" y="8"/>
                  </a:cubicBezTo>
                  <a:cubicBezTo>
                    <a:pt x="23" y="8"/>
                    <a:pt x="24" y="7"/>
                    <a:pt x="24" y="7"/>
                  </a:cubicBezTo>
                  <a:cubicBezTo>
                    <a:pt x="25" y="7"/>
                    <a:pt x="25" y="6"/>
                    <a:pt x="26" y="6"/>
                  </a:cubicBezTo>
                  <a:cubicBezTo>
                    <a:pt x="26" y="6"/>
                    <a:pt x="27" y="6"/>
                    <a:pt x="27" y="6"/>
                  </a:cubicBezTo>
                  <a:cubicBezTo>
                    <a:pt x="28" y="6"/>
                    <a:pt x="28" y="6"/>
                    <a:pt x="29" y="5"/>
                  </a:cubicBezTo>
                  <a:cubicBezTo>
                    <a:pt x="30" y="4"/>
                    <a:pt x="31" y="4"/>
                    <a:pt x="32" y="3"/>
                  </a:cubicBezTo>
                  <a:cubicBezTo>
                    <a:pt x="33" y="3"/>
                    <a:pt x="34" y="3"/>
                    <a:pt x="34" y="3"/>
                  </a:cubicBezTo>
                  <a:cubicBezTo>
                    <a:pt x="34" y="2"/>
                    <a:pt x="35" y="2"/>
                    <a:pt x="36" y="2"/>
                  </a:cubicBezTo>
                  <a:cubicBezTo>
                    <a:pt x="37" y="1"/>
                    <a:pt x="37" y="1"/>
                    <a:pt x="38" y="0"/>
                  </a:cubicBezTo>
                  <a:cubicBezTo>
                    <a:pt x="38" y="0"/>
                    <a:pt x="38" y="0"/>
                    <a:pt x="38" y="0"/>
                  </a:cubicBezTo>
                  <a:cubicBezTo>
                    <a:pt x="38" y="0"/>
                    <a:pt x="37" y="0"/>
                    <a:pt x="37" y="1"/>
                  </a:cubicBezTo>
                  <a:cubicBezTo>
                    <a:pt x="37" y="0"/>
                    <a:pt x="37" y="0"/>
                    <a:pt x="37" y="0"/>
                  </a:cubicBezTo>
                  <a:cubicBezTo>
                    <a:pt x="37" y="0"/>
                    <a:pt x="37" y="0"/>
                    <a:pt x="37" y="0"/>
                  </a:cubicBezTo>
                  <a:cubicBezTo>
                    <a:pt x="37" y="0"/>
                    <a:pt x="37" y="0"/>
                    <a:pt x="37" y="0"/>
                  </a:cubicBezTo>
                  <a:cubicBezTo>
                    <a:pt x="36" y="0"/>
                    <a:pt x="35" y="0"/>
                    <a:pt x="34" y="1"/>
                  </a:cubicBezTo>
                  <a:cubicBezTo>
                    <a:pt x="33" y="1"/>
                    <a:pt x="32" y="1"/>
                    <a:pt x="31" y="1"/>
                  </a:cubicBezTo>
                  <a:cubicBezTo>
                    <a:pt x="31" y="2"/>
                    <a:pt x="31" y="2"/>
                    <a:pt x="31" y="2"/>
                  </a:cubicBezTo>
                  <a:cubicBezTo>
                    <a:pt x="30" y="3"/>
                    <a:pt x="29" y="3"/>
                    <a:pt x="29" y="3"/>
                  </a:cubicBezTo>
                  <a:cubicBezTo>
                    <a:pt x="28" y="3"/>
                    <a:pt x="28" y="3"/>
                    <a:pt x="28" y="3"/>
                  </a:cubicBezTo>
                  <a:cubicBezTo>
                    <a:pt x="27" y="4"/>
                    <a:pt x="26" y="5"/>
                    <a:pt x="24" y="5"/>
                  </a:cubicBezTo>
                  <a:cubicBezTo>
                    <a:pt x="24" y="6"/>
                    <a:pt x="24" y="6"/>
                    <a:pt x="23" y="6"/>
                  </a:cubicBezTo>
                  <a:cubicBezTo>
                    <a:pt x="22" y="6"/>
                    <a:pt x="21" y="7"/>
                    <a:pt x="21" y="7"/>
                  </a:cubicBezTo>
                  <a:cubicBezTo>
                    <a:pt x="20" y="7"/>
                    <a:pt x="19" y="8"/>
                    <a:pt x="18" y="8"/>
                  </a:cubicBezTo>
                  <a:cubicBezTo>
                    <a:pt x="18" y="8"/>
                    <a:pt x="18" y="8"/>
                    <a:pt x="18" y="9"/>
                  </a:cubicBezTo>
                  <a:cubicBezTo>
                    <a:pt x="17" y="9"/>
                    <a:pt x="17" y="9"/>
                    <a:pt x="17" y="9"/>
                  </a:cubicBezTo>
                  <a:cubicBezTo>
                    <a:pt x="16" y="9"/>
                    <a:pt x="16" y="9"/>
                    <a:pt x="16" y="9"/>
                  </a:cubicBezTo>
                  <a:cubicBezTo>
                    <a:pt x="15" y="9"/>
                    <a:pt x="15" y="9"/>
                    <a:pt x="14" y="10"/>
                  </a:cubicBezTo>
                  <a:cubicBezTo>
                    <a:pt x="14" y="10"/>
                    <a:pt x="14" y="10"/>
                    <a:pt x="14" y="10"/>
                  </a:cubicBezTo>
                  <a:cubicBezTo>
                    <a:pt x="15" y="9"/>
                    <a:pt x="15" y="9"/>
                    <a:pt x="16" y="8"/>
                  </a:cubicBezTo>
                  <a:cubicBezTo>
                    <a:pt x="16" y="8"/>
                    <a:pt x="14" y="9"/>
                    <a:pt x="15" y="8"/>
                  </a:cubicBezTo>
                  <a:cubicBezTo>
                    <a:pt x="15" y="8"/>
                    <a:pt x="15" y="8"/>
                    <a:pt x="15" y="8"/>
                  </a:cubicBezTo>
                  <a:cubicBezTo>
                    <a:pt x="14" y="8"/>
                    <a:pt x="14" y="8"/>
                    <a:pt x="14" y="9"/>
                  </a:cubicBezTo>
                  <a:cubicBezTo>
                    <a:pt x="14" y="9"/>
                    <a:pt x="14" y="9"/>
                    <a:pt x="14" y="9"/>
                  </a:cubicBezTo>
                  <a:cubicBezTo>
                    <a:pt x="13" y="9"/>
                    <a:pt x="12" y="10"/>
                    <a:pt x="11" y="10"/>
                  </a:cubicBezTo>
                  <a:cubicBezTo>
                    <a:pt x="10" y="11"/>
                    <a:pt x="8" y="11"/>
                    <a:pt x="7" y="12"/>
                  </a:cubicBezTo>
                  <a:cubicBezTo>
                    <a:pt x="5" y="13"/>
                    <a:pt x="3" y="13"/>
                    <a:pt x="1" y="14"/>
                  </a:cubicBezTo>
                  <a:cubicBezTo>
                    <a:pt x="1" y="15"/>
                    <a:pt x="1" y="15"/>
                    <a:pt x="0" y="16"/>
                  </a:cubicBezTo>
                  <a:cubicBezTo>
                    <a:pt x="1" y="15"/>
                    <a:pt x="2" y="15"/>
                    <a:pt x="2" y="15"/>
                  </a:cubicBezTo>
                  <a:cubicBezTo>
                    <a:pt x="3" y="15"/>
                    <a:pt x="3" y="15"/>
                    <a:pt x="4" y="14"/>
                  </a:cubicBezTo>
                  <a:cubicBezTo>
                    <a:pt x="5" y="14"/>
                    <a:pt x="6" y="13"/>
                    <a:pt x="6" y="13"/>
                  </a:cubicBezTo>
                  <a:cubicBezTo>
                    <a:pt x="8" y="12"/>
                    <a:pt x="10" y="12"/>
                    <a:pt x="11" y="12"/>
                  </a:cubicBezTo>
                  <a:cubicBezTo>
                    <a:pt x="11" y="12"/>
                    <a:pt x="11" y="12"/>
                    <a:pt x="10" y="13"/>
                  </a:cubicBezTo>
                  <a:cubicBezTo>
                    <a:pt x="11" y="13"/>
                    <a:pt x="11" y="13"/>
                    <a:pt x="12"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33" name="Freeform 30">
              <a:extLst>
                <a:ext uri="{FF2B5EF4-FFF2-40B4-BE49-F238E27FC236}">
                  <a16:creationId xmlns:a16="http://schemas.microsoft.com/office/drawing/2014/main" id="{311D64B5-E23F-3EFF-A120-D6B65CFDAC82}"/>
                </a:ext>
              </a:extLst>
            </p:cNvPr>
            <p:cNvSpPr>
              <a:spLocks/>
            </p:cNvSpPr>
            <p:nvPr/>
          </p:nvSpPr>
          <p:spPr bwMode="auto">
            <a:xfrm>
              <a:off x="1001" y="1280"/>
              <a:ext cx="246" cy="165"/>
            </a:xfrm>
            <a:custGeom>
              <a:avLst/>
              <a:gdLst>
                <a:gd name="T0" fmla="*/ 0 w 24"/>
                <a:gd name="T1" fmla="*/ 16 h 16"/>
                <a:gd name="T2" fmla="*/ 2 w 24"/>
                <a:gd name="T3" fmla="*/ 15 h 16"/>
                <a:gd name="T4" fmla="*/ 3 w 24"/>
                <a:gd name="T5" fmla="*/ 14 h 16"/>
                <a:gd name="T6" fmla="*/ 5 w 24"/>
                <a:gd name="T7" fmla="*/ 13 h 16"/>
                <a:gd name="T8" fmla="*/ 6 w 24"/>
                <a:gd name="T9" fmla="*/ 12 h 16"/>
                <a:gd name="T10" fmla="*/ 7 w 24"/>
                <a:gd name="T11" fmla="*/ 11 h 16"/>
                <a:gd name="T12" fmla="*/ 9 w 24"/>
                <a:gd name="T13" fmla="*/ 10 h 16"/>
                <a:gd name="T14" fmla="*/ 12 w 24"/>
                <a:gd name="T15" fmla="*/ 8 h 16"/>
                <a:gd name="T16" fmla="*/ 6 w 24"/>
                <a:gd name="T17" fmla="*/ 13 h 16"/>
                <a:gd name="T18" fmla="*/ 12 w 24"/>
                <a:gd name="T19" fmla="*/ 9 h 16"/>
                <a:gd name="T20" fmla="*/ 14 w 24"/>
                <a:gd name="T21" fmla="*/ 8 h 16"/>
                <a:gd name="T22" fmla="*/ 16 w 24"/>
                <a:gd name="T23" fmla="*/ 6 h 16"/>
                <a:gd name="T24" fmla="*/ 19 w 24"/>
                <a:gd name="T25" fmla="*/ 4 h 16"/>
                <a:gd name="T26" fmla="*/ 21 w 24"/>
                <a:gd name="T27" fmla="*/ 3 h 16"/>
                <a:gd name="T28" fmla="*/ 24 w 24"/>
                <a:gd name="T29" fmla="*/ 0 h 16"/>
                <a:gd name="T30" fmla="*/ 23 w 24"/>
                <a:gd name="T31" fmla="*/ 0 h 16"/>
                <a:gd name="T32" fmla="*/ 20 w 24"/>
                <a:gd name="T33" fmla="*/ 2 h 16"/>
                <a:gd name="T34" fmla="*/ 20 w 24"/>
                <a:gd name="T35" fmla="*/ 2 h 16"/>
                <a:gd name="T36" fmla="*/ 17 w 24"/>
                <a:gd name="T37" fmla="*/ 3 h 16"/>
                <a:gd name="T38" fmla="*/ 15 w 24"/>
                <a:gd name="T39" fmla="*/ 4 h 16"/>
                <a:gd name="T40" fmla="*/ 13 w 24"/>
                <a:gd name="T41" fmla="*/ 5 h 16"/>
                <a:gd name="T42" fmla="*/ 14 w 24"/>
                <a:gd name="T43" fmla="*/ 5 h 16"/>
                <a:gd name="T44" fmla="*/ 16 w 24"/>
                <a:gd name="T45" fmla="*/ 5 h 16"/>
                <a:gd name="T46" fmla="*/ 13 w 24"/>
                <a:gd name="T47" fmla="*/ 7 h 16"/>
                <a:gd name="T48" fmla="*/ 12 w 24"/>
                <a:gd name="T49" fmla="*/ 7 h 16"/>
                <a:gd name="T50" fmla="*/ 6 w 24"/>
                <a:gd name="T51" fmla="*/ 10 h 16"/>
                <a:gd name="T52" fmla="*/ 5 w 24"/>
                <a:gd name="T53" fmla="*/ 10 h 16"/>
                <a:gd name="T54" fmla="*/ 1 w 24"/>
                <a:gd name="T55" fmla="*/ 13 h 16"/>
                <a:gd name="T56" fmla="*/ 0 w 24"/>
                <a:gd name="T5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16">
                  <a:moveTo>
                    <a:pt x="0" y="16"/>
                  </a:moveTo>
                  <a:cubicBezTo>
                    <a:pt x="0" y="16"/>
                    <a:pt x="1" y="15"/>
                    <a:pt x="2" y="15"/>
                  </a:cubicBezTo>
                  <a:cubicBezTo>
                    <a:pt x="2" y="14"/>
                    <a:pt x="3" y="14"/>
                    <a:pt x="3" y="14"/>
                  </a:cubicBezTo>
                  <a:cubicBezTo>
                    <a:pt x="4" y="13"/>
                    <a:pt x="4" y="13"/>
                    <a:pt x="5" y="13"/>
                  </a:cubicBezTo>
                  <a:cubicBezTo>
                    <a:pt x="6" y="12"/>
                    <a:pt x="6" y="12"/>
                    <a:pt x="6" y="12"/>
                  </a:cubicBezTo>
                  <a:cubicBezTo>
                    <a:pt x="6" y="11"/>
                    <a:pt x="7" y="11"/>
                    <a:pt x="7" y="11"/>
                  </a:cubicBezTo>
                  <a:cubicBezTo>
                    <a:pt x="8" y="11"/>
                    <a:pt x="9" y="10"/>
                    <a:pt x="9" y="10"/>
                  </a:cubicBezTo>
                  <a:cubicBezTo>
                    <a:pt x="10" y="9"/>
                    <a:pt x="11" y="9"/>
                    <a:pt x="12" y="8"/>
                  </a:cubicBezTo>
                  <a:cubicBezTo>
                    <a:pt x="10" y="10"/>
                    <a:pt x="8" y="11"/>
                    <a:pt x="6" y="13"/>
                  </a:cubicBezTo>
                  <a:cubicBezTo>
                    <a:pt x="8" y="12"/>
                    <a:pt x="10" y="11"/>
                    <a:pt x="12" y="9"/>
                  </a:cubicBezTo>
                  <a:cubicBezTo>
                    <a:pt x="12" y="9"/>
                    <a:pt x="13" y="8"/>
                    <a:pt x="14" y="8"/>
                  </a:cubicBezTo>
                  <a:cubicBezTo>
                    <a:pt x="15" y="7"/>
                    <a:pt x="16" y="6"/>
                    <a:pt x="16" y="6"/>
                  </a:cubicBezTo>
                  <a:cubicBezTo>
                    <a:pt x="17" y="5"/>
                    <a:pt x="18" y="4"/>
                    <a:pt x="19" y="4"/>
                  </a:cubicBezTo>
                  <a:cubicBezTo>
                    <a:pt x="20" y="3"/>
                    <a:pt x="20" y="3"/>
                    <a:pt x="21" y="3"/>
                  </a:cubicBezTo>
                  <a:cubicBezTo>
                    <a:pt x="23" y="2"/>
                    <a:pt x="23" y="1"/>
                    <a:pt x="24" y="0"/>
                  </a:cubicBezTo>
                  <a:cubicBezTo>
                    <a:pt x="24" y="0"/>
                    <a:pt x="23" y="0"/>
                    <a:pt x="23" y="0"/>
                  </a:cubicBezTo>
                  <a:cubicBezTo>
                    <a:pt x="22" y="0"/>
                    <a:pt x="21" y="0"/>
                    <a:pt x="20" y="2"/>
                  </a:cubicBezTo>
                  <a:cubicBezTo>
                    <a:pt x="20" y="2"/>
                    <a:pt x="20" y="2"/>
                    <a:pt x="20" y="2"/>
                  </a:cubicBezTo>
                  <a:cubicBezTo>
                    <a:pt x="19" y="2"/>
                    <a:pt x="18" y="3"/>
                    <a:pt x="17" y="3"/>
                  </a:cubicBezTo>
                  <a:cubicBezTo>
                    <a:pt x="16" y="2"/>
                    <a:pt x="15" y="3"/>
                    <a:pt x="15" y="4"/>
                  </a:cubicBezTo>
                  <a:cubicBezTo>
                    <a:pt x="14" y="4"/>
                    <a:pt x="14" y="5"/>
                    <a:pt x="13" y="5"/>
                  </a:cubicBezTo>
                  <a:cubicBezTo>
                    <a:pt x="14" y="5"/>
                    <a:pt x="14" y="4"/>
                    <a:pt x="14" y="5"/>
                  </a:cubicBezTo>
                  <a:cubicBezTo>
                    <a:pt x="15" y="5"/>
                    <a:pt x="16" y="5"/>
                    <a:pt x="16" y="5"/>
                  </a:cubicBezTo>
                  <a:cubicBezTo>
                    <a:pt x="15" y="5"/>
                    <a:pt x="14" y="6"/>
                    <a:pt x="13" y="7"/>
                  </a:cubicBezTo>
                  <a:cubicBezTo>
                    <a:pt x="12" y="7"/>
                    <a:pt x="12" y="7"/>
                    <a:pt x="12" y="7"/>
                  </a:cubicBezTo>
                  <a:cubicBezTo>
                    <a:pt x="9" y="8"/>
                    <a:pt x="9" y="8"/>
                    <a:pt x="6" y="10"/>
                  </a:cubicBezTo>
                  <a:cubicBezTo>
                    <a:pt x="6" y="10"/>
                    <a:pt x="6" y="10"/>
                    <a:pt x="5" y="10"/>
                  </a:cubicBezTo>
                  <a:cubicBezTo>
                    <a:pt x="4" y="11"/>
                    <a:pt x="2" y="12"/>
                    <a:pt x="1" y="13"/>
                  </a:cubicBezTo>
                  <a:cubicBezTo>
                    <a:pt x="1" y="14"/>
                    <a:pt x="0" y="15"/>
                    <a:pt x="0"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34" name="Freeform 31">
              <a:extLst>
                <a:ext uri="{FF2B5EF4-FFF2-40B4-BE49-F238E27FC236}">
                  <a16:creationId xmlns:a16="http://schemas.microsoft.com/office/drawing/2014/main" id="{2A4CFDF2-BD42-ECC6-8170-E48FCBFB0D73}"/>
                </a:ext>
              </a:extLst>
            </p:cNvPr>
            <p:cNvSpPr>
              <a:spLocks/>
            </p:cNvSpPr>
            <p:nvPr/>
          </p:nvSpPr>
          <p:spPr bwMode="auto">
            <a:xfrm>
              <a:off x="5708" y="2252"/>
              <a:ext cx="153" cy="93"/>
            </a:xfrm>
            <a:custGeom>
              <a:avLst/>
              <a:gdLst>
                <a:gd name="T0" fmla="*/ 5 w 15"/>
                <a:gd name="T1" fmla="*/ 1 h 9"/>
                <a:gd name="T2" fmla="*/ 4 w 15"/>
                <a:gd name="T3" fmla="*/ 2 h 9"/>
                <a:gd name="T4" fmla="*/ 3 w 15"/>
                <a:gd name="T5" fmla="*/ 2 h 9"/>
                <a:gd name="T6" fmla="*/ 2 w 15"/>
                <a:gd name="T7" fmla="*/ 3 h 9"/>
                <a:gd name="T8" fmla="*/ 1 w 15"/>
                <a:gd name="T9" fmla="*/ 4 h 9"/>
                <a:gd name="T10" fmla="*/ 1 w 15"/>
                <a:gd name="T11" fmla="*/ 5 h 9"/>
                <a:gd name="T12" fmla="*/ 2 w 15"/>
                <a:gd name="T13" fmla="*/ 6 h 9"/>
                <a:gd name="T14" fmla="*/ 0 w 15"/>
                <a:gd name="T15" fmla="*/ 7 h 9"/>
                <a:gd name="T16" fmla="*/ 1 w 15"/>
                <a:gd name="T17" fmla="*/ 8 h 9"/>
                <a:gd name="T18" fmla="*/ 1 w 15"/>
                <a:gd name="T19" fmla="*/ 8 h 9"/>
                <a:gd name="T20" fmla="*/ 2 w 15"/>
                <a:gd name="T21" fmla="*/ 8 h 9"/>
                <a:gd name="T22" fmla="*/ 4 w 15"/>
                <a:gd name="T23" fmla="*/ 5 h 9"/>
                <a:gd name="T24" fmla="*/ 4 w 15"/>
                <a:gd name="T25" fmla="*/ 5 h 9"/>
                <a:gd name="T26" fmla="*/ 5 w 15"/>
                <a:gd name="T27" fmla="*/ 5 h 9"/>
                <a:gd name="T28" fmla="*/ 5 w 15"/>
                <a:gd name="T29" fmla="*/ 6 h 9"/>
                <a:gd name="T30" fmla="*/ 4 w 15"/>
                <a:gd name="T31" fmla="*/ 7 h 9"/>
                <a:gd name="T32" fmla="*/ 4 w 15"/>
                <a:gd name="T33" fmla="*/ 8 h 9"/>
                <a:gd name="T34" fmla="*/ 5 w 15"/>
                <a:gd name="T35" fmla="*/ 9 h 9"/>
                <a:gd name="T36" fmla="*/ 6 w 15"/>
                <a:gd name="T37" fmla="*/ 9 h 9"/>
                <a:gd name="T38" fmla="*/ 7 w 15"/>
                <a:gd name="T39" fmla="*/ 9 h 9"/>
                <a:gd name="T40" fmla="*/ 7 w 15"/>
                <a:gd name="T41" fmla="*/ 9 h 9"/>
                <a:gd name="T42" fmla="*/ 6 w 15"/>
                <a:gd name="T43" fmla="*/ 8 h 9"/>
                <a:gd name="T44" fmla="*/ 7 w 15"/>
                <a:gd name="T45" fmla="*/ 7 h 9"/>
                <a:gd name="T46" fmla="*/ 6 w 15"/>
                <a:gd name="T47" fmla="*/ 5 h 9"/>
                <a:gd name="T48" fmla="*/ 9 w 15"/>
                <a:gd name="T49" fmla="*/ 5 h 9"/>
                <a:gd name="T50" fmla="*/ 10 w 15"/>
                <a:gd name="T51" fmla="*/ 5 h 9"/>
                <a:gd name="T52" fmla="*/ 10 w 15"/>
                <a:gd name="T53" fmla="*/ 5 h 9"/>
                <a:gd name="T54" fmla="*/ 10 w 15"/>
                <a:gd name="T55" fmla="*/ 5 h 9"/>
                <a:gd name="T56" fmla="*/ 10 w 15"/>
                <a:gd name="T57" fmla="*/ 5 h 9"/>
                <a:gd name="T58" fmla="*/ 7 w 15"/>
                <a:gd name="T59" fmla="*/ 4 h 9"/>
                <a:gd name="T60" fmla="*/ 7 w 15"/>
                <a:gd name="T61" fmla="*/ 3 h 9"/>
                <a:gd name="T62" fmla="*/ 6 w 15"/>
                <a:gd name="T63" fmla="*/ 4 h 9"/>
                <a:gd name="T64" fmla="*/ 5 w 15"/>
                <a:gd name="T65" fmla="*/ 3 h 9"/>
                <a:gd name="T66" fmla="*/ 5 w 15"/>
                <a:gd name="T67" fmla="*/ 2 h 9"/>
                <a:gd name="T68" fmla="*/ 5 w 15"/>
                <a:gd name="T69" fmla="*/ 1 h 9"/>
                <a:gd name="T70" fmla="*/ 6 w 15"/>
                <a:gd name="T71" fmla="*/ 1 h 9"/>
                <a:gd name="T72" fmla="*/ 7 w 15"/>
                <a:gd name="T73" fmla="*/ 1 h 9"/>
                <a:gd name="T74" fmla="*/ 11 w 15"/>
                <a:gd name="T75" fmla="*/ 4 h 9"/>
                <a:gd name="T76" fmla="*/ 13 w 15"/>
                <a:gd name="T77" fmla="*/ 4 h 9"/>
                <a:gd name="T78" fmla="*/ 15 w 15"/>
                <a:gd name="T79" fmla="*/ 4 h 9"/>
                <a:gd name="T80" fmla="*/ 15 w 15"/>
                <a:gd name="T81" fmla="*/ 4 h 9"/>
                <a:gd name="T82" fmla="*/ 14 w 15"/>
                <a:gd name="T83" fmla="*/ 3 h 9"/>
                <a:gd name="T84" fmla="*/ 14 w 15"/>
                <a:gd name="T85" fmla="*/ 3 h 9"/>
                <a:gd name="T86" fmla="*/ 11 w 15"/>
                <a:gd name="T87" fmla="*/ 2 h 9"/>
                <a:gd name="T88" fmla="*/ 8 w 15"/>
                <a:gd name="T89" fmla="*/ 1 h 9"/>
                <a:gd name="T90" fmla="*/ 8 w 15"/>
                <a:gd name="T91" fmla="*/ 0 h 9"/>
                <a:gd name="T92" fmla="*/ 6 w 15"/>
                <a:gd name="T93" fmla="*/ 0 h 9"/>
                <a:gd name="T94" fmla="*/ 5 w 15"/>
                <a:gd name="T95"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 h="9">
                  <a:moveTo>
                    <a:pt x="5" y="1"/>
                  </a:moveTo>
                  <a:cubicBezTo>
                    <a:pt x="5" y="2"/>
                    <a:pt x="4" y="2"/>
                    <a:pt x="4" y="2"/>
                  </a:cubicBezTo>
                  <a:cubicBezTo>
                    <a:pt x="4" y="2"/>
                    <a:pt x="3" y="2"/>
                    <a:pt x="3" y="2"/>
                  </a:cubicBezTo>
                  <a:cubicBezTo>
                    <a:pt x="3" y="3"/>
                    <a:pt x="3" y="3"/>
                    <a:pt x="2" y="3"/>
                  </a:cubicBezTo>
                  <a:cubicBezTo>
                    <a:pt x="1" y="4"/>
                    <a:pt x="1" y="4"/>
                    <a:pt x="1" y="4"/>
                  </a:cubicBezTo>
                  <a:cubicBezTo>
                    <a:pt x="1" y="4"/>
                    <a:pt x="1" y="5"/>
                    <a:pt x="1" y="5"/>
                  </a:cubicBezTo>
                  <a:cubicBezTo>
                    <a:pt x="2" y="5"/>
                    <a:pt x="2" y="5"/>
                    <a:pt x="2" y="6"/>
                  </a:cubicBezTo>
                  <a:cubicBezTo>
                    <a:pt x="1" y="6"/>
                    <a:pt x="1" y="7"/>
                    <a:pt x="0" y="7"/>
                  </a:cubicBezTo>
                  <a:cubicBezTo>
                    <a:pt x="0" y="7"/>
                    <a:pt x="0" y="8"/>
                    <a:pt x="1" y="8"/>
                  </a:cubicBezTo>
                  <a:cubicBezTo>
                    <a:pt x="1" y="8"/>
                    <a:pt x="1" y="8"/>
                    <a:pt x="1" y="8"/>
                  </a:cubicBezTo>
                  <a:cubicBezTo>
                    <a:pt x="1" y="9"/>
                    <a:pt x="2" y="8"/>
                    <a:pt x="2" y="8"/>
                  </a:cubicBezTo>
                  <a:cubicBezTo>
                    <a:pt x="3" y="7"/>
                    <a:pt x="3" y="6"/>
                    <a:pt x="4" y="5"/>
                  </a:cubicBezTo>
                  <a:cubicBezTo>
                    <a:pt x="4" y="5"/>
                    <a:pt x="4" y="5"/>
                    <a:pt x="4" y="5"/>
                  </a:cubicBezTo>
                  <a:cubicBezTo>
                    <a:pt x="4" y="5"/>
                    <a:pt x="4" y="5"/>
                    <a:pt x="5" y="5"/>
                  </a:cubicBezTo>
                  <a:cubicBezTo>
                    <a:pt x="5" y="6"/>
                    <a:pt x="5" y="6"/>
                    <a:pt x="5" y="6"/>
                  </a:cubicBezTo>
                  <a:cubicBezTo>
                    <a:pt x="4" y="6"/>
                    <a:pt x="4" y="7"/>
                    <a:pt x="4" y="7"/>
                  </a:cubicBezTo>
                  <a:cubicBezTo>
                    <a:pt x="5" y="8"/>
                    <a:pt x="5" y="8"/>
                    <a:pt x="4" y="8"/>
                  </a:cubicBezTo>
                  <a:cubicBezTo>
                    <a:pt x="4" y="9"/>
                    <a:pt x="5" y="9"/>
                    <a:pt x="5" y="9"/>
                  </a:cubicBezTo>
                  <a:cubicBezTo>
                    <a:pt x="5" y="9"/>
                    <a:pt x="6" y="9"/>
                    <a:pt x="6" y="9"/>
                  </a:cubicBezTo>
                  <a:cubicBezTo>
                    <a:pt x="6" y="9"/>
                    <a:pt x="7" y="9"/>
                    <a:pt x="7" y="9"/>
                  </a:cubicBezTo>
                  <a:cubicBezTo>
                    <a:pt x="7" y="9"/>
                    <a:pt x="7" y="9"/>
                    <a:pt x="7" y="9"/>
                  </a:cubicBezTo>
                  <a:cubicBezTo>
                    <a:pt x="6" y="9"/>
                    <a:pt x="6" y="8"/>
                    <a:pt x="6" y="8"/>
                  </a:cubicBezTo>
                  <a:cubicBezTo>
                    <a:pt x="7" y="7"/>
                    <a:pt x="7" y="7"/>
                    <a:pt x="7" y="7"/>
                  </a:cubicBezTo>
                  <a:cubicBezTo>
                    <a:pt x="7" y="6"/>
                    <a:pt x="6" y="5"/>
                    <a:pt x="6" y="5"/>
                  </a:cubicBezTo>
                  <a:cubicBezTo>
                    <a:pt x="7" y="5"/>
                    <a:pt x="8" y="5"/>
                    <a:pt x="9" y="5"/>
                  </a:cubicBezTo>
                  <a:cubicBezTo>
                    <a:pt x="9" y="5"/>
                    <a:pt x="10" y="5"/>
                    <a:pt x="10" y="5"/>
                  </a:cubicBezTo>
                  <a:cubicBezTo>
                    <a:pt x="10" y="5"/>
                    <a:pt x="10" y="5"/>
                    <a:pt x="10" y="5"/>
                  </a:cubicBezTo>
                  <a:cubicBezTo>
                    <a:pt x="10" y="5"/>
                    <a:pt x="10" y="5"/>
                    <a:pt x="10" y="5"/>
                  </a:cubicBezTo>
                  <a:cubicBezTo>
                    <a:pt x="10" y="5"/>
                    <a:pt x="10" y="5"/>
                    <a:pt x="10" y="5"/>
                  </a:cubicBezTo>
                  <a:cubicBezTo>
                    <a:pt x="9" y="4"/>
                    <a:pt x="8" y="4"/>
                    <a:pt x="7" y="4"/>
                  </a:cubicBezTo>
                  <a:cubicBezTo>
                    <a:pt x="7" y="3"/>
                    <a:pt x="7" y="3"/>
                    <a:pt x="7" y="3"/>
                  </a:cubicBezTo>
                  <a:cubicBezTo>
                    <a:pt x="7" y="4"/>
                    <a:pt x="6" y="4"/>
                    <a:pt x="6" y="4"/>
                  </a:cubicBezTo>
                  <a:cubicBezTo>
                    <a:pt x="5" y="3"/>
                    <a:pt x="6" y="3"/>
                    <a:pt x="5" y="3"/>
                  </a:cubicBezTo>
                  <a:cubicBezTo>
                    <a:pt x="5" y="2"/>
                    <a:pt x="5" y="2"/>
                    <a:pt x="5" y="2"/>
                  </a:cubicBezTo>
                  <a:cubicBezTo>
                    <a:pt x="5" y="2"/>
                    <a:pt x="5" y="1"/>
                    <a:pt x="5" y="1"/>
                  </a:cubicBezTo>
                  <a:cubicBezTo>
                    <a:pt x="6" y="1"/>
                    <a:pt x="6" y="1"/>
                    <a:pt x="6" y="1"/>
                  </a:cubicBezTo>
                  <a:cubicBezTo>
                    <a:pt x="6" y="1"/>
                    <a:pt x="6" y="1"/>
                    <a:pt x="7" y="1"/>
                  </a:cubicBezTo>
                  <a:cubicBezTo>
                    <a:pt x="8" y="2"/>
                    <a:pt x="10" y="2"/>
                    <a:pt x="11" y="4"/>
                  </a:cubicBezTo>
                  <a:cubicBezTo>
                    <a:pt x="11" y="4"/>
                    <a:pt x="12" y="5"/>
                    <a:pt x="13" y="4"/>
                  </a:cubicBezTo>
                  <a:cubicBezTo>
                    <a:pt x="14" y="4"/>
                    <a:pt x="14" y="4"/>
                    <a:pt x="15" y="4"/>
                  </a:cubicBezTo>
                  <a:cubicBezTo>
                    <a:pt x="15" y="4"/>
                    <a:pt x="15" y="4"/>
                    <a:pt x="15" y="4"/>
                  </a:cubicBezTo>
                  <a:cubicBezTo>
                    <a:pt x="15" y="3"/>
                    <a:pt x="14" y="3"/>
                    <a:pt x="14" y="3"/>
                  </a:cubicBezTo>
                  <a:cubicBezTo>
                    <a:pt x="14" y="3"/>
                    <a:pt x="14" y="3"/>
                    <a:pt x="14" y="3"/>
                  </a:cubicBezTo>
                  <a:cubicBezTo>
                    <a:pt x="13" y="4"/>
                    <a:pt x="12" y="3"/>
                    <a:pt x="11" y="2"/>
                  </a:cubicBezTo>
                  <a:cubicBezTo>
                    <a:pt x="10" y="2"/>
                    <a:pt x="9" y="1"/>
                    <a:pt x="8" y="1"/>
                  </a:cubicBezTo>
                  <a:cubicBezTo>
                    <a:pt x="8" y="1"/>
                    <a:pt x="8" y="0"/>
                    <a:pt x="8" y="0"/>
                  </a:cubicBezTo>
                  <a:cubicBezTo>
                    <a:pt x="7" y="0"/>
                    <a:pt x="6" y="0"/>
                    <a:pt x="6" y="0"/>
                  </a:cubicBezTo>
                  <a:cubicBezTo>
                    <a:pt x="5" y="0"/>
                    <a:pt x="5" y="1"/>
                    <a:pt x="5"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35" name="Freeform 32">
              <a:extLst>
                <a:ext uri="{FF2B5EF4-FFF2-40B4-BE49-F238E27FC236}">
                  <a16:creationId xmlns:a16="http://schemas.microsoft.com/office/drawing/2014/main" id="{812D34BD-0239-383B-19C2-69E4405393AE}"/>
                </a:ext>
              </a:extLst>
            </p:cNvPr>
            <p:cNvSpPr>
              <a:spLocks/>
            </p:cNvSpPr>
            <p:nvPr/>
          </p:nvSpPr>
          <p:spPr bwMode="auto">
            <a:xfrm>
              <a:off x="2386" y="1156"/>
              <a:ext cx="123" cy="83"/>
            </a:xfrm>
            <a:custGeom>
              <a:avLst/>
              <a:gdLst>
                <a:gd name="T0" fmla="*/ 6 w 12"/>
                <a:gd name="T1" fmla="*/ 0 h 8"/>
                <a:gd name="T2" fmla="*/ 6 w 12"/>
                <a:gd name="T3" fmla="*/ 0 h 8"/>
                <a:gd name="T4" fmla="*/ 5 w 12"/>
                <a:gd name="T5" fmla="*/ 0 h 8"/>
                <a:gd name="T6" fmla="*/ 3 w 12"/>
                <a:gd name="T7" fmla="*/ 1 h 8"/>
                <a:gd name="T8" fmla="*/ 2 w 12"/>
                <a:gd name="T9" fmla="*/ 3 h 8"/>
                <a:gd name="T10" fmla="*/ 2 w 12"/>
                <a:gd name="T11" fmla="*/ 5 h 8"/>
                <a:gd name="T12" fmla="*/ 1 w 12"/>
                <a:gd name="T13" fmla="*/ 5 h 8"/>
                <a:gd name="T14" fmla="*/ 0 w 12"/>
                <a:gd name="T15" fmla="*/ 6 h 8"/>
                <a:gd name="T16" fmla="*/ 1 w 12"/>
                <a:gd name="T17" fmla="*/ 6 h 8"/>
                <a:gd name="T18" fmla="*/ 0 w 12"/>
                <a:gd name="T19" fmla="*/ 7 h 8"/>
                <a:gd name="T20" fmla="*/ 0 w 12"/>
                <a:gd name="T21" fmla="*/ 8 h 8"/>
                <a:gd name="T22" fmla="*/ 1 w 12"/>
                <a:gd name="T23" fmla="*/ 8 h 8"/>
                <a:gd name="T24" fmla="*/ 3 w 12"/>
                <a:gd name="T25" fmla="*/ 7 h 8"/>
                <a:gd name="T26" fmla="*/ 5 w 12"/>
                <a:gd name="T27" fmla="*/ 6 h 8"/>
                <a:gd name="T28" fmla="*/ 8 w 12"/>
                <a:gd name="T29" fmla="*/ 5 h 8"/>
                <a:gd name="T30" fmla="*/ 7 w 12"/>
                <a:gd name="T31" fmla="*/ 6 h 8"/>
                <a:gd name="T32" fmla="*/ 7 w 12"/>
                <a:gd name="T33" fmla="*/ 6 h 8"/>
                <a:gd name="T34" fmla="*/ 12 w 12"/>
                <a:gd name="T35" fmla="*/ 2 h 8"/>
                <a:gd name="T36" fmla="*/ 11 w 12"/>
                <a:gd name="T37" fmla="*/ 3 h 8"/>
                <a:gd name="T38" fmla="*/ 10 w 12"/>
                <a:gd name="T39" fmla="*/ 3 h 8"/>
                <a:gd name="T40" fmla="*/ 10 w 12"/>
                <a:gd name="T41" fmla="*/ 3 h 8"/>
                <a:gd name="T42" fmla="*/ 10 w 12"/>
                <a:gd name="T43" fmla="*/ 1 h 8"/>
                <a:gd name="T44" fmla="*/ 8 w 12"/>
                <a:gd name="T45" fmla="*/ 3 h 8"/>
                <a:gd name="T46" fmla="*/ 7 w 12"/>
                <a:gd name="T47" fmla="*/ 3 h 8"/>
                <a:gd name="T48" fmla="*/ 7 w 12"/>
                <a:gd name="T49" fmla="*/ 3 h 8"/>
                <a:gd name="T50" fmla="*/ 6 w 12"/>
                <a:gd name="T51" fmla="*/ 3 h 8"/>
                <a:gd name="T52" fmla="*/ 6 w 12"/>
                <a:gd name="T53" fmla="*/ 2 h 8"/>
                <a:gd name="T54" fmla="*/ 6 w 12"/>
                <a:gd name="T55" fmla="*/ 2 h 8"/>
                <a:gd name="T56" fmla="*/ 5 w 12"/>
                <a:gd name="T57" fmla="*/ 2 h 8"/>
                <a:gd name="T58" fmla="*/ 4 w 12"/>
                <a:gd name="T59" fmla="*/ 2 h 8"/>
                <a:gd name="T60" fmla="*/ 4 w 12"/>
                <a:gd name="T61" fmla="*/ 2 h 8"/>
                <a:gd name="T62" fmla="*/ 6 w 12"/>
                <a:gd name="T6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 h="8">
                  <a:moveTo>
                    <a:pt x="6" y="0"/>
                  </a:moveTo>
                  <a:cubicBezTo>
                    <a:pt x="6" y="0"/>
                    <a:pt x="6" y="0"/>
                    <a:pt x="6" y="0"/>
                  </a:cubicBezTo>
                  <a:cubicBezTo>
                    <a:pt x="5" y="0"/>
                    <a:pt x="5" y="0"/>
                    <a:pt x="5" y="0"/>
                  </a:cubicBezTo>
                  <a:cubicBezTo>
                    <a:pt x="4" y="0"/>
                    <a:pt x="3" y="1"/>
                    <a:pt x="3" y="1"/>
                  </a:cubicBezTo>
                  <a:cubicBezTo>
                    <a:pt x="2" y="2"/>
                    <a:pt x="2" y="3"/>
                    <a:pt x="2" y="3"/>
                  </a:cubicBezTo>
                  <a:cubicBezTo>
                    <a:pt x="1" y="4"/>
                    <a:pt x="1" y="4"/>
                    <a:pt x="2" y="5"/>
                  </a:cubicBezTo>
                  <a:cubicBezTo>
                    <a:pt x="2" y="5"/>
                    <a:pt x="1" y="5"/>
                    <a:pt x="1" y="5"/>
                  </a:cubicBezTo>
                  <a:cubicBezTo>
                    <a:pt x="0" y="5"/>
                    <a:pt x="1" y="6"/>
                    <a:pt x="0" y="6"/>
                  </a:cubicBezTo>
                  <a:cubicBezTo>
                    <a:pt x="0" y="6"/>
                    <a:pt x="0" y="6"/>
                    <a:pt x="1" y="6"/>
                  </a:cubicBezTo>
                  <a:cubicBezTo>
                    <a:pt x="0" y="6"/>
                    <a:pt x="0" y="7"/>
                    <a:pt x="0" y="7"/>
                  </a:cubicBezTo>
                  <a:cubicBezTo>
                    <a:pt x="0" y="7"/>
                    <a:pt x="0" y="8"/>
                    <a:pt x="0" y="8"/>
                  </a:cubicBezTo>
                  <a:cubicBezTo>
                    <a:pt x="0" y="8"/>
                    <a:pt x="1" y="8"/>
                    <a:pt x="1" y="8"/>
                  </a:cubicBezTo>
                  <a:cubicBezTo>
                    <a:pt x="2" y="7"/>
                    <a:pt x="2" y="7"/>
                    <a:pt x="3" y="7"/>
                  </a:cubicBezTo>
                  <a:cubicBezTo>
                    <a:pt x="4" y="7"/>
                    <a:pt x="4" y="6"/>
                    <a:pt x="5" y="6"/>
                  </a:cubicBezTo>
                  <a:cubicBezTo>
                    <a:pt x="6" y="6"/>
                    <a:pt x="7" y="6"/>
                    <a:pt x="8" y="5"/>
                  </a:cubicBezTo>
                  <a:cubicBezTo>
                    <a:pt x="8" y="5"/>
                    <a:pt x="8" y="6"/>
                    <a:pt x="7" y="6"/>
                  </a:cubicBezTo>
                  <a:cubicBezTo>
                    <a:pt x="7" y="6"/>
                    <a:pt x="7" y="6"/>
                    <a:pt x="7" y="6"/>
                  </a:cubicBezTo>
                  <a:cubicBezTo>
                    <a:pt x="8" y="6"/>
                    <a:pt x="9" y="6"/>
                    <a:pt x="12" y="2"/>
                  </a:cubicBezTo>
                  <a:cubicBezTo>
                    <a:pt x="12" y="2"/>
                    <a:pt x="11" y="3"/>
                    <a:pt x="11" y="3"/>
                  </a:cubicBezTo>
                  <a:cubicBezTo>
                    <a:pt x="11" y="3"/>
                    <a:pt x="11" y="3"/>
                    <a:pt x="10" y="3"/>
                  </a:cubicBezTo>
                  <a:cubicBezTo>
                    <a:pt x="10" y="3"/>
                    <a:pt x="10" y="3"/>
                    <a:pt x="10" y="3"/>
                  </a:cubicBezTo>
                  <a:cubicBezTo>
                    <a:pt x="10" y="2"/>
                    <a:pt x="10" y="2"/>
                    <a:pt x="10" y="1"/>
                  </a:cubicBezTo>
                  <a:cubicBezTo>
                    <a:pt x="9" y="2"/>
                    <a:pt x="8" y="2"/>
                    <a:pt x="8" y="3"/>
                  </a:cubicBezTo>
                  <a:cubicBezTo>
                    <a:pt x="7" y="3"/>
                    <a:pt x="7" y="3"/>
                    <a:pt x="7" y="3"/>
                  </a:cubicBezTo>
                  <a:cubicBezTo>
                    <a:pt x="7" y="2"/>
                    <a:pt x="7" y="2"/>
                    <a:pt x="7" y="3"/>
                  </a:cubicBezTo>
                  <a:cubicBezTo>
                    <a:pt x="6" y="3"/>
                    <a:pt x="6" y="3"/>
                    <a:pt x="6" y="3"/>
                  </a:cubicBezTo>
                  <a:cubicBezTo>
                    <a:pt x="5" y="3"/>
                    <a:pt x="6" y="3"/>
                    <a:pt x="6" y="2"/>
                  </a:cubicBezTo>
                  <a:cubicBezTo>
                    <a:pt x="6" y="2"/>
                    <a:pt x="6" y="2"/>
                    <a:pt x="6" y="2"/>
                  </a:cubicBezTo>
                  <a:cubicBezTo>
                    <a:pt x="5" y="2"/>
                    <a:pt x="5" y="2"/>
                    <a:pt x="5" y="2"/>
                  </a:cubicBezTo>
                  <a:cubicBezTo>
                    <a:pt x="4" y="2"/>
                    <a:pt x="4" y="3"/>
                    <a:pt x="4" y="2"/>
                  </a:cubicBezTo>
                  <a:cubicBezTo>
                    <a:pt x="4" y="2"/>
                    <a:pt x="4" y="2"/>
                    <a:pt x="4" y="2"/>
                  </a:cubicBezTo>
                  <a:cubicBezTo>
                    <a:pt x="5" y="1"/>
                    <a:pt x="5" y="0"/>
                    <a:pt x="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36" name="Freeform 33">
              <a:extLst>
                <a:ext uri="{FF2B5EF4-FFF2-40B4-BE49-F238E27FC236}">
                  <a16:creationId xmlns:a16="http://schemas.microsoft.com/office/drawing/2014/main" id="{722F3993-C3E6-B96D-B6FB-8E0638331F50}"/>
                </a:ext>
              </a:extLst>
            </p:cNvPr>
            <p:cNvSpPr>
              <a:spLocks/>
            </p:cNvSpPr>
            <p:nvPr/>
          </p:nvSpPr>
          <p:spPr bwMode="auto">
            <a:xfrm>
              <a:off x="5749" y="866"/>
              <a:ext cx="194" cy="93"/>
            </a:xfrm>
            <a:custGeom>
              <a:avLst/>
              <a:gdLst>
                <a:gd name="T0" fmla="*/ 0 w 19"/>
                <a:gd name="T1" fmla="*/ 0 h 9"/>
                <a:gd name="T2" fmla="*/ 2 w 19"/>
                <a:gd name="T3" fmla="*/ 1 h 9"/>
                <a:gd name="T4" fmla="*/ 6 w 19"/>
                <a:gd name="T5" fmla="*/ 2 h 9"/>
                <a:gd name="T6" fmla="*/ 7 w 19"/>
                <a:gd name="T7" fmla="*/ 3 h 9"/>
                <a:gd name="T8" fmla="*/ 5 w 19"/>
                <a:gd name="T9" fmla="*/ 3 h 9"/>
                <a:gd name="T10" fmla="*/ 6 w 19"/>
                <a:gd name="T11" fmla="*/ 4 h 9"/>
                <a:gd name="T12" fmla="*/ 8 w 19"/>
                <a:gd name="T13" fmla="*/ 5 h 9"/>
                <a:gd name="T14" fmla="*/ 9 w 19"/>
                <a:gd name="T15" fmla="*/ 5 h 9"/>
                <a:gd name="T16" fmla="*/ 13 w 19"/>
                <a:gd name="T17" fmla="*/ 7 h 9"/>
                <a:gd name="T18" fmla="*/ 16 w 19"/>
                <a:gd name="T19" fmla="*/ 9 h 9"/>
                <a:gd name="T20" fmla="*/ 18 w 19"/>
                <a:gd name="T21" fmla="*/ 9 h 9"/>
                <a:gd name="T22" fmla="*/ 18 w 19"/>
                <a:gd name="T23" fmla="*/ 9 h 9"/>
                <a:gd name="T24" fmla="*/ 18 w 19"/>
                <a:gd name="T25" fmla="*/ 9 h 9"/>
                <a:gd name="T26" fmla="*/ 18 w 19"/>
                <a:gd name="T27" fmla="*/ 8 h 9"/>
                <a:gd name="T28" fmla="*/ 15 w 19"/>
                <a:gd name="T29" fmla="*/ 7 h 9"/>
                <a:gd name="T30" fmla="*/ 15 w 19"/>
                <a:gd name="T31" fmla="*/ 6 h 9"/>
                <a:gd name="T32" fmla="*/ 14 w 19"/>
                <a:gd name="T33" fmla="*/ 5 h 9"/>
                <a:gd name="T34" fmla="*/ 13 w 19"/>
                <a:gd name="T35" fmla="*/ 5 h 9"/>
                <a:gd name="T36" fmla="*/ 14 w 19"/>
                <a:gd name="T37" fmla="*/ 5 h 9"/>
                <a:gd name="T38" fmla="*/ 15 w 19"/>
                <a:gd name="T39" fmla="*/ 5 h 9"/>
                <a:gd name="T40" fmla="*/ 12 w 19"/>
                <a:gd name="T41" fmla="*/ 3 h 9"/>
                <a:gd name="T42" fmla="*/ 10 w 19"/>
                <a:gd name="T43" fmla="*/ 2 h 9"/>
                <a:gd name="T44" fmla="*/ 7 w 19"/>
                <a:gd name="T45" fmla="*/ 1 h 9"/>
                <a:gd name="T46" fmla="*/ 3 w 19"/>
                <a:gd name="T47" fmla="*/ 1 h 9"/>
                <a:gd name="T48" fmla="*/ 2 w 19"/>
                <a:gd name="T49" fmla="*/ 0 h 9"/>
                <a:gd name="T50" fmla="*/ 2 w 19"/>
                <a:gd name="T51" fmla="*/ 0 h 9"/>
                <a:gd name="T52" fmla="*/ 3 w 19"/>
                <a:gd name="T53" fmla="*/ 1 h 9"/>
                <a:gd name="T54" fmla="*/ 3 w 19"/>
                <a:gd name="T55" fmla="*/ 1 h 9"/>
                <a:gd name="T56" fmla="*/ 0 w 19"/>
                <a:gd name="T5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9">
                  <a:moveTo>
                    <a:pt x="0" y="0"/>
                  </a:moveTo>
                  <a:cubicBezTo>
                    <a:pt x="0" y="0"/>
                    <a:pt x="1" y="0"/>
                    <a:pt x="2" y="1"/>
                  </a:cubicBezTo>
                  <a:cubicBezTo>
                    <a:pt x="3" y="2"/>
                    <a:pt x="4" y="2"/>
                    <a:pt x="6" y="2"/>
                  </a:cubicBezTo>
                  <a:cubicBezTo>
                    <a:pt x="6" y="2"/>
                    <a:pt x="7" y="3"/>
                    <a:pt x="7" y="3"/>
                  </a:cubicBezTo>
                  <a:cubicBezTo>
                    <a:pt x="7" y="3"/>
                    <a:pt x="6" y="3"/>
                    <a:pt x="5" y="3"/>
                  </a:cubicBezTo>
                  <a:cubicBezTo>
                    <a:pt x="6" y="3"/>
                    <a:pt x="6" y="3"/>
                    <a:pt x="6" y="4"/>
                  </a:cubicBezTo>
                  <a:cubicBezTo>
                    <a:pt x="7" y="4"/>
                    <a:pt x="7" y="4"/>
                    <a:pt x="8" y="5"/>
                  </a:cubicBezTo>
                  <a:cubicBezTo>
                    <a:pt x="9" y="5"/>
                    <a:pt x="9" y="5"/>
                    <a:pt x="9" y="5"/>
                  </a:cubicBezTo>
                  <a:cubicBezTo>
                    <a:pt x="10" y="6"/>
                    <a:pt x="12" y="6"/>
                    <a:pt x="13" y="7"/>
                  </a:cubicBezTo>
                  <a:cubicBezTo>
                    <a:pt x="14" y="8"/>
                    <a:pt x="15" y="8"/>
                    <a:pt x="16" y="9"/>
                  </a:cubicBezTo>
                  <a:cubicBezTo>
                    <a:pt x="17" y="9"/>
                    <a:pt x="17" y="9"/>
                    <a:pt x="18" y="9"/>
                  </a:cubicBezTo>
                  <a:cubicBezTo>
                    <a:pt x="18" y="9"/>
                    <a:pt x="18" y="9"/>
                    <a:pt x="18" y="9"/>
                  </a:cubicBezTo>
                  <a:cubicBezTo>
                    <a:pt x="17" y="9"/>
                    <a:pt x="18" y="9"/>
                    <a:pt x="18" y="9"/>
                  </a:cubicBezTo>
                  <a:cubicBezTo>
                    <a:pt x="19" y="8"/>
                    <a:pt x="19" y="8"/>
                    <a:pt x="18" y="8"/>
                  </a:cubicBezTo>
                  <a:cubicBezTo>
                    <a:pt x="17" y="7"/>
                    <a:pt x="16" y="7"/>
                    <a:pt x="15" y="7"/>
                  </a:cubicBezTo>
                  <a:cubicBezTo>
                    <a:pt x="15" y="7"/>
                    <a:pt x="15" y="6"/>
                    <a:pt x="15" y="6"/>
                  </a:cubicBezTo>
                  <a:cubicBezTo>
                    <a:pt x="15" y="6"/>
                    <a:pt x="14" y="6"/>
                    <a:pt x="14" y="5"/>
                  </a:cubicBezTo>
                  <a:cubicBezTo>
                    <a:pt x="14" y="5"/>
                    <a:pt x="13" y="5"/>
                    <a:pt x="13" y="5"/>
                  </a:cubicBezTo>
                  <a:cubicBezTo>
                    <a:pt x="14" y="5"/>
                    <a:pt x="14" y="5"/>
                    <a:pt x="14" y="5"/>
                  </a:cubicBezTo>
                  <a:cubicBezTo>
                    <a:pt x="14" y="5"/>
                    <a:pt x="15" y="5"/>
                    <a:pt x="15" y="5"/>
                  </a:cubicBezTo>
                  <a:cubicBezTo>
                    <a:pt x="14" y="4"/>
                    <a:pt x="13" y="4"/>
                    <a:pt x="12" y="3"/>
                  </a:cubicBezTo>
                  <a:cubicBezTo>
                    <a:pt x="12" y="3"/>
                    <a:pt x="11" y="2"/>
                    <a:pt x="10" y="2"/>
                  </a:cubicBezTo>
                  <a:cubicBezTo>
                    <a:pt x="9" y="2"/>
                    <a:pt x="8" y="1"/>
                    <a:pt x="7" y="1"/>
                  </a:cubicBezTo>
                  <a:cubicBezTo>
                    <a:pt x="6" y="1"/>
                    <a:pt x="4" y="0"/>
                    <a:pt x="3" y="1"/>
                  </a:cubicBezTo>
                  <a:cubicBezTo>
                    <a:pt x="3" y="1"/>
                    <a:pt x="2" y="0"/>
                    <a:pt x="2" y="0"/>
                  </a:cubicBezTo>
                  <a:cubicBezTo>
                    <a:pt x="2" y="0"/>
                    <a:pt x="2" y="0"/>
                    <a:pt x="2" y="0"/>
                  </a:cubicBezTo>
                  <a:cubicBezTo>
                    <a:pt x="2" y="0"/>
                    <a:pt x="3" y="1"/>
                    <a:pt x="3" y="1"/>
                  </a:cubicBezTo>
                  <a:cubicBezTo>
                    <a:pt x="3" y="1"/>
                    <a:pt x="3" y="1"/>
                    <a:pt x="3" y="1"/>
                  </a:cubicBezTo>
                  <a:cubicBezTo>
                    <a:pt x="2" y="1"/>
                    <a:pt x="1"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37" name="Freeform 34">
              <a:extLst>
                <a:ext uri="{FF2B5EF4-FFF2-40B4-BE49-F238E27FC236}">
                  <a16:creationId xmlns:a16="http://schemas.microsoft.com/office/drawing/2014/main" id="{93F1168C-38A5-B716-1826-40216BA272BF}"/>
                </a:ext>
              </a:extLst>
            </p:cNvPr>
            <p:cNvSpPr>
              <a:spLocks/>
            </p:cNvSpPr>
            <p:nvPr/>
          </p:nvSpPr>
          <p:spPr bwMode="auto">
            <a:xfrm>
              <a:off x="3411" y="897"/>
              <a:ext cx="102" cy="62"/>
            </a:xfrm>
            <a:custGeom>
              <a:avLst/>
              <a:gdLst>
                <a:gd name="T0" fmla="*/ 0 w 10"/>
                <a:gd name="T1" fmla="*/ 5 h 6"/>
                <a:gd name="T2" fmla="*/ 1 w 10"/>
                <a:gd name="T3" fmla="*/ 6 h 6"/>
                <a:gd name="T4" fmla="*/ 3 w 10"/>
                <a:gd name="T5" fmla="*/ 6 h 6"/>
                <a:gd name="T6" fmla="*/ 7 w 10"/>
                <a:gd name="T7" fmla="*/ 4 h 6"/>
                <a:gd name="T8" fmla="*/ 8 w 10"/>
                <a:gd name="T9" fmla="*/ 4 h 6"/>
                <a:gd name="T10" fmla="*/ 8 w 10"/>
                <a:gd name="T11" fmla="*/ 2 h 6"/>
                <a:gd name="T12" fmla="*/ 9 w 10"/>
                <a:gd name="T13" fmla="*/ 1 h 6"/>
                <a:gd name="T14" fmla="*/ 10 w 10"/>
                <a:gd name="T15" fmla="*/ 1 h 6"/>
                <a:gd name="T16" fmla="*/ 8 w 10"/>
                <a:gd name="T17" fmla="*/ 0 h 6"/>
                <a:gd name="T18" fmla="*/ 6 w 10"/>
                <a:gd name="T19" fmla="*/ 0 h 6"/>
                <a:gd name="T20" fmla="*/ 4 w 10"/>
                <a:gd name="T21" fmla="*/ 0 h 6"/>
                <a:gd name="T22" fmla="*/ 3 w 10"/>
                <a:gd name="T23" fmla="*/ 1 h 6"/>
                <a:gd name="T24" fmla="*/ 3 w 10"/>
                <a:gd name="T25" fmla="*/ 2 h 6"/>
                <a:gd name="T26" fmla="*/ 0 w 10"/>
                <a:gd name="T27" fmla="*/ 2 h 6"/>
                <a:gd name="T28" fmla="*/ 0 w 10"/>
                <a:gd name="T29" fmla="*/ 3 h 6"/>
                <a:gd name="T30" fmla="*/ 0 w 10"/>
                <a:gd name="T31" fmla="*/ 3 h 6"/>
                <a:gd name="T32" fmla="*/ 1 w 10"/>
                <a:gd name="T33" fmla="*/ 4 h 6"/>
                <a:gd name="T34" fmla="*/ 0 w 10"/>
                <a:gd name="T3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6">
                  <a:moveTo>
                    <a:pt x="0" y="5"/>
                  </a:moveTo>
                  <a:cubicBezTo>
                    <a:pt x="0" y="5"/>
                    <a:pt x="0" y="6"/>
                    <a:pt x="1" y="6"/>
                  </a:cubicBezTo>
                  <a:cubicBezTo>
                    <a:pt x="1" y="6"/>
                    <a:pt x="2" y="6"/>
                    <a:pt x="3" y="6"/>
                  </a:cubicBezTo>
                  <a:cubicBezTo>
                    <a:pt x="5" y="5"/>
                    <a:pt x="6" y="4"/>
                    <a:pt x="7" y="4"/>
                  </a:cubicBezTo>
                  <a:cubicBezTo>
                    <a:pt x="8" y="4"/>
                    <a:pt x="8" y="4"/>
                    <a:pt x="8" y="4"/>
                  </a:cubicBezTo>
                  <a:cubicBezTo>
                    <a:pt x="9" y="3"/>
                    <a:pt x="9" y="3"/>
                    <a:pt x="8" y="2"/>
                  </a:cubicBezTo>
                  <a:cubicBezTo>
                    <a:pt x="8" y="2"/>
                    <a:pt x="8" y="2"/>
                    <a:pt x="9" y="1"/>
                  </a:cubicBezTo>
                  <a:cubicBezTo>
                    <a:pt x="9" y="1"/>
                    <a:pt x="10" y="1"/>
                    <a:pt x="10" y="1"/>
                  </a:cubicBezTo>
                  <a:cubicBezTo>
                    <a:pt x="9" y="0"/>
                    <a:pt x="9" y="0"/>
                    <a:pt x="8" y="0"/>
                  </a:cubicBezTo>
                  <a:cubicBezTo>
                    <a:pt x="8" y="0"/>
                    <a:pt x="7" y="0"/>
                    <a:pt x="6" y="0"/>
                  </a:cubicBezTo>
                  <a:cubicBezTo>
                    <a:pt x="6" y="0"/>
                    <a:pt x="5" y="0"/>
                    <a:pt x="4" y="0"/>
                  </a:cubicBezTo>
                  <a:cubicBezTo>
                    <a:pt x="4" y="0"/>
                    <a:pt x="3" y="1"/>
                    <a:pt x="3" y="1"/>
                  </a:cubicBezTo>
                  <a:cubicBezTo>
                    <a:pt x="3" y="1"/>
                    <a:pt x="3" y="2"/>
                    <a:pt x="3" y="2"/>
                  </a:cubicBezTo>
                  <a:cubicBezTo>
                    <a:pt x="2" y="2"/>
                    <a:pt x="1" y="2"/>
                    <a:pt x="0" y="2"/>
                  </a:cubicBezTo>
                  <a:cubicBezTo>
                    <a:pt x="0" y="2"/>
                    <a:pt x="0" y="3"/>
                    <a:pt x="0" y="3"/>
                  </a:cubicBezTo>
                  <a:cubicBezTo>
                    <a:pt x="0" y="3"/>
                    <a:pt x="0" y="3"/>
                    <a:pt x="0" y="3"/>
                  </a:cubicBezTo>
                  <a:cubicBezTo>
                    <a:pt x="2" y="4"/>
                    <a:pt x="2" y="4"/>
                    <a:pt x="1" y="4"/>
                  </a:cubicBezTo>
                  <a:cubicBezTo>
                    <a:pt x="1" y="4"/>
                    <a:pt x="1" y="5"/>
                    <a:pt x="0"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38" name="Freeform 35">
              <a:extLst>
                <a:ext uri="{FF2B5EF4-FFF2-40B4-BE49-F238E27FC236}">
                  <a16:creationId xmlns:a16="http://schemas.microsoft.com/office/drawing/2014/main" id="{673232BC-8009-5664-2020-25A580C5AAB6}"/>
                </a:ext>
              </a:extLst>
            </p:cNvPr>
            <p:cNvSpPr>
              <a:spLocks/>
            </p:cNvSpPr>
            <p:nvPr/>
          </p:nvSpPr>
          <p:spPr bwMode="auto">
            <a:xfrm>
              <a:off x="5482" y="2221"/>
              <a:ext cx="154" cy="124"/>
            </a:xfrm>
            <a:custGeom>
              <a:avLst/>
              <a:gdLst>
                <a:gd name="T0" fmla="*/ 13 w 15"/>
                <a:gd name="T1" fmla="*/ 11 h 12"/>
                <a:gd name="T2" fmla="*/ 13 w 15"/>
                <a:gd name="T3" fmla="*/ 10 h 12"/>
                <a:gd name="T4" fmla="*/ 13 w 15"/>
                <a:gd name="T5" fmla="*/ 11 h 12"/>
                <a:gd name="T6" fmla="*/ 13 w 15"/>
                <a:gd name="T7" fmla="*/ 11 h 12"/>
                <a:gd name="T8" fmla="*/ 14 w 15"/>
                <a:gd name="T9" fmla="*/ 12 h 12"/>
                <a:gd name="T10" fmla="*/ 15 w 15"/>
                <a:gd name="T11" fmla="*/ 11 h 12"/>
                <a:gd name="T12" fmla="*/ 14 w 15"/>
                <a:gd name="T13" fmla="*/ 11 h 12"/>
                <a:gd name="T14" fmla="*/ 13 w 15"/>
                <a:gd name="T15" fmla="*/ 10 h 12"/>
                <a:gd name="T16" fmla="*/ 12 w 15"/>
                <a:gd name="T17" fmla="*/ 9 h 12"/>
                <a:gd name="T18" fmla="*/ 11 w 15"/>
                <a:gd name="T19" fmla="*/ 8 h 12"/>
                <a:gd name="T20" fmla="*/ 11 w 15"/>
                <a:gd name="T21" fmla="*/ 8 h 12"/>
                <a:gd name="T22" fmla="*/ 14 w 15"/>
                <a:gd name="T23" fmla="*/ 8 h 12"/>
                <a:gd name="T24" fmla="*/ 12 w 15"/>
                <a:gd name="T25" fmla="*/ 7 h 12"/>
                <a:gd name="T26" fmla="*/ 9 w 15"/>
                <a:gd name="T27" fmla="*/ 5 h 12"/>
                <a:gd name="T28" fmla="*/ 8 w 15"/>
                <a:gd name="T29" fmla="*/ 5 h 12"/>
                <a:gd name="T30" fmla="*/ 6 w 15"/>
                <a:gd name="T31" fmla="*/ 4 h 12"/>
                <a:gd name="T32" fmla="*/ 5 w 15"/>
                <a:gd name="T33" fmla="*/ 3 h 12"/>
                <a:gd name="T34" fmla="*/ 4 w 15"/>
                <a:gd name="T35" fmla="*/ 3 h 12"/>
                <a:gd name="T36" fmla="*/ 2 w 15"/>
                <a:gd name="T37" fmla="*/ 1 h 12"/>
                <a:gd name="T38" fmla="*/ 2 w 15"/>
                <a:gd name="T39" fmla="*/ 1 h 12"/>
                <a:gd name="T40" fmla="*/ 1 w 15"/>
                <a:gd name="T41" fmla="*/ 1 h 12"/>
                <a:gd name="T42" fmla="*/ 0 w 15"/>
                <a:gd name="T43" fmla="*/ 1 h 12"/>
                <a:gd name="T44" fmla="*/ 1 w 15"/>
                <a:gd name="T45" fmla="*/ 2 h 12"/>
                <a:gd name="T46" fmla="*/ 2 w 15"/>
                <a:gd name="T47" fmla="*/ 3 h 12"/>
                <a:gd name="T48" fmla="*/ 3 w 15"/>
                <a:gd name="T49" fmla="*/ 4 h 12"/>
                <a:gd name="T50" fmla="*/ 4 w 15"/>
                <a:gd name="T51" fmla="*/ 5 h 12"/>
                <a:gd name="T52" fmla="*/ 6 w 15"/>
                <a:gd name="T53" fmla="*/ 6 h 12"/>
                <a:gd name="T54" fmla="*/ 6 w 15"/>
                <a:gd name="T55" fmla="*/ 6 h 12"/>
                <a:gd name="T56" fmla="*/ 8 w 15"/>
                <a:gd name="T57" fmla="*/ 8 h 12"/>
                <a:gd name="T58" fmla="*/ 12 w 15"/>
                <a:gd name="T59" fmla="*/ 11 h 12"/>
                <a:gd name="T60" fmla="*/ 13 w 15"/>
                <a:gd name="T61"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 h="12">
                  <a:moveTo>
                    <a:pt x="13" y="11"/>
                  </a:moveTo>
                  <a:cubicBezTo>
                    <a:pt x="13" y="11"/>
                    <a:pt x="13" y="10"/>
                    <a:pt x="13" y="10"/>
                  </a:cubicBezTo>
                  <a:cubicBezTo>
                    <a:pt x="13" y="10"/>
                    <a:pt x="13" y="11"/>
                    <a:pt x="13" y="11"/>
                  </a:cubicBezTo>
                  <a:cubicBezTo>
                    <a:pt x="13" y="11"/>
                    <a:pt x="13" y="11"/>
                    <a:pt x="13" y="11"/>
                  </a:cubicBezTo>
                  <a:cubicBezTo>
                    <a:pt x="14" y="12"/>
                    <a:pt x="14" y="12"/>
                    <a:pt x="14" y="12"/>
                  </a:cubicBezTo>
                  <a:cubicBezTo>
                    <a:pt x="14" y="11"/>
                    <a:pt x="14" y="11"/>
                    <a:pt x="15" y="11"/>
                  </a:cubicBezTo>
                  <a:cubicBezTo>
                    <a:pt x="15" y="11"/>
                    <a:pt x="14" y="11"/>
                    <a:pt x="14" y="11"/>
                  </a:cubicBezTo>
                  <a:cubicBezTo>
                    <a:pt x="14" y="11"/>
                    <a:pt x="14" y="11"/>
                    <a:pt x="13" y="10"/>
                  </a:cubicBezTo>
                  <a:cubicBezTo>
                    <a:pt x="13" y="9"/>
                    <a:pt x="13" y="9"/>
                    <a:pt x="12" y="9"/>
                  </a:cubicBezTo>
                  <a:cubicBezTo>
                    <a:pt x="11" y="9"/>
                    <a:pt x="11" y="8"/>
                    <a:pt x="11" y="8"/>
                  </a:cubicBezTo>
                  <a:cubicBezTo>
                    <a:pt x="11" y="8"/>
                    <a:pt x="11" y="8"/>
                    <a:pt x="11" y="8"/>
                  </a:cubicBezTo>
                  <a:cubicBezTo>
                    <a:pt x="12" y="8"/>
                    <a:pt x="12" y="8"/>
                    <a:pt x="14" y="8"/>
                  </a:cubicBezTo>
                  <a:cubicBezTo>
                    <a:pt x="13" y="8"/>
                    <a:pt x="12" y="8"/>
                    <a:pt x="12" y="7"/>
                  </a:cubicBezTo>
                  <a:cubicBezTo>
                    <a:pt x="10" y="7"/>
                    <a:pt x="10" y="7"/>
                    <a:pt x="9" y="5"/>
                  </a:cubicBezTo>
                  <a:cubicBezTo>
                    <a:pt x="9" y="5"/>
                    <a:pt x="8" y="5"/>
                    <a:pt x="8" y="5"/>
                  </a:cubicBezTo>
                  <a:cubicBezTo>
                    <a:pt x="7" y="5"/>
                    <a:pt x="7" y="5"/>
                    <a:pt x="6" y="4"/>
                  </a:cubicBezTo>
                  <a:cubicBezTo>
                    <a:pt x="5" y="4"/>
                    <a:pt x="4" y="4"/>
                    <a:pt x="5" y="3"/>
                  </a:cubicBezTo>
                  <a:cubicBezTo>
                    <a:pt x="5" y="3"/>
                    <a:pt x="5" y="3"/>
                    <a:pt x="4" y="3"/>
                  </a:cubicBezTo>
                  <a:cubicBezTo>
                    <a:pt x="4" y="2"/>
                    <a:pt x="3" y="1"/>
                    <a:pt x="2" y="1"/>
                  </a:cubicBezTo>
                  <a:cubicBezTo>
                    <a:pt x="2" y="1"/>
                    <a:pt x="2" y="1"/>
                    <a:pt x="2" y="1"/>
                  </a:cubicBezTo>
                  <a:cubicBezTo>
                    <a:pt x="1" y="0"/>
                    <a:pt x="1" y="0"/>
                    <a:pt x="1" y="1"/>
                  </a:cubicBezTo>
                  <a:cubicBezTo>
                    <a:pt x="0" y="1"/>
                    <a:pt x="0" y="1"/>
                    <a:pt x="0" y="1"/>
                  </a:cubicBezTo>
                  <a:cubicBezTo>
                    <a:pt x="0" y="1"/>
                    <a:pt x="1" y="2"/>
                    <a:pt x="1" y="2"/>
                  </a:cubicBezTo>
                  <a:cubicBezTo>
                    <a:pt x="1" y="3"/>
                    <a:pt x="1" y="3"/>
                    <a:pt x="2" y="3"/>
                  </a:cubicBezTo>
                  <a:cubicBezTo>
                    <a:pt x="2" y="3"/>
                    <a:pt x="2" y="4"/>
                    <a:pt x="3" y="4"/>
                  </a:cubicBezTo>
                  <a:cubicBezTo>
                    <a:pt x="3" y="4"/>
                    <a:pt x="3" y="5"/>
                    <a:pt x="4" y="5"/>
                  </a:cubicBezTo>
                  <a:cubicBezTo>
                    <a:pt x="4" y="5"/>
                    <a:pt x="5" y="5"/>
                    <a:pt x="6" y="6"/>
                  </a:cubicBezTo>
                  <a:cubicBezTo>
                    <a:pt x="6" y="6"/>
                    <a:pt x="6" y="6"/>
                    <a:pt x="6" y="6"/>
                  </a:cubicBezTo>
                  <a:cubicBezTo>
                    <a:pt x="7" y="7"/>
                    <a:pt x="7" y="8"/>
                    <a:pt x="8" y="8"/>
                  </a:cubicBezTo>
                  <a:cubicBezTo>
                    <a:pt x="10" y="9"/>
                    <a:pt x="11" y="9"/>
                    <a:pt x="12" y="11"/>
                  </a:cubicBezTo>
                  <a:cubicBezTo>
                    <a:pt x="12" y="11"/>
                    <a:pt x="13" y="11"/>
                    <a:pt x="13"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39" name="Freeform 36">
              <a:extLst>
                <a:ext uri="{FF2B5EF4-FFF2-40B4-BE49-F238E27FC236}">
                  <a16:creationId xmlns:a16="http://schemas.microsoft.com/office/drawing/2014/main" id="{C3FD0FB5-346C-2738-CEEF-32FBEF9A4378}"/>
                </a:ext>
              </a:extLst>
            </p:cNvPr>
            <p:cNvSpPr>
              <a:spLocks/>
            </p:cNvSpPr>
            <p:nvPr/>
          </p:nvSpPr>
          <p:spPr bwMode="auto">
            <a:xfrm>
              <a:off x="6528" y="1807"/>
              <a:ext cx="92" cy="114"/>
            </a:xfrm>
            <a:custGeom>
              <a:avLst/>
              <a:gdLst>
                <a:gd name="T0" fmla="*/ 6 w 9"/>
                <a:gd name="T1" fmla="*/ 0 h 11"/>
                <a:gd name="T2" fmla="*/ 5 w 9"/>
                <a:gd name="T3" fmla="*/ 1 h 11"/>
                <a:gd name="T4" fmla="*/ 5 w 9"/>
                <a:gd name="T5" fmla="*/ 2 h 11"/>
                <a:gd name="T6" fmla="*/ 5 w 9"/>
                <a:gd name="T7" fmla="*/ 3 h 11"/>
                <a:gd name="T8" fmla="*/ 3 w 9"/>
                <a:gd name="T9" fmla="*/ 5 h 11"/>
                <a:gd name="T10" fmla="*/ 2 w 9"/>
                <a:gd name="T11" fmla="*/ 7 h 11"/>
                <a:gd name="T12" fmla="*/ 2 w 9"/>
                <a:gd name="T13" fmla="*/ 7 h 11"/>
                <a:gd name="T14" fmla="*/ 1 w 9"/>
                <a:gd name="T15" fmla="*/ 8 h 11"/>
                <a:gd name="T16" fmla="*/ 0 w 9"/>
                <a:gd name="T17" fmla="*/ 8 h 11"/>
                <a:gd name="T18" fmla="*/ 0 w 9"/>
                <a:gd name="T19" fmla="*/ 9 h 11"/>
                <a:gd name="T20" fmla="*/ 0 w 9"/>
                <a:gd name="T21" fmla="*/ 9 h 11"/>
                <a:gd name="T22" fmla="*/ 0 w 9"/>
                <a:gd name="T23" fmla="*/ 9 h 11"/>
                <a:gd name="T24" fmla="*/ 1 w 9"/>
                <a:gd name="T25" fmla="*/ 9 h 11"/>
                <a:gd name="T26" fmla="*/ 2 w 9"/>
                <a:gd name="T27" fmla="*/ 10 h 11"/>
                <a:gd name="T28" fmla="*/ 3 w 9"/>
                <a:gd name="T29" fmla="*/ 11 h 11"/>
                <a:gd name="T30" fmla="*/ 3 w 9"/>
                <a:gd name="T31" fmla="*/ 9 h 11"/>
                <a:gd name="T32" fmla="*/ 3 w 9"/>
                <a:gd name="T33" fmla="*/ 7 h 11"/>
                <a:gd name="T34" fmla="*/ 4 w 9"/>
                <a:gd name="T35" fmla="*/ 7 h 11"/>
                <a:gd name="T36" fmla="*/ 5 w 9"/>
                <a:gd name="T37" fmla="*/ 7 h 11"/>
                <a:gd name="T38" fmla="*/ 7 w 9"/>
                <a:gd name="T39" fmla="*/ 9 h 11"/>
                <a:gd name="T40" fmla="*/ 7 w 9"/>
                <a:gd name="T41" fmla="*/ 5 h 11"/>
                <a:gd name="T42" fmla="*/ 8 w 9"/>
                <a:gd name="T43" fmla="*/ 3 h 11"/>
                <a:gd name="T44" fmla="*/ 8 w 9"/>
                <a:gd name="T45" fmla="*/ 2 h 11"/>
                <a:gd name="T46" fmla="*/ 9 w 9"/>
                <a:gd name="T47" fmla="*/ 1 h 11"/>
                <a:gd name="T48" fmla="*/ 9 w 9"/>
                <a:gd name="T49" fmla="*/ 0 h 11"/>
                <a:gd name="T50" fmla="*/ 8 w 9"/>
                <a:gd name="T51" fmla="*/ 0 h 11"/>
                <a:gd name="T52" fmla="*/ 8 w 9"/>
                <a:gd name="T53" fmla="*/ 0 h 11"/>
                <a:gd name="T54" fmla="*/ 7 w 9"/>
                <a:gd name="T55" fmla="*/ 1 h 11"/>
                <a:gd name="T56" fmla="*/ 7 w 9"/>
                <a:gd name="T57" fmla="*/ 0 h 11"/>
                <a:gd name="T58" fmla="*/ 6 w 9"/>
                <a:gd name="T5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 h="11">
                  <a:moveTo>
                    <a:pt x="6" y="0"/>
                  </a:moveTo>
                  <a:cubicBezTo>
                    <a:pt x="6" y="0"/>
                    <a:pt x="6" y="1"/>
                    <a:pt x="5" y="1"/>
                  </a:cubicBezTo>
                  <a:cubicBezTo>
                    <a:pt x="5" y="1"/>
                    <a:pt x="5" y="1"/>
                    <a:pt x="5" y="2"/>
                  </a:cubicBezTo>
                  <a:cubicBezTo>
                    <a:pt x="5" y="2"/>
                    <a:pt x="5" y="3"/>
                    <a:pt x="5" y="3"/>
                  </a:cubicBezTo>
                  <a:cubicBezTo>
                    <a:pt x="4" y="4"/>
                    <a:pt x="4" y="5"/>
                    <a:pt x="3" y="5"/>
                  </a:cubicBezTo>
                  <a:cubicBezTo>
                    <a:pt x="3" y="6"/>
                    <a:pt x="2" y="6"/>
                    <a:pt x="2" y="7"/>
                  </a:cubicBezTo>
                  <a:cubicBezTo>
                    <a:pt x="2" y="7"/>
                    <a:pt x="2" y="7"/>
                    <a:pt x="2" y="7"/>
                  </a:cubicBezTo>
                  <a:cubicBezTo>
                    <a:pt x="2" y="7"/>
                    <a:pt x="1" y="7"/>
                    <a:pt x="1" y="8"/>
                  </a:cubicBezTo>
                  <a:cubicBezTo>
                    <a:pt x="2" y="8"/>
                    <a:pt x="0" y="8"/>
                    <a:pt x="0" y="8"/>
                  </a:cubicBezTo>
                  <a:cubicBezTo>
                    <a:pt x="0" y="9"/>
                    <a:pt x="0" y="9"/>
                    <a:pt x="0" y="9"/>
                  </a:cubicBezTo>
                  <a:cubicBezTo>
                    <a:pt x="0" y="9"/>
                    <a:pt x="0" y="9"/>
                    <a:pt x="0" y="9"/>
                  </a:cubicBezTo>
                  <a:cubicBezTo>
                    <a:pt x="0" y="9"/>
                    <a:pt x="0" y="9"/>
                    <a:pt x="0" y="9"/>
                  </a:cubicBezTo>
                  <a:cubicBezTo>
                    <a:pt x="1" y="9"/>
                    <a:pt x="1" y="9"/>
                    <a:pt x="1" y="9"/>
                  </a:cubicBezTo>
                  <a:cubicBezTo>
                    <a:pt x="1" y="9"/>
                    <a:pt x="2" y="9"/>
                    <a:pt x="2" y="10"/>
                  </a:cubicBezTo>
                  <a:cubicBezTo>
                    <a:pt x="3" y="10"/>
                    <a:pt x="3" y="10"/>
                    <a:pt x="3" y="11"/>
                  </a:cubicBezTo>
                  <a:cubicBezTo>
                    <a:pt x="3" y="10"/>
                    <a:pt x="3" y="9"/>
                    <a:pt x="3" y="9"/>
                  </a:cubicBezTo>
                  <a:cubicBezTo>
                    <a:pt x="2" y="8"/>
                    <a:pt x="2" y="7"/>
                    <a:pt x="3" y="7"/>
                  </a:cubicBezTo>
                  <a:cubicBezTo>
                    <a:pt x="3" y="7"/>
                    <a:pt x="3" y="7"/>
                    <a:pt x="4" y="7"/>
                  </a:cubicBezTo>
                  <a:cubicBezTo>
                    <a:pt x="4" y="7"/>
                    <a:pt x="4" y="7"/>
                    <a:pt x="5" y="7"/>
                  </a:cubicBezTo>
                  <a:cubicBezTo>
                    <a:pt x="6" y="7"/>
                    <a:pt x="6" y="8"/>
                    <a:pt x="7" y="9"/>
                  </a:cubicBezTo>
                  <a:cubicBezTo>
                    <a:pt x="7" y="7"/>
                    <a:pt x="7" y="6"/>
                    <a:pt x="7" y="5"/>
                  </a:cubicBezTo>
                  <a:cubicBezTo>
                    <a:pt x="7" y="4"/>
                    <a:pt x="7" y="4"/>
                    <a:pt x="8" y="3"/>
                  </a:cubicBezTo>
                  <a:cubicBezTo>
                    <a:pt x="8" y="3"/>
                    <a:pt x="8" y="2"/>
                    <a:pt x="8" y="2"/>
                  </a:cubicBezTo>
                  <a:cubicBezTo>
                    <a:pt x="9" y="2"/>
                    <a:pt x="9" y="1"/>
                    <a:pt x="9" y="1"/>
                  </a:cubicBezTo>
                  <a:cubicBezTo>
                    <a:pt x="9" y="0"/>
                    <a:pt x="9" y="0"/>
                    <a:pt x="9" y="0"/>
                  </a:cubicBezTo>
                  <a:cubicBezTo>
                    <a:pt x="8" y="0"/>
                    <a:pt x="8" y="0"/>
                    <a:pt x="8" y="0"/>
                  </a:cubicBezTo>
                  <a:cubicBezTo>
                    <a:pt x="8" y="0"/>
                    <a:pt x="8" y="0"/>
                    <a:pt x="8" y="0"/>
                  </a:cubicBezTo>
                  <a:cubicBezTo>
                    <a:pt x="8" y="1"/>
                    <a:pt x="7" y="0"/>
                    <a:pt x="7" y="1"/>
                  </a:cubicBezTo>
                  <a:cubicBezTo>
                    <a:pt x="7" y="1"/>
                    <a:pt x="7" y="0"/>
                    <a:pt x="7" y="0"/>
                  </a:cubicBezTo>
                  <a:cubicBezTo>
                    <a:pt x="7" y="0"/>
                    <a:pt x="6" y="0"/>
                    <a:pt x="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40" name="Freeform 37">
              <a:extLst>
                <a:ext uri="{FF2B5EF4-FFF2-40B4-BE49-F238E27FC236}">
                  <a16:creationId xmlns:a16="http://schemas.microsoft.com/office/drawing/2014/main" id="{D141AD39-1E40-15E1-478D-B34929EE8EAC}"/>
                </a:ext>
              </a:extLst>
            </p:cNvPr>
            <p:cNvSpPr>
              <a:spLocks/>
            </p:cNvSpPr>
            <p:nvPr/>
          </p:nvSpPr>
          <p:spPr bwMode="auto">
            <a:xfrm>
              <a:off x="1319" y="1197"/>
              <a:ext cx="133" cy="83"/>
            </a:xfrm>
            <a:custGeom>
              <a:avLst/>
              <a:gdLst>
                <a:gd name="T0" fmla="*/ 9 w 13"/>
                <a:gd name="T1" fmla="*/ 6 h 8"/>
                <a:gd name="T2" fmla="*/ 10 w 13"/>
                <a:gd name="T3" fmla="*/ 6 h 8"/>
                <a:gd name="T4" fmla="*/ 13 w 13"/>
                <a:gd name="T5" fmla="*/ 3 h 8"/>
                <a:gd name="T6" fmla="*/ 13 w 13"/>
                <a:gd name="T7" fmla="*/ 2 h 8"/>
                <a:gd name="T8" fmla="*/ 13 w 13"/>
                <a:gd name="T9" fmla="*/ 2 h 8"/>
                <a:gd name="T10" fmla="*/ 10 w 13"/>
                <a:gd name="T11" fmla="*/ 2 h 8"/>
                <a:gd name="T12" fmla="*/ 11 w 13"/>
                <a:gd name="T13" fmla="*/ 0 h 8"/>
                <a:gd name="T14" fmla="*/ 8 w 13"/>
                <a:gd name="T15" fmla="*/ 2 h 8"/>
                <a:gd name="T16" fmla="*/ 3 w 13"/>
                <a:gd name="T17" fmla="*/ 5 h 8"/>
                <a:gd name="T18" fmla="*/ 3 w 13"/>
                <a:gd name="T19" fmla="*/ 6 h 8"/>
                <a:gd name="T20" fmla="*/ 4 w 13"/>
                <a:gd name="T21" fmla="*/ 6 h 8"/>
                <a:gd name="T22" fmla="*/ 4 w 13"/>
                <a:gd name="T23" fmla="*/ 6 h 8"/>
                <a:gd name="T24" fmla="*/ 5 w 13"/>
                <a:gd name="T25" fmla="*/ 6 h 8"/>
                <a:gd name="T26" fmla="*/ 4 w 13"/>
                <a:gd name="T27" fmla="*/ 6 h 8"/>
                <a:gd name="T28" fmla="*/ 2 w 13"/>
                <a:gd name="T29" fmla="*/ 7 h 8"/>
                <a:gd name="T30" fmla="*/ 0 w 13"/>
                <a:gd name="T31" fmla="*/ 8 h 8"/>
                <a:gd name="T32" fmla="*/ 3 w 13"/>
                <a:gd name="T33" fmla="*/ 8 h 8"/>
                <a:gd name="T34" fmla="*/ 6 w 13"/>
                <a:gd name="T35" fmla="*/ 7 h 8"/>
                <a:gd name="T36" fmla="*/ 9 w 13"/>
                <a:gd name="T3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8">
                  <a:moveTo>
                    <a:pt x="9" y="6"/>
                  </a:moveTo>
                  <a:cubicBezTo>
                    <a:pt x="9" y="6"/>
                    <a:pt x="9" y="6"/>
                    <a:pt x="10" y="6"/>
                  </a:cubicBezTo>
                  <a:cubicBezTo>
                    <a:pt x="10" y="5"/>
                    <a:pt x="12" y="4"/>
                    <a:pt x="13" y="3"/>
                  </a:cubicBezTo>
                  <a:cubicBezTo>
                    <a:pt x="13" y="3"/>
                    <a:pt x="13" y="2"/>
                    <a:pt x="13" y="2"/>
                  </a:cubicBezTo>
                  <a:cubicBezTo>
                    <a:pt x="13" y="2"/>
                    <a:pt x="13" y="1"/>
                    <a:pt x="13" y="2"/>
                  </a:cubicBezTo>
                  <a:cubicBezTo>
                    <a:pt x="12" y="2"/>
                    <a:pt x="11" y="2"/>
                    <a:pt x="10" y="2"/>
                  </a:cubicBezTo>
                  <a:cubicBezTo>
                    <a:pt x="10" y="2"/>
                    <a:pt x="11" y="1"/>
                    <a:pt x="11" y="0"/>
                  </a:cubicBezTo>
                  <a:cubicBezTo>
                    <a:pt x="10" y="1"/>
                    <a:pt x="9" y="1"/>
                    <a:pt x="8" y="2"/>
                  </a:cubicBezTo>
                  <a:cubicBezTo>
                    <a:pt x="6" y="3"/>
                    <a:pt x="5" y="4"/>
                    <a:pt x="3" y="5"/>
                  </a:cubicBezTo>
                  <a:cubicBezTo>
                    <a:pt x="3" y="5"/>
                    <a:pt x="2" y="6"/>
                    <a:pt x="3" y="6"/>
                  </a:cubicBezTo>
                  <a:cubicBezTo>
                    <a:pt x="3" y="6"/>
                    <a:pt x="3" y="6"/>
                    <a:pt x="4" y="6"/>
                  </a:cubicBezTo>
                  <a:cubicBezTo>
                    <a:pt x="4" y="6"/>
                    <a:pt x="4" y="6"/>
                    <a:pt x="4" y="6"/>
                  </a:cubicBezTo>
                  <a:cubicBezTo>
                    <a:pt x="5" y="5"/>
                    <a:pt x="5" y="5"/>
                    <a:pt x="5" y="6"/>
                  </a:cubicBezTo>
                  <a:cubicBezTo>
                    <a:pt x="5" y="6"/>
                    <a:pt x="5" y="6"/>
                    <a:pt x="4" y="6"/>
                  </a:cubicBezTo>
                  <a:cubicBezTo>
                    <a:pt x="4" y="7"/>
                    <a:pt x="3" y="7"/>
                    <a:pt x="2" y="7"/>
                  </a:cubicBezTo>
                  <a:cubicBezTo>
                    <a:pt x="1" y="7"/>
                    <a:pt x="1" y="8"/>
                    <a:pt x="0" y="8"/>
                  </a:cubicBezTo>
                  <a:cubicBezTo>
                    <a:pt x="1" y="8"/>
                    <a:pt x="2" y="8"/>
                    <a:pt x="3" y="8"/>
                  </a:cubicBezTo>
                  <a:cubicBezTo>
                    <a:pt x="4" y="7"/>
                    <a:pt x="5" y="7"/>
                    <a:pt x="6" y="7"/>
                  </a:cubicBezTo>
                  <a:cubicBezTo>
                    <a:pt x="7" y="7"/>
                    <a:pt x="8" y="6"/>
                    <a:pt x="9"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41" name="Freeform 38">
              <a:extLst>
                <a:ext uri="{FF2B5EF4-FFF2-40B4-BE49-F238E27FC236}">
                  <a16:creationId xmlns:a16="http://schemas.microsoft.com/office/drawing/2014/main" id="{EC478742-E9A4-3A25-19F7-DC470877A92C}"/>
                </a:ext>
              </a:extLst>
            </p:cNvPr>
            <p:cNvSpPr>
              <a:spLocks/>
            </p:cNvSpPr>
            <p:nvPr/>
          </p:nvSpPr>
          <p:spPr bwMode="auto">
            <a:xfrm>
              <a:off x="2037" y="1745"/>
              <a:ext cx="205" cy="62"/>
            </a:xfrm>
            <a:custGeom>
              <a:avLst/>
              <a:gdLst>
                <a:gd name="T0" fmla="*/ 18 w 20"/>
                <a:gd name="T1" fmla="*/ 1 h 6"/>
                <a:gd name="T2" fmla="*/ 20 w 20"/>
                <a:gd name="T3" fmla="*/ 0 h 6"/>
                <a:gd name="T4" fmla="*/ 19 w 20"/>
                <a:gd name="T5" fmla="*/ 0 h 6"/>
                <a:gd name="T6" fmla="*/ 16 w 20"/>
                <a:gd name="T7" fmla="*/ 0 h 6"/>
                <a:gd name="T8" fmla="*/ 16 w 20"/>
                <a:gd name="T9" fmla="*/ 0 h 6"/>
                <a:gd name="T10" fmla="*/ 12 w 20"/>
                <a:gd name="T11" fmla="*/ 0 h 6"/>
                <a:gd name="T12" fmla="*/ 10 w 20"/>
                <a:gd name="T13" fmla="*/ 1 h 6"/>
                <a:gd name="T14" fmla="*/ 7 w 20"/>
                <a:gd name="T15" fmla="*/ 1 h 6"/>
                <a:gd name="T16" fmla="*/ 7 w 20"/>
                <a:gd name="T17" fmla="*/ 1 h 6"/>
                <a:gd name="T18" fmla="*/ 5 w 20"/>
                <a:gd name="T19" fmla="*/ 2 h 6"/>
                <a:gd name="T20" fmla="*/ 2 w 20"/>
                <a:gd name="T21" fmla="*/ 3 h 6"/>
                <a:gd name="T22" fmla="*/ 0 w 20"/>
                <a:gd name="T23" fmla="*/ 6 h 6"/>
                <a:gd name="T24" fmla="*/ 1 w 20"/>
                <a:gd name="T25" fmla="*/ 5 h 6"/>
                <a:gd name="T26" fmla="*/ 2 w 20"/>
                <a:gd name="T27" fmla="*/ 4 h 6"/>
                <a:gd name="T28" fmla="*/ 4 w 20"/>
                <a:gd name="T29" fmla="*/ 3 h 6"/>
                <a:gd name="T30" fmla="*/ 5 w 20"/>
                <a:gd name="T31" fmla="*/ 3 h 6"/>
                <a:gd name="T32" fmla="*/ 6 w 20"/>
                <a:gd name="T33" fmla="*/ 3 h 6"/>
                <a:gd name="T34" fmla="*/ 9 w 20"/>
                <a:gd name="T35" fmla="*/ 2 h 6"/>
                <a:gd name="T36" fmla="*/ 10 w 20"/>
                <a:gd name="T37" fmla="*/ 2 h 6"/>
                <a:gd name="T38" fmla="*/ 12 w 20"/>
                <a:gd name="T39" fmla="*/ 2 h 6"/>
                <a:gd name="T40" fmla="*/ 14 w 20"/>
                <a:gd name="T41" fmla="*/ 2 h 6"/>
                <a:gd name="T42" fmla="*/ 14 w 20"/>
                <a:gd name="T43" fmla="*/ 2 h 6"/>
                <a:gd name="T44" fmla="*/ 14 w 20"/>
                <a:gd name="T45" fmla="*/ 3 h 6"/>
                <a:gd name="T46" fmla="*/ 16 w 20"/>
                <a:gd name="T47" fmla="*/ 2 h 6"/>
                <a:gd name="T48" fmla="*/ 18 w 20"/>
                <a:gd name="T4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6">
                  <a:moveTo>
                    <a:pt x="18" y="1"/>
                  </a:moveTo>
                  <a:cubicBezTo>
                    <a:pt x="19" y="1"/>
                    <a:pt x="19" y="1"/>
                    <a:pt x="20" y="0"/>
                  </a:cubicBezTo>
                  <a:cubicBezTo>
                    <a:pt x="20" y="0"/>
                    <a:pt x="19" y="0"/>
                    <a:pt x="19" y="0"/>
                  </a:cubicBezTo>
                  <a:cubicBezTo>
                    <a:pt x="18" y="0"/>
                    <a:pt x="17" y="0"/>
                    <a:pt x="16" y="0"/>
                  </a:cubicBezTo>
                  <a:cubicBezTo>
                    <a:pt x="16" y="0"/>
                    <a:pt x="16" y="0"/>
                    <a:pt x="16" y="0"/>
                  </a:cubicBezTo>
                  <a:cubicBezTo>
                    <a:pt x="15" y="1"/>
                    <a:pt x="13" y="0"/>
                    <a:pt x="12" y="0"/>
                  </a:cubicBezTo>
                  <a:cubicBezTo>
                    <a:pt x="11" y="1"/>
                    <a:pt x="10" y="1"/>
                    <a:pt x="10" y="1"/>
                  </a:cubicBezTo>
                  <a:cubicBezTo>
                    <a:pt x="9" y="1"/>
                    <a:pt x="8" y="1"/>
                    <a:pt x="7" y="1"/>
                  </a:cubicBezTo>
                  <a:cubicBezTo>
                    <a:pt x="7" y="1"/>
                    <a:pt x="7" y="1"/>
                    <a:pt x="7" y="1"/>
                  </a:cubicBezTo>
                  <a:cubicBezTo>
                    <a:pt x="6" y="1"/>
                    <a:pt x="5" y="2"/>
                    <a:pt x="5" y="2"/>
                  </a:cubicBezTo>
                  <a:cubicBezTo>
                    <a:pt x="4" y="2"/>
                    <a:pt x="3" y="3"/>
                    <a:pt x="2" y="3"/>
                  </a:cubicBezTo>
                  <a:cubicBezTo>
                    <a:pt x="1" y="4"/>
                    <a:pt x="0" y="5"/>
                    <a:pt x="0" y="6"/>
                  </a:cubicBezTo>
                  <a:cubicBezTo>
                    <a:pt x="1" y="6"/>
                    <a:pt x="1" y="5"/>
                    <a:pt x="1" y="5"/>
                  </a:cubicBezTo>
                  <a:cubicBezTo>
                    <a:pt x="2" y="5"/>
                    <a:pt x="2" y="5"/>
                    <a:pt x="2" y="4"/>
                  </a:cubicBezTo>
                  <a:cubicBezTo>
                    <a:pt x="3" y="4"/>
                    <a:pt x="3" y="3"/>
                    <a:pt x="4" y="3"/>
                  </a:cubicBezTo>
                  <a:cubicBezTo>
                    <a:pt x="4" y="3"/>
                    <a:pt x="5" y="3"/>
                    <a:pt x="5" y="3"/>
                  </a:cubicBezTo>
                  <a:cubicBezTo>
                    <a:pt x="5" y="3"/>
                    <a:pt x="5" y="3"/>
                    <a:pt x="6" y="3"/>
                  </a:cubicBezTo>
                  <a:cubicBezTo>
                    <a:pt x="7" y="3"/>
                    <a:pt x="8" y="2"/>
                    <a:pt x="9" y="2"/>
                  </a:cubicBezTo>
                  <a:cubicBezTo>
                    <a:pt x="9" y="2"/>
                    <a:pt x="10" y="2"/>
                    <a:pt x="10" y="2"/>
                  </a:cubicBezTo>
                  <a:cubicBezTo>
                    <a:pt x="11" y="2"/>
                    <a:pt x="11" y="2"/>
                    <a:pt x="12" y="2"/>
                  </a:cubicBezTo>
                  <a:cubicBezTo>
                    <a:pt x="12" y="2"/>
                    <a:pt x="13" y="2"/>
                    <a:pt x="14" y="2"/>
                  </a:cubicBezTo>
                  <a:cubicBezTo>
                    <a:pt x="14" y="2"/>
                    <a:pt x="15" y="2"/>
                    <a:pt x="14" y="2"/>
                  </a:cubicBezTo>
                  <a:cubicBezTo>
                    <a:pt x="14" y="3"/>
                    <a:pt x="14" y="3"/>
                    <a:pt x="14" y="3"/>
                  </a:cubicBezTo>
                  <a:cubicBezTo>
                    <a:pt x="15" y="3"/>
                    <a:pt x="16" y="3"/>
                    <a:pt x="16" y="2"/>
                  </a:cubicBezTo>
                  <a:cubicBezTo>
                    <a:pt x="17" y="2"/>
                    <a:pt x="17" y="2"/>
                    <a:pt x="18"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42" name="Freeform 39">
              <a:extLst>
                <a:ext uri="{FF2B5EF4-FFF2-40B4-BE49-F238E27FC236}">
                  <a16:creationId xmlns:a16="http://schemas.microsoft.com/office/drawing/2014/main" id="{2E797566-6A03-5485-3316-D73B2A7A7065}"/>
                </a:ext>
              </a:extLst>
            </p:cNvPr>
            <p:cNvSpPr>
              <a:spLocks/>
            </p:cNvSpPr>
            <p:nvPr/>
          </p:nvSpPr>
          <p:spPr bwMode="auto">
            <a:xfrm>
              <a:off x="5882" y="2014"/>
              <a:ext cx="61" cy="114"/>
            </a:xfrm>
            <a:custGeom>
              <a:avLst/>
              <a:gdLst>
                <a:gd name="T0" fmla="*/ 0 w 6"/>
                <a:gd name="T1" fmla="*/ 3 h 11"/>
                <a:gd name="T2" fmla="*/ 0 w 6"/>
                <a:gd name="T3" fmla="*/ 4 h 11"/>
                <a:gd name="T4" fmla="*/ 0 w 6"/>
                <a:gd name="T5" fmla="*/ 5 h 11"/>
                <a:gd name="T6" fmla="*/ 1 w 6"/>
                <a:gd name="T7" fmla="*/ 6 h 11"/>
                <a:gd name="T8" fmla="*/ 0 w 6"/>
                <a:gd name="T9" fmla="*/ 7 h 11"/>
                <a:gd name="T10" fmla="*/ 1 w 6"/>
                <a:gd name="T11" fmla="*/ 7 h 11"/>
                <a:gd name="T12" fmla="*/ 2 w 6"/>
                <a:gd name="T13" fmla="*/ 8 h 11"/>
                <a:gd name="T14" fmla="*/ 3 w 6"/>
                <a:gd name="T15" fmla="*/ 9 h 11"/>
                <a:gd name="T16" fmla="*/ 3 w 6"/>
                <a:gd name="T17" fmla="*/ 9 h 11"/>
                <a:gd name="T18" fmla="*/ 4 w 6"/>
                <a:gd name="T19" fmla="*/ 10 h 11"/>
                <a:gd name="T20" fmla="*/ 5 w 6"/>
                <a:gd name="T21" fmla="*/ 11 h 11"/>
                <a:gd name="T22" fmla="*/ 5 w 6"/>
                <a:gd name="T23" fmla="*/ 11 h 11"/>
                <a:gd name="T24" fmla="*/ 5 w 6"/>
                <a:gd name="T25" fmla="*/ 11 h 11"/>
                <a:gd name="T26" fmla="*/ 5 w 6"/>
                <a:gd name="T27" fmla="*/ 10 h 11"/>
                <a:gd name="T28" fmla="*/ 5 w 6"/>
                <a:gd name="T29" fmla="*/ 9 h 11"/>
                <a:gd name="T30" fmla="*/ 4 w 6"/>
                <a:gd name="T31" fmla="*/ 9 h 11"/>
                <a:gd name="T32" fmla="*/ 4 w 6"/>
                <a:gd name="T33" fmla="*/ 8 h 11"/>
                <a:gd name="T34" fmla="*/ 2 w 6"/>
                <a:gd name="T35" fmla="*/ 7 h 11"/>
                <a:gd name="T36" fmla="*/ 2 w 6"/>
                <a:gd name="T37" fmla="*/ 6 h 11"/>
                <a:gd name="T38" fmla="*/ 2 w 6"/>
                <a:gd name="T39" fmla="*/ 6 h 11"/>
                <a:gd name="T40" fmla="*/ 3 w 6"/>
                <a:gd name="T41" fmla="*/ 5 h 11"/>
                <a:gd name="T42" fmla="*/ 5 w 6"/>
                <a:gd name="T43" fmla="*/ 4 h 11"/>
                <a:gd name="T44" fmla="*/ 6 w 6"/>
                <a:gd name="T45" fmla="*/ 3 h 11"/>
                <a:gd name="T46" fmla="*/ 5 w 6"/>
                <a:gd name="T47" fmla="*/ 1 h 11"/>
                <a:gd name="T48" fmla="*/ 4 w 6"/>
                <a:gd name="T49" fmla="*/ 0 h 11"/>
                <a:gd name="T50" fmla="*/ 3 w 6"/>
                <a:gd name="T51" fmla="*/ 0 h 11"/>
                <a:gd name="T52" fmla="*/ 1 w 6"/>
                <a:gd name="T53" fmla="*/ 2 h 11"/>
                <a:gd name="T54" fmla="*/ 1 w 6"/>
                <a:gd name="T55" fmla="*/ 3 h 11"/>
                <a:gd name="T56" fmla="*/ 1 w 6"/>
                <a:gd name="T57" fmla="*/ 3 h 11"/>
                <a:gd name="T58" fmla="*/ 1 w 6"/>
                <a:gd name="T59" fmla="*/ 3 h 11"/>
                <a:gd name="T60" fmla="*/ 0 w 6"/>
                <a:gd name="T61" fmla="*/ 2 h 11"/>
                <a:gd name="T62" fmla="*/ 0 w 6"/>
                <a:gd name="T63"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 h="11">
                  <a:moveTo>
                    <a:pt x="0" y="3"/>
                  </a:moveTo>
                  <a:cubicBezTo>
                    <a:pt x="1" y="4"/>
                    <a:pt x="0" y="4"/>
                    <a:pt x="0" y="4"/>
                  </a:cubicBezTo>
                  <a:cubicBezTo>
                    <a:pt x="0" y="5"/>
                    <a:pt x="0" y="5"/>
                    <a:pt x="0" y="5"/>
                  </a:cubicBezTo>
                  <a:cubicBezTo>
                    <a:pt x="1" y="6"/>
                    <a:pt x="1" y="6"/>
                    <a:pt x="1" y="6"/>
                  </a:cubicBezTo>
                  <a:cubicBezTo>
                    <a:pt x="0" y="6"/>
                    <a:pt x="0" y="6"/>
                    <a:pt x="0" y="7"/>
                  </a:cubicBezTo>
                  <a:cubicBezTo>
                    <a:pt x="0" y="7"/>
                    <a:pt x="1" y="7"/>
                    <a:pt x="1" y="7"/>
                  </a:cubicBezTo>
                  <a:cubicBezTo>
                    <a:pt x="2" y="7"/>
                    <a:pt x="2" y="8"/>
                    <a:pt x="2" y="8"/>
                  </a:cubicBezTo>
                  <a:cubicBezTo>
                    <a:pt x="2" y="9"/>
                    <a:pt x="3" y="9"/>
                    <a:pt x="3" y="9"/>
                  </a:cubicBezTo>
                  <a:cubicBezTo>
                    <a:pt x="3" y="9"/>
                    <a:pt x="3" y="9"/>
                    <a:pt x="3" y="9"/>
                  </a:cubicBezTo>
                  <a:cubicBezTo>
                    <a:pt x="4" y="9"/>
                    <a:pt x="4" y="10"/>
                    <a:pt x="4" y="10"/>
                  </a:cubicBezTo>
                  <a:cubicBezTo>
                    <a:pt x="4" y="10"/>
                    <a:pt x="4" y="11"/>
                    <a:pt x="5" y="11"/>
                  </a:cubicBezTo>
                  <a:cubicBezTo>
                    <a:pt x="5" y="11"/>
                    <a:pt x="5" y="11"/>
                    <a:pt x="5" y="11"/>
                  </a:cubicBezTo>
                  <a:cubicBezTo>
                    <a:pt x="5" y="11"/>
                    <a:pt x="5" y="11"/>
                    <a:pt x="5" y="11"/>
                  </a:cubicBezTo>
                  <a:cubicBezTo>
                    <a:pt x="5" y="11"/>
                    <a:pt x="4" y="10"/>
                    <a:pt x="5" y="10"/>
                  </a:cubicBezTo>
                  <a:cubicBezTo>
                    <a:pt x="4" y="10"/>
                    <a:pt x="5" y="10"/>
                    <a:pt x="5" y="9"/>
                  </a:cubicBezTo>
                  <a:cubicBezTo>
                    <a:pt x="5" y="9"/>
                    <a:pt x="4" y="9"/>
                    <a:pt x="4" y="9"/>
                  </a:cubicBezTo>
                  <a:cubicBezTo>
                    <a:pt x="4" y="8"/>
                    <a:pt x="4" y="8"/>
                    <a:pt x="4" y="8"/>
                  </a:cubicBezTo>
                  <a:cubicBezTo>
                    <a:pt x="3" y="8"/>
                    <a:pt x="3" y="8"/>
                    <a:pt x="2" y="7"/>
                  </a:cubicBezTo>
                  <a:cubicBezTo>
                    <a:pt x="2" y="7"/>
                    <a:pt x="2" y="7"/>
                    <a:pt x="2" y="6"/>
                  </a:cubicBezTo>
                  <a:cubicBezTo>
                    <a:pt x="3" y="7"/>
                    <a:pt x="2" y="6"/>
                    <a:pt x="2" y="6"/>
                  </a:cubicBezTo>
                  <a:cubicBezTo>
                    <a:pt x="2" y="5"/>
                    <a:pt x="3" y="5"/>
                    <a:pt x="3" y="5"/>
                  </a:cubicBezTo>
                  <a:cubicBezTo>
                    <a:pt x="4" y="4"/>
                    <a:pt x="4" y="5"/>
                    <a:pt x="5" y="4"/>
                  </a:cubicBezTo>
                  <a:cubicBezTo>
                    <a:pt x="6" y="4"/>
                    <a:pt x="5" y="3"/>
                    <a:pt x="6" y="3"/>
                  </a:cubicBezTo>
                  <a:cubicBezTo>
                    <a:pt x="6" y="2"/>
                    <a:pt x="5" y="2"/>
                    <a:pt x="5" y="1"/>
                  </a:cubicBezTo>
                  <a:cubicBezTo>
                    <a:pt x="5" y="1"/>
                    <a:pt x="4" y="1"/>
                    <a:pt x="4" y="0"/>
                  </a:cubicBezTo>
                  <a:cubicBezTo>
                    <a:pt x="4" y="0"/>
                    <a:pt x="3" y="0"/>
                    <a:pt x="3" y="0"/>
                  </a:cubicBezTo>
                  <a:cubicBezTo>
                    <a:pt x="2" y="1"/>
                    <a:pt x="2" y="2"/>
                    <a:pt x="1" y="2"/>
                  </a:cubicBezTo>
                  <a:cubicBezTo>
                    <a:pt x="1" y="2"/>
                    <a:pt x="1" y="3"/>
                    <a:pt x="1" y="3"/>
                  </a:cubicBezTo>
                  <a:cubicBezTo>
                    <a:pt x="1" y="3"/>
                    <a:pt x="1" y="3"/>
                    <a:pt x="1" y="3"/>
                  </a:cubicBezTo>
                  <a:cubicBezTo>
                    <a:pt x="1" y="3"/>
                    <a:pt x="1" y="3"/>
                    <a:pt x="1" y="3"/>
                  </a:cubicBezTo>
                  <a:cubicBezTo>
                    <a:pt x="1" y="3"/>
                    <a:pt x="0" y="3"/>
                    <a:pt x="0" y="2"/>
                  </a:cubicBezTo>
                  <a:cubicBezTo>
                    <a:pt x="0" y="3"/>
                    <a:pt x="0" y="3"/>
                    <a:pt x="0"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45" name="Freeform 40">
              <a:extLst>
                <a:ext uri="{FF2B5EF4-FFF2-40B4-BE49-F238E27FC236}">
                  <a16:creationId xmlns:a16="http://schemas.microsoft.com/office/drawing/2014/main" id="{F1B9DBDE-2CAF-ED5F-AD06-0B9758CDB10C}"/>
                </a:ext>
              </a:extLst>
            </p:cNvPr>
            <p:cNvSpPr>
              <a:spLocks/>
            </p:cNvSpPr>
            <p:nvPr/>
          </p:nvSpPr>
          <p:spPr bwMode="auto">
            <a:xfrm>
              <a:off x="6456" y="1910"/>
              <a:ext cx="113" cy="73"/>
            </a:xfrm>
            <a:custGeom>
              <a:avLst/>
              <a:gdLst>
                <a:gd name="T0" fmla="*/ 2 w 11"/>
                <a:gd name="T1" fmla="*/ 1 h 7"/>
                <a:gd name="T2" fmla="*/ 2 w 11"/>
                <a:gd name="T3" fmla="*/ 1 h 7"/>
                <a:gd name="T4" fmla="*/ 1 w 11"/>
                <a:gd name="T5" fmla="*/ 1 h 7"/>
                <a:gd name="T6" fmla="*/ 0 w 11"/>
                <a:gd name="T7" fmla="*/ 2 h 7"/>
                <a:gd name="T8" fmla="*/ 1 w 11"/>
                <a:gd name="T9" fmla="*/ 3 h 7"/>
                <a:gd name="T10" fmla="*/ 2 w 11"/>
                <a:gd name="T11" fmla="*/ 4 h 7"/>
                <a:gd name="T12" fmla="*/ 1 w 11"/>
                <a:gd name="T13" fmla="*/ 2 h 7"/>
                <a:gd name="T14" fmla="*/ 1 w 11"/>
                <a:gd name="T15" fmla="*/ 2 h 7"/>
                <a:gd name="T16" fmla="*/ 2 w 11"/>
                <a:gd name="T17" fmla="*/ 2 h 7"/>
                <a:gd name="T18" fmla="*/ 3 w 11"/>
                <a:gd name="T19" fmla="*/ 3 h 7"/>
                <a:gd name="T20" fmla="*/ 4 w 11"/>
                <a:gd name="T21" fmla="*/ 4 h 7"/>
                <a:gd name="T22" fmla="*/ 5 w 11"/>
                <a:gd name="T23" fmla="*/ 5 h 7"/>
                <a:gd name="T24" fmla="*/ 6 w 11"/>
                <a:gd name="T25" fmla="*/ 5 h 7"/>
                <a:gd name="T26" fmla="*/ 9 w 11"/>
                <a:gd name="T27" fmla="*/ 6 h 7"/>
                <a:gd name="T28" fmla="*/ 11 w 11"/>
                <a:gd name="T29" fmla="*/ 7 h 7"/>
                <a:gd name="T30" fmla="*/ 10 w 11"/>
                <a:gd name="T31" fmla="*/ 6 h 7"/>
                <a:gd name="T32" fmla="*/ 10 w 11"/>
                <a:gd name="T33" fmla="*/ 5 h 7"/>
                <a:gd name="T34" fmla="*/ 9 w 11"/>
                <a:gd name="T35" fmla="*/ 4 h 7"/>
                <a:gd name="T36" fmla="*/ 7 w 11"/>
                <a:gd name="T37" fmla="*/ 2 h 7"/>
                <a:gd name="T38" fmla="*/ 7 w 11"/>
                <a:gd name="T39" fmla="*/ 0 h 7"/>
                <a:gd name="T40" fmla="*/ 6 w 11"/>
                <a:gd name="T41" fmla="*/ 0 h 7"/>
                <a:gd name="T42" fmla="*/ 6 w 11"/>
                <a:gd name="T43" fmla="*/ 0 h 7"/>
                <a:gd name="T44" fmla="*/ 5 w 11"/>
                <a:gd name="T45" fmla="*/ 1 h 7"/>
                <a:gd name="T46" fmla="*/ 4 w 11"/>
                <a:gd name="T47" fmla="*/ 1 h 7"/>
                <a:gd name="T48" fmla="*/ 4 w 11"/>
                <a:gd name="T49" fmla="*/ 2 h 7"/>
                <a:gd name="T50" fmla="*/ 2 w 11"/>
                <a:gd name="T5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 h="7">
                  <a:moveTo>
                    <a:pt x="2" y="1"/>
                  </a:moveTo>
                  <a:cubicBezTo>
                    <a:pt x="2" y="1"/>
                    <a:pt x="2" y="0"/>
                    <a:pt x="2" y="1"/>
                  </a:cubicBezTo>
                  <a:cubicBezTo>
                    <a:pt x="2" y="1"/>
                    <a:pt x="1" y="1"/>
                    <a:pt x="1" y="1"/>
                  </a:cubicBezTo>
                  <a:cubicBezTo>
                    <a:pt x="0" y="1"/>
                    <a:pt x="0" y="1"/>
                    <a:pt x="0" y="2"/>
                  </a:cubicBezTo>
                  <a:cubicBezTo>
                    <a:pt x="0" y="2"/>
                    <a:pt x="0" y="3"/>
                    <a:pt x="1" y="3"/>
                  </a:cubicBezTo>
                  <a:cubicBezTo>
                    <a:pt x="1" y="3"/>
                    <a:pt x="1" y="3"/>
                    <a:pt x="2" y="4"/>
                  </a:cubicBezTo>
                  <a:cubicBezTo>
                    <a:pt x="1" y="3"/>
                    <a:pt x="1" y="2"/>
                    <a:pt x="1" y="2"/>
                  </a:cubicBezTo>
                  <a:cubicBezTo>
                    <a:pt x="1" y="2"/>
                    <a:pt x="1" y="2"/>
                    <a:pt x="1" y="2"/>
                  </a:cubicBezTo>
                  <a:cubicBezTo>
                    <a:pt x="1" y="2"/>
                    <a:pt x="1" y="2"/>
                    <a:pt x="2" y="2"/>
                  </a:cubicBezTo>
                  <a:cubicBezTo>
                    <a:pt x="2" y="2"/>
                    <a:pt x="2" y="3"/>
                    <a:pt x="3" y="3"/>
                  </a:cubicBezTo>
                  <a:cubicBezTo>
                    <a:pt x="3" y="3"/>
                    <a:pt x="4" y="3"/>
                    <a:pt x="4" y="4"/>
                  </a:cubicBezTo>
                  <a:cubicBezTo>
                    <a:pt x="4" y="4"/>
                    <a:pt x="5" y="5"/>
                    <a:pt x="5" y="5"/>
                  </a:cubicBezTo>
                  <a:cubicBezTo>
                    <a:pt x="5" y="5"/>
                    <a:pt x="6" y="6"/>
                    <a:pt x="6" y="5"/>
                  </a:cubicBezTo>
                  <a:cubicBezTo>
                    <a:pt x="7" y="5"/>
                    <a:pt x="8" y="6"/>
                    <a:pt x="9" y="6"/>
                  </a:cubicBezTo>
                  <a:cubicBezTo>
                    <a:pt x="10" y="7"/>
                    <a:pt x="10" y="7"/>
                    <a:pt x="11" y="7"/>
                  </a:cubicBezTo>
                  <a:cubicBezTo>
                    <a:pt x="10" y="7"/>
                    <a:pt x="10" y="6"/>
                    <a:pt x="10" y="6"/>
                  </a:cubicBezTo>
                  <a:cubicBezTo>
                    <a:pt x="11" y="6"/>
                    <a:pt x="11" y="5"/>
                    <a:pt x="10" y="5"/>
                  </a:cubicBezTo>
                  <a:cubicBezTo>
                    <a:pt x="10" y="5"/>
                    <a:pt x="9" y="5"/>
                    <a:pt x="9" y="4"/>
                  </a:cubicBezTo>
                  <a:cubicBezTo>
                    <a:pt x="8" y="3"/>
                    <a:pt x="8" y="2"/>
                    <a:pt x="7" y="2"/>
                  </a:cubicBezTo>
                  <a:cubicBezTo>
                    <a:pt x="7" y="1"/>
                    <a:pt x="7" y="1"/>
                    <a:pt x="7" y="0"/>
                  </a:cubicBezTo>
                  <a:cubicBezTo>
                    <a:pt x="6" y="0"/>
                    <a:pt x="6" y="0"/>
                    <a:pt x="6" y="0"/>
                  </a:cubicBezTo>
                  <a:cubicBezTo>
                    <a:pt x="6" y="0"/>
                    <a:pt x="6" y="0"/>
                    <a:pt x="6" y="0"/>
                  </a:cubicBezTo>
                  <a:cubicBezTo>
                    <a:pt x="5" y="0"/>
                    <a:pt x="6" y="1"/>
                    <a:pt x="5" y="1"/>
                  </a:cubicBezTo>
                  <a:cubicBezTo>
                    <a:pt x="5" y="1"/>
                    <a:pt x="4" y="1"/>
                    <a:pt x="4" y="1"/>
                  </a:cubicBezTo>
                  <a:cubicBezTo>
                    <a:pt x="4" y="1"/>
                    <a:pt x="4" y="1"/>
                    <a:pt x="4" y="2"/>
                  </a:cubicBezTo>
                  <a:cubicBezTo>
                    <a:pt x="3" y="2"/>
                    <a:pt x="3" y="2"/>
                    <a:pt x="2"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47" name="Freeform 41">
              <a:extLst>
                <a:ext uri="{FF2B5EF4-FFF2-40B4-BE49-F238E27FC236}">
                  <a16:creationId xmlns:a16="http://schemas.microsoft.com/office/drawing/2014/main" id="{AD81263C-BE92-5CF3-7F28-98282731C175}"/>
                </a:ext>
              </a:extLst>
            </p:cNvPr>
            <p:cNvSpPr>
              <a:spLocks/>
            </p:cNvSpPr>
            <p:nvPr/>
          </p:nvSpPr>
          <p:spPr bwMode="auto">
            <a:xfrm>
              <a:off x="6692" y="1456"/>
              <a:ext cx="164" cy="124"/>
            </a:xfrm>
            <a:custGeom>
              <a:avLst/>
              <a:gdLst>
                <a:gd name="T0" fmla="*/ 3 w 16"/>
                <a:gd name="T1" fmla="*/ 4 h 12"/>
                <a:gd name="T2" fmla="*/ 4 w 16"/>
                <a:gd name="T3" fmla="*/ 4 h 12"/>
                <a:gd name="T4" fmla="*/ 6 w 16"/>
                <a:gd name="T5" fmla="*/ 5 h 12"/>
                <a:gd name="T6" fmla="*/ 7 w 16"/>
                <a:gd name="T7" fmla="*/ 6 h 12"/>
                <a:gd name="T8" fmla="*/ 10 w 16"/>
                <a:gd name="T9" fmla="*/ 8 h 12"/>
                <a:gd name="T10" fmla="*/ 11 w 16"/>
                <a:gd name="T11" fmla="*/ 9 h 12"/>
                <a:gd name="T12" fmla="*/ 14 w 16"/>
                <a:gd name="T13" fmla="*/ 10 h 12"/>
                <a:gd name="T14" fmla="*/ 16 w 16"/>
                <a:gd name="T15" fmla="*/ 11 h 12"/>
                <a:gd name="T16" fmla="*/ 12 w 16"/>
                <a:gd name="T17" fmla="*/ 7 h 12"/>
                <a:gd name="T18" fmla="*/ 11 w 16"/>
                <a:gd name="T19" fmla="*/ 7 h 12"/>
                <a:gd name="T20" fmla="*/ 8 w 16"/>
                <a:gd name="T21" fmla="*/ 5 h 12"/>
                <a:gd name="T22" fmla="*/ 7 w 16"/>
                <a:gd name="T23" fmla="*/ 5 h 12"/>
                <a:gd name="T24" fmla="*/ 6 w 16"/>
                <a:gd name="T25" fmla="*/ 3 h 12"/>
                <a:gd name="T26" fmla="*/ 5 w 16"/>
                <a:gd name="T27" fmla="*/ 2 h 12"/>
                <a:gd name="T28" fmla="*/ 2 w 16"/>
                <a:gd name="T29" fmla="*/ 0 h 12"/>
                <a:gd name="T30" fmla="*/ 2 w 16"/>
                <a:gd name="T31" fmla="*/ 0 h 12"/>
                <a:gd name="T32" fmla="*/ 1 w 16"/>
                <a:gd name="T33" fmla="*/ 0 h 12"/>
                <a:gd name="T34" fmla="*/ 1 w 16"/>
                <a:gd name="T35" fmla="*/ 1 h 12"/>
                <a:gd name="T36" fmla="*/ 0 w 16"/>
                <a:gd name="T37" fmla="*/ 0 h 12"/>
                <a:gd name="T38" fmla="*/ 0 w 16"/>
                <a:gd name="T39" fmla="*/ 0 h 12"/>
                <a:gd name="T40" fmla="*/ 3 w 16"/>
                <a:gd name="T41"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12">
                  <a:moveTo>
                    <a:pt x="3" y="4"/>
                  </a:moveTo>
                  <a:cubicBezTo>
                    <a:pt x="4" y="4"/>
                    <a:pt x="4" y="4"/>
                    <a:pt x="4" y="4"/>
                  </a:cubicBezTo>
                  <a:cubicBezTo>
                    <a:pt x="5" y="4"/>
                    <a:pt x="5" y="4"/>
                    <a:pt x="6" y="5"/>
                  </a:cubicBezTo>
                  <a:cubicBezTo>
                    <a:pt x="6" y="5"/>
                    <a:pt x="7" y="6"/>
                    <a:pt x="7" y="6"/>
                  </a:cubicBezTo>
                  <a:cubicBezTo>
                    <a:pt x="8" y="6"/>
                    <a:pt x="9" y="7"/>
                    <a:pt x="10" y="8"/>
                  </a:cubicBezTo>
                  <a:cubicBezTo>
                    <a:pt x="11" y="9"/>
                    <a:pt x="11" y="9"/>
                    <a:pt x="11" y="9"/>
                  </a:cubicBezTo>
                  <a:cubicBezTo>
                    <a:pt x="12" y="9"/>
                    <a:pt x="13" y="10"/>
                    <a:pt x="14" y="10"/>
                  </a:cubicBezTo>
                  <a:cubicBezTo>
                    <a:pt x="15" y="11"/>
                    <a:pt x="16" y="12"/>
                    <a:pt x="16" y="11"/>
                  </a:cubicBezTo>
                  <a:cubicBezTo>
                    <a:pt x="14" y="10"/>
                    <a:pt x="13" y="8"/>
                    <a:pt x="12" y="7"/>
                  </a:cubicBezTo>
                  <a:cubicBezTo>
                    <a:pt x="11" y="7"/>
                    <a:pt x="11" y="7"/>
                    <a:pt x="11" y="7"/>
                  </a:cubicBezTo>
                  <a:cubicBezTo>
                    <a:pt x="10" y="6"/>
                    <a:pt x="9" y="5"/>
                    <a:pt x="8" y="5"/>
                  </a:cubicBezTo>
                  <a:cubicBezTo>
                    <a:pt x="8" y="5"/>
                    <a:pt x="8" y="5"/>
                    <a:pt x="7" y="5"/>
                  </a:cubicBezTo>
                  <a:cubicBezTo>
                    <a:pt x="7" y="4"/>
                    <a:pt x="6" y="3"/>
                    <a:pt x="6" y="3"/>
                  </a:cubicBezTo>
                  <a:cubicBezTo>
                    <a:pt x="5" y="2"/>
                    <a:pt x="5" y="2"/>
                    <a:pt x="5" y="2"/>
                  </a:cubicBezTo>
                  <a:cubicBezTo>
                    <a:pt x="4" y="1"/>
                    <a:pt x="3" y="1"/>
                    <a:pt x="2" y="0"/>
                  </a:cubicBezTo>
                  <a:cubicBezTo>
                    <a:pt x="2" y="0"/>
                    <a:pt x="2" y="0"/>
                    <a:pt x="2" y="0"/>
                  </a:cubicBezTo>
                  <a:cubicBezTo>
                    <a:pt x="1" y="0"/>
                    <a:pt x="1" y="0"/>
                    <a:pt x="1" y="0"/>
                  </a:cubicBezTo>
                  <a:cubicBezTo>
                    <a:pt x="1" y="0"/>
                    <a:pt x="1" y="0"/>
                    <a:pt x="1" y="1"/>
                  </a:cubicBezTo>
                  <a:cubicBezTo>
                    <a:pt x="1" y="0"/>
                    <a:pt x="0" y="0"/>
                    <a:pt x="0" y="0"/>
                  </a:cubicBezTo>
                  <a:cubicBezTo>
                    <a:pt x="0" y="0"/>
                    <a:pt x="0" y="0"/>
                    <a:pt x="0" y="0"/>
                  </a:cubicBezTo>
                  <a:cubicBezTo>
                    <a:pt x="1" y="2"/>
                    <a:pt x="2" y="3"/>
                    <a:pt x="3"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48" name="Freeform 42">
              <a:extLst>
                <a:ext uri="{FF2B5EF4-FFF2-40B4-BE49-F238E27FC236}">
                  <a16:creationId xmlns:a16="http://schemas.microsoft.com/office/drawing/2014/main" id="{20BA5266-495A-9680-48A0-C6ABF18E5C4F}"/>
                </a:ext>
              </a:extLst>
            </p:cNvPr>
            <p:cNvSpPr>
              <a:spLocks/>
            </p:cNvSpPr>
            <p:nvPr/>
          </p:nvSpPr>
          <p:spPr bwMode="auto">
            <a:xfrm>
              <a:off x="1709" y="1166"/>
              <a:ext cx="143" cy="73"/>
            </a:xfrm>
            <a:custGeom>
              <a:avLst/>
              <a:gdLst>
                <a:gd name="T0" fmla="*/ 14 w 14"/>
                <a:gd name="T1" fmla="*/ 0 h 7"/>
                <a:gd name="T2" fmla="*/ 12 w 14"/>
                <a:gd name="T3" fmla="*/ 1 h 7"/>
                <a:gd name="T4" fmla="*/ 11 w 14"/>
                <a:gd name="T5" fmla="*/ 1 h 7"/>
                <a:gd name="T6" fmla="*/ 9 w 14"/>
                <a:gd name="T7" fmla="*/ 1 h 7"/>
                <a:gd name="T8" fmla="*/ 5 w 14"/>
                <a:gd name="T9" fmla="*/ 2 h 7"/>
                <a:gd name="T10" fmla="*/ 4 w 14"/>
                <a:gd name="T11" fmla="*/ 3 h 7"/>
                <a:gd name="T12" fmla="*/ 3 w 14"/>
                <a:gd name="T13" fmla="*/ 3 h 7"/>
                <a:gd name="T14" fmla="*/ 3 w 14"/>
                <a:gd name="T15" fmla="*/ 2 h 7"/>
                <a:gd name="T16" fmla="*/ 1 w 14"/>
                <a:gd name="T17" fmla="*/ 3 h 7"/>
                <a:gd name="T18" fmla="*/ 1 w 14"/>
                <a:gd name="T19" fmla="*/ 4 h 7"/>
                <a:gd name="T20" fmla="*/ 1 w 14"/>
                <a:gd name="T21" fmla="*/ 4 h 7"/>
                <a:gd name="T22" fmla="*/ 1 w 14"/>
                <a:gd name="T23" fmla="*/ 6 h 7"/>
                <a:gd name="T24" fmla="*/ 0 w 14"/>
                <a:gd name="T25" fmla="*/ 7 h 7"/>
                <a:gd name="T26" fmla="*/ 1 w 14"/>
                <a:gd name="T27" fmla="*/ 7 h 7"/>
                <a:gd name="T28" fmla="*/ 3 w 14"/>
                <a:gd name="T29" fmla="*/ 6 h 7"/>
                <a:gd name="T30" fmla="*/ 3 w 14"/>
                <a:gd name="T31" fmla="*/ 6 h 7"/>
                <a:gd name="T32" fmla="*/ 4 w 14"/>
                <a:gd name="T33" fmla="*/ 6 h 7"/>
                <a:gd name="T34" fmla="*/ 7 w 14"/>
                <a:gd name="T35" fmla="*/ 4 h 7"/>
                <a:gd name="T36" fmla="*/ 9 w 14"/>
                <a:gd name="T37" fmla="*/ 2 h 7"/>
                <a:gd name="T38" fmla="*/ 10 w 14"/>
                <a:gd name="T39" fmla="*/ 2 h 7"/>
                <a:gd name="T40" fmla="*/ 14 w 14"/>
                <a:gd name="T4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7">
                  <a:moveTo>
                    <a:pt x="14" y="0"/>
                  </a:moveTo>
                  <a:cubicBezTo>
                    <a:pt x="13" y="0"/>
                    <a:pt x="12" y="1"/>
                    <a:pt x="12" y="1"/>
                  </a:cubicBezTo>
                  <a:cubicBezTo>
                    <a:pt x="11" y="1"/>
                    <a:pt x="11" y="1"/>
                    <a:pt x="11" y="1"/>
                  </a:cubicBezTo>
                  <a:cubicBezTo>
                    <a:pt x="11" y="0"/>
                    <a:pt x="10" y="1"/>
                    <a:pt x="9" y="1"/>
                  </a:cubicBezTo>
                  <a:cubicBezTo>
                    <a:pt x="8" y="1"/>
                    <a:pt x="7" y="2"/>
                    <a:pt x="5" y="2"/>
                  </a:cubicBezTo>
                  <a:cubicBezTo>
                    <a:pt x="5" y="2"/>
                    <a:pt x="4" y="2"/>
                    <a:pt x="4" y="3"/>
                  </a:cubicBezTo>
                  <a:cubicBezTo>
                    <a:pt x="3" y="3"/>
                    <a:pt x="3" y="3"/>
                    <a:pt x="3" y="3"/>
                  </a:cubicBezTo>
                  <a:cubicBezTo>
                    <a:pt x="3" y="2"/>
                    <a:pt x="3" y="2"/>
                    <a:pt x="3" y="2"/>
                  </a:cubicBezTo>
                  <a:cubicBezTo>
                    <a:pt x="2" y="2"/>
                    <a:pt x="2" y="2"/>
                    <a:pt x="1" y="3"/>
                  </a:cubicBezTo>
                  <a:cubicBezTo>
                    <a:pt x="1" y="3"/>
                    <a:pt x="1" y="3"/>
                    <a:pt x="1" y="4"/>
                  </a:cubicBezTo>
                  <a:cubicBezTo>
                    <a:pt x="1" y="4"/>
                    <a:pt x="1" y="4"/>
                    <a:pt x="1" y="4"/>
                  </a:cubicBezTo>
                  <a:cubicBezTo>
                    <a:pt x="1" y="5"/>
                    <a:pt x="2" y="5"/>
                    <a:pt x="1" y="6"/>
                  </a:cubicBezTo>
                  <a:cubicBezTo>
                    <a:pt x="0" y="7"/>
                    <a:pt x="0" y="7"/>
                    <a:pt x="0" y="7"/>
                  </a:cubicBezTo>
                  <a:cubicBezTo>
                    <a:pt x="1" y="7"/>
                    <a:pt x="1" y="7"/>
                    <a:pt x="1" y="7"/>
                  </a:cubicBezTo>
                  <a:cubicBezTo>
                    <a:pt x="2" y="6"/>
                    <a:pt x="2" y="6"/>
                    <a:pt x="3" y="6"/>
                  </a:cubicBezTo>
                  <a:cubicBezTo>
                    <a:pt x="3" y="6"/>
                    <a:pt x="3" y="6"/>
                    <a:pt x="3" y="6"/>
                  </a:cubicBezTo>
                  <a:cubicBezTo>
                    <a:pt x="3" y="6"/>
                    <a:pt x="4" y="6"/>
                    <a:pt x="4" y="6"/>
                  </a:cubicBezTo>
                  <a:cubicBezTo>
                    <a:pt x="6" y="5"/>
                    <a:pt x="6" y="4"/>
                    <a:pt x="7" y="4"/>
                  </a:cubicBezTo>
                  <a:cubicBezTo>
                    <a:pt x="7" y="3"/>
                    <a:pt x="8" y="3"/>
                    <a:pt x="9" y="2"/>
                  </a:cubicBezTo>
                  <a:cubicBezTo>
                    <a:pt x="9" y="2"/>
                    <a:pt x="10" y="2"/>
                    <a:pt x="10" y="2"/>
                  </a:cubicBezTo>
                  <a:cubicBezTo>
                    <a:pt x="11" y="2"/>
                    <a:pt x="13" y="2"/>
                    <a:pt x="1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49" name="Freeform 43">
              <a:extLst>
                <a:ext uri="{FF2B5EF4-FFF2-40B4-BE49-F238E27FC236}">
                  <a16:creationId xmlns:a16="http://schemas.microsoft.com/office/drawing/2014/main" id="{629FC494-C6CF-43E6-A969-681C934C44AD}"/>
                </a:ext>
              </a:extLst>
            </p:cNvPr>
            <p:cNvSpPr>
              <a:spLocks/>
            </p:cNvSpPr>
            <p:nvPr/>
          </p:nvSpPr>
          <p:spPr bwMode="auto">
            <a:xfrm>
              <a:off x="5851" y="2179"/>
              <a:ext cx="92" cy="62"/>
            </a:xfrm>
            <a:custGeom>
              <a:avLst/>
              <a:gdLst>
                <a:gd name="T0" fmla="*/ 8 w 9"/>
                <a:gd name="T1" fmla="*/ 1 h 6"/>
                <a:gd name="T2" fmla="*/ 8 w 9"/>
                <a:gd name="T3" fmla="*/ 1 h 6"/>
                <a:gd name="T4" fmla="*/ 7 w 9"/>
                <a:gd name="T5" fmla="*/ 1 h 6"/>
                <a:gd name="T6" fmla="*/ 7 w 9"/>
                <a:gd name="T7" fmla="*/ 1 h 6"/>
                <a:gd name="T8" fmla="*/ 6 w 9"/>
                <a:gd name="T9" fmla="*/ 1 h 6"/>
                <a:gd name="T10" fmla="*/ 5 w 9"/>
                <a:gd name="T11" fmla="*/ 1 h 6"/>
                <a:gd name="T12" fmla="*/ 4 w 9"/>
                <a:gd name="T13" fmla="*/ 1 h 6"/>
                <a:gd name="T14" fmla="*/ 4 w 9"/>
                <a:gd name="T15" fmla="*/ 0 h 6"/>
                <a:gd name="T16" fmla="*/ 2 w 9"/>
                <a:gd name="T17" fmla="*/ 0 h 6"/>
                <a:gd name="T18" fmla="*/ 0 w 9"/>
                <a:gd name="T19" fmla="*/ 1 h 6"/>
                <a:gd name="T20" fmla="*/ 1 w 9"/>
                <a:gd name="T21" fmla="*/ 1 h 6"/>
                <a:gd name="T22" fmla="*/ 2 w 9"/>
                <a:gd name="T23" fmla="*/ 1 h 6"/>
                <a:gd name="T24" fmla="*/ 3 w 9"/>
                <a:gd name="T25" fmla="*/ 1 h 6"/>
                <a:gd name="T26" fmla="*/ 3 w 9"/>
                <a:gd name="T27" fmla="*/ 2 h 6"/>
                <a:gd name="T28" fmla="*/ 3 w 9"/>
                <a:gd name="T29" fmla="*/ 3 h 6"/>
                <a:gd name="T30" fmla="*/ 3 w 9"/>
                <a:gd name="T31" fmla="*/ 5 h 6"/>
                <a:gd name="T32" fmla="*/ 5 w 9"/>
                <a:gd name="T33" fmla="*/ 6 h 6"/>
                <a:gd name="T34" fmla="*/ 5 w 9"/>
                <a:gd name="T35" fmla="*/ 5 h 6"/>
                <a:gd name="T36" fmla="*/ 6 w 9"/>
                <a:gd name="T37" fmla="*/ 4 h 6"/>
                <a:gd name="T38" fmla="*/ 6 w 9"/>
                <a:gd name="T39" fmla="*/ 5 h 6"/>
                <a:gd name="T40" fmla="*/ 8 w 9"/>
                <a:gd name="T41" fmla="*/ 4 h 6"/>
                <a:gd name="T42" fmla="*/ 8 w 9"/>
                <a:gd name="T43" fmla="*/ 2 h 6"/>
                <a:gd name="T44" fmla="*/ 8 w 9"/>
                <a:gd name="T4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 h="6">
                  <a:moveTo>
                    <a:pt x="8" y="1"/>
                  </a:moveTo>
                  <a:cubicBezTo>
                    <a:pt x="8" y="1"/>
                    <a:pt x="8" y="1"/>
                    <a:pt x="8" y="1"/>
                  </a:cubicBezTo>
                  <a:cubicBezTo>
                    <a:pt x="7" y="0"/>
                    <a:pt x="7" y="1"/>
                    <a:pt x="7" y="1"/>
                  </a:cubicBezTo>
                  <a:cubicBezTo>
                    <a:pt x="7" y="1"/>
                    <a:pt x="7" y="1"/>
                    <a:pt x="7" y="1"/>
                  </a:cubicBezTo>
                  <a:cubicBezTo>
                    <a:pt x="7" y="1"/>
                    <a:pt x="6" y="0"/>
                    <a:pt x="6" y="1"/>
                  </a:cubicBezTo>
                  <a:cubicBezTo>
                    <a:pt x="5" y="1"/>
                    <a:pt x="5" y="1"/>
                    <a:pt x="5" y="1"/>
                  </a:cubicBezTo>
                  <a:cubicBezTo>
                    <a:pt x="4" y="1"/>
                    <a:pt x="4" y="1"/>
                    <a:pt x="4" y="1"/>
                  </a:cubicBezTo>
                  <a:cubicBezTo>
                    <a:pt x="4" y="0"/>
                    <a:pt x="4" y="0"/>
                    <a:pt x="4" y="0"/>
                  </a:cubicBezTo>
                  <a:cubicBezTo>
                    <a:pt x="3" y="0"/>
                    <a:pt x="2" y="0"/>
                    <a:pt x="2" y="0"/>
                  </a:cubicBezTo>
                  <a:cubicBezTo>
                    <a:pt x="0" y="0"/>
                    <a:pt x="0" y="0"/>
                    <a:pt x="0" y="1"/>
                  </a:cubicBezTo>
                  <a:cubicBezTo>
                    <a:pt x="0" y="1"/>
                    <a:pt x="1" y="1"/>
                    <a:pt x="1" y="1"/>
                  </a:cubicBezTo>
                  <a:cubicBezTo>
                    <a:pt x="1" y="0"/>
                    <a:pt x="2" y="1"/>
                    <a:pt x="2" y="1"/>
                  </a:cubicBezTo>
                  <a:cubicBezTo>
                    <a:pt x="2" y="2"/>
                    <a:pt x="3" y="1"/>
                    <a:pt x="3" y="1"/>
                  </a:cubicBezTo>
                  <a:cubicBezTo>
                    <a:pt x="3" y="1"/>
                    <a:pt x="3" y="1"/>
                    <a:pt x="3" y="2"/>
                  </a:cubicBezTo>
                  <a:cubicBezTo>
                    <a:pt x="4" y="2"/>
                    <a:pt x="4" y="2"/>
                    <a:pt x="3" y="3"/>
                  </a:cubicBezTo>
                  <a:cubicBezTo>
                    <a:pt x="3" y="3"/>
                    <a:pt x="3" y="4"/>
                    <a:pt x="3" y="5"/>
                  </a:cubicBezTo>
                  <a:cubicBezTo>
                    <a:pt x="4" y="5"/>
                    <a:pt x="4" y="5"/>
                    <a:pt x="5" y="6"/>
                  </a:cubicBezTo>
                  <a:cubicBezTo>
                    <a:pt x="5" y="5"/>
                    <a:pt x="5" y="5"/>
                    <a:pt x="5" y="5"/>
                  </a:cubicBezTo>
                  <a:cubicBezTo>
                    <a:pt x="5" y="4"/>
                    <a:pt x="6" y="4"/>
                    <a:pt x="6" y="4"/>
                  </a:cubicBezTo>
                  <a:cubicBezTo>
                    <a:pt x="6" y="4"/>
                    <a:pt x="6" y="5"/>
                    <a:pt x="6" y="5"/>
                  </a:cubicBezTo>
                  <a:cubicBezTo>
                    <a:pt x="7" y="5"/>
                    <a:pt x="7" y="5"/>
                    <a:pt x="8" y="4"/>
                  </a:cubicBezTo>
                  <a:cubicBezTo>
                    <a:pt x="8" y="4"/>
                    <a:pt x="8" y="3"/>
                    <a:pt x="8" y="2"/>
                  </a:cubicBezTo>
                  <a:cubicBezTo>
                    <a:pt x="9" y="2"/>
                    <a:pt x="8" y="2"/>
                    <a:pt x="8"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50" name="Freeform 44">
              <a:extLst>
                <a:ext uri="{FF2B5EF4-FFF2-40B4-BE49-F238E27FC236}">
                  <a16:creationId xmlns:a16="http://schemas.microsoft.com/office/drawing/2014/main" id="{EBF9F27A-2FD0-2B5C-E378-6F9AE39FA429}"/>
                </a:ext>
              </a:extLst>
            </p:cNvPr>
            <p:cNvSpPr>
              <a:spLocks/>
            </p:cNvSpPr>
            <p:nvPr/>
          </p:nvSpPr>
          <p:spPr bwMode="auto">
            <a:xfrm>
              <a:off x="4047" y="494"/>
              <a:ext cx="215" cy="31"/>
            </a:xfrm>
            <a:custGeom>
              <a:avLst/>
              <a:gdLst>
                <a:gd name="T0" fmla="*/ 4 w 21"/>
                <a:gd name="T1" fmla="*/ 1 h 3"/>
                <a:gd name="T2" fmla="*/ 9 w 21"/>
                <a:gd name="T3" fmla="*/ 2 h 3"/>
                <a:gd name="T4" fmla="*/ 11 w 21"/>
                <a:gd name="T5" fmla="*/ 2 h 3"/>
                <a:gd name="T6" fmla="*/ 16 w 21"/>
                <a:gd name="T7" fmla="*/ 2 h 3"/>
                <a:gd name="T8" fmla="*/ 17 w 21"/>
                <a:gd name="T9" fmla="*/ 2 h 3"/>
                <a:gd name="T10" fmla="*/ 19 w 21"/>
                <a:gd name="T11" fmla="*/ 2 h 3"/>
                <a:gd name="T12" fmla="*/ 21 w 21"/>
                <a:gd name="T13" fmla="*/ 2 h 3"/>
                <a:gd name="T14" fmla="*/ 20 w 21"/>
                <a:gd name="T15" fmla="*/ 1 h 3"/>
                <a:gd name="T16" fmla="*/ 15 w 21"/>
                <a:gd name="T17" fmla="*/ 1 h 3"/>
                <a:gd name="T18" fmla="*/ 15 w 21"/>
                <a:gd name="T19" fmla="*/ 1 h 3"/>
                <a:gd name="T20" fmla="*/ 12 w 21"/>
                <a:gd name="T21" fmla="*/ 0 h 3"/>
                <a:gd name="T22" fmla="*/ 10 w 21"/>
                <a:gd name="T23" fmla="*/ 0 h 3"/>
                <a:gd name="T24" fmla="*/ 8 w 21"/>
                <a:gd name="T25" fmla="*/ 1 h 3"/>
                <a:gd name="T26" fmla="*/ 5 w 21"/>
                <a:gd name="T27" fmla="*/ 0 h 3"/>
                <a:gd name="T28" fmla="*/ 0 w 21"/>
                <a:gd name="T29" fmla="*/ 0 h 3"/>
                <a:gd name="T30" fmla="*/ 1 w 21"/>
                <a:gd name="T31" fmla="*/ 1 h 3"/>
                <a:gd name="T32" fmla="*/ 4 w 21"/>
                <a:gd name="T3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
                  <a:moveTo>
                    <a:pt x="4" y="1"/>
                  </a:moveTo>
                  <a:cubicBezTo>
                    <a:pt x="6" y="1"/>
                    <a:pt x="7" y="2"/>
                    <a:pt x="9" y="2"/>
                  </a:cubicBezTo>
                  <a:cubicBezTo>
                    <a:pt x="10" y="2"/>
                    <a:pt x="11" y="2"/>
                    <a:pt x="11" y="2"/>
                  </a:cubicBezTo>
                  <a:cubicBezTo>
                    <a:pt x="13" y="3"/>
                    <a:pt x="15" y="2"/>
                    <a:pt x="16" y="2"/>
                  </a:cubicBezTo>
                  <a:cubicBezTo>
                    <a:pt x="17" y="2"/>
                    <a:pt x="17" y="2"/>
                    <a:pt x="17" y="2"/>
                  </a:cubicBezTo>
                  <a:cubicBezTo>
                    <a:pt x="18" y="2"/>
                    <a:pt x="18" y="2"/>
                    <a:pt x="19" y="2"/>
                  </a:cubicBezTo>
                  <a:cubicBezTo>
                    <a:pt x="20" y="2"/>
                    <a:pt x="20" y="2"/>
                    <a:pt x="21" y="2"/>
                  </a:cubicBezTo>
                  <a:cubicBezTo>
                    <a:pt x="21" y="2"/>
                    <a:pt x="20" y="1"/>
                    <a:pt x="20" y="1"/>
                  </a:cubicBezTo>
                  <a:cubicBezTo>
                    <a:pt x="18" y="1"/>
                    <a:pt x="17" y="1"/>
                    <a:pt x="15" y="1"/>
                  </a:cubicBezTo>
                  <a:cubicBezTo>
                    <a:pt x="15" y="1"/>
                    <a:pt x="15" y="1"/>
                    <a:pt x="15" y="1"/>
                  </a:cubicBezTo>
                  <a:cubicBezTo>
                    <a:pt x="14" y="1"/>
                    <a:pt x="13" y="1"/>
                    <a:pt x="12" y="0"/>
                  </a:cubicBezTo>
                  <a:cubicBezTo>
                    <a:pt x="11" y="0"/>
                    <a:pt x="10" y="0"/>
                    <a:pt x="10" y="0"/>
                  </a:cubicBezTo>
                  <a:cubicBezTo>
                    <a:pt x="10" y="1"/>
                    <a:pt x="9" y="1"/>
                    <a:pt x="8" y="1"/>
                  </a:cubicBezTo>
                  <a:cubicBezTo>
                    <a:pt x="7" y="0"/>
                    <a:pt x="6" y="0"/>
                    <a:pt x="5" y="0"/>
                  </a:cubicBezTo>
                  <a:cubicBezTo>
                    <a:pt x="3" y="0"/>
                    <a:pt x="2" y="0"/>
                    <a:pt x="0" y="0"/>
                  </a:cubicBezTo>
                  <a:cubicBezTo>
                    <a:pt x="0" y="0"/>
                    <a:pt x="1" y="1"/>
                    <a:pt x="1" y="1"/>
                  </a:cubicBezTo>
                  <a:cubicBezTo>
                    <a:pt x="2" y="1"/>
                    <a:pt x="3" y="1"/>
                    <a:pt x="4"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51" name="Freeform 45">
              <a:extLst>
                <a:ext uri="{FF2B5EF4-FFF2-40B4-BE49-F238E27FC236}">
                  <a16:creationId xmlns:a16="http://schemas.microsoft.com/office/drawing/2014/main" id="{C2A79410-D16C-88A0-2DB9-9E88F8122675}"/>
                </a:ext>
              </a:extLst>
            </p:cNvPr>
            <p:cNvSpPr>
              <a:spLocks/>
            </p:cNvSpPr>
            <p:nvPr/>
          </p:nvSpPr>
          <p:spPr bwMode="auto">
            <a:xfrm>
              <a:off x="5759" y="3027"/>
              <a:ext cx="61" cy="62"/>
            </a:xfrm>
            <a:custGeom>
              <a:avLst/>
              <a:gdLst>
                <a:gd name="T0" fmla="*/ 6 w 6"/>
                <a:gd name="T1" fmla="*/ 4 h 6"/>
                <a:gd name="T2" fmla="*/ 4 w 6"/>
                <a:gd name="T3" fmla="*/ 3 h 6"/>
                <a:gd name="T4" fmla="*/ 2 w 6"/>
                <a:gd name="T5" fmla="*/ 1 h 6"/>
                <a:gd name="T6" fmla="*/ 1 w 6"/>
                <a:gd name="T7" fmla="*/ 0 h 6"/>
                <a:gd name="T8" fmla="*/ 1 w 6"/>
                <a:gd name="T9" fmla="*/ 1 h 6"/>
                <a:gd name="T10" fmla="*/ 1 w 6"/>
                <a:gd name="T11" fmla="*/ 3 h 6"/>
                <a:gd name="T12" fmla="*/ 0 w 6"/>
                <a:gd name="T13" fmla="*/ 4 h 6"/>
                <a:gd name="T14" fmla="*/ 1 w 6"/>
                <a:gd name="T15" fmla="*/ 6 h 6"/>
                <a:gd name="T16" fmla="*/ 2 w 6"/>
                <a:gd name="T17" fmla="*/ 6 h 6"/>
                <a:gd name="T18" fmla="*/ 3 w 6"/>
                <a:gd name="T19" fmla="*/ 6 h 6"/>
                <a:gd name="T20" fmla="*/ 3 w 6"/>
                <a:gd name="T21" fmla="*/ 6 h 6"/>
                <a:gd name="T22" fmla="*/ 5 w 6"/>
                <a:gd name="T23" fmla="*/ 5 h 6"/>
                <a:gd name="T24" fmla="*/ 5 w 6"/>
                <a:gd name="T25" fmla="*/ 4 h 6"/>
                <a:gd name="T26" fmla="*/ 6 w 6"/>
                <a:gd name="T2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6">
                  <a:moveTo>
                    <a:pt x="6" y="4"/>
                  </a:moveTo>
                  <a:cubicBezTo>
                    <a:pt x="5" y="3"/>
                    <a:pt x="4" y="3"/>
                    <a:pt x="4" y="3"/>
                  </a:cubicBezTo>
                  <a:cubicBezTo>
                    <a:pt x="3" y="2"/>
                    <a:pt x="2" y="2"/>
                    <a:pt x="2" y="1"/>
                  </a:cubicBezTo>
                  <a:cubicBezTo>
                    <a:pt x="2" y="1"/>
                    <a:pt x="2" y="0"/>
                    <a:pt x="1" y="0"/>
                  </a:cubicBezTo>
                  <a:cubicBezTo>
                    <a:pt x="1" y="0"/>
                    <a:pt x="1" y="1"/>
                    <a:pt x="1" y="1"/>
                  </a:cubicBezTo>
                  <a:cubicBezTo>
                    <a:pt x="1" y="2"/>
                    <a:pt x="1" y="2"/>
                    <a:pt x="1" y="3"/>
                  </a:cubicBezTo>
                  <a:cubicBezTo>
                    <a:pt x="0" y="3"/>
                    <a:pt x="1" y="4"/>
                    <a:pt x="0" y="4"/>
                  </a:cubicBezTo>
                  <a:cubicBezTo>
                    <a:pt x="0" y="5"/>
                    <a:pt x="1" y="5"/>
                    <a:pt x="1" y="6"/>
                  </a:cubicBezTo>
                  <a:cubicBezTo>
                    <a:pt x="1" y="6"/>
                    <a:pt x="2" y="6"/>
                    <a:pt x="2" y="6"/>
                  </a:cubicBezTo>
                  <a:cubicBezTo>
                    <a:pt x="2" y="5"/>
                    <a:pt x="3" y="6"/>
                    <a:pt x="3" y="6"/>
                  </a:cubicBezTo>
                  <a:cubicBezTo>
                    <a:pt x="3" y="6"/>
                    <a:pt x="3" y="6"/>
                    <a:pt x="3" y="6"/>
                  </a:cubicBezTo>
                  <a:cubicBezTo>
                    <a:pt x="3" y="6"/>
                    <a:pt x="4" y="5"/>
                    <a:pt x="5" y="5"/>
                  </a:cubicBezTo>
                  <a:cubicBezTo>
                    <a:pt x="5" y="5"/>
                    <a:pt x="5" y="5"/>
                    <a:pt x="5" y="4"/>
                  </a:cubicBezTo>
                  <a:cubicBezTo>
                    <a:pt x="5" y="4"/>
                    <a:pt x="6" y="4"/>
                    <a:pt x="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52" name="Freeform 46">
              <a:extLst>
                <a:ext uri="{FF2B5EF4-FFF2-40B4-BE49-F238E27FC236}">
                  <a16:creationId xmlns:a16="http://schemas.microsoft.com/office/drawing/2014/main" id="{0BB5D79E-1521-D9F8-22A4-8E6BE208FACB}"/>
                </a:ext>
              </a:extLst>
            </p:cNvPr>
            <p:cNvSpPr>
              <a:spLocks/>
            </p:cNvSpPr>
            <p:nvPr/>
          </p:nvSpPr>
          <p:spPr bwMode="auto">
            <a:xfrm>
              <a:off x="2242" y="1724"/>
              <a:ext cx="113" cy="52"/>
            </a:xfrm>
            <a:custGeom>
              <a:avLst/>
              <a:gdLst>
                <a:gd name="T0" fmla="*/ 2 w 11"/>
                <a:gd name="T1" fmla="*/ 4 h 5"/>
                <a:gd name="T2" fmla="*/ 5 w 11"/>
                <a:gd name="T3" fmla="*/ 3 h 5"/>
                <a:gd name="T4" fmla="*/ 5 w 11"/>
                <a:gd name="T5" fmla="*/ 3 h 5"/>
                <a:gd name="T6" fmla="*/ 6 w 11"/>
                <a:gd name="T7" fmla="*/ 3 h 5"/>
                <a:gd name="T8" fmla="*/ 8 w 11"/>
                <a:gd name="T9" fmla="*/ 2 h 5"/>
                <a:gd name="T10" fmla="*/ 10 w 11"/>
                <a:gd name="T11" fmla="*/ 1 h 5"/>
                <a:gd name="T12" fmla="*/ 11 w 11"/>
                <a:gd name="T13" fmla="*/ 1 h 5"/>
                <a:gd name="T14" fmla="*/ 10 w 11"/>
                <a:gd name="T15" fmla="*/ 0 h 5"/>
                <a:gd name="T16" fmla="*/ 9 w 11"/>
                <a:gd name="T17" fmla="*/ 0 h 5"/>
                <a:gd name="T18" fmla="*/ 6 w 11"/>
                <a:gd name="T19" fmla="*/ 0 h 5"/>
                <a:gd name="T20" fmla="*/ 4 w 11"/>
                <a:gd name="T21" fmla="*/ 1 h 5"/>
                <a:gd name="T22" fmla="*/ 4 w 11"/>
                <a:gd name="T23" fmla="*/ 1 h 5"/>
                <a:gd name="T24" fmla="*/ 2 w 11"/>
                <a:gd name="T25" fmla="*/ 2 h 5"/>
                <a:gd name="T26" fmla="*/ 4 w 11"/>
                <a:gd name="T27" fmla="*/ 3 h 5"/>
                <a:gd name="T28" fmla="*/ 0 w 11"/>
                <a:gd name="T29" fmla="*/ 4 h 5"/>
                <a:gd name="T30" fmla="*/ 2 w 11"/>
                <a:gd name="T3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5">
                  <a:moveTo>
                    <a:pt x="2" y="4"/>
                  </a:moveTo>
                  <a:cubicBezTo>
                    <a:pt x="3" y="4"/>
                    <a:pt x="4" y="4"/>
                    <a:pt x="5" y="3"/>
                  </a:cubicBezTo>
                  <a:cubicBezTo>
                    <a:pt x="5" y="3"/>
                    <a:pt x="5" y="3"/>
                    <a:pt x="5" y="3"/>
                  </a:cubicBezTo>
                  <a:cubicBezTo>
                    <a:pt x="6" y="4"/>
                    <a:pt x="6" y="4"/>
                    <a:pt x="6" y="3"/>
                  </a:cubicBezTo>
                  <a:cubicBezTo>
                    <a:pt x="7" y="3"/>
                    <a:pt x="7" y="2"/>
                    <a:pt x="8" y="2"/>
                  </a:cubicBezTo>
                  <a:cubicBezTo>
                    <a:pt x="9" y="2"/>
                    <a:pt x="10" y="1"/>
                    <a:pt x="10" y="1"/>
                  </a:cubicBezTo>
                  <a:cubicBezTo>
                    <a:pt x="11" y="1"/>
                    <a:pt x="11" y="1"/>
                    <a:pt x="11" y="1"/>
                  </a:cubicBezTo>
                  <a:cubicBezTo>
                    <a:pt x="11" y="0"/>
                    <a:pt x="11" y="0"/>
                    <a:pt x="10" y="0"/>
                  </a:cubicBezTo>
                  <a:cubicBezTo>
                    <a:pt x="10" y="0"/>
                    <a:pt x="9" y="0"/>
                    <a:pt x="9" y="0"/>
                  </a:cubicBezTo>
                  <a:cubicBezTo>
                    <a:pt x="8" y="0"/>
                    <a:pt x="7" y="0"/>
                    <a:pt x="6" y="0"/>
                  </a:cubicBezTo>
                  <a:cubicBezTo>
                    <a:pt x="6" y="0"/>
                    <a:pt x="5" y="0"/>
                    <a:pt x="4" y="1"/>
                  </a:cubicBezTo>
                  <a:cubicBezTo>
                    <a:pt x="4" y="1"/>
                    <a:pt x="4" y="1"/>
                    <a:pt x="4" y="1"/>
                  </a:cubicBezTo>
                  <a:cubicBezTo>
                    <a:pt x="3" y="1"/>
                    <a:pt x="2" y="2"/>
                    <a:pt x="2" y="2"/>
                  </a:cubicBezTo>
                  <a:cubicBezTo>
                    <a:pt x="2" y="2"/>
                    <a:pt x="3" y="3"/>
                    <a:pt x="4" y="3"/>
                  </a:cubicBezTo>
                  <a:cubicBezTo>
                    <a:pt x="3" y="4"/>
                    <a:pt x="2" y="4"/>
                    <a:pt x="0" y="4"/>
                  </a:cubicBezTo>
                  <a:cubicBezTo>
                    <a:pt x="1" y="5"/>
                    <a:pt x="1" y="5"/>
                    <a:pt x="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53" name="Freeform 47">
              <a:extLst>
                <a:ext uri="{FF2B5EF4-FFF2-40B4-BE49-F238E27FC236}">
                  <a16:creationId xmlns:a16="http://schemas.microsoft.com/office/drawing/2014/main" id="{7F48B6EA-FE56-24A0-E501-A5ADF67489E4}"/>
                </a:ext>
              </a:extLst>
            </p:cNvPr>
            <p:cNvSpPr>
              <a:spLocks/>
            </p:cNvSpPr>
            <p:nvPr/>
          </p:nvSpPr>
          <p:spPr bwMode="auto">
            <a:xfrm>
              <a:off x="888" y="1394"/>
              <a:ext cx="134" cy="113"/>
            </a:xfrm>
            <a:custGeom>
              <a:avLst/>
              <a:gdLst>
                <a:gd name="T0" fmla="*/ 3 w 13"/>
                <a:gd name="T1" fmla="*/ 9 h 11"/>
                <a:gd name="T2" fmla="*/ 5 w 13"/>
                <a:gd name="T3" fmla="*/ 8 h 11"/>
                <a:gd name="T4" fmla="*/ 6 w 13"/>
                <a:gd name="T5" fmla="*/ 6 h 11"/>
                <a:gd name="T6" fmla="*/ 7 w 13"/>
                <a:gd name="T7" fmla="*/ 5 h 11"/>
                <a:gd name="T8" fmla="*/ 9 w 13"/>
                <a:gd name="T9" fmla="*/ 4 h 11"/>
                <a:gd name="T10" fmla="*/ 9 w 13"/>
                <a:gd name="T11" fmla="*/ 4 h 11"/>
                <a:gd name="T12" fmla="*/ 12 w 13"/>
                <a:gd name="T13" fmla="*/ 2 h 11"/>
                <a:gd name="T14" fmla="*/ 12 w 13"/>
                <a:gd name="T15" fmla="*/ 1 h 11"/>
                <a:gd name="T16" fmla="*/ 12 w 13"/>
                <a:gd name="T17" fmla="*/ 1 h 11"/>
                <a:gd name="T18" fmla="*/ 13 w 13"/>
                <a:gd name="T19" fmla="*/ 0 h 11"/>
                <a:gd name="T20" fmla="*/ 11 w 13"/>
                <a:gd name="T21" fmla="*/ 0 h 11"/>
                <a:gd name="T22" fmla="*/ 10 w 13"/>
                <a:gd name="T23" fmla="*/ 1 h 11"/>
                <a:gd name="T24" fmla="*/ 10 w 13"/>
                <a:gd name="T25" fmla="*/ 2 h 11"/>
                <a:gd name="T26" fmla="*/ 8 w 13"/>
                <a:gd name="T27" fmla="*/ 3 h 11"/>
                <a:gd name="T28" fmla="*/ 5 w 13"/>
                <a:gd name="T29" fmla="*/ 6 h 11"/>
                <a:gd name="T30" fmla="*/ 0 w 13"/>
                <a:gd name="T31" fmla="*/ 10 h 11"/>
                <a:gd name="T32" fmla="*/ 0 w 13"/>
                <a:gd name="T33" fmla="*/ 11 h 11"/>
                <a:gd name="T34" fmla="*/ 1 w 13"/>
                <a:gd name="T35" fmla="*/ 11 h 11"/>
                <a:gd name="T36" fmla="*/ 3 w 13"/>
                <a:gd name="T37"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11">
                  <a:moveTo>
                    <a:pt x="3" y="9"/>
                  </a:moveTo>
                  <a:cubicBezTo>
                    <a:pt x="3" y="8"/>
                    <a:pt x="4" y="8"/>
                    <a:pt x="5" y="8"/>
                  </a:cubicBezTo>
                  <a:cubicBezTo>
                    <a:pt x="6" y="7"/>
                    <a:pt x="6" y="7"/>
                    <a:pt x="6" y="6"/>
                  </a:cubicBezTo>
                  <a:cubicBezTo>
                    <a:pt x="7" y="6"/>
                    <a:pt x="7" y="5"/>
                    <a:pt x="7" y="5"/>
                  </a:cubicBezTo>
                  <a:cubicBezTo>
                    <a:pt x="8" y="4"/>
                    <a:pt x="8" y="4"/>
                    <a:pt x="9" y="4"/>
                  </a:cubicBezTo>
                  <a:cubicBezTo>
                    <a:pt x="9" y="4"/>
                    <a:pt x="9" y="4"/>
                    <a:pt x="9" y="4"/>
                  </a:cubicBezTo>
                  <a:cubicBezTo>
                    <a:pt x="11" y="3"/>
                    <a:pt x="11" y="2"/>
                    <a:pt x="12" y="2"/>
                  </a:cubicBezTo>
                  <a:cubicBezTo>
                    <a:pt x="12" y="1"/>
                    <a:pt x="13" y="1"/>
                    <a:pt x="12" y="1"/>
                  </a:cubicBezTo>
                  <a:cubicBezTo>
                    <a:pt x="12" y="1"/>
                    <a:pt x="12" y="1"/>
                    <a:pt x="12" y="1"/>
                  </a:cubicBezTo>
                  <a:cubicBezTo>
                    <a:pt x="12" y="0"/>
                    <a:pt x="13" y="0"/>
                    <a:pt x="13" y="0"/>
                  </a:cubicBezTo>
                  <a:cubicBezTo>
                    <a:pt x="12" y="0"/>
                    <a:pt x="12" y="0"/>
                    <a:pt x="11" y="0"/>
                  </a:cubicBezTo>
                  <a:cubicBezTo>
                    <a:pt x="11" y="1"/>
                    <a:pt x="10" y="1"/>
                    <a:pt x="10" y="1"/>
                  </a:cubicBezTo>
                  <a:cubicBezTo>
                    <a:pt x="10" y="1"/>
                    <a:pt x="10" y="2"/>
                    <a:pt x="10" y="2"/>
                  </a:cubicBezTo>
                  <a:cubicBezTo>
                    <a:pt x="9" y="2"/>
                    <a:pt x="9" y="2"/>
                    <a:pt x="8" y="3"/>
                  </a:cubicBezTo>
                  <a:cubicBezTo>
                    <a:pt x="7" y="4"/>
                    <a:pt x="6" y="4"/>
                    <a:pt x="5" y="6"/>
                  </a:cubicBezTo>
                  <a:cubicBezTo>
                    <a:pt x="3" y="7"/>
                    <a:pt x="2" y="9"/>
                    <a:pt x="0" y="10"/>
                  </a:cubicBezTo>
                  <a:cubicBezTo>
                    <a:pt x="0" y="10"/>
                    <a:pt x="0" y="11"/>
                    <a:pt x="0" y="11"/>
                  </a:cubicBezTo>
                  <a:cubicBezTo>
                    <a:pt x="0" y="11"/>
                    <a:pt x="1" y="11"/>
                    <a:pt x="1" y="11"/>
                  </a:cubicBezTo>
                  <a:cubicBezTo>
                    <a:pt x="1" y="10"/>
                    <a:pt x="2" y="10"/>
                    <a:pt x="3"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54" name="Freeform 48">
              <a:extLst>
                <a:ext uri="{FF2B5EF4-FFF2-40B4-BE49-F238E27FC236}">
                  <a16:creationId xmlns:a16="http://schemas.microsoft.com/office/drawing/2014/main" id="{6ECE75C7-F3E8-3476-5174-4255AFF92428}"/>
                </a:ext>
              </a:extLst>
            </p:cNvPr>
            <p:cNvSpPr>
              <a:spLocks/>
            </p:cNvSpPr>
            <p:nvPr/>
          </p:nvSpPr>
          <p:spPr bwMode="auto">
            <a:xfrm>
              <a:off x="1288" y="1177"/>
              <a:ext cx="123" cy="72"/>
            </a:xfrm>
            <a:custGeom>
              <a:avLst/>
              <a:gdLst>
                <a:gd name="T0" fmla="*/ 7 w 12"/>
                <a:gd name="T1" fmla="*/ 2 h 7"/>
                <a:gd name="T2" fmla="*/ 4 w 12"/>
                <a:gd name="T3" fmla="*/ 3 h 7"/>
                <a:gd name="T4" fmla="*/ 5 w 12"/>
                <a:gd name="T5" fmla="*/ 3 h 7"/>
                <a:gd name="T6" fmla="*/ 6 w 12"/>
                <a:gd name="T7" fmla="*/ 3 h 7"/>
                <a:gd name="T8" fmla="*/ 3 w 12"/>
                <a:gd name="T9" fmla="*/ 4 h 7"/>
                <a:gd name="T10" fmla="*/ 2 w 12"/>
                <a:gd name="T11" fmla="*/ 5 h 7"/>
                <a:gd name="T12" fmla="*/ 3 w 12"/>
                <a:gd name="T13" fmla="*/ 5 h 7"/>
                <a:gd name="T14" fmla="*/ 0 w 12"/>
                <a:gd name="T15" fmla="*/ 7 h 7"/>
                <a:gd name="T16" fmla="*/ 3 w 12"/>
                <a:gd name="T17" fmla="*/ 6 h 7"/>
                <a:gd name="T18" fmla="*/ 6 w 12"/>
                <a:gd name="T19" fmla="*/ 4 h 7"/>
                <a:gd name="T20" fmla="*/ 7 w 12"/>
                <a:gd name="T21" fmla="*/ 4 h 7"/>
                <a:gd name="T22" fmla="*/ 6 w 12"/>
                <a:gd name="T23" fmla="*/ 4 h 7"/>
                <a:gd name="T24" fmla="*/ 6 w 12"/>
                <a:gd name="T25" fmla="*/ 5 h 7"/>
                <a:gd name="T26" fmla="*/ 10 w 12"/>
                <a:gd name="T27" fmla="*/ 3 h 7"/>
                <a:gd name="T28" fmla="*/ 11 w 12"/>
                <a:gd name="T29" fmla="*/ 1 h 7"/>
                <a:gd name="T30" fmla="*/ 12 w 12"/>
                <a:gd name="T31" fmla="*/ 1 h 7"/>
                <a:gd name="T32" fmla="*/ 11 w 12"/>
                <a:gd name="T33" fmla="*/ 1 h 7"/>
                <a:gd name="T34" fmla="*/ 10 w 12"/>
                <a:gd name="T35" fmla="*/ 0 h 7"/>
                <a:gd name="T36" fmla="*/ 8 w 12"/>
                <a:gd name="T37" fmla="*/ 1 h 7"/>
                <a:gd name="T38" fmla="*/ 7 w 12"/>
                <a:gd name="T39"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 h="7">
                  <a:moveTo>
                    <a:pt x="7" y="2"/>
                  </a:moveTo>
                  <a:cubicBezTo>
                    <a:pt x="6" y="2"/>
                    <a:pt x="5" y="3"/>
                    <a:pt x="4" y="3"/>
                  </a:cubicBezTo>
                  <a:cubicBezTo>
                    <a:pt x="5" y="3"/>
                    <a:pt x="5" y="3"/>
                    <a:pt x="5" y="3"/>
                  </a:cubicBezTo>
                  <a:cubicBezTo>
                    <a:pt x="6" y="3"/>
                    <a:pt x="6" y="3"/>
                    <a:pt x="6" y="3"/>
                  </a:cubicBezTo>
                  <a:cubicBezTo>
                    <a:pt x="5" y="4"/>
                    <a:pt x="4" y="4"/>
                    <a:pt x="3" y="4"/>
                  </a:cubicBezTo>
                  <a:cubicBezTo>
                    <a:pt x="3" y="4"/>
                    <a:pt x="2" y="5"/>
                    <a:pt x="2" y="5"/>
                  </a:cubicBezTo>
                  <a:cubicBezTo>
                    <a:pt x="2" y="5"/>
                    <a:pt x="2" y="5"/>
                    <a:pt x="3" y="5"/>
                  </a:cubicBezTo>
                  <a:cubicBezTo>
                    <a:pt x="2" y="6"/>
                    <a:pt x="1" y="6"/>
                    <a:pt x="0" y="7"/>
                  </a:cubicBezTo>
                  <a:cubicBezTo>
                    <a:pt x="1" y="7"/>
                    <a:pt x="2" y="7"/>
                    <a:pt x="3" y="6"/>
                  </a:cubicBezTo>
                  <a:cubicBezTo>
                    <a:pt x="4" y="5"/>
                    <a:pt x="5" y="5"/>
                    <a:pt x="6" y="4"/>
                  </a:cubicBezTo>
                  <a:cubicBezTo>
                    <a:pt x="6" y="4"/>
                    <a:pt x="6" y="4"/>
                    <a:pt x="7" y="4"/>
                  </a:cubicBezTo>
                  <a:cubicBezTo>
                    <a:pt x="6" y="4"/>
                    <a:pt x="6" y="4"/>
                    <a:pt x="6" y="4"/>
                  </a:cubicBezTo>
                  <a:cubicBezTo>
                    <a:pt x="6" y="5"/>
                    <a:pt x="6" y="5"/>
                    <a:pt x="6" y="5"/>
                  </a:cubicBezTo>
                  <a:cubicBezTo>
                    <a:pt x="8" y="4"/>
                    <a:pt x="9" y="4"/>
                    <a:pt x="10" y="3"/>
                  </a:cubicBezTo>
                  <a:cubicBezTo>
                    <a:pt x="11" y="2"/>
                    <a:pt x="11" y="2"/>
                    <a:pt x="11" y="1"/>
                  </a:cubicBezTo>
                  <a:cubicBezTo>
                    <a:pt x="11" y="1"/>
                    <a:pt x="12" y="1"/>
                    <a:pt x="12" y="1"/>
                  </a:cubicBezTo>
                  <a:cubicBezTo>
                    <a:pt x="12" y="1"/>
                    <a:pt x="11" y="1"/>
                    <a:pt x="11" y="1"/>
                  </a:cubicBezTo>
                  <a:cubicBezTo>
                    <a:pt x="11" y="0"/>
                    <a:pt x="11" y="0"/>
                    <a:pt x="10" y="0"/>
                  </a:cubicBezTo>
                  <a:cubicBezTo>
                    <a:pt x="9" y="0"/>
                    <a:pt x="9" y="1"/>
                    <a:pt x="8" y="1"/>
                  </a:cubicBezTo>
                  <a:cubicBezTo>
                    <a:pt x="8" y="1"/>
                    <a:pt x="7" y="2"/>
                    <a:pt x="7"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55" name="Freeform 49">
              <a:extLst>
                <a:ext uri="{FF2B5EF4-FFF2-40B4-BE49-F238E27FC236}">
                  <a16:creationId xmlns:a16="http://schemas.microsoft.com/office/drawing/2014/main" id="{1C90D619-2EA1-C255-5530-4E2487F8D1EA}"/>
                </a:ext>
              </a:extLst>
            </p:cNvPr>
            <p:cNvSpPr>
              <a:spLocks/>
            </p:cNvSpPr>
            <p:nvPr/>
          </p:nvSpPr>
          <p:spPr bwMode="auto">
            <a:xfrm>
              <a:off x="5123" y="1817"/>
              <a:ext cx="41" cy="62"/>
            </a:xfrm>
            <a:custGeom>
              <a:avLst/>
              <a:gdLst>
                <a:gd name="T0" fmla="*/ 3 w 4"/>
                <a:gd name="T1" fmla="*/ 0 h 6"/>
                <a:gd name="T2" fmla="*/ 2 w 4"/>
                <a:gd name="T3" fmla="*/ 0 h 6"/>
                <a:gd name="T4" fmla="*/ 2 w 4"/>
                <a:gd name="T5" fmla="*/ 0 h 6"/>
                <a:gd name="T6" fmla="*/ 0 w 4"/>
                <a:gd name="T7" fmla="*/ 3 h 6"/>
                <a:gd name="T8" fmla="*/ 0 w 4"/>
                <a:gd name="T9" fmla="*/ 5 h 6"/>
                <a:gd name="T10" fmla="*/ 1 w 4"/>
                <a:gd name="T11" fmla="*/ 5 h 6"/>
                <a:gd name="T12" fmla="*/ 4 w 4"/>
                <a:gd name="T13" fmla="*/ 5 h 6"/>
                <a:gd name="T14" fmla="*/ 3 w 4"/>
                <a:gd name="T15" fmla="*/ 1 h 6"/>
                <a:gd name="T16" fmla="*/ 3 w 4"/>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3" y="0"/>
                  </a:moveTo>
                  <a:cubicBezTo>
                    <a:pt x="3" y="0"/>
                    <a:pt x="2" y="0"/>
                    <a:pt x="2" y="0"/>
                  </a:cubicBezTo>
                  <a:cubicBezTo>
                    <a:pt x="2" y="0"/>
                    <a:pt x="2" y="0"/>
                    <a:pt x="2" y="0"/>
                  </a:cubicBezTo>
                  <a:cubicBezTo>
                    <a:pt x="1" y="1"/>
                    <a:pt x="1" y="2"/>
                    <a:pt x="0" y="3"/>
                  </a:cubicBezTo>
                  <a:cubicBezTo>
                    <a:pt x="0" y="3"/>
                    <a:pt x="0" y="4"/>
                    <a:pt x="0" y="5"/>
                  </a:cubicBezTo>
                  <a:cubicBezTo>
                    <a:pt x="0" y="5"/>
                    <a:pt x="1" y="5"/>
                    <a:pt x="1" y="5"/>
                  </a:cubicBezTo>
                  <a:cubicBezTo>
                    <a:pt x="2" y="6"/>
                    <a:pt x="3" y="5"/>
                    <a:pt x="4" y="5"/>
                  </a:cubicBezTo>
                  <a:cubicBezTo>
                    <a:pt x="4" y="4"/>
                    <a:pt x="4" y="3"/>
                    <a:pt x="3" y="1"/>
                  </a:cubicBezTo>
                  <a:cubicBezTo>
                    <a:pt x="3" y="1"/>
                    <a:pt x="3" y="0"/>
                    <a:pt x="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56" name="Freeform 50">
              <a:extLst>
                <a:ext uri="{FF2B5EF4-FFF2-40B4-BE49-F238E27FC236}">
                  <a16:creationId xmlns:a16="http://schemas.microsoft.com/office/drawing/2014/main" id="{28D8D565-9739-0E73-C4E8-4C8FC9C6F757}"/>
                </a:ext>
              </a:extLst>
            </p:cNvPr>
            <p:cNvSpPr>
              <a:spLocks/>
            </p:cNvSpPr>
            <p:nvPr/>
          </p:nvSpPr>
          <p:spPr bwMode="auto">
            <a:xfrm>
              <a:off x="5923" y="970"/>
              <a:ext cx="133" cy="62"/>
            </a:xfrm>
            <a:custGeom>
              <a:avLst/>
              <a:gdLst>
                <a:gd name="T0" fmla="*/ 2 w 13"/>
                <a:gd name="T1" fmla="*/ 1 h 6"/>
                <a:gd name="T2" fmla="*/ 4 w 13"/>
                <a:gd name="T3" fmla="*/ 2 h 6"/>
                <a:gd name="T4" fmla="*/ 12 w 13"/>
                <a:gd name="T5" fmla="*/ 5 h 6"/>
                <a:gd name="T6" fmla="*/ 13 w 13"/>
                <a:gd name="T7" fmla="*/ 5 h 6"/>
                <a:gd name="T8" fmla="*/ 12 w 13"/>
                <a:gd name="T9" fmla="*/ 5 h 6"/>
                <a:gd name="T10" fmla="*/ 11 w 13"/>
                <a:gd name="T11" fmla="*/ 4 h 6"/>
                <a:gd name="T12" fmla="*/ 9 w 13"/>
                <a:gd name="T13" fmla="*/ 3 h 6"/>
                <a:gd name="T14" fmla="*/ 8 w 13"/>
                <a:gd name="T15" fmla="*/ 2 h 6"/>
                <a:gd name="T16" fmla="*/ 7 w 13"/>
                <a:gd name="T17" fmla="*/ 1 h 6"/>
                <a:gd name="T18" fmla="*/ 5 w 13"/>
                <a:gd name="T19" fmla="*/ 1 h 6"/>
                <a:gd name="T20" fmla="*/ 5 w 13"/>
                <a:gd name="T21" fmla="*/ 0 h 6"/>
                <a:gd name="T22" fmla="*/ 0 w 13"/>
                <a:gd name="T23" fmla="*/ 0 h 6"/>
                <a:gd name="T24" fmla="*/ 2 w 13"/>
                <a:gd name="T2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6">
                  <a:moveTo>
                    <a:pt x="2" y="1"/>
                  </a:moveTo>
                  <a:cubicBezTo>
                    <a:pt x="2" y="1"/>
                    <a:pt x="3" y="2"/>
                    <a:pt x="4" y="2"/>
                  </a:cubicBezTo>
                  <a:cubicBezTo>
                    <a:pt x="6" y="3"/>
                    <a:pt x="9" y="4"/>
                    <a:pt x="12" y="5"/>
                  </a:cubicBezTo>
                  <a:cubicBezTo>
                    <a:pt x="12" y="5"/>
                    <a:pt x="13" y="6"/>
                    <a:pt x="13" y="5"/>
                  </a:cubicBezTo>
                  <a:cubicBezTo>
                    <a:pt x="13" y="5"/>
                    <a:pt x="13" y="5"/>
                    <a:pt x="12" y="5"/>
                  </a:cubicBezTo>
                  <a:cubicBezTo>
                    <a:pt x="12" y="4"/>
                    <a:pt x="12" y="4"/>
                    <a:pt x="11" y="4"/>
                  </a:cubicBezTo>
                  <a:cubicBezTo>
                    <a:pt x="11" y="4"/>
                    <a:pt x="10" y="3"/>
                    <a:pt x="9" y="3"/>
                  </a:cubicBezTo>
                  <a:cubicBezTo>
                    <a:pt x="8" y="2"/>
                    <a:pt x="8" y="2"/>
                    <a:pt x="8" y="2"/>
                  </a:cubicBezTo>
                  <a:cubicBezTo>
                    <a:pt x="8" y="2"/>
                    <a:pt x="7" y="1"/>
                    <a:pt x="7" y="1"/>
                  </a:cubicBezTo>
                  <a:cubicBezTo>
                    <a:pt x="7" y="1"/>
                    <a:pt x="6" y="1"/>
                    <a:pt x="5" y="1"/>
                  </a:cubicBezTo>
                  <a:cubicBezTo>
                    <a:pt x="5" y="1"/>
                    <a:pt x="5" y="0"/>
                    <a:pt x="5" y="0"/>
                  </a:cubicBezTo>
                  <a:cubicBezTo>
                    <a:pt x="3" y="0"/>
                    <a:pt x="1" y="0"/>
                    <a:pt x="0" y="0"/>
                  </a:cubicBezTo>
                  <a:cubicBezTo>
                    <a:pt x="0" y="1"/>
                    <a:pt x="1" y="1"/>
                    <a:pt x="2"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57" name="Freeform 51">
              <a:extLst>
                <a:ext uri="{FF2B5EF4-FFF2-40B4-BE49-F238E27FC236}">
                  <a16:creationId xmlns:a16="http://schemas.microsoft.com/office/drawing/2014/main" id="{FB23C515-4A46-3F43-BBE5-AC046C4397D5}"/>
                </a:ext>
              </a:extLst>
            </p:cNvPr>
            <p:cNvSpPr>
              <a:spLocks/>
            </p:cNvSpPr>
            <p:nvPr/>
          </p:nvSpPr>
          <p:spPr bwMode="auto">
            <a:xfrm>
              <a:off x="1206" y="1166"/>
              <a:ext cx="154" cy="73"/>
            </a:xfrm>
            <a:custGeom>
              <a:avLst/>
              <a:gdLst>
                <a:gd name="T0" fmla="*/ 1 w 15"/>
                <a:gd name="T1" fmla="*/ 7 h 7"/>
                <a:gd name="T2" fmla="*/ 5 w 15"/>
                <a:gd name="T3" fmla="*/ 5 h 7"/>
                <a:gd name="T4" fmla="*/ 2 w 15"/>
                <a:gd name="T5" fmla="*/ 7 h 7"/>
                <a:gd name="T6" fmla="*/ 5 w 15"/>
                <a:gd name="T7" fmla="*/ 5 h 7"/>
                <a:gd name="T8" fmla="*/ 6 w 15"/>
                <a:gd name="T9" fmla="*/ 5 h 7"/>
                <a:gd name="T10" fmla="*/ 8 w 15"/>
                <a:gd name="T11" fmla="*/ 4 h 7"/>
                <a:gd name="T12" fmla="*/ 10 w 15"/>
                <a:gd name="T13" fmla="*/ 3 h 7"/>
                <a:gd name="T14" fmla="*/ 11 w 15"/>
                <a:gd name="T15" fmla="*/ 2 h 7"/>
                <a:gd name="T16" fmla="*/ 13 w 15"/>
                <a:gd name="T17" fmla="*/ 2 h 7"/>
                <a:gd name="T18" fmla="*/ 15 w 15"/>
                <a:gd name="T19" fmla="*/ 0 h 7"/>
                <a:gd name="T20" fmla="*/ 10 w 15"/>
                <a:gd name="T21" fmla="*/ 2 h 7"/>
                <a:gd name="T22" fmla="*/ 9 w 15"/>
                <a:gd name="T23" fmla="*/ 2 h 7"/>
                <a:gd name="T24" fmla="*/ 8 w 15"/>
                <a:gd name="T25" fmla="*/ 2 h 7"/>
                <a:gd name="T26" fmla="*/ 6 w 15"/>
                <a:gd name="T27" fmla="*/ 3 h 7"/>
                <a:gd name="T28" fmla="*/ 5 w 15"/>
                <a:gd name="T29" fmla="*/ 4 h 7"/>
                <a:gd name="T30" fmla="*/ 1 w 15"/>
                <a:gd name="T31" fmla="*/ 6 h 7"/>
                <a:gd name="T32" fmla="*/ 0 w 15"/>
                <a:gd name="T33" fmla="*/ 7 h 7"/>
                <a:gd name="T34" fmla="*/ 1 w 15"/>
                <a:gd name="T3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7">
                  <a:moveTo>
                    <a:pt x="1" y="7"/>
                  </a:moveTo>
                  <a:cubicBezTo>
                    <a:pt x="2" y="6"/>
                    <a:pt x="3" y="5"/>
                    <a:pt x="5" y="5"/>
                  </a:cubicBezTo>
                  <a:cubicBezTo>
                    <a:pt x="4" y="6"/>
                    <a:pt x="3" y="6"/>
                    <a:pt x="2" y="7"/>
                  </a:cubicBezTo>
                  <a:cubicBezTo>
                    <a:pt x="3" y="6"/>
                    <a:pt x="4" y="6"/>
                    <a:pt x="5" y="5"/>
                  </a:cubicBezTo>
                  <a:cubicBezTo>
                    <a:pt x="5" y="5"/>
                    <a:pt x="6" y="5"/>
                    <a:pt x="6" y="5"/>
                  </a:cubicBezTo>
                  <a:cubicBezTo>
                    <a:pt x="7" y="4"/>
                    <a:pt x="8" y="4"/>
                    <a:pt x="8" y="4"/>
                  </a:cubicBezTo>
                  <a:cubicBezTo>
                    <a:pt x="9" y="4"/>
                    <a:pt x="10" y="3"/>
                    <a:pt x="10" y="3"/>
                  </a:cubicBezTo>
                  <a:cubicBezTo>
                    <a:pt x="11" y="3"/>
                    <a:pt x="11" y="2"/>
                    <a:pt x="11" y="2"/>
                  </a:cubicBezTo>
                  <a:cubicBezTo>
                    <a:pt x="12" y="2"/>
                    <a:pt x="13" y="2"/>
                    <a:pt x="13" y="2"/>
                  </a:cubicBezTo>
                  <a:cubicBezTo>
                    <a:pt x="14" y="1"/>
                    <a:pt x="14" y="1"/>
                    <a:pt x="15" y="0"/>
                  </a:cubicBezTo>
                  <a:cubicBezTo>
                    <a:pt x="13" y="1"/>
                    <a:pt x="12" y="1"/>
                    <a:pt x="10" y="2"/>
                  </a:cubicBezTo>
                  <a:cubicBezTo>
                    <a:pt x="10" y="2"/>
                    <a:pt x="9" y="2"/>
                    <a:pt x="9" y="2"/>
                  </a:cubicBezTo>
                  <a:cubicBezTo>
                    <a:pt x="9" y="2"/>
                    <a:pt x="8" y="2"/>
                    <a:pt x="8" y="2"/>
                  </a:cubicBezTo>
                  <a:cubicBezTo>
                    <a:pt x="7" y="3"/>
                    <a:pt x="7" y="3"/>
                    <a:pt x="6" y="3"/>
                  </a:cubicBezTo>
                  <a:cubicBezTo>
                    <a:pt x="6" y="3"/>
                    <a:pt x="5" y="3"/>
                    <a:pt x="5" y="4"/>
                  </a:cubicBezTo>
                  <a:cubicBezTo>
                    <a:pt x="4" y="4"/>
                    <a:pt x="2" y="5"/>
                    <a:pt x="1" y="6"/>
                  </a:cubicBezTo>
                  <a:cubicBezTo>
                    <a:pt x="1" y="6"/>
                    <a:pt x="1" y="7"/>
                    <a:pt x="0" y="7"/>
                  </a:cubicBezTo>
                  <a:cubicBezTo>
                    <a:pt x="1" y="7"/>
                    <a:pt x="1" y="7"/>
                    <a:pt x="1"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58" name="Freeform 52">
              <a:extLst>
                <a:ext uri="{FF2B5EF4-FFF2-40B4-BE49-F238E27FC236}">
                  <a16:creationId xmlns:a16="http://schemas.microsoft.com/office/drawing/2014/main" id="{7D82C23F-3860-6CA3-6AEF-5EF8C5C46DCC}"/>
                </a:ext>
              </a:extLst>
            </p:cNvPr>
            <p:cNvSpPr>
              <a:spLocks/>
            </p:cNvSpPr>
            <p:nvPr/>
          </p:nvSpPr>
          <p:spPr bwMode="auto">
            <a:xfrm>
              <a:off x="5943" y="1921"/>
              <a:ext cx="52" cy="52"/>
            </a:xfrm>
            <a:custGeom>
              <a:avLst/>
              <a:gdLst>
                <a:gd name="T0" fmla="*/ 5 w 5"/>
                <a:gd name="T1" fmla="*/ 2 h 5"/>
                <a:gd name="T2" fmla="*/ 1 w 5"/>
                <a:gd name="T3" fmla="*/ 2 h 5"/>
                <a:gd name="T4" fmla="*/ 0 w 5"/>
                <a:gd name="T5" fmla="*/ 3 h 5"/>
                <a:gd name="T6" fmla="*/ 0 w 5"/>
                <a:gd name="T7" fmla="*/ 5 h 5"/>
                <a:gd name="T8" fmla="*/ 3 w 5"/>
                <a:gd name="T9" fmla="*/ 3 h 5"/>
                <a:gd name="T10" fmla="*/ 5 w 5"/>
                <a:gd name="T11" fmla="*/ 2 h 5"/>
              </a:gdLst>
              <a:ahLst/>
              <a:cxnLst>
                <a:cxn ang="0">
                  <a:pos x="T0" y="T1"/>
                </a:cxn>
                <a:cxn ang="0">
                  <a:pos x="T2" y="T3"/>
                </a:cxn>
                <a:cxn ang="0">
                  <a:pos x="T4" y="T5"/>
                </a:cxn>
                <a:cxn ang="0">
                  <a:pos x="T6" y="T7"/>
                </a:cxn>
                <a:cxn ang="0">
                  <a:pos x="T8" y="T9"/>
                </a:cxn>
                <a:cxn ang="0">
                  <a:pos x="T10" y="T11"/>
                </a:cxn>
              </a:cxnLst>
              <a:rect l="0" t="0" r="r" b="b"/>
              <a:pathLst>
                <a:path w="5" h="5">
                  <a:moveTo>
                    <a:pt x="5" y="2"/>
                  </a:moveTo>
                  <a:cubicBezTo>
                    <a:pt x="3" y="0"/>
                    <a:pt x="2" y="1"/>
                    <a:pt x="1" y="2"/>
                  </a:cubicBezTo>
                  <a:cubicBezTo>
                    <a:pt x="0" y="2"/>
                    <a:pt x="0" y="2"/>
                    <a:pt x="0" y="3"/>
                  </a:cubicBezTo>
                  <a:cubicBezTo>
                    <a:pt x="0" y="3"/>
                    <a:pt x="0" y="4"/>
                    <a:pt x="0" y="5"/>
                  </a:cubicBezTo>
                  <a:cubicBezTo>
                    <a:pt x="1" y="4"/>
                    <a:pt x="3" y="4"/>
                    <a:pt x="3" y="3"/>
                  </a:cubicBezTo>
                  <a:cubicBezTo>
                    <a:pt x="4" y="3"/>
                    <a:pt x="4" y="2"/>
                    <a:pt x="5"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60" name="Freeform 53">
              <a:extLst>
                <a:ext uri="{FF2B5EF4-FFF2-40B4-BE49-F238E27FC236}">
                  <a16:creationId xmlns:a16="http://schemas.microsoft.com/office/drawing/2014/main" id="{DF336107-ECC9-E8FF-2903-E2952DAA6EF5}"/>
                </a:ext>
              </a:extLst>
            </p:cNvPr>
            <p:cNvSpPr>
              <a:spLocks/>
            </p:cNvSpPr>
            <p:nvPr/>
          </p:nvSpPr>
          <p:spPr bwMode="auto">
            <a:xfrm>
              <a:off x="6149" y="2634"/>
              <a:ext cx="71" cy="31"/>
            </a:xfrm>
            <a:custGeom>
              <a:avLst/>
              <a:gdLst>
                <a:gd name="T0" fmla="*/ 4 w 7"/>
                <a:gd name="T1" fmla="*/ 2 h 3"/>
                <a:gd name="T2" fmla="*/ 3 w 7"/>
                <a:gd name="T3" fmla="*/ 2 h 3"/>
                <a:gd name="T4" fmla="*/ 2 w 7"/>
                <a:gd name="T5" fmla="*/ 1 h 3"/>
                <a:gd name="T6" fmla="*/ 1 w 7"/>
                <a:gd name="T7" fmla="*/ 0 h 3"/>
                <a:gd name="T8" fmla="*/ 0 w 7"/>
                <a:gd name="T9" fmla="*/ 0 h 3"/>
                <a:gd name="T10" fmla="*/ 0 w 7"/>
                <a:gd name="T11" fmla="*/ 0 h 3"/>
                <a:gd name="T12" fmla="*/ 2 w 7"/>
                <a:gd name="T13" fmla="*/ 2 h 3"/>
                <a:gd name="T14" fmla="*/ 4 w 7"/>
                <a:gd name="T15" fmla="*/ 3 h 3"/>
                <a:gd name="T16" fmla="*/ 5 w 7"/>
                <a:gd name="T17" fmla="*/ 3 h 3"/>
                <a:gd name="T18" fmla="*/ 6 w 7"/>
                <a:gd name="T19" fmla="*/ 3 h 3"/>
                <a:gd name="T20" fmla="*/ 7 w 7"/>
                <a:gd name="T21" fmla="*/ 3 h 3"/>
                <a:gd name="T22" fmla="*/ 7 w 7"/>
                <a:gd name="T23" fmla="*/ 3 h 3"/>
                <a:gd name="T24" fmla="*/ 7 w 7"/>
                <a:gd name="T25" fmla="*/ 2 h 3"/>
                <a:gd name="T26" fmla="*/ 6 w 7"/>
                <a:gd name="T27" fmla="*/ 2 h 3"/>
                <a:gd name="T28" fmla="*/ 4 w 7"/>
                <a:gd name="T2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3">
                  <a:moveTo>
                    <a:pt x="4" y="2"/>
                  </a:moveTo>
                  <a:cubicBezTo>
                    <a:pt x="4" y="2"/>
                    <a:pt x="4" y="2"/>
                    <a:pt x="3" y="2"/>
                  </a:cubicBezTo>
                  <a:cubicBezTo>
                    <a:pt x="3" y="1"/>
                    <a:pt x="3" y="1"/>
                    <a:pt x="2" y="1"/>
                  </a:cubicBezTo>
                  <a:cubicBezTo>
                    <a:pt x="2" y="1"/>
                    <a:pt x="1" y="0"/>
                    <a:pt x="1" y="0"/>
                  </a:cubicBezTo>
                  <a:cubicBezTo>
                    <a:pt x="1" y="0"/>
                    <a:pt x="0" y="0"/>
                    <a:pt x="0" y="0"/>
                  </a:cubicBezTo>
                  <a:cubicBezTo>
                    <a:pt x="0" y="0"/>
                    <a:pt x="0" y="0"/>
                    <a:pt x="0" y="0"/>
                  </a:cubicBezTo>
                  <a:cubicBezTo>
                    <a:pt x="1" y="1"/>
                    <a:pt x="2" y="2"/>
                    <a:pt x="2" y="2"/>
                  </a:cubicBezTo>
                  <a:cubicBezTo>
                    <a:pt x="3" y="3"/>
                    <a:pt x="4" y="3"/>
                    <a:pt x="4" y="3"/>
                  </a:cubicBezTo>
                  <a:cubicBezTo>
                    <a:pt x="5" y="3"/>
                    <a:pt x="5" y="3"/>
                    <a:pt x="5" y="3"/>
                  </a:cubicBezTo>
                  <a:cubicBezTo>
                    <a:pt x="5" y="3"/>
                    <a:pt x="6" y="3"/>
                    <a:pt x="6" y="3"/>
                  </a:cubicBezTo>
                  <a:cubicBezTo>
                    <a:pt x="6" y="3"/>
                    <a:pt x="6" y="3"/>
                    <a:pt x="7" y="3"/>
                  </a:cubicBezTo>
                  <a:cubicBezTo>
                    <a:pt x="7" y="3"/>
                    <a:pt x="7" y="3"/>
                    <a:pt x="7" y="3"/>
                  </a:cubicBezTo>
                  <a:cubicBezTo>
                    <a:pt x="7" y="2"/>
                    <a:pt x="7" y="2"/>
                    <a:pt x="7" y="2"/>
                  </a:cubicBezTo>
                  <a:cubicBezTo>
                    <a:pt x="6" y="2"/>
                    <a:pt x="6" y="2"/>
                    <a:pt x="6" y="2"/>
                  </a:cubicBezTo>
                  <a:cubicBezTo>
                    <a:pt x="6" y="3"/>
                    <a:pt x="5" y="2"/>
                    <a:pt x="4"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61" name="Freeform 54">
              <a:extLst>
                <a:ext uri="{FF2B5EF4-FFF2-40B4-BE49-F238E27FC236}">
                  <a16:creationId xmlns:a16="http://schemas.microsoft.com/office/drawing/2014/main" id="{9DC86C7C-AF80-2646-41A6-F17802A5AF65}"/>
                </a:ext>
              </a:extLst>
            </p:cNvPr>
            <p:cNvSpPr>
              <a:spLocks/>
            </p:cNvSpPr>
            <p:nvPr/>
          </p:nvSpPr>
          <p:spPr bwMode="auto">
            <a:xfrm>
              <a:off x="5708" y="1890"/>
              <a:ext cx="51" cy="31"/>
            </a:xfrm>
            <a:custGeom>
              <a:avLst/>
              <a:gdLst>
                <a:gd name="T0" fmla="*/ 1 w 5"/>
                <a:gd name="T1" fmla="*/ 2 h 3"/>
                <a:gd name="T2" fmla="*/ 2 w 5"/>
                <a:gd name="T3" fmla="*/ 3 h 3"/>
                <a:gd name="T4" fmla="*/ 5 w 5"/>
                <a:gd name="T5" fmla="*/ 2 h 3"/>
                <a:gd name="T6" fmla="*/ 4 w 5"/>
                <a:gd name="T7" fmla="*/ 1 h 3"/>
                <a:gd name="T8" fmla="*/ 3 w 5"/>
                <a:gd name="T9" fmla="*/ 0 h 3"/>
                <a:gd name="T10" fmla="*/ 2 w 5"/>
                <a:gd name="T11" fmla="*/ 0 h 3"/>
                <a:gd name="T12" fmla="*/ 0 w 5"/>
                <a:gd name="T13" fmla="*/ 1 h 3"/>
                <a:gd name="T14" fmla="*/ 1 w 5"/>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1" y="2"/>
                  </a:moveTo>
                  <a:cubicBezTo>
                    <a:pt x="2" y="3"/>
                    <a:pt x="2" y="2"/>
                    <a:pt x="2" y="3"/>
                  </a:cubicBezTo>
                  <a:cubicBezTo>
                    <a:pt x="3" y="3"/>
                    <a:pt x="4" y="2"/>
                    <a:pt x="5" y="2"/>
                  </a:cubicBezTo>
                  <a:cubicBezTo>
                    <a:pt x="5" y="1"/>
                    <a:pt x="5" y="1"/>
                    <a:pt x="4" y="1"/>
                  </a:cubicBezTo>
                  <a:cubicBezTo>
                    <a:pt x="4" y="0"/>
                    <a:pt x="3" y="1"/>
                    <a:pt x="3" y="0"/>
                  </a:cubicBezTo>
                  <a:cubicBezTo>
                    <a:pt x="3" y="0"/>
                    <a:pt x="2" y="0"/>
                    <a:pt x="2" y="0"/>
                  </a:cubicBezTo>
                  <a:cubicBezTo>
                    <a:pt x="1" y="0"/>
                    <a:pt x="1" y="0"/>
                    <a:pt x="0" y="1"/>
                  </a:cubicBezTo>
                  <a:cubicBezTo>
                    <a:pt x="0" y="1"/>
                    <a:pt x="0" y="1"/>
                    <a:pt x="1"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62" name="Freeform 55">
              <a:extLst>
                <a:ext uri="{FF2B5EF4-FFF2-40B4-BE49-F238E27FC236}">
                  <a16:creationId xmlns:a16="http://schemas.microsoft.com/office/drawing/2014/main" id="{C2F07CAC-286D-2FA9-282A-262DF4040D83}"/>
                </a:ext>
              </a:extLst>
            </p:cNvPr>
            <p:cNvSpPr>
              <a:spLocks/>
            </p:cNvSpPr>
            <p:nvPr/>
          </p:nvSpPr>
          <p:spPr bwMode="auto">
            <a:xfrm>
              <a:off x="3821" y="1104"/>
              <a:ext cx="31" cy="31"/>
            </a:xfrm>
            <a:custGeom>
              <a:avLst/>
              <a:gdLst>
                <a:gd name="T0" fmla="*/ 0 w 3"/>
                <a:gd name="T1" fmla="*/ 2 h 3"/>
                <a:gd name="T2" fmla="*/ 0 w 3"/>
                <a:gd name="T3" fmla="*/ 3 h 3"/>
                <a:gd name="T4" fmla="*/ 0 w 3"/>
                <a:gd name="T5" fmla="*/ 3 h 3"/>
                <a:gd name="T6" fmla="*/ 2 w 3"/>
                <a:gd name="T7" fmla="*/ 2 h 3"/>
                <a:gd name="T8" fmla="*/ 2 w 3"/>
                <a:gd name="T9" fmla="*/ 2 h 3"/>
                <a:gd name="T10" fmla="*/ 2 w 3"/>
                <a:gd name="T11" fmla="*/ 1 h 3"/>
                <a:gd name="T12" fmla="*/ 2 w 3"/>
                <a:gd name="T13" fmla="*/ 0 h 3"/>
                <a:gd name="T14" fmla="*/ 1 w 3"/>
                <a:gd name="T15" fmla="*/ 0 h 3"/>
                <a:gd name="T16" fmla="*/ 0 w 3"/>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0" y="2"/>
                  </a:moveTo>
                  <a:cubicBezTo>
                    <a:pt x="0" y="2"/>
                    <a:pt x="0" y="3"/>
                    <a:pt x="0" y="3"/>
                  </a:cubicBezTo>
                  <a:cubicBezTo>
                    <a:pt x="0" y="3"/>
                    <a:pt x="0" y="3"/>
                    <a:pt x="0" y="3"/>
                  </a:cubicBezTo>
                  <a:cubicBezTo>
                    <a:pt x="1" y="3"/>
                    <a:pt x="2" y="3"/>
                    <a:pt x="2" y="2"/>
                  </a:cubicBezTo>
                  <a:cubicBezTo>
                    <a:pt x="2" y="2"/>
                    <a:pt x="2" y="2"/>
                    <a:pt x="2" y="2"/>
                  </a:cubicBezTo>
                  <a:cubicBezTo>
                    <a:pt x="3" y="2"/>
                    <a:pt x="2" y="1"/>
                    <a:pt x="2" y="1"/>
                  </a:cubicBezTo>
                  <a:cubicBezTo>
                    <a:pt x="3" y="1"/>
                    <a:pt x="2" y="1"/>
                    <a:pt x="2" y="0"/>
                  </a:cubicBezTo>
                  <a:cubicBezTo>
                    <a:pt x="2" y="0"/>
                    <a:pt x="2" y="0"/>
                    <a:pt x="1" y="0"/>
                  </a:cubicBezTo>
                  <a:cubicBezTo>
                    <a:pt x="0" y="1"/>
                    <a:pt x="0" y="1"/>
                    <a:pt x="0"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63" name="Freeform 56">
              <a:extLst>
                <a:ext uri="{FF2B5EF4-FFF2-40B4-BE49-F238E27FC236}">
                  <a16:creationId xmlns:a16="http://schemas.microsoft.com/office/drawing/2014/main" id="{47B1334C-23D8-0BD9-6AFB-499A889979F9}"/>
                </a:ext>
              </a:extLst>
            </p:cNvPr>
            <p:cNvSpPr>
              <a:spLocks/>
            </p:cNvSpPr>
            <p:nvPr/>
          </p:nvSpPr>
          <p:spPr bwMode="auto">
            <a:xfrm>
              <a:off x="5738" y="2427"/>
              <a:ext cx="72" cy="21"/>
            </a:xfrm>
            <a:custGeom>
              <a:avLst/>
              <a:gdLst>
                <a:gd name="T0" fmla="*/ 3 w 7"/>
                <a:gd name="T1" fmla="*/ 0 h 2"/>
                <a:gd name="T2" fmla="*/ 2 w 7"/>
                <a:gd name="T3" fmla="*/ 0 h 2"/>
                <a:gd name="T4" fmla="*/ 0 w 7"/>
                <a:gd name="T5" fmla="*/ 1 h 2"/>
                <a:gd name="T6" fmla="*/ 2 w 7"/>
                <a:gd name="T7" fmla="*/ 1 h 2"/>
                <a:gd name="T8" fmla="*/ 5 w 7"/>
                <a:gd name="T9" fmla="*/ 1 h 2"/>
                <a:gd name="T10" fmla="*/ 7 w 7"/>
                <a:gd name="T11" fmla="*/ 1 h 2"/>
                <a:gd name="T12" fmla="*/ 5 w 7"/>
                <a:gd name="T13" fmla="*/ 1 h 2"/>
                <a:gd name="T14" fmla="*/ 3 w 7"/>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2">
                  <a:moveTo>
                    <a:pt x="3" y="0"/>
                  </a:moveTo>
                  <a:cubicBezTo>
                    <a:pt x="3" y="0"/>
                    <a:pt x="2" y="0"/>
                    <a:pt x="2" y="0"/>
                  </a:cubicBezTo>
                  <a:cubicBezTo>
                    <a:pt x="1" y="0"/>
                    <a:pt x="0" y="0"/>
                    <a:pt x="0" y="1"/>
                  </a:cubicBezTo>
                  <a:cubicBezTo>
                    <a:pt x="1" y="1"/>
                    <a:pt x="2" y="2"/>
                    <a:pt x="2" y="1"/>
                  </a:cubicBezTo>
                  <a:cubicBezTo>
                    <a:pt x="3" y="1"/>
                    <a:pt x="4" y="1"/>
                    <a:pt x="5" y="1"/>
                  </a:cubicBezTo>
                  <a:cubicBezTo>
                    <a:pt x="5" y="2"/>
                    <a:pt x="6" y="2"/>
                    <a:pt x="7" y="1"/>
                  </a:cubicBezTo>
                  <a:cubicBezTo>
                    <a:pt x="6" y="1"/>
                    <a:pt x="6" y="1"/>
                    <a:pt x="5" y="1"/>
                  </a:cubicBezTo>
                  <a:cubicBezTo>
                    <a:pt x="4" y="0"/>
                    <a:pt x="4" y="0"/>
                    <a:pt x="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64" name="Freeform 57">
              <a:extLst>
                <a:ext uri="{FF2B5EF4-FFF2-40B4-BE49-F238E27FC236}">
                  <a16:creationId xmlns:a16="http://schemas.microsoft.com/office/drawing/2014/main" id="{590D95A6-4138-6848-27D4-D76F1CEC93F1}"/>
                </a:ext>
              </a:extLst>
            </p:cNvPr>
            <p:cNvSpPr>
              <a:spLocks/>
            </p:cNvSpPr>
            <p:nvPr/>
          </p:nvSpPr>
          <p:spPr bwMode="auto">
            <a:xfrm>
              <a:off x="1370" y="1115"/>
              <a:ext cx="72" cy="41"/>
            </a:xfrm>
            <a:custGeom>
              <a:avLst/>
              <a:gdLst>
                <a:gd name="T0" fmla="*/ 4 w 7"/>
                <a:gd name="T1" fmla="*/ 3 h 4"/>
                <a:gd name="T2" fmla="*/ 7 w 7"/>
                <a:gd name="T3" fmla="*/ 1 h 4"/>
                <a:gd name="T4" fmla="*/ 7 w 7"/>
                <a:gd name="T5" fmla="*/ 0 h 4"/>
                <a:gd name="T6" fmla="*/ 6 w 7"/>
                <a:gd name="T7" fmla="*/ 0 h 4"/>
                <a:gd name="T8" fmla="*/ 0 w 7"/>
                <a:gd name="T9" fmla="*/ 3 h 4"/>
                <a:gd name="T10" fmla="*/ 0 w 7"/>
                <a:gd name="T11" fmla="*/ 4 h 4"/>
                <a:gd name="T12" fmla="*/ 2 w 7"/>
                <a:gd name="T13" fmla="*/ 4 h 4"/>
                <a:gd name="T14" fmla="*/ 4 w 7"/>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4" y="3"/>
                  </a:moveTo>
                  <a:cubicBezTo>
                    <a:pt x="5" y="2"/>
                    <a:pt x="6" y="1"/>
                    <a:pt x="7" y="1"/>
                  </a:cubicBezTo>
                  <a:cubicBezTo>
                    <a:pt x="7" y="1"/>
                    <a:pt x="7" y="1"/>
                    <a:pt x="7" y="0"/>
                  </a:cubicBezTo>
                  <a:cubicBezTo>
                    <a:pt x="7" y="0"/>
                    <a:pt x="7" y="0"/>
                    <a:pt x="6" y="0"/>
                  </a:cubicBezTo>
                  <a:cubicBezTo>
                    <a:pt x="4" y="1"/>
                    <a:pt x="2" y="2"/>
                    <a:pt x="0" y="3"/>
                  </a:cubicBezTo>
                  <a:cubicBezTo>
                    <a:pt x="0" y="4"/>
                    <a:pt x="0" y="4"/>
                    <a:pt x="0" y="4"/>
                  </a:cubicBezTo>
                  <a:cubicBezTo>
                    <a:pt x="0" y="4"/>
                    <a:pt x="1" y="3"/>
                    <a:pt x="2" y="4"/>
                  </a:cubicBezTo>
                  <a:cubicBezTo>
                    <a:pt x="3" y="4"/>
                    <a:pt x="4" y="3"/>
                    <a:pt x="4"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65" name="Freeform 58">
              <a:extLst>
                <a:ext uri="{FF2B5EF4-FFF2-40B4-BE49-F238E27FC236}">
                  <a16:creationId xmlns:a16="http://schemas.microsoft.com/office/drawing/2014/main" id="{98A83682-BE49-F92E-D37D-047CD8C1096C}"/>
                </a:ext>
              </a:extLst>
            </p:cNvPr>
            <p:cNvSpPr>
              <a:spLocks/>
            </p:cNvSpPr>
            <p:nvPr/>
          </p:nvSpPr>
          <p:spPr bwMode="auto">
            <a:xfrm>
              <a:off x="1432" y="1146"/>
              <a:ext cx="72" cy="31"/>
            </a:xfrm>
            <a:custGeom>
              <a:avLst/>
              <a:gdLst>
                <a:gd name="T0" fmla="*/ 1 w 7"/>
                <a:gd name="T1" fmla="*/ 3 h 3"/>
                <a:gd name="T2" fmla="*/ 6 w 7"/>
                <a:gd name="T3" fmla="*/ 1 h 3"/>
                <a:gd name="T4" fmla="*/ 6 w 7"/>
                <a:gd name="T5" fmla="*/ 1 h 3"/>
                <a:gd name="T6" fmla="*/ 7 w 7"/>
                <a:gd name="T7" fmla="*/ 0 h 3"/>
                <a:gd name="T8" fmla="*/ 5 w 7"/>
                <a:gd name="T9" fmla="*/ 0 h 3"/>
                <a:gd name="T10" fmla="*/ 3 w 7"/>
                <a:gd name="T11" fmla="*/ 1 h 3"/>
                <a:gd name="T12" fmla="*/ 1 w 7"/>
                <a:gd name="T13" fmla="*/ 2 h 3"/>
                <a:gd name="T14" fmla="*/ 0 w 7"/>
                <a:gd name="T15" fmla="*/ 3 h 3"/>
                <a:gd name="T16" fmla="*/ 1 w 7"/>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1" y="3"/>
                  </a:moveTo>
                  <a:cubicBezTo>
                    <a:pt x="3" y="2"/>
                    <a:pt x="4" y="2"/>
                    <a:pt x="6" y="1"/>
                  </a:cubicBezTo>
                  <a:cubicBezTo>
                    <a:pt x="6" y="1"/>
                    <a:pt x="6" y="1"/>
                    <a:pt x="6" y="1"/>
                  </a:cubicBezTo>
                  <a:cubicBezTo>
                    <a:pt x="7" y="1"/>
                    <a:pt x="7" y="0"/>
                    <a:pt x="7" y="0"/>
                  </a:cubicBezTo>
                  <a:cubicBezTo>
                    <a:pt x="6" y="0"/>
                    <a:pt x="6" y="0"/>
                    <a:pt x="5" y="0"/>
                  </a:cubicBezTo>
                  <a:cubicBezTo>
                    <a:pt x="4" y="0"/>
                    <a:pt x="4" y="1"/>
                    <a:pt x="3" y="1"/>
                  </a:cubicBezTo>
                  <a:cubicBezTo>
                    <a:pt x="3" y="1"/>
                    <a:pt x="2" y="2"/>
                    <a:pt x="1" y="2"/>
                  </a:cubicBezTo>
                  <a:cubicBezTo>
                    <a:pt x="1" y="2"/>
                    <a:pt x="1" y="3"/>
                    <a:pt x="0" y="3"/>
                  </a:cubicBezTo>
                  <a:cubicBezTo>
                    <a:pt x="1" y="3"/>
                    <a:pt x="1" y="3"/>
                    <a:pt x="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66" name="Freeform 59">
              <a:extLst>
                <a:ext uri="{FF2B5EF4-FFF2-40B4-BE49-F238E27FC236}">
                  <a16:creationId xmlns:a16="http://schemas.microsoft.com/office/drawing/2014/main" id="{FA2A66E8-2C3D-A806-0DB8-9E6637F7CBDB}"/>
                </a:ext>
              </a:extLst>
            </p:cNvPr>
            <p:cNvSpPr>
              <a:spLocks/>
            </p:cNvSpPr>
            <p:nvPr/>
          </p:nvSpPr>
          <p:spPr bwMode="auto">
            <a:xfrm>
              <a:off x="1893" y="1063"/>
              <a:ext cx="52" cy="31"/>
            </a:xfrm>
            <a:custGeom>
              <a:avLst/>
              <a:gdLst>
                <a:gd name="T0" fmla="*/ 4 w 5"/>
                <a:gd name="T1" fmla="*/ 0 h 3"/>
                <a:gd name="T2" fmla="*/ 0 w 5"/>
                <a:gd name="T3" fmla="*/ 2 h 3"/>
                <a:gd name="T4" fmla="*/ 1 w 5"/>
                <a:gd name="T5" fmla="*/ 3 h 3"/>
                <a:gd name="T6" fmla="*/ 2 w 5"/>
                <a:gd name="T7" fmla="*/ 2 h 3"/>
                <a:gd name="T8" fmla="*/ 4 w 5"/>
                <a:gd name="T9" fmla="*/ 1 h 3"/>
                <a:gd name="T10" fmla="*/ 4 w 5"/>
                <a:gd name="T11" fmla="*/ 0 h 3"/>
                <a:gd name="T12" fmla="*/ 4 w 5"/>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4" y="0"/>
                  </a:moveTo>
                  <a:cubicBezTo>
                    <a:pt x="2" y="0"/>
                    <a:pt x="1" y="1"/>
                    <a:pt x="0" y="2"/>
                  </a:cubicBezTo>
                  <a:cubicBezTo>
                    <a:pt x="0" y="2"/>
                    <a:pt x="0" y="3"/>
                    <a:pt x="1" y="3"/>
                  </a:cubicBezTo>
                  <a:cubicBezTo>
                    <a:pt x="1" y="2"/>
                    <a:pt x="2" y="2"/>
                    <a:pt x="2" y="2"/>
                  </a:cubicBezTo>
                  <a:cubicBezTo>
                    <a:pt x="4" y="1"/>
                    <a:pt x="3" y="1"/>
                    <a:pt x="4" y="1"/>
                  </a:cubicBezTo>
                  <a:cubicBezTo>
                    <a:pt x="5" y="0"/>
                    <a:pt x="4" y="0"/>
                    <a:pt x="4" y="0"/>
                  </a:cubicBezTo>
                  <a:cubicBezTo>
                    <a:pt x="4" y="0"/>
                    <a:pt x="4" y="0"/>
                    <a:pt x="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73" name="Freeform 60">
              <a:extLst>
                <a:ext uri="{FF2B5EF4-FFF2-40B4-BE49-F238E27FC236}">
                  <a16:creationId xmlns:a16="http://schemas.microsoft.com/office/drawing/2014/main" id="{1E88A61F-E649-77FF-EC81-3DE7D0080EA1}"/>
                </a:ext>
              </a:extLst>
            </p:cNvPr>
            <p:cNvSpPr>
              <a:spLocks/>
            </p:cNvSpPr>
            <p:nvPr/>
          </p:nvSpPr>
          <p:spPr bwMode="auto">
            <a:xfrm>
              <a:off x="6877" y="1590"/>
              <a:ext cx="92" cy="72"/>
            </a:xfrm>
            <a:custGeom>
              <a:avLst/>
              <a:gdLst>
                <a:gd name="T0" fmla="*/ 0 w 9"/>
                <a:gd name="T1" fmla="*/ 1 h 7"/>
                <a:gd name="T2" fmla="*/ 3 w 9"/>
                <a:gd name="T3" fmla="*/ 3 h 7"/>
                <a:gd name="T4" fmla="*/ 9 w 9"/>
                <a:gd name="T5" fmla="*/ 7 h 7"/>
                <a:gd name="T6" fmla="*/ 6 w 9"/>
                <a:gd name="T7" fmla="*/ 5 h 7"/>
                <a:gd name="T8" fmla="*/ 3 w 9"/>
                <a:gd name="T9" fmla="*/ 2 h 7"/>
                <a:gd name="T10" fmla="*/ 3 w 9"/>
                <a:gd name="T11" fmla="*/ 2 h 7"/>
                <a:gd name="T12" fmla="*/ 1 w 9"/>
                <a:gd name="T13" fmla="*/ 0 h 7"/>
                <a:gd name="T14" fmla="*/ 0 w 9"/>
                <a:gd name="T15" fmla="*/ 0 h 7"/>
                <a:gd name="T16" fmla="*/ 0 w 9"/>
                <a:gd name="T17"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0" y="1"/>
                  </a:moveTo>
                  <a:cubicBezTo>
                    <a:pt x="1" y="1"/>
                    <a:pt x="2" y="2"/>
                    <a:pt x="3" y="3"/>
                  </a:cubicBezTo>
                  <a:cubicBezTo>
                    <a:pt x="4" y="4"/>
                    <a:pt x="7" y="6"/>
                    <a:pt x="9" y="7"/>
                  </a:cubicBezTo>
                  <a:cubicBezTo>
                    <a:pt x="8" y="6"/>
                    <a:pt x="7" y="5"/>
                    <a:pt x="6" y="5"/>
                  </a:cubicBezTo>
                  <a:cubicBezTo>
                    <a:pt x="5" y="4"/>
                    <a:pt x="4" y="3"/>
                    <a:pt x="3" y="2"/>
                  </a:cubicBezTo>
                  <a:cubicBezTo>
                    <a:pt x="3" y="2"/>
                    <a:pt x="3" y="2"/>
                    <a:pt x="3" y="2"/>
                  </a:cubicBezTo>
                  <a:cubicBezTo>
                    <a:pt x="2" y="2"/>
                    <a:pt x="1" y="1"/>
                    <a:pt x="1" y="0"/>
                  </a:cubicBezTo>
                  <a:cubicBezTo>
                    <a:pt x="1" y="0"/>
                    <a:pt x="0" y="0"/>
                    <a:pt x="0" y="0"/>
                  </a:cubicBezTo>
                  <a:cubicBezTo>
                    <a:pt x="0" y="0"/>
                    <a:pt x="0" y="0"/>
                    <a:pt x="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78" name="Freeform 61">
              <a:extLst>
                <a:ext uri="{FF2B5EF4-FFF2-40B4-BE49-F238E27FC236}">
                  <a16:creationId xmlns:a16="http://schemas.microsoft.com/office/drawing/2014/main" id="{4E7D5EE5-BCF7-D8CE-5AF3-823269946CDC}"/>
                </a:ext>
              </a:extLst>
            </p:cNvPr>
            <p:cNvSpPr>
              <a:spLocks/>
            </p:cNvSpPr>
            <p:nvPr/>
          </p:nvSpPr>
          <p:spPr bwMode="auto">
            <a:xfrm>
              <a:off x="7430" y="2179"/>
              <a:ext cx="72" cy="62"/>
            </a:xfrm>
            <a:custGeom>
              <a:avLst/>
              <a:gdLst>
                <a:gd name="T0" fmla="*/ 0 w 7"/>
                <a:gd name="T1" fmla="*/ 1 h 6"/>
                <a:gd name="T2" fmla="*/ 2 w 7"/>
                <a:gd name="T3" fmla="*/ 2 h 6"/>
                <a:gd name="T4" fmla="*/ 3 w 7"/>
                <a:gd name="T5" fmla="*/ 3 h 6"/>
                <a:gd name="T6" fmla="*/ 4 w 7"/>
                <a:gd name="T7" fmla="*/ 4 h 6"/>
                <a:gd name="T8" fmla="*/ 6 w 7"/>
                <a:gd name="T9" fmla="*/ 6 h 6"/>
                <a:gd name="T10" fmla="*/ 7 w 7"/>
                <a:gd name="T11" fmla="*/ 6 h 6"/>
                <a:gd name="T12" fmla="*/ 7 w 7"/>
                <a:gd name="T13" fmla="*/ 6 h 6"/>
                <a:gd name="T14" fmla="*/ 4 w 7"/>
                <a:gd name="T15" fmla="*/ 3 h 6"/>
                <a:gd name="T16" fmla="*/ 1 w 7"/>
                <a:gd name="T17" fmla="*/ 0 h 6"/>
                <a:gd name="T18" fmla="*/ 0 w 7"/>
                <a:gd name="T19" fmla="*/ 0 h 6"/>
                <a:gd name="T20" fmla="*/ 0 w 7"/>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6">
                  <a:moveTo>
                    <a:pt x="0" y="1"/>
                  </a:moveTo>
                  <a:cubicBezTo>
                    <a:pt x="1" y="1"/>
                    <a:pt x="2" y="2"/>
                    <a:pt x="2" y="2"/>
                  </a:cubicBezTo>
                  <a:cubicBezTo>
                    <a:pt x="3" y="2"/>
                    <a:pt x="3" y="3"/>
                    <a:pt x="3" y="3"/>
                  </a:cubicBezTo>
                  <a:cubicBezTo>
                    <a:pt x="3" y="3"/>
                    <a:pt x="3" y="4"/>
                    <a:pt x="4" y="4"/>
                  </a:cubicBezTo>
                  <a:cubicBezTo>
                    <a:pt x="5" y="4"/>
                    <a:pt x="5" y="5"/>
                    <a:pt x="6" y="6"/>
                  </a:cubicBezTo>
                  <a:cubicBezTo>
                    <a:pt x="6" y="6"/>
                    <a:pt x="6" y="6"/>
                    <a:pt x="7" y="6"/>
                  </a:cubicBezTo>
                  <a:cubicBezTo>
                    <a:pt x="7" y="6"/>
                    <a:pt x="7" y="6"/>
                    <a:pt x="7" y="6"/>
                  </a:cubicBezTo>
                  <a:cubicBezTo>
                    <a:pt x="6" y="5"/>
                    <a:pt x="5" y="4"/>
                    <a:pt x="4" y="3"/>
                  </a:cubicBezTo>
                  <a:cubicBezTo>
                    <a:pt x="3" y="2"/>
                    <a:pt x="2" y="1"/>
                    <a:pt x="1" y="0"/>
                  </a:cubicBezTo>
                  <a:cubicBezTo>
                    <a:pt x="1" y="0"/>
                    <a:pt x="0" y="0"/>
                    <a:pt x="0" y="0"/>
                  </a:cubicBezTo>
                  <a:cubicBezTo>
                    <a:pt x="0" y="0"/>
                    <a:pt x="0" y="1"/>
                    <a:pt x="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79" name="Freeform 62">
              <a:extLst>
                <a:ext uri="{FF2B5EF4-FFF2-40B4-BE49-F238E27FC236}">
                  <a16:creationId xmlns:a16="http://schemas.microsoft.com/office/drawing/2014/main" id="{911E4D33-C304-7DE6-480D-BF914C12F631}"/>
                </a:ext>
              </a:extLst>
            </p:cNvPr>
            <p:cNvSpPr>
              <a:spLocks/>
            </p:cNvSpPr>
            <p:nvPr/>
          </p:nvSpPr>
          <p:spPr bwMode="auto">
            <a:xfrm>
              <a:off x="1063" y="1301"/>
              <a:ext cx="72" cy="51"/>
            </a:xfrm>
            <a:custGeom>
              <a:avLst/>
              <a:gdLst>
                <a:gd name="T0" fmla="*/ 1 w 7"/>
                <a:gd name="T1" fmla="*/ 5 h 5"/>
                <a:gd name="T2" fmla="*/ 3 w 7"/>
                <a:gd name="T3" fmla="*/ 4 h 5"/>
                <a:gd name="T4" fmla="*/ 4 w 7"/>
                <a:gd name="T5" fmla="*/ 3 h 5"/>
                <a:gd name="T6" fmla="*/ 6 w 7"/>
                <a:gd name="T7" fmla="*/ 1 h 5"/>
                <a:gd name="T8" fmla="*/ 7 w 7"/>
                <a:gd name="T9" fmla="*/ 0 h 5"/>
                <a:gd name="T10" fmla="*/ 7 w 7"/>
                <a:gd name="T11" fmla="*/ 0 h 5"/>
                <a:gd name="T12" fmla="*/ 5 w 7"/>
                <a:gd name="T13" fmla="*/ 1 h 5"/>
                <a:gd name="T14" fmla="*/ 4 w 7"/>
                <a:gd name="T15" fmla="*/ 2 h 5"/>
                <a:gd name="T16" fmla="*/ 2 w 7"/>
                <a:gd name="T17" fmla="*/ 3 h 5"/>
                <a:gd name="T18" fmla="*/ 1 w 7"/>
                <a:gd name="T19" fmla="*/ 4 h 5"/>
                <a:gd name="T20" fmla="*/ 0 w 7"/>
                <a:gd name="T21" fmla="*/ 5 h 5"/>
                <a:gd name="T22" fmla="*/ 1 w 7"/>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1" y="5"/>
                  </a:moveTo>
                  <a:cubicBezTo>
                    <a:pt x="2" y="5"/>
                    <a:pt x="2" y="5"/>
                    <a:pt x="3" y="4"/>
                  </a:cubicBezTo>
                  <a:cubicBezTo>
                    <a:pt x="3" y="4"/>
                    <a:pt x="4" y="3"/>
                    <a:pt x="4" y="3"/>
                  </a:cubicBezTo>
                  <a:cubicBezTo>
                    <a:pt x="5" y="2"/>
                    <a:pt x="7" y="2"/>
                    <a:pt x="6" y="1"/>
                  </a:cubicBezTo>
                  <a:cubicBezTo>
                    <a:pt x="6" y="1"/>
                    <a:pt x="7" y="0"/>
                    <a:pt x="7" y="0"/>
                  </a:cubicBezTo>
                  <a:cubicBezTo>
                    <a:pt x="7" y="0"/>
                    <a:pt x="7" y="0"/>
                    <a:pt x="7" y="0"/>
                  </a:cubicBezTo>
                  <a:cubicBezTo>
                    <a:pt x="6" y="0"/>
                    <a:pt x="5" y="1"/>
                    <a:pt x="5" y="1"/>
                  </a:cubicBezTo>
                  <a:cubicBezTo>
                    <a:pt x="5" y="2"/>
                    <a:pt x="4" y="2"/>
                    <a:pt x="4" y="2"/>
                  </a:cubicBezTo>
                  <a:cubicBezTo>
                    <a:pt x="3" y="3"/>
                    <a:pt x="3" y="3"/>
                    <a:pt x="2" y="3"/>
                  </a:cubicBezTo>
                  <a:cubicBezTo>
                    <a:pt x="2" y="4"/>
                    <a:pt x="1" y="4"/>
                    <a:pt x="1" y="4"/>
                  </a:cubicBezTo>
                  <a:cubicBezTo>
                    <a:pt x="0" y="5"/>
                    <a:pt x="0" y="5"/>
                    <a:pt x="0" y="5"/>
                  </a:cubicBezTo>
                  <a:cubicBezTo>
                    <a:pt x="0" y="5"/>
                    <a:pt x="1" y="5"/>
                    <a:pt x="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80" name="Freeform 63">
              <a:extLst>
                <a:ext uri="{FF2B5EF4-FFF2-40B4-BE49-F238E27FC236}">
                  <a16:creationId xmlns:a16="http://schemas.microsoft.com/office/drawing/2014/main" id="{F466149E-29D3-A10A-51F3-546E92A9D603}"/>
                </a:ext>
              </a:extLst>
            </p:cNvPr>
            <p:cNvSpPr>
              <a:spLocks/>
            </p:cNvSpPr>
            <p:nvPr/>
          </p:nvSpPr>
          <p:spPr bwMode="auto">
            <a:xfrm>
              <a:off x="6241" y="1941"/>
              <a:ext cx="51" cy="21"/>
            </a:xfrm>
            <a:custGeom>
              <a:avLst/>
              <a:gdLst>
                <a:gd name="T0" fmla="*/ 0 w 5"/>
                <a:gd name="T1" fmla="*/ 1 h 2"/>
                <a:gd name="T2" fmla="*/ 1 w 5"/>
                <a:gd name="T3" fmla="*/ 2 h 2"/>
                <a:gd name="T4" fmla="*/ 3 w 5"/>
                <a:gd name="T5" fmla="*/ 2 h 2"/>
                <a:gd name="T6" fmla="*/ 5 w 5"/>
                <a:gd name="T7" fmla="*/ 2 h 2"/>
                <a:gd name="T8" fmla="*/ 4 w 5"/>
                <a:gd name="T9" fmla="*/ 1 h 2"/>
                <a:gd name="T10" fmla="*/ 1 w 5"/>
                <a:gd name="T11" fmla="*/ 0 h 2"/>
                <a:gd name="T12" fmla="*/ 0 w 5"/>
                <a:gd name="T13" fmla="*/ 0 h 2"/>
                <a:gd name="T14" fmla="*/ 0 w 5"/>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1"/>
                  </a:moveTo>
                  <a:cubicBezTo>
                    <a:pt x="1" y="2"/>
                    <a:pt x="1" y="2"/>
                    <a:pt x="1" y="2"/>
                  </a:cubicBezTo>
                  <a:cubicBezTo>
                    <a:pt x="2" y="1"/>
                    <a:pt x="2" y="2"/>
                    <a:pt x="3" y="2"/>
                  </a:cubicBezTo>
                  <a:cubicBezTo>
                    <a:pt x="3" y="2"/>
                    <a:pt x="4" y="2"/>
                    <a:pt x="5" y="2"/>
                  </a:cubicBezTo>
                  <a:cubicBezTo>
                    <a:pt x="5" y="2"/>
                    <a:pt x="4" y="1"/>
                    <a:pt x="4" y="1"/>
                  </a:cubicBezTo>
                  <a:cubicBezTo>
                    <a:pt x="3" y="1"/>
                    <a:pt x="2" y="1"/>
                    <a:pt x="1" y="0"/>
                  </a:cubicBezTo>
                  <a:cubicBezTo>
                    <a:pt x="1" y="0"/>
                    <a:pt x="1" y="0"/>
                    <a:pt x="0" y="0"/>
                  </a:cubicBezTo>
                  <a:cubicBezTo>
                    <a:pt x="0" y="0"/>
                    <a:pt x="0" y="1"/>
                    <a:pt x="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81" name="Freeform 64">
              <a:extLst>
                <a:ext uri="{FF2B5EF4-FFF2-40B4-BE49-F238E27FC236}">
                  <a16:creationId xmlns:a16="http://schemas.microsoft.com/office/drawing/2014/main" id="{9D6222C3-F372-8690-B70F-030E5584A018}"/>
                </a:ext>
              </a:extLst>
            </p:cNvPr>
            <p:cNvSpPr>
              <a:spLocks/>
            </p:cNvSpPr>
            <p:nvPr/>
          </p:nvSpPr>
          <p:spPr bwMode="auto">
            <a:xfrm>
              <a:off x="5923" y="2138"/>
              <a:ext cx="31" cy="31"/>
            </a:xfrm>
            <a:custGeom>
              <a:avLst/>
              <a:gdLst>
                <a:gd name="T0" fmla="*/ 2 w 3"/>
                <a:gd name="T1" fmla="*/ 0 h 3"/>
                <a:gd name="T2" fmla="*/ 1 w 3"/>
                <a:gd name="T3" fmla="*/ 0 h 3"/>
                <a:gd name="T4" fmla="*/ 1 w 3"/>
                <a:gd name="T5" fmla="*/ 1 h 3"/>
                <a:gd name="T6" fmla="*/ 1 w 3"/>
                <a:gd name="T7" fmla="*/ 1 h 3"/>
                <a:gd name="T8" fmla="*/ 0 w 3"/>
                <a:gd name="T9" fmla="*/ 1 h 3"/>
                <a:gd name="T10" fmla="*/ 0 w 3"/>
                <a:gd name="T11" fmla="*/ 3 h 3"/>
                <a:gd name="T12" fmla="*/ 1 w 3"/>
                <a:gd name="T13" fmla="*/ 3 h 3"/>
                <a:gd name="T14" fmla="*/ 1 w 3"/>
                <a:gd name="T15" fmla="*/ 2 h 3"/>
                <a:gd name="T16" fmla="*/ 2 w 3"/>
                <a:gd name="T17" fmla="*/ 2 h 3"/>
                <a:gd name="T18" fmla="*/ 2 w 3"/>
                <a:gd name="T19" fmla="*/ 2 h 3"/>
                <a:gd name="T20" fmla="*/ 2 w 3"/>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2" y="0"/>
                  </a:moveTo>
                  <a:cubicBezTo>
                    <a:pt x="2" y="0"/>
                    <a:pt x="1" y="0"/>
                    <a:pt x="1" y="0"/>
                  </a:cubicBezTo>
                  <a:cubicBezTo>
                    <a:pt x="1" y="0"/>
                    <a:pt x="1" y="1"/>
                    <a:pt x="1" y="1"/>
                  </a:cubicBezTo>
                  <a:cubicBezTo>
                    <a:pt x="1" y="2"/>
                    <a:pt x="1" y="2"/>
                    <a:pt x="1" y="1"/>
                  </a:cubicBezTo>
                  <a:cubicBezTo>
                    <a:pt x="0" y="1"/>
                    <a:pt x="0" y="1"/>
                    <a:pt x="0" y="1"/>
                  </a:cubicBezTo>
                  <a:cubicBezTo>
                    <a:pt x="0" y="2"/>
                    <a:pt x="0" y="3"/>
                    <a:pt x="0" y="3"/>
                  </a:cubicBezTo>
                  <a:cubicBezTo>
                    <a:pt x="1" y="3"/>
                    <a:pt x="1" y="3"/>
                    <a:pt x="1" y="3"/>
                  </a:cubicBezTo>
                  <a:cubicBezTo>
                    <a:pt x="1" y="2"/>
                    <a:pt x="1" y="2"/>
                    <a:pt x="1" y="2"/>
                  </a:cubicBezTo>
                  <a:cubicBezTo>
                    <a:pt x="2" y="3"/>
                    <a:pt x="2" y="3"/>
                    <a:pt x="2" y="2"/>
                  </a:cubicBezTo>
                  <a:cubicBezTo>
                    <a:pt x="2" y="2"/>
                    <a:pt x="2" y="2"/>
                    <a:pt x="2" y="2"/>
                  </a:cubicBezTo>
                  <a:cubicBezTo>
                    <a:pt x="3" y="1"/>
                    <a:pt x="3" y="1"/>
                    <a:pt x="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82" name="Freeform 65">
              <a:extLst>
                <a:ext uri="{FF2B5EF4-FFF2-40B4-BE49-F238E27FC236}">
                  <a16:creationId xmlns:a16="http://schemas.microsoft.com/office/drawing/2014/main" id="{7C4722A2-DDCB-8B33-EEEA-522C401B3037}"/>
                </a:ext>
              </a:extLst>
            </p:cNvPr>
            <p:cNvSpPr>
              <a:spLocks/>
            </p:cNvSpPr>
            <p:nvPr/>
          </p:nvSpPr>
          <p:spPr bwMode="auto">
            <a:xfrm>
              <a:off x="796" y="1910"/>
              <a:ext cx="51" cy="21"/>
            </a:xfrm>
            <a:custGeom>
              <a:avLst/>
              <a:gdLst>
                <a:gd name="T0" fmla="*/ 0 w 5"/>
                <a:gd name="T1" fmla="*/ 2 h 2"/>
                <a:gd name="T2" fmla="*/ 5 w 5"/>
                <a:gd name="T3" fmla="*/ 2 h 2"/>
                <a:gd name="T4" fmla="*/ 2 w 5"/>
                <a:gd name="T5" fmla="*/ 0 h 2"/>
                <a:gd name="T6" fmla="*/ 0 w 5"/>
                <a:gd name="T7" fmla="*/ 2 h 2"/>
              </a:gdLst>
              <a:ahLst/>
              <a:cxnLst>
                <a:cxn ang="0">
                  <a:pos x="T0" y="T1"/>
                </a:cxn>
                <a:cxn ang="0">
                  <a:pos x="T2" y="T3"/>
                </a:cxn>
                <a:cxn ang="0">
                  <a:pos x="T4" y="T5"/>
                </a:cxn>
                <a:cxn ang="0">
                  <a:pos x="T6" y="T7"/>
                </a:cxn>
              </a:cxnLst>
              <a:rect l="0" t="0" r="r" b="b"/>
              <a:pathLst>
                <a:path w="5" h="2">
                  <a:moveTo>
                    <a:pt x="0" y="2"/>
                  </a:moveTo>
                  <a:cubicBezTo>
                    <a:pt x="1" y="2"/>
                    <a:pt x="3" y="2"/>
                    <a:pt x="5" y="2"/>
                  </a:cubicBezTo>
                  <a:cubicBezTo>
                    <a:pt x="4" y="1"/>
                    <a:pt x="3" y="1"/>
                    <a:pt x="2" y="0"/>
                  </a:cubicBezTo>
                  <a:cubicBezTo>
                    <a:pt x="2" y="1"/>
                    <a:pt x="0" y="1"/>
                    <a:pt x="0"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83" name="Freeform 66">
              <a:extLst>
                <a:ext uri="{FF2B5EF4-FFF2-40B4-BE49-F238E27FC236}">
                  <a16:creationId xmlns:a16="http://schemas.microsoft.com/office/drawing/2014/main" id="{F2D4FFF4-A5DA-B656-22EC-EE5B764C3B46}"/>
                </a:ext>
              </a:extLst>
            </p:cNvPr>
            <p:cNvSpPr>
              <a:spLocks/>
            </p:cNvSpPr>
            <p:nvPr/>
          </p:nvSpPr>
          <p:spPr bwMode="auto">
            <a:xfrm>
              <a:off x="4754" y="567"/>
              <a:ext cx="92" cy="20"/>
            </a:xfrm>
            <a:custGeom>
              <a:avLst/>
              <a:gdLst>
                <a:gd name="T0" fmla="*/ 0 w 9"/>
                <a:gd name="T1" fmla="*/ 1 h 2"/>
                <a:gd name="T2" fmla="*/ 2 w 9"/>
                <a:gd name="T3" fmla="*/ 1 h 2"/>
                <a:gd name="T4" fmla="*/ 4 w 9"/>
                <a:gd name="T5" fmla="*/ 1 h 2"/>
                <a:gd name="T6" fmla="*/ 9 w 9"/>
                <a:gd name="T7" fmla="*/ 2 h 2"/>
                <a:gd name="T8" fmla="*/ 3 w 9"/>
                <a:gd name="T9" fmla="*/ 1 h 2"/>
                <a:gd name="T10" fmla="*/ 2 w 9"/>
                <a:gd name="T11" fmla="*/ 1 h 2"/>
                <a:gd name="T12" fmla="*/ 1 w 9"/>
                <a:gd name="T13" fmla="*/ 0 h 2"/>
                <a:gd name="T14" fmla="*/ 0 w 9"/>
                <a:gd name="T15" fmla="*/ 0 h 2"/>
                <a:gd name="T16" fmla="*/ 0 w 9"/>
                <a:gd name="T17" fmla="*/ 0 h 2"/>
                <a:gd name="T18" fmla="*/ 0 w 9"/>
                <a:gd name="T19" fmla="*/ 1 h 2"/>
                <a:gd name="T20" fmla="*/ 0 w 9"/>
                <a:gd name="T2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2">
                  <a:moveTo>
                    <a:pt x="0" y="1"/>
                  </a:moveTo>
                  <a:cubicBezTo>
                    <a:pt x="1" y="1"/>
                    <a:pt x="1" y="1"/>
                    <a:pt x="2" y="1"/>
                  </a:cubicBezTo>
                  <a:cubicBezTo>
                    <a:pt x="2" y="1"/>
                    <a:pt x="3" y="1"/>
                    <a:pt x="4" y="1"/>
                  </a:cubicBezTo>
                  <a:cubicBezTo>
                    <a:pt x="5" y="1"/>
                    <a:pt x="7" y="2"/>
                    <a:pt x="9" y="2"/>
                  </a:cubicBezTo>
                  <a:cubicBezTo>
                    <a:pt x="5" y="0"/>
                    <a:pt x="5" y="0"/>
                    <a:pt x="3" y="1"/>
                  </a:cubicBezTo>
                  <a:cubicBezTo>
                    <a:pt x="3" y="1"/>
                    <a:pt x="2" y="1"/>
                    <a:pt x="2" y="1"/>
                  </a:cubicBezTo>
                  <a:cubicBezTo>
                    <a:pt x="2" y="1"/>
                    <a:pt x="1" y="0"/>
                    <a:pt x="1" y="0"/>
                  </a:cubicBezTo>
                  <a:cubicBezTo>
                    <a:pt x="1" y="0"/>
                    <a:pt x="1" y="0"/>
                    <a:pt x="0" y="0"/>
                  </a:cubicBezTo>
                  <a:cubicBezTo>
                    <a:pt x="1" y="0"/>
                    <a:pt x="0" y="0"/>
                    <a:pt x="0" y="0"/>
                  </a:cubicBezTo>
                  <a:cubicBezTo>
                    <a:pt x="0" y="0"/>
                    <a:pt x="0" y="1"/>
                    <a:pt x="0" y="1"/>
                  </a:cubicBezTo>
                  <a:cubicBezTo>
                    <a:pt x="0" y="1"/>
                    <a:pt x="0" y="1"/>
                    <a:pt x="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84" name="Freeform 67">
              <a:extLst>
                <a:ext uri="{FF2B5EF4-FFF2-40B4-BE49-F238E27FC236}">
                  <a16:creationId xmlns:a16="http://schemas.microsoft.com/office/drawing/2014/main" id="{0AE871BC-ED81-D59F-0975-54D529D8815B}"/>
                </a:ext>
              </a:extLst>
            </p:cNvPr>
            <p:cNvSpPr>
              <a:spLocks/>
            </p:cNvSpPr>
            <p:nvPr/>
          </p:nvSpPr>
          <p:spPr bwMode="auto">
            <a:xfrm>
              <a:off x="5861" y="2376"/>
              <a:ext cx="41" cy="41"/>
            </a:xfrm>
            <a:custGeom>
              <a:avLst/>
              <a:gdLst>
                <a:gd name="T0" fmla="*/ 0 w 4"/>
                <a:gd name="T1" fmla="*/ 0 h 4"/>
                <a:gd name="T2" fmla="*/ 2 w 4"/>
                <a:gd name="T3" fmla="*/ 2 h 4"/>
                <a:gd name="T4" fmla="*/ 3 w 4"/>
                <a:gd name="T5" fmla="*/ 2 h 4"/>
                <a:gd name="T6" fmla="*/ 3 w 4"/>
                <a:gd name="T7" fmla="*/ 3 h 4"/>
                <a:gd name="T8" fmla="*/ 4 w 4"/>
                <a:gd name="T9" fmla="*/ 4 h 4"/>
                <a:gd name="T10" fmla="*/ 4 w 4"/>
                <a:gd name="T11" fmla="*/ 3 h 4"/>
                <a:gd name="T12" fmla="*/ 3 w 4"/>
                <a:gd name="T13" fmla="*/ 2 h 4"/>
                <a:gd name="T14" fmla="*/ 0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0"/>
                  </a:moveTo>
                  <a:cubicBezTo>
                    <a:pt x="1" y="1"/>
                    <a:pt x="1" y="2"/>
                    <a:pt x="2" y="2"/>
                  </a:cubicBezTo>
                  <a:cubicBezTo>
                    <a:pt x="2" y="2"/>
                    <a:pt x="2" y="3"/>
                    <a:pt x="3" y="2"/>
                  </a:cubicBezTo>
                  <a:cubicBezTo>
                    <a:pt x="3" y="2"/>
                    <a:pt x="3" y="3"/>
                    <a:pt x="3" y="3"/>
                  </a:cubicBezTo>
                  <a:cubicBezTo>
                    <a:pt x="3" y="3"/>
                    <a:pt x="4" y="4"/>
                    <a:pt x="4" y="4"/>
                  </a:cubicBezTo>
                  <a:cubicBezTo>
                    <a:pt x="4" y="4"/>
                    <a:pt x="4" y="4"/>
                    <a:pt x="4" y="3"/>
                  </a:cubicBezTo>
                  <a:cubicBezTo>
                    <a:pt x="4" y="3"/>
                    <a:pt x="4" y="2"/>
                    <a:pt x="3" y="2"/>
                  </a:cubicBezTo>
                  <a:cubicBezTo>
                    <a:pt x="2" y="1"/>
                    <a:pt x="1"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85" name="Freeform 68">
              <a:extLst>
                <a:ext uri="{FF2B5EF4-FFF2-40B4-BE49-F238E27FC236}">
                  <a16:creationId xmlns:a16="http://schemas.microsoft.com/office/drawing/2014/main" id="{7EC0CDEF-8D46-0929-2D61-0EEAA6A6DDC3}"/>
                </a:ext>
              </a:extLst>
            </p:cNvPr>
            <p:cNvSpPr>
              <a:spLocks/>
            </p:cNvSpPr>
            <p:nvPr/>
          </p:nvSpPr>
          <p:spPr bwMode="auto">
            <a:xfrm>
              <a:off x="5872" y="2324"/>
              <a:ext cx="51" cy="21"/>
            </a:xfrm>
            <a:custGeom>
              <a:avLst/>
              <a:gdLst>
                <a:gd name="T0" fmla="*/ 1 w 5"/>
                <a:gd name="T1" fmla="*/ 1 h 2"/>
                <a:gd name="T2" fmla="*/ 0 w 5"/>
                <a:gd name="T3" fmla="*/ 2 h 2"/>
                <a:gd name="T4" fmla="*/ 1 w 5"/>
                <a:gd name="T5" fmla="*/ 2 h 2"/>
                <a:gd name="T6" fmla="*/ 1 w 5"/>
                <a:gd name="T7" fmla="*/ 2 h 2"/>
                <a:gd name="T8" fmla="*/ 2 w 5"/>
                <a:gd name="T9" fmla="*/ 2 h 2"/>
                <a:gd name="T10" fmla="*/ 2 w 5"/>
                <a:gd name="T11" fmla="*/ 2 h 2"/>
                <a:gd name="T12" fmla="*/ 2 w 5"/>
                <a:gd name="T13" fmla="*/ 1 h 2"/>
                <a:gd name="T14" fmla="*/ 3 w 5"/>
                <a:gd name="T15" fmla="*/ 1 h 2"/>
                <a:gd name="T16" fmla="*/ 3 w 5"/>
                <a:gd name="T17" fmla="*/ 2 h 2"/>
                <a:gd name="T18" fmla="*/ 3 w 5"/>
                <a:gd name="T19" fmla="*/ 1 h 2"/>
                <a:gd name="T20" fmla="*/ 4 w 5"/>
                <a:gd name="T21" fmla="*/ 1 h 2"/>
                <a:gd name="T22" fmla="*/ 5 w 5"/>
                <a:gd name="T23" fmla="*/ 0 h 2"/>
                <a:gd name="T24" fmla="*/ 2 w 5"/>
                <a:gd name="T25" fmla="*/ 0 h 2"/>
                <a:gd name="T26" fmla="*/ 2 w 5"/>
                <a:gd name="T27" fmla="*/ 1 h 2"/>
                <a:gd name="T28" fmla="*/ 1 w 5"/>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2">
                  <a:moveTo>
                    <a:pt x="1" y="1"/>
                  </a:moveTo>
                  <a:cubicBezTo>
                    <a:pt x="1" y="1"/>
                    <a:pt x="0" y="1"/>
                    <a:pt x="0" y="2"/>
                  </a:cubicBezTo>
                  <a:cubicBezTo>
                    <a:pt x="0" y="2"/>
                    <a:pt x="0" y="2"/>
                    <a:pt x="1" y="2"/>
                  </a:cubicBezTo>
                  <a:cubicBezTo>
                    <a:pt x="1" y="2"/>
                    <a:pt x="1" y="2"/>
                    <a:pt x="1" y="2"/>
                  </a:cubicBezTo>
                  <a:cubicBezTo>
                    <a:pt x="1" y="2"/>
                    <a:pt x="1" y="2"/>
                    <a:pt x="2" y="2"/>
                  </a:cubicBezTo>
                  <a:cubicBezTo>
                    <a:pt x="2" y="2"/>
                    <a:pt x="2" y="2"/>
                    <a:pt x="2" y="2"/>
                  </a:cubicBezTo>
                  <a:cubicBezTo>
                    <a:pt x="2" y="2"/>
                    <a:pt x="2" y="1"/>
                    <a:pt x="2" y="1"/>
                  </a:cubicBezTo>
                  <a:cubicBezTo>
                    <a:pt x="2" y="1"/>
                    <a:pt x="2" y="1"/>
                    <a:pt x="3" y="1"/>
                  </a:cubicBezTo>
                  <a:cubicBezTo>
                    <a:pt x="3" y="2"/>
                    <a:pt x="3" y="2"/>
                    <a:pt x="3" y="2"/>
                  </a:cubicBezTo>
                  <a:cubicBezTo>
                    <a:pt x="3" y="2"/>
                    <a:pt x="3" y="2"/>
                    <a:pt x="3" y="1"/>
                  </a:cubicBezTo>
                  <a:cubicBezTo>
                    <a:pt x="3" y="1"/>
                    <a:pt x="3" y="1"/>
                    <a:pt x="4" y="1"/>
                  </a:cubicBezTo>
                  <a:cubicBezTo>
                    <a:pt x="4" y="1"/>
                    <a:pt x="4" y="0"/>
                    <a:pt x="5" y="0"/>
                  </a:cubicBezTo>
                  <a:cubicBezTo>
                    <a:pt x="4" y="0"/>
                    <a:pt x="3" y="0"/>
                    <a:pt x="2" y="0"/>
                  </a:cubicBezTo>
                  <a:cubicBezTo>
                    <a:pt x="2" y="0"/>
                    <a:pt x="1" y="0"/>
                    <a:pt x="2" y="1"/>
                  </a:cubicBezTo>
                  <a:cubicBezTo>
                    <a:pt x="2" y="1"/>
                    <a:pt x="2" y="2"/>
                    <a:pt x="1"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86" name="Freeform 69">
              <a:extLst>
                <a:ext uri="{FF2B5EF4-FFF2-40B4-BE49-F238E27FC236}">
                  <a16:creationId xmlns:a16="http://schemas.microsoft.com/office/drawing/2014/main" id="{22ABBAE5-1CA1-9021-5EC7-A0D466B93E99}"/>
                </a:ext>
              </a:extLst>
            </p:cNvPr>
            <p:cNvSpPr>
              <a:spLocks/>
            </p:cNvSpPr>
            <p:nvPr/>
          </p:nvSpPr>
          <p:spPr bwMode="auto">
            <a:xfrm>
              <a:off x="6753" y="1528"/>
              <a:ext cx="52" cy="52"/>
            </a:xfrm>
            <a:custGeom>
              <a:avLst/>
              <a:gdLst>
                <a:gd name="T0" fmla="*/ 2 w 5"/>
                <a:gd name="T1" fmla="*/ 2 h 5"/>
                <a:gd name="T2" fmla="*/ 0 w 5"/>
                <a:gd name="T3" fmla="*/ 0 h 5"/>
                <a:gd name="T4" fmla="*/ 5 w 5"/>
                <a:gd name="T5" fmla="*/ 5 h 5"/>
                <a:gd name="T6" fmla="*/ 2 w 5"/>
                <a:gd name="T7" fmla="*/ 2 h 5"/>
              </a:gdLst>
              <a:ahLst/>
              <a:cxnLst>
                <a:cxn ang="0">
                  <a:pos x="T0" y="T1"/>
                </a:cxn>
                <a:cxn ang="0">
                  <a:pos x="T2" y="T3"/>
                </a:cxn>
                <a:cxn ang="0">
                  <a:pos x="T4" y="T5"/>
                </a:cxn>
                <a:cxn ang="0">
                  <a:pos x="T6" y="T7"/>
                </a:cxn>
              </a:cxnLst>
              <a:rect l="0" t="0" r="r" b="b"/>
              <a:pathLst>
                <a:path w="5" h="5">
                  <a:moveTo>
                    <a:pt x="2" y="2"/>
                  </a:moveTo>
                  <a:cubicBezTo>
                    <a:pt x="1" y="1"/>
                    <a:pt x="0" y="0"/>
                    <a:pt x="0" y="0"/>
                  </a:cubicBezTo>
                  <a:cubicBezTo>
                    <a:pt x="1" y="2"/>
                    <a:pt x="3" y="3"/>
                    <a:pt x="5" y="5"/>
                  </a:cubicBezTo>
                  <a:cubicBezTo>
                    <a:pt x="5" y="3"/>
                    <a:pt x="3" y="2"/>
                    <a:pt x="2"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87" name="Freeform 70">
              <a:extLst>
                <a:ext uri="{FF2B5EF4-FFF2-40B4-BE49-F238E27FC236}">
                  <a16:creationId xmlns:a16="http://schemas.microsoft.com/office/drawing/2014/main" id="{4F025E2F-2F18-0832-FCD9-1CD810C0C3DD}"/>
                </a:ext>
              </a:extLst>
            </p:cNvPr>
            <p:cNvSpPr>
              <a:spLocks/>
            </p:cNvSpPr>
            <p:nvPr/>
          </p:nvSpPr>
          <p:spPr bwMode="auto">
            <a:xfrm>
              <a:off x="5697" y="2376"/>
              <a:ext cx="41" cy="31"/>
            </a:xfrm>
            <a:custGeom>
              <a:avLst/>
              <a:gdLst>
                <a:gd name="T0" fmla="*/ 2 w 4"/>
                <a:gd name="T1" fmla="*/ 2 h 3"/>
                <a:gd name="T2" fmla="*/ 4 w 4"/>
                <a:gd name="T3" fmla="*/ 3 h 3"/>
                <a:gd name="T4" fmla="*/ 4 w 4"/>
                <a:gd name="T5" fmla="*/ 2 h 3"/>
                <a:gd name="T6" fmla="*/ 2 w 4"/>
                <a:gd name="T7" fmla="*/ 1 h 3"/>
                <a:gd name="T8" fmla="*/ 1 w 4"/>
                <a:gd name="T9" fmla="*/ 0 h 3"/>
                <a:gd name="T10" fmla="*/ 0 w 4"/>
                <a:gd name="T11" fmla="*/ 0 h 3"/>
                <a:gd name="T12" fmla="*/ 0 w 4"/>
                <a:gd name="T13" fmla="*/ 1 h 3"/>
                <a:gd name="T14" fmla="*/ 2 w 4"/>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2" y="2"/>
                  </a:moveTo>
                  <a:cubicBezTo>
                    <a:pt x="3" y="3"/>
                    <a:pt x="4" y="3"/>
                    <a:pt x="4" y="3"/>
                  </a:cubicBezTo>
                  <a:cubicBezTo>
                    <a:pt x="4" y="3"/>
                    <a:pt x="4" y="3"/>
                    <a:pt x="4" y="2"/>
                  </a:cubicBezTo>
                  <a:cubicBezTo>
                    <a:pt x="3" y="2"/>
                    <a:pt x="2" y="2"/>
                    <a:pt x="2" y="1"/>
                  </a:cubicBezTo>
                  <a:cubicBezTo>
                    <a:pt x="1" y="1"/>
                    <a:pt x="1" y="0"/>
                    <a:pt x="1" y="0"/>
                  </a:cubicBezTo>
                  <a:cubicBezTo>
                    <a:pt x="0" y="0"/>
                    <a:pt x="0" y="0"/>
                    <a:pt x="0" y="0"/>
                  </a:cubicBezTo>
                  <a:cubicBezTo>
                    <a:pt x="0" y="0"/>
                    <a:pt x="0" y="1"/>
                    <a:pt x="0" y="1"/>
                  </a:cubicBezTo>
                  <a:cubicBezTo>
                    <a:pt x="1" y="1"/>
                    <a:pt x="2" y="2"/>
                    <a:pt x="2"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88" name="Freeform 71">
              <a:extLst>
                <a:ext uri="{FF2B5EF4-FFF2-40B4-BE49-F238E27FC236}">
                  <a16:creationId xmlns:a16="http://schemas.microsoft.com/office/drawing/2014/main" id="{4BE7A32A-3D8D-5072-78E5-17E48E5DDE51}"/>
                </a:ext>
              </a:extLst>
            </p:cNvPr>
            <p:cNvSpPr>
              <a:spLocks/>
            </p:cNvSpPr>
            <p:nvPr/>
          </p:nvSpPr>
          <p:spPr bwMode="auto">
            <a:xfrm>
              <a:off x="899" y="1910"/>
              <a:ext cx="31" cy="31"/>
            </a:xfrm>
            <a:custGeom>
              <a:avLst/>
              <a:gdLst>
                <a:gd name="T0" fmla="*/ 0 w 3"/>
                <a:gd name="T1" fmla="*/ 2 h 3"/>
                <a:gd name="T2" fmla="*/ 2 w 3"/>
                <a:gd name="T3" fmla="*/ 3 h 3"/>
                <a:gd name="T4" fmla="*/ 3 w 3"/>
                <a:gd name="T5" fmla="*/ 2 h 3"/>
                <a:gd name="T6" fmla="*/ 2 w 3"/>
                <a:gd name="T7" fmla="*/ 2 h 3"/>
                <a:gd name="T8" fmla="*/ 2 w 3"/>
                <a:gd name="T9" fmla="*/ 0 h 3"/>
                <a:gd name="T10" fmla="*/ 0 w 3"/>
                <a:gd name="T11" fmla="*/ 2 h 3"/>
              </a:gdLst>
              <a:ahLst/>
              <a:cxnLst>
                <a:cxn ang="0">
                  <a:pos x="T0" y="T1"/>
                </a:cxn>
                <a:cxn ang="0">
                  <a:pos x="T2" y="T3"/>
                </a:cxn>
                <a:cxn ang="0">
                  <a:pos x="T4" y="T5"/>
                </a:cxn>
                <a:cxn ang="0">
                  <a:pos x="T6" y="T7"/>
                </a:cxn>
                <a:cxn ang="0">
                  <a:pos x="T8" y="T9"/>
                </a:cxn>
                <a:cxn ang="0">
                  <a:pos x="T10" y="T11"/>
                </a:cxn>
              </a:cxnLst>
              <a:rect l="0" t="0" r="r" b="b"/>
              <a:pathLst>
                <a:path w="3" h="3">
                  <a:moveTo>
                    <a:pt x="0" y="2"/>
                  </a:moveTo>
                  <a:cubicBezTo>
                    <a:pt x="0" y="3"/>
                    <a:pt x="1" y="2"/>
                    <a:pt x="2" y="3"/>
                  </a:cubicBezTo>
                  <a:cubicBezTo>
                    <a:pt x="2" y="3"/>
                    <a:pt x="3" y="2"/>
                    <a:pt x="3" y="2"/>
                  </a:cubicBezTo>
                  <a:cubicBezTo>
                    <a:pt x="3" y="2"/>
                    <a:pt x="3" y="2"/>
                    <a:pt x="2" y="2"/>
                  </a:cubicBezTo>
                  <a:cubicBezTo>
                    <a:pt x="2" y="1"/>
                    <a:pt x="2" y="1"/>
                    <a:pt x="2" y="0"/>
                  </a:cubicBezTo>
                  <a:cubicBezTo>
                    <a:pt x="1" y="1"/>
                    <a:pt x="0" y="2"/>
                    <a:pt x="0"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89" name="Freeform 72">
              <a:extLst>
                <a:ext uri="{FF2B5EF4-FFF2-40B4-BE49-F238E27FC236}">
                  <a16:creationId xmlns:a16="http://schemas.microsoft.com/office/drawing/2014/main" id="{00CF8931-F239-C18F-2A1F-30E1A31DF2A3}"/>
                </a:ext>
              </a:extLst>
            </p:cNvPr>
            <p:cNvSpPr>
              <a:spLocks/>
            </p:cNvSpPr>
            <p:nvPr/>
          </p:nvSpPr>
          <p:spPr bwMode="auto">
            <a:xfrm>
              <a:off x="4734" y="742"/>
              <a:ext cx="41" cy="11"/>
            </a:xfrm>
            <a:custGeom>
              <a:avLst/>
              <a:gdLst>
                <a:gd name="T0" fmla="*/ 3 w 4"/>
                <a:gd name="T1" fmla="*/ 0 h 1"/>
                <a:gd name="T2" fmla="*/ 0 w 4"/>
                <a:gd name="T3" fmla="*/ 0 h 1"/>
                <a:gd name="T4" fmla="*/ 0 w 4"/>
                <a:gd name="T5" fmla="*/ 0 h 1"/>
                <a:gd name="T6" fmla="*/ 0 w 4"/>
                <a:gd name="T7" fmla="*/ 1 h 1"/>
                <a:gd name="T8" fmla="*/ 1 w 4"/>
                <a:gd name="T9" fmla="*/ 1 h 1"/>
                <a:gd name="T10" fmla="*/ 2 w 4"/>
                <a:gd name="T11" fmla="*/ 1 h 1"/>
                <a:gd name="T12" fmla="*/ 4 w 4"/>
                <a:gd name="T13" fmla="*/ 1 h 1"/>
                <a:gd name="T14" fmla="*/ 3 w 4"/>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
                  <a:moveTo>
                    <a:pt x="3" y="0"/>
                  </a:moveTo>
                  <a:cubicBezTo>
                    <a:pt x="2" y="0"/>
                    <a:pt x="1" y="0"/>
                    <a:pt x="0" y="0"/>
                  </a:cubicBezTo>
                  <a:cubicBezTo>
                    <a:pt x="0" y="0"/>
                    <a:pt x="0" y="0"/>
                    <a:pt x="0" y="0"/>
                  </a:cubicBezTo>
                  <a:cubicBezTo>
                    <a:pt x="0" y="1"/>
                    <a:pt x="0" y="1"/>
                    <a:pt x="0" y="1"/>
                  </a:cubicBezTo>
                  <a:cubicBezTo>
                    <a:pt x="0" y="1"/>
                    <a:pt x="1" y="1"/>
                    <a:pt x="1" y="1"/>
                  </a:cubicBezTo>
                  <a:cubicBezTo>
                    <a:pt x="2" y="1"/>
                    <a:pt x="2" y="1"/>
                    <a:pt x="2" y="1"/>
                  </a:cubicBezTo>
                  <a:cubicBezTo>
                    <a:pt x="3" y="1"/>
                    <a:pt x="4" y="1"/>
                    <a:pt x="4" y="1"/>
                  </a:cubicBezTo>
                  <a:cubicBezTo>
                    <a:pt x="4" y="1"/>
                    <a:pt x="3" y="1"/>
                    <a:pt x="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90" name="Freeform 73">
              <a:extLst>
                <a:ext uri="{FF2B5EF4-FFF2-40B4-BE49-F238E27FC236}">
                  <a16:creationId xmlns:a16="http://schemas.microsoft.com/office/drawing/2014/main" id="{A2FE02CA-A223-9AEB-0879-AF364557ED79}"/>
                </a:ext>
              </a:extLst>
            </p:cNvPr>
            <p:cNvSpPr>
              <a:spLocks/>
            </p:cNvSpPr>
            <p:nvPr/>
          </p:nvSpPr>
          <p:spPr bwMode="auto">
            <a:xfrm>
              <a:off x="5779" y="2107"/>
              <a:ext cx="62" cy="21"/>
            </a:xfrm>
            <a:custGeom>
              <a:avLst/>
              <a:gdLst>
                <a:gd name="T0" fmla="*/ 1 w 6"/>
                <a:gd name="T1" fmla="*/ 1 h 2"/>
                <a:gd name="T2" fmla="*/ 0 w 6"/>
                <a:gd name="T3" fmla="*/ 2 h 2"/>
                <a:gd name="T4" fmla="*/ 6 w 6"/>
                <a:gd name="T5" fmla="*/ 1 h 2"/>
                <a:gd name="T6" fmla="*/ 6 w 6"/>
                <a:gd name="T7" fmla="*/ 0 h 2"/>
                <a:gd name="T8" fmla="*/ 6 w 6"/>
                <a:gd name="T9" fmla="*/ 0 h 2"/>
                <a:gd name="T10" fmla="*/ 4 w 6"/>
                <a:gd name="T11" fmla="*/ 1 h 2"/>
                <a:gd name="T12" fmla="*/ 1 w 6"/>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6" h="2">
                  <a:moveTo>
                    <a:pt x="1" y="1"/>
                  </a:moveTo>
                  <a:cubicBezTo>
                    <a:pt x="0" y="1"/>
                    <a:pt x="0" y="1"/>
                    <a:pt x="0" y="2"/>
                  </a:cubicBezTo>
                  <a:cubicBezTo>
                    <a:pt x="2" y="1"/>
                    <a:pt x="4" y="1"/>
                    <a:pt x="6" y="1"/>
                  </a:cubicBezTo>
                  <a:cubicBezTo>
                    <a:pt x="6" y="1"/>
                    <a:pt x="6" y="1"/>
                    <a:pt x="6" y="0"/>
                  </a:cubicBezTo>
                  <a:cubicBezTo>
                    <a:pt x="6" y="0"/>
                    <a:pt x="6" y="0"/>
                    <a:pt x="6" y="0"/>
                  </a:cubicBezTo>
                  <a:cubicBezTo>
                    <a:pt x="6" y="1"/>
                    <a:pt x="5" y="1"/>
                    <a:pt x="4" y="1"/>
                  </a:cubicBezTo>
                  <a:cubicBezTo>
                    <a:pt x="3" y="1"/>
                    <a:pt x="2" y="1"/>
                    <a:pt x="1"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91" name="Freeform 74">
              <a:extLst>
                <a:ext uri="{FF2B5EF4-FFF2-40B4-BE49-F238E27FC236}">
                  <a16:creationId xmlns:a16="http://schemas.microsoft.com/office/drawing/2014/main" id="{A26B8548-ACF0-9848-2663-C683A81EFC5B}"/>
                </a:ext>
              </a:extLst>
            </p:cNvPr>
            <p:cNvSpPr>
              <a:spLocks/>
            </p:cNvSpPr>
            <p:nvPr/>
          </p:nvSpPr>
          <p:spPr bwMode="auto">
            <a:xfrm>
              <a:off x="2488" y="1187"/>
              <a:ext cx="31" cy="21"/>
            </a:xfrm>
            <a:custGeom>
              <a:avLst/>
              <a:gdLst>
                <a:gd name="T0" fmla="*/ 2 w 3"/>
                <a:gd name="T1" fmla="*/ 1 h 2"/>
                <a:gd name="T2" fmla="*/ 2 w 3"/>
                <a:gd name="T3" fmla="*/ 1 h 2"/>
                <a:gd name="T4" fmla="*/ 1 w 3"/>
                <a:gd name="T5" fmla="*/ 1 h 2"/>
                <a:gd name="T6" fmla="*/ 0 w 3"/>
                <a:gd name="T7" fmla="*/ 2 h 2"/>
                <a:gd name="T8" fmla="*/ 1 w 3"/>
                <a:gd name="T9" fmla="*/ 2 h 2"/>
                <a:gd name="T10" fmla="*/ 3 w 3"/>
                <a:gd name="T11" fmla="*/ 1 h 2"/>
                <a:gd name="T12" fmla="*/ 3 w 3"/>
                <a:gd name="T13" fmla="*/ 1 h 2"/>
                <a:gd name="T14" fmla="*/ 2 w 3"/>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2" y="1"/>
                  </a:moveTo>
                  <a:cubicBezTo>
                    <a:pt x="2" y="1"/>
                    <a:pt x="2" y="1"/>
                    <a:pt x="2" y="1"/>
                  </a:cubicBezTo>
                  <a:cubicBezTo>
                    <a:pt x="2" y="1"/>
                    <a:pt x="1" y="1"/>
                    <a:pt x="1" y="1"/>
                  </a:cubicBezTo>
                  <a:cubicBezTo>
                    <a:pt x="0" y="1"/>
                    <a:pt x="1" y="2"/>
                    <a:pt x="0" y="2"/>
                  </a:cubicBezTo>
                  <a:cubicBezTo>
                    <a:pt x="0" y="2"/>
                    <a:pt x="1" y="2"/>
                    <a:pt x="1" y="2"/>
                  </a:cubicBezTo>
                  <a:cubicBezTo>
                    <a:pt x="3" y="2"/>
                    <a:pt x="3" y="2"/>
                    <a:pt x="3" y="1"/>
                  </a:cubicBezTo>
                  <a:cubicBezTo>
                    <a:pt x="3" y="1"/>
                    <a:pt x="3" y="1"/>
                    <a:pt x="3" y="1"/>
                  </a:cubicBezTo>
                  <a:cubicBezTo>
                    <a:pt x="3" y="0"/>
                    <a:pt x="2" y="1"/>
                    <a:pt x="2"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92" name="Freeform 75">
              <a:extLst>
                <a:ext uri="{FF2B5EF4-FFF2-40B4-BE49-F238E27FC236}">
                  <a16:creationId xmlns:a16="http://schemas.microsoft.com/office/drawing/2014/main" id="{BA378857-2743-9772-7EAB-B9152AE9A572}"/>
                </a:ext>
              </a:extLst>
            </p:cNvPr>
            <p:cNvSpPr>
              <a:spLocks/>
            </p:cNvSpPr>
            <p:nvPr/>
          </p:nvSpPr>
          <p:spPr bwMode="auto">
            <a:xfrm>
              <a:off x="2262" y="1228"/>
              <a:ext cx="62" cy="11"/>
            </a:xfrm>
            <a:custGeom>
              <a:avLst/>
              <a:gdLst>
                <a:gd name="T0" fmla="*/ 4 w 6"/>
                <a:gd name="T1" fmla="*/ 0 h 1"/>
                <a:gd name="T2" fmla="*/ 2 w 6"/>
                <a:gd name="T3" fmla="*/ 0 h 1"/>
                <a:gd name="T4" fmla="*/ 0 w 6"/>
                <a:gd name="T5" fmla="*/ 1 h 1"/>
                <a:gd name="T6" fmla="*/ 2 w 6"/>
                <a:gd name="T7" fmla="*/ 1 h 1"/>
                <a:gd name="T8" fmla="*/ 5 w 6"/>
                <a:gd name="T9" fmla="*/ 1 h 1"/>
                <a:gd name="T10" fmla="*/ 6 w 6"/>
                <a:gd name="T11" fmla="*/ 0 h 1"/>
                <a:gd name="T12" fmla="*/ 5 w 6"/>
                <a:gd name="T13" fmla="*/ 0 h 1"/>
                <a:gd name="T14" fmla="*/ 4 w 6"/>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
                  <a:moveTo>
                    <a:pt x="4" y="0"/>
                  </a:moveTo>
                  <a:cubicBezTo>
                    <a:pt x="4" y="0"/>
                    <a:pt x="3" y="1"/>
                    <a:pt x="2" y="0"/>
                  </a:cubicBezTo>
                  <a:cubicBezTo>
                    <a:pt x="1" y="0"/>
                    <a:pt x="1" y="1"/>
                    <a:pt x="0" y="1"/>
                  </a:cubicBezTo>
                  <a:cubicBezTo>
                    <a:pt x="1" y="1"/>
                    <a:pt x="2" y="1"/>
                    <a:pt x="2" y="1"/>
                  </a:cubicBezTo>
                  <a:cubicBezTo>
                    <a:pt x="3" y="1"/>
                    <a:pt x="4" y="1"/>
                    <a:pt x="5" y="1"/>
                  </a:cubicBezTo>
                  <a:cubicBezTo>
                    <a:pt x="5" y="1"/>
                    <a:pt x="6" y="0"/>
                    <a:pt x="6" y="0"/>
                  </a:cubicBezTo>
                  <a:cubicBezTo>
                    <a:pt x="6" y="0"/>
                    <a:pt x="6" y="0"/>
                    <a:pt x="5" y="0"/>
                  </a:cubicBezTo>
                  <a:cubicBezTo>
                    <a:pt x="5" y="0"/>
                    <a:pt x="5" y="0"/>
                    <a:pt x="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93" name="Freeform 76">
              <a:extLst>
                <a:ext uri="{FF2B5EF4-FFF2-40B4-BE49-F238E27FC236}">
                  <a16:creationId xmlns:a16="http://schemas.microsoft.com/office/drawing/2014/main" id="{8F456E9C-2C59-8B5B-9BBD-B9111CACEF9D}"/>
                </a:ext>
              </a:extLst>
            </p:cNvPr>
            <p:cNvSpPr>
              <a:spLocks/>
            </p:cNvSpPr>
            <p:nvPr/>
          </p:nvSpPr>
          <p:spPr bwMode="auto">
            <a:xfrm>
              <a:off x="5882" y="2117"/>
              <a:ext cx="20" cy="31"/>
            </a:xfrm>
            <a:custGeom>
              <a:avLst/>
              <a:gdLst>
                <a:gd name="T0" fmla="*/ 2 w 2"/>
                <a:gd name="T1" fmla="*/ 2 h 3"/>
                <a:gd name="T2" fmla="*/ 1 w 2"/>
                <a:gd name="T3" fmla="*/ 0 h 3"/>
                <a:gd name="T4" fmla="*/ 0 w 2"/>
                <a:gd name="T5" fmla="*/ 2 h 3"/>
                <a:gd name="T6" fmla="*/ 2 w 2"/>
                <a:gd name="T7" fmla="*/ 2 h 3"/>
                <a:gd name="T8" fmla="*/ 2 w 2"/>
                <a:gd name="T9" fmla="*/ 2 h 3"/>
              </a:gdLst>
              <a:ahLst/>
              <a:cxnLst>
                <a:cxn ang="0">
                  <a:pos x="T0" y="T1"/>
                </a:cxn>
                <a:cxn ang="0">
                  <a:pos x="T2" y="T3"/>
                </a:cxn>
                <a:cxn ang="0">
                  <a:pos x="T4" y="T5"/>
                </a:cxn>
                <a:cxn ang="0">
                  <a:pos x="T6" y="T7"/>
                </a:cxn>
                <a:cxn ang="0">
                  <a:pos x="T8" y="T9"/>
                </a:cxn>
              </a:cxnLst>
              <a:rect l="0" t="0" r="r" b="b"/>
              <a:pathLst>
                <a:path w="2" h="3">
                  <a:moveTo>
                    <a:pt x="2" y="2"/>
                  </a:moveTo>
                  <a:cubicBezTo>
                    <a:pt x="1" y="1"/>
                    <a:pt x="1" y="1"/>
                    <a:pt x="1" y="0"/>
                  </a:cubicBezTo>
                  <a:cubicBezTo>
                    <a:pt x="0" y="1"/>
                    <a:pt x="0" y="2"/>
                    <a:pt x="0" y="2"/>
                  </a:cubicBezTo>
                  <a:cubicBezTo>
                    <a:pt x="1" y="3"/>
                    <a:pt x="1" y="2"/>
                    <a:pt x="2" y="2"/>
                  </a:cubicBezTo>
                  <a:cubicBezTo>
                    <a:pt x="2" y="2"/>
                    <a:pt x="2" y="2"/>
                    <a:pt x="2"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94" name="Freeform 77">
              <a:extLst>
                <a:ext uri="{FF2B5EF4-FFF2-40B4-BE49-F238E27FC236}">
                  <a16:creationId xmlns:a16="http://schemas.microsoft.com/office/drawing/2014/main" id="{808B14B4-55B6-EF93-894C-4020CAB8DD8F}"/>
                </a:ext>
              </a:extLst>
            </p:cNvPr>
            <p:cNvSpPr>
              <a:spLocks/>
            </p:cNvSpPr>
            <p:nvPr/>
          </p:nvSpPr>
          <p:spPr bwMode="auto">
            <a:xfrm>
              <a:off x="1791" y="1197"/>
              <a:ext cx="31" cy="31"/>
            </a:xfrm>
            <a:custGeom>
              <a:avLst/>
              <a:gdLst>
                <a:gd name="T0" fmla="*/ 0 w 3"/>
                <a:gd name="T1" fmla="*/ 3 h 3"/>
                <a:gd name="T2" fmla="*/ 3 w 3"/>
                <a:gd name="T3" fmla="*/ 0 h 3"/>
                <a:gd name="T4" fmla="*/ 0 w 3"/>
                <a:gd name="T5" fmla="*/ 3 h 3"/>
              </a:gdLst>
              <a:ahLst/>
              <a:cxnLst>
                <a:cxn ang="0">
                  <a:pos x="T0" y="T1"/>
                </a:cxn>
                <a:cxn ang="0">
                  <a:pos x="T2" y="T3"/>
                </a:cxn>
                <a:cxn ang="0">
                  <a:pos x="T4" y="T5"/>
                </a:cxn>
              </a:cxnLst>
              <a:rect l="0" t="0" r="r" b="b"/>
              <a:pathLst>
                <a:path w="3" h="3">
                  <a:moveTo>
                    <a:pt x="0" y="3"/>
                  </a:moveTo>
                  <a:cubicBezTo>
                    <a:pt x="1" y="2"/>
                    <a:pt x="2" y="2"/>
                    <a:pt x="3" y="0"/>
                  </a:cubicBezTo>
                  <a:cubicBezTo>
                    <a:pt x="2" y="1"/>
                    <a:pt x="0" y="1"/>
                    <a:pt x="0"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95" name="Freeform 78">
              <a:extLst>
                <a:ext uri="{FF2B5EF4-FFF2-40B4-BE49-F238E27FC236}">
                  <a16:creationId xmlns:a16="http://schemas.microsoft.com/office/drawing/2014/main" id="{24C0A6B8-94B7-B432-9B19-57DCABFCAE62}"/>
                </a:ext>
              </a:extLst>
            </p:cNvPr>
            <p:cNvSpPr>
              <a:spLocks/>
            </p:cNvSpPr>
            <p:nvPr/>
          </p:nvSpPr>
          <p:spPr bwMode="auto">
            <a:xfrm>
              <a:off x="1063" y="1290"/>
              <a:ext cx="82" cy="52"/>
            </a:xfrm>
            <a:custGeom>
              <a:avLst/>
              <a:gdLst>
                <a:gd name="T0" fmla="*/ 0 w 8"/>
                <a:gd name="T1" fmla="*/ 5 h 5"/>
                <a:gd name="T2" fmla="*/ 2 w 8"/>
                <a:gd name="T3" fmla="*/ 4 h 5"/>
                <a:gd name="T4" fmla="*/ 8 w 8"/>
                <a:gd name="T5" fmla="*/ 0 h 5"/>
                <a:gd name="T6" fmla="*/ 4 w 8"/>
                <a:gd name="T7" fmla="*/ 2 h 5"/>
                <a:gd name="T8" fmla="*/ 0 w 8"/>
                <a:gd name="T9" fmla="*/ 5 h 5"/>
                <a:gd name="T10" fmla="*/ 0 w 8"/>
                <a:gd name="T11" fmla="*/ 5 h 5"/>
                <a:gd name="T12" fmla="*/ 0 w 8"/>
                <a:gd name="T13" fmla="*/ 5 h 5"/>
                <a:gd name="T14" fmla="*/ 0 w 8"/>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0" y="5"/>
                  </a:moveTo>
                  <a:cubicBezTo>
                    <a:pt x="1" y="4"/>
                    <a:pt x="1" y="4"/>
                    <a:pt x="2" y="4"/>
                  </a:cubicBezTo>
                  <a:cubicBezTo>
                    <a:pt x="4" y="3"/>
                    <a:pt x="5" y="2"/>
                    <a:pt x="8" y="0"/>
                  </a:cubicBezTo>
                  <a:cubicBezTo>
                    <a:pt x="6" y="1"/>
                    <a:pt x="5" y="1"/>
                    <a:pt x="4" y="2"/>
                  </a:cubicBezTo>
                  <a:cubicBezTo>
                    <a:pt x="3" y="3"/>
                    <a:pt x="2" y="4"/>
                    <a:pt x="0" y="5"/>
                  </a:cubicBezTo>
                  <a:cubicBezTo>
                    <a:pt x="0" y="5"/>
                    <a:pt x="0" y="5"/>
                    <a:pt x="0" y="5"/>
                  </a:cubicBezTo>
                  <a:cubicBezTo>
                    <a:pt x="0" y="5"/>
                    <a:pt x="0" y="5"/>
                    <a:pt x="0" y="5"/>
                  </a:cubicBezTo>
                  <a:cubicBezTo>
                    <a:pt x="0" y="5"/>
                    <a:pt x="0" y="5"/>
                    <a:pt x="0"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96" name="Freeform 79">
              <a:extLst>
                <a:ext uri="{FF2B5EF4-FFF2-40B4-BE49-F238E27FC236}">
                  <a16:creationId xmlns:a16="http://schemas.microsoft.com/office/drawing/2014/main" id="{0DE8BCF3-18C1-CBFE-ED75-58F3078ADCA7}"/>
                </a:ext>
              </a:extLst>
            </p:cNvPr>
            <p:cNvSpPr>
              <a:spLocks/>
            </p:cNvSpPr>
            <p:nvPr/>
          </p:nvSpPr>
          <p:spPr bwMode="auto">
            <a:xfrm>
              <a:off x="5872" y="2148"/>
              <a:ext cx="30" cy="21"/>
            </a:xfrm>
            <a:custGeom>
              <a:avLst/>
              <a:gdLst>
                <a:gd name="T0" fmla="*/ 3 w 3"/>
                <a:gd name="T1" fmla="*/ 0 h 2"/>
                <a:gd name="T2" fmla="*/ 3 w 3"/>
                <a:gd name="T3" fmla="*/ 0 h 2"/>
                <a:gd name="T4" fmla="*/ 3 w 3"/>
                <a:gd name="T5" fmla="*/ 0 h 2"/>
                <a:gd name="T6" fmla="*/ 2 w 3"/>
                <a:gd name="T7" fmla="*/ 0 h 2"/>
                <a:gd name="T8" fmla="*/ 1 w 3"/>
                <a:gd name="T9" fmla="*/ 0 h 2"/>
                <a:gd name="T10" fmla="*/ 1 w 3"/>
                <a:gd name="T11" fmla="*/ 1 h 2"/>
                <a:gd name="T12" fmla="*/ 1 w 3"/>
                <a:gd name="T13" fmla="*/ 2 h 2"/>
                <a:gd name="T14" fmla="*/ 2 w 3"/>
                <a:gd name="T15" fmla="*/ 2 h 2"/>
                <a:gd name="T16" fmla="*/ 3 w 3"/>
                <a:gd name="T17" fmla="*/ 0 h 2"/>
                <a:gd name="T18" fmla="*/ 3 w 3"/>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3" y="0"/>
                  </a:moveTo>
                  <a:cubicBezTo>
                    <a:pt x="3" y="0"/>
                    <a:pt x="3" y="0"/>
                    <a:pt x="3" y="0"/>
                  </a:cubicBezTo>
                  <a:cubicBezTo>
                    <a:pt x="3" y="0"/>
                    <a:pt x="3" y="0"/>
                    <a:pt x="3" y="0"/>
                  </a:cubicBezTo>
                  <a:cubicBezTo>
                    <a:pt x="2" y="0"/>
                    <a:pt x="2" y="0"/>
                    <a:pt x="2" y="0"/>
                  </a:cubicBezTo>
                  <a:cubicBezTo>
                    <a:pt x="2" y="0"/>
                    <a:pt x="2" y="0"/>
                    <a:pt x="1" y="0"/>
                  </a:cubicBezTo>
                  <a:cubicBezTo>
                    <a:pt x="1" y="0"/>
                    <a:pt x="0" y="0"/>
                    <a:pt x="1" y="1"/>
                  </a:cubicBezTo>
                  <a:cubicBezTo>
                    <a:pt x="1" y="1"/>
                    <a:pt x="1" y="2"/>
                    <a:pt x="1" y="2"/>
                  </a:cubicBezTo>
                  <a:cubicBezTo>
                    <a:pt x="2" y="2"/>
                    <a:pt x="2" y="2"/>
                    <a:pt x="2" y="2"/>
                  </a:cubicBezTo>
                  <a:cubicBezTo>
                    <a:pt x="1" y="1"/>
                    <a:pt x="3" y="1"/>
                    <a:pt x="3" y="0"/>
                  </a:cubicBezTo>
                  <a:cubicBezTo>
                    <a:pt x="3" y="0"/>
                    <a:pt x="3" y="0"/>
                    <a:pt x="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97" name="Freeform 80">
              <a:extLst>
                <a:ext uri="{FF2B5EF4-FFF2-40B4-BE49-F238E27FC236}">
                  <a16:creationId xmlns:a16="http://schemas.microsoft.com/office/drawing/2014/main" id="{4439FB01-4F19-3B11-73F2-DE9E974EBCA8}"/>
                </a:ext>
              </a:extLst>
            </p:cNvPr>
            <p:cNvSpPr>
              <a:spLocks/>
            </p:cNvSpPr>
            <p:nvPr/>
          </p:nvSpPr>
          <p:spPr bwMode="auto">
            <a:xfrm>
              <a:off x="4129" y="1197"/>
              <a:ext cx="61" cy="21"/>
            </a:xfrm>
            <a:custGeom>
              <a:avLst/>
              <a:gdLst>
                <a:gd name="T0" fmla="*/ 5 w 6"/>
                <a:gd name="T1" fmla="*/ 2 h 2"/>
                <a:gd name="T2" fmla="*/ 6 w 6"/>
                <a:gd name="T3" fmla="*/ 1 h 2"/>
                <a:gd name="T4" fmla="*/ 3 w 6"/>
                <a:gd name="T5" fmla="*/ 1 h 2"/>
                <a:gd name="T6" fmla="*/ 0 w 6"/>
                <a:gd name="T7" fmla="*/ 0 h 2"/>
                <a:gd name="T8" fmla="*/ 0 w 6"/>
                <a:gd name="T9" fmla="*/ 0 h 2"/>
                <a:gd name="T10" fmla="*/ 0 w 6"/>
                <a:gd name="T11" fmla="*/ 1 h 2"/>
                <a:gd name="T12" fmla="*/ 5 w 6"/>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6" h="2">
                  <a:moveTo>
                    <a:pt x="5" y="2"/>
                  </a:moveTo>
                  <a:cubicBezTo>
                    <a:pt x="5" y="2"/>
                    <a:pt x="5" y="1"/>
                    <a:pt x="6" y="1"/>
                  </a:cubicBezTo>
                  <a:cubicBezTo>
                    <a:pt x="5" y="1"/>
                    <a:pt x="4" y="1"/>
                    <a:pt x="3" y="1"/>
                  </a:cubicBezTo>
                  <a:cubicBezTo>
                    <a:pt x="2" y="0"/>
                    <a:pt x="1" y="1"/>
                    <a:pt x="0" y="0"/>
                  </a:cubicBezTo>
                  <a:cubicBezTo>
                    <a:pt x="0" y="0"/>
                    <a:pt x="0" y="0"/>
                    <a:pt x="0" y="0"/>
                  </a:cubicBezTo>
                  <a:cubicBezTo>
                    <a:pt x="0" y="0"/>
                    <a:pt x="0" y="1"/>
                    <a:pt x="0" y="1"/>
                  </a:cubicBezTo>
                  <a:cubicBezTo>
                    <a:pt x="2" y="1"/>
                    <a:pt x="3" y="2"/>
                    <a:pt x="5"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98" name="Freeform 81">
              <a:extLst>
                <a:ext uri="{FF2B5EF4-FFF2-40B4-BE49-F238E27FC236}">
                  <a16:creationId xmlns:a16="http://schemas.microsoft.com/office/drawing/2014/main" id="{339E4B69-E1CC-0E37-660A-EE6A7E8F9589}"/>
                </a:ext>
              </a:extLst>
            </p:cNvPr>
            <p:cNvSpPr>
              <a:spLocks/>
            </p:cNvSpPr>
            <p:nvPr/>
          </p:nvSpPr>
          <p:spPr bwMode="auto">
            <a:xfrm>
              <a:off x="1422" y="1104"/>
              <a:ext cx="61" cy="42"/>
            </a:xfrm>
            <a:custGeom>
              <a:avLst/>
              <a:gdLst>
                <a:gd name="T0" fmla="*/ 1 w 6"/>
                <a:gd name="T1" fmla="*/ 4 h 4"/>
                <a:gd name="T2" fmla="*/ 5 w 6"/>
                <a:gd name="T3" fmla="*/ 1 h 4"/>
                <a:gd name="T4" fmla="*/ 6 w 6"/>
                <a:gd name="T5" fmla="*/ 0 h 4"/>
                <a:gd name="T6" fmla="*/ 0 w 6"/>
                <a:gd name="T7" fmla="*/ 3 h 4"/>
                <a:gd name="T8" fmla="*/ 0 w 6"/>
                <a:gd name="T9" fmla="*/ 4 h 4"/>
                <a:gd name="T10" fmla="*/ 1 w 6"/>
                <a:gd name="T11" fmla="*/ 4 h 4"/>
              </a:gdLst>
              <a:ahLst/>
              <a:cxnLst>
                <a:cxn ang="0">
                  <a:pos x="T0" y="T1"/>
                </a:cxn>
                <a:cxn ang="0">
                  <a:pos x="T2" y="T3"/>
                </a:cxn>
                <a:cxn ang="0">
                  <a:pos x="T4" y="T5"/>
                </a:cxn>
                <a:cxn ang="0">
                  <a:pos x="T6" y="T7"/>
                </a:cxn>
                <a:cxn ang="0">
                  <a:pos x="T8" y="T9"/>
                </a:cxn>
                <a:cxn ang="0">
                  <a:pos x="T10" y="T11"/>
                </a:cxn>
              </a:cxnLst>
              <a:rect l="0" t="0" r="r" b="b"/>
              <a:pathLst>
                <a:path w="6" h="4">
                  <a:moveTo>
                    <a:pt x="1" y="4"/>
                  </a:moveTo>
                  <a:cubicBezTo>
                    <a:pt x="2" y="3"/>
                    <a:pt x="4" y="2"/>
                    <a:pt x="5" y="1"/>
                  </a:cubicBezTo>
                  <a:cubicBezTo>
                    <a:pt x="5" y="1"/>
                    <a:pt x="6" y="1"/>
                    <a:pt x="6" y="0"/>
                  </a:cubicBezTo>
                  <a:cubicBezTo>
                    <a:pt x="4" y="1"/>
                    <a:pt x="2" y="2"/>
                    <a:pt x="0" y="3"/>
                  </a:cubicBezTo>
                  <a:cubicBezTo>
                    <a:pt x="0" y="3"/>
                    <a:pt x="0" y="3"/>
                    <a:pt x="0" y="4"/>
                  </a:cubicBezTo>
                  <a:cubicBezTo>
                    <a:pt x="0" y="4"/>
                    <a:pt x="1" y="4"/>
                    <a:pt x="1"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99" name="Freeform 82">
              <a:extLst>
                <a:ext uri="{FF2B5EF4-FFF2-40B4-BE49-F238E27FC236}">
                  <a16:creationId xmlns:a16="http://schemas.microsoft.com/office/drawing/2014/main" id="{AF371E5A-3ACB-0D56-B644-87320A3A781D}"/>
                </a:ext>
              </a:extLst>
            </p:cNvPr>
            <p:cNvSpPr>
              <a:spLocks/>
            </p:cNvSpPr>
            <p:nvPr/>
          </p:nvSpPr>
          <p:spPr bwMode="auto">
            <a:xfrm>
              <a:off x="5021" y="618"/>
              <a:ext cx="71" cy="21"/>
            </a:xfrm>
            <a:custGeom>
              <a:avLst/>
              <a:gdLst>
                <a:gd name="T0" fmla="*/ 4 w 7"/>
                <a:gd name="T1" fmla="*/ 2 h 2"/>
                <a:gd name="T2" fmla="*/ 7 w 7"/>
                <a:gd name="T3" fmla="*/ 2 h 2"/>
                <a:gd name="T4" fmla="*/ 6 w 7"/>
                <a:gd name="T5" fmla="*/ 1 h 2"/>
                <a:gd name="T6" fmla="*/ 2 w 7"/>
                <a:gd name="T7" fmla="*/ 1 h 2"/>
                <a:gd name="T8" fmla="*/ 0 w 7"/>
                <a:gd name="T9" fmla="*/ 1 h 2"/>
                <a:gd name="T10" fmla="*/ 4 w 7"/>
                <a:gd name="T11" fmla="*/ 2 h 2"/>
              </a:gdLst>
              <a:ahLst/>
              <a:cxnLst>
                <a:cxn ang="0">
                  <a:pos x="T0" y="T1"/>
                </a:cxn>
                <a:cxn ang="0">
                  <a:pos x="T2" y="T3"/>
                </a:cxn>
                <a:cxn ang="0">
                  <a:pos x="T4" y="T5"/>
                </a:cxn>
                <a:cxn ang="0">
                  <a:pos x="T6" y="T7"/>
                </a:cxn>
                <a:cxn ang="0">
                  <a:pos x="T8" y="T9"/>
                </a:cxn>
                <a:cxn ang="0">
                  <a:pos x="T10" y="T11"/>
                </a:cxn>
              </a:cxnLst>
              <a:rect l="0" t="0" r="r" b="b"/>
              <a:pathLst>
                <a:path w="7" h="2">
                  <a:moveTo>
                    <a:pt x="4" y="2"/>
                  </a:moveTo>
                  <a:cubicBezTo>
                    <a:pt x="5" y="2"/>
                    <a:pt x="6" y="2"/>
                    <a:pt x="7" y="2"/>
                  </a:cubicBezTo>
                  <a:cubicBezTo>
                    <a:pt x="6" y="2"/>
                    <a:pt x="6" y="1"/>
                    <a:pt x="6" y="1"/>
                  </a:cubicBezTo>
                  <a:cubicBezTo>
                    <a:pt x="5" y="2"/>
                    <a:pt x="3" y="1"/>
                    <a:pt x="2" y="1"/>
                  </a:cubicBezTo>
                  <a:cubicBezTo>
                    <a:pt x="1" y="0"/>
                    <a:pt x="0" y="0"/>
                    <a:pt x="0" y="1"/>
                  </a:cubicBezTo>
                  <a:cubicBezTo>
                    <a:pt x="2" y="1"/>
                    <a:pt x="3" y="2"/>
                    <a:pt x="4"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100" name="Freeform 83">
              <a:extLst>
                <a:ext uri="{FF2B5EF4-FFF2-40B4-BE49-F238E27FC236}">
                  <a16:creationId xmlns:a16="http://schemas.microsoft.com/office/drawing/2014/main" id="{E296FFB7-E7D1-C289-1FD7-FAE738CF9301}"/>
                </a:ext>
              </a:extLst>
            </p:cNvPr>
            <p:cNvSpPr>
              <a:spLocks/>
            </p:cNvSpPr>
            <p:nvPr/>
          </p:nvSpPr>
          <p:spPr bwMode="auto">
            <a:xfrm>
              <a:off x="2170" y="1797"/>
              <a:ext cx="41" cy="10"/>
            </a:xfrm>
            <a:custGeom>
              <a:avLst/>
              <a:gdLst>
                <a:gd name="T0" fmla="*/ 2 w 4"/>
                <a:gd name="T1" fmla="*/ 0 h 1"/>
                <a:gd name="T2" fmla="*/ 0 w 4"/>
                <a:gd name="T3" fmla="*/ 1 h 1"/>
                <a:gd name="T4" fmla="*/ 2 w 4"/>
                <a:gd name="T5" fmla="*/ 1 h 1"/>
                <a:gd name="T6" fmla="*/ 4 w 4"/>
                <a:gd name="T7" fmla="*/ 0 h 1"/>
                <a:gd name="T8" fmla="*/ 4 w 4"/>
                <a:gd name="T9" fmla="*/ 0 h 1"/>
                <a:gd name="T10" fmla="*/ 4 w 4"/>
                <a:gd name="T11" fmla="*/ 0 h 1"/>
                <a:gd name="T12" fmla="*/ 2 w 4"/>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4" h="1">
                  <a:moveTo>
                    <a:pt x="2" y="0"/>
                  </a:moveTo>
                  <a:cubicBezTo>
                    <a:pt x="1" y="0"/>
                    <a:pt x="1" y="0"/>
                    <a:pt x="0" y="1"/>
                  </a:cubicBezTo>
                  <a:cubicBezTo>
                    <a:pt x="1" y="1"/>
                    <a:pt x="2" y="1"/>
                    <a:pt x="2" y="1"/>
                  </a:cubicBezTo>
                  <a:cubicBezTo>
                    <a:pt x="3" y="1"/>
                    <a:pt x="3" y="0"/>
                    <a:pt x="4" y="0"/>
                  </a:cubicBezTo>
                  <a:cubicBezTo>
                    <a:pt x="4" y="0"/>
                    <a:pt x="4" y="0"/>
                    <a:pt x="4" y="0"/>
                  </a:cubicBezTo>
                  <a:cubicBezTo>
                    <a:pt x="4" y="0"/>
                    <a:pt x="4" y="0"/>
                    <a:pt x="4" y="0"/>
                  </a:cubicBezTo>
                  <a:cubicBezTo>
                    <a:pt x="3" y="0"/>
                    <a:pt x="3" y="0"/>
                    <a:pt x="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101" name="Freeform 84">
              <a:extLst>
                <a:ext uri="{FF2B5EF4-FFF2-40B4-BE49-F238E27FC236}">
                  <a16:creationId xmlns:a16="http://schemas.microsoft.com/office/drawing/2014/main" id="{EDE34AF0-41D9-3CDA-6D67-2089AFB41E74}"/>
                </a:ext>
              </a:extLst>
            </p:cNvPr>
            <p:cNvSpPr>
              <a:spLocks/>
            </p:cNvSpPr>
            <p:nvPr/>
          </p:nvSpPr>
          <p:spPr bwMode="auto">
            <a:xfrm>
              <a:off x="3821" y="1073"/>
              <a:ext cx="20" cy="21"/>
            </a:xfrm>
            <a:custGeom>
              <a:avLst/>
              <a:gdLst>
                <a:gd name="T0" fmla="*/ 1 w 2"/>
                <a:gd name="T1" fmla="*/ 2 h 2"/>
                <a:gd name="T2" fmla="*/ 2 w 2"/>
                <a:gd name="T3" fmla="*/ 2 h 2"/>
                <a:gd name="T4" fmla="*/ 2 w 2"/>
                <a:gd name="T5" fmla="*/ 0 h 2"/>
                <a:gd name="T6" fmla="*/ 1 w 2"/>
                <a:gd name="T7" fmla="*/ 0 h 2"/>
                <a:gd name="T8" fmla="*/ 1 w 2"/>
                <a:gd name="T9" fmla="*/ 2 h 2"/>
                <a:gd name="T10" fmla="*/ 1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1" y="2"/>
                  </a:moveTo>
                  <a:cubicBezTo>
                    <a:pt x="2" y="2"/>
                    <a:pt x="1" y="2"/>
                    <a:pt x="2" y="2"/>
                  </a:cubicBezTo>
                  <a:cubicBezTo>
                    <a:pt x="2" y="1"/>
                    <a:pt x="2" y="1"/>
                    <a:pt x="2" y="0"/>
                  </a:cubicBezTo>
                  <a:cubicBezTo>
                    <a:pt x="2" y="0"/>
                    <a:pt x="1" y="0"/>
                    <a:pt x="1" y="0"/>
                  </a:cubicBezTo>
                  <a:cubicBezTo>
                    <a:pt x="0" y="1"/>
                    <a:pt x="0" y="1"/>
                    <a:pt x="1" y="2"/>
                  </a:cubicBezTo>
                  <a:cubicBezTo>
                    <a:pt x="1" y="2"/>
                    <a:pt x="1" y="2"/>
                    <a:pt x="1"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102" name="Freeform 85">
              <a:extLst>
                <a:ext uri="{FF2B5EF4-FFF2-40B4-BE49-F238E27FC236}">
                  <a16:creationId xmlns:a16="http://schemas.microsoft.com/office/drawing/2014/main" id="{80E83813-8C16-CFC7-AE9D-717D6EEB7817}"/>
                </a:ext>
              </a:extLst>
            </p:cNvPr>
            <p:cNvSpPr>
              <a:spLocks/>
            </p:cNvSpPr>
            <p:nvPr/>
          </p:nvSpPr>
          <p:spPr bwMode="auto">
            <a:xfrm>
              <a:off x="5513" y="2159"/>
              <a:ext cx="10" cy="31"/>
            </a:xfrm>
            <a:custGeom>
              <a:avLst/>
              <a:gdLst>
                <a:gd name="T0" fmla="*/ 1 w 1"/>
                <a:gd name="T1" fmla="*/ 3 h 3"/>
                <a:gd name="T2" fmla="*/ 1 w 1"/>
                <a:gd name="T3" fmla="*/ 3 h 3"/>
                <a:gd name="T4" fmla="*/ 1 w 1"/>
                <a:gd name="T5" fmla="*/ 0 h 3"/>
                <a:gd name="T6" fmla="*/ 0 w 1"/>
                <a:gd name="T7" fmla="*/ 0 h 3"/>
                <a:gd name="T8" fmla="*/ 0 w 1"/>
                <a:gd name="T9" fmla="*/ 0 h 3"/>
                <a:gd name="T10" fmla="*/ 0 w 1"/>
                <a:gd name="T11" fmla="*/ 1 h 3"/>
                <a:gd name="T12" fmla="*/ 0 w 1"/>
                <a:gd name="T13" fmla="*/ 2 h 3"/>
                <a:gd name="T14" fmla="*/ 1 w 1"/>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3">
                  <a:moveTo>
                    <a:pt x="1" y="3"/>
                  </a:moveTo>
                  <a:cubicBezTo>
                    <a:pt x="1" y="3"/>
                    <a:pt x="1" y="3"/>
                    <a:pt x="1" y="3"/>
                  </a:cubicBezTo>
                  <a:cubicBezTo>
                    <a:pt x="1" y="2"/>
                    <a:pt x="1" y="1"/>
                    <a:pt x="1" y="0"/>
                  </a:cubicBezTo>
                  <a:cubicBezTo>
                    <a:pt x="1" y="0"/>
                    <a:pt x="1" y="0"/>
                    <a:pt x="0" y="0"/>
                  </a:cubicBezTo>
                  <a:cubicBezTo>
                    <a:pt x="0" y="0"/>
                    <a:pt x="0" y="0"/>
                    <a:pt x="0" y="0"/>
                  </a:cubicBezTo>
                  <a:cubicBezTo>
                    <a:pt x="0" y="0"/>
                    <a:pt x="0" y="1"/>
                    <a:pt x="0" y="1"/>
                  </a:cubicBezTo>
                  <a:cubicBezTo>
                    <a:pt x="0" y="1"/>
                    <a:pt x="1" y="1"/>
                    <a:pt x="0" y="2"/>
                  </a:cubicBezTo>
                  <a:cubicBezTo>
                    <a:pt x="0" y="2"/>
                    <a:pt x="1" y="2"/>
                    <a:pt x="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103" name="Freeform 86">
              <a:extLst>
                <a:ext uri="{FF2B5EF4-FFF2-40B4-BE49-F238E27FC236}">
                  <a16:creationId xmlns:a16="http://schemas.microsoft.com/office/drawing/2014/main" id="{78658B13-018B-BB1B-D8B8-AC66544B3F2C}"/>
                </a:ext>
              </a:extLst>
            </p:cNvPr>
            <p:cNvSpPr>
              <a:spLocks/>
            </p:cNvSpPr>
            <p:nvPr/>
          </p:nvSpPr>
          <p:spPr bwMode="auto">
            <a:xfrm>
              <a:off x="5092" y="639"/>
              <a:ext cx="72" cy="21"/>
            </a:xfrm>
            <a:custGeom>
              <a:avLst/>
              <a:gdLst>
                <a:gd name="T0" fmla="*/ 7 w 7"/>
                <a:gd name="T1" fmla="*/ 2 h 2"/>
                <a:gd name="T2" fmla="*/ 7 w 7"/>
                <a:gd name="T3" fmla="*/ 1 h 2"/>
                <a:gd name="T4" fmla="*/ 7 w 7"/>
                <a:gd name="T5" fmla="*/ 1 h 2"/>
                <a:gd name="T6" fmla="*/ 0 w 7"/>
                <a:gd name="T7" fmla="*/ 0 h 2"/>
                <a:gd name="T8" fmla="*/ 2 w 7"/>
                <a:gd name="T9" fmla="*/ 1 h 2"/>
                <a:gd name="T10" fmla="*/ 7 w 7"/>
                <a:gd name="T11" fmla="*/ 2 h 2"/>
              </a:gdLst>
              <a:ahLst/>
              <a:cxnLst>
                <a:cxn ang="0">
                  <a:pos x="T0" y="T1"/>
                </a:cxn>
                <a:cxn ang="0">
                  <a:pos x="T2" y="T3"/>
                </a:cxn>
                <a:cxn ang="0">
                  <a:pos x="T4" y="T5"/>
                </a:cxn>
                <a:cxn ang="0">
                  <a:pos x="T6" y="T7"/>
                </a:cxn>
                <a:cxn ang="0">
                  <a:pos x="T8" y="T9"/>
                </a:cxn>
                <a:cxn ang="0">
                  <a:pos x="T10" y="T11"/>
                </a:cxn>
              </a:cxnLst>
              <a:rect l="0" t="0" r="r" b="b"/>
              <a:pathLst>
                <a:path w="7" h="2">
                  <a:moveTo>
                    <a:pt x="7" y="2"/>
                  </a:moveTo>
                  <a:cubicBezTo>
                    <a:pt x="7" y="2"/>
                    <a:pt x="7" y="1"/>
                    <a:pt x="7" y="1"/>
                  </a:cubicBezTo>
                  <a:cubicBezTo>
                    <a:pt x="7" y="1"/>
                    <a:pt x="7" y="1"/>
                    <a:pt x="7" y="1"/>
                  </a:cubicBezTo>
                  <a:cubicBezTo>
                    <a:pt x="5" y="1"/>
                    <a:pt x="3" y="0"/>
                    <a:pt x="0" y="0"/>
                  </a:cubicBezTo>
                  <a:cubicBezTo>
                    <a:pt x="1" y="0"/>
                    <a:pt x="2" y="1"/>
                    <a:pt x="2" y="1"/>
                  </a:cubicBezTo>
                  <a:cubicBezTo>
                    <a:pt x="4" y="1"/>
                    <a:pt x="5" y="1"/>
                    <a:pt x="7"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106" name="Freeform 87">
              <a:extLst>
                <a:ext uri="{FF2B5EF4-FFF2-40B4-BE49-F238E27FC236}">
                  <a16:creationId xmlns:a16="http://schemas.microsoft.com/office/drawing/2014/main" id="{24C4DBFA-06D9-3EE8-A5BE-AC2BF39BE594}"/>
                </a:ext>
              </a:extLst>
            </p:cNvPr>
            <p:cNvSpPr>
              <a:spLocks/>
            </p:cNvSpPr>
            <p:nvPr/>
          </p:nvSpPr>
          <p:spPr bwMode="auto">
            <a:xfrm>
              <a:off x="5677" y="2386"/>
              <a:ext cx="20" cy="21"/>
            </a:xfrm>
            <a:custGeom>
              <a:avLst/>
              <a:gdLst>
                <a:gd name="T0" fmla="*/ 0 w 2"/>
                <a:gd name="T1" fmla="*/ 0 h 2"/>
                <a:gd name="T2" fmla="*/ 0 w 2"/>
                <a:gd name="T3" fmla="*/ 1 h 2"/>
                <a:gd name="T4" fmla="*/ 1 w 2"/>
                <a:gd name="T5" fmla="*/ 2 h 2"/>
                <a:gd name="T6" fmla="*/ 2 w 2"/>
                <a:gd name="T7" fmla="*/ 2 h 2"/>
                <a:gd name="T8" fmla="*/ 2 w 2"/>
                <a:gd name="T9" fmla="*/ 1 h 2"/>
                <a:gd name="T10" fmla="*/ 1 w 2"/>
                <a:gd name="T11" fmla="*/ 0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cubicBezTo>
                    <a:pt x="0" y="0"/>
                    <a:pt x="0" y="0"/>
                    <a:pt x="0" y="1"/>
                  </a:cubicBezTo>
                  <a:cubicBezTo>
                    <a:pt x="0" y="1"/>
                    <a:pt x="1" y="1"/>
                    <a:pt x="1" y="2"/>
                  </a:cubicBezTo>
                  <a:cubicBezTo>
                    <a:pt x="1" y="2"/>
                    <a:pt x="2" y="2"/>
                    <a:pt x="2" y="2"/>
                  </a:cubicBezTo>
                  <a:cubicBezTo>
                    <a:pt x="2" y="2"/>
                    <a:pt x="2" y="2"/>
                    <a:pt x="2" y="1"/>
                  </a:cubicBezTo>
                  <a:cubicBezTo>
                    <a:pt x="2" y="1"/>
                    <a:pt x="1" y="0"/>
                    <a:pt x="1" y="0"/>
                  </a:cubicBezTo>
                  <a:cubicBezTo>
                    <a:pt x="1" y="0"/>
                    <a:pt x="0"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108" name="Freeform 88">
              <a:extLst>
                <a:ext uri="{FF2B5EF4-FFF2-40B4-BE49-F238E27FC236}">
                  <a16:creationId xmlns:a16="http://schemas.microsoft.com/office/drawing/2014/main" id="{C2ECA288-D077-A8FF-C9E5-3F58267D8741}"/>
                </a:ext>
              </a:extLst>
            </p:cNvPr>
            <p:cNvSpPr>
              <a:spLocks/>
            </p:cNvSpPr>
            <p:nvPr/>
          </p:nvSpPr>
          <p:spPr bwMode="auto">
            <a:xfrm>
              <a:off x="4313" y="1218"/>
              <a:ext cx="31" cy="10"/>
            </a:xfrm>
            <a:custGeom>
              <a:avLst/>
              <a:gdLst>
                <a:gd name="T0" fmla="*/ 1 w 3"/>
                <a:gd name="T1" fmla="*/ 1 h 1"/>
                <a:gd name="T2" fmla="*/ 3 w 3"/>
                <a:gd name="T3" fmla="*/ 0 h 1"/>
                <a:gd name="T4" fmla="*/ 1 w 3"/>
                <a:gd name="T5" fmla="*/ 0 h 1"/>
                <a:gd name="T6" fmla="*/ 0 w 3"/>
                <a:gd name="T7" fmla="*/ 1 h 1"/>
                <a:gd name="T8" fmla="*/ 0 w 3"/>
                <a:gd name="T9" fmla="*/ 1 h 1"/>
                <a:gd name="T10" fmla="*/ 1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1" y="1"/>
                  </a:moveTo>
                  <a:cubicBezTo>
                    <a:pt x="2" y="1"/>
                    <a:pt x="3" y="1"/>
                    <a:pt x="3" y="0"/>
                  </a:cubicBezTo>
                  <a:cubicBezTo>
                    <a:pt x="3" y="0"/>
                    <a:pt x="2" y="0"/>
                    <a:pt x="1" y="0"/>
                  </a:cubicBezTo>
                  <a:cubicBezTo>
                    <a:pt x="1" y="0"/>
                    <a:pt x="0" y="1"/>
                    <a:pt x="0" y="1"/>
                  </a:cubicBezTo>
                  <a:cubicBezTo>
                    <a:pt x="0" y="1"/>
                    <a:pt x="0" y="1"/>
                    <a:pt x="0" y="1"/>
                  </a:cubicBezTo>
                  <a:cubicBezTo>
                    <a:pt x="0" y="1"/>
                    <a:pt x="1" y="1"/>
                    <a:pt x="1"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110" name="Freeform 89">
              <a:extLst>
                <a:ext uri="{FF2B5EF4-FFF2-40B4-BE49-F238E27FC236}">
                  <a16:creationId xmlns:a16="http://schemas.microsoft.com/office/drawing/2014/main" id="{29BF981E-9858-1489-D5DA-5504AE16A88A}"/>
                </a:ext>
              </a:extLst>
            </p:cNvPr>
            <p:cNvSpPr>
              <a:spLocks/>
            </p:cNvSpPr>
            <p:nvPr/>
          </p:nvSpPr>
          <p:spPr bwMode="auto">
            <a:xfrm>
              <a:off x="2375" y="1714"/>
              <a:ext cx="31" cy="21"/>
            </a:xfrm>
            <a:custGeom>
              <a:avLst/>
              <a:gdLst>
                <a:gd name="T0" fmla="*/ 0 w 3"/>
                <a:gd name="T1" fmla="*/ 1 h 2"/>
                <a:gd name="T2" fmla="*/ 1 w 3"/>
                <a:gd name="T3" fmla="*/ 1 h 2"/>
                <a:gd name="T4" fmla="*/ 3 w 3"/>
                <a:gd name="T5" fmla="*/ 1 h 2"/>
                <a:gd name="T6" fmla="*/ 3 w 3"/>
                <a:gd name="T7" fmla="*/ 0 h 2"/>
                <a:gd name="T8" fmla="*/ 2 w 3"/>
                <a:gd name="T9" fmla="*/ 0 h 2"/>
                <a:gd name="T10" fmla="*/ 0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0" y="1"/>
                  </a:moveTo>
                  <a:cubicBezTo>
                    <a:pt x="0" y="1"/>
                    <a:pt x="0" y="2"/>
                    <a:pt x="1" y="1"/>
                  </a:cubicBezTo>
                  <a:cubicBezTo>
                    <a:pt x="2" y="1"/>
                    <a:pt x="2" y="1"/>
                    <a:pt x="3" y="1"/>
                  </a:cubicBezTo>
                  <a:cubicBezTo>
                    <a:pt x="3" y="0"/>
                    <a:pt x="3" y="0"/>
                    <a:pt x="3" y="0"/>
                  </a:cubicBezTo>
                  <a:cubicBezTo>
                    <a:pt x="3" y="0"/>
                    <a:pt x="3" y="0"/>
                    <a:pt x="2" y="0"/>
                  </a:cubicBezTo>
                  <a:cubicBezTo>
                    <a:pt x="2" y="0"/>
                    <a:pt x="1" y="0"/>
                    <a:pt x="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111" name="Freeform 90">
              <a:extLst>
                <a:ext uri="{FF2B5EF4-FFF2-40B4-BE49-F238E27FC236}">
                  <a16:creationId xmlns:a16="http://schemas.microsoft.com/office/drawing/2014/main" id="{84FBD446-9F19-EE17-8A98-9BEE93758873}"/>
                </a:ext>
              </a:extLst>
            </p:cNvPr>
            <p:cNvSpPr>
              <a:spLocks/>
            </p:cNvSpPr>
            <p:nvPr/>
          </p:nvSpPr>
          <p:spPr bwMode="auto">
            <a:xfrm>
              <a:off x="5872" y="2086"/>
              <a:ext cx="20" cy="21"/>
            </a:xfrm>
            <a:custGeom>
              <a:avLst/>
              <a:gdLst>
                <a:gd name="T0" fmla="*/ 2 w 2"/>
                <a:gd name="T1" fmla="*/ 1 h 2"/>
                <a:gd name="T2" fmla="*/ 0 w 2"/>
                <a:gd name="T3" fmla="*/ 0 h 2"/>
                <a:gd name="T4" fmla="*/ 0 w 2"/>
                <a:gd name="T5" fmla="*/ 1 h 2"/>
                <a:gd name="T6" fmla="*/ 1 w 2"/>
                <a:gd name="T7" fmla="*/ 2 h 2"/>
                <a:gd name="T8" fmla="*/ 2 w 2"/>
                <a:gd name="T9" fmla="*/ 1 h 2"/>
                <a:gd name="T10" fmla="*/ 2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2" y="1"/>
                  </a:moveTo>
                  <a:cubicBezTo>
                    <a:pt x="1" y="0"/>
                    <a:pt x="1" y="0"/>
                    <a:pt x="0" y="0"/>
                  </a:cubicBezTo>
                  <a:cubicBezTo>
                    <a:pt x="0" y="0"/>
                    <a:pt x="0" y="1"/>
                    <a:pt x="0" y="1"/>
                  </a:cubicBezTo>
                  <a:cubicBezTo>
                    <a:pt x="0" y="2"/>
                    <a:pt x="1" y="2"/>
                    <a:pt x="1" y="2"/>
                  </a:cubicBezTo>
                  <a:cubicBezTo>
                    <a:pt x="1" y="2"/>
                    <a:pt x="2" y="2"/>
                    <a:pt x="2" y="1"/>
                  </a:cubicBezTo>
                  <a:cubicBezTo>
                    <a:pt x="2" y="1"/>
                    <a:pt x="2" y="1"/>
                    <a:pt x="2"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sp>
          <p:nvSpPr>
            <p:cNvPr id="113" name="Freeform 91">
              <a:extLst>
                <a:ext uri="{FF2B5EF4-FFF2-40B4-BE49-F238E27FC236}">
                  <a16:creationId xmlns:a16="http://schemas.microsoft.com/office/drawing/2014/main" id="{9E5A5796-B405-6A63-6557-7BDF8197A68D}"/>
                </a:ext>
              </a:extLst>
            </p:cNvPr>
            <p:cNvSpPr>
              <a:spLocks/>
            </p:cNvSpPr>
            <p:nvPr/>
          </p:nvSpPr>
          <p:spPr bwMode="auto">
            <a:xfrm>
              <a:off x="1247" y="1239"/>
              <a:ext cx="52" cy="20"/>
            </a:xfrm>
            <a:custGeom>
              <a:avLst/>
              <a:gdLst>
                <a:gd name="T0" fmla="*/ 5 w 5"/>
                <a:gd name="T1" fmla="*/ 0 h 2"/>
                <a:gd name="T2" fmla="*/ 0 w 5"/>
                <a:gd name="T3" fmla="*/ 2 h 2"/>
                <a:gd name="T4" fmla="*/ 5 w 5"/>
                <a:gd name="T5" fmla="*/ 0 h 2"/>
              </a:gdLst>
              <a:ahLst/>
              <a:cxnLst>
                <a:cxn ang="0">
                  <a:pos x="T0" y="T1"/>
                </a:cxn>
                <a:cxn ang="0">
                  <a:pos x="T2" y="T3"/>
                </a:cxn>
                <a:cxn ang="0">
                  <a:pos x="T4" y="T5"/>
                </a:cxn>
              </a:cxnLst>
              <a:rect l="0" t="0" r="r" b="b"/>
              <a:pathLst>
                <a:path w="5" h="2">
                  <a:moveTo>
                    <a:pt x="5" y="0"/>
                  </a:moveTo>
                  <a:cubicBezTo>
                    <a:pt x="2" y="1"/>
                    <a:pt x="2" y="1"/>
                    <a:pt x="0" y="2"/>
                  </a:cubicBezTo>
                  <a:cubicBezTo>
                    <a:pt x="2" y="2"/>
                    <a:pt x="3" y="1"/>
                    <a:pt x="5"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s-ES" sz="1350">
                <a:solidFill>
                  <a:prstClr val="black"/>
                </a:solidFill>
                <a:latin typeface="Santander Headline" panose="020B0504020201020104" pitchFamily="34" charset="0"/>
              </a:endParaRPr>
            </a:p>
          </p:txBody>
        </p:sp>
      </p:grpSp>
      <p:sp>
        <p:nvSpPr>
          <p:cNvPr id="250" name="Marcador de texto 16">
            <a:extLst>
              <a:ext uri="{FF2B5EF4-FFF2-40B4-BE49-F238E27FC236}">
                <a16:creationId xmlns:a16="http://schemas.microsoft.com/office/drawing/2014/main" id="{899AC8FD-EE53-C09B-4E65-A6B1666534DB}"/>
              </a:ext>
            </a:extLst>
          </p:cNvPr>
          <p:cNvSpPr>
            <a:spLocks noGrp="1"/>
          </p:cNvSpPr>
          <p:nvPr userDrawn="1">
            <p:ph type="body" sz="quarter" idx="55"/>
          </p:nvPr>
        </p:nvSpPr>
        <p:spPr>
          <a:xfrm>
            <a:off x="819923" y="1608480"/>
            <a:ext cx="2684732" cy="2221564"/>
          </a:xfrm>
          <a:prstGeom prst="rect">
            <a:avLst/>
          </a:prstGeom>
        </p:spPr>
        <p:txBody>
          <a:bodyPr anchor="t"/>
          <a:lstStyle>
            <a:lvl1pPr marL="0" indent="0">
              <a:buNone/>
              <a:defRPr sz="1100" b="0">
                <a:solidFill>
                  <a:schemeClr val="tx1"/>
                </a:solidFill>
                <a:latin typeface="+mj-lt"/>
              </a:defRPr>
            </a:lvl1pPr>
          </a:lstStyle>
          <a:p>
            <a:pPr lvl="0"/>
            <a:endParaRPr lang="es-ES"/>
          </a:p>
        </p:txBody>
      </p:sp>
      <p:sp>
        <p:nvSpPr>
          <p:cNvPr id="6" name="Marcador de número de diapositiva 5">
            <a:extLst>
              <a:ext uri="{FF2B5EF4-FFF2-40B4-BE49-F238E27FC236}">
                <a16:creationId xmlns:a16="http://schemas.microsoft.com/office/drawing/2014/main" id="{A2676339-28A6-12C5-D4F3-7658E8DE6ADC}"/>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15" name="Footnotes">
            <a:extLst>
              <a:ext uri="{FF2B5EF4-FFF2-40B4-BE49-F238E27FC236}">
                <a16:creationId xmlns:a16="http://schemas.microsoft.com/office/drawing/2014/main" id="{9C5B0BBE-336A-40E3-B1DD-617AB41B6E88}"/>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22AE4F9A-EDF0-7F7D-1D3F-01E47982108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8" name="Título 1">
            <a:extLst>
              <a:ext uri="{FF2B5EF4-FFF2-40B4-BE49-F238E27FC236}">
                <a16:creationId xmlns:a16="http://schemas.microsoft.com/office/drawing/2014/main" id="{ED2B1ED9-F992-A993-8CAD-C2DA37F92A34}"/>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9" name="Marcador de texto 14">
            <a:extLst>
              <a:ext uri="{FF2B5EF4-FFF2-40B4-BE49-F238E27FC236}">
                <a16:creationId xmlns:a16="http://schemas.microsoft.com/office/drawing/2014/main" id="{F4C1315D-8C77-464F-DF37-D25CD4527DF9}"/>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3838A649-4F6F-0D8D-DF5B-1984272E120A}"/>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27706228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redentials ">
    <p:spTree>
      <p:nvGrpSpPr>
        <p:cNvPr id="1" name=""/>
        <p:cNvGrpSpPr/>
        <p:nvPr/>
      </p:nvGrpSpPr>
      <p:grpSpPr>
        <a:xfrm>
          <a:off x="0" y="0"/>
          <a:ext cx="0" cy="0"/>
          <a:chOff x="0" y="0"/>
          <a:chExt cx="0" cy="0"/>
        </a:xfrm>
      </p:grpSpPr>
      <p:sp>
        <p:nvSpPr>
          <p:cNvPr id="46" name="Marcador de posición de imagen 45">
            <a:extLst>
              <a:ext uri="{FF2B5EF4-FFF2-40B4-BE49-F238E27FC236}">
                <a16:creationId xmlns:a16="http://schemas.microsoft.com/office/drawing/2014/main" id="{ABCF063A-18C3-3276-8C54-02DD6DEF9917}"/>
              </a:ext>
            </a:extLst>
          </p:cNvPr>
          <p:cNvSpPr>
            <a:spLocks noGrp="1"/>
          </p:cNvSpPr>
          <p:nvPr>
            <p:ph type="pic" sz="quarter" idx="46" hasCustomPrompt="1"/>
          </p:nvPr>
        </p:nvSpPr>
        <p:spPr>
          <a:xfrm>
            <a:off x="0" y="-1"/>
            <a:ext cx="12192000" cy="5932199"/>
          </a:xfrm>
          <a:prstGeom prst="rect">
            <a:avLst/>
          </a:prstGeom>
          <a:noFill/>
        </p:spPr>
        <p:txBody>
          <a:bodyPr/>
          <a:lstStyle>
            <a:lvl1pPr marL="0" indent="0" algn="ctr">
              <a:buNone/>
              <a:defRPr sz="1400">
                <a:solidFill>
                  <a:schemeClr val="bg1"/>
                </a:solidFill>
                <a:latin typeface="Santander Headline" panose="020B0504020201020104" pitchFamily="34" charset="0"/>
              </a:defRPr>
            </a:lvl1pPr>
          </a:lstStyle>
          <a:p>
            <a:r>
              <a:rPr lang="es-ES" err="1"/>
              <a:t>Insert</a:t>
            </a:r>
            <a:r>
              <a:rPr lang="es-ES"/>
              <a:t> </a:t>
            </a:r>
            <a:r>
              <a:rPr lang="es-ES" err="1"/>
              <a:t>image</a:t>
            </a:r>
            <a:r>
              <a:rPr lang="es-ES"/>
              <a:t> and </a:t>
            </a:r>
            <a:r>
              <a:rPr lang="es-ES" err="1"/>
              <a:t>sent</a:t>
            </a:r>
            <a:r>
              <a:rPr lang="es-ES"/>
              <a:t> </a:t>
            </a:r>
            <a:r>
              <a:rPr lang="es-ES" err="1"/>
              <a:t>to</a:t>
            </a:r>
            <a:r>
              <a:rPr lang="es-ES"/>
              <a:t> bottom </a:t>
            </a:r>
            <a:r>
              <a:rPr lang="es-ES" err="1"/>
              <a:t>of</a:t>
            </a:r>
            <a:r>
              <a:rPr lang="es-ES"/>
              <a:t> </a:t>
            </a:r>
            <a:r>
              <a:rPr lang="es-ES" err="1"/>
              <a:t>the</a:t>
            </a:r>
            <a:r>
              <a:rPr lang="es-ES"/>
              <a:t> page</a:t>
            </a:r>
          </a:p>
        </p:txBody>
      </p:sp>
      <p:sp>
        <p:nvSpPr>
          <p:cNvPr id="72" name="Marcador de texto 71">
            <a:extLst>
              <a:ext uri="{FF2B5EF4-FFF2-40B4-BE49-F238E27FC236}">
                <a16:creationId xmlns:a16="http://schemas.microsoft.com/office/drawing/2014/main" id="{5D6952C7-47B9-5FFE-2648-BE4DC85B9601}"/>
              </a:ext>
            </a:extLst>
          </p:cNvPr>
          <p:cNvSpPr>
            <a:spLocks noGrp="1"/>
          </p:cNvSpPr>
          <p:nvPr>
            <p:ph type="body" sz="quarter" idx="48" hasCustomPrompt="1"/>
          </p:nvPr>
        </p:nvSpPr>
        <p:spPr>
          <a:xfrm>
            <a:off x="670738" y="1285482"/>
            <a:ext cx="5137633" cy="375893"/>
          </a:xfrm>
          <a:prstGeom prst="rect">
            <a:avLst/>
          </a:prstGeom>
          <a:ln w="25400" cap="rnd">
            <a:gradFill flip="none" rotWithShape="1">
              <a:gsLst>
                <a:gs pos="98000">
                  <a:schemeClr val="bg1">
                    <a:alpha val="0"/>
                  </a:schemeClr>
                </a:gs>
                <a:gs pos="100000">
                  <a:schemeClr val="bg1"/>
                </a:gs>
              </a:gsLst>
              <a:lin ang="5400000" scaled="1"/>
              <a:tileRect/>
            </a:gradFill>
          </a:ln>
        </p:spPr>
        <p:txBody>
          <a:bodyPr anchor="ctr">
            <a:normAutofit/>
          </a:bodyPr>
          <a:lstStyle>
            <a:lvl1pPr marL="0" indent="0">
              <a:buNone/>
              <a:defRPr lang="es-ES" sz="900" b="1" kern="1200" dirty="0" smtClean="0">
                <a:solidFill>
                  <a:schemeClr val="bg1"/>
                </a:solidFill>
                <a:latin typeface="+mj-lt"/>
                <a:ea typeface="+mn-ea"/>
                <a:cs typeface="+mn-cs"/>
              </a:defRPr>
            </a:lvl1pPr>
            <a:lvl2pPr marL="0" indent="0">
              <a:lnSpc>
                <a:spcPct val="100000"/>
              </a:lnSpc>
              <a:spcBef>
                <a:spcPts val="0"/>
              </a:spcBef>
              <a:spcAft>
                <a:spcPts val="600"/>
              </a:spcAft>
              <a:buNone/>
              <a:defRPr sz="900" b="0" i="1">
                <a:solidFill>
                  <a:schemeClr val="bg1"/>
                </a:solidFill>
                <a:latin typeface="+mj-lt"/>
              </a:defRPr>
            </a:lvl2pPr>
            <a:lvl3pPr marL="0" indent="0">
              <a:lnSpc>
                <a:spcPct val="100000"/>
              </a:lnSpc>
              <a:spcBef>
                <a:spcPts val="0"/>
              </a:spcBef>
              <a:spcAft>
                <a:spcPts val="600"/>
              </a:spcAft>
              <a:buNone/>
              <a:defRPr sz="900" b="1" i="1"/>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p:txBody>
      </p:sp>
      <p:sp>
        <p:nvSpPr>
          <p:cNvPr id="75" name="Marcador de texto 71">
            <a:extLst>
              <a:ext uri="{FF2B5EF4-FFF2-40B4-BE49-F238E27FC236}">
                <a16:creationId xmlns:a16="http://schemas.microsoft.com/office/drawing/2014/main" id="{30A424B2-3C5F-C453-3304-91DFA182DA4A}"/>
              </a:ext>
            </a:extLst>
          </p:cNvPr>
          <p:cNvSpPr>
            <a:spLocks noGrp="1"/>
          </p:cNvSpPr>
          <p:nvPr>
            <p:ph type="body" sz="quarter" idx="49" hasCustomPrompt="1"/>
          </p:nvPr>
        </p:nvSpPr>
        <p:spPr>
          <a:xfrm>
            <a:off x="670738" y="1654359"/>
            <a:ext cx="5137633" cy="375893"/>
          </a:xfrm>
          <a:prstGeom prst="rect">
            <a:avLst/>
          </a:prstGeom>
          <a:ln w="25400" cap="rnd">
            <a:gradFill flip="none" rotWithShape="1">
              <a:gsLst>
                <a:gs pos="98000">
                  <a:schemeClr val="bg1">
                    <a:alpha val="0"/>
                  </a:schemeClr>
                </a:gs>
                <a:gs pos="100000">
                  <a:schemeClr val="bg1"/>
                </a:gs>
              </a:gsLst>
              <a:lin ang="5400000" scaled="1"/>
              <a:tileRect/>
            </a:gradFill>
          </a:ln>
        </p:spPr>
        <p:txBody>
          <a:bodyPr anchor="ctr">
            <a:normAutofit/>
          </a:bodyPr>
          <a:lstStyle>
            <a:lvl1pPr marL="0" indent="0">
              <a:buNone/>
              <a:defRPr lang="es-ES" sz="900" b="1" kern="1200" dirty="0" smtClean="0">
                <a:solidFill>
                  <a:schemeClr val="bg1"/>
                </a:solidFill>
                <a:latin typeface="+mj-lt"/>
                <a:ea typeface="+mn-ea"/>
                <a:cs typeface="+mn-cs"/>
              </a:defRPr>
            </a:lvl1pPr>
            <a:lvl2pPr marL="0" indent="0">
              <a:lnSpc>
                <a:spcPct val="100000"/>
              </a:lnSpc>
              <a:spcBef>
                <a:spcPts val="0"/>
              </a:spcBef>
              <a:spcAft>
                <a:spcPts val="600"/>
              </a:spcAft>
              <a:buNone/>
              <a:defRPr sz="900" b="0" i="1">
                <a:solidFill>
                  <a:schemeClr val="bg1"/>
                </a:solidFill>
                <a:latin typeface="+mj-lt"/>
              </a:defRPr>
            </a:lvl2pPr>
            <a:lvl3pPr marL="0" indent="0">
              <a:lnSpc>
                <a:spcPct val="100000"/>
              </a:lnSpc>
              <a:spcBef>
                <a:spcPts val="0"/>
              </a:spcBef>
              <a:spcAft>
                <a:spcPts val="600"/>
              </a:spcAft>
              <a:buNone/>
              <a:defRPr sz="900" b="1" i="1"/>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p:txBody>
      </p:sp>
      <p:sp>
        <p:nvSpPr>
          <p:cNvPr id="76" name="Marcador de texto 71">
            <a:extLst>
              <a:ext uri="{FF2B5EF4-FFF2-40B4-BE49-F238E27FC236}">
                <a16:creationId xmlns:a16="http://schemas.microsoft.com/office/drawing/2014/main" id="{7A51ACB9-C5BB-BF8C-E629-B8240F07EC2C}"/>
              </a:ext>
            </a:extLst>
          </p:cNvPr>
          <p:cNvSpPr>
            <a:spLocks noGrp="1"/>
          </p:cNvSpPr>
          <p:nvPr>
            <p:ph type="body" sz="quarter" idx="50" hasCustomPrompt="1"/>
          </p:nvPr>
        </p:nvSpPr>
        <p:spPr>
          <a:xfrm>
            <a:off x="670738" y="2028431"/>
            <a:ext cx="5137633" cy="375893"/>
          </a:xfrm>
          <a:prstGeom prst="rect">
            <a:avLst/>
          </a:prstGeom>
          <a:ln w="25400" cap="rnd">
            <a:gradFill flip="none" rotWithShape="1">
              <a:gsLst>
                <a:gs pos="98000">
                  <a:schemeClr val="bg1">
                    <a:alpha val="0"/>
                  </a:schemeClr>
                </a:gs>
                <a:gs pos="100000">
                  <a:schemeClr val="bg1"/>
                </a:gs>
              </a:gsLst>
              <a:lin ang="5400000" scaled="1"/>
              <a:tileRect/>
            </a:gradFill>
          </a:ln>
        </p:spPr>
        <p:txBody>
          <a:bodyPr anchor="ctr">
            <a:normAutofit/>
          </a:bodyPr>
          <a:lstStyle>
            <a:lvl1pPr marL="0" indent="0">
              <a:buNone/>
              <a:defRPr lang="es-ES" sz="900" b="1" kern="1200" dirty="0" smtClean="0">
                <a:solidFill>
                  <a:schemeClr val="bg1"/>
                </a:solidFill>
                <a:latin typeface="+mj-lt"/>
                <a:ea typeface="+mn-ea"/>
                <a:cs typeface="+mn-cs"/>
              </a:defRPr>
            </a:lvl1pPr>
            <a:lvl2pPr marL="0" indent="0">
              <a:lnSpc>
                <a:spcPct val="100000"/>
              </a:lnSpc>
              <a:spcBef>
                <a:spcPts val="0"/>
              </a:spcBef>
              <a:spcAft>
                <a:spcPts val="600"/>
              </a:spcAft>
              <a:buNone/>
              <a:defRPr sz="900" b="0" i="1">
                <a:solidFill>
                  <a:schemeClr val="bg1"/>
                </a:solidFill>
                <a:latin typeface="+mj-lt"/>
              </a:defRPr>
            </a:lvl2pPr>
            <a:lvl3pPr marL="0" indent="0">
              <a:lnSpc>
                <a:spcPct val="100000"/>
              </a:lnSpc>
              <a:spcBef>
                <a:spcPts val="0"/>
              </a:spcBef>
              <a:spcAft>
                <a:spcPts val="600"/>
              </a:spcAft>
              <a:buNone/>
              <a:defRPr sz="900" b="1" i="1"/>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p:txBody>
      </p:sp>
      <p:sp>
        <p:nvSpPr>
          <p:cNvPr id="77" name="Marcador de texto 71">
            <a:extLst>
              <a:ext uri="{FF2B5EF4-FFF2-40B4-BE49-F238E27FC236}">
                <a16:creationId xmlns:a16="http://schemas.microsoft.com/office/drawing/2014/main" id="{FEC6CCA7-4CB5-2C1A-A7C0-6B96675197D2}"/>
              </a:ext>
            </a:extLst>
          </p:cNvPr>
          <p:cNvSpPr>
            <a:spLocks noGrp="1"/>
          </p:cNvSpPr>
          <p:nvPr>
            <p:ph type="body" sz="quarter" idx="51" hasCustomPrompt="1"/>
          </p:nvPr>
        </p:nvSpPr>
        <p:spPr>
          <a:xfrm>
            <a:off x="670738" y="2407699"/>
            <a:ext cx="5137633" cy="375893"/>
          </a:xfrm>
          <a:prstGeom prst="rect">
            <a:avLst/>
          </a:prstGeom>
          <a:ln w="25400" cap="rnd">
            <a:gradFill flip="none" rotWithShape="1">
              <a:gsLst>
                <a:gs pos="98000">
                  <a:schemeClr val="bg1">
                    <a:alpha val="0"/>
                  </a:schemeClr>
                </a:gs>
                <a:gs pos="100000">
                  <a:schemeClr val="bg1"/>
                </a:gs>
              </a:gsLst>
              <a:lin ang="5400000" scaled="1"/>
              <a:tileRect/>
            </a:gradFill>
          </a:ln>
        </p:spPr>
        <p:txBody>
          <a:bodyPr anchor="ctr">
            <a:normAutofit/>
          </a:bodyPr>
          <a:lstStyle>
            <a:lvl1pPr marL="0" indent="0">
              <a:buNone/>
              <a:defRPr lang="es-ES" sz="900" b="1" kern="1200" dirty="0" smtClean="0">
                <a:solidFill>
                  <a:schemeClr val="bg1"/>
                </a:solidFill>
                <a:latin typeface="+mj-lt"/>
                <a:ea typeface="+mn-ea"/>
                <a:cs typeface="+mn-cs"/>
              </a:defRPr>
            </a:lvl1pPr>
            <a:lvl2pPr marL="0" indent="0">
              <a:lnSpc>
                <a:spcPct val="100000"/>
              </a:lnSpc>
              <a:spcBef>
                <a:spcPts val="0"/>
              </a:spcBef>
              <a:spcAft>
                <a:spcPts val="600"/>
              </a:spcAft>
              <a:buNone/>
              <a:defRPr sz="900" b="0" i="1">
                <a:solidFill>
                  <a:schemeClr val="bg1"/>
                </a:solidFill>
                <a:latin typeface="+mj-lt"/>
              </a:defRPr>
            </a:lvl2pPr>
            <a:lvl3pPr marL="0" indent="0">
              <a:lnSpc>
                <a:spcPct val="100000"/>
              </a:lnSpc>
              <a:spcBef>
                <a:spcPts val="0"/>
              </a:spcBef>
              <a:spcAft>
                <a:spcPts val="600"/>
              </a:spcAft>
              <a:buNone/>
              <a:defRPr sz="900" b="1" i="1"/>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p:txBody>
      </p:sp>
      <p:sp>
        <p:nvSpPr>
          <p:cNvPr id="104" name="Marcador de texto 71">
            <a:extLst>
              <a:ext uri="{FF2B5EF4-FFF2-40B4-BE49-F238E27FC236}">
                <a16:creationId xmlns:a16="http://schemas.microsoft.com/office/drawing/2014/main" id="{C7A14B6F-21B0-356A-B228-23EA895B396D}"/>
              </a:ext>
            </a:extLst>
          </p:cNvPr>
          <p:cNvSpPr>
            <a:spLocks noGrp="1"/>
          </p:cNvSpPr>
          <p:nvPr>
            <p:ph type="body" sz="quarter" idx="52" hasCustomPrompt="1"/>
          </p:nvPr>
        </p:nvSpPr>
        <p:spPr>
          <a:xfrm>
            <a:off x="670738" y="2781772"/>
            <a:ext cx="5137633" cy="375893"/>
          </a:xfrm>
          <a:prstGeom prst="rect">
            <a:avLst/>
          </a:prstGeom>
          <a:ln w="25400" cap="rnd">
            <a:gradFill flip="none" rotWithShape="1">
              <a:gsLst>
                <a:gs pos="98000">
                  <a:schemeClr val="bg1">
                    <a:alpha val="0"/>
                  </a:schemeClr>
                </a:gs>
                <a:gs pos="100000">
                  <a:schemeClr val="bg1"/>
                </a:gs>
              </a:gsLst>
              <a:lin ang="5400000" scaled="1"/>
              <a:tileRect/>
            </a:gradFill>
          </a:ln>
        </p:spPr>
        <p:txBody>
          <a:bodyPr anchor="ctr">
            <a:normAutofit/>
          </a:bodyPr>
          <a:lstStyle>
            <a:lvl1pPr marL="0" indent="0">
              <a:buNone/>
              <a:defRPr lang="es-ES" sz="900" b="1" kern="1200" dirty="0" smtClean="0">
                <a:solidFill>
                  <a:schemeClr val="bg1"/>
                </a:solidFill>
                <a:latin typeface="+mj-lt"/>
                <a:ea typeface="+mn-ea"/>
                <a:cs typeface="+mn-cs"/>
              </a:defRPr>
            </a:lvl1pPr>
            <a:lvl2pPr marL="0" indent="0">
              <a:lnSpc>
                <a:spcPct val="100000"/>
              </a:lnSpc>
              <a:spcBef>
                <a:spcPts val="0"/>
              </a:spcBef>
              <a:spcAft>
                <a:spcPts val="600"/>
              </a:spcAft>
              <a:buNone/>
              <a:defRPr sz="900" b="0" i="1">
                <a:solidFill>
                  <a:schemeClr val="bg1"/>
                </a:solidFill>
                <a:latin typeface="+mj-lt"/>
              </a:defRPr>
            </a:lvl2pPr>
            <a:lvl3pPr marL="0" indent="0">
              <a:lnSpc>
                <a:spcPct val="100000"/>
              </a:lnSpc>
              <a:spcBef>
                <a:spcPts val="0"/>
              </a:spcBef>
              <a:spcAft>
                <a:spcPts val="600"/>
              </a:spcAft>
              <a:buNone/>
              <a:defRPr sz="900" b="1" i="1"/>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p:txBody>
      </p:sp>
      <p:sp>
        <p:nvSpPr>
          <p:cNvPr id="105" name="Marcador de texto 71">
            <a:extLst>
              <a:ext uri="{FF2B5EF4-FFF2-40B4-BE49-F238E27FC236}">
                <a16:creationId xmlns:a16="http://schemas.microsoft.com/office/drawing/2014/main" id="{A75212AA-9DD7-D32A-D922-B719CD74EFA0}"/>
              </a:ext>
            </a:extLst>
          </p:cNvPr>
          <p:cNvSpPr>
            <a:spLocks noGrp="1"/>
          </p:cNvSpPr>
          <p:nvPr>
            <p:ph type="body" sz="quarter" idx="53" hasCustomPrompt="1"/>
          </p:nvPr>
        </p:nvSpPr>
        <p:spPr>
          <a:xfrm>
            <a:off x="670738" y="3155844"/>
            <a:ext cx="5137633" cy="375893"/>
          </a:xfrm>
          <a:prstGeom prst="rect">
            <a:avLst/>
          </a:prstGeom>
          <a:ln w="25400" cap="rnd">
            <a:gradFill flip="none" rotWithShape="1">
              <a:gsLst>
                <a:gs pos="98000">
                  <a:schemeClr val="bg1">
                    <a:alpha val="0"/>
                  </a:schemeClr>
                </a:gs>
                <a:gs pos="100000">
                  <a:schemeClr val="bg1"/>
                </a:gs>
              </a:gsLst>
              <a:lin ang="5400000" scaled="1"/>
              <a:tileRect/>
            </a:gradFill>
          </a:ln>
        </p:spPr>
        <p:txBody>
          <a:bodyPr anchor="ctr">
            <a:normAutofit/>
          </a:bodyPr>
          <a:lstStyle>
            <a:lvl1pPr marL="0" indent="0">
              <a:buNone/>
              <a:defRPr lang="es-ES" sz="900" b="1" kern="1200" dirty="0" smtClean="0">
                <a:solidFill>
                  <a:schemeClr val="bg1"/>
                </a:solidFill>
                <a:latin typeface="+mj-lt"/>
                <a:ea typeface="+mn-ea"/>
                <a:cs typeface="+mn-cs"/>
              </a:defRPr>
            </a:lvl1pPr>
            <a:lvl2pPr marL="0" indent="0">
              <a:lnSpc>
                <a:spcPct val="100000"/>
              </a:lnSpc>
              <a:spcBef>
                <a:spcPts val="0"/>
              </a:spcBef>
              <a:spcAft>
                <a:spcPts val="600"/>
              </a:spcAft>
              <a:buNone/>
              <a:defRPr sz="900" b="0" i="1">
                <a:solidFill>
                  <a:schemeClr val="bg1"/>
                </a:solidFill>
                <a:latin typeface="+mj-lt"/>
              </a:defRPr>
            </a:lvl2pPr>
            <a:lvl3pPr marL="0" indent="0">
              <a:lnSpc>
                <a:spcPct val="100000"/>
              </a:lnSpc>
              <a:spcBef>
                <a:spcPts val="0"/>
              </a:spcBef>
              <a:spcAft>
                <a:spcPts val="600"/>
              </a:spcAft>
              <a:buNone/>
              <a:defRPr sz="900" b="1" i="1"/>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p:txBody>
      </p:sp>
      <p:sp>
        <p:nvSpPr>
          <p:cNvPr id="107" name="Marcador de texto 71">
            <a:extLst>
              <a:ext uri="{FF2B5EF4-FFF2-40B4-BE49-F238E27FC236}">
                <a16:creationId xmlns:a16="http://schemas.microsoft.com/office/drawing/2014/main" id="{0A74580A-A860-5CD0-B0C8-B04D7D66C4EF}"/>
              </a:ext>
            </a:extLst>
          </p:cNvPr>
          <p:cNvSpPr>
            <a:spLocks noGrp="1"/>
          </p:cNvSpPr>
          <p:nvPr>
            <p:ph type="body" sz="quarter" idx="54" hasCustomPrompt="1"/>
          </p:nvPr>
        </p:nvSpPr>
        <p:spPr>
          <a:xfrm>
            <a:off x="670738" y="3524721"/>
            <a:ext cx="5137633" cy="375893"/>
          </a:xfrm>
          <a:prstGeom prst="rect">
            <a:avLst/>
          </a:prstGeom>
          <a:ln w="25400" cap="rnd">
            <a:gradFill flip="none" rotWithShape="1">
              <a:gsLst>
                <a:gs pos="98000">
                  <a:schemeClr val="bg1">
                    <a:alpha val="0"/>
                  </a:schemeClr>
                </a:gs>
                <a:gs pos="100000">
                  <a:schemeClr val="bg1"/>
                </a:gs>
              </a:gsLst>
              <a:lin ang="5400000" scaled="1"/>
              <a:tileRect/>
            </a:gradFill>
          </a:ln>
        </p:spPr>
        <p:txBody>
          <a:bodyPr anchor="ctr">
            <a:normAutofit/>
          </a:bodyPr>
          <a:lstStyle>
            <a:lvl1pPr marL="0" indent="0">
              <a:buNone/>
              <a:defRPr lang="es-ES" sz="900" b="1" kern="1200" dirty="0" smtClean="0">
                <a:solidFill>
                  <a:schemeClr val="bg1"/>
                </a:solidFill>
                <a:latin typeface="+mj-lt"/>
                <a:ea typeface="+mn-ea"/>
                <a:cs typeface="+mn-cs"/>
              </a:defRPr>
            </a:lvl1pPr>
            <a:lvl2pPr marL="0" indent="0">
              <a:lnSpc>
                <a:spcPct val="100000"/>
              </a:lnSpc>
              <a:spcBef>
                <a:spcPts val="0"/>
              </a:spcBef>
              <a:spcAft>
                <a:spcPts val="600"/>
              </a:spcAft>
              <a:buNone/>
              <a:defRPr sz="900" b="0" i="1">
                <a:solidFill>
                  <a:schemeClr val="bg1"/>
                </a:solidFill>
                <a:latin typeface="+mj-lt"/>
              </a:defRPr>
            </a:lvl2pPr>
            <a:lvl3pPr marL="0" indent="0">
              <a:lnSpc>
                <a:spcPct val="100000"/>
              </a:lnSpc>
              <a:spcBef>
                <a:spcPts val="0"/>
              </a:spcBef>
              <a:spcAft>
                <a:spcPts val="600"/>
              </a:spcAft>
              <a:buNone/>
              <a:defRPr sz="900" b="1" i="1"/>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p:txBody>
      </p:sp>
      <p:sp>
        <p:nvSpPr>
          <p:cNvPr id="109" name="Marcador de texto 71">
            <a:extLst>
              <a:ext uri="{FF2B5EF4-FFF2-40B4-BE49-F238E27FC236}">
                <a16:creationId xmlns:a16="http://schemas.microsoft.com/office/drawing/2014/main" id="{1CC531C0-A7A9-6AD6-DBE3-C9584630E47D}"/>
              </a:ext>
            </a:extLst>
          </p:cNvPr>
          <p:cNvSpPr>
            <a:spLocks noGrp="1"/>
          </p:cNvSpPr>
          <p:nvPr>
            <p:ph type="body" sz="quarter" idx="55" hasCustomPrompt="1"/>
          </p:nvPr>
        </p:nvSpPr>
        <p:spPr>
          <a:xfrm>
            <a:off x="670738" y="3898794"/>
            <a:ext cx="5137633" cy="375893"/>
          </a:xfrm>
          <a:prstGeom prst="rect">
            <a:avLst/>
          </a:prstGeom>
          <a:ln w="25400" cap="rnd">
            <a:gradFill flip="none" rotWithShape="1">
              <a:gsLst>
                <a:gs pos="98000">
                  <a:schemeClr val="bg1">
                    <a:alpha val="0"/>
                  </a:schemeClr>
                </a:gs>
                <a:gs pos="100000">
                  <a:schemeClr val="bg1"/>
                </a:gs>
              </a:gsLst>
              <a:lin ang="5400000" scaled="1"/>
              <a:tileRect/>
            </a:gradFill>
          </a:ln>
        </p:spPr>
        <p:txBody>
          <a:bodyPr anchor="ctr">
            <a:normAutofit/>
          </a:bodyPr>
          <a:lstStyle>
            <a:lvl1pPr marL="0" indent="0">
              <a:buNone/>
              <a:defRPr lang="es-ES" sz="900" b="1" kern="1200" dirty="0" smtClean="0">
                <a:solidFill>
                  <a:schemeClr val="bg1"/>
                </a:solidFill>
                <a:latin typeface="+mj-lt"/>
                <a:ea typeface="+mn-ea"/>
                <a:cs typeface="+mn-cs"/>
              </a:defRPr>
            </a:lvl1pPr>
            <a:lvl2pPr marL="0" indent="0">
              <a:lnSpc>
                <a:spcPct val="100000"/>
              </a:lnSpc>
              <a:spcBef>
                <a:spcPts val="0"/>
              </a:spcBef>
              <a:spcAft>
                <a:spcPts val="600"/>
              </a:spcAft>
              <a:buNone/>
              <a:defRPr sz="900" b="0" i="1">
                <a:solidFill>
                  <a:schemeClr val="bg1"/>
                </a:solidFill>
                <a:latin typeface="+mj-lt"/>
              </a:defRPr>
            </a:lvl2pPr>
            <a:lvl3pPr marL="0" indent="0">
              <a:lnSpc>
                <a:spcPct val="100000"/>
              </a:lnSpc>
              <a:spcBef>
                <a:spcPts val="0"/>
              </a:spcBef>
              <a:spcAft>
                <a:spcPts val="600"/>
              </a:spcAft>
              <a:buNone/>
              <a:defRPr sz="900" b="1" i="1"/>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p:txBody>
      </p:sp>
      <p:sp>
        <p:nvSpPr>
          <p:cNvPr id="112" name="Marcador de texto 71">
            <a:extLst>
              <a:ext uri="{FF2B5EF4-FFF2-40B4-BE49-F238E27FC236}">
                <a16:creationId xmlns:a16="http://schemas.microsoft.com/office/drawing/2014/main" id="{91BC7DE1-712F-28B4-9334-9A74CA0FCCB3}"/>
              </a:ext>
            </a:extLst>
          </p:cNvPr>
          <p:cNvSpPr>
            <a:spLocks noGrp="1"/>
          </p:cNvSpPr>
          <p:nvPr>
            <p:ph type="body" sz="quarter" idx="56" hasCustomPrompt="1"/>
          </p:nvPr>
        </p:nvSpPr>
        <p:spPr>
          <a:xfrm>
            <a:off x="670738" y="4278063"/>
            <a:ext cx="5137633" cy="375893"/>
          </a:xfrm>
          <a:prstGeom prst="rect">
            <a:avLst/>
          </a:prstGeom>
          <a:ln w="25400" cap="rnd">
            <a:gradFill flip="none" rotWithShape="1">
              <a:gsLst>
                <a:gs pos="98000">
                  <a:schemeClr val="bg1">
                    <a:alpha val="0"/>
                  </a:schemeClr>
                </a:gs>
                <a:gs pos="100000">
                  <a:schemeClr val="bg1"/>
                </a:gs>
              </a:gsLst>
              <a:lin ang="5400000" scaled="1"/>
              <a:tileRect/>
            </a:gradFill>
          </a:ln>
        </p:spPr>
        <p:txBody>
          <a:bodyPr anchor="ctr">
            <a:normAutofit/>
          </a:bodyPr>
          <a:lstStyle>
            <a:lvl1pPr marL="0" indent="0">
              <a:buNone/>
              <a:defRPr lang="es-ES" sz="900" b="1" kern="1200" dirty="0" smtClean="0">
                <a:solidFill>
                  <a:schemeClr val="bg1"/>
                </a:solidFill>
                <a:latin typeface="+mj-lt"/>
                <a:ea typeface="+mn-ea"/>
                <a:cs typeface="+mn-cs"/>
              </a:defRPr>
            </a:lvl1pPr>
            <a:lvl2pPr marL="0" indent="0">
              <a:lnSpc>
                <a:spcPct val="100000"/>
              </a:lnSpc>
              <a:spcBef>
                <a:spcPts val="0"/>
              </a:spcBef>
              <a:spcAft>
                <a:spcPts val="600"/>
              </a:spcAft>
              <a:buNone/>
              <a:defRPr sz="900" b="0" i="1">
                <a:solidFill>
                  <a:schemeClr val="bg1"/>
                </a:solidFill>
                <a:latin typeface="+mj-lt"/>
              </a:defRPr>
            </a:lvl2pPr>
            <a:lvl3pPr marL="0" indent="0">
              <a:lnSpc>
                <a:spcPct val="100000"/>
              </a:lnSpc>
              <a:spcBef>
                <a:spcPts val="0"/>
              </a:spcBef>
              <a:spcAft>
                <a:spcPts val="600"/>
              </a:spcAft>
              <a:buNone/>
              <a:defRPr sz="900" b="1" i="1"/>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p:txBody>
      </p:sp>
      <p:sp>
        <p:nvSpPr>
          <p:cNvPr id="114" name="Marcador de texto 71">
            <a:extLst>
              <a:ext uri="{FF2B5EF4-FFF2-40B4-BE49-F238E27FC236}">
                <a16:creationId xmlns:a16="http://schemas.microsoft.com/office/drawing/2014/main" id="{3B93BAA5-B591-5B68-A17F-95187C2D1569}"/>
              </a:ext>
            </a:extLst>
          </p:cNvPr>
          <p:cNvSpPr>
            <a:spLocks noGrp="1"/>
          </p:cNvSpPr>
          <p:nvPr>
            <p:ph type="body" sz="quarter" idx="57" hasCustomPrompt="1"/>
          </p:nvPr>
        </p:nvSpPr>
        <p:spPr>
          <a:xfrm>
            <a:off x="670738" y="4646940"/>
            <a:ext cx="5137633" cy="375893"/>
          </a:xfrm>
          <a:prstGeom prst="rect">
            <a:avLst/>
          </a:prstGeom>
          <a:ln w="25400" cap="rnd">
            <a:gradFill flip="none" rotWithShape="1">
              <a:gsLst>
                <a:gs pos="98000">
                  <a:schemeClr val="bg1">
                    <a:alpha val="0"/>
                  </a:schemeClr>
                </a:gs>
                <a:gs pos="100000">
                  <a:schemeClr val="bg1"/>
                </a:gs>
              </a:gsLst>
              <a:lin ang="5400000" scaled="1"/>
              <a:tileRect/>
            </a:gradFill>
          </a:ln>
        </p:spPr>
        <p:txBody>
          <a:bodyPr anchor="ctr">
            <a:normAutofit/>
          </a:bodyPr>
          <a:lstStyle>
            <a:lvl1pPr marL="0" indent="0">
              <a:buNone/>
              <a:defRPr lang="es-ES" sz="900" b="1" kern="1200" dirty="0" smtClean="0">
                <a:solidFill>
                  <a:schemeClr val="bg1"/>
                </a:solidFill>
                <a:latin typeface="+mj-lt"/>
                <a:ea typeface="+mn-ea"/>
                <a:cs typeface="+mn-cs"/>
              </a:defRPr>
            </a:lvl1pPr>
            <a:lvl2pPr marL="0" indent="0">
              <a:lnSpc>
                <a:spcPct val="100000"/>
              </a:lnSpc>
              <a:spcBef>
                <a:spcPts val="0"/>
              </a:spcBef>
              <a:spcAft>
                <a:spcPts val="600"/>
              </a:spcAft>
              <a:buNone/>
              <a:defRPr sz="900" b="0" i="1">
                <a:solidFill>
                  <a:schemeClr val="bg1"/>
                </a:solidFill>
                <a:latin typeface="+mj-lt"/>
              </a:defRPr>
            </a:lvl2pPr>
            <a:lvl3pPr marL="0" indent="0">
              <a:lnSpc>
                <a:spcPct val="100000"/>
              </a:lnSpc>
              <a:spcBef>
                <a:spcPts val="0"/>
              </a:spcBef>
              <a:spcAft>
                <a:spcPts val="600"/>
              </a:spcAft>
              <a:buNone/>
              <a:defRPr sz="900" b="1" i="1"/>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p:txBody>
      </p:sp>
      <p:sp>
        <p:nvSpPr>
          <p:cNvPr id="115" name="Marcador de texto 71">
            <a:extLst>
              <a:ext uri="{FF2B5EF4-FFF2-40B4-BE49-F238E27FC236}">
                <a16:creationId xmlns:a16="http://schemas.microsoft.com/office/drawing/2014/main" id="{CE535D30-A745-4AEF-33D3-3F172197F315}"/>
              </a:ext>
            </a:extLst>
          </p:cNvPr>
          <p:cNvSpPr>
            <a:spLocks noGrp="1"/>
          </p:cNvSpPr>
          <p:nvPr>
            <p:ph type="body" sz="quarter" idx="58" hasCustomPrompt="1"/>
          </p:nvPr>
        </p:nvSpPr>
        <p:spPr>
          <a:xfrm>
            <a:off x="670738" y="5021013"/>
            <a:ext cx="5137633" cy="375893"/>
          </a:xfrm>
          <a:prstGeom prst="rect">
            <a:avLst/>
          </a:prstGeom>
          <a:ln w="25400" cap="rnd">
            <a:gradFill flip="none" rotWithShape="1">
              <a:gsLst>
                <a:gs pos="98000">
                  <a:schemeClr val="bg1">
                    <a:alpha val="0"/>
                  </a:schemeClr>
                </a:gs>
                <a:gs pos="100000">
                  <a:schemeClr val="bg1"/>
                </a:gs>
              </a:gsLst>
              <a:lin ang="5400000" scaled="1"/>
              <a:tileRect/>
            </a:gradFill>
          </a:ln>
        </p:spPr>
        <p:txBody>
          <a:bodyPr anchor="ctr">
            <a:normAutofit/>
          </a:bodyPr>
          <a:lstStyle>
            <a:lvl1pPr marL="0" indent="0">
              <a:buNone/>
              <a:defRPr lang="es-ES" sz="900" b="1" kern="1200" dirty="0" smtClean="0">
                <a:solidFill>
                  <a:schemeClr val="bg1"/>
                </a:solidFill>
                <a:latin typeface="+mj-lt"/>
                <a:ea typeface="+mn-ea"/>
                <a:cs typeface="+mn-cs"/>
              </a:defRPr>
            </a:lvl1pPr>
            <a:lvl2pPr marL="0" indent="0">
              <a:lnSpc>
                <a:spcPct val="100000"/>
              </a:lnSpc>
              <a:spcBef>
                <a:spcPts val="0"/>
              </a:spcBef>
              <a:spcAft>
                <a:spcPts val="600"/>
              </a:spcAft>
              <a:buNone/>
              <a:defRPr sz="900" b="0" i="1">
                <a:solidFill>
                  <a:schemeClr val="bg1"/>
                </a:solidFill>
                <a:latin typeface="+mj-lt"/>
              </a:defRPr>
            </a:lvl2pPr>
            <a:lvl3pPr marL="0" indent="0">
              <a:lnSpc>
                <a:spcPct val="100000"/>
              </a:lnSpc>
              <a:spcBef>
                <a:spcPts val="0"/>
              </a:spcBef>
              <a:spcAft>
                <a:spcPts val="600"/>
              </a:spcAft>
              <a:buNone/>
              <a:defRPr sz="900" b="1" i="1"/>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p:txBody>
      </p:sp>
      <p:sp>
        <p:nvSpPr>
          <p:cNvPr id="119" name="Marcador de texto 71">
            <a:extLst>
              <a:ext uri="{FF2B5EF4-FFF2-40B4-BE49-F238E27FC236}">
                <a16:creationId xmlns:a16="http://schemas.microsoft.com/office/drawing/2014/main" id="{F90B4BE3-6CF3-75DA-16C4-94B42F8563BC}"/>
              </a:ext>
            </a:extLst>
          </p:cNvPr>
          <p:cNvSpPr>
            <a:spLocks noGrp="1"/>
          </p:cNvSpPr>
          <p:nvPr>
            <p:ph type="body" sz="quarter" idx="59" hasCustomPrompt="1"/>
          </p:nvPr>
        </p:nvSpPr>
        <p:spPr>
          <a:xfrm>
            <a:off x="6518097" y="1285482"/>
            <a:ext cx="5137633" cy="375893"/>
          </a:xfrm>
          <a:prstGeom prst="rect">
            <a:avLst/>
          </a:prstGeom>
          <a:ln w="25400" cap="rnd">
            <a:gradFill flip="none" rotWithShape="1">
              <a:gsLst>
                <a:gs pos="98000">
                  <a:schemeClr val="bg1">
                    <a:alpha val="0"/>
                  </a:schemeClr>
                </a:gs>
                <a:gs pos="100000">
                  <a:schemeClr val="bg1"/>
                </a:gs>
              </a:gsLst>
              <a:lin ang="5400000" scaled="1"/>
              <a:tileRect/>
            </a:gradFill>
          </a:ln>
        </p:spPr>
        <p:txBody>
          <a:bodyPr anchor="ctr">
            <a:normAutofit/>
          </a:bodyPr>
          <a:lstStyle>
            <a:lvl1pPr marL="0" indent="0" algn="r">
              <a:buNone/>
              <a:defRPr lang="es-ES" sz="900" b="1" kern="1200" dirty="0" smtClean="0">
                <a:solidFill>
                  <a:schemeClr val="bg1"/>
                </a:solidFill>
                <a:latin typeface="+mj-lt"/>
                <a:ea typeface="+mn-ea"/>
                <a:cs typeface="+mn-cs"/>
              </a:defRPr>
            </a:lvl1pPr>
            <a:lvl2pPr marL="0" indent="0" algn="r">
              <a:lnSpc>
                <a:spcPct val="100000"/>
              </a:lnSpc>
              <a:spcBef>
                <a:spcPts val="0"/>
              </a:spcBef>
              <a:spcAft>
                <a:spcPts val="600"/>
              </a:spcAft>
              <a:buNone/>
              <a:defRPr sz="900" b="0" i="1">
                <a:solidFill>
                  <a:schemeClr val="bg1"/>
                </a:solidFill>
                <a:latin typeface="+mj-lt"/>
              </a:defRPr>
            </a:lvl2pPr>
            <a:lvl3pPr marL="0" indent="0">
              <a:lnSpc>
                <a:spcPct val="100000"/>
              </a:lnSpc>
              <a:spcBef>
                <a:spcPts val="0"/>
              </a:spcBef>
              <a:spcAft>
                <a:spcPts val="600"/>
              </a:spcAft>
              <a:buNone/>
              <a:defRPr sz="900" b="1" i="1"/>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p:txBody>
      </p:sp>
      <p:sp>
        <p:nvSpPr>
          <p:cNvPr id="120" name="Marcador de texto 71">
            <a:extLst>
              <a:ext uri="{FF2B5EF4-FFF2-40B4-BE49-F238E27FC236}">
                <a16:creationId xmlns:a16="http://schemas.microsoft.com/office/drawing/2014/main" id="{521D1E91-D90C-7073-1CFE-D22D5AB88CAF}"/>
              </a:ext>
            </a:extLst>
          </p:cNvPr>
          <p:cNvSpPr>
            <a:spLocks noGrp="1"/>
          </p:cNvSpPr>
          <p:nvPr>
            <p:ph type="body" sz="quarter" idx="60" hasCustomPrompt="1"/>
          </p:nvPr>
        </p:nvSpPr>
        <p:spPr>
          <a:xfrm>
            <a:off x="6518097" y="1654359"/>
            <a:ext cx="5137633" cy="375893"/>
          </a:xfrm>
          <a:prstGeom prst="rect">
            <a:avLst/>
          </a:prstGeom>
          <a:ln w="25400" cap="rnd">
            <a:gradFill flip="none" rotWithShape="1">
              <a:gsLst>
                <a:gs pos="98000">
                  <a:schemeClr val="bg1">
                    <a:alpha val="0"/>
                  </a:schemeClr>
                </a:gs>
                <a:gs pos="100000">
                  <a:schemeClr val="bg1"/>
                </a:gs>
              </a:gsLst>
              <a:lin ang="5400000" scaled="1"/>
              <a:tileRect/>
            </a:gradFill>
          </a:ln>
        </p:spPr>
        <p:txBody>
          <a:bodyPr anchor="ctr">
            <a:normAutofit/>
          </a:bodyPr>
          <a:lstStyle>
            <a:lvl1pPr marL="0" indent="0" algn="r">
              <a:buNone/>
              <a:defRPr lang="es-ES" sz="900" b="1" kern="1200" dirty="0" smtClean="0">
                <a:solidFill>
                  <a:schemeClr val="bg1"/>
                </a:solidFill>
                <a:latin typeface="+mj-lt"/>
                <a:ea typeface="+mn-ea"/>
                <a:cs typeface="+mn-cs"/>
              </a:defRPr>
            </a:lvl1pPr>
            <a:lvl2pPr marL="0" indent="0" algn="r">
              <a:lnSpc>
                <a:spcPct val="100000"/>
              </a:lnSpc>
              <a:spcBef>
                <a:spcPts val="0"/>
              </a:spcBef>
              <a:spcAft>
                <a:spcPts val="600"/>
              </a:spcAft>
              <a:buNone/>
              <a:defRPr sz="900" b="0" i="1">
                <a:solidFill>
                  <a:schemeClr val="bg1"/>
                </a:solidFill>
                <a:latin typeface="+mj-lt"/>
              </a:defRPr>
            </a:lvl2pPr>
            <a:lvl3pPr marL="0" indent="0">
              <a:lnSpc>
                <a:spcPct val="100000"/>
              </a:lnSpc>
              <a:spcBef>
                <a:spcPts val="0"/>
              </a:spcBef>
              <a:spcAft>
                <a:spcPts val="600"/>
              </a:spcAft>
              <a:buNone/>
              <a:defRPr sz="900" b="1" i="1"/>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p:txBody>
      </p:sp>
      <p:sp>
        <p:nvSpPr>
          <p:cNvPr id="121" name="Marcador de texto 71">
            <a:extLst>
              <a:ext uri="{FF2B5EF4-FFF2-40B4-BE49-F238E27FC236}">
                <a16:creationId xmlns:a16="http://schemas.microsoft.com/office/drawing/2014/main" id="{9959E511-8AE3-D79E-55D0-794043866993}"/>
              </a:ext>
            </a:extLst>
          </p:cNvPr>
          <p:cNvSpPr>
            <a:spLocks noGrp="1"/>
          </p:cNvSpPr>
          <p:nvPr>
            <p:ph type="body" sz="quarter" idx="61" hasCustomPrompt="1"/>
          </p:nvPr>
        </p:nvSpPr>
        <p:spPr>
          <a:xfrm>
            <a:off x="6518097" y="2028431"/>
            <a:ext cx="5137633" cy="375893"/>
          </a:xfrm>
          <a:prstGeom prst="rect">
            <a:avLst/>
          </a:prstGeom>
          <a:ln w="25400" cap="rnd">
            <a:gradFill flip="none" rotWithShape="1">
              <a:gsLst>
                <a:gs pos="98000">
                  <a:schemeClr val="bg1">
                    <a:alpha val="0"/>
                  </a:schemeClr>
                </a:gs>
                <a:gs pos="100000">
                  <a:schemeClr val="bg1"/>
                </a:gs>
              </a:gsLst>
              <a:lin ang="5400000" scaled="1"/>
              <a:tileRect/>
            </a:gradFill>
          </a:ln>
        </p:spPr>
        <p:txBody>
          <a:bodyPr anchor="ctr">
            <a:normAutofit/>
          </a:bodyPr>
          <a:lstStyle>
            <a:lvl1pPr marL="0" indent="0" algn="r">
              <a:buNone/>
              <a:defRPr lang="es-ES" sz="900" b="1" kern="1200" dirty="0" smtClean="0">
                <a:solidFill>
                  <a:schemeClr val="bg1"/>
                </a:solidFill>
                <a:latin typeface="+mj-lt"/>
                <a:ea typeface="+mn-ea"/>
                <a:cs typeface="+mn-cs"/>
              </a:defRPr>
            </a:lvl1pPr>
            <a:lvl2pPr marL="0" indent="0" algn="r">
              <a:lnSpc>
                <a:spcPct val="100000"/>
              </a:lnSpc>
              <a:spcBef>
                <a:spcPts val="0"/>
              </a:spcBef>
              <a:spcAft>
                <a:spcPts val="600"/>
              </a:spcAft>
              <a:buNone/>
              <a:defRPr sz="900" b="0" i="1">
                <a:solidFill>
                  <a:schemeClr val="bg1"/>
                </a:solidFill>
                <a:latin typeface="+mj-lt"/>
              </a:defRPr>
            </a:lvl2pPr>
            <a:lvl3pPr marL="0" indent="0">
              <a:lnSpc>
                <a:spcPct val="100000"/>
              </a:lnSpc>
              <a:spcBef>
                <a:spcPts val="0"/>
              </a:spcBef>
              <a:spcAft>
                <a:spcPts val="600"/>
              </a:spcAft>
              <a:buNone/>
              <a:defRPr sz="900" b="1" i="1"/>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p:txBody>
      </p:sp>
      <p:sp>
        <p:nvSpPr>
          <p:cNvPr id="122" name="Marcador de texto 71">
            <a:extLst>
              <a:ext uri="{FF2B5EF4-FFF2-40B4-BE49-F238E27FC236}">
                <a16:creationId xmlns:a16="http://schemas.microsoft.com/office/drawing/2014/main" id="{F17B9E96-C44E-4B19-C556-10BBDBB7AB67}"/>
              </a:ext>
            </a:extLst>
          </p:cNvPr>
          <p:cNvSpPr>
            <a:spLocks noGrp="1"/>
          </p:cNvSpPr>
          <p:nvPr>
            <p:ph type="body" sz="quarter" idx="62" hasCustomPrompt="1"/>
          </p:nvPr>
        </p:nvSpPr>
        <p:spPr>
          <a:xfrm>
            <a:off x="6518097" y="2407699"/>
            <a:ext cx="5137633" cy="375893"/>
          </a:xfrm>
          <a:prstGeom prst="rect">
            <a:avLst/>
          </a:prstGeom>
          <a:ln w="25400" cap="rnd">
            <a:gradFill flip="none" rotWithShape="1">
              <a:gsLst>
                <a:gs pos="98000">
                  <a:schemeClr val="bg1">
                    <a:alpha val="0"/>
                  </a:schemeClr>
                </a:gs>
                <a:gs pos="100000">
                  <a:schemeClr val="bg1"/>
                </a:gs>
              </a:gsLst>
              <a:lin ang="5400000" scaled="1"/>
              <a:tileRect/>
            </a:gradFill>
          </a:ln>
        </p:spPr>
        <p:txBody>
          <a:bodyPr anchor="ctr">
            <a:normAutofit/>
          </a:bodyPr>
          <a:lstStyle>
            <a:lvl1pPr marL="0" indent="0" algn="r">
              <a:buNone/>
              <a:defRPr lang="es-ES" sz="900" b="1" kern="1200" dirty="0" smtClean="0">
                <a:solidFill>
                  <a:schemeClr val="bg1"/>
                </a:solidFill>
                <a:latin typeface="+mj-lt"/>
                <a:ea typeface="+mn-ea"/>
                <a:cs typeface="+mn-cs"/>
              </a:defRPr>
            </a:lvl1pPr>
            <a:lvl2pPr marL="0" indent="0" algn="r">
              <a:lnSpc>
                <a:spcPct val="100000"/>
              </a:lnSpc>
              <a:spcBef>
                <a:spcPts val="0"/>
              </a:spcBef>
              <a:spcAft>
                <a:spcPts val="600"/>
              </a:spcAft>
              <a:buNone/>
              <a:defRPr sz="900" b="0" i="1">
                <a:solidFill>
                  <a:schemeClr val="bg1"/>
                </a:solidFill>
                <a:latin typeface="+mj-lt"/>
              </a:defRPr>
            </a:lvl2pPr>
            <a:lvl3pPr marL="0" indent="0">
              <a:lnSpc>
                <a:spcPct val="100000"/>
              </a:lnSpc>
              <a:spcBef>
                <a:spcPts val="0"/>
              </a:spcBef>
              <a:spcAft>
                <a:spcPts val="600"/>
              </a:spcAft>
              <a:buNone/>
              <a:defRPr sz="900" b="1" i="1"/>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p:txBody>
      </p:sp>
      <p:sp>
        <p:nvSpPr>
          <p:cNvPr id="123" name="Marcador de texto 71">
            <a:extLst>
              <a:ext uri="{FF2B5EF4-FFF2-40B4-BE49-F238E27FC236}">
                <a16:creationId xmlns:a16="http://schemas.microsoft.com/office/drawing/2014/main" id="{6B494AC4-2681-5282-4D4A-4713F69FBA5F}"/>
              </a:ext>
            </a:extLst>
          </p:cNvPr>
          <p:cNvSpPr>
            <a:spLocks noGrp="1"/>
          </p:cNvSpPr>
          <p:nvPr>
            <p:ph type="body" sz="quarter" idx="63" hasCustomPrompt="1"/>
          </p:nvPr>
        </p:nvSpPr>
        <p:spPr>
          <a:xfrm>
            <a:off x="6518097" y="2781772"/>
            <a:ext cx="5137633" cy="375893"/>
          </a:xfrm>
          <a:prstGeom prst="rect">
            <a:avLst/>
          </a:prstGeom>
          <a:ln w="25400" cap="rnd">
            <a:gradFill flip="none" rotWithShape="1">
              <a:gsLst>
                <a:gs pos="98000">
                  <a:schemeClr val="bg1">
                    <a:alpha val="0"/>
                  </a:schemeClr>
                </a:gs>
                <a:gs pos="100000">
                  <a:schemeClr val="bg1"/>
                </a:gs>
              </a:gsLst>
              <a:lin ang="5400000" scaled="1"/>
              <a:tileRect/>
            </a:gradFill>
          </a:ln>
        </p:spPr>
        <p:txBody>
          <a:bodyPr anchor="ctr">
            <a:normAutofit/>
          </a:bodyPr>
          <a:lstStyle>
            <a:lvl1pPr marL="0" indent="0" algn="r">
              <a:buNone/>
              <a:defRPr lang="es-ES" sz="900" b="1" kern="1200" dirty="0" smtClean="0">
                <a:solidFill>
                  <a:schemeClr val="bg1"/>
                </a:solidFill>
                <a:latin typeface="+mj-lt"/>
                <a:ea typeface="+mn-ea"/>
                <a:cs typeface="+mn-cs"/>
              </a:defRPr>
            </a:lvl1pPr>
            <a:lvl2pPr marL="0" indent="0" algn="r">
              <a:lnSpc>
                <a:spcPct val="100000"/>
              </a:lnSpc>
              <a:spcBef>
                <a:spcPts val="0"/>
              </a:spcBef>
              <a:spcAft>
                <a:spcPts val="600"/>
              </a:spcAft>
              <a:buNone/>
              <a:defRPr sz="900" b="0" i="1">
                <a:solidFill>
                  <a:schemeClr val="bg1"/>
                </a:solidFill>
                <a:latin typeface="+mj-lt"/>
              </a:defRPr>
            </a:lvl2pPr>
            <a:lvl3pPr marL="0" indent="0">
              <a:lnSpc>
                <a:spcPct val="100000"/>
              </a:lnSpc>
              <a:spcBef>
                <a:spcPts val="0"/>
              </a:spcBef>
              <a:spcAft>
                <a:spcPts val="600"/>
              </a:spcAft>
              <a:buNone/>
              <a:defRPr sz="900" b="1" i="1"/>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p:txBody>
      </p:sp>
      <p:sp>
        <p:nvSpPr>
          <p:cNvPr id="124" name="Marcador de texto 71">
            <a:extLst>
              <a:ext uri="{FF2B5EF4-FFF2-40B4-BE49-F238E27FC236}">
                <a16:creationId xmlns:a16="http://schemas.microsoft.com/office/drawing/2014/main" id="{4472E336-3E66-3020-6DAC-E82A1B0541BD}"/>
              </a:ext>
            </a:extLst>
          </p:cNvPr>
          <p:cNvSpPr>
            <a:spLocks noGrp="1"/>
          </p:cNvSpPr>
          <p:nvPr>
            <p:ph type="body" sz="quarter" idx="64" hasCustomPrompt="1"/>
          </p:nvPr>
        </p:nvSpPr>
        <p:spPr>
          <a:xfrm>
            <a:off x="6518097" y="3155844"/>
            <a:ext cx="5137633" cy="375893"/>
          </a:xfrm>
          <a:prstGeom prst="rect">
            <a:avLst/>
          </a:prstGeom>
          <a:ln w="25400" cap="rnd">
            <a:gradFill flip="none" rotWithShape="1">
              <a:gsLst>
                <a:gs pos="98000">
                  <a:schemeClr val="bg1">
                    <a:alpha val="0"/>
                  </a:schemeClr>
                </a:gs>
                <a:gs pos="100000">
                  <a:schemeClr val="bg1"/>
                </a:gs>
              </a:gsLst>
              <a:lin ang="5400000" scaled="1"/>
              <a:tileRect/>
            </a:gradFill>
          </a:ln>
        </p:spPr>
        <p:txBody>
          <a:bodyPr anchor="ctr">
            <a:normAutofit/>
          </a:bodyPr>
          <a:lstStyle>
            <a:lvl1pPr marL="0" indent="0" algn="r">
              <a:buNone/>
              <a:defRPr lang="es-ES" sz="900" b="1" kern="1200" dirty="0" smtClean="0">
                <a:solidFill>
                  <a:schemeClr val="bg1"/>
                </a:solidFill>
                <a:latin typeface="+mj-lt"/>
                <a:ea typeface="+mn-ea"/>
                <a:cs typeface="+mn-cs"/>
              </a:defRPr>
            </a:lvl1pPr>
            <a:lvl2pPr marL="0" indent="0" algn="r">
              <a:lnSpc>
                <a:spcPct val="100000"/>
              </a:lnSpc>
              <a:spcBef>
                <a:spcPts val="0"/>
              </a:spcBef>
              <a:spcAft>
                <a:spcPts val="600"/>
              </a:spcAft>
              <a:buNone/>
              <a:defRPr sz="900" b="0" i="1">
                <a:solidFill>
                  <a:schemeClr val="bg1"/>
                </a:solidFill>
                <a:latin typeface="+mj-lt"/>
              </a:defRPr>
            </a:lvl2pPr>
            <a:lvl3pPr marL="0" indent="0">
              <a:lnSpc>
                <a:spcPct val="100000"/>
              </a:lnSpc>
              <a:spcBef>
                <a:spcPts val="0"/>
              </a:spcBef>
              <a:spcAft>
                <a:spcPts val="600"/>
              </a:spcAft>
              <a:buNone/>
              <a:defRPr sz="900" b="1" i="1"/>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p:txBody>
      </p:sp>
      <p:sp>
        <p:nvSpPr>
          <p:cNvPr id="125" name="Marcador de texto 71">
            <a:extLst>
              <a:ext uri="{FF2B5EF4-FFF2-40B4-BE49-F238E27FC236}">
                <a16:creationId xmlns:a16="http://schemas.microsoft.com/office/drawing/2014/main" id="{3CB8D239-D631-5D62-4049-09223522EE54}"/>
              </a:ext>
            </a:extLst>
          </p:cNvPr>
          <p:cNvSpPr>
            <a:spLocks noGrp="1"/>
          </p:cNvSpPr>
          <p:nvPr>
            <p:ph type="body" sz="quarter" idx="65" hasCustomPrompt="1"/>
          </p:nvPr>
        </p:nvSpPr>
        <p:spPr>
          <a:xfrm>
            <a:off x="6518097" y="3524721"/>
            <a:ext cx="5137633" cy="375893"/>
          </a:xfrm>
          <a:prstGeom prst="rect">
            <a:avLst/>
          </a:prstGeom>
          <a:ln w="25400" cap="rnd">
            <a:gradFill flip="none" rotWithShape="1">
              <a:gsLst>
                <a:gs pos="98000">
                  <a:schemeClr val="bg1">
                    <a:alpha val="0"/>
                  </a:schemeClr>
                </a:gs>
                <a:gs pos="100000">
                  <a:schemeClr val="bg1"/>
                </a:gs>
              </a:gsLst>
              <a:lin ang="5400000" scaled="1"/>
              <a:tileRect/>
            </a:gradFill>
          </a:ln>
        </p:spPr>
        <p:txBody>
          <a:bodyPr anchor="ctr">
            <a:normAutofit/>
          </a:bodyPr>
          <a:lstStyle>
            <a:lvl1pPr marL="0" indent="0" algn="r">
              <a:buNone/>
              <a:defRPr lang="es-ES" sz="900" b="1" kern="1200" dirty="0" smtClean="0">
                <a:solidFill>
                  <a:schemeClr val="bg1"/>
                </a:solidFill>
                <a:latin typeface="+mj-lt"/>
                <a:ea typeface="+mn-ea"/>
                <a:cs typeface="+mn-cs"/>
              </a:defRPr>
            </a:lvl1pPr>
            <a:lvl2pPr marL="0" indent="0" algn="r">
              <a:lnSpc>
                <a:spcPct val="100000"/>
              </a:lnSpc>
              <a:spcBef>
                <a:spcPts val="0"/>
              </a:spcBef>
              <a:spcAft>
                <a:spcPts val="600"/>
              </a:spcAft>
              <a:buNone/>
              <a:defRPr sz="900" b="0" i="1">
                <a:solidFill>
                  <a:schemeClr val="bg1"/>
                </a:solidFill>
                <a:latin typeface="+mj-lt"/>
              </a:defRPr>
            </a:lvl2pPr>
            <a:lvl3pPr marL="0" indent="0">
              <a:lnSpc>
                <a:spcPct val="100000"/>
              </a:lnSpc>
              <a:spcBef>
                <a:spcPts val="0"/>
              </a:spcBef>
              <a:spcAft>
                <a:spcPts val="600"/>
              </a:spcAft>
              <a:buNone/>
              <a:defRPr sz="900" b="1" i="1"/>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p:txBody>
      </p:sp>
      <p:sp>
        <p:nvSpPr>
          <p:cNvPr id="126" name="Marcador de texto 71">
            <a:extLst>
              <a:ext uri="{FF2B5EF4-FFF2-40B4-BE49-F238E27FC236}">
                <a16:creationId xmlns:a16="http://schemas.microsoft.com/office/drawing/2014/main" id="{40BE50AC-DEF1-E629-AC4E-8BF8F95B35E9}"/>
              </a:ext>
            </a:extLst>
          </p:cNvPr>
          <p:cNvSpPr>
            <a:spLocks noGrp="1"/>
          </p:cNvSpPr>
          <p:nvPr>
            <p:ph type="body" sz="quarter" idx="66" hasCustomPrompt="1"/>
          </p:nvPr>
        </p:nvSpPr>
        <p:spPr>
          <a:xfrm>
            <a:off x="6518097" y="3898794"/>
            <a:ext cx="5137633" cy="375893"/>
          </a:xfrm>
          <a:prstGeom prst="rect">
            <a:avLst/>
          </a:prstGeom>
          <a:ln w="25400" cap="rnd">
            <a:gradFill flip="none" rotWithShape="1">
              <a:gsLst>
                <a:gs pos="98000">
                  <a:schemeClr val="bg1">
                    <a:alpha val="0"/>
                  </a:schemeClr>
                </a:gs>
                <a:gs pos="100000">
                  <a:schemeClr val="bg1"/>
                </a:gs>
              </a:gsLst>
              <a:lin ang="5400000" scaled="1"/>
              <a:tileRect/>
            </a:gradFill>
          </a:ln>
        </p:spPr>
        <p:txBody>
          <a:bodyPr anchor="ctr">
            <a:normAutofit/>
          </a:bodyPr>
          <a:lstStyle>
            <a:lvl1pPr marL="0" indent="0" algn="r">
              <a:buNone/>
              <a:defRPr lang="es-ES" sz="900" b="1" kern="1200" dirty="0" smtClean="0">
                <a:solidFill>
                  <a:schemeClr val="bg1"/>
                </a:solidFill>
                <a:latin typeface="+mj-lt"/>
                <a:ea typeface="+mn-ea"/>
                <a:cs typeface="+mn-cs"/>
              </a:defRPr>
            </a:lvl1pPr>
            <a:lvl2pPr marL="0" indent="0" algn="r">
              <a:lnSpc>
                <a:spcPct val="100000"/>
              </a:lnSpc>
              <a:spcBef>
                <a:spcPts val="0"/>
              </a:spcBef>
              <a:spcAft>
                <a:spcPts val="600"/>
              </a:spcAft>
              <a:buNone/>
              <a:defRPr sz="900" b="0" i="1">
                <a:solidFill>
                  <a:schemeClr val="bg1"/>
                </a:solidFill>
                <a:latin typeface="+mj-lt"/>
              </a:defRPr>
            </a:lvl2pPr>
            <a:lvl3pPr marL="0" indent="0">
              <a:lnSpc>
                <a:spcPct val="100000"/>
              </a:lnSpc>
              <a:spcBef>
                <a:spcPts val="0"/>
              </a:spcBef>
              <a:spcAft>
                <a:spcPts val="600"/>
              </a:spcAft>
              <a:buNone/>
              <a:defRPr sz="900" b="1" i="1"/>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p:txBody>
      </p:sp>
      <p:sp>
        <p:nvSpPr>
          <p:cNvPr id="127" name="Marcador de texto 71">
            <a:extLst>
              <a:ext uri="{FF2B5EF4-FFF2-40B4-BE49-F238E27FC236}">
                <a16:creationId xmlns:a16="http://schemas.microsoft.com/office/drawing/2014/main" id="{ED27F5C2-1917-BD30-0EB8-AAB1E1F4C2BA}"/>
              </a:ext>
            </a:extLst>
          </p:cNvPr>
          <p:cNvSpPr>
            <a:spLocks noGrp="1"/>
          </p:cNvSpPr>
          <p:nvPr>
            <p:ph type="body" sz="quarter" idx="67" hasCustomPrompt="1"/>
          </p:nvPr>
        </p:nvSpPr>
        <p:spPr>
          <a:xfrm>
            <a:off x="6518097" y="4278063"/>
            <a:ext cx="5137633" cy="375893"/>
          </a:xfrm>
          <a:prstGeom prst="rect">
            <a:avLst/>
          </a:prstGeom>
          <a:ln w="25400" cap="rnd">
            <a:gradFill flip="none" rotWithShape="1">
              <a:gsLst>
                <a:gs pos="98000">
                  <a:schemeClr val="bg1">
                    <a:alpha val="0"/>
                  </a:schemeClr>
                </a:gs>
                <a:gs pos="100000">
                  <a:schemeClr val="bg1"/>
                </a:gs>
              </a:gsLst>
              <a:lin ang="5400000" scaled="1"/>
              <a:tileRect/>
            </a:gradFill>
          </a:ln>
        </p:spPr>
        <p:txBody>
          <a:bodyPr anchor="ctr">
            <a:normAutofit/>
          </a:bodyPr>
          <a:lstStyle>
            <a:lvl1pPr marL="0" indent="0" algn="r">
              <a:buNone/>
              <a:defRPr lang="es-ES" sz="900" b="1" kern="1200" dirty="0" smtClean="0">
                <a:solidFill>
                  <a:schemeClr val="bg1"/>
                </a:solidFill>
                <a:latin typeface="+mj-lt"/>
                <a:ea typeface="+mn-ea"/>
                <a:cs typeface="+mn-cs"/>
              </a:defRPr>
            </a:lvl1pPr>
            <a:lvl2pPr marL="0" indent="0" algn="r">
              <a:lnSpc>
                <a:spcPct val="100000"/>
              </a:lnSpc>
              <a:spcBef>
                <a:spcPts val="0"/>
              </a:spcBef>
              <a:spcAft>
                <a:spcPts val="600"/>
              </a:spcAft>
              <a:buNone/>
              <a:defRPr sz="900" b="0" i="1">
                <a:solidFill>
                  <a:schemeClr val="bg1"/>
                </a:solidFill>
                <a:latin typeface="+mj-lt"/>
              </a:defRPr>
            </a:lvl2pPr>
            <a:lvl3pPr marL="0" indent="0">
              <a:lnSpc>
                <a:spcPct val="100000"/>
              </a:lnSpc>
              <a:spcBef>
                <a:spcPts val="0"/>
              </a:spcBef>
              <a:spcAft>
                <a:spcPts val="600"/>
              </a:spcAft>
              <a:buNone/>
              <a:defRPr sz="900" b="1" i="1"/>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p:txBody>
      </p:sp>
      <p:sp>
        <p:nvSpPr>
          <p:cNvPr id="192" name="Marcador de texto 71">
            <a:extLst>
              <a:ext uri="{FF2B5EF4-FFF2-40B4-BE49-F238E27FC236}">
                <a16:creationId xmlns:a16="http://schemas.microsoft.com/office/drawing/2014/main" id="{524766E7-20C0-99A6-899D-CD9386DF333A}"/>
              </a:ext>
            </a:extLst>
          </p:cNvPr>
          <p:cNvSpPr>
            <a:spLocks noGrp="1"/>
          </p:cNvSpPr>
          <p:nvPr>
            <p:ph type="body" sz="quarter" idx="68" hasCustomPrompt="1"/>
          </p:nvPr>
        </p:nvSpPr>
        <p:spPr>
          <a:xfrm>
            <a:off x="6518097" y="4646940"/>
            <a:ext cx="5137633" cy="375893"/>
          </a:xfrm>
          <a:prstGeom prst="rect">
            <a:avLst/>
          </a:prstGeom>
          <a:ln w="25400" cap="rnd">
            <a:gradFill flip="none" rotWithShape="1">
              <a:gsLst>
                <a:gs pos="98000">
                  <a:schemeClr val="bg1">
                    <a:alpha val="0"/>
                  </a:schemeClr>
                </a:gs>
                <a:gs pos="100000">
                  <a:schemeClr val="bg1"/>
                </a:gs>
              </a:gsLst>
              <a:lin ang="5400000" scaled="1"/>
              <a:tileRect/>
            </a:gradFill>
          </a:ln>
        </p:spPr>
        <p:txBody>
          <a:bodyPr anchor="ctr">
            <a:normAutofit/>
          </a:bodyPr>
          <a:lstStyle>
            <a:lvl1pPr marL="0" indent="0" algn="r">
              <a:buNone/>
              <a:defRPr lang="es-ES" sz="900" b="1" kern="1200" dirty="0" smtClean="0">
                <a:solidFill>
                  <a:schemeClr val="bg1"/>
                </a:solidFill>
                <a:latin typeface="+mj-lt"/>
                <a:ea typeface="+mn-ea"/>
                <a:cs typeface="+mn-cs"/>
              </a:defRPr>
            </a:lvl1pPr>
            <a:lvl2pPr marL="0" indent="0" algn="r">
              <a:lnSpc>
                <a:spcPct val="100000"/>
              </a:lnSpc>
              <a:spcBef>
                <a:spcPts val="0"/>
              </a:spcBef>
              <a:spcAft>
                <a:spcPts val="600"/>
              </a:spcAft>
              <a:buNone/>
              <a:defRPr sz="900" b="0" i="1">
                <a:solidFill>
                  <a:schemeClr val="bg1"/>
                </a:solidFill>
                <a:latin typeface="+mj-lt"/>
              </a:defRPr>
            </a:lvl2pPr>
            <a:lvl3pPr marL="0" indent="0">
              <a:lnSpc>
                <a:spcPct val="100000"/>
              </a:lnSpc>
              <a:spcBef>
                <a:spcPts val="0"/>
              </a:spcBef>
              <a:spcAft>
                <a:spcPts val="600"/>
              </a:spcAft>
              <a:buNone/>
              <a:defRPr sz="900" b="1" i="1"/>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p:txBody>
      </p:sp>
      <p:sp>
        <p:nvSpPr>
          <p:cNvPr id="193" name="Marcador de texto 71">
            <a:extLst>
              <a:ext uri="{FF2B5EF4-FFF2-40B4-BE49-F238E27FC236}">
                <a16:creationId xmlns:a16="http://schemas.microsoft.com/office/drawing/2014/main" id="{49809BE5-C03A-8D99-9205-879683F2A534}"/>
              </a:ext>
            </a:extLst>
          </p:cNvPr>
          <p:cNvSpPr>
            <a:spLocks noGrp="1"/>
          </p:cNvSpPr>
          <p:nvPr>
            <p:ph type="body" sz="quarter" idx="69" hasCustomPrompt="1"/>
          </p:nvPr>
        </p:nvSpPr>
        <p:spPr>
          <a:xfrm>
            <a:off x="6518097" y="5021013"/>
            <a:ext cx="5137633" cy="375893"/>
          </a:xfrm>
          <a:prstGeom prst="rect">
            <a:avLst/>
          </a:prstGeom>
          <a:ln w="25400" cap="rnd">
            <a:gradFill flip="none" rotWithShape="1">
              <a:gsLst>
                <a:gs pos="98000">
                  <a:schemeClr val="bg1">
                    <a:alpha val="0"/>
                  </a:schemeClr>
                </a:gs>
                <a:gs pos="100000">
                  <a:schemeClr val="bg1"/>
                </a:gs>
              </a:gsLst>
              <a:lin ang="5400000" scaled="1"/>
              <a:tileRect/>
            </a:gradFill>
          </a:ln>
        </p:spPr>
        <p:txBody>
          <a:bodyPr anchor="ctr">
            <a:normAutofit/>
          </a:bodyPr>
          <a:lstStyle>
            <a:lvl1pPr marL="0" indent="0" algn="r">
              <a:buNone/>
              <a:defRPr lang="es-ES" sz="900" b="1" kern="1200" dirty="0" smtClean="0">
                <a:solidFill>
                  <a:schemeClr val="bg1"/>
                </a:solidFill>
                <a:latin typeface="+mj-lt"/>
                <a:ea typeface="+mn-ea"/>
                <a:cs typeface="+mn-cs"/>
              </a:defRPr>
            </a:lvl1pPr>
            <a:lvl2pPr marL="0" indent="0" algn="r">
              <a:lnSpc>
                <a:spcPct val="100000"/>
              </a:lnSpc>
              <a:spcBef>
                <a:spcPts val="0"/>
              </a:spcBef>
              <a:spcAft>
                <a:spcPts val="600"/>
              </a:spcAft>
              <a:buNone/>
              <a:defRPr sz="900" b="0" i="1">
                <a:solidFill>
                  <a:schemeClr val="bg1"/>
                </a:solidFill>
                <a:latin typeface="+mj-lt"/>
              </a:defRPr>
            </a:lvl2pPr>
            <a:lvl3pPr marL="0" indent="0">
              <a:lnSpc>
                <a:spcPct val="100000"/>
              </a:lnSpc>
              <a:spcBef>
                <a:spcPts val="0"/>
              </a:spcBef>
              <a:spcAft>
                <a:spcPts val="600"/>
              </a:spcAft>
              <a:buNone/>
              <a:defRPr sz="900" b="1" i="1"/>
            </a:lvl3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p:txBody>
      </p:sp>
      <p:sp>
        <p:nvSpPr>
          <p:cNvPr id="5" name="Marcador de número de diapositiva 5">
            <a:extLst>
              <a:ext uri="{FF2B5EF4-FFF2-40B4-BE49-F238E27FC236}">
                <a16:creationId xmlns:a16="http://schemas.microsoft.com/office/drawing/2014/main" id="{D28F0024-6D85-7DBC-7BF7-E81EA091FB1B}"/>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0B83069B-BB7B-6C37-EC26-7CE8823A7773}"/>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9879E1DD-F9BD-95EB-726A-FF9C159E3CD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8" name="Título 1">
            <a:extLst>
              <a:ext uri="{FF2B5EF4-FFF2-40B4-BE49-F238E27FC236}">
                <a16:creationId xmlns:a16="http://schemas.microsoft.com/office/drawing/2014/main" id="{E4704283-8099-9334-1939-9C6A5D7476AE}"/>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bg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9" name="Marcador de texto 14">
            <a:extLst>
              <a:ext uri="{FF2B5EF4-FFF2-40B4-BE49-F238E27FC236}">
                <a16:creationId xmlns:a16="http://schemas.microsoft.com/office/drawing/2014/main" id="{FBB8577F-906E-25B1-ADCD-BA518D569327}"/>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chemeClr val="bg1"/>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34960EDB-CFB8-0437-5728-CC3EA530745B}"/>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chemeClr val="bg1"/>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4" name="Text Placeholder 3">
            <a:extLst>
              <a:ext uri="{FF2B5EF4-FFF2-40B4-BE49-F238E27FC236}">
                <a16:creationId xmlns:a16="http://schemas.microsoft.com/office/drawing/2014/main" id="{77A66E7E-D6E6-1DC1-077F-BF74B5C13F75}"/>
              </a:ext>
            </a:extLst>
          </p:cNvPr>
          <p:cNvSpPr>
            <a:spLocks noGrp="1"/>
          </p:cNvSpPr>
          <p:nvPr>
            <p:ph type="body" sz="quarter" idx="16"/>
          </p:nvPr>
        </p:nvSpPr>
        <p:spPr>
          <a:xfrm>
            <a:off x="10815678" y="89692"/>
            <a:ext cx="1285311" cy="281220"/>
          </a:xfrm>
          <a:prstGeom prst="rect">
            <a:avLst/>
          </a:prstGeom>
          <a:blipFill>
            <a:blip r:embed="rId4">
              <a:lum bright="100000"/>
              <a:extLst>
                <a:ext uri="{96DAC541-7B7A-43D3-8B79-37D633B846F1}">
                  <asvg:svgBlip xmlns:asvg="http://schemas.microsoft.com/office/drawing/2016/SVG/main" r:embed="rId5"/>
                </a:ext>
              </a:extLst>
            </a:blip>
            <a:stretch>
              <a:fillRect/>
            </a:stretch>
          </a:blipFill>
        </p:spPr>
        <p:txBody>
          <a:bodyPr/>
          <a:lstStyle>
            <a:lvl1pPr marL="0" indent="0">
              <a:buNone/>
              <a:defRPr sz="100">
                <a:solidFill>
                  <a:schemeClr val="bg1">
                    <a:alpha val="0"/>
                  </a:schemeClr>
                </a:solidFill>
              </a:defRPr>
            </a:lvl1pPr>
          </a:lstStyle>
          <a:p>
            <a:pPr lvl="0"/>
            <a:endParaRPr lang="en-GB"/>
          </a:p>
        </p:txBody>
      </p:sp>
      <p:sp>
        <p:nvSpPr>
          <p:cNvPr id="69" name="Marcador de texto 68">
            <a:extLst>
              <a:ext uri="{FF2B5EF4-FFF2-40B4-BE49-F238E27FC236}">
                <a16:creationId xmlns:a16="http://schemas.microsoft.com/office/drawing/2014/main" id="{079ACFFB-098C-140F-C16D-1EC2FD317DD7}"/>
              </a:ext>
            </a:extLst>
          </p:cNvPr>
          <p:cNvSpPr>
            <a:spLocks noGrp="1"/>
          </p:cNvSpPr>
          <p:nvPr>
            <p:ph type="body" sz="quarter" idx="47"/>
          </p:nvPr>
        </p:nvSpPr>
        <p:spPr>
          <a:xfrm>
            <a:off x="0" y="0"/>
            <a:ext cx="12192000" cy="5932199"/>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lgn="l">
              <a:buNone/>
              <a:defRPr lang="es-ES" sz="100" smtClean="0">
                <a:solidFill>
                  <a:srgbClr val="FFFFFF">
                    <a:alpha val="0"/>
                  </a:srgbClr>
                </a:solidFill>
                <a:latin typeface="Arial"/>
              </a:defRPr>
            </a:lvl1pPr>
            <a:lvl2pPr marL="228600" indent="0" algn="l">
              <a:buNone/>
              <a:defRPr lang="es-ES" sz="1800" smtClean="0">
                <a:solidFill>
                  <a:schemeClr val="lt1"/>
                </a:solidFill>
                <a:latin typeface="+mn-lt"/>
              </a:defRPr>
            </a:lvl2pPr>
            <a:lvl3pPr marL="685800" indent="0" algn="l">
              <a:buNone/>
              <a:defRPr lang="es-ES" sz="1800" smtClean="0">
                <a:solidFill>
                  <a:schemeClr val="lt1"/>
                </a:solidFill>
                <a:latin typeface="+mn-lt"/>
              </a:defRPr>
            </a:lvl3pPr>
            <a:lvl4pPr marL="1143000" indent="0" algn="l">
              <a:buNone/>
              <a:defRPr lang="es-ES" smtClean="0">
                <a:solidFill>
                  <a:schemeClr val="lt1"/>
                </a:solidFill>
                <a:latin typeface="+mn-lt"/>
              </a:defRPr>
            </a:lvl4pPr>
            <a:lvl5pPr marL="1600200" indent="0" algn="l">
              <a:buNone/>
              <a:defRPr lang="es-ES">
                <a:solidFill>
                  <a:schemeClr val="lt1"/>
                </a:solidFill>
                <a:latin typeface="+mn-lt"/>
              </a:defRPr>
            </a:lvl5pPr>
          </a:lstStyle>
          <a:p>
            <a:pPr marL="0" lvl="0" algn="ctr" defTabSz="685800"/>
            <a:r>
              <a:rPr lang="es-ES"/>
              <a:t>Haga clic para modificar los estilos de texto del patrón</a:t>
            </a:r>
          </a:p>
        </p:txBody>
      </p:sp>
    </p:spTree>
    <p:extLst>
      <p:ext uri="{BB962C8B-B14F-4D97-AF65-F5344CB8AC3E}">
        <p14:creationId xmlns:p14="http://schemas.microsoft.com/office/powerpoint/2010/main" val="4159501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ork Agenda 1">
    <p:spTree>
      <p:nvGrpSpPr>
        <p:cNvPr id="1" name=""/>
        <p:cNvGrpSpPr/>
        <p:nvPr/>
      </p:nvGrpSpPr>
      <p:grpSpPr>
        <a:xfrm>
          <a:off x="0" y="0"/>
          <a:ext cx="0" cy="0"/>
          <a:chOff x="0" y="0"/>
          <a:chExt cx="0" cy="0"/>
        </a:xfrm>
      </p:grpSpPr>
      <p:sp>
        <p:nvSpPr>
          <p:cNvPr id="15" name="Marcador de tabla 14">
            <a:extLst>
              <a:ext uri="{FF2B5EF4-FFF2-40B4-BE49-F238E27FC236}">
                <a16:creationId xmlns:a16="http://schemas.microsoft.com/office/drawing/2014/main" id="{4070B4E2-B00B-3EB1-6F6E-1A08CA17AF80}"/>
              </a:ext>
            </a:extLst>
          </p:cNvPr>
          <p:cNvSpPr>
            <a:spLocks noGrp="1"/>
          </p:cNvSpPr>
          <p:nvPr>
            <p:ph type="tbl" sz="quarter" idx="46"/>
          </p:nvPr>
        </p:nvSpPr>
        <p:spPr>
          <a:xfrm>
            <a:off x="693738" y="1303338"/>
            <a:ext cx="10985500" cy="4629150"/>
          </a:xfrm>
          <a:prstGeom prst="rect">
            <a:avLst/>
          </a:prstGeom>
        </p:spPr>
        <p:txBody>
          <a:bodyPr/>
          <a:lstStyle>
            <a:lvl1pPr marL="0" indent="0" algn="ctr">
              <a:buNone/>
              <a:defRPr sz="1100">
                <a:latin typeface="Santander Headline" panose="020B0504020201020104" pitchFamily="34" charset="0"/>
              </a:defRPr>
            </a:lvl1pPr>
          </a:lstStyle>
          <a:p>
            <a:endParaRPr lang="es-ES"/>
          </a:p>
        </p:txBody>
      </p:sp>
      <p:sp>
        <p:nvSpPr>
          <p:cNvPr id="5" name="Marcador de número de diapositiva 5">
            <a:extLst>
              <a:ext uri="{FF2B5EF4-FFF2-40B4-BE49-F238E27FC236}">
                <a16:creationId xmlns:a16="http://schemas.microsoft.com/office/drawing/2014/main" id="{1BE021A7-97A0-7DA5-7D41-4C56A64AAF46}"/>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77CDD3D7-9437-A5DE-823B-E1A82B96545C}"/>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F6BD74CC-DFA9-0A97-BBE9-C6CED595813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8" name="Título 1">
            <a:extLst>
              <a:ext uri="{FF2B5EF4-FFF2-40B4-BE49-F238E27FC236}">
                <a16:creationId xmlns:a16="http://schemas.microsoft.com/office/drawing/2014/main" id="{A80EB4D5-6382-D81A-6C9C-6128130FF624}"/>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9" name="Marcador de texto 14">
            <a:extLst>
              <a:ext uri="{FF2B5EF4-FFF2-40B4-BE49-F238E27FC236}">
                <a16:creationId xmlns:a16="http://schemas.microsoft.com/office/drawing/2014/main" id="{60A04A3C-4BED-3246-EA8F-184416DB737F}"/>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548B096E-9C2A-8BDE-435B-AB7AA10D0283}"/>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33619036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90BBC-042A-3D29-4A08-C66C57DF76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ES"/>
          </a:p>
        </p:txBody>
      </p:sp>
      <p:sp>
        <p:nvSpPr>
          <p:cNvPr id="3" name="Content Placeholder 2">
            <a:extLst>
              <a:ext uri="{FF2B5EF4-FFF2-40B4-BE49-F238E27FC236}">
                <a16:creationId xmlns:a16="http://schemas.microsoft.com/office/drawing/2014/main" id="{700E7A08-180B-BF83-8B89-C85FE9DD81A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Text Placeholder 3">
            <a:extLst>
              <a:ext uri="{FF2B5EF4-FFF2-40B4-BE49-F238E27FC236}">
                <a16:creationId xmlns:a16="http://schemas.microsoft.com/office/drawing/2014/main" id="{8ABC2F8F-8C69-3A26-62B1-1E054B455C1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3578587-091A-D294-C35D-FA2ED850C9B0}"/>
              </a:ext>
            </a:extLst>
          </p:cNvPr>
          <p:cNvSpPr>
            <a:spLocks noGrp="1"/>
          </p:cNvSpPr>
          <p:nvPr>
            <p:ph type="dt" sz="half" idx="10"/>
          </p:nvPr>
        </p:nvSpPr>
        <p:spPr/>
        <p:txBody>
          <a:bodyPr/>
          <a:lstStyle/>
          <a:p>
            <a:fld id="{2936A72B-74AE-4828-B363-D54F043C4597}" type="datetimeFigureOut">
              <a:rPr lang="es-ES" smtClean="0"/>
              <a:t>03/12/2025</a:t>
            </a:fld>
            <a:endParaRPr lang="es-ES"/>
          </a:p>
        </p:txBody>
      </p:sp>
      <p:sp>
        <p:nvSpPr>
          <p:cNvPr id="6" name="Footer Placeholder 5">
            <a:extLst>
              <a:ext uri="{FF2B5EF4-FFF2-40B4-BE49-F238E27FC236}">
                <a16:creationId xmlns:a16="http://schemas.microsoft.com/office/drawing/2014/main" id="{E08BA6BC-B3F6-F75D-D2FF-CF4B10BE2E7A}"/>
              </a:ext>
            </a:extLst>
          </p:cNvPr>
          <p:cNvSpPr>
            <a:spLocks noGrp="1"/>
          </p:cNvSpPr>
          <p:nvPr>
            <p:ph type="ftr" sz="quarter" idx="11"/>
          </p:nvPr>
        </p:nvSpPr>
        <p:spPr/>
        <p:txBody>
          <a:bodyPr/>
          <a:lstStyle/>
          <a:p>
            <a:endParaRPr lang="es-ES"/>
          </a:p>
        </p:txBody>
      </p:sp>
      <p:sp>
        <p:nvSpPr>
          <p:cNvPr id="7" name="Slide Number Placeholder 6">
            <a:extLst>
              <a:ext uri="{FF2B5EF4-FFF2-40B4-BE49-F238E27FC236}">
                <a16:creationId xmlns:a16="http://schemas.microsoft.com/office/drawing/2014/main" id="{76EAFC4F-D9BE-68C9-8A8C-7A40E404C33E}"/>
              </a:ext>
            </a:extLst>
          </p:cNvPr>
          <p:cNvSpPr>
            <a:spLocks noGrp="1"/>
          </p:cNvSpPr>
          <p:nvPr>
            <p:ph type="sldNum" sz="quarter" idx="12"/>
          </p:nvPr>
        </p:nvSpPr>
        <p:spPr/>
        <p:txBody>
          <a:bodyPr/>
          <a:lstStyle/>
          <a:p>
            <a:fld id="{9CC58EAA-8CE3-4B47-B600-46B910A49F95}" type="slidenum">
              <a:rPr lang="es-ES" smtClean="0"/>
              <a:t>‹#›</a:t>
            </a:fld>
            <a:endParaRPr lang="es-ES"/>
          </a:p>
        </p:txBody>
      </p:sp>
    </p:spTree>
    <p:extLst>
      <p:ext uri="{BB962C8B-B14F-4D97-AF65-F5344CB8AC3E}">
        <p14:creationId xmlns:p14="http://schemas.microsoft.com/office/powerpoint/2010/main" val="93156581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antander's Relationship Team 3">
    <p:spTree>
      <p:nvGrpSpPr>
        <p:cNvPr id="1" name=""/>
        <p:cNvGrpSpPr/>
        <p:nvPr/>
      </p:nvGrpSpPr>
      <p:grpSpPr>
        <a:xfrm>
          <a:off x="0" y="0"/>
          <a:ext cx="0" cy="0"/>
          <a:chOff x="0" y="0"/>
          <a:chExt cx="0" cy="0"/>
        </a:xfrm>
      </p:grpSpPr>
      <p:cxnSp>
        <p:nvCxnSpPr>
          <p:cNvPr id="34" name="Conector recto 33">
            <a:extLst>
              <a:ext uri="{FF2B5EF4-FFF2-40B4-BE49-F238E27FC236}">
                <a16:creationId xmlns:a16="http://schemas.microsoft.com/office/drawing/2014/main" id="{D8BF45D1-8DA5-B754-D44F-3D02420F23B2}"/>
              </a:ext>
            </a:extLst>
          </p:cNvPr>
          <p:cNvCxnSpPr>
            <a:cxnSpLocks/>
          </p:cNvCxnSpPr>
          <p:nvPr userDrawn="1"/>
        </p:nvCxnSpPr>
        <p:spPr>
          <a:xfrm>
            <a:off x="4360926" y="1508178"/>
            <a:ext cx="0" cy="438427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8" name="Marcador de texto 36">
            <a:extLst>
              <a:ext uri="{FF2B5EF4-FFF2-40B4-BE49-F238E27FC236}">
                <a16:creationId xmlns:a16="http://schemas.microsoft.com/office/drawing/2014/main" id="{5813897C-45CE-9D5D-5358-3D335D371B07}"/>
              </a:ext>
            </a:extLst>
          </p:cNvPr>
          <p:cNvSpPr>
            <a:spLocks noGrp="1"/>
          </p:cNvSpPr>
          <p:nvPr>
            <p:ph type="body" sz="quarter" idx="46" hasCustomPrompt="1"/>
          </p:nvPr>
        </p:nvSpPr>
        <p:spPr>
          <a:xfrm>
            <a:off x="938540" y="1311966"/>
            <a:ext cx="3239825" cy="1063766"/>
          </a:xfrm>
          <a:prstGeom prst="rect">
            <a:avLst/>
          </a:prstGeom>
        </p:spPr>
        <p:txBody>
          <a:bodyPr/>
          <a:lstStyle>
            <a:lvl1pPr marL="0" indent="0">
              <a:spcBef>
                <a:spcPts val="0"/>
              </a:spcBef>
              <a:spcAft>
                <a:spcPts val="1800"/>
              </a:spcAft>
              <a:buNone/>
              <a:defRPr lang="es-ES" sz="1200" b="1" kern="1200" smtClean="0">
                <a:solidFill>
                  <a:srgbClr val="FF0000"/>
                </a:solidFill>
                <a:latin typeface="+mj-lt"/>
                <a:ea typeface="+mn-ea"/>
                <a:cs typeface="+mn-cs"/>
              </a:defRPr>
            </a:lvl1pPr>
            <a:lvl2pPr marL="0" indent="0">
              <a:spcBef>
                <a:spcPts val="0"/>
              </a:spcBef>
              <a:buNone/>
              <a:defRPr lang="es-ES" sz="1000" kern="1200" dirty="0" smtClean="0">
                <a:solidFill>
                  <a:srgbClr val="6F7779"/>
                </a:solidFill>
                <a:latin typeface="+mj-lt"/>
                <a:ea typeface="+mn-ea"/>
                <a:cs typeface="+mn-cs"/>
              </a:defRPr>
            </a:lvl2pPr>
            <a:lvl3pPr marL="914400" indent="0">
              <a:buNone/>
              <a:defRPr/>
            </a:lvl3pPr>
            <a:lvl4pPr marL="1371600" indent="0">
              <a:buNone/>
              <a:defRPr/>
            </a:lvl4pPr>
            <a:lvl5pPr marL="1828800" indent="0">
              <a:buNone/>
              <a:defRPr/>
            </a:lvl5pPr>
          </a:lstStyle>
          <a:p>
            <a:pPr lvl="0"/>
            <a:r>
              <a:rPr lang="es-ES"/>
              <a:t>Text Santander </a:t>
            </a:r>
            <a:r>
              <a:rPr lang="es-ES" err="1"/>
              <a:t>text</a:t>
            </a:r>
            <a:r>
              <a:rPr lang="es-ES"/>
              <a:t> </a:t>
            </a:r>
            <a:r>
              <a:rPr lang="es-ES" err="1"/>
              <a:t>bold</a:t>
            </a:r>
            <a:r>
              <a:rPr lang="es-ES"/>
              <a:t> (12) </a:t>
            </a:r>
          </a:p>
          <a:p>
            <a:pPr marL="0" marR="0" lvl="1"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noProof="0" err="1"/>
              <a:t>Second</a:t>
            </a:r>
            <a:r>
              <a:rPr lang="es-ES" noProof="0"/>
              <a:t> </a:t>
            </a:r>
            <a:r>
              <a:rPr lang="es-ES" noProof="0" err="1"/>
              <a:t>level</a:t>
            </a:r>
            <a:r>
              <a:rPr lang="es-ES" noProof="0"/>
              <a:t> </a:t>
            </a:r>
            <a:r>
              <a:rPr lang="en-US" noProof="0"/>
              <a:t>(Santander </a:t>
            </a:r>
            <a:r>
              <a:rPr lang="es-ES" err="1"/>
              <a:t>text</a:t>
            </a:r>
            <a:r>
              <a:rPr lang="en-US" noProof="0"/>
              <a:t> 10)</a:t>
            </a:r>
          </a:p>
        </p:txBody>
      </p:sp>
      <p:sp>
        <p:nvSpPr>
          <p:cNvPr id="43" name="Marcador de posición de imagen 39">
            <a:extLst>
              <a:ext uri="{FF2B5EF4-FFF2-40B4-BE49-F238E27FC236}">
                <a16:creationId xmlns:a16="http://schemas.microsoft.com/office/drawing/2014/main" id="{F9A91CD8-5395-8168-25CD-ABDA477EFB14}"/>
              </a:ext>
            </a:extLst>
          </p:cNvPr>
          <p:cNvSpPr>
            <a:spLocks noGrp="1"/>
          </p:cNvSpPr>
          <p:nvPr>
            <p:ph type="pic" sz="quarter" idx="47" hasCustomPrompt="1"/>
          </p:nvPr>
        </p:nvSpPr>
        <p:spPr>
          <a:xfrm>
            <a:off x="1037674" y="2425842"/>
            <a:ext cx="476031" cy="470421"/>
          </a:xfrm>
          <a:prstGeom prst="rect">
            <a:avLst/>
          </a:prstGeom>
        </p:spPr>
        <p:txBody>
          <a:bodyPr/>
          <a:lstStyle>
            <a:lvl1pPr marL="0" indent="0" algn="ctr">
              <a:buNone/>
              <a:defRPr sz="1000">
                <a:latin typeface="+mj-lt"/>
              </a:defRPr>
            </a:lvl1pPr>
          </a:lstStyle>
          <a:p>
            <a:r>
              <a:rPr lang="es-ES"/>
              <a:t>PHOTO</a:t>
            </a:r>
          </a:p>
        </p:txBody>
      </p:sp>
      <p:sp>
        <p:nvSpPr>
          <p:cNvPr id="44" name="Marcador de texto 41">
            <a:extLst>
              <a:ext uri="{FF2B5EF4-FFF2-40B4-BE49-F238E27FC236}">
                <a16:creationId xmlns:a16="http://schemas.microsoft.com/office/drawing/2014/main" id="{A4DCA9AC-5583-7209-D43D-F96F5549DE26}"/>
              </a:ext>
            </a:extLst>
          </p:cNvPr>
          <p:cNvSpPr>
            <a:spLocks noGrp="1"/>
          </p:cNvSpPr>
          <p:nvPr>
            <p:ph type="body" sz="quarter" idx="48" hasCustomPrompt="1"/>
          </p:nvPr>
        </p:nvSpPr>
        <p:spPr>
          <a:xfrm>
            <a:off x="942267" y="2934586"/>
            <a:ext cx="3235818"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cxnSp>
        <p:nvCxnSpPr>
          <p:cNvPr id="78" name="Conector recto 77">
            <a:extLst>
              <a:ext uri="{FF2B5EF4-FFF2-40B4-BE49-F238E27FC236}">
                <a16:creationId xmlns:a16="http://schemas.microsoft.com/office/drawing/2014/main" id="{7EAA076F-A04B-2899-234D-2F7DDC600513}"/>
              </a:ext>
            </a:extLst>
          </p:cNvPr>
          <p:cNvCxnSpPr>
            <a:cxnSpLocks/>
          </p:cNvCxnSpPr>
          <p:nvPr userDrawn="1"/>
        </p:nvCxnSpPr>
        <p:spPr>
          <a:xfrm>
            <a:off x="7948952" y="1508178"/>
            <a:ext cx="0" cy="438427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Marcador de posición de imagen 39">
            <a:extLst>
              <a:ext uri="{FF2B5EF4-FFF2-40B4-BE49-F238E27FC236}">
                <a16:creationId xmlns:a16="http://schemas.microsoft.com/office/drawing/2014/main" id="{7E6C2127-10BC-05FE-FE3C-CF601FD845B2}"/>
              </a:ext>
            </a:extLst>
          </p:cNvPr>
          <p:cNvSpPr>
            <a:spLocks noGrp="1"/>
          </p:cNvSpPr>
          <p:nvPr>
            <p:ph type="pic" sz="quarter" idx="73" hasCustomPrompt="1"/>
          </p:nvPr>
        </p:nvSpPr>
        <p:spPr>
          <a:xfrm>
            <a:off x="1037959" y="3666859"/>
            <a:ext cx="476031" cy="470421"/>
          </a:xfrm>
          <a:prstGeom prst="rect">
            <a:avLst/>
          </a:prstGeom>
        </p:spPr>
        <p:txBody>
          <a:bodyPr/>
          <a:lstStyle>
            <a:lvl1pPr marL="0" indent="0" algn="ctr">
              <a:buNone/>
              <a:defRPr sz="1000">
                <a:latin typeface="+mj-lt"/>
              </a:defRPr>
            </a:lvl1pPr>
          </a:lstStyle>
          <a:p>
            <a:r>
              <a:rPr lang="es-ES"/>
              <a:t>PHOTO</a:t>
            </a:r>
          </a:p>
        </p:txBody>
      </p:sp>
      <p:sp>
        <p:nvSpPr>
          <p:cNvPr id="8" name="Marcador de texto 41">
            <a:extLst>
              <a:ext uri="{FF2B5EF4-FFF2-40B4-BE49-F238E27FC236}">
                <a16:creationId xmlns:a16="http://schemas.microsoft.com/office/drawing/2014/main" id="{8AB5CB37-0EBE-E942-7CC2-A95E27C58525}"/>
              </a:ext>
            </a:extLst>
          </p:cNvPr>
          <p:cNvSpPr>
            <a:spLocks noGrp="1"/>
          </p:cNvSpPr>
          <p:nvPr>
            <p:ph type="body" sz="quarter" idx="74" hasCustomPrompt="1"/>
          </p:nvPr>
        </p:nvSpPr>
        <p:spPr>
          <a:xfrm>
            <a:off x="942552" y="4175603"/>
            <a:ext cx="3235818"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a:p>
            <a:pPr lvl="2"/>
            <a:endParaRPr lang="es-ES"/>
          </a:p>
        </p:txBody>
      </p:sp>
      <p:sp>
        <p:nvSpPr>
          <p:cNvPr id="11" name="Marcador de posición de imagen 39">
            <a:extLst>
              <a:ext uri="{FF2B5EF4-FFF2-40B4-BE49-F238E27FC236}">
                <a16:creationId xmlns:a16="http://schemas.microsoft.com/office/drawing/2014/main" id="{75D1FCF8-AC87-702D-C759-A95D719BE161}"/>
              </a:ext>
            </a:extLst>
          </p:cNvPr>
          <p:cNvSpPr>
            <a:spLocks noGrp="1"/>
          </p:cNvSpPr>
          <p:nvPr>
            <p:ph type="pic" sz="quarter" idx="75" hasCustomPrompt="1"/>
          </p:nvPr>
        </p:nvSpPr>
        <p:spPr>
          <a:xfrm>
            <a:off x="1033948" y="4902489"/>
            <a:ext cx="476031" cy="470421"/>
          </a:xfrm>
          <a:prstGeom prst="rect">
            <a:avLst/>
          </a:prstGeom>
        </p:spPr>
        <p:txBody>
          <a:bodyPr/>
          <a:lstStyle>
            <a:lvl1pPr marL="0" indent="0" algn="ctr">
              <a:buNone/>
              <a:defRPr sz="1000">
                <a:latin typeface="+mj-lt"/>
              </a:defRPr>
            </a:lvl1pPr>
          </a:lstStyle>
          <a:p>
            <a:r>
              <a:rPr lang="es-ES"/>
              <a:t>PHOTO</a:t>
            </a:r>
          </a:p>
        </p:txBody>
      </p:sp>
      <p:sp>
        <p:nvSpPr>
          <p:cNvPr id="12" name="Marcador de texto 41">
            <a:extLst>
              <a:ext uri="{FF2B5EF4-FFF2-40B4-BE49-F238E27FC236}">
                <a16:creationId xmlns:a16="http://schemas.microsoft.com/office/drawing/2014/main" id="{ACC6C3CC-E748-D6EA-09EC-9922589B7F4E}"/>
              </a:ext>
            </a:extLst>
          </p:cNvPr>
          <p:cNvSpPr>
            <a:spLocks noGrp="1"/>
          </p:cNvSpPr>
          <p:nvPr>
            <p:ph type="body" sz="quarter" idx="76" hasCustomPrompt="1"/>
          </p:nvPr>
        </p:nvSpPr>
        <p:spPr>
          <a:xfrm>
            <a:off x="938541" y="5411233"/>
            <a:ext cx="3235818"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33" name="Marcador de texto 36">
            <a:extLst>
              <a:ext uri="{FF2B5EF4-FFF2-40B4-BE49-F238E27FC236}">
                <a16:creationId xmlns:a16="http://schemas.microsoft.com/office/drawing/2014/main" id="{14FB1EA5-D987-CBA2-08D5-9F81ABC10A8D}"/>
              </a:ext>
            </a:extLst>
          </p:cNvPr>
          <p:cNvSpPr>
            <a:spLocks noGrp="1"/>
          </p:cNvSpPr>
          <p:nvPr>
            <p:ph type="body" sz="quarter" idx="77" hasCustomPrompt="1"/>
          </p:nvPr>
        </p:nvSpPr>
        <p:spPr>
          <a:xfrm>
            <a:off x="4556384" y="1311966"/>
            <a:ext cx="3239825" cy="1063766"/>
          </a:xfrm>
          <a:prstGeom prst="rect">
            <a:avLst/>
          </a:prstGeom>
        </p:spPr>
        <p:txBody>
          <a:bodyPr/>
          <a:lstStyle>
            <a:lvl1pPr marL="0" indent="0">
              <a:spcBef>
                <a:spcPts val="0"/>
              </a:spcBef>
              <a:spcAft>
                <a:spcPts val="1800"/>
              </a:spcAft>
              <a:buNone/>
              <a:defRPr lang="es-ES" sz="1200" b="1" kern="1200" smtClean="0">
                <a:solidFill>
                  <a:srgbClr val="FF0000"/>
                </a:solidFill>
                <a:latin typeface="+mj-lt"/>
                <a:ea typeface="+mn-ea"/>
                <a:cs typeface="+mn-cs"/>
              </a:defRPr>
            </a:lvl1pPr>
            <a:lvl2pPr marL="0" indent="0">
              <a:spcBef>
                <a:spcPts val="0"/>
              </a:spcBef>
              <a:buNone/>
              <a:defRPr lang="es-ES" sz="1000" kern="1200" dirty="0" smtClean="0">
                <a:solidFill>
                  <a:srgbClr val="6F7779"/>
                </a:solidFill>
                <a:latin typeface="+mj-lt"/>
                <a:ea typeface="+mn-ea"/>
                <a:cs typeface="+mn-cs"/>
              </a:defRPr>
            </a:lvl2pPr>
            <a:lvl3pPr marL="914400" indent="0">
              <a:buNone/>
              <a:defRPr/>
            </a:lvl3pPr>
            <a:lvl4pPr marL="1371600" indent="0">
              <a:buNone/>
              <a:defRPr/>
            </a:lvl4pPr>
            <a:lvl5pPr marL="1828800" indent="0">
              <a:buNone/>
              <a:defRPr/>
            </a:lvl5pPr>
          </a:lstStyle>
          <a:p>
            <a:pPr lvl="0"/>
            <a:r>
              <a:rPr lang="es-ES"/>
              <a:t>Text Santander </a:t>
            </a:r>
            <a:r>
              <a:rPr lang="es-ES" err="1"/>
              <a:t>text</a:t>
            </a:r>
            <a:r>
              <a:rPr lang="es-ES"/>
              <a:t> </a:t>
            </a:r>
            <a:r>
              <a:rPr lang="es-ES" err="1"/>
              <a:t>bold</a:t>
            </a:r>
            <a:r>
              <a:rPr lang="es-ES"/>
              <a:t> (12) </a:t>
            </a:r>
          </a:p>
          <a:p>
            <a:pPr marL="0" marR="0" lvl="1"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noProof="0" err="1"/>
              <a:t>Second</a:t>
            </a:r>
            <a:r>
              <a:rPr lang="es-ES" noProof="0"/>
              <a:t> </a:t>
            </a:r>
            <a:r>
              <a:rPr lang="es-ES" noProof="0" err="1"/>
              <a:t>level</a:t>
            </a:r>
            <a:r>
              <a:rPr lang="es-ES" noProof="0"/>
              <a:t> </a:t>
            </a:r>
            <a:r>
              <a:rPr lang="en-US" noProof="0"/>
              <a:t>(Santander </a:t>
            </a:r>
            <a:r>
              <a:rPr lang="es-ES" err="1"/>
              <a:t>text</a:t>
            </a:r>
            <a:r>
              <a:rPr lang="en-US" noProof="0"/>
              <a:t> 10)</a:t>
            </a:r>
          </a:p>
        </p:txBody>
      </p:sp>
      <p:sp>
        <p:nvSpPr>
          <p:cNvPr id="35" name="Marcador de posición de imagen 39">
            <a:extLst>
              <a:ext uri="{FF2B5EF4-FFF2-40B4-BE49-F238E27FC236}">
                <a16:creationId xmlns:a16="http://schemas.microsoft.com/office/drawing/2014/main" id="{EA101A69-7B56-DB55-68FA-6D739393D03F}"/>
              </a:ext>
            </a:extLst>
          </p:cNvPr>
          <p:cNvSpPr>
            <a:spLocks noGrp="1"/>
          </p:cNvSpPr>
          <p:nvPr>
            <p:ph type="pic" sz="quarter" idx="78" hasCustomPrompt="1"/>
          </p:nvPr>
        </p:nvSpPr>
        <p:spPr>
          <a:xfrm>
            <a:off x="4655518" y="2425842"/>
            <a:ext cx="476031" cy="470421"/>
          </a:xfrm>
          <a:prstGeom prst="rect">
            <a:avLst/>
          </a:prstGeom>
        </p:spPr>
        <p:txBody>
          <a:bodyPr/>
          <a:lstStyle>
            <a:lvl1pPr marL="0" indent="0" algn="ctr">
              <a:buNone/>
              <a:defRPr sz="1000">
                <a:latin typeface="+mj-lt"/>
              </a:defRPr>
            </a:lvl1pPr>
          </a:lstStyle>
          <a:p>
            <a:r>
              <a:rPr lang="es-ES"/>
              <a:t>PHOTO</a:t>
            </a:r>
          </a:p>
        </p:txBody>
      </p:sp>
      <p:sp>
        <p:nvSpPr>
          <p:cNvPr id="36" name="Marcador de texto 41">
            <a:extLst>
              <a:ext uri="{FF2B5EF4-FFF2-40B4-BE49-F238E27FC236}">
                <a16:creationId xmlns:a16="http://schemas.microsoft.com/office/drawing/2014/main" id="{C9BBA4E9-C3F6-C53C-BE79-733EEF19F81F}"/>
              </a:ext>
            </a:extLst>
          </p:cNvPr>
          <p:cNvSpPr>
            <a:spLocks noGrp="1"/>
          </p:cNvSpPr>
          <p:nvPr>
            <p:ph type="body" sz="quarter" idx="79" hasCustomPrompt="1"/>
          </p:nvPr>
        </p:nvSpPr>
        <p:spPr>
          <a:xfrm>
            <a:off x="4560111" y="2934586"/>
            <a:ext cx="3235818"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37" name="Marcador de posición de imagen 39">
            <a:extLst>
              <a:ext uri="{FF2B5EF4-FFF2-40B4-BE49-F238E27FC236}">
                <a16:creationId xmlns:a16="http://schemas.microsoft.com/office/drawing/2014/main" id="{3B962EE6-7659-C495-1269-77817CE9889E}"/>
              </a:ext>
            </a:extLst>
          </p:cNvPr>
          <p:cNvSpPr>
            <a:spLocks noGrp="1"/>
          </p:cNvSpPr>
          <p:nvPr>
            <p:ph type="pic" sz="quarter" idx="80" hasCustomPrompt="1"/>
          </p:nvPr>
        </p:nvSpPr>
        <p:spPr>
          <a:xfrm>
            <a:off x="4655803" y="3666859"/>
            <a:ext cx="476031" cy="470421"/>
          </a:xfrm>
          <a:prstGeom prst="rect">
            <a:avLst/>
          </a:prstGeom>
        </p:spPr>
        <p:txBody>
          <a:bodyPr/>
          <a:lstStyle>
            <a:lvl1pPr marL="0" indent="0" algn="ctr">
              <a:buNone/>
              <a:defRPr sz="1000">
                <a:latin typeface="+mj-lt"/>
              </a:defRPr>
            </a:lvl1pPr>
          </a:lstStyle>
          <a:p>
            <a:r>
              <a:rPr lang="es-ES"/>
              <a:t>PHOTO</a:t>
            </a:r>
          </a:p>
        </p:txBody>
      </p:sp>
      <p:sp>
        <p:nvSpPr>
          <p:cNvPr id="39" name="Marcador de texto 41">
            <a:extLst>
              <a:ext uri="{FF2B5EF4-FFF2-40B4-BE49-F238E27FC236}">
                <a16:creationId xmlns:a16="http://schemas.microsoft.com/office/drawing/2014/main" id="{B8498FE4-C73F-CF2D-D845-176580A10E26}"/>
              </a:ext>
            </a:extLst>
          </p:cNvPr>
          <p:cNvSpPr>
            <a:spLocks noGrp="1"/>
          </p:cNvSpPr>
          <p:nvPr>
            <p:ph type="body" sz="quarter" idx="81" hasCustomPrompt="1"/>
          </p:nvPr>
        </p:nvSpPr>
        <p:spPr>
          <a:xfrm>
            <a:off x="4560396" y="4175603"/>
            <a:ext cx="3235818"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40" name="Marcador de posición de imagen 39">
            <a:extLst>
              <a:ext uri="{FF2B5EF4-FFF2-40B4-BE49-F238E27FC236}">
                <a16:creationId xmlns:a16="http://schemas.microsoft.com/office/drawing/2014/main" id="{BBA7A4E1-A934-5644-3FFC-74162F41133B}"/>
              </a:ext>
            </a:extLst>
          </p:cNvPr>
          <p:cNvSpPr>
            <a:spLocks noGrp="1"/>
          </p:cNvSpPr>
          <p:nvPr>
            <p:ph type="pic" sz="quarter" idx="82" hasCustomPrompt="1"/>
          </p:nvPr>
        </p:nvSpPr>
        <p:spPr>
          <a:xfrm>
            <a:off x="4651792" y="4902489"/>
            <a:ext cx="476031" cy="470421"/>
          </a:xfrm>
          <a:prstGeom prst="rect">
            <a:avLst/>
          </a:prstGeom>
        </p:spPr>
        <p:txBody>
          <a:bodyPr/>
          <a:lstStyle>
            <a:lvl1pPr marL="0" indent="0" algn="ctr">
              <a:buNone/>
              <a:defRPr sz="1000">
                <a:latin typeface="+mj-lt"/>
              </a:defRPr>
            </a:lvl1pPr>
          </a:lstStyle>
          <a:p>
            <a:r>
              <a:rPr lang="es-ES"/>
              <a:t>PHOTO</a:t>
            </a:r>
          </a:p>
        </p:txBody>
      </p:sp>
      <p:sp>
        <p:nvSpPr>
          <p:cNvPr id="41" name="Marcador de texto 41">
            <a:extLst>
              <a:ext uri="{FF2B5EF4-FFF2-40B4-BE49-F238E27FC236}">
                <a16:creationId xmlns:a16="http://schemas.microsoft.com/office/drawing/2014/main" id="{AC3C0A1E-2AFE-5AC1-FF60-B4DD90423524}"/>
              </a:ext>
            </a:extLst>
          </p:cNvPr>
          <p:cNvSpPr>
            <a:spLocks noGrp="1"/>
          </p:cNvSpPr>
          <p:nvPr>
            <p:ph type="body" sz="quarter" idx="83" hasCustomPrompt="1"/>
          </p:nvPr>
        </p:nvSpPr>
        <p:spPr>
          <a:xfrm>
            <a:off x="4556385" y="5411233"/>
            <a:ext cx="3235818"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57" name="Marcador de texto 36">
            <a:extLst>
              <a:ext uri="{FF2B5EF4-FFF2-40B4-BE49-F238E27FC236}">
                <a16:creationId xmlns:a16="http://schemas.microsoft.com/office/drawing/2014/main" id="{034D9051-FEC1-C431-C123-E3E11F6AEB7A}"/>
              </a:ext>
            </a:extLst>
          </p:cNvPr>
          <p:cNvSpPr>
            <a:spLocks noGrp="1"/>
          </p:cNvSpPr>
          <p:nvPr>
            <p:ph type="body" sz="quarter" idx="84" hasCustomPrompt="1"/>
          </p:nvPr>
        </p:nvSpPr>
        <p:spPr>
          <a:xfrm>
            <a:off x="8148035" y="1311966"/>
            <a:ext cx="3239825" cy="1063766"/>
          </a:xfrm>
          <a:prstGeom prst="rect">
            <a:avLst/>
          </a:prstGeom>
        </p:spPr>
        <p:txBody>
          <a:bodyPr/>
          <a:lstStyle>
            <a:lvl1pPr marL="0" indent="0">
              <a:spcBef>
                <a:spcPts val="0"/>
              </a:spcBef>
              <a:spcAft>
                <a:spcPts val="1800"/>
              </a:spcAft>
              <a:buNone/>
              <a:defRPr lang="es-ES" sz="1200" b="1" kern="1200" smtClean="0">
                <a:solidFill>
                  <a:srgbClr val="FF0000"/>
                </a:solidFill>
                <a:latin typeface="+mj-lt"/>
                <a:ea typeface="+mn-ea"/>
                <a:cs typeface="+mn-cs"/>
              </a:defRPr>
            </a:lvl1pPr>
            <a:lvl2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lang="es-ES" sz="1000" kern="1200">
                <a:solidFill>
                  <a:srgbClr val="6F7779"/>
                </a:solidFill>
                <a:latin typeface="+mj-lt"/>
                <a:ea typeface="+mn-ea"/>
                <a:cs typeface="+mn-cs"/>
              </a:defRPr>
            </a:lvl2pPr>
            <a:lvl3pPr marL="914400" indent="0">
              <a:buNone/>
              <a:defRPr/>
            </a:lvl3pPr>
            <a:lvl4pPr marL="1371600" indent="0">
              <a:buNone/>
              <a:defRPr/>
            </a:lvl4pPr>
            <a:lvl5pPr marL="1828800" indent="0">
              <a:buNone/>
              <a:defRPr/>
            </a:lvl5pPr>
          </a:lstStyle>
          <a:p>
            <a:pPr lvl="0"/>
            <a:r>
              <a:rPr lang="es-ES"/>
              <a:t>Text Santander </a:t>
            </a:r>
            <a:r>
              <a:rPr lang="es-ES" err="1"/>
              <a:t>text</a:t>
            </a:r>
            <a:r>
              <a:rPr lang="es-ES"/>
              <a:t> (12) </a:t>
            </a:r>
          </a:p>
          <a:p>
            <a:pPr marL="0" marR="0" lvl="1"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noProof="0" err="1"/>
              <a:t>Second</a:t>
            </a:r>
            <a:r>
              <a:rPr lang="es-ES" noProof="0"/>
              <a:t> </a:t>
            </a:r>
            <a:r>
              <a:rPr lang="es-ES" noProof="0" err="1"/>
              <a:t>level</a:t>
            </a:r>
            <a:r>
              <a:rPr lang="es-ES" noProof="0"/>
              <a:t> </a:t>
            </a:r>
            <a:r>
              <a:rPr lang="en-US" noProof="0"/>
              <a:t>(Santander </a:t>
            </a:r>
            <a:r>
              <a:rPr lang="es-ES" err="1"/>
              <a:t>text</a:t>
            </a:r>
            <a:r>
              <a:rPr lang="en-US" noProof="0"/>
              <a:t> 10)</a:t>
            </a:r>
          </a:p>
        </p:txBody>
      </p:sp>
      <p:sp>
        <p:nvSpPr>
          <p:cNvPr id="58" name="Marcador de posición de imagen 39">
            <a:extLst>
              <a:ext uri="{FF2B5EF4-FFF2-40B4-BE49-F238E27FC236}">
                <a16:creationId xmlns:a16="http://schemas.microsoft.com/office/drawing/2014/main" id="{4D36BA2A-5394-5C7C-0D9C-8504B34110F0}"/>
              </a:ext>
            </a:extLst>
          </p:cNvPr>
          <p:cNvSpPr>
            <a:spLocks noGrp="1"/>
          </p:cNvSpPr>
          <p:nvPr>
            <p:ph type="pic" sz="quarter" idx="85" hasCustomPrompt="1"/>
          </p:nvPr>
        </p:nvSpPr>
        <p:spPr>
          <a:xfrm>
            <a:off x="8247169" y="2425842"/>
            <a:ext cx="476031" cy="470421"/>
          </a:xfrm>
          <a:prstGeom prst="rect">
            <a:avLst/>
          </a:prstGeom>
        </p:spPr>
        <p:txBody>
          <a:bodyPr/>
          <a:lstStyle>
            <a:lvl1pPr marL="0" indent="0" algn="ctr">
              <a:buNone/>
              <a:defRPr sz="1000">
                <a:latin typeface="+mj-lt"/>
              </a:defRPr>
            </a:lvl1pPr>
          </a:lstStyle>
          <a:p>
            <a:r>
              <a:rPr lang="es-ES"/>
              <a:t>PHOTO</a:t>
            </a:r>
          </a:p>
        </p:txBody>
      </p:sp>
      <p:sp>
        <p:nvSpPr>
          <p:cNvPr id="59" name="Marcador de texto 41">
            <a:extLst>
              <a:ext uri="{FF2B5EF4-FFF2-40B4-BE49-F238E27FC236}">
                <a16:creationId xmlns:a16="http://schemas.microsoft.com/office/drawing/2014/main" id="{429A1199-CE53-13EA-AA01-C808E4044406}"/>
              </a:ext>
            </a:extLst>
          </p:cNvPr>
          <p:cNvSpPr>
            <a:spLocks noGrp="1"/>
          </p:cNvSpPr>
          <p:nvPr>
            <p:ph type="body" sz="quarter" idx="86" hasCustomPrompt="1"/>
          </p:nvPr>
        </p:nvSpPr>
        <p:spPr>
          <a:xfrm>
            <a:off x="8151762" y="2934586"/>
            <a:ext cx="3235818"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60" name="Marcador de posición de imagen 39">
            <a:extLst>
              <a:ext uri="{FF2B5EF4-FFF2-40B4-BE49-F238E27FC236}">
                <a16:creationId xmlns:a16="http://schemas.microsoft.com/office/drawing/2014/main" id="{62F18013-58DD-FD34-21CF-894632D4B552}"/>
              </a:ext>
            </a:extLst>
          </p:cNvPr>
          <p:cNvSpPr>
            <a:spLocks noGrp="1"/>
          </p:cNvSpPr>
          <p:nvPr>
            <p:ph type="pic" sz="quarter" idx="87" hasCustomPrompt="1"/>
          </p:nvPr>
        </p:nvSpPr>
        <p:spPr>
          <a:xfrm>
            <a:off x="8247454" y="3666859"/>
            <a:ext cx="476031" cy="470421"/>
          </a:xfrm>
          <a:prstGeom prst="rect">
            <a:avLst/>
          </a:prstGeom>
        </p:spPr>
        <p:txBody>
          <a:bodyPr/>
          <a:lstStyle>
            <a:lvl1pPr marL="0" indent="0" algn="ctr">
              <a:buNone/>
              <a:defRPr sz="1000">
                <a:latin typeface="+mj-lt"/>
              </a:defRPr>
            </a:lvl1pPr>
          </a:lstStyle>
          <a:p>
            <a:r>
              <a:rPr lang="es-ES"/>
              <a:t>PHOTO</a:t>
            </a:r>
          </a:p>
        </p:txBody>
      </p:sp>
      <p:sp>
        <p:nvSpPr>
          <p:cNvPr id="61" name="Marcador de texto 41">
            <a:extLst>
              <a:ext uri="{FF2B5EF4-FFF2-40B4-BE49-F238E27FC236}">
                <a16:creationId xmlns:a16="http://schemas.microsoft.com/office/drawing/2014/main" id="{06E6732D-8922-74B3-7FD8-1C21A2C83063}"/>
              </a:ext>
            </a:extLst>
          </p:cNvPr>
          <p:cNvSpPr>
            <a:spLocks noGrp="1"/>
          </p:cNvSpPr>
          <p:nvPr>
            <p:ph type="body" sz="quarter" idx="88" hasCustomPrompt="1"/>
          </p:nvPr>
        </p:nvSpPr>
        <p:spPr>
          <a:xfrm>
            <a:off x="8152047" y="4175603"/>
            <a:ext cx="3235818"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62" name="Marcador de posición de imagen 39">
            <a:extLst>
              <a:ext uri="{FF2B5EF4-FFF2-40B4-BE49-F238E27FC236}">
                <a16:creationId xmlns:a16="http://schemas.microsoft.com/office/drawing/2014/main" id="{33A9EFF9-F24B-BD35-A440-DB997B5FA92D}"/>
              </a:ext>
            </a:extLst>
          </p:cNvPr>
          <p:cNvSpPr>
            <a:spLocks noGrp="1"/>
          </p:cNvSpPr>
          <p:nvPr>
            <p:ph type="pic" sz="quarter" idx="89" hasCustomPrompt="1"/>
          </p:nvPr>
        </p:nvSpPr>
        <p:spPr>
          <a:xfrm>
            <a:off x="8243443" y="4902489"/>
            <a:ext cx="476031" cy="470421"/>
          </a:xfrm>
          <a:prstGeom prst="rect">
            <a:avLst/>
          </a:prstGeom>
        </p:spPr>
        <p:txBody>
          <a:bodyPr/>
          <a:lstStyle>
            <a:lvl1pPr marL="0" indent="0" algn="ctr">
              <a:buNone/>
              <a:defRPr sz="1000">
                <a:latin typeface="+mj-lt"/>
              </a:defRPr>
            </a:lvl1pPr>
          </a:lstStyle>
          <a:p>
            <a:r>
              <a:rPr lang="es-ES"/>
              <a:t>PHOTO</a:t>
            </a:r>
          </a:p>
        </p:txBody>
      </p:sp>
      <p:sp>
        <p:nvSpPr>
          <p:cNvPr id="63" name="Marcador de texto 41">
            <a:extLst>
              <a:ext uri="{FF2B5EF4-FFF2-40B4-BE49-F238E27FC236}">
                <a16:creationId xmlns:a16="http://schemas.microsoft.com/office/drawing/2014/main" id="{8FD59135-EA78-6B22-10E9-E66CFFAB9751}"/>
              </a:ext>
            </a:extLst>
          </p:cNvPr>
          <p:cNvSpPr>
            <a:spLocks noGrp="1"/>
          </p:cNvSpPr>
          <p:nvPr>
            <p:ph type="body" sz="quarter" idx="90" hasCustomPrompt="1"/>
          </p:nvPr>
        </p:nvSpPr>
        <p:spPr>
          <a:xfrm>
            <a:off x="8148036" y="5411233"/>
            <a:ext cx="3235818"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5" name="Marcador de número de diapositiva 5">
            <a:extLst>
              <a:ext uri="{FF2B5EF4-FFF2-40B4-BE49-F238E27FC236}">
                <a16:creationId xmlns:a16="http://schemas.microsoft.com/office/drawing/2014/main" id="{39E42F19-28AB-1EC1-D807-BFC0890D1A6D}"/>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3C3F17E6-F7B6-C48A-4D02-0A74974B2340}"/>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2345748D-C830-6D55-A1C7-60A1608DD28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10" name="Título 1">
            <a:extLst>
              <a:ext uri="{FF2B5EF4-FFF2-40B4-BE49-F238E27FC236}">
                <a16:creationId xmlns:a16="http://schemas.microsoft.com/office/drawing/2014/main" id="{A6076E61-0633-71A0-858F-4E62A13D8912}"/>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13" name="Marcador de texto 14">
            <a:extLst>
              <a:ext uri="{FF2B5EF4-FFF2-40B4-BE49-F238E27FC236}">
                <a16:creationId xmlns:a16="http://schemas.microsoft.com/office/drawing/2014/main" id="{F78A86E1-3DBB-F298-457C-3E3B51681437}"/>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F18CF9B0-A43C-3BED-6BA3-DE8DBCC80CA4}"/>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13322439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antander's Relationship Team 4">
    <p:spTree>
      <p:nvGrpSpPr>
        <p:cNvPr id="1" name=""/>
        <p:cNvGrpSpPr/>
        <p:nvPr/>
      </p:nvGrpSpPr>
      <p:grpSpPr>
        <a:xfrm>
          <a:off x="0" y="0"/>
          <a:ext cx="0" cy="0"/>
          <a:chOff x="0" y="0"/>
          <a:chExt cx="0" cy="0"/>
        </a:xfrm>
      </p:grpSpPr>
      <p:sp>
        <p:nvSpPr>
          <p:cNvPr id="50" name="Marcador de texto 30">
            <a:extLst>
              <a:ext uri="{FF2B5EF4-FFF2-40B4-BE49-F238E27FC236}">
                <a16:creationId xmlns:a16="http://schemas.microsoft.com/office/drawing/2014/main" id="{0D81B037-ED88-4493-B8BA-A4B1A49B373A}"/>
              </a:ext>
            </a:extLst>
          </p:cNvPr>
          <p:cNvSpPr>
            <a:spLocks noGrp="1"/>
          </p:cNvSpPr>
          <p:nvPr>
            <p:ph type="body" sz="quarter" idx="53"/>
          </p:nvPr>
        </p:nvSpPr>
        <p:spPr>
          <a:xfrm>
            <a:off x="691789" y="1272158"/>
            <a:ext cx="4951235" cy="265727"/>
          </a:xfrm>
          <a:prstGeom prst="rect">
            <a:avLst/>
          </a:prstGeom>
        </p:spPr>
        <p:txBody>
          <a:bodyPr anchor="t"/>
          <a:lstStyle>
            <a:lvl1pPr marL="0" indent="0">
              <a:spcBef>
                <a:spcPts val="0"/>
              </a:spcBef>
              <a:spcAft>
                <a:spcPts val="1800"/>
              </a:spcAft>
              <a:buNone/>
              <a:defRPr sz="1000">
                <a:solidFill>
                  <a:srgbClr val="6F7779"/>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43" name="Marcador de posición de imagen 39">
            <a:extLst>
              <a:ext uri="{FF2B5EF4-FFF2-40B4-BE49-F238E27FC236}">
                <a16:creationId xmlns:a16="http://schemas.microsoft.com/office/drawing/2014/main" id="{F9A91CD8-5395-8168-25CD-ABDA477EFB14}"/>
              </a:ext>
            </a:extLst>
          </p:cNvPr>
          <p:cNvSpPr>
            <a:spLocks noGrp="1"/>
          </p:cNvSpPr>
          <p:nvPr>
            <p:ph type="pic" sz="quarter" idx="47" hasCustomPrompt="1"/>
          </p:nvPr>
        </p:nvSpPr>
        <p:spPr>
          <a:xfrm>
            <a:off x="686311" y="1693326"/>
            <a:ext cx="476031" cy="470421"/>
          </a:xfrm>
          <a:prstGeom prst="rect">
            <a:avLst/>
          </a:prstGeom>
        </p:spPr>
        <p:txBody>
          <a:bodyPr/>
          <a:lstStyle>
            <a:lvl1pPr marL="0" indent="0" algn="ctr">
              <a:buNone/>
              <a:defRPr sz="1000">
                <a:latin typeface="+mj-lt"/>
              </a:defRPr>
            </a:lvl1pPr>
          </a:lstStyle>
          <a:p>
            <a:r>
              <a:rPr lang="es-ES"/>
              <a:t>PHOTO</a:t>
            </a:r>
          </a:p>
        </p:txBody>
      </p:sp>
      <p:sp>
        <p:nvSpPr>
          <p:cNvPr id="44" name="Marcador de texto 41">
            <a:extLst>
              <a:ext uri="{FF2B5EF4-FFF2-40B4-BE49-F238E27FC236}">
                <a16:creationId xmlns:a16="http://schemas.microsoft.com/office/drawing/2014/main" id="{A4DCA9AC-5583-7209-D43D-F96F5549DE26}"/>
              </a:ext>
            </a:extLst>
          </p:cNvPr>
          <p:cNvSpPr>
            <a:spLocks noGrp="1"/>
          </p:cNvSpPr>
          <p:nvPr>
            <p:ph type="body" sz="quarter" idx="48" hasCustomPrompt="1"/>
          </p:nvPr>
        </p:nvSpPr>
        <p:spPr>
          <a:xfrm>
            <a:off x="1201154" y="1608633"/>
            <a:ext cx="2821899"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66" name="Marcador de posición de imagen 39">
            <a:extLst>
              <a:ext uri="{FF2B5EF4-FFF2-40B4-BE49-F238E27FC236}">
                <a16:creationId xmlns:a16="http://schemas.microsoft.com/office/drawing/2014/main" id="{723E9EF0-DCB2-B370-F3D8-692FA4BD68DB}"/>
              </a:ext>
            </a:extLst>
          </p:cNvPr>
          <p:cNvSpPr>
            <a:spLocks noGrp="1"/>
          </p:cNvSpPr>
          <p:nvPr>
            <p:ph type="pic" sz="quarter" idx="54" hasCustomPrompt="1"/>
          </p:nvPr>
        </p:nvSpPr>
        <p:spPr>
          <a:xfrm>
            <a:off x="4326819" y="1693326"/>
            <a:ext cx="476031" cy="470421"/>
          </a:xfrm>
          <a:prstGeom prst="rect">
            <a:avLst/>
          </a:prstGeom>
        </p:spPr>
        <p:txBody>
          <a:bodyPr/>
          <a:lstStyle>
            <a:lvl1pPr marL="0" indent="0" algn="ctr">
              <a:buNone/>
              <a:defRPr sz="1000">
                <a:latin typeface="+mj-lt"/>
              </a:defRPr>
            </a:lvl1pPr>
          </a:lstStyle>
          <a:p>
            <a:r>
              <a:rPr lang="es-ES"/>
              <a:t>PHOTO</a:t>
            </a:r>
          </a:p>
        </p:txBody>
      </p:sp>
      <p:sp>
        <p:nvSpPr>
          <p:cNvPr id="67" name="Marcador de texto 41">
            <a:extLst>
              <a:ext uri="{FF2B5EF4-FFF2-40B4-BE49-F238E27FC236}">
                <a16:creationId xmlns:a16="http://schemas.microsoft.com/office/drawing/2014/main" id="{557F1022-C29A-F5E3-54B5-5ADA42E22F9D}"/>
              </a:ext>
            </a:extLst>
          </p:cNvPr>
          <p:cNvSpPr>
            <a:spLocks noGrp="1"/>
          </p:cNvSpPr>
          <p:nvPr>
            <p:ph type="body" sz="quarter" idx="55" hasCustomPrompt="1"/>
          </p:nvPr>
        </p:nvSpPr>
        <p:spPr>
          <a:xfrm>
            <a:off x="4841662" y="1608633"/>
            <a:ext cx="2821899"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68" name="Marcador de posición de imagen 39">
            <a:extLst>
              <a:ext uri="{FF2B5EF4-FFF2-40B4-BE49-F238E27FC236}">
                <a16:creationId xmlns:a16="http://schemas.microsoft.com/office/drawing/2014/main" id="{F0760EAD-3136-FAAE-A585-7E10CFE6D55F}"/>
              </a:ext>
            </a:extLst>
          </p:cNvPr>
          <p:cNvSpPr>
            <a:spLocks noGrp="1"/>
          </p:cNvSpPr>
          <p:nvPr>
            <p:ph type="pic" sz="quarter" idx="56" hasCustomPrompt="1"/>
          </p:nvPr>
        </p:nvSpPr>
        <p:spPr>
          <a:xfrm>
            <a:off x="8018602" y="1693326"/>
            <a:ext cx="476031" cy="470421"/>
          </a:xfrm>
          <a:prstGeom prst="rect">
            <a:avLst/>
          </a:prstGeom>
        </p:spPr>
        <p:txBody>
          <a:bodyPr/>
          <a:lstStyle>
            <a:lvl1pPr marL="0" indent="0" algn="ctr">
              <a:buNone/>
              <a:defRPr sz="1000">
                <a:latin typeface="+mj-lt"/>
              </a:defRPr>
            </a:lvl1pPr>
          </a:lstStyle>
          <a:p>
            <a:r>
              <a:rPr lang="es-ES"/>
              <a:t>PHOTO</a:t>
            </a:r>
          </a:p>
        </p:txBody>
      </p:sp>
      <p:sp>
        <p:nvSpPr>
          <p:cNvPr id="69" name="Marcador de texto 41">
            <a:extLst>
              <a:ext uri="{FF2B5EF4-FFF2-40B4-BE49-F238E27FC236}">
                <a16:creationId xmlns:a16="http://schemas.microsoft.com/office/drawing/2014/main" id="{1BAB57A0-61B6-62FE-91A6-467F95F583BF}"/>
              </a:ext>
            </a:extLst>
          </p:cNvPr>
          <p:cNvSpPr>
            <a:spLocks noGrp="1"/>
          </p:cNvSpPr>
          <p:nvPr>
            <p:ph type="body" sz="quarter" idx="57" hasCustomPrompt="1"/>
          </p:nvPr>
        </p:nvSpPr>
        <p:spPr>
          <a:xfrm>
            <a:off x="8533445" y="1608633"/>
            <a:ext cx="2821899"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cxnSp>
        <p:nvCxnSpPr>
          <p:cNvPr id="70" name="Conector recto 69">
            <a:extLst>
              <a:ext uri="{FF2B5EF4-FFF2-40B4-BE49-F238E27FC236}">
                <a16:creationId xmlns:a16="http://schemas.microsoft.com/office/drawing/2014/main" id="{49EDF050-9018-89D0-B898-69D51EB86AC5}"/>
              </a:ext>
            </a:extLst>
          </p:cNvPr>
          <p:cNvCxnSpPr>
            <a:cxnSpLocks/>
          </p:cNvCxnSpPr>
          <p:nvPr userDrawn="1"/>
        </p:nvCxnSpPr>
        <p:spPr>
          <a:xfrm>
            <a:off x="689285" y="1494196"/>
            <a:ext cx="1081486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3" name="Marcador de texto 30">
            <a:extLst>
              <a:ext uri="{FF2B5EF4-FFF2-40B4-BE49-F238E27FC236}">
                <a16:creationId xmlns:a16="http://schemas.microsoft.com/office/drawing/2014/main" id="{8264FCE8-4882-52F7-18E3-3B09285CCA85}"/>
              </a:ext>
            </a:extLst>
          </p:cNvPr>
          <p:cNvSpPr>
            <a:spLocks noGrp="1"/>
          </p:cNvSpPr>
          <p:nvPr>
            <p:ph type="body" sz="quarter" idx="58"/>
          </p:nvPr>
        </p:nvSpPr>
        <p:spPr>
          <a:xfrm>
            <a:off x="691789" y="2402315"/>
            <a:ext cx="4951235" cy="265727"/>
          </a:xfrm>
          <a:prstGeom prst="rect">
            <a:avLst/>
          </a:prstGeom>
        </p:spPr>
        <p:txBody>
          <a:bodyPr anchor="t"/>
          <a:lstStyle>
            <a:lvl1pPr marL="0" indent="0">
              <a:spcBef>
                <a:spcPts val="0"/>
              </a:spcBef>
              <a:spcAft>
                <a:spcPts val="1800"/>
              </a:spcAft>
              <a:buNone/>
              <a:defRPr sz="1000">
                <a:solidFill>
                  <a:srgbClr val="6F7779"/>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r>
              <a:rPr lang="es-ES"/>
              <a:t>Haga clic para modificar los estilos de texto del patrón</a:t>
            </a:r>
          </a:p>
        </p:txBody>
      </p:sp>
      <p:sp>
        <p:nvSpPr>
          <p:cNvPr id="84" name="Marcador de posición de imagen 39">
            <a:extLst>
              <a:ext uri="{FF2B5EF4-FFF2-40B4-BE49-F238E27FC236}">
                <a16:creationId xmlns:a16="http://schemas.microsoft.com/office/drawing/2014/main" id="{400946E2-9CD5-F4D7-4628-8FBFA9A86360}"/>
              </a:ext>
            </a:extLst>
          </p:cNvPr>
          <p:cNvSpPr>
            <a:spLocks noGrp="1"/>
          </p:cNvSpPr>
          <p:nvPr>
            <p:ph type="pic" sz="quarter" idx="59" hasCustomPrompt="1"/>
          </p:nvPr>
        </p:nvSpPr>
        <p:spPr>
          <a:xfrm>
            <a:off x="686311" y="2823483"/>
            <a:ext cx="476031" cy="470421"/>
          </a:xfrm>
          <a:prstGeom prst="rect">
            <a:avLst/>
          </a:prstGeom>
        </p:spPr>
        <p:txBody>
          <a:bodyPr/>
          <a:lstStyle>
            <a:lvl1pPr marL="0" indent="0" algn="ctr">
              <a:buNone/>
              <a:defRPr sz="1000">
                <a:latin typeface="+mj-lt"/>
              </a:defRPr>
            </a:lvl1pPr>
          </a:lstStyle>
          <a:p>
            <a:r>
              <a:rPr lang="es-ES"/>
              <a:t>PHOTO</a:t>
            </a:r>
          </a:p>
        </p:txBody>
      </p:sp>
      <p:sp>
        <p:nvSpPr>
          <p:cNvPr id="85" name="Marcador de texto 41">
            <a:extLst>
              <a:ext uri="{FF2B5EF4-FFF2-40B4-BE49-F238E27FC236}">
                <a16:creationId xmlns:a16="http://schemas.microsoft.com/office/drawing/2014/main" id="{4675187F-3571-8A90-159E-05996778A4EB}"/>
              </a:ext>
            </a:extLst>
          </p:cNvPr>
          <p:cNvSpPr>
            <a:spLocks noGrp="1"/>
          </p:cNvSpPr>
          <p:nvPr>
            <p:ph type="body" sz="quarter" idx="60" hasCustomPrompt="1"/>
          </p:nvPr>
        </p:nvSpPr>
        <p:spPr>
          <a:xfrm>
            <a:off x="1201154" y="2738790"/>
            <a:ext cx="2821899"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86" name="Marcador de posición de imagen 39">
            <a:extLst>
              <a:ext uri="{FF2B5EF4-FFF2-40B4-BE49-F238E27FC236}">
                <a16:creationId xmlns:a16="http://schemas.microsoft.com/office/drawing/2014/main" id="{7CA7AD44-72E9-E79F-9F0F-E7B1D76F452B}"/>
              </a:ext>
            </a:extLst>
          </p:cNvPr>
          <p:cNvSpPr>
            <a:spLocks noGrp="1"/>
          </p:cNvSpPr>
          <p:nvPr>
            <p:ph type="pic" sz="quarter" idx="61" hasCustomPrompt="1"/>
          </p:nvPr>
        </p:nvSpPr>
        <p:spPr>
          <a:xfrm>
            <a:off x="4326819" y="2823483"/>
            <a:ext cx="476031" cy="470421"/>
          </a:xfrm>
          <a:prstGeom prst="rect">
            <a:avLst/>
          </a:prstGeom>
        </p:spPr>
        <p:txBody>
          <a:bodyPr/>
          <a:lstStyle>
            <a:lvl1pPr marL="0" indent="0" algn="ctr">
              <a:buNone/>
              <a:defRPr sz="1000">
                <a:latin typeface="+mj-lt"/>
              </a:defRPr>
            </a:lvl1pPr>
          </a:lstStyle>
          <a:p>
            <a:r>
              <a:rPr lang="es-ES"/>
              <a:t>PHOTO</a:t>
            </a:r>
          </a:p>
        </p:txBody>
      </p:sp>
      <p:sp>
        <p:nvSpPr>
          <p:cNvPr id="87" name="Marcador de texto 41">
            <a:extLst>
              <a:ext uri="{FF2B5EF4-FFF2-40B4-BE49-F238E27FC236}">
                <a16:creationId xmlns:a16="http://schemas.microsoft.com/office/drawing/2014/main" id="{18785844-80DF-CC9D-6870-66F52100E4AD}"/>
              </a:ext>
            </a:extLst>
          </p:cNvPr>
          <p:cNvSpPr>
            <a:spLocks noGrp="1"/>
          </p:cNvSpPr>
          <p:nvPr>
            <p:ph type="body" sz="quarter" idx="62" hasCustomPrompt="1"/>
          </p:nvPr>
        </p:nvSpPr>
        <p:spPr>
          <a:xfrm>
            <a:off x="4841662" y="2738790"/>
            <a:ext cx="2821899"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88" name="Marcador de posición de imagen 39">
            <a:extLst>
              <a:ext uri="{FF2B5EF4-FFF2-40B4-BE49-F238E27FC236}">
                <a16:creationId xmlns:a16="http://schemas.microsoft.com/office/drawing/2014/main" id="{AE0475F5-2B5C-9417-2A61-8921DF89BF15}"/>
              </a:ext>
            </a:extLst>
          </p:cNvPr>
          <p:cNvSpPr>
            <a:spLocks noGrp="1"/>
          </p:cNvSpPr>
          <p:nvPr>
            <p:ph type="pic" sz="quarter" idx="63" hasCustomPrompt="1"/>
          </p:nvPr>
        </p:nvSpPr>
        <p:spPr>
          <a:xfrm>
            <a:off x="8018602" y="2823483"/>
            <a:ext cx="476031" cy="470421"/>
          </a:xfrm>
          <a:prstGeom prst="rect">
            <a:avLst/>
          </a:prstGeom>
        </p:spPr>
        <p:txBody>
          <a:bodyPr/>
          <a:lstStyle>
            <a:lvl1pPr marL="0" indent="0" algn="ctr">
              <a:buNone/>
              <a:defRPr sz="1000">
                <a:latin typeface="+mj-lt"/>
              </a:defRPr>
            </a:lvl1pPr>
          </a:lstStyle>
          <a:p>
            <a:r>
              <a:rPr lang="es-ES"/>
              <a:t>PHOTO</a:t>
            </a:r>
          </a:p>
        </p:txBody>
      </p:sp>
      <p:sp>
        <p:nvSpPr>
          <p:cNvPr id="89" name="Marcador de texto 41">
            <a:extLst>
              <a:ext uri="{FF2B5EF4-FFF2-40B4-BE49-F238E27FC236}">
                <a16:creationId xmlns:a16="http://schemas.microsoft.com/office/drawing/2014/main" id="{4FAED770-B748-8049-639B-D6D77667AC2A}"/>
              </a:ext>
            </a:extLst>
          </p:cNvPr>
          <p:cNvSpPr>
            <a:spLocks noGrp="1"/>
          </p:cNvSpPr>
          <p:nvPr>
            <p:ph type="body" sz="quarter" idx="64" hasCustomPrompt="1"/>
          </p:nvPr>
        </p:nvSpPr>
        <p:spPr>
          <a:xfrm>
            <a:off x="8533445" y="2738790"/>
            <a:ext cx="2821899"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cxnSp>
        <p:nvCxnSpPr>
          <p:cNvPr id="90" name="Conector recto 89">
            <a:extLst>
              <a:ext uri="{FF2B5EF4-FFF2-40B4-BE49-F238E27FC236}">
                <a16:creationId xmlns:a16="http://schemas.microsoft.com/office/drawing/2014/main" id="{8E0E3402-5CF2-27B7-C58B-121C8C7EC9EB}"/>
              </a:ext>
            </a:extLst>
          </p:cNvPr>
          <p:cNvCxnSpPr>
            <a:cxnSpLocks/>
          </p:cNvCxnSpPr>
          <p:nvPr userDrawn="1"/>
        </p:nvCxnSpPr>
        <p:spPr>
          <a:xfrm>
            <a:off x="689285" y="2624353"/>
            <a:ext cx="1081486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1" name="Marcador de texto 30">
            <a:extLst>
              <a:ext uri="{FF2B5EF4-FFF2-40B4-BE49-F238E27FC236}">
                <a16:creationId xmlns:a16="http://schemas.microsoft.com/office/drawing/2014/main" id="{1B41935F-AFFF-A185-F5C1-9C330EB860C7}"/>
              </a:ext>
            </a:extLst>
          </p:cNvPr>
          <p:cNvSpPr>
            <a:spLocks noGrp="1"/>
          </p:cNvSpPr>
          <p:nvPr>
            <p:ph type="body" sz="quarter" idx="65"/>
          </p:nvPr>
        </p:nvSpPr>
        <p:spPr>
          <a:xfrm>
            <a:off x="691789" y="3532472"/>
            <a:ext cx="4951235" cy="265727"/>
          </a:xfrm>
          <a:prstGeom prst="rect">
            <a:avLst/>
          </a:prstGeom>
        </p:spPr>
        <p:txBody>
          <a:bodyPr anchor="t"/>
          <a:lstStyle>
            <a:lvl1pPr marL="0" indent="0">
              <a:spcBef>
                <a:spcPts val="0"/>
              </a:spcBef>
              <a:spcAft>
                <a:spcPts val="1800"/>
              </a:spcAft>
              <a:buNone/>
              <a:defRPr sz="1000">
                <a:solidFill>
                  <a:srgbClr val="6F7779"/>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92" name="Marcador de posición de imagen 39">
            <a:extLst>
              <a:ext uri="{FF2B5EF4-FFF2-40B4-BE49-F238E27FC236}">
                <a16:creationId xmlns:a16="http://schemas.microsoft.com/office/drawing/2014/main" id="{E86AE85B-769B-E3B1-123E-C1B1AA1A8878}"/>
              </a:ext>
            </a:extLst>
          </p:cNvPr>
          <p:cNvSpPr>
            <a:spLocks noGrp="1"/>
          </p:cNvSpPr>
          <p:nvPr>
            <p:ph type="pic" sz="quarter" idx="66" hasCustomPrompt="1"/>
          </p:nvPr>
        </p:nvSpPr>
        <p:spPr>
          <a:xfrm>
            <a:off x="686311" y="3953640"/>
            <a:ext cx="476031" cy="470421"/>
          </a:xfrm>
          <a:prstGeom prst="rect">
            <a:avLst/>
          </a:prstGeom>
        </p:spPr>
        <p:txBody>
          <a:bodyPr/>
          <a:lstStyle>
            <a:lvl1pPr marL="0" indent="0" algn="ctr">
              <a:buNone/>
              <a:defRPr sz="1000">
                <a:latin typeface="+mj-lt"/>
              </a:defRPr>
            </a:lvl1pPr>
          </a:lstStyle>
          <a:p>
            <a:r>
              <a:rPr lang="es-ES"/>
              <a:t>PHOTO</a:t>
            </a:r>
          </a:p>
        </p:txBody>
      </p:sp>
      <p:sp>
        <p:nvSpPr>
          <p:cNvPr id="93" name="Marcador de texto 41">
            <a:extLst>
              <a:ext uri="{FF2B5EF4-FFF2-40B4-BE49-F238E27FC236}">
                <a16:creationId xmlns:a16="http://schemas.microsoft.com/office/drawing/2014/main" id="{C40B849C-9911-D14A-4416-BC4017C0AA21}"/>
              </a:ext>
            </a:extLst>
          </p:cNvPr>
          <p:cNvSpPr>
            <a:spLocks noGrp="1"/>
          </p:cNvSpPr>
          <p:nvPr>
            <p:ph type="body" sz="quarter" idx="67" hasCustomPrompt="1"/>
          </p:nvPr>
        </p:nvSpPr>
        <p:spPr>
          <a:xfrm>
            <a:off x="1201154" y="3868947"/>
            <a:ext cx="2821899"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94" name="Marcador de posición de imagen 39">
            <a:extLst>
              <a:ext uri="{FF2B5EF4-FFF2-40B4-BE49-F238E27FC236}">
                <a16:creationId xmlns:a16="http://schemas.microsoft.com/office/drawing/2014/main" id="{B0548C95-E4ED-9586-0812-160B9E17EEA9}"/>
              </a:ext>
            </a:extLst>
          </p:cNvPr>
          <p:cNvSpPr>
            <a:spLocks noGrp="1"/>
          </p:cNvSpPr>
          <p:nvPr>
            <p:ph type="pic" sz="quarter" idx="68" hasCustomPrompt="1"/>
          </p:nvPr>
        </p:nvSpPr>
        <p:spPr>
          <a:xfrm>
            <a:off x="4326819" y="3953640"/>
            <a:ext cx="476031" cy="470421"/>
          </a:xfrm>
          <a:prstGeom prst="rect">
            <a:avLst/>
          </a:prstGeom>
        </p:spPr>
        <p:txBody>
          <a:bodyPr/>
          <a:lstStyle>
            <a:lvl1pPr marL="0" indent="0" algn="ctr">
              <a:buNone/>
              <a:defRPr sz="1000">
                <a:latin typeface="+mj-lt"/>
              </a:defRPr>
            </a:lvl1pPr>
          </a:lstStyle>
          <a:p>
            <a:r>
              <a:rPr lang="es-ES"/>
              <a:t>PHOTO</a:t>
            </a:r>
          </a:p>
        </p:txBody>
      </p:sp>
      <p:sp>
        <p:nvSpPr>
          <p:cNvPr id="95" name="Marcador de texto 41">
            <a:extLst>
              <a:ext uri="{FF2B5EF4-FFF2-40B4-BE49-F238E27FC236}">
                <a16:creationId xmlns:a16="http://schemas.microsoft.com/office/drawing/2014/main" id="{2B157E9E-B863-D008-C2DE-FA658B76B572}"/>
              </a:ext>
            </a:extLst>
          </p:cNvPr>
          <p:cNvSpPr>
            <a:spLocks noGrp="1"/>
          </p:cNvSpPr>
          <p:nvPr>
            <p:ph type="body" sz="quarter" idx="69" hasCustomPrompt="1"/>
          </p:nvPr>
        </p:nvSpPr>
        <p:spPr>
          <a:xfrm>
            <a:off x="4841662" y="3868947"/>
            <a:ext cx="2821899"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96" name="Marcador de posición de imagen 39">
            <a:extLst>
              <a:ext uri="{FF2B5EF4-FFF2-40B4-BE49-F238E27FC236}">
                <a16:creationId xmlns:a16="http://schemas.microsoft.com/office/drawing/2014/main" id="{E3D20977-3910-8E6A-2F5C-BE4F9C00B411}"/>
              </a:ext>
            </a:extLst>
          </p:cNvPr>
          <p:cNvSpPr>
            <a:spLocks noGrp="1"/>
          </p:cNvSpPr>
          <p:nvPr>
            <p:ph type="pic" sz="quarter" idx="70" hasCustomPrompt="1"/>
          </p:nvPr>
        </p:nvSpPr>
        <p:spPr>
          <a:xfrm>
            <a:off x="8018602" y="3953640"/>
            <a:ext cx="476031" cy="470421"/>
          </a:xfrm>
          <a:prstGeom prst="rect">
            <a:avLst/>
          </a:prstGeom>
        </p:spPr>
        <p:txBody>
          <a:bodyPr/>
          <a:lstStyle>
            <a:lvl1pPr marL="0" indent="0" algn="ctr">
              <a:buNone/>
              <a:defRPr sz="1000">
                <a:latin typeface="+mj-lt"/>
              </a:defRPr>
            </a:lvl1pPr>
          </a:lstStyle>
          <a:p>
            <a:r>
              <a:rPr lang="es-ES"/>
              <a:t>PHOTO</a:t>
            </a:r>
          </a:p>
        </p:txBody>
      </p:sp>
      <p:sp>
        <p:nvSpPr>
          <p:cNvPr id="97" name="Marcador de texto 41">
            <a:extLst>
              <a:ext uri="{FF2B5EF4-FFF2-40B4-BE49-F238E27FC236}">
                <a16:creationId xmlns:a16="http://schemas.microsoft.com/office/drawing/2014/main" id="{844A0F77-2C90-0A3C-D6A2-EAF18DE96E46}"/>
              </a:ext>
            </a:extLst>
          </p:cNvPr>
          <p:cNvSpPr>
            <a:spLocks noGrp="1"/>
          </p:cNvSpPr>
          <p:nvPr>
            <p:ph type="body" sz="quarter" idx="71" hasCustomPrompt="1"/>
          </p:nvPr>
        </p:nvSpPr>
        <p:spPr>
          <a:xfrm>
            <a:off x="8533445" y="3868947"/>
            <a:ext cx="2821899"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cxnSp>
        <p:nvCxnSpPr>
          <p:cNvPr id="98" name="Conector recto 97">
            <a:extLst>
              <a:ext uri="{FF2B5EF4-FFF2-40B4-BE49-F238E27FC236}">
                <a16:creationId xmlns:a16="http://schemas.microsoft.com/office/drawing/2014/main" id="{018104C1-109E-EAD8-49C0-E36916785769}"/>
              </a:ext>
            </a:extLst>
          </p:cNvPr>
          <p:cNvCxnSpPr>
            <a:cxnSpLocks/>
          </p:cNvCxnSpPr>
          <p:nvPr userDrawn="1"/>
        </p:nvCxnSpPr>
        <p:spPr>
          <a:xfrm>
            <a:off x="689285" y="3754510"/>
            <a:ext cx="1081486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9" name="Marcador de posición de imagen 39">
            <a:extLst>
              <a:ext uri="{FF2B5EF4-FFF2-40B4-BE49-F238E27FC236}">
                <a16:creationId xmlns:a16="http://schemas.microsoft.com/office/drawing/2014/main" id="{C2B62EC9-4BED-9190-F2C7-86918BE60F5C}"/>
              </a:ext>
            </a:extLst>
          </p:cNvPr>
          <p:cNvSpPr>
            <a:spLocks noGrp="1"/>
          </p:cNvSpPr>
          <p:nvPr>
            <p:ph type="pic" sz="quarter" idx="72" hasCustomPrompt="1"/>
          </p:nvPr>
        </p:nvSpPr>
        <p:spPr>
          <a:xfrm>
            <a:off x="686311" y="4652283"/>
            <a:ext cx="476031" cy="470421"/>
          </a:xfrm>
          <a:prstGeom prst="rect">
            <a:avLst/>
          </a:prstGeom>
        </p:spPr>
        <p:txBody>
          <a:bodyPr/>
          <a:lstStyle>
            <a:lvl1pPr marL="0" indent="0" algn="ctr">
              <a:buNone/>
              <a:defRPr sz="1000">
                <a:latin typeface="+mj-lt"/>
              </a:defRPr>
            </a:lvl1pPr>
          </a:lstStyle>
          <a:p>
            <a:r>
              <a:rPr lang="es-ES"/>
              <a:t>PHOTO</a:t>
            </a:r>
          </a:p>
        </p:txBody>
      </p:sp>
      <p:sp>
        <p:nvSpPr>
          <p:cNvPr id="100" name="Marcador de texto 41">
            <a:extLst>
              <a:ext uri="{FF2B5EF4-FFF2-40B4-BE49-F238E27FC236}">
                <a16:creationId xmlns:a16="http://schemas.microsoft.com/office/drawing/2014/main" id="{ECE0BE04-253E-0BC7-BE55-3501A633CF66}"/>
              </a:ext>
            </a:extLst>
          </p:cNvPr>
          <p:cNvSpPr>
            <a:spLocks noGrp="1"/>
          </p:cNvSpPr>
          <p:nvPr>
            <p:ph type="body" sz="quarter" idx="73" hasCustomPrompt="1"/>
          </p:nvPr>
        </p:nvSpPr>
        <p:spPr>
          <a:xfrm>
            <a:off x="1201154" y="4567590"/>
            <a:ext cx="2821899"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101" name="Marcador de posición de imagen 39">
            <a:extLst>
              <a:ext uri="{FF2B5EF4-FFF2-40B4-BE49-F238E27FC236}">
                <a16:creationId xmlns:a16="http://schemas.microsoft.com/office/drawing/2014/main" id="{0466EF26-3B5F-3B49-CD77-180170213D50}"/>
              </a:ext>
            </a:extLst>
          </p:cNvPr>
          <p:cNvSpPr>
            <a:spLocks noGrp="1"/>
          </p:cNvSpPr>
          <p:nvPr>
            <p:ph type="pic" sz="quarter" idx="74" hasCustomPrompt="1"/>
          </p:nvPr>
        </p:nvSpPr>
        <p:spPr>
          <a:xfrm>
            <a:off x="4326819" y="4652283"/>
            <a:ext cx="476031" cy="470421"/>
          </a:xfrm>
          <a:prstGeom prst="rect">
            <a:avLst/>
          </a:prstGeom>
        </p:spPr>
        <p:txBody>
          <a:bodyPr/>
          <a:lstStyle>
            <a:lvl1pPr marL="0" indent="0" algn="ctr">
              <a:buNone/>
              <a:defRPr sz="1000">
                <a:latin typeface="+mj-lt"/>
              </a:defRPr>
            </a:lvl1pPr>
          </a:lstStyle>
          <a:p>
            <a:r>
              <a:rPr lang="es-ES"/>
              <a:t>PHOTO</a:t>
            </a:r>
          </a:p>
        </p:txBody>
      </p:sp>
      <p:sp>
        <p:nvSpPr>
          <p:cNvPr id="102" name="Marcador de texto 41">
            <a:extLst>
              <a:ext uri="{FF2B5EF4-FFF2-40B4-BE49-F238E27FC236}">
                <a16:creationId xmlns:a16="http://schemas.microsoft.com/office/drawing/2014/main" id="{A119C964-8F29-B7F9-35ED-8A914C39CA4F}"/>
              </a:ext>
            </a:extLst>
          </p:cNvPr>
          <p:cNvSpPr>
            <a:spLocks noGrp="1"/>
          </p:cNvSpPr>
          <p:nvPr>
            <p:ph type="body" sz="quarter" idx="75" hasCustomPrompt="1"/>
          </p:nvPr>
        </p:nvSpPr>
        <p:spPr>
          <a:xfrm>
            <a:off x="4841662" y="4567590"/>
            <a:ext cx="2821899"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103" name="Marcador de posición de imagen 39">
            <a:extLst>
              <a:ext uri="{FF2B5EF4-FFF2-40B4-BE49-F238E27FC236}">
                <a16:creationId xmlns:a16="http://schemas.microsoft.com/office/drawing/2014/main" id="{3B2812A6-7D66-65CB-23B0-B1EAE9BFCA99}"/>
              </a:ext>
            </a:extLst>
          </p:cNvPr>
          <p:cNvSpPr>
            <a:spLocks noGrp="1"/>
          </p:cNvSpPr>
          <p:nvPr>
            <p:ph type="pic" sz="quarter" idx="76" hasCustomPrompt="1"/>
          </p:nvPr>
        </p:nvSpPr>
        <p:spPr>
          <a:xfrm>
            <a:off x="8018602" y="4652283"/>
            <a:ext cx="476031" cy="470421"/>
          </a:xfrm>
          <a:prstGeom prst="rect">
            <a:avLst/>
          </a:prstGeom>
        </p:spPr>
        <p:txBody>
          <a:bodyPr/>
          <a:lstStyle>
            <a:lvl1pPr marL="0" indent="0" algn="ctr">
              <a:buNone/>
              <a:defRPr sz="1000">
                <a:latin typeface="+mj-lt"/>
              </a:defRPr>
            </a:lvl1pPr>
          </a:lstStyle>
          <a:p>
            <a:r>
              <a:rPr lang="es-ES"/>
              <a:t>PHOTO</a:t>
            </a:r>
          </a:p>
        </p:txBody>
      </p:sp>
      <p:sp>
        <p:nvSpPr>
          <p:cNvPr id="104" name="Marcador de texto 41">
            <a:extLst>
              <a:ext uri="{FF2B5EF4-FFF2-40B4-BE49-F238E27FC236}">
                <a16:creationId xmlns:a16="http://schemas.microsoft.com/office/drawing/2014/main" id="{EC2C2711-F950-62CE-8523-3DBDC9529746}"/>
              </a:ext>
            </a:extLst>
          </p:cNvPr>
          <p:cNvSpPr>
            <a:spLocks noGrp="1"/>
          </p:cNvSpPr>
          <p:nvPr>
            <p:ph type="body" sz="quarter" idx="77" hasCustomPrompt="1"/>
          </p:nvPr>
        </p:nvSpPr>
        <p:spPr>
          <a:xfrm>
            <a:off x="8533445" y="4567590"/>
            <a:ext cx="2821899"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110" name="Marcador de posición de imagen 39">
            <a:extLst>
              <a:ext uri="{FF2B5EF4-FFF2-40B4-BE49-F238E27FC236}">
                <a16:creationId xmlns:a16="http://schemas.microsoft.com/office/drawing/2014/main" id="{64A8EBAE-DBBB-0FAE-F454-DD8762736862}"/>
              </a:ext>
            </a:extLst>
          </p:cNvPr>
          <p:cNvSpPr>
            <a:spLocks noGrp="1"/>
          </p:cNvSpPr>
          <p:nvPr>
            <p:ph type="pic" sz="quarter" idx="78" hasCustomPrompt="1"/>
          </p:nvPr>
        </p:nvSpPr>
        <p:spPr>
          <a:xfrm>
            <a:off x="686311" y="5350926"/>
            <a:ext cx="476031" cy="470421"/>
          </a:xfrm>
          <a:prstGeom prst="rect">
            <a:avLst/>
          </a:prstGeom>
        </p:spPr>
        <p:txBody>
          <a:bodyPr/>
          <a:lstStyle>
            <a:lvl1pPr marL="0" indent="0" algn="ctr">
              <a:buNone/>
              <a:defRPr sz="1000">
                <a:latin typeface="+mj-lt"/>
              </a:defRPr>
            </a:lvl1pPr>
          </a:lstStyle>
          <a:p>
            <a:r>
              <a:rPr lang="es-ES"/>
              <a:t>PHOTO</a:t>
            </a:r>
          </a:p>
        </p:txBody>
      </p:sp>
      <p:sp>
        <p:nvSpPr>
          <p:cNvPr id="111" name="Marcador de texto 41">
            <a:extLst>
              <a:ext uri="{FF2B5EF4-FFF2-40B4-BE49-F238E27FC236}">
                <a16:creationId xmlns:a16="http://schemas.microsoft.com/office/drawing/2014/main" id="{BC30D1F0-62D8-389B-EAFB-8B2745CF76F2}"/>
              </a:ext>
            </a:extLst>
          </p:cNvPr>
          <p:cNvSpPr>
            <a:spLocks noGrp="1"/>
          </p:cNvSpPr>
          <p:nvPr>
            <p:ph type="body" sz="quarter" idx="79" hasCustomPrompt="1"/>
          </p:nvPr>
        </p:nvSpPr>
        <p:spPr>
          <a:xfrm>
            <a:off x="1201154" y="5266233"/>
            <a:ext cx="2821899"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112" name="Marcador de posición de imagen 39">
            <a:extLst>
              <a:ext uri="{FF2B5EF4-FFF2-40B4-BE49-F238E27FC236}">
                <a16:creationId xmlns:a16="http://schemas.microsoft.com/office/drawing/2014/main" id="{9DCD967F-8396-1F70-06AD-9D2E0E92B1CE}"/>
              </a:ext>
            </a:extLst>
          </p:cNvPr>
          <p:cNvSpPr>
            <a:spLocks noGrp="1"/>
          </p:cNvSpPr>
          <p:nvPr>
            <p:ph type="pic" sz="quarter" idx="80" hasCustomPrompt="1"/>
          </p:nvPr>
        </p:nvSpPr>
        <p:spPr>
          <a:xfrm>
            <a:off x="4326819" y="5350926"/>
            <a:ext cx="476031" cy="470421"/>
          </a:xfrm>
          <a:prstGeom prst="rect">
            <a:avLst/>
          </a:prstGeom>
        </p:spPr>
        <p:txBody>
          <a:bodyPr/>
          <a:lstStyle>
            <a:lvl1pPr marL="0" indent="0" algn="ctr">
              <a:buNone/>
              <a:defRPr sz="1000">
                <a:latin typeface="+mj-lt"/>
              </a:defRPr>
            </a:lvl1pPr>
          </a:lstStyle>
          <a:p>
            <a:r>
              <a:rPr lang="es-ES"/>
              <a:t>PHOTO</a:t>
            </a:r>
          </a:p>
        </p:txBody>
      </p:sp>
      <p:sp>
        <p:nvSpPr>
          <p:cNvPr id="113" name="Marcador de texto 41">
            <a:extLst>
              <a:ext uri="{FF2B5EF4-FFF2-40B4-BE49-F238E27FC236}">
                <a16:creationId xmlns:a16="http://schemas.microsoft.com/office/drawing/2014/main" id="{315A433D-E900-30DC-72DB-4023EEA64650}"/>
              </a:ext>
            </a:extLst>
          </p:cNvPr>
          <p:cNvSpPr>
            <a:spLocks noGrp="1"/>
          </p:cNvSpPr>
          <p:nvPr>
            <p:ph type="body" sz="quarter" idx="81" hasCustomPrompt="1"/>
          </p:nvPr>
        </p:nvSpPr>
        <p:spPr>
          <a:xfrm>
            <a:off x="4841662" y="5266233"/>
            <a:ext cx="2821899"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114" name="Marcador de posición de imagen 39">
            <a:extLst>
              <a:ext uri="{FF2B5EF4-FFF2-40B4-BE49-F238E27FC236}">
                <a16:creationId xmlns:a16="http://schemas.microsoft.com/office/drawing/2014/main" id="{9E679B5D-07C7-593D-2DFB-C34D6AFF0F8B}"/>
              </a:ext>
            </a:extLst>
          </p:cNvPr>
          <p:cNvSpPr>
            <a:spLocks noGrp="1"/>
          </p:cNvSpPr>
          <p:nvPr>
            <p:ph type="pic" sz="quarter" idx="82" hasCustomPrompt="1"/>
          </p:nvPr>
        </p:nvSpPr>
        <p:spPr>
          <a:xfrm>
            <a:off x="8018602" y="5350926"/>
            <a:ext cx="476031" cy="470421"/>
          </a:xfrm>
          <a:prstGeom prst="rect">
            <a:avLst/>
          </a:prstGeom>
        </p:spPr>
        <p:txBody>
          <a:bodyPr/>
          <a:lstStyle>
            <a:lvl1pPr marL="0" indent="0" algn="ctr">
              <a:buNone/>
              <a:defRPr sz="1000">
                <a:latin typeface="+mj-lt"/>
              </a:defRPr>
            </a:lvl1pPr>
          </a:lstStyle>
          <a:p>
            <a:r>
              <a:rPr lang="es-ES"/>
              <a:t>PHOTO</a:t>
            </a:r>
          </a:p>
        </p:txBody>
      </p:sp>
      <p:sp>
        <p:nvSpPr>
          <p:cNvPr id="115" name="Marcador de texto 41">
            <a:extLst>
              <a:ext uri="{FF2B5EF4-FFF2-40B4-BE49-F238E27FC236}">
                <a16:creationId xmlns:a16="http://schemas.microsoft.com/office/drawing/2014/main" id="{D613F75F-D1F5-EA39-D0EF-B1B5D19570CD}"/>
              </a:ext>
            </a:extLst>
          </p:cNvPr>
          <p:cNvSpPr>
            <a:spLocks noGrp="1"/>
          </p:cNvSpPr>
          <p:nvPr>
            <p:ph type="body" sz="quarter" idx="83" hasCustomPrompt="1"/>
          </p:nvPr>
        </p:nvSpPr>
        <p:spPr>
          <a:xfrm>
            <a:off x="8533445" y="5266233"/>
            <a:ext cx="2821899" cy="601942"/>
          </a:xfrm>
          <a:prstGeom prst="rect">
            <a:avLst/>
          </a:prstGeom>
        </p:spPr>
        <p:txBody>
          <a:bodyPr/>
          <a:lstStyle>
            <a:lvl1pPr marL="0" indent="0">
              <a:buNone/>
              <a:defRPr sz="900" b="1">
                <a:solidFill>
                  <a:srgbClr val="6F7779"/>
                </a:solidFill>
                <a:latin typeface="+mj-lt"/>
              </a:defRPr>
            </a:lvl1pPr>
            <a:lvl2pPr marL="0" indent="0">
              <a:spcBef>
                <a:spcPts val="0"/>
              </a:spcBef>
              <a:buNone/>
              <a:defRPr sz="800">
                <a:solidFill>
                  <a:srgbClr val="6F7779"/>
                </a:solidFill>
                <a:latin typeface="+mj-lt"/>
              </a:defRPr>
            </a:lvl2pPr>
            <a:lvl3pPr marL="0" indent="0">
              <a:spcBef>
                <a:spcPts val="500"/>
              </a:spcBef>
              <a:buNone/>
              <a:defRPr sz="800">
                <a:solidFill>
                  <a:srgbClr val="6F7779"/>
                </a:solidFill>
                <a:latin typeface="+mj-lt"/>
              </a:defRPr>
            </a:lvl3pPr>
            <a:lvl4pPr marL="1371600" indent="0">
              <a:buNone/>
              <a:defRPr sz="1000"/>
            </a:lvl4pPr>
            <a:lvl5pPr marL="1828800" indent="0">
              <a:buNone/>
              <a:defRPr sz="1000"/>
            </a:lvl5pPr>
          </a:lstStyle>
          <a:p>
            <a:pPr lvl="0"/>
            <a:r>
              <a:rPr lang="es-ES" err="1"/>
              <a:t>Click</a:t>
            </a:r>
            <a:r>
              <a:rPr lang="es-ES"/>
              <a:t> </a:t>
            </a:r>
            <a:r>
              <a:rPr lang="es-ES" err="1"/>
              <a:t>to</a:t>
            </a:r>
            <a:r>
              <a:rPr lang="es-ES"/>
              <a:t> </a:t>
            </a:r>
            <a:r>
              <a:rPr lang="es-ES" err="1"/>
              <a:t>add</a:t>
            </a:r>
            <a:r>
              <a:rPr lang="es-ES"/>
              <a:t> </a:t>
            </a:r>
            <a:r>
              <a:rPr lang="es-ES" err="1"/>
              <a:t>tex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5" name="Marcador de número de diapositiva 5">
            <a:extLst>
              <a:ext uri="{FF2B5EF4-FFF2-40B4-BE49-F238E27FC236}">
                <a16:creationId xmlns:a16="http://schemas.microsoft.com/office/drawing/2014/main" id="{DA050FC0-9A31-7F3B-EAE9-C752D45D71BC}"/>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ACF5E81C-A6C0-4A85-20C6-A1A7478FBF75}"/>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C46122CF-314E-FD73-F2ED-27B1C3CF1C4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7FC16BDF-2384-E917-5A80-E4479B7BA216}"/>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C322FEB5-82FF-5F25-8E69-3B2273C4ACCB}"/>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D3991E21-D647-23DD-13AE-E57905513643}"/>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16418508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6_Header &amp; Content ">
    <p:spTree>
      <p:nvGrpSpPr>
        <p:cNvPr id="1" name=""/>
        <p:cNvGrpSpPr/>
        <p:nvPr/>
      </p:nvGrpSpPr>
      <p:grpSpPr>
        <a:xfrm>
          <a:off x="0" y="0"/>
          <a:ext cx="0" cy="0"/>
          <a:chOff x="0" y="0"/>
          <a:chExt cx="0" cy="0"/>
        </a:xfrm>
      </p:grpSpPr>
      <p:sp>
        <p:nvSpPr>
          <p:cNvPr id="26" name="Marcador de texto 25">
            <a:extLst>
              <a:ext uri="{FF2B5EF4-FFF2-40B4-BE49-F238E27FC236}">
                <a16:creationId xmlns:a16="http://schemas.microsoft.com/office/drawing/2014/main" id="{BFF713F9-AF95-0B0C-4C69-31A73A1870F7}"/>
              </a:ext>
            </a:extLst>
          </p:cNvPr>
          <p:cNvSpPr>
            <a:spLocks noGrp="1"/>
          </p:cNvSpPr>
          <p:nvPr>
            <p:ph type="body" sz="quarter" idx="47" hasCustomPrompt="1"/>
          </p:nvPr>
        </p:nvSpPr>
        <p:spPr>
          <a:xfrm>
            <a:off x="2607286" y="1458276"/>
            <a:ext cx="4541630" cy="4311242"/>
          </a:xfrm>
          <a:custGeom>
            <a:avLst/>
            <a:gdLst>
              <a:gd name="connsiteX0" fmla="*/ 0 w 4541630"/>
              <a:gd name="connsiteY0" fmla="*/ 0 h 4311242"/>
              <a:gd name="connsiteX1" fmla="*/ 4153110 w 4541630"/>
              <a:gd name="connsiteY1" fmla="*/ 0 h 4311242"/>
              <a:gd name="connsiteX2" fmla="*/ 4153110 w 4541630"/>
              <a:gd name="connsiteY2" fmla="*/ 900500 h 4311242"/>
              <a:gd name="connsiteX3" fmla="*/ 4541630 w 4541630"/>
              <a:gd name="connsiteY3" fmla="*/ 2173647 h 4311242"/>
              <a:gd name="connsiteX4" fmla="*/ 4153110 w 4541630"/>
              <a:gd name="connsiteY4" fmla="*/ 3446794 h 4311242"/>
              <a:gd name="connsiteX5" fmla="*/ 4153110 w 4541630"/>
              <a:gd name="connsiteY5" fmla="*/ 4311242 h 4311242"/>
              <a:gd name="connsiteX6" fmla="*/ 0 w 4541630"/>
              <a:gd name="connsiteY6" fmla="*/ 4311242 h 431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41630" h="4311242">
                <a:moveTo>
                  <a:pt x="0" y="0"/>
                </a:moveTo>
                <a:lnTo>
                  <a:pt x="4153110" y="0"/>
                </a:lnTo>
                <a:lnTo>
                  <a:pt x="4153110" y="900500"/>
                </a:lnTo>
                <a:lnTo>
                  <a:pt x="4541630" y="2173647"/>
                </a:lnTo>
                <a:lnTo>
                  <a:pt x="4153110" y="3446794"/>
                </a:lnTo>
                <a:lnTo>
                  <a:pt x="4153110" y="4311242"/>
                </a:lnTo>
                <a:lnTo>
                  <a:pt x="0" y="4311242"/>
                </a:lnTo>
                <a:close/>
              </a:path>
            </a:pathLst>
          </a:custGeom>
          <a:solidFill>
            <a:schemeClr val="accent2">
              <a:alpha val="60000"/>
            </a:schemeClr>
          </a:solidFill>
        </p:spPr>
        <p:txBody>
          <a:bodyPr wrap="square" lIns="252000" tIns="684000" rIns="216000" bIns="144000">
            <a:noAutofit/>
          </a:bodyPr>
          <a:lstStyle>
            <a:lvl1pPr marL="0" indent="0">
              <a:buNone/>
              <a:defRPr sz="1200">
                <a:solidFill>
                  <a:schemeClr val="tx1">
                    <a:lumMod val="75000"/>
                  </a:schemeClr>
                </a:solidFill>
                <a:latin typeface="+mj-lt"/>
              </a:defRPr>
            </a:lvl1pPr>
            <a:lvl2pPr marL="216000" indent="-216000">
              <a:buClr>
                <a:srgbClr val="EC0000"/>
              </a:buClr>
              <a:buFont typeface="Arial" panose="020B0604020202020204" pitchFamily="34" charset="0"/>
              <a:buChar char="●"/>
              <a:defRPr sz="1100">
                <a:solidFill>
                  <a:schemeClr val="tx1">
                    <a:lumMod val="75000"/>
                  </a:schemeClr>
                </a:solidFill>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21" name="Marcador de texto 20">
            <a:extLst>
              <a:ext uri="{FF2B5EF4-FFF2-40B4-BE49-F238E27FC236}">
                <a16:creationId xmlns:a16="http://schemas.microsoft.com/office/drawing/2014/main" id="{9E423BAC-C4D2-1232-54B4-75240878E87E}"/>
              </a:ext>
            </a:extLst>
          </p:cNvPr>
          <p:cNvSpPr>
            <a:spLocks noGrp="1"/>
          </p:cNvSpPr>
          <p:nvPr>
            <p:ph type="body" sz="quarter" idx="46"/>
          </p:nvPr>
        </p:nvSpPr>
        <p:spPr>
          <a:xfrm>
            <a:off x="701623" y="1458913"/>
            <a:ext cx="1905663" cy="4310605"/>
          </a:xfrm>
          <a:prstGeom prst="rect">
            <a:avLst/>
          </a:prstGeom>
          <a:solidFill>
            <a:srgbClr val="60001D"/>
          </a:solidFill>
        </p:spPr>
        <p:txBody>
          <a:bodyPr lIns="252000" tIns="396000" rIns="72000" bIns="144000"/>
          <a:lstStyle>
            <a:lvl1pPr marL="0" indent="0">
              <a:buNone/>
              <a:defRPr lang="es-ES" sz="1600" b="1" kern="1200" smtClean="0">
                <a:solidFill>
                  <a:schemeClr val="bg1"/>
                </a:solidFill>
                <a:latin typeface="+mj-lt"/>
                <a:ea typeface="+mn-ea"/>
                <a:cs typeface="+mn-cs"/>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endParaRPr lang="es-ES"/>
          </a:p>
        </p:txBody>
      </p:sp>
      <p:sp>
        <p:nvSpPr>
          <p:cNvPr id="33" name="Marcador de texto 32">
            <a:extLst>
              <a:ext uri="{FF2B5EF4-FFF2-40B4-BE49-F238E27FC236}">
                <a16:creationId xmlns:a16="http://schemas.microsoft.com/office/drawing/2014/main" id="{ABD267F7-1815-A673-5F71-95A462AB7739}"/>
              </a:ext>
            </a:extLst>
          </p:cNvPr>
          <p:cNvSpPr>
            <a:spLocks noGrp="1"/>
          </p:cNvSpPr>
          <p:nvPr>
            <p:ph type="body" sz="quarter" idx="48" hasCustomPrompt="1"/>
          </p:nvPr>
        </p:nvSpPr>
        <p:spPr>
          <a:xfrm>
            <a:off x="7061172" y="1458277"/>
            <a:ext cx="4621719" cy="4311242"/>
          </a:xfrm>
          <a:custGeom>
            <a:avLst/>
            <a:gdLst>
              <a:gd name="connsiteX0" fmla="*/ 0 w 4621719"/>
              <a:gd name="connsiteY0" fmla="*/ 0 h 4403167"/>
              <a:gd name="connsiteX1" fmla="*/ 4621719 w 4621719"/>
              <a:gd name="connsiteY1" fmla="*/ 0 h 4403167"/>
              <a:gd name="connsiteX2" fmla="*/ 4621719 w 4621719"/>
              <a:gd name="connsiteY2" fmla="*/ 4403167 h 4403167"/>
              <a:gd name="connsiteX3" fmla="*/ 0 w 4621719"/>
              <a:gd name="connsiteY3" fmla="*/ 4403167 h 4403167"/>
              <a:gd name="connsiteX4" fmla="*/ 0 w 4621719"/>
              <a:gd name="connsiteY4" fmla="*/ 3437533 h 4403167"/>
              <a:gd name="connsiteX5" fmla="*/ 385694 w 4621719"/>
              <a:gd name="connsiteY5" fmla="*/ 2173647 h 4403167"/>
              <a:gd name="connsiteX6" fmla="*/ 0 w 4621719"/>
              <a:gd name="connsiteY6" fmla="*/ 909761 h 4403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21719" h="4403167">
                <a:moveTo>
                  <a:pt x="0" y="0"/>
                </a:moveTo>
                <a:lnTo>
                  <a:pt x="4621719" y="0"/>
                </a:lnTo>
                <a:lnTo>
                  <a:pt x="4621719" y="4403167"/>
                </a:lnTo>
                <a:lnTo>
                  <a:pt x="0" y="4403167"/>
                </a:lnTo>
                <a:lnTo>
                  <a:pt x="0" y="3437533"/>
                </a:lnTo>
                <a:lnTo>
                  <a:pt x="385694" y="2173647"/>
                </a:lnTo>
                <a:lnTo>
                  <a:pt x="0" y="909761"/>
                </a:lnTo>
                <a:close/>
              </a:path>
            </a:pathLst>
          </a:custGeom>
          <a:solidFill>
            <a:schemeClr val="accent3">
              <a:alpha val="60000"/>
            </a:schemeClr>
          </a:solidFill>
        </p:spPr>
        <p:txBody>
          <a:bodyPr wrap="square" lIns="504000" tIns="396000">
            <a:noAutofit/>
          </a:bodyPr>
          <a:lstStyle>
            <a:lvl1pPr marL="0" indent="0">
              <a:spcBef>
                <a:spcPts val="0"/>
              </a:spcBef>
              <a:spcAft>
                <a:spcPts val="800"/>
              </a:spcAft>
              <a:buNone/>
              <a:defRPr sz="1600" b="1">
                <a:solidFill>
                  <a:schemeClr val="tx1">
                    <a:lumMod val="75000"/>
                  </a:schemeClr>
                </a:solidFill>
                <a:latin typeface="+mj-lt"/>
              </a:defRPr>
            </a:lvl1pPr>
            <a:lvl2pPr marL="0" indent="0">
              <a:spcBef>
                <a:spcPts val="0"/>
              </a:spcBef>
              <a:buNone/>
              <a:defRPr sz="1200">
                <a:solidFill>
                  <a:schemeClr val="tx1">
                    <a:lumMod val="75000"/>
                  </a:schemeClr>
                </a:solidFill>
                <a:latin typeface="+mj-lt"/>
              </a:defRPr>
            </a:lvl2pPr>
            <a:lvl3pPr marL="216000" indent="-216000">
              <a:buClr>
                <a:schemeClr val="accent1"/>
              </a:buClr>
              <a:buFont typeface="Arial" panose="020B0604020202020204" pitchFamily="34" charset="0"/>
              <a:buChar char="●"/>
              <a:defRPr sz="1100">
                <a:solidFill>
                  <a:schemeClr val="tx1">
                    <a:lumMod val="75000"/>
                  </a:schemeClr>
                </a:solidFill>
                <a:latin typeface="+mj-lt"/>
              </a:defRPr>
            </a:lvl3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a:p>
            <a:pPr lvl="2"/>
            <a:r>
              <a:rPr lang="es-ES"/>
              <a:t>Click </a:t>
            </a:r>
            <a:r>
              <a:rPr lang="es-ES" err="1"/>
              <a:t>to</a:t>
            </a:r>
            <a:r>
              <a:rPr lang="es-ES"/>
              <a:t> </a:t>
            </a:r>
            <a:r>
              <a:rPr lang="es-ES" err="1"/>
              <a:t>add</a:t>
            </a:r>
            <a:r>
              <a:rPr lang="es-ES"/>
              <a:t> </a:t>
            </a:r>
            <a:r>
              <a:rPr lang="es-ES" err="1"/>
              <a:t>text</a:t>
            </a:r>
            <a:endParaRPr lang="es-ES"/>
          </a:p>
        </p:txBody>
      </p:sp>
      <p:sp>
        <p:nvSpPr>
          <p:cNvPr id="5" name="Marcador de número de diapositiva 5">
            <a:extLst>
              <a:ext uri="{FF2B5EF4-FFF2-40B4-BE49-F238E27FC236}">
                <a16:creationId xmlns:a16="http://schemas.microsoft.com/office/drawing/2014/main" id="{6FD0EE27-42C9-3FB1-805A-8BC57E9940E3}"/>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5DD14869-2483-8108-371E-224CABA8E9DF}"/>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218EBA7D-D053-6414-C8DF-0347219C20C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EAC16683-5B36-0010-80F7-902848948696}"/>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03F54E84-B63E-C178-38F2-BEC92DA05A80}"/>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6A54186E-2D30-54B3-65B3-44A4DF1B5442}"/>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12771309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7_Header &amp; Content ">
    <p:spTree>
      <p:nvGrpSpPr>
        <p:cNvPr id="1" name=""/>
        <p:cNvGrpSpPr/>
        <p:nvPr/>
      </p:nvGrpSpPr>
      <p:grpSpPr>
        <a:xfrm>
          <a:off x="0" y="0"/>
          <a:ext cx="0" cy="0"/>
          <a:chOff x="0" y="0"/>
          <a:chExt cx="0" cy="0"/>
        </a:xfrm>
      </p:grpSpPr>
      <p:sp>
        <p:nvSpPr>
          <p:cNvPr id="6" name="Marcador de texto 5">
            <a:extLst>
              <a:ext uri="{FF2B5EF4-FFF2-40B4-BE49-F238E27FC236}">
                <a16:creationId xmlns:a16="http://schemas.microsoft.com/office/drawing/2014/main" id="{0B2CB738-F934-5095-0B14-E050D25BE123}"/>
              </a:ext>
            </a:extLst>
          </p:cNvPr>
          <p:cNvSpPr>
            <a:spLocks noGrp="1"/>
          </p:cNvSpPr>
          <p:nvPr>
            <p:ph type="body" sz="quarter" idx="47" hasCustomPrompt="1"/>
          </p:nvPr>
        </p:nvSpPr>
        <p:spPr>
          <a:xfrm>
            <a:off x="2270589" y="1458276"/>
            <a:ext cx="2688942" cy="4315146"/>
          </a:xfrm>
          <a:custGeom>
            <a:avLst/>
            <a:gdLst>
              <a:gd name="connsiteX0" fmla="*/ 0 w 2688942"/>
              <a:gd name="connsiteY0" fmla="*/ 0 h 4315146"/>
              <a:gd name="connsiteX1" fmla="*/ 2440747 w 2688942"/>
              <a:gd name="connsiteY1" fmla="*/ 0 h 4315146"/>
              <a:gd name="connsiteX2" fmla="*/ 2440747 w 2688942"/>
              <a:gd name="connsiteY2" fmla="*/ 826351 h 4315146"/>
              <a:gd name="connsiteX3" fmla="*/ 2688942 w 2688942"/>
              <a:gd name="connsiteY3" fmla="*/ 2157575 h 4315146"/>
              <a:gd name="connsiteX4" fmla="*/ 2440747 w 2688942"/>
              <a:gd name="connsiteY4" fmla="*/ 3488799 h 4315146"/>
              <a:gd name="connsiteX5" fmla="*/ 2440747 w 2688942"/>
              <a:gd name="connsiteY5" fmla="*/ 4315146 h 4315146"/>
              <a:gd name="connsiteX6" fmla="*/ 0 w 2688942"/>
              <a:gd name="connsiteY6" fmla="*/ 4315146 h 431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8942" h="4315146">
                <a:moveTo>
                  <a:pt x="0" y="0"/>
                </a:moveTo>
                <a:lnTo>
                  <a:pt x="2440747" y="0"/>
                </a:lnTo>
                <a:lnTo>
                  <a:pt x="2440747" y="826351"/>
                </a:lnTo>
                <a:lnTo>
                  <a:pt x="2688942" y="2157575"/>
                </a:lnTo>
                <a:lnTo>
                  <a:pt x="2440747" y="3488799"/>
                </a:lnTo>
                <a:lnTo>
                  <a:pt x="2440747" y="4315146"/>
                </a:lnTo>
                <a:lnTo>
                  <a:pt x="0" y="4315146"/>
                </a:lnTo>
                <a:close/>
              </a:path>
            </a:pathLst>
          </a:custGeom>
          <a:solidFill>
            <a:schemeClr val="accent3"/>
          </a:solidFill>
        </p:spPr>
        <p:txBody>
          <a:bodyPr wrap="square" lIns="252000" tIns="684000" rIns="216000" bIns="144000">
            <a:noAutofit/>
          </a:bodyPr>
          <a:lstStyle>
            <a:lvl1pPr marL="0" indent="0">
              <a:buNone/>
              <a:defRPr sz="1200">
                <a:solidFill>
                  <a:schemeClr val="bg1"/>
                </a:solidFill>
                <a:latin typeface="+mj-lt"/>
              </a:defRPr>
            </a:lvl1pPr>
            <a:lvl2pPr marL="216000" indent="-216000">
              <a:buClr>
                <a:schemeClr val="accent1">
                  <a:lumMod val="50000"/>
                </a:schemeClr>
              </a:buClr>
              <a:buFont typeface="Arial" panose="020B0604020202020204" pitchFamily="34" charset="0"/>
              <a:buChar char="●"/>
              <a:defRPr sz="1100">
                <a:solidFill>
                  <a:schemeClr val="bg1"/>
                </a:solidFill>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r>
              <a:rPr lang="es-ES"/>
              <a:t>	</a:t>
            </a:r>
          </a:p>
        </p:txBody>
      </p:sp>
      <p:sp>
        <p:nvSpPr>
          <p:cNvPr id="21" name="Marcador de texto 20">
            <a:extLst>
              <a:ext uri="{FF2B5EF4-FFF2-40B4-BE49-F238E27FC236}">
                <a16:creationId xmlns:a16="http://schemas.microsoft.com/office/drawing/2014/main" id="{9E423BAC-C4D2-1232-54B4-75240878E87E}"/>
              </a:ext>
            </a:extLst>
          </p:cNvPr>
          <p:cNvSpPr>
            <a:spLocks noGrp="1"/>
          </p:cNvSpPr>
          <p:nvPr>
            <p:ph type="body" sz="quarter" idx="46"/>
          </p:nvPr>
        </p:nvSpPr>
        <p:spPr>
          <a:xfrm>
            <a:off x="701624" y="1458913"/>
            <a:ext cx="1568966" cy="4310605"/>
          </a:xfrm>
          <a:prstGeom prst="rect">
            <a:avLst/>
          </a:prstGeom>
          <a:solidFill>
            <a:schemeClr val="accent2"/>
          </a:solidFill>
        </p:spPr>
        <p:txBody>
          <a:bodyPr lIns="252000" tIns="396000" rIns="72000" bIns="144000"/>
          <a:lstStyle>
            <a:lvl1pPr marL="0" indent="0">
              <a:buNone/>
              <a:defRPr lang="es-ES" sz="1600" b="1" kern="1200" smtClean="0">
                <a:solidFill>
                  <a:schemeClr val="bg1"/>
                </a:solidFill>
                <a:latin typeface="+mj-lt"/>
                <a:ea typeface="+mn-ea"/>
                <a:cs typeface="+mn-cs"/>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endParaRPr lang="es-ES"/>
          </a:p>
        </p:txBody>
      </p:sp>
      <p:sp>
        <p:nvSpPr>
          <p:cNvPr id="46" name="Marcador de texto 45">
            <a:extLst>
              <a:ext uri="{FF2B5EF4-FFF2-40B4-BE49-F238E27FC236}">
                <a16:creationId xmlns:a16="http://schemas.microsoft.com/office/drawing/2014/main" id="{4118C0F6-8FEA-FBC7-78FE-0A588B6FF4B6}"/>
              </a:ext>
            </a:extLst>
          </p:cNvPr>
          <p:cNvSpPr>
            <a:spLocks noGrp="1"/>
          </p:cNvSpPr>
          <p:nvPr>
            <p:ph type="body" sz="quarter" idx="50"/>
          </p:nvPr>
        </p:nvSpPr>
        <p:spPr>
          <a:xfrm>
            <a:off x="5056868" y="1458913"/>
            <a:ext cx="2319977" cy="4310605"/>
          </a:xfrm>
          <a:prstGeom prst="rect">
            <a:avLst/>
          </a:prstGeom>
          <a:solidFill>
            <a:srgbClr val="DBCCBD"/>
          </a:solidFill>
        </p:spPr>
        <p:txBody>
          <a:bodyPr wrap="square" lIns="288000" tIns="180000" rIns="288000" bIns="180000" anchor="ctr">
            <a:noAutofit/>
          </a:bodyPr>
          <a:lstStyle>
            <a:lvl1pPr marL="0" indent="0" algn="ctr">
              <a:buNone/>
              <a:defRPr lang="es-ES" sz="1600" b="1" kern="1200" smtClean="0">
                <a:solidFill>
                  <a:schemeClr val="bg1"/>
                </a:solidFill>
                <a:latin typeface="+mj-lt"/>
                <a:ea typeface="+mn-ea"/>
                <a:cs typeface="+mn-cs"/>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endParaRPr lang="es-ES"/>
          </a:p>
        </p:txBody>
      </p:sp>
      <p:sp>
        <p:nvSpPr>
          <p:cNvPr id="5" name="Marcador de texto 4">
            <a:extLst>
              <a:ext uri="{FF2B5EF4-FFF2-40B4-BE49-F238E27FC236}">
                <a16:creationId xmlns:a16="http://schemas.microsoft.com/office/drawing/2014/main" id="{79520D56-EB73-8FBE-243C-0A0BF0AC95B0}"/>
              </a:ext>
            </a:extLst>
          </p:cNvPr>
          <p:cNvSpPr>
            <a:spLocks noGrp="1"/>
          </p:cNvSpPr>
          <p:nvPr>
            <p:ph type="body" sz="quarter" idx="51" hasCustomPrompt="1"/>
          </p:nvPr>
        </p:nvSpPr>
        <p:spPr>
          <a:xfrm flipH="1">
            <a:off x="7441475" y="1458276"/>
            <a:ext cx="2699120" cy="4315146"/>
          </a:xfrm>
          <a:custGeom>
            <a:avLst/>
            <a:gdLst>
              <a:gd name="connsiteX0" fmla="*/ 2448000 w 2699120"/>
              <a:gd name="connsiteY0" fmla="*/ 0 h 4315146"/>
              <a:gd name="connsiteX1" fmla="*/ 0 w 2699120"/>
              <a:gd name="connsiteY1" fmla="*/ 0 h 4315146"/>
              <a:gd name="connsiteX2" fmla="*/ 0 w 2699120"/>
              <a:gd name="connsiteY2" fmla="*/ 4315146 h 4315146"/>
              <a:gd name="connsiteX3" fmla="*/ 2448000 w 2699120"/>
              <a:gd name="connsiteY3" fmla="*/ 4315146 h 4315146"/>
              <a:gd name="connsiteX4" fmla="*/ 2448000 w 2699120"/>
              <a:gd name="connsiteY4" fmla="*/ 3504489 h 4315146"/>
              <a:gd name="connsiteX5" fmla="*/ 2699120 w 2699120"/>
              <a:gd name="connsiteY5" fmla="*/ 2157576 h 4315146"/>
              <a:gd name="connsiteX6" fmla="*/ 2448000 w 2699120"/>
              <a:gd name="connsiteY6" fmla="*/ 810663 h 431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99120" h="4315146">
                <a:moveTo>
                  <a:pt x="2448000" y="0"/>
                </a:moveTo>
                <a:lnTo>
                  <a:pt x="0" y="0"/>
                </a:lnTo>
                <a:lnTo>
                  <a:pt x="0" y="4315146"/>
                </a:lnTo>
                <a:lnTo>
                  <a:pt x="2448000" y="4315146"/>
                </a:lnTo>
                <a:lnTo>
                  <a:pt x="2448000" y="3504489"/>
                </a:lnTo>
                <a:lnTo>
                  <a:pt x="2699120" y="2157576"/>
                </a:lnTo>
                <a:lnTo>
                  <a:pt x="2448000" y="810663"/>
                </a:lnTo>
                <a:close/>
              </a:path>
            </a:pathLst>
          </a:custGeom>
          <a:solidFill>
            <a:schemeClr val="accent3"/>
          </a:solidFill>
        </p:spPr>
        <p:txBody>
          <a:bodyPr wrap="square" lIns="216000" tIns="684000" rIns="252000" bIns="144000">
            <a:noAutofit/>
          </a:bodyPr>
          <a:lstStyle>
            <a:lvl1pPr marL="0" indent="0" algn="r">
              <a:buNone/>
              <a:defRPr sz="1200">
                <a:solidFill>
                  <a:schemeClr val="bg1"/>
                </a:solidFill>
                <a:latin typeface="+mj-lt"/>
              </a:defRPr>
            </a:lvl1pPr>
            <a:lvl2pPr marL="216000" indent="-216000" algn="r">
              <a:buClr>
                <a:schemeClr val="accent1">
                  <a:lumMod val="50000"/>
                </a:schemeClr>
              </a:buClr>
              <a:buFont typeface="Arial" panose="020B0604020202020204" pitchFamily="34" charset="0"/>
              <a:buChar char="●"/>
              <a:defRPr sz="1100">
                <a:solidFill>
                  <a:schemeClr val="bg1"/>
                </a:solidFill>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48" name="Marcador de texto 20">
            <a:extLst>
              <a:ext uri="{FF2B5EF4-FFF2-40B4-BE49-F238E27FC236}">
                <a16:creationId xmlns:a16="http://schemas.microsoft.com/office/drawing/2014/main" id="{48B500D9-05E7-DB16-B346-F0707C732A2B}"/>
              </a:ext>
            </a:extLst>
          </p:cNvPr>
          <p:cNvSpPr>
            <a:spLocks noGrp="1"/>
          </p:cNvSpPr>
          <p:nvPr>
            <p:ph type="body" sz="quarter" idx="52"/>
          </p:nvPr>
        </p:nvSpPr>
        <p:spPr>
          <a:xfrm>
            <a:off x="10140595" y="1458913"/>
            <a:ext cx="1568966" cy="4310605"/>
          </a:xfrm>
          <a:prstGeom prst="rect">
            <a:avLst/>
          </a:prstGeom>
          <a:solidFill>
            <a:schemeClr val="accent2"/>
          </a:solidFill>
        </p:spPr>
        <p:txBody>
          <a:bodyPr lIns="72000" tIns="396000" rIns="252000" bIns="144000"/>
          <a:lstStyle>
            <a:lvl1pPr marL="0" indent="0" algn="r">
              <a:buNone/>
              <a:defRPr lang="es-ES" sz="1600" b="1" kern="1200" smtClean="0">
                <a:solidFill>
                  <a:schemeClr val="bg1"/>
                </a:solidFill>
                <a:latin typeface="+mj-lt"/>
                <a:ea typeface="+mn-ea"/>
                <a:cs typeface="+mn-cs"/>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endParaRPr lang="es-ES"/>
          </a:p>
        </p:txBody>
      </p:sp>
      <p:sp>
        <p:nvSpPr>
          <p:cNvPr id="8" name="Marcador de número de diapositiva 5">
            <a:extLst>
              <a:ext uri="{FF2B5EF4-FFF2-40B4-BE49-F238E27FC236}">
                <a16:creationId xmlns:a16="http://schemas.microsoft.com/office/drawing/2014/main" id="{4EE6E476-1E15-CE3B-6ECC-EF97B5859871}"/>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11" name="Footnotes">
            <a:extLst>
              <a:ext uri="{FF2B5EF4-FFF2-40B4-BE49-F238E27FC236}">
                <a16:creationId xmlns:a16="http://schemas.microsoft.com/office/drawing/2014/main" id="{544E1AF4-3735-13E8-8B70-61033297D5F6}"/>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2042DCE6-EF15-8B5A-882D-3893073FE5C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86D1B7A6-36C6-F698-9608-4A72E15ACAA0}"/>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10" name="Marcador de texto 14">
            <a:extLst>
              <a:ext uri="{FF2B5EF4-FFF2-40B4-BE49-F238E27FC236}">
                <a16:creationId xmlns:a16="http://schemas.microsoft.com/office/drawing/2014/main" id="{DA1A623E-DAA7-D62D-BCCD-AE41253BDD82}"/>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FBA69EA9-DE9B-1398-5C39-149150179D17}"/>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22293739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8_Header &amp; Content ">
    <p:spTree>
      <p:nvGrpSpPr>
        <p:cNvPr id="1" name=""/>
        <p:cNvGrpSpPr/>
        <p:nvPr/>
      </p:nvGrpSpPr>
      <p:grpSpPr>
        <a:xfrm>
          <a:off x="0" y="0"/>
          <a:ext cx="0" cy="0"/>
          <a:chOff x="0" y="0"/>
          <a:chExt cx="0" cy="0"/>
        </a:xfrm>
      </p:grpSpPr>
      <p:sp>
        <p:nvSpPr>
          <p:cNvPr id="15" name="Marcador de texto 14">
            <a:extLst>
              <a:ext uri="{FF2B5EF4-FFF2-40B4-BE49-F238E27FC236}">
                <a16:creationId xmlns:a16="http://schemas.microsoft.com/office/drawing/2014/main" id="{16AC9F8D-57B0-D3E5-ACBA-5D778F78A1CC}"/>
              </a:ext>
            </a:extLst>
          </p:cNvPr>
          <p:cNvSpPr>
            <a:spLocks noGrp="1"/>
          </p:cNvSpPr>
          <p:nvPr>
            <p:ph type="body" sz="quarter" idx="47" hasCustomPrompt="1"/>
          </p:nvPr>
        </p:nvSpPr>
        <p:spPr>
          <a:xfrm>
            <a:off x="701624" y="2142934"/>
            <a:ext cx="5184000" cy="3630487"/>
          </a:xfrm>
          <a:prstGeom prst="rect">
            <a:avLst/>
          </a:prstGeom>
          <a:solidFill>
            <a:schemeClr val="accent3">
              <a:alpha val="60000"/>
            </a:schemeClr>
          </a:solidFill>
        </p:spPr>
        <p:txBody>
          <a:bodyPr wrap="square" lIns="252000" tIns="288000" rIns="252000" bIns="144000">
            <a:noAutofit/>
          </a:bodyPr>
          <a:lstStyle>
            <a:lvl1pPr marL="0" indent="0">
              <a:buNone/>
              <a:defRPr sz="1200">
                <a:solidFill>
                  <a:schemeClr val="tx2"/>
                </a:solidFill>
                <a:latin typeface="+mj-lt"/>
              </a:defRPr>
            </a:lvl1pPr>
            <a:lvl2pPr marL="216000" indent="-216000">
              <a:buClr>
                <a:schemeClr val="accent1">
                  <a:lumMod val="50000"/>
                </a:schemeClr>
              </a:buClr>
              <a:buFont typeface="Arial" panose="020B0604020202020204" pitchFamily="34" charset="0"/>
              <a:buChar char="●"/>
              <a:defRPr sz="1100">
                <a:solidFill>
                  <a:schemeClr val="tx2"/>
                </a:solidFill>
                <a:latin typeface="+mj-lt"/>
              </a:defRPr>
            </a:lvl2pPr>
          </a:lstStyle>
          <a:p>
            <a:pPr lvl="0"/>
            <a:r>
              <a:rPr lang="es-ES"/>
              <a:t>Click </a:t>
            </a:r>
            <a:r>
              <a:rPr lang="es-ES" err="1"/>
              <a:t>to</a:t>
            </a:r>
            <a:r>
              <a:rPr lang="es-ES"/>
              <a:t> </a:t>
            </a:r>
            <a:r>
              <a:rPr lang="es-ES" err="1"/>
              <a:t>add</a:t>
            </a:r>
            <a:r>
              <a:rPr lang="es-ES"/>
              <a:t> </a:t>
            </a:r>
            <a:r>
              <a:rPr lang="es-ES" err="1"/>
              <a:t>text</a:t>
            </a:r>
            <a:r>
              <a:rPr lang="es-ES"/>
              <a:t> 	</a:t>
            </a:r>
          </a:p>
          <a:p>
            <a:pPr lvl="1"/>
            <a:r>
              <a:rPr lang="es-ES"/>
              <a:t>Click </a:t>
            </a:r>
            <a:r>
              <a:rPr lang="es-ES" err="1"/>
              <a:t>to</a:t>
            </a:r>
            <a:r>
              <a:rPr lang="es-ES"/>
              <a:t> </a:t>
            </a:r>
            <a:r>
              <a:rPr lang="es-ES" err="1"/>
              <a:t>add</a:t>
            </a:r>
            <a:r>
              <a:rPr lang="es-ES"/>
              <a:t> </a:t>
            </a:r>
            <a:r>
              <a:rPr lang="es-ES" err="1"/>
              <a:t>text</a:t>
            </a:r>
            <a:endParaRPr lang="es-ES"/>
          </a:p>
        </p:txBody>
      </p:sp>
      <p:sp>
        <p:nvSpPr>
          <p:cNvPr id="18" name="Marcador de texto 20">
            <a:extLst>
              <a:ext uri="{FF2B5EF4-FFF2-40B4-BE49-F238E27FC236}">
                <a16:creationId xmlns:a16="http://schemas.microsoft.com/office/drawing/2014/main" id="{0EDB9612-BF38-6E94-7043-2BBC436A3258}"/>
              </a:ext>
            </a:extLst>
          </p:cNvPr>
          <p:cNvSpPr>
            <a:spLocks noGrp="1"/>
          </p:cNvSpPr>
          <p:nvPr>
            <p:ph type="body" sz="quarter" idx="46"/>
          </p:nvPr>
        </p:nvSpPr>
        <p:spPr>
          <a:xfrm>
            <a:off x="701624" y="1458913"/>
            <a:ext cx="5184000" cy="684021"/>
          </a:xfrm>
          <a:prstGeom prst="rect">
            <a:avLst/>
          </a:prstGeom>
          <a:solidFill>
            <a:schemeClr val="accent2"/>
          </a:solidFill>
        </p:spPr>
        <p:txBody>
          <a:bodyPr lIns="216000" tIns="108000" rIns="216000" bIns="72000" anchor="ctr"/>
          <a:lstStyle>
            <a:lvl1pPr marL="0" indent="0">
              <a:buNone/>
              <a:defRPr lang="es-ES" sz="1600" b="1" kern="1200" smtClean="0">
                <a:solidFill>
                  <a:schemeClr val="bg1"/>
                </a:solidFill>
                <a:latin typeface="+mj-lt"/>
                <a:ea typeface="+mn-ea"/>
                <a:cs typeface="+mn-cs"/>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endParaRPr lang="es-ES"/>
          </a:p>
        </p:txBody>
      </p:sp>
      <p:sp>
        <p:nvSpPr>
          <p:cNvPr id="19" name="Marcador de texto 18">
            <a:extLst>
              <a:ext uri="{FF2B5EF4-FFF2-40B4-BE49-F238E27FC236}">
                <a16:creationId xmlns:a16="http://schemas.microsoft.com/office/drawing/2014/main" id="{FC57A7FF-2391-E520-5F4B-761E17FC1AD8}"/>
              </a:ext>
            </a:extLst>
          </p:cNvPr>
          <p:cNvSpPr>
            <a:spLocks noGrp="1"/>
          </p:cNvSpPr>
          <p:nvPr>
            <p:ph type="body" sz="quarter" idx="48" hasCustomPrompt="1"/>
          </p:nvPr>
        </p:nvSpPr>
        <p:spPr>
          <a:xfrm>
            <a:off x="6331863" y="2142934"/>
            <a:ext cx="5184000" cy="3630487"/>
          </a:xfrm>
          <a:prstGeom prst="rect">
            <a:avLst/>
          </a:prstGeom>
          <a:solidFill>
            <a:schemeClr val="accent5">
              <a:alpha val="40000"/>
            </a:schemeClr>
          </a:solidFill>
        </p:spPr>
        <p:txBody>
          <a:bodyPr wrap="square" lIns="252000" tIns="288000" rIns="252000" bIns="144000">
            <a:noAutofit/>
          </a:bodyPr>
          <a:lstStyle>
            <a:lvl1pPr marL="0" indent="0">
              <a:buNone/>
              <a:defRPr sz="1200">
                <a:solidFill>
                  <a:schemeClr val="tx1">
                    <a:lumMod val="75000"/>
                  </a:schemeClr>
                </a:solidFill>
                <a:latin typeface="+mj-lt"/>
              </a:defRPr>
            </a:lvl1pPr>
            <a:lvl2pPr marL="216000" indent="-216000">
              <a:buClr>
                <a:srgbClr val="EC0000"/>
              </a:buClr>
              <a:buFont typeface="Arial" panose="020B0604020202020204" pitchFamily="34" charset="0"/>
              <a:buChar char="●"/>
              <a:defRPr sz="1100">
                <a:solidFill>
                  <a:schemeClr val="tx1">
                    <a:lumMod val="75000"/>
                  </a:schemeClr>
                </a:solidFill>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20" name="Marcador de texto 20">
            <a:extLst>
              <a:ext uri="{FF2B5EF4-FFF2-40B4-BE49-F238E27FC236}">
                <a16:creationId xmlns:a16="http://schemas.microsoft.com/office/drawing/2014/main" id="{FC677175-5A3A-8552-3B38-5ABE1136AEA0}"/>
              </a:ext>
            </a:extLst>
          </p:cNvPr>
          <p:cNvSpPr>
            <a:spLocks noGrp="1"/>
          </p:cNvSpPr>
          <p:nvPr>
            <p:ph type="body" sz="quarter" idx="49"/>
          </p:nvPr>
        </p:nvSpPr>
        <p:spPr>
          <a:xfrm>
            <a:off x="6331863" y="1458913"/>
            <a:ext cx="5184000" cy="684021"/>
          </a:xfrm>
          <a:prstGeom prst="rect">
            <a:avLst/>
          </a:prstGeom>
          <a:solidFill>
            <a:schemeClr val="accent6"/>
          </a:solidFill>
        </p:spPr>
        <p:txBody>
          <a:bodyPr lIns="216000" tIns="108000" rIns="216000" bIns="72000" anchor="ctr"/>
          <a:lstStyle>
            <a:lvl1pPr marL="0" indent="0">
              <a:buNone/>
              <a:defRPr lang="es-ES" sz="1600" b="1" kern="1200" smtClean="0">
                <a:solidFill>
                  <a:schemeClr val="bg1"/>
                </a:solidFill>
                <a:latin typeface="+mj-lt"/>
                <a:ea typeface="+mn-ea"/>
                <a:cs typeface="+mn-cs"/>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endParaRPr lang="es-ES"/>
          </a:p>
        </p:txBody>
      </p:sp>
      <p:sp>
        <p:nvSpPr>
          <p:cNvPr id="5" name="Marcador de número de diapositiva 5">
            <a:extLst>
              <a:ext uri="{FF2B5EF4-FFF2-40B4-BE49-F238E27FC236}">
                <a16:creationId xmlns:a16="http://schemas.microsoft.com/office/drawing/2014/main" id="{1F23C825-8E86-FC94-F666-9E5362F43603}"/>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50C8E24B-5619-B3BE-6101-974D83C73DB8}"/>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116A0AE2-25D6-090A-03BC-60E80003654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F60D1CE5-9478-F8A7-233F-393330BF7B19}"/>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8A3D7F3C-3810-4C8B-27C9-3211E3E0605A}"/>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E6E9DF23-C5D1-E23A-5986-7993DC4CFD96}"/>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13765223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9_Header &amp; Content ">
    <p:spTree>
      <p:nvGrpSpPr>
        <p:cNvPr id="1" name=""/>
        <p:cNvGrpSpPr/>
        <p:nvPr/>
      </p:nvGrpSpPr>
      <p:grpSpPr>
        <a:xfrm>
          <a:off x="0" y="0"/>
          <a:ext cx="0" cy="0"/>
          <a:chOff x="0" y="0"/>
          <a:chExt cx="0" cy="0"/>
        </a:xfrm>
      </p:grpSpPr>
      <p:sp>
        <p:nvSpPr>
          <p:cNvPr id="15" name="Marcador de texto 14">
            <a:extLst>
              <a:ext uri="{FF2B5EF4-FFF2-40B4-BE49-F238E27FC236}">
                <a16:creationId xmlns:a16="http://schemas.microsoft.com/office/drawing/2014/main" id="{16AC9F8D-57B0-D3E5-ACBA-5D778F78A1CC}"/>
              </a:ext>
            </a:extLst>
          </p:cNvPr>
          <p:cNvSpPr>
            <a:spLocks noGrp="1"/>
          </p:cNvSpPr>
          <p:nvPr>
            <p:ph type="body" sz="quarter" idx="47"/>
          </p:nvPr>
        </p:nvSpPr>
        <p:spPr>
          <a:xfrm>
            <a:off x="3873357" y="1473191"/>
            <a:ext cx="7817500" cy="849598"/>
          </a:xfrm>
          <a:prstGeom prst="rect">
            <a:avLst/>
          </a:prstGeom>
          <a:solidFill>
            <a:schemeClr val="accent3">
              <a:alpha val="60000"/>
            </a:schemeClr>
          </a:solidFill>
        </p:spPr>
        <p:txBody>
          <a:bodyPr wrap="square" lIns="108000" tIns="108000" rIns="108000" bIns="108000">
            <a:noAutofit/>
          </a:bodyPr>
          <a:lstStyle>
            <a:lvl1pPr marL="171450" indent="-171450">
              <a:buClr>
                <a:srgbClr val="EC0000"/>
              </a:buClr>
              <a:buFont typeface="Arial" panose="020B0604020202020204" pitchFamily="34" charset="0"/>
              <a:buChar char="●"/>
              <a:defRPr sz="1200">
                <a:solidFill>
                  <a:schemeClr val="tx1">
                    <a:lumMod val="75000"/>
                  </a:schemeClr>
                </a:solidFill>
                <a:latin typeface="+mj-lt"/>
              </a:defRPr>
            </a:lvl1pPr>
            <a:lvl2pPr marL="252000" indent="-144000">
              <a:buClr>
                <a:schemeClr val="accent5">
                  <a:lumMod val="50000"/>
                </a:schemeClr>
              </a:buClr>
              <a:buFont typeface="Arial" panose="020B0604020202020204" pitchFamily="34" charset="0"/>
              <a:buChar char="●"/>
              <a:defRPr sz="1100">
                <a:solidFill>
                  <a:schemeClr val="tx1">
                    <a:lumMod val="75000"/>
                  </a:schemeClr>
                </a:solidFill>
              </a:defRPr>
            </a:lvl2pPr>
          </a:lstStyle>
          <a:p>
            <a:pPr lvl="0"/>
            <a:endParaRPr lang="es-ES"/>
          </a:p>
        </p:txBody>
      </p:sp>
      <p:sp>
        <p:nvSpPr>
          <p:cNvPr id="22" name="Marcador de texto 21">
            <a:extLst>
              <a:ext uri="{FF2B5EF4-FFF2-40B4-BE49-F238E27FC236}">
                <a16:creationId xmlns:a16="http://schemas.microsoft.com/office/drawing/2014/main" id="{7100149A-12ED-07CD-8349-53A54FB7EE8D}"/>
              </a:ext>
            </a:extLst>
          </p:cNvPr>
          <p:cNvSpPr>
            <a:spLocks noGrp="1"/>
          </p:cNvSpPr>
          <p:nvPr>
            <p:ph type="body" sz="quarter" idx="46"/>
          </p:nvPr>
        </p:nvSpPr>
        <p:spPr>
          <a:xfrm>
            <a:off x="701624" y="1487849"/>
            <a:ext cx="3080991" cy="831773"/>
          </a:xfrm>
          <a:custGeom>
            <a:avLst/>
            <a:gdLst>
              <a:gd name="connsiteX0" fmla="*/ 0 w 3080991"/>
              <a:gd name="connsiteY0" fmla="*/ 0 h 684021"/>
              <a:gd name="connsiteX1" fmla="*/ 3007347 w 3080991"/>
              <a:gd name="connsiteY1" fmla="*/ 0 h 684021"/>
              <a:gd name="connsiteX2" fmla="*/ 3007347 w 3080991"/>
              <a:gd name="connsiteY2" fmla="*/ 191306 h 684021"/>
              <a:gd name="connsiteX3" fmla="*/ 3080991 w 3080991"/>
              <a:gd name="connsiteY3" fmla="*/ 342011 h 684021"/>
              <a:gd name="connsiteX4" fmla="*/ 3007347 w 3080991"/>
              <a:gd name="connsiteY4" fmla="*/ 492715 h 684021"/>
              <a:gd name="connsiteX5" fmla="*/ 3007347 w 3080991"/>
              <a:gd name="connsiteY5" fmla="*/ 684021 h 684021"/>
              <a:gd name="connsiteX6" fmla="*/ 0 w 3080991"/>
              <a:gd name="connsiteY6" fmla="*/ 684021 h 684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80991" h="684021">
                <a:moveTo>
                  <a:pt x="0" y="0"/>
                </a:moveTo>
                <a:lnTo>
                  <a:pt x="3007347" y="0"/>
                </a:lnTo>
                <a:lnTo>
                  <a:pt x="3007347" y="191306"/>
                </a:lnTo>
                <a:lnTo>
                  <a:pt x="3080991" y="342011"/>
                </a:lnTo>
                <a:lnTo>
                  <a:pt x="3007347" y="492715"/>
                </a:lnTo>
                <a:lnTo>
                  <a:pt x="3007347" y="684021"/>
                </a:lnTo>
                <a:lnTo>
                  <a:pt x="0" y="684021"/>
                </a:lnTo>
                <a:close/>
              </a:path>
            </a:pathLst>
          </a:custGeom>
          <a:solidFill>
            <a:schemeClr val="accent2"/>
          </a:solidFill>
        </p:spPr>
        <p:txBody>
          <a:bodyPr wrap="square" lIns="216000" tIns="108000" rIns="216000" bIns="72000" anchor="ctr">
            <a:noAutofit/>
          </a:bodyPr>
          <a:lstStyle>
            <a:lvl1pPr marL="0" indent="0">
              <a:buNone/>
              <a:defRPr lang="es-ES" sz="1400" b="1" kern="1200" smtClean="0">
                <a:solidFill>
                  <a:schemeClr val="bg1"/>
                </a:solidFill>
                <a:latin typeface="+mj-lt"/>
                <a:ea typeface="+mn-ea"/>
                <a:cs typeface="+mn-cs"/>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endParaRPr lang="es-ES"/>
          </a:p>
        </p:txBody>
      </p:sp>
      <p:cxnSp>
        <p:nvCxnSpPr>
          <p:cNvPr id="23" name="Straight Connector 61">
            <a:extLst>
              <a:ext uri="{FF2B5EF4-FFF2-40B4-BE49-F238E27FC236}">
                <a16:creationId xmlns:a16="http://schemas.microsoft.com/office/drawing/2014/main" id="{E11F37C3-B737-4B79-118E-1916A6265371}"/>
              </a:ext>
            </a:extLst>
          </p:cNvPr>
          <p:cNvCxnSpPr>
            <a:cxnSpLocks/>
          </p:cNvCxnSpPr>
          <p:nvPr userDrawn="1"/>
        </p:nvCxnSpPr>
        <p:spPr>
          <a:xfrm>
            <a:off x="714703" y="2478765"/>
            <a:ext cx="11014842" cy="0"/>
          </a:xfrm>
          <a:prstGeom prst="line">
            <a:avLst/>
          </a:prstGeom>
          <a:ln w="22225" cap="rnd">
            <a:solidFill>
              <a:schemeClr val="tx2">
                <a:lumMod val="50000"/>
                <a:lumOff val="50000"/>
                <a:alpha val="46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6" name="Marcador de texto 14">
            <a:extLst>
              <a:ext uri="{FF2B5EF4-FFF2-40B4-BE49-F238E27FC236}">
                <a16:creationId xmlns:a16="http://schemas.microsoft.com/office/drawing/2014/main" id="{D46D3732-B6D6-9E11-D7F3-CD781D6E75D4}"/>
              </a:ext>
            </a:extLst>
          </p:cNvPr>
          <p:cNvSpPr>
            <a:spLocks noGrp="1"/>
          </p:cNvSpPr>
          <p:nvPr>
            <p:ph type="body" sz="quarter" idx="48"/>
          </p:nvPr>
        </p:nvSpPr>
        <p:spPr>
          <a:xfrm>
            <a:off x="3873357" y="2629329"/>
            <a:ext cx="7817500" cy="849598"/>
          </a:xfrm>
          <a:prstGeom prst="rect">
            <a:avLst/>
          </a:prstGeom>
          <a:solidFill>
            <a:schemeClr val="accent3">
              <a:alpha val="60000"/>
            </a:schemeClr>
          </a:solidFill>
        </p:spPr>
        <p:txBody>
          <a:bodyPr wrap="square" lIns="108000" tIns="108000" rIns="108000" bIns="108000">
            <a:noAutofit/>
          </a:bodyPr>
          <a:lstStyle>
            <a:lvl1pPr marL="171450" indent="-171450">
              <a:buClr>
                <a:srgbClr val="EC0000"/>
              </a:buClr>
              <a:buFont typeface="Arial" panose="020B0604020202020204" pitchFamily="34" charset="0"/>
              <a:buChar char="●"/>
              <a:defRPr sz="1200">
                <a:solidFill>
                  <a:schemeClr val="tx1">
                    <a:lumMod val="75000"/>
                  </a:schemeClr>
                </a:solidFill>
                <a:latin typeface="+mj-lt"/>
              </a:defRPr>
            </a:lvl1pPr>
            <a:lvl2pPr marL="252000" indent="-144000">
              <a:buClr>
                <a:schemeClr val="accent5">
                  <a:lumMod val="50000"/>
                </a:schemeClr>
              </a:buClr>
              <a:buFont typeface="Arial" panose="020B0604020202020204" pitchFamily="34" charset="0"/>
              <a:buChar char="●"/>
              <a:defRPr sz="1100">
                <a:solidFill>
                  <a:schemeClr val="tx1">
                    <a:lumMod val="75000"/>
                  </a:schemeClr>
                </a:solidFill>
              </a:defRPr>
            </a:lvl2pPr>
          </a:lstStyle>
          <a:p>
            <a:pPr lvl="0"/>
            <a:endParaRPr lang="es-ES"/>
          </a:p>
        </p:txBody>
      </p:sp>
      <p:sp>
        <p:nvSpPr>
          <p:cNvPr id="37" name="Marcador de texto 36">
            <a:extLst>
              <a:ext uri="{FF2B5EF4-FFF2-40B4-BE49-F238E27FC236}">
                <a16:creationId xmlns:a16="http://schemas.microsoft.com/office/drawing/2014/main" id="{13E8750D-3A75-BD23-1DAE-93DD5A106F03}"/>
              </a:ext>
            </a:extLst>
          </p:cNvPr>
          <p:cNvSpPr>
            <a:spLocks noGrp="1"/>
          </p:cNvSpPr>
          <p:nvPr>
            <p:ph type="body" sz="quarter" idx="49"/>
          </p:nvPr>
        </p:nvSpPr>
        <p:spPr>
          <a:xfrm>
            <a:off x="701624" y="2643987"/>
            <a:ext cx="3080991" cy="831773"/>
          </a:xfrm>
          <a:custGeom>
            <a:avLst/>
            <a:gdLst>
              <a:gd name="connsiteX0" fmla="*/ 0 w 3080991"/>
              <a:gd name="connsiteY0" fmla="*/ 0 h 684021"/>
              <a:gd name="connsiteX1" fmla="*/ 3007347 w 3080991"/>
              <a:gd name="connsiteY1" fmla="*/ 0 h 684021"/>
              <a:gd name="connsiteX2" fmla="*/ 3007347 w 3080991"/>
              <a:gd name="connsiteY2" fmla="*/ 191306 h 684021"/>
              <a:gd name="connsiteX3" fmla="*/ 3080991 w 3080991"/>
              <a:gd name="connsiteY3" fmla="*/ 342011 h 684021"/>
              <a:gd name="connsiteX4" fmla="*/ 3007347 w 3080991"/>
              <a:gd name="connsiteY4" fmla="*/ 492715 h 684021"/>
              <a:gd name="connsiteX5" fmla="*/ 3007347 w 3080991"/>
              <a:gd name="connsiteY5" fmla="*/ 684021 h 684021"/>
              <a:gd name="connsiteX6" fmla="*/ 0 w 3080991"/>
              <a:gd name="connsiteY6" fmla="*/ 684021 h 684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80991" h="684021">
                <a:moveTo>
                  <a:pt x="0" y="0"/>
                </a:moveTo>
                <a:lnTo>
                  <a:pt x="3007347" y="0"/>
                </a:lnTo>
                <a:lnTo>
                  <a:pt x="3007347" y="191306"/>
                </a:lnTo>
                <a:lnTo>
                  <a:pt x="3080991" y="342011"/>
                </a:lnTo>
                <a:lnTo>
                  <a:pt x="3007347" y="492715"/>
                </a:lnTo>
                <a:lnTo>
                  <a:pt x="3007347" y="684021"/>
                </a:lnTo>
                <a:lnTo>
                  <a:pt x="0" y="684021"/>
                </a:lnTo>
                <a:close/>
              </a:path>
            </a:pathLst>
          </a:custGeom>
          <a:solidFill>
            <a:schemeClr val="accent2"/>
          </a:solidFill>
        </p:spPr>
        <p:txBody>
          <a:bodyPr wrap="square" lIns="216000" tIns="108000" rIns="216000" bIns="72000" anchor="ctr">
            <a:noAutofit/>
          </a:bodyPr>
          <a:lstStyle>
            <a:lvl1pPr marL="0" indent="0">
              <a:buNone/>
              <a:defRPr lang="es-ES" sz="1400" b="1" kern="1200" smtClean="0">
                <a:solidFill>
                  <a:schemeClr val="bg1"/>
                </a:solidFill>
                <a:latin typeface="+mj-lt"/>
                <a:ea typeface="+mn-ea"/>
                <a:cs typeface="+mn-cs"/>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endParaRPr lang="es-ES"/>
          </a:p>
        </p:txBody>
      </p:sp>
      <p:cxnSp>
        <p:nvCxnSpPr>
          <p:cNvPr id="38" name="Straight Connector 61">
            <a:extLst>
              <a:ext uri="{FF2B5EF4-FFF2-40B4-BE49-F238E27FC236}">
                <a16:creationId xmlns:a16="http://schemas.microsoft.com/office/drawing/2014/main" id="{50316B11-3DCB-0C54-803B-B1D7D5F15554}"/>
              </a:ext>
            </a:extLst>
          </p:cNvPr>
          <p:cNvCxnSpPr>
            <a:cxnSpLocks/>
          </p:cNvCxnSpPr>
          <p:nvPr userDrawn="1"/>
        </p:nvCxnSpPr>
        <p:spPr>
          <a:xfrm>
            <a:off x="714703" y="3634903"/>
            <a:ext cx="11014842" cy="0"/>
          </a:xfrm>
          <a:prstGeom prst="line">
            <a:avLst/>
          </a:prstGeom>
          <a:ln w="22225" cap="rnd">
            <a:solidFill>
              <a:schemeClr val="tx2">
                <a:lumMod val="50000"/>
                <a:lumOff val="50000"/>
                <a:alpha val="46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9" name="Marcador de texto 14">
            <a:extLst>
              <a:ext uri="{FF2B5EF4-FFF2-40B4-BE49-F238E27FC236}">
                <a16:creationId xmlns:a16="http://schemas.microsoft.com/office/drawing/2014/main" id="{21A763E1-9D6B-D005-A1EE-12642B8E5BFE}"/>
              </a:ext>
            </a:extLst>
          </p:cNvPr>
          <p:cNvSpPr>
            <a:spLocks noGrp="1"/>
          </p:cNvSpPr>
          <p:nvPr>
            <p:ph type="body" sz="quarter" idx="50"/>
          </p:nvPr>
        </p:nvSpPr>
        <p:spPr>
          <a:xfrm>
            <a:off x="3873357" y="3785467"/>
            <a:ext cx="7817500" cy="849598"/>
          </a:xfrm>
          <a:prstGeom prst="rect">
            <a:avLst/>
          </a:prstGeom>
          <a:solidFill>
            <a:schemeClr val="accent3">
              <a:alpha val="60000"/>
            </a:schemeClr>
          </a:solidFill>
        </p:spPr>
        <p:txBody>
          <a:bodyPr wrap="square" lIns="108000" tIns="108000" rIns="108000" bIns="108000">
            <a:noAutofit/>
          </a:bodyPr>
          <a:lstStyle>
            <a:lvl1pPr marL="171450" indent="-171450">
              <a:buClr>
                <a:srgbClr val="EC0000"/>
              </a:buClr>
              <a:buFont typeface="Arial" panose="020B0604020202020204" pitchFamily="34" charset="0"/>
              <a:buChar char="●"/>
              <a:defRPr sz="1200">
                <a:solidFill>
                  <a:schemeClr val="tx1">
                    <a:lumMod val="75000"/>
                  </a:schemeClr>
                </a:solidFill>
                <a:latin typeface="+mj-lt"/>
              </a:defRPr>
            </a:lvl1pPr>
            <a:lvl2pPr marL="252000" indent="-144000">
              <a:buClr>
                <a:schemeClr val="accent5">
                  <a:lumMod val="50000"/>
                </a:schemeClr>
              </a:buClr>
              <a:buFont typeface="Arial" panose="020B0604020202020204" pitchFamily="34" charset="0"/>
              <a:buChar char="●"/>
              <a:defRPr sz="1100">
                <a:solidFill>
                  <a:schemeClr val="tx1">
                    <a:lumMod val="75000"/>
                  </a:schemeClr>
                </a:solidFill>
              </a:defRPr>
            </a:lvl2pPr>
          </a:lstStyle>
          <a:p>
            <a:pPr lvl="0"/>
            <a:endParaRPr lang="es-ES"/>
          </a:p>
        </p:txBody>
      </p:sp>
      <p:sp>
        <p:nvSpPr>
          <p:cNvPr id="40" name="Marcador de texto 39">
            <a:extLst>
              <a:ext uri="{FF2B5EF4-FFF2-40B4-BE49-F238E27FC236}">
                <a16:creationId xmlns:a16="http://schemas.microsoft.com/office/drawing/2014/main" id="{820FAF80-3AF4-6F55-69D6-ACEE65911A6C}"/>
              </a:ext>
            </a:extLst>
          </p:cNvPr>
          <p:cNvSpPr>
            <a:spLocks noGrp="1"/>
          </p:cNvSpPr>
          <p:nvPr>
            <p:ph type="body" sz="quarter" idx="51"/>
          </p:nvPr>
        </p:nvSpPr>
        <p:spPr>
          <a:xfrm>
            <a:off x="701624" y="3800125"/>
            <a:ext cx="3080991" cy="831773"/>
          </a:xfrm>
          <a:custGeom>
            <a:avLst/>
            <a:gdLst>
              <a:gd name="connsiteX0" fmla="*/ 0 w 3080991"/>
              <a:gd name="connsiteY0" fmla="*/ 0 h 684021"/>
              <a:gd name="connsiteX1" fmla="*/ 3007347 w 3080991"/>
              <a:gd name="connsiteY1" fmla="*/ 0 h 684021"/>
              <a:gd name="connsiteX2" fmla="*/ 3007347 w 3080991"/>
              <a:gd name="connsiteY2" fmla="*/ 191306 h 684021"/>
              <a:gd name="connsiteX3" fmla="*/ 3080991 w 3080991"/>
              <a:gd name="connsiteY3" fmla="*/ 342011 h 684021"/>
              <a:gd name="connsiteX4" fmla="*/ 3007347 w 3080991"/>
              <a:gd name="connsiteY4" fmla="*/ 492715 h 684021"/>
              <a:gd name="connsiteX5" fmla="*/ 3007347 w 3080991"/>
              <a:gd name="connsiteY5" fmla="*/ 684021 h 684021"/>
              <a:gd name="connsiteX6" fmla="*/ 0 w 3080991"/>
              <a:gd name="connsiteY6" fmla="*/ 684021 h 684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80991" h="684021">
                <a:moveTo>
                  <a:pt x="0" y="0"/>
                </a:moveTo>
                <a:lnTo>
                  <a:pt x="3007347" y="0"/>
                </a:lnTo>
                <a:lnTo>
                  <a:pt x="3007347" y="191306"/>
                </a:lnTo>
                <a:lnTo>
                  <a:pt x="3080991" y="342011"/>
                </a:lnTo>
                <a:lnTo>
                  <a:pt x="3007347" y="492715"/>
                </a:lnTo>
                <a:lnTo>
                  <a:pt x="3007347" y="684021"/>
                </a:lnTo>
                <a:lnTo>
                  <a:pt x="0" y="684021"/>
                </a:lnTo>
                <a:close/>
              </a:path>
            </a:pathLst>
          </a:custGeom>
          <a:solidFill>
            <a:schemeClr val="accent2"/>
          </a:solidFill>
        </p:spPr>
        <p:txBody>
          <a:bodyPr wrap="square" lIns="216000" tIns="108000" rIns="216000" bIns="72000" anchor="ctr">
            <a:noAutofit/>
          </a:bodyPr>
          <a:lstStyle>
            <a:lvl1pPr marL="0" indent="0">
              <a:buNone/>
              <a:defRPr lang="es-ES" sz="1400" b="1" kern="1200" smtClean="0">
                <a:solidFill>
                  <a:schemeClr val="bg1"/>
                </a:solidFill>
                <a:latin typeface="+mj-lt"/>
                <a:ea typeface="+mn-ea"/>
                <a:cs typeface="+mn-cs"/>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endParaRPr lang="es-ES"/>
          </a:p>
        </p:txBody>
      </p:sp>
      <p:cxnSp>
        <p:nvCxnSpPr>
          <p:cNvPr id="41" name="Straight Connector 61">
            <a:extLst>
              <a:ext uri="{FF2B5EF4-FFF2-40B4-BE49-F238E27FC236}">
                <a16:creationId xmlns:a16="http://schemas.microsoft.com/office/drawing/2014/main" id="{3ADE78AA-E0EB-B91C-70D9-D287E2AF97DF}"/>
              </a:ext>
            </a:extLst>
          </p:cNvPr>
          <p:cNvCxnSpPr>
            <a:cxnSpLocks/>
          </p:cNvCxnSpPr>
          <p:nvPr userDrawn="1"/>
        </p:nvCxnSpPr>
        <p:spPr>
          <a:xfrm>
            <a:off x="714703" y="4791041"/>
            <a:ext cx="11014842" cy="0"/>
          </a:xfrm>
          <a:prstGeom prst="line">
            <a:avLst/>
          </a:prstGeom>
          <a:ln w="22225" cap="rnd">
            <a:solidFill>
              <a:schemeClr val="tx2">
                <a:lumMod val="50000"/>
                <a:lumOff val="50000"/>
                <a:alpha val="46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2" name="Marcador de texto 14">
            <a:extLst>
              <a:ext uri="{FF2B5EF4-FFF2-40B4-BE49-F238E27FC236}">
                <a16:creationId xmlns:a16="http://schemas.microsoft.com/office/drawing/2014/main" id="{37646D44-A220-0884-4F90-10B74498EFD9}"/>
              </a:ext>
            </a:extLst>
          </p:cNvPr>
          <p:cNvSpPr>
            <a:spLocks noGrp="1"/>
          </p:cNvSpPr>
          <p:nvPr>
            <p:ph type="body" sz="quarter" idx="52"/>
          </p:nvPr>
        </p:nvSpPr>
        <p:spPr>
          <a:xfrm>
            <a:off x="3873357" y="4931094"/>
            <a:ext cx="7817500" cy="849598"/>
          </a:xfrm>
          <a:prstGeom prst="rect">
            <a:avLst/>
          </a:prstGeom>
          <a:solidFill>
            <a:schemeClr val="accent3">
              <a:alpha val="60000"/>
            </a:schemeClr>
          </a:solidFill>
        </p:spPr>
        <p:txBody>
          <a:bodyPr wrap="square" lIns="108000" tIns="108000" rIns="108000" bIns="108000">
            <a:noAutofit/>
          </a:bodyPr>
          <a:lstStyle>
            <a:lvl1pPr marL="171450" indent="-171450">
              <a:buClr>
                <a:srgbClr val="EC0000"/>
              </a:buClr>
              <a:buFont typeface="Arial" panose="020B0604020202020204" pitchFamily="34" charset="0"/>
              <a:buChar char="●"/>
              <a:defRPr sz="1200">
                <a:solidFill>
                  <a:schemeClr val="tx1">
                    <a:lumMod val="75000"/>
                  </a:schemeClr>
                </a:solidFill>
                <a:latin typeface="+mj-lt"/>
              </a:defRPr>
            </a:lvl1pPr>
            <a:lvl2pPr marL="252000" indent="-144000">
              <a:buClr>
                <a:schemeClr val="accent5">
                  <a:lumMod val="50000"/>
                </a:schemeClr>
              </a:buClr>
              <a:buFont typeface="Arial" panose="020B0604020202020204" pitchFamily="34" charset="0"/>
              <a:buChar char="●"/>
              <a:defRPr sz="1100">
                <a:solidFill>
                  <a:schemeClr val="tx1">
                    <a:lumMod val="75000"/>
                  </a:schemeClr>
                </a:solidFill>
              </a:defRPr>
            </a:lvl2pPr>
          </a:lstStyle>
          <a:p>
            <a:pPr lvl="0"/>
            <a:endParaRPr lang="es-ES"/>
          </a:p>
        </p:txBody>
      </p:sp>
      <p:sp>
        <p:nvSpPr>
          <p:cNvPr id="43" name="Marcador de texto 42">
            <a:extLst>
              <a:ext uri="{FF2B5EF4-FFF2-40B4-BE49-F238E27FC236}">
                <a16:creationId xmlns:a16="http://schemas.microsoft.com/office/drawing/2014/main" id="{F7D52BC9-DBCF-52B4-0766-F8CDAE8FD9FF}"/>
              </a:ext>
            </a:extLst>
          </p:cNvPr>
          <p:cNvSpPr>
            <a:spLocks noGrp="1"/>
          </p:cNvSpPr>
          <p:nvPr>
            <p:ph type="body" sz="quarter" idx="53"/>
          </p:nvPr>
        </p:nvSpPr>
        <p:spPr>
          <a:xfrm>
            <a:off x="701624" y="4945752"/>
            <a:ext cx="3080991" cy="831773"/>
          </a:xfrm>
          <a:custGeom>
            <a:avLst/>
            <a:gdLst>
              <a:gd name="connsiteX0" fmla="*/ 0 w 3080991"/>
              <a:gd name="connsiteY0" fmla="*/ 0 h 684021"/>
              <a:gd name="connsiteX1" fmla="*/ 3007347 w 3080991"/>
              <a:gd name="connsiteY1" fmla="*/ 0 h 684021"/>
              <a:gd name="connsiteX2" fmla="*/ 3007347 w 3080991"/>
              <a:gd name="connsiteY2" fmla="*/ 191306 h 684021"/>
              <a:gd name="connsiteX3" fmla="*/ 3080991 w 3080991"/>
              <a:gd name="connsiteY3" fmla="*/ 342011 h 684021"/>
              <a:gd name="connsiteX4" fmla="*/ 3007347 w 3080991"/>
              <a:gd name="connsiteY4" fmla="*/ 492715 h 684021"/>
              <a:gd name="connsiteX5" fmla="*/ 3007347 w 3080991"/>
              <a:gd name="connsiteY5" fmla="*/ 684021 h 684021"/>
              <a:gd name="connsiteX6" fmla="*/ 0 w 3080991"/>
              <a:gd name="connsiteY6" fmla="*/ 684021 h 684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80991" h="684021">
                <a:moveTo>
                  <a:pt x="0" y="0"/>
                </a:moveTo>
                <a:lnTo>
                  <a:pt x="3007347" y="0"/>
                </a:lnTo>
                <a:lnTo>
                  <a:pt x="3007347" y="191306"/>
                </a:lnTo>
                <a:lnTo>
                  <a:pt x="3080991" y="342011"/>
                </a:lnTo>
                <a:lnTo>
                  <a:pt x="3007347" y="492715"/>
                </a:lnTo>
                <a:lnTo>
                  <a:pt x="3007347" y="684021"/>
                </a:lnTo>
                <a:lnTo>
                  <a:pt x="0" y="684021"/>
                </a:lnTo>
                <a:close/>
              </a:path>
            </a:pathLst>
          </a:custGeom>
          <a:solidFill>
            <a:schemeClr val="accent2"/>
          </a:solidFill>
        </p:spPr>
        <p:txBody>
          <a:bodyPr wrap="square" lIns="216000" tIns="108000" rIns="216000" bIns="72000" anchor="ctr">
            <a:noAutofit/>
          </a:bodyPr>
          <a:lstStyle>
            <a:lvl1pPr marL="0" indent="0">
              <a:buNone/>
              <a:defRPr lang="es-ES" sz="1400" b="1" kern="1200" smtClean="0">
                <a:solidFill>
                  <a:schemeClr val="bg1"/>
                </a:solidFill>
                <a:latin typeface="+mj-lt"/>
                <a:ea typeface="+mn-ea"/>
                <a:cs typeface="+mn-cs"/>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endParaRPr lang="es-ES"/>
          </a:p>
        </p:txBody>
      </p:sp>
      <p:sp>
        <p:nvSpPr>
          <p:cNvPr id="5" name="Marcador de número de diapositiva 5">
            <a:extLst>
              <a:ext uri="{FF2B5EF4-FFF2-40B4-BE49-F238E27FC236}">
                <a16:creationId xmlns:a16="http://schemas.microsoft.com/office/drawing/2014/main" id="{1DCD2057-A050-FA81-0F46-95C7B64BBF4B}"/>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30390C63-1D7A-070C-28DD-BCA2D14B1ABC}"/>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035AE35A-94E9-5456-5966-4E94B568BE1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E15DD410-9299-8831-2810-D2AB5D9F66CA}"/>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AB43EAC4-EA3F-2D68-C04A-408772753CDB}"/>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C12DB16F-11E6-95C7-AB0C-E06DD4EFE363}"/>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38432109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0_Header &amp; Content ">
    <p:spTree>
      <p:nvGrpSpPr>
        <p:cNvPr id="1" name=""/>
        <p:cNvGrpSpPr/>
        <p:nvPr/>
      </p:nvGrpSpPr>
      <p:grpSpPr>
        <a:xfrm>
          <a:off x="0" y="0"/>
          <a:ext cx="0" cy="0"/>
          <a:chOff x="0" y="0"/>
          <a:chExt cx="0" cy="0"/>
        </a:xfrm>
      </p:grpSpPr>
      <p:sp>
        <p:nvSpPr>
          <p:cNvPr id="18" name="Rectángulo 1">
            <a:extLst>
              <a:ext uri="{FF2B5EF4-FFF2-40B4-BE49-F238E27FC236}">
                <a16:creationId xmlns:a16="http://schemas.microsoft.com/office/drawing/2014/main" id="{A6AECEB6-C371-A19C-621C-2C06461F532A}"/>
              </a:ext>
            </a:extLst>
          </p:cNvPr>
          <p:cNvSpPr/>
          <p:nvPr userDrawn="1"/>
        </p:nvSpPr>
        <p:spPr>
          <a:xfrm>
            <a:off x="1884689" y="1480309"/>
            <a:ext cx="1554480" cy="4334256"/>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antander Headline" panose="020B0504020201020104" pitchFamily="34" charset="0"/>
              <a:ea typeface="+mn-ea"/>
              <a:cs typeface="+mn-cs"/>
            </a:endParaRPr>
          </a:p>
        </p:txBody>
      </p:sp>
      <p:sp>
        <p:nvSpPr>
          <p:cNvPr id="19" name="Rectángulo 1">
            <a:extLst>
              <a:ext uri="{FF2B5EF4-FFF2-40B4-BE49-F238E27FC236}">
                <a16:creationId xmlns:a16="http://schemas.microsoft.com/office/drawing/2014/main" id="{ED22714E-CEBA-3670-A68A-4275BE649802}"/>
              </a:ext>
            </a:extLst>
          </p:cNvPr>
          <p:cNvSpPr/>
          <p:nvPr userDrawn="1"/>
        </p:nvSpPr>
        <p:spPr>
          <a:xfrm>
            <a:off x="3553347" y="1480309"/>
            <a:ext cx="1554480" cy="4334256"/>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antander Headline" panose="020B0504020201020104" pitchFamily="34" charset="0"/>
              <a:ea typeface="+mn-ea"/>
              <a:cs typeface="+mn-cs"/>
            </a:endParaRPr>
          </a:p>
        </p:txBody>
      </p:sp>
      <p:sp>
        <p:nvSpPr>
          <p:cNvPr id="20" name="Rectángulo 1">
            <a:extLst>
              <a:ext uri="{FF2B5EF4-FFF2-40B4-BE49-F238E27FC236}">
                <a16:creationId xmlns:a16="http://schemas.microsoft.com/office/drawing/2014/main" id="{265069CF-A136-F91D-8C51-7524DBFAF573}"/>
              </a:ext>
            </a:extLst>
          </p:cNvPr>
          <p:cNvSpPr/>
          <p:nvPr userDrawn="1"/>
        </p:nvSpPr>
        <p:spPr>
          <a:xfrm>
            <a:off x="6056334" y="1480309"/>
            <a:ext cx="1828800" cy="4334256"/>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antander Headline" panose="020B0504020201020104" pitchFamily="34" charset="0"/>
              <a:ea typeface="+mn-ea"/>
              <a:cs typeface="+mn-cs"/>
            </a:endParaRPr>
          </a:p>
        </p:txBody>
      </p:sp>
      <p:sp>
        <p:nvSpPr>
          <p:cNvPr id="21" name="Rectángulo 1">
            <a:extLst>
              <a:ext uri="{FF2B5EF4-FFF2-40B4-BE49-F238E27FC236}">
                <a16:creationId xmlns:a16="http://schemas.microsoft.com/office/drawing/2014/main" id="{8939AA80-77FE-8459-832E-6197F0D256B8}"/>
              </a:ext>
            </a:extLst>
          </p:cNvPr>
          <p:cNvSpPr/>
          <p:nvPr userDrawn="1"/>
        </p:nvSpPr>
        <p:spPr>
          <a:xfrm>
            <a:off x="8029933" y="1480309"/>
            <a:ext cx="2011680" cy="4334256"/>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antander Headline" panose="020B0504020201020104" pitchFamily="34" charset="0"/>
              <a:ea typeface="+mn-ea"/>
              <a:cs typeface="+mn-cs"/>
            </a:endParaRPr>
          </a:p>
        </p:txBody>
      </p:sp>
      <p:graphicFrame>
        <p:nvGraphicFramePr>
          <p:cNvPr id="26" name="Gráfico 7">
            <a:extLst>
              <a:ext uri="{FF2B5EF4-FFF2-40B4-BE49-F238E27FC236}">
                <a16:creationId xmlns:a16="http://schemas.microsoft.com/office/drawing/2014/main" id="{6D781BF4-0668-9086-958C-8BD32901B514}"/>
              </a:ext>
            </a:extLst>
          </p:cNvPr>
          <p:cNvGraphicFramePr/>
          <p:nvPr userDrawn="1">
            <p:extLst>
              <p:ext uri="{D42A27DB-BD31-4B8C-83A1-F6EECF244321}">
                <p14:modId xmlns:p14="http://schemas.microsoft.com/office/powerpoint/2010/main" val="3309630750"/>
              </p:ext>
            </p:extLst>
          </p:nvPr>
        </p:nvGraphicFramePr>
        <p:xfrm>
          <a:off x="4289903" y="2313071"/>
          <a:ext cx="3413891" cy="2275927"/>
        </p:xfrm>
        <a:graphic>
          <a:graphicData uri="http://schemas.openxmlformats.org/drawingml/2006/chart">
            <c:chart xmlns:c="http://schemas.openxmlformats.org/drawingml/2006/chart" xmlns:r="http://schemas.openxmlformats.org/officeDocument/2006/relationships" r:id="rId2"/>
          </a:graphicData>
        </a:graphic>
      </p:graphicFrame>
      <p:sp>
        <p:nvSpPr>
          <p:cNvPr id="27" name="Marcador de posición de imagen 28">
            <a:extLst>
              <a:ext uri="{FF2B5EF4-FFF2-40B4-BE49-F238E27FC236}">
                <a16:creationId xmlns:a16="http://schemas.microsoft.com/office/drawing/2014/main" id="{34EA2A71-9E79-87D5-6A87-433443BB25E3}"/>
              </a:ext>
            </a:extLst>
          </p:cNvPr>
          <p:cNvSpPr>
            <a:spLocks noGrp="1"/>
          </p:cNvSpPr>
          <p:nvPr>
            <p:ph type="pic" sz="quarter" idx="60" hasCustomPrompt="1"/>
          </p:nvPr>
        </p:nvSpPr>
        <p:spPr>
          <a:xfrm>
            <a:off x="5747858" y="3032892"/>
            <a:ext cx="689138" cy="689138"/>
          </a:xfrm>
          <a:prstGeom prst="rect">
            <a:avLst/>
          </a:prstGeom>
        </p:spPr>
        <p:txBody>
          <a:bodyPr/>
          <a:lstStyle>
            <a:lvl1pPr marL="0" indent="0" algn="ctr">
              <a:buNone/>
              <a:defRPr sz="900">
                <a:latin typeface="Santander Headline" panose="020B0504020201020104" pitchFamily="34" charset="0"/>
              </a:defRPr>
            </a:lvl1pPr>
          </a:lstStyle>
          <a:p>
            <a:r>
              <a:rPr lang="es-ES" err="1"/>
              <a:t>Insert</a:t>
            </a:r>
            <a:r>
              <a:rPr lang="es-ES"/>
              <a:t> </a:t>
            </a:r>
            <a:r>
              <a:rPr lang="es-ES" err="1"/>
              <a:t>icon</a:t>
            </a:r>
            <a:r>
              <a:rPr lang="es-ES"/>
              <a:t> </a:t>
            </a:r>
          </a:p>
        </p:txBody>
      </p:sp>
      <p:sp>
        <p:nvSpPr>
          <p:cNvPr id="35" name="Marcador de texto 34">
            <a:extLst>
              <a:ext uri="{FF2B5EF4-FFF2-40B4-BE49-F238E27FC236}">
                <a16:creationId xmlns:a16="http://schemas.microsoft.com/office/drawing/2014/main" id="{71B85F43-7FF5-59BE-B626-FF91BDA9C434}"/>
              </a:ext>
            </a:extLst>
          </p:cNvPr>
          <p:cNvSpPr>
            <a:spLocks noGrp="1"/>
          </p:cNvSpPr>
          <p:nvPr>
            <p:ph type="body" sz="quarter" idx="61" hasCustomPrompt="1"/>
          </p:nvPr>
        </p:nvSpPr>
        <p:spPr>
          <a:xfrm>
            <a:off x="1252465" y="1479176"/>
            <a:ext cx="4366010" cy="1790555"/>
          </a:xfrm>
          <a:custGeom>
            <a:avLst/>
            <a:gdLst>
              <a:gd name="connsiteX0" fmla="*/ 0 w 4366010"/>
              <a:gd name="connsiteY0" fmla="*/ 0 h 1790555"/>
              <a:gd name="connsiteX1" fmla="*/ 4366010 w 4366010"/>
              <a:gd name="connsiteY1" fmla="*/ 0 h 1790555"/>
              <a:gd name="connsiteX2" fmla="*/ 4366010 w 4366010"/>
              <a:gd name="connsiteY2" fmla="*/ 782589 h 1790555"/>
              <a:gd name="connsiteX3" fmla="*/ 4352530 w 4366010"/>
              <a:gd name="connsiteY3" fmla="*/ 787523 h 1790555"/>
              <a:gd name="connsiteX4" fmla="*/ 3607732 w 4366010"/>
              <a:gd name="connsiteY4" fmla="*/ 1695602 h 1790555"/>
              <a:gd name="connsiteX5" fmla="*/ 3598160 w 4366010"/>
              <a:gd name="connsiteY5" fmla="*/ 1790555 h 1790555"/>
              <a:gd name="connsiteX6" fmla="*/ 0 w 4366010"/>
              <a:gd name="connsiteY6" fmla="*/ 1790555 h 179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6010" h="1790555">
                <a:moveTo>
                  <a:pt x="0" y="0"/>
                </a:moveTo>
                <a:lnTo>
                  <a:pt x="4366010" y="0"/>
                </a:lnTo>
                <a:lnTo>
                  <a:pt x="4366010" y="782589"/>
                </a:lnTo>
                <a:lnTo>
                  <a:pt x="4352530" y="787523"/>
                </a:lnTo>
                <a:cubicBezTo>
                  <a:pt x="3975241" y="947102"/>
                  <a:pt x="3691749" y="1285021"/>
                  <a:pt x="3607732" y="1695602"/>
                </a:cubicBezTo>
                <a:lnTo>
                  <a:pt x="3598160" y="1790555"/>
                </a:lnTo>
                <a:lnTo>
                  <a:pt x="0" y="1790555"/>
                </a:lnTo>
                <a:close/>
              </a:path>
            </a:pathLst>
          </a:custGeom>
          <a:noFill/>
        </p:spPr>
        <p:txBody>
          <a:bodyPr wrap="square">
            <a:noAutofit/>
          </a:bodyPr>
          <a:lstStyle>
            <a:lvl1pPr marL="0" indent="0">
              <a:spcBef>
                <a:spcPts val="0"/>
              </a:spcBef>
              <a:spcAft>
                <a:spcPts val="600"/>
              </a:spcAft>
              <a:buNone/>
              <a:defRPr sz="1400" b="1">
                <a:solidFill>
                  <a:schemeClr val="bg2">
                    <a:lumMod val="75000"/>
                  </a:schemeClr>
                </a:solidFill>
                <a:latin typeface="+mj-lt"/>
              </a:defRPr>
            </a:lvl1pPr>
            <a:lvl2pPr marL="180000" indent="-180000">
              <a:spcBef>
                <a:spcPts val="0"/>
              </a:spcBef>
              <a:spcAft>
                <a:spcPts val="600"/>
              </a:spcAft>
              <a:buClr>
                <a:schemeClr val="accent3"/>
              </a:buClr>
              <a:defRPr sz="1100">
                <a:solidFill>
                  <a:schemeClr val="tx1"/>
                </a:solidFill>
                <a:latin typeface="+mj-lt"/>
              </a:defRPr>
            </a:lvl2pPr>
            <a:lvl3pPr marL="396000" indent="-180000">
              <a:buClr>
                <a:schemeClr val="accent4"/>
              </a:buClr>
              <a:buFont typeface="Santander Text" panose="020B0504020201020104" pitchFamily="34" charset="0"/>
              <a:buChar char="–"/>
              <a:defRPr sz="1100">
                <a:latin typeface="+mj-lt"/>
              </a:defRPr>
            </a:lvl3pPr>
            <a:lvl4pPr marL="396000" indent="-180000">
              <a:buClr>
                <a:schemeClr val="accent4"/>
              </a:buClr>
              <a:buFont typeface="Santander Text" panose="020B0504020201020104" pitchFamily="34" charset="0"/>
              <a:buChar char="–"/>
              <a:defRPr sz="1100"/>
            </a:lvl4pPr>
            <a:lvl5pPr marL="396000" indent="-180000">
              <a:buClr>
                <a:schemeClr val="accent4"/>
              </a:buClr>
              <a:buFont typeface="Santander Text" panose="020B0504020201020104" pitchFamily="34" charset="0"/>
              <a:buChar char="–"/>
              <a:defRPr sz="1100"/>
            </a:lvl5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a:p>
            <a:pPr lvl="2"/>
            <a:r>
              <a:rPr lang="es-ES"/>
              <a:t>Click </a:t>
            </a:r>
            <a:r>
              <a:rPr lang="es-ES" err="1"/>
              <a:t>to</a:t>
            </a:r>
            <a:r>
              <a:rPr lang="es-ES"/>
              <a:t> </a:t>
            </a:r>
            <a:r>
              <a:rPr lang="es-ES" err="1"/>
              <a:t>add</a:t>
            </a:r>
            <a:r>
              <a:rPr lang="es-ES"/>
              <a:t> </a:t>
            </a:r>
            <a:r>
              <a:rPr lang="es-ES" err="1"/>
              <a:t>text</a:t>
            </a:r>
            <a:endParaRPr lang="es-ES"/>
          </a:p>
          <a:p>
            <a:pPr lvl="2"/>
            <a:r>
              <a:rPr lang="es-ES"/>
              <a:t>Click </a:t>
            </a:r>
            <a:r>
              <a:rPr lang="es-ES" err="1"/>
              <a:t>to</a:t>
            </a:r>
            <a:r>
              <a:rPr lang="es-ES"/>
              <a:t> </a:t>
            </a:r>
            <a:r>
              <a:rPr lang="es-ES" err="1"/>
              <a:t>add</a:t>
            </a:r>
            <a:r>
              <a:rPr lang="es-ES"/>
              <a:t> </a:t>
            </a:r>
            <a:r>
              <a:rPr lang="es-ES" err="1"/>
              <a:t>text</a:t>
            </a:r>
            <a:endParaRPr lang="es-ES"/>
          </a:p>
          <a:p>
            <a:pPr lvl="2"/>
            <a:r>
              <a:rPr lang="es-ES"/>
              <a:t>Click </a:t>
            </a:r>
            <a:r>
              <a:rPr lang="es-ES" err="1"/>
              <a:t>to</a:t>
            </a:r>
            <a:r>
              <a:rPr lang="es-ES"/>
              <a:t> </a:t>
            </a:r>
            <a:r>
              <a:rPr lang="es-ES" err="1"/>
              <a:t>add</a:t>
            </a:r>
            <a:r>
              <a:rPr lang="es-ES"/>
              <a:t> </a:t>
            </a:r>
            <a:r>
              <a:rPr lang="es-ES" err="1"/>
              <a:t>text</a:t>
            </a:r>
            <a:endParaRPr lang="es-ES"/>
          </a:p>
        </p:txBody>
      </p:sp>
      <p:sp>
        <p:nvSpPr>
          <p:cNvPr id="41" name="Marcador de texto 40">
            <a:extLst>
              <a:ext uri="{FF2B5EF4-FFF2-40B4-BE49-F238E27FC236}">
                <a16:creationId xmlns:a16="http://schemas.microsoft.com/office/drawing/2014/main" id="{EE93A7CB-8B92-EF58-039B-96D6E70446CC}"/>
              </a:ext>
            </a:extLst>
          </p:cNvPr>
          <p:cNvSpPr>
            <a:spLocks noGrp="1"/>
          </p:cNvSpPr>
          <p:nvPr>
            <p:ph type="body" sz="quarter" idx="62" hasCustomPrompt="1"/>
          </p:nvPr>
        </p:nvSpPr>
        <p:spPr>
          <a:xfrm>
            <a:off x="1252465" y="3560225"/>
            <a:ext cx="4366010" cy="1916680"/>
          </a:xfrm>
          <a:custGeom>
            <a:avLst/>
            <a:gdLst>
              <a:gd name="connsiteX0" fmla="*/ 0 w 4366010"/>
              <a:gd name="connsiteY0" fmla="*/ 0 h 1916680"/>
              <a:gd name="connsiteX1" fmla="*/ 3595333 w 4366010"/>
              <a:gd name="connsiteY1" fmla="*/ 0 h 1916680"/>
              <a:gd name="connsiteX2" fmla="*/ 3607732 w 4366010"/>
              <a:gd name="connsiteY2" fmla="*/ 122999 h 1916680"/>
              <a:gd name="connsiteX3" fmla="*/ 4352530 w 4366010"/>
              <a:gd name="connsiteY3" fmla="*/ 1031079 h 1916680"/>
              <a:gd name="connsiteX4" fmla="*/ 4366010 w 4366010"/>
              <a:gd name="connsiteY4" fmla="*/ 1036013 h 1916680"/>
              <a:gd name="connsiteX5" fmla="*/ 4366010 w 4366010"/>
              <a:gd name="connsiteY5" fmla="*/ 1916680 h 1916680"/>
              <a:gd name="connsiteX6" fmla="*/ 0 w 4366010"/>
              <a:gd name="connsiteY6" fmla="*/ 1916680 h 1916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6010" h="1916680">
                <a:moveTo>
                  <a:pt x="0" y="0"/>
                </a:moveTo>
                <a:lnTo>
                  <a:pt x="3595333" y="0"/>
                </a:lnTo>
                <a:lnTo>
                  <a:pt x="3607732" y="122999"/>
                </a:lnTo>
                <a:cubicBezTo>
                  <a:pt x="3691749" y="533580"/>
                  <a:pt x="3975241" y="871499"/>
                  <a:pt x="4352530" y="1031079"/>
                </a:cubicBezTo>
                <a:lnTo>
                  <a:pt x="4366010" y="1036013"/>
                </a:lnTo>
                <a:lnTo>
                  <a:pt x="4366010" y="1916680"/>
                </a:lnTo>
                <a:lnTo>
                  <a:pt x="0" y="1916680"/>
                </a:lnTo>
                <a:close/>
              </a:path>
            </a:pathLst>
          </a:custGeom>
          <a:noFill/>
        </p:spPr>
        <p:txBody>
          <a:bodyPr wrap="square">
            <a:noAutofit/>
          </a:bodyPr>
          <a:lstStyle>
            <a:lvl1pPr marL="0" indent="0">
              <a:spcBef>
                <a:spcPts val="0"/>
              </a:spcBef>
              <a:spcAft>
                <a:spcPts val="600"/>
              </a:spcAft>
              <a:buNone/>
              <a:defRPr sz="1400" b="1">
                <a:solidFill>
                  <a:srgbClr val="9AC4D4"/>
                </a:solidFill>
                <a:latin typeface="+mj-lt"/>
              </a:defRPr>
            </a:lvl1pPr>
            <a:lvl2pPr marL="180000" indent="-180000">
              <a:spcBef>
                <a:spcPts val="0"/>
              </a:spcBef>
              <a:spcAft>
                <a:spcPts val="600"/>
              </a:spcAft>
              <a:buClr>
                <a:schemeClr val="accent3"/>
              </a:buClr>
              <a:defRPr sz="1100">
                <a:solidFill>
                  <a:schemeClr val="tx1"/>
                </a:solidFill>
                <a:latin typeface="+mj-lt"/>
              </a:defRPr>
            </a:lvl2pPr>
            <a:lvl3pPr marL="396000" indent="-180000">
              <a:buClr>
                <a:schemeClr val="accent4"/>
              </a:buClr>
              <a:buFont typeface="Santander Text" panose="020B0504020201020104" pitchFamily="34" charset="0"/>
              <a:buChar char="–"/>
              <a:defRPr sz="1100">
                <a:latin typeface="+mj-lt"/>
              </a:defRPr>
            </a:lvl3pPr>
            <a:lvl4pPr marL="396000" indent="-180000">
              <a:buClr>
                <a:schemeClr val="accent4"/>
              </a:buClr>
              <a:buFont typeface="Santander Text" panose="020B0504020201020104" pitchFamily="34" charset="0"/>
              <a:buChar char="–"/>
              <a:defRPr sz="1100"/>
            </a:lvl4pPr>
            <a:lvl5pPr marL="396000" indent="-180000">
              <a:buClr>
                <a:schemeClr val="accent4"/>
              </a:buClr>
              <a:buFont typeface="Santander Text" panose="020B0504020201020104" pitchFamily="34" charset="0"/>
              <a:buChar char="–"/>
              <a:defRPr sz="1100"/>
            </a:lvl5pPr>
          </a:lstStyle>
          <a:p>
            <a:pPr lvl="0"/>
            <a:r>
              <a:rPr lang="es-ES"/>
              <a:t>Click </a:t>
            </a:r>
            <a:r>
              <a:rPr lang="es-ES" err="1"/>
              <a:t>to</a:t>
            </a:r>
            <a:r>
              <a:rPr lang="es-ES"/>
              <a:t> </a:t>
            </a:r>
            <a:r>
              <a:rPr lang="es-ES" err="1"/>
              <a:t>add</a:t>
            </a:r>
            <a:r>
              <a:rPr lang="es-ES"/>
              <a:t> </a:t>
            </a:r>
            <a:r>
              <a:rPr lang="es-ES" err="1"/>
              <a:t>text</a:t>
            </a:r>
            <a:endParaRPr lang="es-ES"/>
          </a:p>
          <a:p>
            <a:pPr lvl="1"/>
            <a:r>
              <a:rPr lang="es-ES"/>
              <a:t>Segundo nivel</a:t>
            </a:r>
          </a:p>
          <a:p>
            <a:pPr lvl="2"/>
            <a:r>
              <a:rPr lang="es-ES"/>
              <a:t>Click </a:t>
            </a:r>
            <a:r>
              <a:rPr lang="es-ES" err="1"/>
              <a:t>to</a:t>
            </a:r>
            <a:r>
              <a:rPr lang="es-ES"/>
              <a:t> </a:t>
            </a:r>
            <a:r>
              <a:rPr lang="es-ES" err="1"/>
              <a:t>add</a:t>
            </a:r>
            <a:r>
              <a:rPr lang="es-ES"/>
              <a:t> </a:t>
            </a:r>
            <a:r>
              <a:rPr lang="es-ES" err="1"/>
              <a:t>text</a:t>
            </a:r>
            <a:endParaRPr lang="es-ES"/>
          </a:p>
          <a:p>
            <a:pPr lvl="2"/>
            <a:r>
              <a:rPr lang="es-ES"/>
              <a:t>Click </a:t>
            </a:r>
            <a:r>
              <a:rPr lang="es-ES" err="1"/>
              <a:t>to</a:t>
            </a:r>
            <a:r>
              <a:rPr lang="es-ES"/>
              <a:t> </a:t>
            </a:r>
            <a:r>
              <a:rPr lang="es-ES" err="1"/>
              <a:t>add</a:t>
            </a:r>
            <a:r>
              <a:rPr lang="es-ES"/>
              <a:t> </a:t>
            </a:r>
            <a:r>
              <a:rPr lang="es-ES" err="1"/>
              <a:t>text</a:t>
            </a:r>
            <a:endParaRPr lang="es-ES"/>
          </a:p>
          <a:p>
            <a:pPr lvl="2"/>
            <a:r>
              <a:rPr lang="es-ES"/>
              <a:t>Click </a:t>
            </a:r>
            <a:r>
              <a:rPr lang="es-ES" err="1"/>
              <a:t>to</a:t>
            </a:r>
            <a:r>
              <a:rPr lang="es-ES"/>
              <a:t> </a:t>
            </a:r>
            <a:r>
              <a:rPr lang="es-ES" err="1"/>
              <a:t>add</a:t>
            </a:r>
            <a:r>
              <a:rPr lang="es-ES"/>
              <a:t> </a:t>
            </a:r>
            <a:r>
              <a:rPr lang="es-ES" err="1"/>
              <a:t>text</a:t>
            </a:r>
            <a:endParaRPr lang="es-ES"/>
          </a:p>
        </p:txBody>
      </p:sp>
      <p:sp>
        <p:nvSpPr>
          <p:cNvPr id="37" name="Marcador de texto 36">
            <a:extLst>
              <a:ext uri="{FF2B5EF4-FFF2-40B4-BE49-F238E27FC236}">
                <a16:creationId xmlns:a16="http://schemas.microsoft.com/office/drawing/2014/main" id="{67236C1D-3E38-D5CC-783A-5D70230F30AD}"/>
              </a:ext>
            </a:extLst>
          </p:cNvPr>
          <p:cNvSpPr>
            <a:spLocks noGrp="1"/>
          </p:cNvSpPr>
          <p:nvPr>
            <p:ph type="body" sz="quarter" idx="63" hasCustomPrompt="1"/>
          </p:nvPr>
        </p:nvSpPr>
        <p:spPr>
          <a:xfrm>
            <a:off x="6549679" y="1479176"/>
            <a:ext cx="4366010" cy="1790555"/>
          </a:xfrm>
          <a:custGeom>
            <a:avLst/>
            <a:gdLst>
              <a:gd name="connsiteX0" fmla="*/ 0 w 4366010"/>
              <a:gd name="connsiteY0" fmla="*/ 0 h 1790555"/>
              <a:gd name="connsiteX1" fmla="*/ 4366010 w 4366010"/>
              <a:gd name="connsiteY1" fmla="*/ 0 h 1790555"/>
              <a:gd name="connsiteX2" fmla="*/ 4366010 w 4366010"/>
              <a:gd name="connsiteY2" fmla="*/ 1790555 h 1790555"/>
              <a:gd name="connsiteX3" fmla="*/ 791699 w 4366010"/>
              <a:gd name="connsiteY3" fmla="*/ 1790555 h 1790555"/>
              <a:gd name="connsiteX4" fmla="*/ 782127 w 4366010"/>
              <a:gd name="connsiteY4" fmla="*/ 1695602 h 1790555"/>
              <a:gd name="connsiteX5" fmla="*/ 37329 w 4366010"/>
              <a:gd name="connsiteY5" fmla="*/ 787523 h 1790555"/>
              <a:gd name="connsiteX6" fmla="*/ 0 w 4366010"/>
              <a:gd name="connsiteY6" fmla="*/ 773860 h 179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6010" h="1790555">
                <a:moveTo>
                  <a:pt x="0" y="0"/>
                </a:moveTo>
                <a:lnTo>
                  <a:pt x="4366010" y="0"/>
                </a:lnTo>
                <a:lnTo>
                  <a:pt x="4366010" y="1790555"/>
                </a:lnTo>
                <a:lnTo>
                  <a:pt x="791699" y="1790555"/>
                </a:lnTo>
                <a:lnTo>
                  <a:pt x="782127" y="1695602"/>
                </a:lnTo>
                <a:cubicBezTo>
                  <a:pt x="698110" y="1285021"/>
                  <a:pt x="414618" y="947102"/>
                  <a:pt x="37329" y="787523"/>
                </a:cubicBezTo>
                <a:lnTo>
                  <a:pt x="0" y="773860"/>
                </a:lnTo>
                <a:close/>
              </a:path>
            </a:pathLst>
          </a:custGeom>
          <a:noFill/>
        </p:spPr>
        <p:txBody>
          <a:bodyPr wrap="square">
            <a:noAutofit/>
          </a:bodyPr>
          <a:lstStyle>
            <a:lvl1pPr marL="0" indent="0" algn="r">
              <a:spcBef>
                <a:spcPts val="0"/>
              </a:spcBef>
              <a:spcAft>
                <a:spcPts val="600"/>
              </a:spcAft>
              <a:buNone/>
              <a:defRPr sz="1400" b="1">
                <a:solidFill>
                  <a:srgbClr val="23779A"/>
                </a:solidFill>
                <a:latin typeface="+mj-lt"/>
              </a:defRPr>
            </a:lvl1pPr>
            <a:lvl2pPr marL="180000" indent="-180000" algn="r">
              <a:spcBef>
                <a:spcPts val="0"/>
              </a:spcBef>
              <a:spcAft>
                <a:spcPts val="600"/>
              </a:spcAft>
              <a:buClr>
                <a:schemeClr val="accent3"/>
              </a:buClr>
              <a:defRPr sz="1100">
                <a:solidFill>
                  <a:schemeClr val="tx1"/>
                </a:solidFill>
                <a:latin typeface="+mj-lt"/>
              </a:defRPr>
            </a:lvl2pPr>
            <a:lvl3pPr marL="396000" indent="-180000" algn="r">
              <a:buClr>
                <a:schemeClr val="accent4"/>
              </a:buClr>
              <a:buFont typeface="Santander Text" panose="020B0504020201020104" pitchFamily="34" charset="0"/>
              <a:buChar char="–"/>
              <a:defRPr sz="1100">
                <a:latin typeface="+mj-lt"/>
              </a:defRPr>
            </a:lvl3pPr>
            <a:lvl4pPr marL="396000" indent="-180000" algn="r">
              <a:buClr>
                <a:schemeClr val="accent4"/>
              </a:buClr>
              <a:buFont typeface="Santander Text" panose="020B0504020201020104" pitchFamily="34" charset="0"/>
              <a:buChar char="–"/>
              <a:defRPr sz="1100"/>
            </a:lvl4pPr>
            <a:lvl5pPr marL="396000" indent="-180000" algn="r">
              <a:buClr>
                <a:schemeClr val="accent4"/>
              </a:buClr>
              <a:buFont typeface="Santander Text" panose="020B0504020201020104" pitchFamily="34" charset="0"/>
              <a:buChar char="–"/>
              <a:defRPr sz="1100"/>
            </a:lvl5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a:p>
            <a:pPr lvl="2"/>
            <a:r>
              <a:rPr lang="es-ES"/>
              <a:t>Click </a:t>
            </a:r>
            <a:r>
              <a:rPr lang="es-ES" err="1"/>
              <a:t>to</a:t>
            </a:r>
            <a:r>
              <a:rPr lang="es-ES"/>
              <a:t> </a:t>
            </a:r>
            <a:r>
              <a:rPr lang="es-ES" err="1"/>
              <a:t>add</a:t>
            </a:r>
            <a:r>
              <a:rPr lang="es-ES"/>
              <a:t> </a:t>
            </a:r>
            <a:r>
              <a:rPr lang="es-ES" err="1"/>
              <a:t>text</a:t>
            </a:r>
            <a:endParaRPr lang="es-ES"/>
          </a:p>
          <a:p>
            <a:pPr lvl="2"/>
            <a:r>
              <a:rPr lang="es-ES"/>
              <a:t>Click </a:t>
            </a:r>
            <a:r>
              <a:rPr lang="es-ES" err="1"/>
              <a:t>to</a:t>
            </a:r>
            <a:r>
              <a:rPr lang="es-ES"/>
              <a:t> </a:t>
            </a:r>
            <a:r>
              <a:rPr lang="es-ES" err="1"/>
              <a:t>add</a:t>
            </a:r>
            <a:r>
              <a:rPr lang="es-ES"/>
              <a:t> </a:t>
            </a:r>
            <a:r>
              <a:rPr lang="es-ES" err="1"/>
              <a:t>text</a:t>
            </a:r>
            <a:endParaRPr lang="es-ES"/>
          </a:p>
          <a:p>
            <a:pPr lvl="2"/>
            <a:r>
              <a:rPr lang="es-ES"/>
              <a:t>Click </a:t>
            </a:r>
            <a:r>
              <a:rPr lang="es-ES" err="1"/>
              <a:t>to</a:t>
            </a:r>
            <a:r>
              <a:rPr lang="es-ES"/>
              <a:t> </a:t>
            </a:r>
            <a:r>
              <a:rPr lang="es-ES" err="1"/>
              <a:t>add</a:t>
            </a:r>
            <a:r>
              <a:rPr lang="es-ES"/>
              <a:t> </a:t>
            </a:r>
            <a:r>
              <a:rPr lang="es-ES" err="1"/>
              <a:t>text</a:t>
            </a:r>
            <a:endParaRPr lang="es-ES"/>
          </a:p>
        </p:txBody>
      </p:sp>
      <p:sp>
        <p:nvSpPr>
          <p:cNvPr id="39" name="Marcador de texto 38">
            <a:extLst>
              <a:ext uri="{FF2B5EF4-FFF2-40B4-BE49-F238E27FC236}">
                <a16:creationId xmlns:a16="http://schemas.microsoft.com/office/drawing/2014/main" id="{A658D4B0-DFB5-2F48-2735-B1D750DD8C64}"/>
              </a:ext>
            </a:extLst>
          </p:cNvPr>
          <p:cNvSpPr>
            <a:spLocks noGrp="1"/>
          </p:cNvSpPr>
          <p:nvPr>
            <p:ph type="body" sz="quarter" idx="64" hasCustomPrompt="1"/>
          </p:nvPr>
        </p:nvSpPr>
        <p:spPr>
          <a:xfrm>
            <a:off x="6549679" y="3560225"/>
            <a:ext cx="4366010" cy="1916680"/>
          </a:xfrm>
          <a:custGeom>
            <a:avLst/>
            <a:gdLst>
              <a:gd name="connsiteX0" fmla="*/ 794526 w 4366010"/>
              <a:gd name="connsiteY0" fmla="*/ 0 h 1916680"/>
              <a:gd name="connsiteX1" fmla="*/ 4366010 w 4366010"/>
              <a:gd name="connsiteY1" fmla="*/ 0 h 1916680"/>
              <a:gd name="connsiteX2" fmla="*/ 4366010 w 4366010"/>
              <a:gd name="connsiteY2" fmla="*/ 1916680 h 1916680"/>
              <a:gd name="connsiteX3" fmla="*/ 0 w 4366010"/>
              <a:gd name="connsiteY3" fmla="*/ 1916680 h 1916680"/>
              <a:gd name="connsiteX4" fmla="*/ 0 w 4366010"/>
              <a:gd name="connsiteY4" fmla="*/ 1044741 h 1916680"/>
              <a:gd name="connsiteX5" fmla="*/ 37329 w 4366010"/>
              <a:gd name="connsiteY5" fmla="*/ 1031079 h 1916680"/>
              <a:gd name="connsiteX6" fmla="*/ 782127 w 4366010"/>
              <a:gd name="connsiteY6" fmla="*/ 122999 h 1916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6010" h="1916680">
                <a:moveTo>
                  <a:pt x="794526" y="0"/>
                </a:moveTo>
                <a:lnTo>
                  <a:pt x="4366010" y="0"/>
                </a:lnTo>
                <a:lnTo>
                  <a:pt x="4366010" y="1916680"/>
                </a:lnTo>
                <a:lnTo>
                  <a:pt x="0" y="1916680"/>
                </a:lnTo>
                <a:lnTo>
                  <a:pt x="0" y="1044741"/>
                </a:lnTo>
                <a:lnTo>
                  <a:pt x="37329" y="1031079"/>
                </a:lnTo>
                <a:cubicBezTo>
                  <a:pt x="414618" y="871499"/>
                  <a:pt x="698110" y="533580"/>
                  <a:pt x="782127" y="122999"/>
                </a:cubicBezTo>
                <a:close/>
              </a:path>
            </a:pathLst>
          </a:custGeom>
          <a:noFill/>
        </p:spPr>
        <p:txBody>
          <a:bodyPr wrap="square">
            <a:noAutofit/>
          </a:bodyPr>
          <a:lstStyle>
            <a:lvl1pPr marL="0" indent="0" algn="r">
              <a:spcBef>
                <a:spcPts val="0"/>
              </a:spcBef>
              <a:spcAft>
                <a:spcPts val="600"/>
              </a:spcAft>
              <a:buNone/>
              <a:defRPr sz="1400" b="1">
                <a:solidFill>
                  <a:srgbClr val="579CB7"/>
                </a:solidFill>
                <a:latin typeface="+mj-lt"/>
              </a:defRPr>
            </a:lvl1pPr>
            <a:lvl2pPr marL="180000" indent="-180000" algn="r">
              <a:spcBef>
                <a:spcPts val="0"/>
              </a:spcBef>
              <a:spcAft>
                <a:spcPts val="600"/>
              </a:spcAft>
              <a:buClr>
                <a:schemeClr val="accent3"/>
              </a:buClr>
              <a:defRPr sz="1100">
                <a:solidFill>
                  <a:schemeClr val="tx1"/>
                </a:solidFill>
                <a:latin typeface="+mj-lt"/>
              </a:defRPr>
            </a:lvl2pPr>
            <a:lvl3pPr marL="396000" indent="-180000" algn="r">
              <a:buClr>
                <a:schemeClr val="accent4"/>
              </a:buClr>
              <a:buFont typeface="Santander Text" panose="020B0504020201020104" pitchFamily="34" charset="0"/>
              <a:buChar char="–"/>
              <a:defRPr sz="1100">
                <a:latin typeface="+mj-lt"/>
              </a:defRPr>
            </a:lvl3pPr>
            <a:lvl4pPr marL="396000" indent="-180000" algn="r">
              <a:buClr>
                <a:schemeClr val="accent4"/>
              </a:buClr>
              <a:buFont typeface="Santander Text" panose="020B0504020201020104" pitchFamily="34" charset="0"/>
              <a:buChar char="–"/>
              <a:defRPr sz="1100"/>
            </a:lvl4pPr>
            <a:lvl5pPr marL="396000" indent="-180000" algn="r">
              <a:buClr>
                <a:schemeClr val="accent4"/>
              </a:buClr>
              <a:buFont typeface="Santander Text" panose="020B0504020201020104" pitchFamily="34" charset="0"/>
              <a:buChar char="–"/>
              <a:defRPr sz="1100"/>
            </a:lvl5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a:p>
            <a:pPr lvl="2"/>
            <a:r>
              <a:rPr lang="es-ES"/>
              <a:t>Click </a:t>
            </a:r>
            <a:r>
              <a:rPr lang="es-ES" err="1"/>
              <a:t>to</a:t>
            </a:r>
            <a:r>
              <a:rPr lang="es-ES"/>
              <a:t> </a:t>
            </a:r>
            <a:r>
              <a:rPr lang="es-ES" err="1"/>
              <a:t>add</a:t>
            </a:r>
            <a:r>
              <a:rPr lang="es-ES"/>
              <a:t> </a:t>
            </a:r>
            <a:r>
              <a:rPr lang="es-ES" err="1"/>
              <a:t>text</a:t>
            </a:r>
            <a:endParaRPr lang="es-ES"/>
          </a:p>
          <a:p>
            <a:pPr lvl="2"/>
            <a:r>
              <a:rPr lang="es-ES"/>
              <a:t>Click </a:t>
            </a:r>
            <a:r>
              <a:rPr lang="es-ES" err="1"/>
              <a:t>to</a:t>
            </a:r>
            <a:r>
              <a:rPr lang="es-ES"/>
              <a:t> </a:t>
            </a:r>
            <a:r>
              <a:rPr lang="es-ES" err="1"/>
              <a:t>add</a:t>
            </a:r>
            <a:r>
              <a:rPr lang="es-ES"/>
              <a:t> </a:t>
            </a:r>
            <a:r>
              <a:rPr lang="es-ES" err="1"/>
              <a:t>text</a:t>
            </a:r>
            <a:endParaRPr lang="es-ES"/>
          </a:p>
          <a:p>
            <a:pPr lvl="2"/>
            <a:r>
              <a:rPr lang="es-ES"/>
              <a:t>Click </a:t>
            </a:r>
            <a:r>
              <a:rPr lang="es-ES" err="1"/>
              <a:t>to</a:t>
            </a:r>
            <a:r>
              <a:rPr lang="es-ES"/>
              <a:t> </a:t>
            </a:r>
            <a:r>
              <a:rPr lang="es-ES" err="1"/>
              <a:t>add</a:t>
            </a:r>
            <a:r>
              <a:rPr lang="es-ES"/>
              <a:t> </a:t>
            </a:r>
            <a:r>
              <a:rPr lang="es-ES" err="1"/>
              <a:t>text</a:t>
            </a:r>
            <a:endParaRPr lang="es-ES"/>
          </a:p>
        </p:txBody>
      </p:sp>
      <p:sp>
        <p:nvSpPr>
          <p:cNvPr id="5" name="Marcador de número de diapositiva 5">
            <a:extLst>
              <a:ext uri="{FF2B5EF4-FFF2-40B4-BE49-F238E27FC236}">
                <a16:creationId xmlns:a16="http://schemas.microsoft.com/office/drawing/2014/main" id="{3E2B62A9-3EAB-6EB5-7E8D-989D7B6FB2A6}"/>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3C7DA171-73D2-E4FD-0C9B-F08FF405A879}"/>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112A4096-936C-BE62-7D1C-FBB08026869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316997A0-FDE3-CE59-C9FE-0A69433F4BB8}"/>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2D36CEC7-FC91-985D-20EC-C22AB09CF6AA}"/>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1F006F31-EFB4-F18B-C510-4272D1B6226F}"/>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15282410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1_Header &amp; Content ">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AC925306-0DAF-8FFE-7CD0-D91B8B9387FC}"/>
              </a:ext>
            </a:extLst>
          </p:cNvPr>
          <p:cNvSpPr>
            <a:spLocks noGrp="1"/>
          </p:cNvSpPr>
          <p:nvPr>
            <p:ph type="body" sz="quarter" idx="46" hasCustomPrompt="1"/>
          </p:nvPr>
        </p:nvSpPr>
        <p:spPr>
          <a:xfrm>
            <a:off x="704213" y="1313381"/>
            <a:ext cx="1276151" cy="655402"/>
          </a:xfrm>
          <a:prstGeom prst="rect">
            <a:avLst/>
          </a:prstGeom>
          <a:solidFill>
            <a:schemeClr val="accent3">
              <a:alpha val="60000"/>
            </a:schemeClr>
          </a:solidFill>
        </p:spPr>
        <p:txBody>
          <a:bodyPr anchor="ctr"/>
          <a:lstStyle>
            <a:lvl1pPr marL="0" indent="0" algn="ctr" defTabSz="914400" rtl="0" eaLnBrk="0" fontAlgn="base" latinLnBrk="0" hangingPunct="0">
              <a:spcBef>
                <a:spcPts val="300"/>
              </a:spcBef>
              <a:buNone/>
              <a:defRPr lang="es-ES" sz="4000" b="1" kern="1200" dirty="0" smtClean="0">
                <a:solidFill>
                  <a:schemeClr val="tx2"/>
                </a:solidFill>
                <a:latin typeface="Santander Headline" panose="020B0504020201020104" pitchFamily="34" charset="0"/>
                <a:ea typeface="+mn-ea"/>
                <a:cs typeface="Arial" charset="0"/>
              </a:defRPr>
            </a:lvl1pPr>
            <a:lvl2pPr marL="0" indent="0" algn="ctr" defTabSz="914400" rtl="0" eaLnBrk="0" fontAlgn="base" latinLnBrk="0" hangingPunct="0">
              <a:spcBef>
                <a:spcPts val="300"/>
              </a:spcBef>
              <a:buNone/>
              <a:defRPr lang="es-ES" sz="4000" b="1" kern="1200" dirty="0" smtClean="0">
                <a:solidFill>
                  <a:srgbClr val="6F7779"/>
                </a:solidFill>
                <a:latin typeface="Santander Text"/>
                <a:ea typeface="+mn-ea"/>
                <a:cs typeface="Arial" charset="0"/>
              </a:defRPr>
            </a:lvl2pPr>
            <a:lvl3pPr marL="0" indent="0" algn="ctr" defTabSz="914400" rtl="0" eaLnBrk="0" fontAlgn="base" latinLnBrk="0" hangingPunct="0">
              <a:spcBef>
                <a:spcPts val="300"/>
              </a:spcBef>
              <a:buNone/>
              <a:defRPr lang="es-ES" sz="4000" b="1" kern="1200" dirty="0" smtClean="0">
                <a:solidFill>
                  <a:srgbClr val="6F7779"/>
                </a:solidFill>
                <a:latin typeface="Santander Text"/>
                <a:ea typeface="+mn-ea"/>
                <a:cs typeface="Arial" charset="0"/>
              </a:defRPr>
            </a:lvl3pPr>
            <a:lvl4pPr marL="0" indent="0" algn="ctr" defTabSz="914400" rtl="0" eaLnBrk="0" fontAlgn="base" latinLnBrk="0" hangingPunct="0">
              <a:spcBef>
                <a:spcPts val="300"/>
              </a:spcBef>
              <a:buNone/>
              <a:defRPr lang="es-ES" sz="4000" b="1" kern="1200" dirty="0" smtClean="0">
                <a:solidFill>
                  <a:srgbClr val="6F7779"/>
                </a:solidFill>
                <a:latin typeface="Santander Text"/>
                <a:ea typeface="+mn-ea"/>
                <a:cs typeface="Arial" charset="0"/>
              </a:defRPr>
            </a:lvl4pPr>
            <a:lvl5pPr marL="0" indent="0" algn="ctr" defTabSz="914400" rtl="0" eaLnBrk="0" fontAlgn="base" latinLnBrk="0" hangingPunct="0">
              <a:spcBef>
                <a:spcPts val="300"/>
              </a:spcBef>
              <a:buNone/>
              <a:defRPr lang="es-ES" sz="4000" b="1" kern="1200" dirty="0">
                <a:solidFill>
                  <a:srgbClr val="6F7779"/>
                </a:solidFill>
                <a:latin typeface="Santander Text"/>
                <a:ea typeface="+mn-ea"/>
                <a:cs typeface="Arial" charset="0"/>
              </a:defRPr>
            </a:lvl5pPr>
          </a:lstStyle>
          <a:p>
            <a:pPr lvl="0"/>
            <a:r>
              <a:rPr lang="es-ES"/>
              <a:t>#</a:t>
            </a:r>
          </a:p>
        </p:txBody>
      </p:sp>
      <p:sp>
        <p:nvSpPr>
          <p:cNvPr id="15" name="Marcador de texto 14">
            <a:extLst>
              <a:ext uri="{FF2B5EF4-FFF2-40B4-BE49-F238E27FC236}">
                <a16:creationId xmlns:a16="http://schemas.microsoft.com/office/drawing/2014/main" id="{46FA8317-21EB-47BB-3EC2-0188190D9354}"/>
              </a:ext>
            </a:extLst>
          </p:cNvPr>
          <p:cNvSpPr>
            <a:spLocks noGrp="1"/>
          </p:cNvSpPr>
          <p:nvPr>
            <p:ph type="body" sz="quarter" idx="47" hasCustomPrompt="1"/>
          </p:nvPr>
        </p:nvSpPr>
        <p:spPr>
          <a:xfrm>
            <a:off x="1980364" y="1309547"/>
            <a:ext cx="2514470" cy="663092"/>
          </a:xfrm>
          <a:prstGeom prst="rect">
            <a:avLst/>
          </a:prstGeom>
          <a:solidFill>
            <a:schemeClr val="accent3">
              <a:lumMod val="20000"/>
              <a:lumOff val="80000"/>
            </a:schemeClr>
          </a:solidFill>
        </p:spPr>
        <p:txBody>
          <a:bodyPr anchor="ctr"/>
          <a:lstStyle>
            <a:lvl1pPr marL="0" indent="0">
              <a:spcBef>
                <a:spcPts val="0"/>
              </a:spcBef>
              <a:spcAft>
                <a:spcPts val="400"/>
              </a:spcAft>
              <a:buNone/>
              <a:defRPr sz="1400" b="1">
                <a:latin typeface="+mj-lt"/>
              </a:defRPr>
            </a:lvl1pPr>
            <a:lvl2pPr marL="0" indent="0">
              <a:lnSpc>
                <a:spcPct val="100000"/>
              </a:lnSpc>
              <a:spcBef>
                <a:spcPts val="0"/>
              </a:spcBef>
              <a:buNone/>
              <a:defRPr sz="14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18" name="Marcador de texto 14">
            <a:extLst>
              <a:ext uri="{FF2B5EF4-FFF2-40B4-BE49-F238E27FC236}">
                <a16:creationId xmlns:a16="http://schemas.microsoft.com/office/drawing/2014/main" id="{A77A1FE7-5901-C136-D900-F7C01D379C4B}"/>
              </a:ext>
            </a:extLst>
          </p:cNvPr>
          <p:cNvSpPr>
            <a:spLocks noGrp="1"/>
          </p:cNvSpPr>
          <p:nvPr>
            <p:ph type="body" sz="quarter" idx="48" hasCustomPrompt="1"/>
          </p:nvPr>
        </p:nvSpPr>
        <p:spPr>
          <a:xfrm>
            <a:off x="4494834" y="1309547"/>
            <a:ext cx="7206297" cy="663092"/>
          </a:xfrm>
          <a:prstGeom prst="rect">
            <a:avLst/>
          </a:prstGeom>
          <a:solidFill>
            <a:schemeClr val="bg1">
              <a:lumMod val="95000"/>
            </a:schemeClr>
          </a:solidFill>
        </p:spPr>
        <p:txBody>
          <a:bodyPr anchor="ctr"/>
          <a:lstStyle>
            <a:lvl1pPr marL="180000" indent="-180000">
              <a:lnSpc>
                <a:spcPct val="100000"/>
              </a:lnSpc>
              <a:spcBef>
                <a:spcPts val="300"/>
              </a:spcBef>
              <a:spcAft>
                <a:spcPts val="0"/>
              </a:spcAft>
              <a:buClr>
                <a:schemeClr val="accent1">
                  <a:lumMod val="75000"/>
                </a:schemeClr>
              </a:buClr>
              <a:buFont typeface="Santander Text" panose="020B0504020201020104" pitchFamily="34" charset="0"/>
              <a:buChar char="•"/>
              <a:defRPr sz="800" b="0">
                <a:latin typeface="+mj-lt"/>
              </a:defRPr>
            </a:lvl1pPr>
            <a:lvl2pPr marL="180000" indent="-180000">
              <a:lnSpc>
                <a:spcPct val="100000"/>
              </a:lnSpc>
              <a:spcBef>
                <a:spcPts val="300"/>
              </a:spcBef>
              <a:spcAft>
                <a:spcPts val="0"/>
              </a:spcAft>
              <a:buClr>
                <a:schemeClr val="accent1">
                  <a:lumMod val="75000"/>
                </a:schemeClr>
              </a:buClr>
              <a:buFont typeface="Santander Text" panose="020B0504020201020104" pitchFamily="34" charset="0"/>
              <a:buChar char="•"/>
              <a:defRPr sz="800" b="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28" name="Marcador de texto 11">
            <a:extLst>
              <a:ext uri="{FF2B5EF4-FFF2-40B4-BE49-F238E27FC236}">
                <a16:creationId xmlns:a16="http://schemas.microsoft.com/office/drawing/2014/main" id="{684F80DB-D584-EAE4-75D3-C3948B80908E}"/>
              </a:ext>
            </a:extLst>
          </p:cNvPr>
          <p:cNvSpPr>
            <a:spLocks noGrp="1"/>
          </p:cNvSpPr>
          <p:nvPr>
            <p:ph type="body" sz="quarter" idx="49" hasCustomPrompt="1"/>
          </p:nvPr>
        </p:nvSpPr>
        <p:spPr>
          <a:xfrm>
            <a:off x="704213" y="2083943"/>
            <a:ext cx="1276151" cy="655402"/>
          </a:xfrm>
          <a:prstGeom prst="rect">
            <a:avLst/>
          </a:prstGeom>
          <a:solidFill>
            <a:schemeClr val="accent3">
              <a:alpha val="60000"/>
            </a:schemeClr>
          </a:solidFill>
        </p:spPr>
        <p:txBody>
          <a:bodyPr anchor="ctr"/>
          <a:lstStyle>
            <a:lvl1pPr marL="0" indent="0" algn="ctr" defTabSz="914400" rtl="0" eaLnBrk="0" fontAlgn="base" latinLnBrk="0" hangingPunct="0">
              <a:spcBef>
                <a:spcPts val="300"/>
              </a:spcBef>
              <a:buNone/>
              <a:defRPr lang="es-ES" sz="4000" b="1" kern="1200" dirty="0" smtClean="0">
                <a:solidFill>
                  <a:schemeClr val="tx2"/>
                </a:solidFill>
                <a:latin typeface="Santander Headline" panose="020B0504020201020104" pitchFamily="34" charset="0"/>
                <a:ea typeface="+mn-ea"/>
                <a:cs typeface="Arial" charset="0"/>
              </a:defRPr>
            </a:lvl1pPr>
            <a:lvl2pPr marL="0" indent="0" algn="ctr" defTabSz="914400" rtl="0" eaLnBrk="0" fontAlgn="base" latinLnBrk="0" hangingPunct="0">
              <a:spcBef>
                <a:spcPts val="300"/>
              </a:spcBef>
              <a:buNone/>
              <a:defRPr lang="es-ES" sz="4000" b="1" kern="1200" dirty="0" smtClean="0">
                <a:solidFill>
                  <a:srgbClr val="6F7779"/>
                </a:solidFill>
                <a:latin typeface="Santander Text"/>
                <a:ea typeface="+mn-ea"/>
                <a:cs typeface="Arial" charset="0"/>
              </a:defRPr>
            </a:lvl2pPr>
            <a:lvl3pPr marL="0" indent="0" algn="ctr" defTabSz="914400" rtl="0" eaLnBrk="0" fontAlgn="base" latinLnBrk="0" hangingPunct="0">
              <a:spcBef>
                <a:spcPts val="300"/>
              </a:spcBef>
              <a:buNone/>
              <a:defRPr lang="es-ES" sz="4000" b="1" kern="1200" dirty="0" smtClean="0">
                <a:solidFill>
                  <a:srgbClr val="6F7779"/>
                </a:solidFill>
                <a:latin typeface="Santander Text"/>
                <a:ea typeface="+mn-ea"/>
                <a:cs typeface="Arial" charset="0"/>
              </a:defRPr>
            </a:lvl3pPr>
            <a:lvl4pPr marL="0" indent="0" algn="ctr" defTabSz="914400" rtl="0" eaLnBrk="0" fontAlgn="base" latinLnBrk="0" hangingPunct="0">
              <a:spcBef>
                <a:spcPts val="300"/>
              </a:spcBef>
              <a:buNone/>
              <a:defRPr lang="es-ES" sz="4000" b="1" kern="1200" dirty="0" smtClean="0">
                <a:solidFill>
                  <a:srgbClr val="6F7779"/>
                </a:solidFill>
                <a:latin typeface="Santander Text"/>
                <a:ea typeface="+mn-ea"/>
                <a:cs typeface="Arial" charset="0"/>
              </a:defRPr>
            </a:lvl4pPr>
            <a:lvl5pPr marL="0" indent="0" algn="ctr" defTabSz="914400" rtl="0" eaLnBrk="0" fontAlgn="base" latinLnBrk="0" hangingPunct="0">
              <a:spcBef>
                <a:spcPts val="300"/>
              </a:spcBef>
              <a:buNone/>
              <a:defRPr lang="es-ES" sz="4000" b="1" kern="1200" dirty="0">
                <a:solidFill>
                  <a:srgbClr val="6F7779"/>
                </a:solidFill>
                <a:latin typeface="Santander Text"/>
                <a:ea typeface="+mn-ea"/>
                <a:cs typeface="Arial" charset="0"/>
              </a:defRPr>
            </a:lvl5pPr>
          </a:lstStyle>
          <a:p>
            <a:pPr lvl="0"/>
            <a:r>
              <a:rPr lang="es-ES"/>
              <a:t>#</a:t>
            </a:r>
          </a:p>
        </p:txBody>
      </p:sp>
      <p:sp>
        <p:nvSpPr>
          <p:cNvPr id="29" name="Marcador de texto 14">
            <a:extLst>
              <a:ext uri="{FF2B5EF4-FFF2-40B4-BE49-F238E27FC236}">
                <a16:creationId xmlns:a16="http://schemas.microsoft.com/office/drawing/2014/main" id="{B5F02A6B-6113-95E9-EDA6-F7B79280E165}"/>
              </a:ext>
            </a:extLst>
          </p:cNvPr>
          <p:cNvSpPr>
            <a:spLocks noGrp="1"/>
          </p:cNvSpPr>
          <p:nvPr>
            <p:ph type="body" sz="quarter" idx="50" hasCustomPrompt="1"/>
          </p:nvPr>
        </p:nvSpPr>
        <p:spPr>
          <a:xfrm>
            <a:off x="1980364" y="2080109"/>
            <a:ext cx="2514470" cy="663092"/>
          </a:xfrm>
          <a:prstGeom prst="rect">
            <a:avLst/>
          </a:prstGeom>
          <a:solidFill>
            <a:schemeClr val="accent3">
              <a:lumMod val="20000"/>
              <a:lumOff val="80000"/>
            </a:schemeClr>
          </a:solidFill>
        </p:spPr>
        <p:txBody>
          <a:bodyPr anchor="ctr"/>
          <a:lstStyle>
            <a:lvl1pPr marL="0" indent="0">
              <a:spcBef>
                <a:spcPts val="0"/>
              </a:spcBef>
              <a:spcAft>
                <a:spcPts val="400"/>
              </a:spcAft>
              <a:buNone/>
              <a:defRPr sz="1400" b="1">
                <a:latin typeface="+mj-lt"/>
              </a:defRPr>
            </a:lvl1pPr>
            <a:lvl2pPr marL="0" indent="0">
              <a:lnSpc>
                <a:spcPct val="100000"/>
              </a:lnSpc>
              <a:spcBef>
                <a:spcPts val="0"/>
              </a:spcBef>
              <a:buNone/>
              <a:defRPr sz="14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30" name="Marcador de texto 14">
            <a:extLst>
              <a:ext uri="{FF2B5EF4-FFF2-40B4-BE49-F238E27FC236}">
                <a16:creationId xmlns:a16="http://schemas.microsoft.com/office/drawing/2014/main" id="{FE0D2EE3-7A32-E639-65DB-C5D716AC6877}"/>
              </a:ext>
            </a:extLst>
          </p:cNvPr>
          <p:cNvSpPr>
            <a:spLocks noGrp="1"/>
          </p:cNvSpPr>
          <p:nvPr>
            <p:ph type="body" sz="quarter" idx="51" hasCustomPrompt="1"/>
          </p:nvPr>
        </p:nvSpPr>
        <p:spPr>
          <a:xfrm>
            <a:off x="4494834" y="2080109"/>
            <a:ext cx="7206297" cy="663092"/>
          </a:xfrm>
          <a:prstGeom prst="rect">
            <a:avLst/>
          </a:prstGeom>
          <a:solidFill>
            <a:schemeClr val="bg1">
              <a:lumMod val="95000"/>
            </a:schemeClr>
          </a:solidFill>
        </p:spPr>
        <p:txBody>
          <a:bodyPr anchor="ctr"/>
          <a:lstStyle>
            <a:lvl1pPr marL="180000" indent="-180000">
              <a:lnSpc>
                <a:spcPct val="100000"/>
              </a:lnSpc>
              <a:spcBef>
                <a:spcPts val="300"/>
              </a:spcBef>
              <a:spcAft>
                <a:spcPts val="0"/>
              </a:spcAft>
              <a:buClr>
                <a:schemeClr val="accent1">
                  <a:lumMod val="75000"/>
                </a:schemeClr>
              </a:buClr>
              <a:buFont typeface="Santander Text" panose="020B0504020201020104" pitchFamily="34" charset="0"/>
              <a:buChar char="•"/>
              <a:defRPr sz="800" b="0">
                <a:latin typeface="+mj-lt"/>
              </a:defRPr>
            </a:lvl1pPr>
            <a:lvl2pPr marL="180000" indent="-180000">
              <a:lnSpc>
                <a:spcPct val="100000"/>
              </a:lnSpc>
              <a:spcBef>
                <a:spcPts val="300"/>
              </a:spcBef>
              <a:spcAft>
                <a:spcPts val="0"/>
              </a:spcAft>
              <a:buClr>
                <a:schemeClr val="accent1">
                  <a:lumMod val="75000"/>
                </a:schemeClr>
              </a:buClr>
              <a:buFont typeface="Santander Text" panose="020B0504020201020104" pitchFamily="34" charset="0"/>
              <a:buChar char="•"/>
              <a:defRPr sz="800" b="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31" name="Marcador de texto 11">
            <a:extLst>
              <a:ext uri="{FF2B5EF4-FFF2-40B4-BE49-F238E27FC236}">
                <a16:creationId xmlns:a16="http://schemas.microsoft.com/office/drawing/2014/main" id="{7E9C93D5-F477-68D4-B25C-90948C5377FA}"/>
              </a:ext>
            </a:extLst>
          </p:cNvPr>
          <p:cNvSpPr>
            <a:spLocks noGrp="1"/>
          </p:cNvSpPr>
          <p:nvPr>
            <p:ph type="body" sz="quarter" idx="52" hasCustomPrompt="1"/>
          </p:nvPr>
        </p:nvSpPr>
        <p:spPr>
          <a:xfrm>
            <a:off x="704213" y="2844230"/>
            <a:ext cx="1276151" cy="655402"/>
          </a:xfrm>
          <a:prstGeom prst="rect">
            <a:avLst/>
          </a:prstGeom>
          <a:solidFill>
            <a:schemeClr val="accent3">
              <a:alpha val="60000"/>
            </a:schemeClr>
          </a:solidFill>
        </p:spPr>
        <p:txBody>
          <a:bodyPr anchor="ctr"/>
          <a:lstStyle>
            <a:lvl1pPr marL="0" indent="0" algn="ctr" defTabSz="914400" rtl="0" eaLnBrk="0" fontAlgn="base" latinLnBrk="0" hangingPunct="0">
              <a:spcBef>
                <a:spcPts val="300"/>
              </a:spcBef>
              <a:buNone/>
              <a:defRPr lang="es-ES" sz="4000" b="1" kern="1200" dirty="0" smtClean="0">
                <a:solidFill>
                  <a:schemeClr val="tx2"/>
                </a:solidFill>
                <a:latin typeface="Santander Headline" panose="020B0504020201020104" pitchFamily="34" charset="0"/>
                <a:ea typeface="+mn-ea"/>
                <a:cs typeface="Arial" charset="0"/>
              </a:defRPr>
            </a:lvl1pPr>
            <a:lvl2pPr marL="0" indent="0" algn="ctr" defTabSz="914400" rtl="0" eaLnBrk="0" fontAlgn="base" latinLnBrk="0" hangingPunct="0">
              <a:spcBef>
                <a:spcPts val="300"/>
              </a:spcBef>
              <a:buNone/>
              <a:defRPr lang="es-ES" sz="4000" b="1" kern="1200" dirty="0" smtClean="0">
                <a:solidFill>
                  <a:srgbClr val="6F7779"/>
                </a:solidFill>
                <a:latin typeface="Santander Text"/>
                <a:ea typeface="+mn-ea"/>
                <a:cs typeface="Arial" charset="0"/>
              </a:defRPr>
            </a:lvl2pPr>
            <a:lvl3pPr marL="0" indent="0" algn="ctr" defTabSz="914400" rtl="0" eaLnBrk="0" fontAlgn="base" latinLnBrk="0" hangingPunct="0">
              <a:spcBef>
                <a:spcPts val="300"/>
              </a:spcBef>
              <a:buNone/>
              <a:defRPr lang="es-ES" sz="4000" b="1" kern="1200" dirty="0" smtClean="0">
                <a:solidFill>
                  <a:srgbClr val="6F7779"/>
                </a:solidFill>
                <a:latin typeface="Santander Text"/>
                <a:ea typeface="+mn-ea"/>
                <a:cs typeface="Arial" charset="0"/>
              </a:defRPr>
            </a:lvl3pPr>
            <a:lvl4pPr marL="0" indent="0" algn="ctr" defTabSz="914400" rtl="0" eaLnBrk="0" fontAlgn="base" latinLnBrk="0" hangingPunct="0">
              <a:spcBef>
                <a:spcPts val="300"/>
              </a:spcBef>
              <a:buNone/>
              <a:defRPr lang="es-ES" sz="4000" b="1" kern="1200" dirty="0" smtClean="0">
                <a:solidFill>
                  <a:srgbClr val="6F7779"/>
                </a:solidFill>
                <a:latin typeface="Santander Text"/>
                <a:ea typeface="+mn-ea"/>
                <a:cs typeface="Arial" charset="0"/>
              </a:defRPr>
            </a:lvl4pPr>
            <a:lvl5pPr marL="0" indent="0" algn="ctr" defTabSz="914400" rtl="0" eaLnBrk="0" fontAlgn="base" latinLnBrk="0" hangingPunct="0">
              <a:spcBef>
                <a:spcPts val="300"/>
              </a:spcBef>
              <a:buNone/>
              <a:defRPr lang="es-ES" sz="4000" b="1" kern="1200" dirty="0">
                <a:solidFill>
                  <a:srgbClr val="6F7779"/>
                </a:solidFill>
                <a:latin typeface="Santander Text"/>
                <a:ea typeface="+mn-ea"/>
                <a:cs typeface="Arial" charset="0"/>
              </a:defRPr>
            </a:lvl5pPr>
          </a:lstStyle>
          <a:p>
            <a:pPr lvl="0"/>
            <a:r>
              <a:rPr lang="es-ES"/>
              <a:t>#</a:t>
            </a:r>
          </a:p>
        </p:txBody>
      </p:sp>
      <p:sp>
        <p:nvSpPr>
          <p:cNvPr id="32" name="Marcador de texto 14">
            <a:extLst>
              <a:ext uri="{FF2B5EF4-FFF2-40B4-BE49-F238E27FC236}">
                <a16:creationId xmlns:a16="http://schemas.microsoft.com/office/drawing/2014/main" id="{A570FC9B-DE9E-8E9E-BF61-E452B52E3E57}"/>
              </a:ext>
            </a:extLst>
          </p:cNvPr>
          <p:cNvSpPr>
            <a:spLocks noGrp="1"/>
          </p:cNvSpPr>
          <p:nvPr>
            <p:ph type="body" sz="quarter" idx="53" hasCustomPrompt="1"/>
          </p:nvPr>
        </p:nvSpPr>
        <p:spPr>
          <a:xfrm>
            <a:off x="1980364" y="2840396"/>
            <a:ext cx="2514470" cy="663092"/>
          </a:xfrm>
          <a:prstGeom prst="rect">
            <a:avLst/>
          </a:prstGeom>
          <a:solidFill>
            <a:schemeClr val="accent3">
              <a:lumMod val="20000"/>
              <a:lumOff val="80000"/>
            </a:schemeClr>
          </a:solidFill>
        </p:spPr>
        <p:txBody>
          <a:bodyPr anchor="ctr"/>
          <a:lstStyle>
            <a:lvl1pPr marL="0" indent="0">
              <a:spcBef>
                <a:spcPts val="0"/>
              </a:spcBef>
              <a:spcAft>
                <a:spcPts val="400"/>
              </a:spcAft>
              <a:buNone/>
              <a:defRPr sz="1400" b="1">
                <a:latin typeface="+mj-lt"/>
              </a:defRPr>
            </a:lvl1pPr>
            <a:lvl2pPr marL="0" indent="0">
              <a:lnSpc>
                <a:spcPct val="100000"/>
              </a:lnSpc>
              <a:spcBef>
                <a:spcPts val="0"/>
              </a:spcBef>
              <a:buNone/>
              <a:defRPr sz="14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33" name="Marcador de texto 14">
            <a:extLst>
              <a:ext uri="{FF2B5EF4-FFF2-40B4-BE49-F238E27FC236}">
                <a16:creationId xmlns:a16="http://schemas.microsoft.com/office/drawing/2014/main" id="{CAD95BBA-D571-047E-C0DD-D94AC6E4706F}"/>
              </a:ext>
            </a:extLst>
          </p:cNvPr>
          <p:cNvSpPr>
            <a:spLocks noGrp="1"/>
          </p:cNvSpPr>
          <p:nvPr>
            <p:ph type="body" sz="quarter" idx="54" hasCustomPrompt="1"/>
          </p:nvPr>
        </p:nvSpPr>
        <p:spPr>
          <a:xfrm>
            <a:off x="4494834" y="2840396"/>
            <a:ext cx="7206297" cy="663092"/>
          </a:xfrm>
          <a:prstGeom prst="rect">
            <a:avLst/>
          </a:prstGeom>
          <a:solidFill>
            <a:schemeClr val="bg1">
              <a:lumMod val="95000"/>
            </a:schemeClr>
          </a:solidFill>
        </p:spPr>
        <p:txBody>
          <a:bodyPr anchor="ctr"/>
          <a:lstStyle>
            <a:lvl1pPr marL="180000" indent="-180000">
              <a:lnSpc>
                <a:spcPct val="100000"/>
              </a:lnSpc>
              <a:spcBef>
                <a:spcPts val="300"/>
              </a:spcBef>
              <a:spcAft>
                <a:spcPts val="0"/>
              </a:spcAft>
              <a:buClr>
                <a:schemeClr val="accent1">
                  <a:lumMod val="75000"/>
                </a:schemeClr>
              </a:buClr>
              <a:buFont typeface="Santander Text" panose="020B0504020201020104" pitchFamily="34" charset="0"/>
              <a:buChar char="•"/>
              <a:defRPr sz="800" b="0">
                <a:latin typeface="+mj-lt"/>
              </a:defRPr>
            </a:lvl1pPr>
            <a:lvl2pPr marL="180000" indent="-180000">
              <a:lnSpc>
                <a:spcPct val="100000"/>
              </a:lnSpc>
              <a:spcBef>
                <a:spcPts val="300"/>
              </a:spcBef>
              <a:spcAft>
                <a:spcPts val="0"/>
              </a:spcAft>
              <a:buClr>
                <a:schemeClr val="accent1">
                  <a:lumMod val="75000"/>
                </a:schemeClr>
              </a:buClr>
              <a:buFont typeface="Santander Text" panose="020B0504020201020104" pitchFamily="34" charset="0"/>
              <a:buChar char="•"/>
              <a:defRPr sz="800" b="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34" name="Marcador de texto 11">
            <a:extLst>
              <a:ext uri="{FF2B5EF4-FFF2-40B4-BE49-F238E27FC236}">
                <a16:creationId xmlns:a16="http://schemas.microsoft.com/office/drawing/2014/main" id="{82A12F79-F1B5-50A3-F5FF-15D5D09B9D1C}"/>
              </a:ext>
            </a:extLst>
          </p:cNvPr>
          <p:cNvSpPr>
            <a:spLocks noGrp="1"/>
          </p:cNvSpPr>
          <p:nvPr>
            <p:ph type="body" sz="quarter" idx="55" hasCustomPrompt="1"/>
          </p:nvPr>
        </p:nvSpPr>
        <p:spPr>
          <a:xfrm>
            <a:off x="704213" y="3604517"/>
            <a:ext cx="1276151" cy="655402"/>
          </a:xfrm>
          <a:prstGeom prst="rect">
            <a:avLst/>
          </a:prstGeom>
          <a:solidFill>
            <a:schemeClr val="accent3">
              <a:alpha val="60000"/>
            </a:schemeClr>
          </a:solidFill>
        </p:spPr>
        <p:txBody>
          <a:bodyPr anchor="ctr"/>
          <a:lstStyle>
            <a:lvl1pPr marL="0" indent="0" algn="ctr" defTabSz="914400" rtl="0" eaLnBrk="0" fontAlgn="base" latinLnBrk="0" hangingPunct="0">
              <a:spcBef>
                <a:spcPts val="300"/>
              </a:spcBef>
              <a:buNone/>
              <a:defRPr lang="es-ES" sz="4000" b="1" kern="1200" dirty="0" smtClean="0">
                <a:solidFill>
                  <a:schemeClr val="tx2"/>
                </a:solidFill>
                <a:latin typeface="Santander Headline" panose="020B0504020201020104" pitchFamily="34" charset="0"/>
                <a:ea typeface="+mn-ea"/>
                <a:cs typeface="Arial" charset="0"/>
              </a:defRPr>
            </a:lvl1pPr>
            <a:lvl2pPr marL="0" indent="0" algn="ctr" defTabSz="914400" rtl="0" eaLnBrk="0" fontAlgn="base" latinLnBrk="0" hangingPunct="0">
              <a:spcBef>
                <a:spcPts val="300"/>
              </a:spcBef>
              <a:buNone/>
              <a:defRPr lang="es-ES" sz="4000" b="1" kern="1200" dirty="0" smtClean="0">
                <a:solidFill>
                  <a:srgbClr val="6F7779"/>
                </a:solidFill>
                <a:latin typeface="Santander Text"/>
                <a:ea typeface="+mn-ea"/>
                <a:cs typeface="Arial" charset="0"/>
              </a:defRPr>
            </a:lvl2pPr>
            <a:lvl3pPr marL="0" indent="0" algn="ctr" defTabSz="914400" rtl="0" eaLnBrk="0" fontAlgn="base" latinLnBrk="0" hangingPunct="0">
              <a:spcBef>
                <a:spcPts val="300"/>
              </a:spcBef>
              <a:buNone/>
              <a:defRPr lang="es-ES" sz="4000" b="1" kern="1200" dirty="0" smtClean="0">
                <a:solidFill>
                  <a:srgbClr val="6F7779"/>
                </a:solidFill>
                <a:latin typeface="Santander Text"/>
                <a:ea typeface="+mn-ea"/>
                <a:cs typeface="Arial" charset="0"/>
              </a:defRPr>
            </a:lvl3pPr>
            <a:lvl4pPr marL="0" indent="0" algn="ctr" defTabSz="914400" rtl="0" eaLnBrk="0" fontAlgn="base" latinLnBrk="0" hangingPunct="0">
              <a:spcBef>
                <a:spcPts val="300"/>
              </a:spcBef>
              <a:buNone/>
              <a:defRPr lang="es-ES" sz="4000" b="1" kern="1200" dirty="0" smtClean="0">
                <a:solidFill>
                  <a:srgbClr val="6F7779"/>
                </a:solidFill>
                <a:latin typeface="Santander Text"/>
                <a:ea typeface="+mn-ea"/>
                <a:cs typeface="Arial" charset="0"/>
              </a:defRPr>
            </a:lvl4pPr>
            <a:lvl5pPr marL="0" indent="0" algn="ctr" defTabSz="914400" rtl="0" eaLnBrk="0" fontAlgn="base" latinLnBrk="0" hangingPunct="0">
              <a:spcBef>
                <a:spcPts val="300"/>
              </a:spcBef>
              <a:buNone/>
              <a:defRPr lang="es-ES" sz="4000" b="1" kern="1200" dirty="0">
                <a:solidFill>
                  <a:srgbClr val="6F7779"/>
                </a:solidFill>
                <a:latin typeface="Santander Text"/>
                <a:ea typeface="+mn-ea"/>
                <a:cs typeface="Arial" charset="0"/>
              </a:defRPr>
            </a:lvl5pPr>
          </a:lstStyle>
          <a:p>
            <a:pPr lvl="0"/>
            <a:r>
              <a:rPr lang="es-ES"/>
              <a:t>#</a:t>
            </a:r>
          </a:p>
        </p:txBody>
      </p:sp>
      <p:sp>
        <p:nvSpPr>
          <p:cNvPr id="35" name="Marcador de texto 14">
            <a:extLst>
              <a:ext uri="{FF2B5EF4-FFF2-40B4-BE49-F238E27FC236}">
                <a16:creationId xmlns:a16="http://schemas.microsoft.com/office/drawing/2014/main" id="{9A87D55A-9156-3E81-0676-ECFFBAA9DF1F}"/>
              </a:ext>
            </a:extLst>
          </p:cNvPr>
          <p:cNvSpPr>
            <a:spLocks noGrp="1"/>
          </p:cNvSpPr>
          <p:nvPr>
            <p:ph type="body" sz="quarter" idx="56" hasCustomPrompt="1"/>
          </p:nvPr>
        </p:nvSpPr>
        <p:spPr>
          <a:xfrm>
            <a:off x="1980364" y="3600683"/>
            <a:ext cx="2514470" cy="663092"/>
          </a:xfrm>
          <a:prstGeom prst="rect">
            <a:avLst/>
          </a:prstGeom>
          <a:solidFill>
            <a:schemeClr val="accent3">
              <a:lumMod val="20000"/>
              <a:lumOff val="80000"/>
            </a:schemeClr>
          </a:solidFill>
        </p:spPr>
        <p:txBody>
          <a:bodyPr anchor="ctr"/>
          <a:lstStyle>
            <a:lvl1pPr marL="0" indent="0">
              <a:spcBef>
                <a:spcPts val="0"/>
              </a:spcBef>
              <a:spcAft>
                <a:spcPts val="400"/>
              </a:spcAft>
              <a:buNone/>
              <a:defRPr sz="1400" b="1">
                <a:latin typeface="+mj-lt"/>
              </a:defRPr>
            </a:lvl1pPr>
            <a:lvl2pPr marL="0" indent="0">
              <a:lnSpc>
                <a:spcPct val="100000"/>
              </a:lnSpc>
              <a:spcBef>
                <a:spcPts val="0"/>
              </a:spcBef>
              <a:buNone/>
              <a:defRPr sz="14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36" name="Marcador de texto 14">
            <a:extLst>
              <a:ext uri="{FF2B5EF4-FFF2-40B4-BE49-F238E27FC236}">
                <a16:creationId xmlns:a16="http://schemas.microsoft.com/office/drawing/2014/main" id="{819E41D0-F7AA-6B16-79D1-B131F0B6DFFC}"/>
              </a:ext>
            </a:extLst>
          </p:cNvPr>
          <p:cNvSpPr>
            <a:spLocks noGrp="1"/>
          </p:cNvSpPr>
          <p:nvPr>
            <p:ph type="body" sz="quarter" idx="57" hasCustomPrompt="1"/>
          </p:nvPr>
        </p:nvSpPr>
        <p:spPr>
          <a:xfrm>
            <a:off x="4494834" y="3600683"/>
            <a:ext cx="7206297" cy="663092"/>
          </a:xfrm>
          <a:prstGeom prst="rect">
            <a:avLst/>
          </a:prstGeom>
          <a:solidFill>
            <a:schemeClr val="bg1">
              <a:lumMod val="95000"/>
            </a:schemeClr>
          </a:solidFill>
        </p:spPr>
        <p:txBody>
          <a:bodyPr anchor="ctr"/>
          <a:lstStyle>
            <a:lvl1pPr marL="180000" indent="-180000">
              <a:lnSpc>
                <a:spcPct val="100000"/>
              </a:lnSpc>
              <a:spcBef>
                <a:spcPts val="300"/>
              </a:spcBef>
              <a:spcAft>
                <a:spcPts val="0"/>
              </a:spcAft>
              <a:buClr>
                <a:schemeClr val="accent1">
                  <a:lumMod val="75000"/>
                </a:schemeClr>
              </a:buClr>
              <a:buFont typeface="Santander Text" panose="020B0504020201020104" pitchFamily="34" charset="0"/>
              <a:buChar char="•"/>
              <a:defRPr sz="800" b="0">
                <a:latin typeface="+mj-lt"/>
              </a:defRPr>
            </a:lvl1pPr>
            <a:lvl2pPr marL="180000" indent="-180000">
              <a:lnSpc>
                <a:spcPct val="100000"/>
              </a:lnSpc>
              <a:spcBef>
                <a:spcPts val="300"/>
              </a:spcBef>
              <a:spcAft>
                <a:spcPts val="0"/>
              </a:spcAft>
              <a:buClr>
                <a:schemeClr val="accent1">
                  <a:lumMod val="75000"/>
                </a:schemeClr>
              </a:buClr>
              <a:buFont typeface="Santander Text" panose="020B0504020201020104" pitchFamily="34" charset="0"/>
              <a:buChar char="•"/>
              <a:defRPr sz="800" b="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37" name="Marcador de texto 11">
            <a:extLst>
              <a:ext uri="{FF2B5EF4-FFF2-40B4-BE49-F238E27FC236}">
                <a16:creationId xmlns:a16="http://schemas.microsoft.com/office/drawing/2014/main" id="{9F127E2E-B5EC-0C60-5DBA-359757D27F93}"/>
              </a:ext>
            </a:extLst>
          </p:cNvPr>
          <p:cNvSpPr>
            <a:spLocks noGrp="1"/>
          </p:cNvSpPr>
          <p:nvPr>
            <p:ph type="body" sz="quarter" idx="58" hasCustomPrompt="1"/>
          </p:nvPr>
        </p:nvSpPr>
        <p:spPr>
          <a:xfrm>
            <a:off x="704213" y="4375080"/>
            <a:ext cx="1276151" cy="655402"/>
          </a:xfrm>
          <a:prstGeom prst="rect">
            <a:avLst/>
          </a:prstGeom>
          <a:solidFill>
            <a:schemeClr val="accent3">
              <a:alpha val="60000"/>
            </a:schemeClr>
          </a:solidFill>
        </p:spPr>
        <p:txBody>
          <a:bodyPr anchor="ctr"/>
          <a:lstStyle>
            <a:lvl1pPr marL="0" indent="0" algn="ctr" defTabSz="914400" rtl="0" eaLnBrk="0" fontAlgn="base" latinLnBrk="0" hangingPunct="0">
              <a:spcBef>
                <a:spcPts val="300"/>
              </a:spcBef>
              <a:buNone/>
              <a:defRPr lang="es-ES" sz="4000" b="1" kern="1200" dirty="0" smtClean="0">
                <a:solidFill>
                  <a:schemeClr val="tx2"/>
                </a:solidFill>
                <a:latin typeface="Santander Headline" panose="020B0504020201020104" pitchFamily="34" charset="0"/>
                <a:ea typeface="+mn-ea"/>
                <a:cs typeface="Arial" charset="0"/>
              </a:defRPr>
            </a:lvl1pPr>
            <a:lvl2pPr marL="0" indent="0" algn="ctr" defTabSz="914400" rtl="0" eaLnBrk="0" fontAlgn="base" latinLnBrk="0" hangingPunct="0">
              <a:spcBef>
                <a:spcPts val="300"/>
              </a:spcBef>
              <a:buNone/>
              <a:defRPr lang="es-ES" sz="4000" b="1" kern="1200" dirty="0" smtClean="0">
                <a:solidFill>
                  <a:srgbClr val="6F7779"/>
                </a:solidFill>
                <a:latin typeface="Santander Text"/>
                <a:ea typeface="+mn-ea"/>
                <a:cs typeface="Arial" charset="0"/>
              </a:defRPr>
            </a:lvl2pPr>
            <a:lvl3pPr marL="0" indent="0" algn="ctr" defTabSz="914400" rtl="0" eaLnBrk="0" fontAlgn="base" latinLnBrk="0" hangingPunct="0">
              <a:spcBef>
                <a:spcPts val="300"/>
              </a:spcBef>
              <a:buNone/>
              <a:defRPr lang="es-ES" sz="4000" b="1" kern="1200" dirty="0" smtClean="0">
                <a:solidFill>
                  <a:srgbClr val="6F7779"/>
                </a:solidFill>
                <a:latin typeface="Santander Text"/>
                <a:ea typeface="+mn-ea"/>
                <a:cs typeface="Arial" charset="0"/>
              </a:defRPr>
            </a:lvl3pPr>
            <a:lvl4pPr marL="0" indent="0" algn="ctr" defTabSz="914400" rtl="0" eaLnBrk="0" fontAlgn="base" latinLnBrk="0" hangingPunct="0">
              <a:spcBef>
                <a:spcPts val="300"/>
              </a:spcBef>
              <a:buNone/>
              <a:defRPr lang="es-ES" sz="4000" b="1" kern="1200" dirty="0" smtClean="0">
                <a:solidFill>
                  <a:srgbClr val="6F7779"/>
                </a:solidFill>
                <a:latin typeface="Santander Text"/>
                <a:ea typeface="+mn-ea"/>
                <a:cs typeface="Arial" charset="0"/>
              </a:defRPr>
            </a:lvl4pPr>
            <a:lvl5pPr marL="0" indent="0" algn="ctr" defTabSz="914400" rtl="0" eaLnBrk="0" fontAlgn="base" latinLnBrk="0" hangingPunct="0">
              <a:spcBef>
                <a:spcPts val="300"/>
              </a:spcBef>
              <a:buNone/>
              <a:defRPr lang="es-ES" sz="4000" b="1" kern="1200" dirty="0">
                <a:solidFill>
                  <a:srgbClr val="6F7779"/>
                </a:solidFill>
                <a:latin typeface="Santander Text"/>
                <a:ea typeface="+mn-ea"/>
                <a:cs typeface="Arial" charset="0"/>
              </a:defRPr>
            </a:lvl5pPr>
          </a:lstStyle>
          <a:p>
            <a:pPr lvl="0"/>
            <a:r>
              <a:rPr lang="es-ES"/>
              <a:t>#</a:t>
            </a:r>
          </a:p>
        </p:txBody>
      </p:sp>
      <p:sp>
        <p:nvSpPr>
          <p:cNvPr id="38" name="Marcador de texto 14">
            <a:extLst>
              <a:ext uri="{FF2B5EF4-FFF2-40B4-BE49-F238E27FC236}">
                <a16:creationId xmlns:a16="http://schemas.microsoft.com/office/drawing/2014/main" id="{F5C9950C-A65F-79B5-5265-D58F9EC70DE3}"/>
              </a:ext>
            </a:extLst>
          </p:cNvPr>
          <p:cNvSpPr>
            <a:spLocks noGrp="1"/>
          </p:cNvSpPr>
          <p:nvPr>
            <p:ph type="body" sz="quarter" idx="59" hasCustomPrompt="1"/>
          </p:nvPr>
        </p:nvSpPr>
        <p:spPr>
          <a:xfrm>
            <a:off x="1980364" y="4371246"/>
            <a:ext cx="2514470" cy="663092"/>
          </a:xfrm>
          <a:prstGeom prst="rect">
            <a:avLst/>
          </a:prstGeom>
          <a:solidFill>
            <a:schemeClr val="accent3">
              <a:lumMod val="20000"/>
              <a:lumOff val="80000"/>
            </a:schemeClr>
          </a:solidFill>
        </p:spPr>
        <p:txBody>
          <a:bodyPr anchor="ctr"/>
          <a:lstStyle>
            <a:lvl1pPr marL="0" indent="0">
              <a:spcBef>
                <a:spcPts val="0"/>
              </a:spcBef>
              <a:spcAft>
                <a:spcPts val="400"/>
              </a:spcAft>
              <a:buNone/>
              <a:defRPr sz="1400" b="1">
                <a:latin typeface="+mj-lt"/>
              </a:defRPr>
            </a:lvl1pPr>
            <a:lvl2pPr marL="0" indent="0">
              <a:lnSpc>
                <a:spcPct val="100000"/>
              </a:lnSpc>
              <a:spcBef>
                <a:spcPts val="0"/>
              </a:spcBef>
              <a:buNone/>
              <a:defRPr sz="14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39" name="Marcador de texto 14">
            <a:extLst>
              <a:ext uri="{FF2B5EF4-FFF2-40B4-BE49-F238E27FC236}">
                <a16:creationId xmlns:a16="http://schemas.microsoft.com/office/drawing/2014/main" id="{3423C60F-1B7B-9A72-28EE-8A0EE106E121}"/>
              </a:ext>
            </a:extLst>
          </p:cNvPr>
          <p:cNvSpPr>
            <a:spLocks noGrp="1"/>
          </p:cNvSpPr>
          <p:nvPr>
            <p:ph type="body" sz="quarter" idx="60" hasCustomPrompt="1"/>
          </p:nvPr>
        </p:nvSpPr>
        <p:spPr>
          <a:xfrm>
            <a:off x="4494834" y="4371246"/>
            <a:ext cx="7206297" cy="663092"/>
          </a:xfrm>
          <a:prstGeom prst="rect">
            <a:avLst/>
          </a:prstGeom>
          <a:solidFill>
            <a:schemeClr val="bg1">
              <a:lumMod val="95000"/>
            </a:schemeClr>
          </a:solidFill>
        </p:spPr>
        <p:txBody>
          <a:bodyPr anchor="ctr"/>
          <a:lstStyle>
            <a:lvl1pPr marL="180000" indent="-180000">
              <a:lnSpc>
                <a:spcPct val="100000"/>
              </a:lnSpc>
              <a:spcBef>
                <a:spcPts val="300"/>
              </a:spcBef>
              <a:spcAft>
                <a:spcPts val="0"/>
              </a:spcAft>
              <a:buClr>
                <a:schemeClr val="accent1">
                  <a:lumMod val="75000"/>
                </a:schemeClr>
              </a:buClr>
              <a:buFont typeface="Santander Text" panose="020B0504020201020104" pitchFamily="34" charset="0"/>
              <a:buChar char="•"/>
              <a:defRPr sz="800" b="0">
                <a:latin typeface="+mj-lt"/>
              </a:defRPr>
            </a:lvl1pPr>
            <a:lvl2pPr marL="180000" indent="-180000">
              <a:lnSpc>
                <a:spcPct val="100000"/>
              </a:lnSpc>
              <a:spcBef>
                <a:spcPts val="300"/>
              </a:spcBef>
              <a:spcAft>
                <a:spcPts val="0"/>
              </a:spcAft>
              <a:buClr>
                <a:schemeClr val="accent1">
                  <a:lumMod val="75000"/>
                </a:schemeClr>
              </a:buClr>
              <a:buFont typeface="Santander Text" panose="020B0504020201020104" pitchFamily="34" charset="0"/>
              <a:buChar char="•"/>
              <a:defRPr sz="800" b="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40" name="Marcador de texto 11">
            <a:extLst>
              <a:ext uri="{FF2B5EF4-FFF2-40B4-BE49-F238E27FC236}">
                <a16:creationId xmlns:a16="http://schemas.microsoft.com/office/drawing/2014/main" id="{024EDD23-6D68-435B-27C5-C534F8B67A39}"/>
              </a:ext>
            </a:extLst>
          </p:cNvPr>
          <p:cNvSpPr>
            <a:spLocks noGrp="1"/>
          </p:cNvSpPr>
          <p:nvPr>
            <p:ph type="body" sz="quarter" idx="61" hasCustomPrompt="1"/>
          </p:nvPr>
        </p:nvSpPr>
        <p:spPr>
          <a:xfrm>
            <a:off x="704213" y="5166190"/>
            <a:ext cx="1276151" cy="655402"/>
          </a:xfrm>
          <a:prstGeom prst="rect">
            <a:avLst/>
          </a:prstGeom>
          <a:solidFill>
            <a:schemeClr val="accent3">
              <a:alpha val="60000"/>
            </a:schemeClr>
          </a:solidFill>
        </p:spPr>
        <p:txBody>
          <a:bodyPr anchor="ctr"/>
          <a:lstStyle>
            <a:lvl1pPr marL="0" indent="0" algn="ctr" defTabSz="914400" rtl="0" eaLnBrk="0" fontAlgn="base" latinLnBrk="0" hangingPunct="0">
              <a:spcBef>
                <a:spcPts val="300"/>
              </a:spcBef>
              <a:buNone/>
              <a:defRPr lang="es-ES" sz="4000" b="1" kern="1200" dirty="0" smtClean="0">
                <a:solidFill>
                  <a:schemeClr val="tx2"/>
                </a:solidFill>
                <a:latin typeface="Santander Headline" panose="020B0504020201020104" pitchFamily="34" charset="0"/>
                <a:ea typeface="+mn-ea"/>
                <a:cs typeface="Arial" charset="0"/>
              </a:defRPr>
            </a:lvl1pPr>
            <a:lvl2pPr marL="0" indent="0" algn="ctr" defTabSz="914400" rtl="0" eaLnBrk="0" fontAlgn="base" latinLnBrk="0" hangingPunct="0">
              <a:spcBef>
                <a:spcPts val="300"/>
              </a:spcBef>
              <a:buNone/>
              <a:defRPr lang="es-ES" sz="4000" b="1" kern="1200" dirty="0" smtClean="0">
                <a:solidFill>
                  <a:srgbClr val="6F7779"/>
                </a:solidFill>
                <a:latin typeface="Santander Text"/>
                <a:ea typeface="+mn-ea"/>
                <a:cs typeface="Arial" charset="0"/>
              </a:defRPr>
            </a:lvl2pPr>
            <a:lvl3pPr marL="0" indent="0" algn="ctr" defTabSz="914400" rtl="0" eaLnBrk="0" fontAlgn="base" latinLnBrk="0" hangingPunct="0">
              <a:spcBef>
                <a:spcPts val="300"/>
              </a:spcBef>
              <a:buNone/>
              <a:defRPr lang="es-ES" sz="4000" b="1" kern="1200" dirty="0" smtClean="0">
                <a:solidFill>
                  <a:srgbClr val="6F7779"/>
                </a:solidFill>
                <a:latin typeface="Santander Text"/>
                <a:ea typeface="+mn-ea"/>
                <a:cs typeface="Arial" charset="0"/>
              </a:defRPr>
            </a:lvl3pPr>
            <a:lvl4pPr marL="0" indent="0" algn="ctr" defTabSz="914400" rtl="0" eaLnBrk="0" fontAlgn="base" latinLnBrk="0" hangingPunct="0">
              <a:spcBef>
                <a:spcPts val="300"/>
              </a:spcBef>
              <a:buNone/>
              <a:defRPr lang="es-ES" sz="4000" b="1" kern="1200" dirty="0" smtClean="0">
                <a:solidFill>
                  <a:srgbClr val="6F7779"/>
                </a:solidFill>
                <a:latin typeface="Santander Text"/>
                <a:ea typeface="+mn-ea"/>
                <a:cs typeface="Arial" charset="0"/>
              </a:defRPr>
            </a:lvl4pPr>
            <a:lvl5pPr marL="0" indent="0" algn="ctr" defTabSz="914400" rtl="0" eaLnBrk="0" fontAlgn="base" latinLnBrk="0" hangingPunct="0">
              <a:spcBef>
                <a:spcPts val="300"/>
              </a:spcBef>
              <a:buNone/>
              <a:defRPr lang="es-ES" sz="4000" b="1" kern="1200" dirty="0">
                <a:solidFill>
                  <a:srgbClr val="6F7779"/>
                </a:solidFill>
                <a:latin typeface="Santander Text"/>
                <a:ea typeface="+mn-ea"/>
                <a:cs typeface="Arial" charset="0"/>
              </a:defRPr>
            </a:lvl5pPr>
          </a:lstStyle>
          <a:p>
            <a:pPr lvl="0"/>
            <a:r>
              <a:rPr lang="es-ES"/>
              <a:t>#</a:t>
            </a:r>
          </a:p>
        </p:txBody>
      </p:sp>
      <p:sp>
        <p:nvSpPr>
          <p:cNvPr id="41" name="Marcador de texto 14">
            <a:extLst>
              <a:ext uri="{FF2B5EF4-FFF2-40B4-BE49-F238E27FC236}">
                <a16:creationId xmlns:a16="http://schemas.microsoft.com/office/drawing/2014/main" id="{2DCAC75E-6A44-851E-9FC4-2624463340DF}"/>
              </a:ext>
            </a:extLst>
          </p:cNvPr>
          <p:cNvSpPr>
            <a:spLocks noGrp="1"/>
          </p:cNvSpPr>
          <p:nvPr>
            <p:ph type="body" sz="quarter" idx="62" hasCustomPrompt="1"/>
          </p:nvPr>
        </p:nvSpPr>
        <p:spPr>
          <a:xfrm>
            <a:off x="1980364" y="5162356"/>
            <a:ext cx="2514470" cy="663092"/>
          </a:xfrm>
          <a:prstGeom prst="rect">
            <a:avLst/>
          </a:prstGeom>
          <a:solidFill>
            <a:schemeClr val="accent3">
              <a:lumMod val="20000"/>
              <a:lumOff val="80000"/>
            </a:schemeClr>
          </a:solidFill>
        </p:spPr>
        <p:txBody>
          <a:bodyPr anchor="ctr"/>
          <a:lstStyle>
            <a:lvl1pPr marL="0" indent="0">
              <a:spcBef>
                <a:spcPts val="0"/>
              </a:spcBef>
              <a:spcAft>
                <a:spcPts val="400"/>
              </a:spcAft>
              <a:buNone/>
              <a:defRPr sz="1400" b="1">
                <a:latin typeface="+mj-lt"/>
              </a:defRPr>
            </a:lvl1pPr>
            <a:lvl2pPr marL="0" indent="0">
              <a:lnSpc>
                <a:spcPct val="100000"/>
              </a:lnSpc>
              <a:spcBef>
                <a:spcPts val="0"/>
              </a:spcBef>
              <a:buNone/>
              <a:defRPr sz="14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42" name="Marcador de texto 14">
            <a:extLst>
              <a:ext uri="{FF2B5EF4-FFF2-40B4-BE49-F238E27FC236}">
                <a16:creationId xmlns:a16="http://schemas.microsoft.com/office/drawing/2014/main" id="{BBC1D88D-93EA-B379-8D2B-21FA97BBBC02}"/>
              </a:ext>
            </a:extLst>
          </p:cNvPr>
          <p:cNvSpPr>
            <a:spLocks noGrp="1"/>
          </p:cNvSpPr>
          <p:nvPr>
            <p:ph type="body" sz="quarter" idx="63" hasCustomPrompt="1"/>
          </p:nvPr>
        </p:nvSpPr>
        <p:spPr>
          <a:xfrm>
            <a:off x="4494834" y="5162356"/>
            <a:ext cx="7206297" cy="663092"/>
          </a:xfrm>
          <a:prstGeom prst="rect">
            <a:avLst/>
          </a:prstGeom>
          <a:solidFill>
            <a:schemeClr val="bg1">
              <a:lumMod val="95000"/>
            </a:schemeClr>
          </a:solidFill>
        </p:spPr>
        <p:txBody>
          <a:bodyPr anchor="ctr"/>
          <a:lstStyle>
            <a:lvl1pPr marL="180000" indent="-180000">
              <a:lnSpc>
                <a:spcPct val="100000"/>
              </a:lnSpc>
              <a:spcBef>
                <a:spcPts val="300"/>
              </a:spcBef>
              <a:spcAft>
                <a:spcPts val="0"/>
              </a:spcAft>
              <a:buClr>
                <a:schemeClr val="accent1">
                  <a:lumMod val="75000"/>
                </a:schemeClr>
              </a:buClr>
              <a:buFont typeface="Santander Text" panose="020B0504020201020104" pitchFamily="34" charset="0"/>
              <a:buChar char="•"/>
              <a:defRPr sz="800" b="0">
                <a:latin typeface="+mj-lt"/>
              </a:defRPr>
            </a:lvl1pPr>
            <a:lvl2pPr marL="180000" indent="-180000">
              <a:lnSpc>
                <a:spcPct val="100000"/>
              </a:lnSpc>
              <a:spcBef>
                <a:spcPts val="300"/>
              </a:spcBef>
              <a:spcAft>
                <a:spcPts val="0"/>
              </a:spcAft>
              <a:buClr>
                <a:schemeClr val="accent1">
                  <a:lumMod val="75000"/>
                </a:schemeClr>
              </a:buClr>
              <a:buFont typeface="Santander Text" panose="020B0504020201020104" pitchFamily="34" charset="0"/>
              <a:buChar char="•"/>
              <a:defRPr sz="800" b="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5" name="Marcador de número de diapositiva 5">
            <a:extLst>
              <a:ext uri="{FF2B5EF4-FFF2-40B4-BE49-F238E27FC236}">
                <a16:creationId xmlns:a16="http://schemas.microsoft.com/office/drawing/2014/main" id="{8D2C9A2D-9757-926A-2548-204419AAFEAD}"/>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BAB023A9-FEE9-CD1A-50AC-EE03F7A1B1E5}"/>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543D89CE-1B7D-D4F8-3EE8-4679D5733FB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FE664ED2-0700-0899-A72C-777775DD1040}"/>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A7A9C6C3-CBBD-F378-EC19-6B9EE561294F}"/>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F3E4B60B-4307-8167-2B2A-5DFE544C3A6C}"/>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16816008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2_Header &amp; Content ">
    <p:spTree>
      <p:nvGrpSpPr>
        <p:cNvPr id="1" name=""/>
        <p:cNvGrpSpPr/>
        <p:nvPr/>
      </p:nvGrpSpPr>
      <p:grpSpPr>
        <a:xfrm>
          <a:off x="0" y="0"/>
          <a:ext cx="0" cy="0"/>
          <a:chOff x="0" y="0"/>
          <a:chExt cx="0" cy="0"/>
        </a:xfrm>
      </p:grpSpPr>
      <p:sp>
        <p:nvSpPr>
          <p:cNvPr id="4" name="Elipse 62">
            <a:extLst>
              <a:ext uri="{FF2B5EF4-FFF2-40B4-BE49-F238E27FC236}">
                <a16:creationId xmlns:a16="http://schemas.microsoft.com/office/drawing/2014/main" id="{B632955E-585A-A22A-8369-8E8DA5505728}"/>
              </a:ext>
            </a:extLst>
          </p:cNvPr>
          <p:cNvSpPr/>
          <p:nvPr userDrawn="1"/>
        </p:nvSpPr>
        <p:spPr>
          <a:xfrm>
            <a:off x="5530930" y="2940166"/>
            <a:ext cx="1165942" cy="1165942"/>
          </a:xfrm>
          <a:prstGeom prst="ellipse">
            <a:avLst/>
          </a:prstGeom>
          <a:solidFill>
            <a:schemeClr val="accent3">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latin typeface="Santander Headline" panose="020B0504020201020104" pitchFamily="34" charset="0"/>
            </a:endParaRPr>
          </a:p>
        </p:txBody>
      </p:sp>
      <p:sp>
        <p:nvSpPr>
          <p:cNvPr id="5" name="Círculo: vacío 1">
            <a:extLst>
              <a:ext uri="{FF2B5EF4-FFF2-40B4-BE49-F238E27FC236}">
                <a16:creationId xmlns:a16="http://schemas.microsoft.com/office/drawing/2014/main" id="{6DD5ABD5-24E7-C348-1DBB-E96DCE034A9C}"/>
              </a:ext>
            </a:extLst>
          </p:cNvPr>
          <p:cNvSpPr/>
          <p:nvPr userDrawn="1"/>
        </p:nvSpPr>
        <p:spPr>
          <a:xfrm>
            <a:off x="5531294" y="2940165"/>
            <a:ext cx="1165213" cy="1165213"/>
          </a:xfrm>
          <a:prstGeom prst="donut">
            <a:avLst>
              <a:gd name="adj" fmla="val 857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black"/>
              </a:solidFill>
              <a:latin typeface="Santander Headline" panose="020B0504020201020104" pitchFamily="34" charset="0"/>
            </a:endParaRPr>
          </a:p>
        </p:txBody>
      </p:sp>
      <p:cxnSp>
        <p:nvCxnSpPr>
          <p:cNvPr id="15" name="Conector recto 14">
            <a:extLst>
              <a:ext uri="{FF2B5EF4-FFF2-40B4-BE49-F238E27FC236}">
                <a16:creationId xmlns:a16="http://schemas.microsoft.com/office/drawing/2014/main" id="{A75A8779-E808-88C7-A48F-6EA3460C1E55}"/>
              </a:ext>
            </a:extLst>
          </p:cNvPr>
          <p:cNvCxnSpPr>
            <a:cxnSpLocks/>
          </p:cNvCxnSpPr>
          <p:nvPr userDrawn="1"/>
        </p:nvCxnSpPr>
        <p:spPr>
          <a:xfrm>
            <a:off x="6095609" y="4336651"/>
            <a:ext cx="0" cy="969905"/>
          </a:xfrm>
          <a:prstGeom prst="line">
            <a:avLst/>
          </a:prstGeom>
          <a:ln w="15875">
            <a:solidFill>
              <a:schemeClr val="accent6"/>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Conector recto 75">
            <a:extLst>
              <a:ext uri="{FF2B5EF4-FFF2-40B4-BE49-F238E27FC236}">
                <a16:creationId xmlns:a16="http://schemas.microsoft.com/office/drawing/2014/main" id="{4090B38D-FA3C-817A-00FC-8633FAF3466C}"/>
              </a:ext>
            </a:extLst>
          </p:cNvPr>
          <p:cNvCxnSpPr>
            <a:cxnSpLocks/>
          </p:cNvCxnSpPr>
          <p:nvPr userDrawn="1"/>
        </p:nvCxnSpPr>
        <p:spPr>
          <a:xfrm flipH="1">
            <a:off x="6862920" y="3587163"/>
            <a:ext cx="1168171" cy="0"/>
          </a:xfrm>
          <a:prstGeom prst="line">
            <a:avLst/>
          </a:prstGeom>
          <a:ln w="15875">
            <a:solidFill>
              <a:schemeClr val="accent6"/>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9" name="Conector recto 76">
            <a:extLst>
              <a:ext uri="{FF2B5EF4-FFF2-40B4-BE49-F238E27FC236}">
                <a16:creationId xmlns:a16="http://schemas.microsoft.com/office/drawing/2014/main" id="{B1C7BE21-8829-68BD-06D2-1A7EA71C6065}"/>
              </a:ext>
            </a:extLst>
          </p:cNvPr>
          <p:cNvCxnSpPr>
            <a:cxnSpLocks/>
          </p:cNvCxnSpPr>
          <p:nvPr userDrawn="1"/>
        </p:nvCxnSpPr>
        <p:spPr>
          <a:xfrm flipH="1">
            <a:off x="4166114" y="4106108"/>
            <a:ext cx="1309861" cy="1097010"/>
          </a:xfrm>
          <a:prstGeom prst="line">
            <a:avLst/>
          </a:prstGeom>
          <a:ln w="15875">
            <a:solidFill>
              <a:schemeClr val="accent6"/>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Conector recto 77">
            <a:extLst>
              <a:ext uri="{FF2B5EF4-FFF2-40B4-BE49-F238E27FC236}">
                <a16:creationId xmlns:a16="http://schemas.microsoft.com/office/drawing/2014/main" id="{B003312B-A48C-98D6-098B-CA7AF6EA04B9}"/>
              </a:ext>
            </a:extLst>
          </p:cNvPr>
          <p:cNvCxnSpPr>
            <a:cxnSpLocks/>
          </p:cNvCxnSpPr>
          <p:nvPr userDrawn="1"/>
        </p:nvCxnSpPr>
        <p:spPr>
          <a:xfrm flipH="1" flipV="1">
            <a:off x="6679407" y="4076093"/>
            <a:ext cx="1349047" cy="1129828"/>
          </a:xfrm>
          <a:prstGeom prst="line">
            <a:avLst/>
          </a:prstGeom>
          <a:ln w="15875">
            <a:solidFill>
              <a:schemeClr val="accent6"/>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1" name="Conector recto 80">
            <a:extLst>
              <a:ext uri="{FF2B5EF4-FFF2-40B4-BE49-F238E27FC236}">
                <a16:creationId xmlns:a16="http://schemas.microsoft.com/office/drawing/2014/main" id="{BBEFD3D9-8A92-21F4-783B-0AE7B88D14FF}"/>
              </a:ext>
            </a:extLst>
          </p:cNvPr>
          <p:cNvCxnSpPr>
            <a:cxnSpLocks/>
          </p:cNvCxnSpPr>
          <p:nvPr userDrawn="1"/>
        </p:nvCxnSpPr>
        <p:spPr>
          <a:xfrm>
            <a:off x="8031089" y="1867771"/>
            <a:ext cx="0" cy="670575"/>
          </a:xfrm>
          <a:prstGeom prst="line">
            <a:avLst/>
          </a:prstGeom>
          <a:ln w="15875">
            <a:solidFill>
              <a:schemeClr val="accent6"/>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Conector recto 83">
            <a:extLst>
              <a:ext uri="{FF2B5EF4-FFF2-40B4-BE49-F238E27FC236}">
                <a16:creationId xmlns:a16="http://schemas.microsoft.com/office/drawing/2014/main" id="{73A1031C-E9BD-4809-AD20-310F7EA5F069}"/>
              </a:ext>
            </a:extLst>
          </p:cNvPr>
          <p:cNvCxnSpPr>
            <a:cxnSpLocks/>
          </p:cNvCxnSpPr>
          <p:nvPr userDrawn="1"/>
        </p:nvCxnSpPr>
        <p:spPr>
          <a:xfrm>
            <a:off x="8031089" y="3265631"/>
            <a:ext cx="0" cy="670575"/>
          </a:xfrm>
          <a:prstGeom prst="line">
            <a:avLst/>
          </a:prstGeom>
          <a:ln w="15875">
            <a:solidFill>
              <a:schemeClr val="accent6"/>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Conector recto 84">
            <a:extLst>
              <a:ext uri="{FF2B5EF4-FFF2-40B4-BE49-F238E27FC236}">
                <a16:creationId xmlns:a16="http://schemas.microsoft.com/office/drawing/2014/main" id="{0F3971A4-5B19-E991-E2D3-049E8363FAFC}"/>
              </a:ext>
            </a:extLst>
          </p:cNvPr>
          <p:cNvCxnSpPr>
            <a:cxnSpLocks/>
          </p:cNvCxnSpPr>
          <p:nvPr userDrawn="1"/>
        </p:nvCxnSpPr>
        <p:spPr>
          <a:xfrm>
            <a:off x="8031089" y="4737768"/>
            <a:ext cx="0" cy="670575"/>
          </a:xfrm>
          <a:prstGeom prst="line">
            <a:avLst/>
          </a:prstGeom>
          <a:ln w="15875">
            <a:solidFill>
              <a:schemeClr val="accent6"/>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Conector recto 97">
            <a:extLst>
              <a:ext uri="{FF2B5EF4-FFF2-40B4-BE49-F238E27FC236}">
                <a16:creationId xmlns:a16="http://schemas.microsoft.com/office/drawing/2014/main" id="{079D0A7D-BCB1-E442-694D-D650115FFA49}"/>
              </a:ext>
            </a:extLst>
          </p:cNvPr>
          <p:cNvCxnSpPr>
            <a:cxnSpLocks/>
          </p:cNvCxnSpPr>
          <p:nvPr userDrawn="1"/>
        </p:nvCxnSpPr>
        <p:spPr>
          <a:xfrm>
            <a:off x="4168750" y="1867771"/>
            <a:ext cx="0" cy="670575"/>
          </a:xfrm>
          <a:prstGeom prst="line">
            <a:avLst/>
          </a:prstGeom>
          <a:ln w="15875">
            <a:solidFill>
              <a:schemeClr val="accent6"/>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Conector recto 98">
            <a:extLst>
              <a:ext uri="{FF2B5EF4-FFF2-40B4-BE49-F238E27FC236}">
                <a16:creationId xmlns:a16="http://schemas.microsoft.com/office/drawing/2014/main" id="{CCBFF6C6-B590-D5E6-F80E-B1C7EB1E7F49}"/>
              </a:ext>
            </a:extLst>
          </p:cNvPr>
          <p:cNvCxnSpPr>
            <a:cxnSpLocks/>
          </p:cNvCxnSpPr>
          <p:nvPr userDrawn="1"/>
        </p:nvCxnSpPr>
        <p:spPr>
          <a:xfrm>
            <a:off x="4168750" y="3265631"/>
            <a:ext cx="0" cy="670575"/>
          </a:xfrm>
          <a:prstGeom prst="line">
            <a:avLst/>
          </a:prstGeom>
          <a:ln w="15875">
            <a:solidFill>
              <a:schemeClr val="accent6"/>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Conector recto 101">
            <a:extLst>
              <a:ext uri="{FF2B5EF4-FFF2-40B4-BE49-F238E27FC236}">
                <a16:creationId xmlns:a16="http://schemas.microsoft.com/office/drawing/2014/main" id="{25338FD7-B556-BA92-D611-E27C9DFCC68E}"/>
              </a:ext>
            </a:extLst>
          </p:cNvPr>
          <p:cNvCxnSpPr>
            <a:cxnSpLocks/>
          </p:cNvCxnSpPr>
          <p:nvPr userDrawn="1"/>
        </p:nvCxnSpPr>
        <p:spPr>
          <a:xfrm>
            <a:off x="4168750" y="4737768"/>
            <a:ext cx="0" cy="670575"/>
          </a:xfrm>
          <a:prstGeom prst="line">
            <a:avLst/>
          </a:prstGeom>
          <a:ln w="15875">
            <a:solidFill>
              <a:schemeClr val="accent6"/>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Conector recto 106">
            <a:extLst>
              <a:ext uri="{FF2B5EF4-FFF2-40B4-BE49-F238E27FC236}">
                <a16:creationId xmlns:a16="http://schemas.microsoft.com/office/drawing/2014/main" id="{60E387FE-97C5-B504-96C8-3DA978B59555}"/>
              </a:ext>
            </a:extLst>
          </p:cNvPr>
          <p:cNvCxnSpPr>
            <a:cxnSpLocks/>
          </p:cNvCxnSpPr>
          <p:nvPr userDrawn="1"/>
        </p:nvCxnSpPr>
        <p:spPr>
          <a:xfrm rot="16200000">
            <a:off x="6095609" y="1467427"/>
            <a:ext cx="0" cy="800686"/>
          </a:xfrm>
          <a:prstGeom prst="line">
            <a:avLst/>
          </a:prstGeom>
          <a:ln w="15875">
            <a:solidFill>
              <a:schemeClr val="accent6"/>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Conector recto 107">
            <a:extLst>
              <a:ext uri="{FF2B5EF4-FFF2-40B4-BE49-F238E27FC236}">
                <a16:creationId xmlns:a16="http://schemas.microsoft.com/office/drawing/2014/main" id="{DE82DC80-86BC-4716-42F5-B2081F97CFDE}"/>
              </a:ext>
            </a:extLst>
          </p:cNvPr>
          <p:cNvCxnSpPr>
            <a:cxnSpLocks/>
          </p:cNvCxnSpPr>
          <p:nvPr userDrawn="1"/>
        </p:nvCxnSpPr>
        <p:spPr>
          <a:xfrm rot="16200000">
            <a:off x="6095609" y="4906212"/>
            <a:ext cx="0" cy="800686"/>
          </a:xfrm>
          <a:prstGeom prst="line">
            <a:avLst/>
          </a:prstGeom>
          <a:ln w="15875">
            <a:solidFill>
              <a:schemeClr val="accent6"/>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Conector recto 111">
            <a:extLst>
              <a:ext uri="{FF2B5EF4-FFF2-40B4-BE49-F238E27FC236}">
                <a16:creationId xmlns:a16="http://schemas.microsoft.com/office/drawing/2014/main" id="{17AE1248-0E31-9F93-CDCA-791A5CE1D7CB}"/>
              </a:ext>
            </a:extLst>
          </p:cNvPr>
          <p:cNvCxnSpPr>
            <a:cxnSpLocks/>
          </p:cNvCxnSpPr>
          <p:nvPr userDrawn="1"/>
        </p:nvCxnSpPr>
        <p:spPr>
          <a:xfrm flipH="1">
            <a:off x="6757314" y="1968407"/>
            <a:ext cx="1271138" cy="1064579"/>
          </a:xfrm>
          <a:prstGeom prst="line">
            <a:avLst/>
          </a:prstGeom>
          <a:ln w="15875">
            <a:solidFill>
              <a:schemeClr val="accent6"/>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33" name="Conector recto 115">
            <a:extLst>
              <a:ext uri="{FF2B5EF4-FFF2-40B4-BE49-F238E27FC236}">
                <a16:creationId xmlns:a16="http://schemas.microsoft.com/office/drawing/2014/main" id="{2016D93A-3B9D-4877-CBD7-0CBDA8919EE3}"/>
              </a:ext>
            </a:extLst>
          </p:cNvPr>
          <p:cNvCxnSpPr>
            <a:cxnSpLocks/>
          </p:cNvCxnSpPr>
          <p:nvPr userDrawn="1"/>
        </p:nvCxnSpPr>
        <p:spPr>
          <a:xfrm flipH="1">
            <a:off x="4168751" y="3587163"/>
            <a:ext cx="1162548" cy="0"/>
          </a:xfrm>
          <a:prstGeom prst="line">
            <a:avLst/>
          </a:prstGeom>
          <a:ln w="15875">
            <a:solidFill>
              <a:schemeClr val="accent6"/>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Conector recto 118">
            <a:extLst>
              <a:ext uri="{FF2B5EF4-FFF2-40B4-BE49-F238E27FC236}">
                <a16:creationId xmlns:a16="http://schemas.microsoft.com/office/drawing/2014/main" id="{C8C12C92-1851-C2F5-3881-DE79F0C6091F}"/>
              </a:ext>
            </a:extLst>
          </p:cNvPr>
          <p:cNvCxnSpPr>
            <a:cxnSpLocks/>
          </p:cNvCxnSpPr>
          <p:nvPr userDrawn="1"/>
        </p:nvCxnSpPr>
        <p:spPr>
          <a:xfrm flipH="1" flipV="1">
            <a:off x="4168753" y="1973419"/>
            <a:ext cx="1265153" cy="1059567"/>
          </a:xfrm>
          <a:prstGeom prst="line">
            <a:avLst/>
          </a:prstGeom>
          <a:ln w="15875">
            <a:solidFill>
              <a:schemeClr val="accent6"/>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Conector recto 121">
            <a:extLst>
              <a:ext uri="{FF2B5EF4-FFF2-40B4-BE49-F238E27FC236}">
                <a16:creationId xmlns:a16="http://schemas.microsoft.com/office/drawing/2014/main" id="{ABBB124E-8DB8-2DD3-39A9-0BCA470D8505}"/>
              </a:ext>
            </a:extLst>
          </p:cNvPr>
          <p:cNvCxnSpPr>
            <a:cxnSpLocks/>
          </p:cNvCxnSpPr>
          <p:nvPr userDrawn="1"/>
        </p:nvCxnSpPr>
        <p:spPr>
          <a:xfrm>
            <a:off x="6095609" y="1867770"/>
            <a:ext cx="0" cy="883920"/>
          </a:xfrm>
          <a:prstGeom prst="line">
            <a:avLst/>
          </a:prstGeom>
          <a:ln w="15875">
            <a:solidFill>
              <a:schemeClr val="accent6"/>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4" name="Marcador de texto 30">
            <a:extLst>
              <a:ext uri="{FF2B5EF4-FFF2-40B4-BE49-F238E27FC236}">
                <a16:creationId xmlns:a16="http://schemas.microsoft.com/office/drawing/2014/main" id="{14B2D9F9-67F0-B625-FD80-8BA9826B30D6}"/>
              </a:ext>
            </a:extLst>
          </p:cNvPr>
          <p:cNvSpPr>
            <a:spLocks noGrp="1"/>
          </p:cNvSpPr>
          <p:nvPr>
            <p:ph type="body" sz="quarter" idx="52"/>
          </p:nvPr>
        </p:nvSpPr>
        <p:spPr>
          <a:xfrm>
            <a:off x="844043" y="1865828"/>
            <a:ext cx="3226839" cy="670575"/>
          </a:xfrm>
          <a:prstGeom prst="rect">
            <a:avLst/>
          </a:prstGeom>
        </p:spPr>
        <p:txBody>
          <a:bodyPr anchor="ctr"/>
          <a:lstStyle>
            <a:lvl1pPr marL="0" indent="0" algn="r">
              <a:spcBef>
                <a:spcPts val="0"/>
              </a:spcBef>
              <a:spcAft>
                <a:spcPts val="1200"/>
              </a:spcAft>
              <a:buNone/>
              <a:defRPr sz="1100">
                <a:solidFill>
                  <a:schemeClr val="tx1"/>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65" name="Marcador de texto 30">
            <a:extLst>
              <a:ext uri="{FF2B5EF4-FFF2-40B4-BE49-F238E27FC236}">
                <a16:creationId xmlns:a16="http://schemas.microsoft.com/office/drawing/2014/main" id="{ADD6B7CC-4B59-F1FA-8FE0-0C2968752348}"/>
              </a:ext>
            </a:extLst>
          </p:cNvPr>
          <p:cNvSpPr>
            <a:spLocks noGrp="1"/>
          </p:cNvSpPr>
          <p:nvPr>
            <p:ph type="body" sz="quarter" idx="53"/>
          </p:nvPr>
        </p:nvSpPr>
        <p:spPr>
          <a:xfrm>
            <a:off x="5643488" y="3178201"/>
            <a:ext cx="888494" cy="670574"/>
          </a:xfrm>
          <a:prstGeom prst="rect">
            <a:avLst/>
          </a:prstGeom>
        </p:spPr>
        <p:txBody>
          <a:bodyPr lIns="72000" tIns="72000" rIns="72000" bIns="72000" anchor="ctr"/>
          <a:lstStyle>
            <a:lvl1pPr marL="0" indent="0" algn="ctr">
              <a:spcBef>
                <a:spcPts val="0"/>
              </a:spcBef>
              <a:spcAft>
                <a:spcPts val="1200"/>
              </a:spcAft>
              <a:buNone/>
              <a:defRPr lang="es-ES" sz="1100" b="1" kern="1200" dirty="0" smtClean="0">
                <a:solidFill>
                  <a:schemeClr val="tx2"/>
                </a:solidFill>
                <a:latin typeface="Santander Headline" panose="020B0504020201020104" pitchFamily="34" charset="0"/>
                <a:ea typeface="+mn-ea"/>
                <a:cs typeface="+mn-cs"/>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66" name="Marcador de texto 30">
            <a:extLst>
              <a:ext uri="{FF2B5EF4-FFF2-40B4-BE49-F238E27FC236}">
                <a16:creationId xmlns:a16="http://schemas.microsoft.com/office/drawing/2014/main" id="{CED2F2A0-1607-53E8-0403-42B911DADD04}"/>
              </a:ext>
            </a:extLst>
          </p:cNvPr>
          <p:cNvSpPr>
            <a:spLocks noGrp="1"/>
          </p:cNvSpPr>
          <p:nvPr>
            <p:ph type="body" sz="quarter" idx="54"/>
          </p:nvPr>
        </p:nvSpPr>
        <p:spPr>
          <a:xfrm>
            <a:off x="844043" y="3253953"/>
            <a:ext cx="3226839" cy="670575"/>
          </a:xfrm>
          <a:prstGeom prst="rect">
            <a:avLst/>
          </a:prstGeom>
        </p:spPr>
        <p:txBody>
          <a:bodyPr anchor="ctr"/>
          <a:lstStyle>
            <a:lvl1pPr marL="0" indent="0" algn="r">
              <a:spcBef>
                <a:spcPts val="0"/>
              </a:spcBef>
              <a:spcAft>
                <a:spcPts val="1200"/>
              </a:spcAft>
              <a:buNone/>
              <a:defRPr sz="1100">
                <a:solidFill>
                  <a:schemeClr val="tx1"/>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67" name="Marcador de texto 30">
            <a:extLst>
              <a:ext uri="{FF2B5EF4-FFF2-40B4-BE49-F238E27FC236}">
                <a16:creationId xmlns:a16="http://schemas.microsoft.com/office/drawing/2014/main" id="{58662CEF-ECAB-A532-DE18-077BAED8812F}"/>
              </a:ext>
            </a:extLst>
          </p:cNvPr>
          <p:cNvSpPr>
            <a:spLocks noGrp="1"/>
          </p:cNvSpPr>
          <p:nvPr>
            <p:ph type="body" sz="quarter" idx="55"/>
          </p:nvPr>
        </p:nvSpPr>
        <p:spPr>
          <a:xfrm>
            <a:off x="844043" y="4730213"/>
            <a:ext cx="3226839" cy="670575"/>
          </a:xfrm>
          <a:prstGeom prst="rect">
            <a:avLst/>
          </a:prstGeom>
        </p:spPr>
        <p:txBody>
          <a:bodyPr anchor="ctr"/>
          <a:lstStyle>
            <a:lvl1pPr marL="0" indent="0" algn="r">
              <a:spcBef>
                <a:spcPts val="0"/>
              </a:spcBef>
              <a:spcAft>
                <a:spcPts val="1200"/>
              </a:spcAft>
              <a:buNone/>
              <a:defRPr sz="1100">
                <a:solidFill>
                  <a:schemeClr val="tx1"/>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71" name="Marcador de texto 30">
            <a:extLst>
              <a:ext uri="{FF2B5EF4-FFF2-40B4-BE49-F238E27FC236}">
                <a16:creationId xmlns:a16="http://schemas.microsoft.com/office/drawing/2014/main" id="{8297E6A7-1F3E-51E5-F0DE-F5FCC23CA843}"/>
              </a:ext>
            </a:extLst>
          </p:cNvPr>
          <p:cNvSpPr>
            <a:spLocks noGrp="1"/>
          </p:cNvSpPr>
          <p:nvPr>
            <p:ph type="body" sz="quarter" idx="56"/>
          </p:nvPr>
        </p:nvSpPr>
        <p:spPr>
          <a:xfrm>
            <a:off x="8126192" y="1865828"/>
            <a:ext cx="3226839" cy="670575"/>
          </a:xfrm>
          <a:prstGeom prst="rect">
            <a:avLst/>
          </a:prstGeom>
        </p:spPr>
        <p:txBody>
          <a:bodyPr/>
          <a:lstStyle>
            <a:lvl1pPr marL="0" indent="0" algn="l">
              <a:spcBef>
                <a:spcPts val="0"/>
              </a:spcBef>
              <a:spcAft>
                <a:spcPts val="1200"/>
              </a:spcAft>
              <a:buNone/>
              <a:defRPr sz="1100">
                <a:solidFill>
                  <a:schemeClr val="tx1"/>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72" name="Marcador de texto 30">
            <a:extLst>
              <a:ext uri="{FF2B5EF4-FFF2-40B4-BE49-F238E27FC236}">
                <a16:creationId xmlns:a16="http://schemas.microsoft.com/office/drawing/2014/main" id="{806033BD-58F7-9171-0735-2815B4B117E2}"/>
              </a:ext>
            </a:extLst>
          </p:cNvPr>
          <p:cNvSpPr>
            <a:spLocks noGrp="1"/>
          </p:cNvSpPr>
          <p:nvPr>
            <p:ph type="body" sz="quarter" idx="57"/>
          </p:nvPr>
        </p:nvSpPr>
        <p:spPr>
          <a:xfrm>
            <a:off x="8126192" y="3253953"/>
            <a:ext cx="3226839" cy="670575"/>
          </a:xfrm>
          <a:prstGeom prst="rect">
            <a:avLst/>
          </a:prstGeom>
        </p:spPr>
        <p:txBody>
          <a:bodyPr anchor="ctr"/>
          <a:lstStyle>
            <a:lvl1pPr marL="0" indent="0" algn="l">
              <a:spcBef>
                <a:spcPts val="0"/>
              </a:spcBef>
              <a:spcAft>
                <a:spcPts val="1200"/>
              </a:spcAft>
              <a:buNone/>
              <a:defRPr sz="1100">
                <a:solidFill>
                  <a:schemeClr val="tx1"/>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73" name="Marcador de texto 30">
            <a:extLst>
              <a:ext uri="{FF2B5EF4-FFF2-40B4-BE49-F238E27FC236}">
                <a16:creationId xmlns:a16="http://schemas.microsoft.com/office/drawing/2014/main" id="{0C44FF5E-B18D-56C5-CB63-D98C1BC58F4B}"/>
              </a:ext>
            </a:extLst>
          </p:cNvPr>
          <p:cNvSpPr>
            <a:spLocks noGrp="1"/>
          </p:cNvSpPr>
          <p:nvPr>
            <p:ph type="body" sz="quarter" idx="58"/>
          </p:nvPr>
        </p:nvSpPr>
        <p:spPr>
          <a:xfrm>
            <a:off x="8126192" y="4730213"/>
            <a:ext cx="3226839" cy="670575"/>
          </a:xfrm>
          <a:prstGeom prst="rect">
            <a:avLst/>
          </a:prstGeom>
        </p:spPr>
        <p:txBody>
          <a:bodyPr anchor="ctr"/>
          <a:lstStyle>
            <a:lvl1pPr marL="0" indent="0" algn="l">
              <a:spcBef>
                <a:spcPts val="0"/>
              </a:spcBef>
              <a:spcAft>
                <a:spcPts val="1200"/>
              </a:spcAft>
              <a:buNone/>
              <a:defRPr sz="1100">
                <a:solidFill>
                  <a:schemeClr val="tx1"/>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75" name="Marcador de texto 30">
            <a:extLst>
              <a:ext uri="{FF2B5EF4-FFF2-40B4-BE49-F238E27FC236}">
                <a16:creationId xmlns:a16="http://schemas.microsoft.com/office/drawing/2014/main" id="{EA3D2D93-D9BD-B695-A385-7484F1AA7DCD}"/>
              </a:ext>
            </a:extLst>
          </p:cNvPr>
          <p:cNvSpPr>
            <a:spLocks noGrp="1"/>
          </p:cNvSpPr>
          <p:nvPr>
            <p:ph type="body" sz="quarter" idx="59"/>
          </p:nvPr>
        </p:nvSpPr>
        <p:spPr>
          <a:xfrm>
            <a:off x="4459267" y="1170994"/>
            <a:ext cx="3294344" cy="615961"/>
          </a:xfrm>
          <a:prstGeom prst="rect">
            <a:avLst/>
          </a:prstGeom>
        </p:spPr>
        <p:txBody>
          <a:bodyPr anchor="b"/>
          <a:lstStyle>
            <a:lvl1pPr marL="0" indent="0" algn="ctr">
              <a:spcBef>
                <a:spcPts val="0"/>
              </a:spcBef>
              <a:spcAft>
                <a:spcPts val="1200"/>
              </a:spcAft>
              <a:buNone/>
              <a:defRPr sz="1100">
                <a:solidFill>
                  <a:schemeClr val="tx1"/>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77" name="Marcador de texto 30">
            <a:extLst>
              <a:ext uri="{FF2B5EF4-FFF2-40B4-BE49-F238E27FC236}">
                <a16:creationId xmlns:a16="http://schemas.microsoft.com/office/drawing/2014/main" id="{C5E4A2D5-F94B-3798-59BA-20781D81F2D5}"/>
              </a:ext>
            </a:extLst>
          </p:cNvPr>
          <p:cNvSpPr>
            <a:spLocks noGrp="1"/>
          </p:cNvSpPr>
          <p:nvPr>
            <p:ph type="body" sz="quarter" idx="60"/>
          </p:nvPr>
        </p:nvSpPr>
        <p:spPr>
          <a:xfrm>
            <a:off x="4459267" y="5432653"/>
            <a:ext cx="3369500" cy="615961"/>
          </a:xfrm>
          <a:prstGeom prst="rect">
            <a:avLst/>
          </a:prstGeom>
        </p:spPr>
        <p:txBody>
          <a:bodyPr anchor="t"/>
          <a:lstStyle>
            <a:lvl1pPr marL="0" indent="0" algn="ctr">
              <a:spcBef>
                <a:spcPts val="0"/>
              </a:spcBef>
              <a:spcAft>
                <a:spcPts val="1200"/>
              </a:spcAft>
              <a:buNone/>
              <a:defRPr sz="1100">
                <a:solidFill>
                  <a:schemeClr val="tx1"/>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7" name="Marcador de número de diapositiva 5">
            <a:extLst>
              <a:ext uri="{FF2B5EF4-FFF2-40B4-BE49-F238E27FC236}">
                <a16:creationId xmlns:a16="http://schemas.microsoft.com/office/drawing/2014/main" id="{F46D5AEE-F499-664D-C67C-3B3A77A86BE4}"/>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8" name="Footnotes">
            <a:extLst>
              <a:ext uri="{FF2B5EF4-FFF2-40B4-BE49-F238E27FC236}">
                <a16:creationId xmlns:a16="http://schemas.microsoft.com/office/drawing/2014/main" id="{D2746156-9E98-27C4-D4D3-A810B48E74D3}"/>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2C9E3DDD-062A-FC93-549F-C340C789D2D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10" name="Título 1">
            <a:extLst>
              <a:ext uri="{FF2B5EF4-FFF2-40B4-BE49-F238E27FC236}">
                <a16:creationId xmlns:a16="http://schemas.microsoft.com/office/drawing/2014/main" id="{9EEA79A3-306A-5BE0-8EA4-F5FD2E098214}"/>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11" name="Marcador de texto 14">
            <a:extLst>
              <a:ext uri="{FF2B5EF4-FFF2-40B4-BE49-F238E27FC236}">
                <a16:creationId xmlns:a16="http://schemas.microsoft.com/office/drawing/2014/main" id="{CDA410D7-F25A-B847-F4F1-0B85D83251E9}"/>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1A980585-67BE-1F15-4B41-FCEC6CC86603}"/>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4673588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3_Header &amp; Content ">
    <p:spTree>
      <p:nvGrpSpPr>
        <p:cNvPr id="1" name=""/>
        <p:cNvGrpSpPr/>
        <p:nvPr/>
      </p:nvGrpSpPr>
      <p:grpSpPr>
        <a:xfrm>
          <a:off x="0" y="0"/>
          <a:ext cx="0" cy="0"/>
          <a:chOff x="0" y="0"/>
          <a:chExt cx="0" cy="0"/>
        </a:xfrm>
      </p:grpSpPr>
      <p:sp>
        <p:nvSpPr>
          <p:cNvPr id="4" name="Elipse 62">
            <a:extLst>
              <a:ext uri="{FF2B5EF4-FFF2-40B4-BE49-F238E27FC236}">
                <a16:creationId xmlns:a16="http://schemas.microsoft.com/office/drawing/2014/main" id="{B632955E-585A-A22A-8369-8E8DA5505728}"/>
              </a:ext>
            </a:extLst>
          </p:cNvPr>
          <p:cNvSpPr/>
          <p:nvPr userDrawn="1"/>
        </p:nvSpPr>
        <p:spPr>
          <a:xfrm>
            <a:off x="5531295" y="2940167"/>
            <a:ext cx="1165942" cy="1165942"/>
          </a:xfrm>
          <a:prstGeom prst="ellipse">
            <a:avLst/>
          </a:prstGeom>
          <a:solidFill>
            <a:schemeClr val="accent3">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latin typeface="Santander Headline" panose="020B0504020201020104" pitchFamily="34" charset="0"/>
            </a:endParaRPr>
          </a:p>
        </p:txBody>
      </p:sp>
      <p:sp>
        <p:nvSpPr>
          <p:cNvPr id="5" name="Círculo: vacío 1">
            <a:extLst>
              <a:ext uri="{FF2B5EF4-FFF2-40B4-BE49-F238E27FC236}">
                <a16:creationId xmlns:a16="http://schemas.microsoft.com/office/drawing/2014/main" id="{6DD5ABD5-24E7-C348-1DBB-E96DCE034A9C}"/>
              </a:ext>
            </a:extLst>
          </p:cNvPr>
          <p:cNvSpPr/>
          <p:nvPr userDrawn="1"/>
        </p:nvSpPr>
        <p:spPr>
          <a:xfrm>
            <a:off x="5531295" y="2940167"/>
            <a:ext cx="1165213" cy="1165213"/>
          </a:xfrm>
          <a:prstGeom prst="donut">
            <a:avLst>
              <a:gd name="adj" fmla="val 857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black"/>
              </a:solidFill>
              <a:latin typeface="Santander Headline" panose="020B0504020201020104" pitchFamily="34" charset="0"/>
            </a:endParaRPr>
          </a:p>
        </p:txBody>
      </p:sp>
      <p:cxnSp>
        <p:nvCxnSpPr>
          <p:cNvPr id="15" name="Conector recto 14">
            <a:extLst>
              <a:ext uri="{FF2B5EF4-FFF2-40B4-BE49-F238E27FC236}">
                <a16:creationId xmlns:a16="http://schemas.microsoft.com/office/drawing/2014/main" id="{A75A8779-E808-88C7-A48F-6EA3460C1E55}"/>
              </a:ext>
            </a:extLst>
          </p:cNvPr>
          <p:cNvCxnSpPr>
            <a:cxnSpLocks/>
            <a:endCxn id="77" idx="0"/>
          </p:cNvCxnSpPr>
          <p:nvPr userDrawn="1"/>
        </p:nvCxnSpPr>
        <p:spPr>
          <a:xfrm>
            <a:off x="6095609" y="4336651"/>
            <a:ext cx="0" cy="1096002"/>
          </a:xfrm>
          <a:prstGeom prst="line">
            <a:avLst/>
          </a:prstGeom>
          <a:ln w="15875">
            <a:solidFill>
              <a:srgbClr val="184E62"/>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Conector recto 75">
            <a:extLst>
              <a:ext uri="{FF2B5EF4-FFF2-40B4-BE49-F238E27FC236}">
                <a16:creationId xmlns:a16="http://schemas.microsoft.com/office/drawing/2014/main" id="{4090B38D-FA3C-817A-00FC-8633FAF3466C}"/>
              </a:ext>
            </a:extLst>
          </p:cNvPr>
          <p:cNvCxnSpPr>
            <a:cxnSpLocks/>
            <a:stCxn id="72" idx="1"/>
          </p:cNvCxnSpPr>
          <p:nvPr userDrawn="1"/>
        </p:nvCxnSpPr>
        <p:spPr>
          <a:xfrm flipH="1" flipV="1">
            <a:off x="6862920" y="3587163"/>
            <a:ext cx="1165532" cy="2078"/>
          </a:xfrm>
          <a:prstGeom prst="line">
            <a:avLst/>
          </a:prstGeom>
          <a:ln w="15875">
            <a:solidFill>
              <a:srgbClr val="184E62"/>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9" name="Conector recto 76">
            <a:extLst>
              <a:ext uri="{FF2B5EF4-FFF2-40B4-BE49-F238E27FC236}">
                <a16:creationId xmlns:a16="http://schemas.microsoft.com/office/drawing/2014/main" id="{B1C7BE21-8829-68BD-06D2-1A7EA71C6065}"/>
              </a:ext>
            </a:extLst>
          </p:cNvPr>
          <p:cNvCxnSpPr>
            <a:cxnSpLocks/>
            <a:endCxn id="67" idx="3"/>
          </p:cNvCxnSpPr>
          <p:nvPr userDrawn="1"/>
        </p:nvCxnSpPr>
        <p:spPr>
          <a:xfrm flipH="1">
            <a:off x="4178459" y="4106108"/>
            <a:ext cx="1297516" cy="959393"/>
          </a:xfrm>
          <a:prstGeom prst="line">
            <a:avLst/>
          </a:prstGeom>
          <a:ln w="15875">
            <a:solidFill>
              <a:srgbClr val="184E62"/>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Conector recto 77">
            <a:extLst>
              <a:ext uri="{FF2B5EF4-FFF2-40B4-BE49-F238E27FC236}">
                <a16:creationId xmlns:a16="http://schemas.microsoft.com/office/drawing/2014/main" id="{B003312B-A48C-98D6-098B-CA7AF6EA04B9}"/>
              </a:ext>
            </a:extLst>
          </p:cNvPr>
          <p:cNvCxnSpPr>
            <a:cxnSpLocks/>
            <a:stCxn id="73" idx="1"/>
          </p:cNvCxnSpPr>
          <p:nvPr userDrawn="1"/>
        </p:nvCxnSpPr>
        <p:spPr>
          <a:xfrm flipH="1" flipV="1">
            <a:off x="6679407" y="4076093"/>
            <a:ext cx="1349045" cy="989408"/>
          </a:xfrm>
          <a:prstGeom prst="line">
            <a:avLst/>
          </a:prstGeom>
          <a:ln w="15875">
            <a:solidFill>
              <a:srgbClr val="184E62"/>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32" name="Conector recto 111">
            <a:extLst>
              <a:ext uri="{FF2B5EF4-FFF2-40B4-BE49-F238E27FC236}">
                <a16:creationId xmlns:a16="http://schemas.microsoft.com/office/drawing/2014/main" id="{17AE1248-0E31-9F93-CDCA-791A5CE1D7CB}"/>
              </a:ext>
            </a:extLst>
          </p:cNvPr>
          <p:cNvCxnSpPr>
            <a:cxnSpLocks/>
            <a:stCxn id="71" idx="1"/>
          </p:cNvCxnSpPr>
          <p:nvPr userDrawn="1"/>
        </p:nvCxnSpPr>
        <p:spPr>
          <a:xfrm flipH="1">
            <a:off x="6757314" y="2201116"/>
            <a:ext cx="1271138" cy="831870"/>
          </a:xfrm>
          <a:prstGeom prst="line">
            <a:avLst/>
          </a:prstGeom>
          <a:ln w="15875">
            <a:solidFill>
              <a:srgbClr val="184E62"/>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33" name="Conector recto 115">
            <a:extLst>
              <a:ext uri="{FF2B5EF4-FFF2-40B4-BE49-F238E27FC236}">
                <a16:creationId xmlns:a16="http://schemas.microsoft.com/office/drawing/2014/main" id="{2016D93A-3B9D-4877-CBD7-0CBDA8919EE3}"/>
              </a:ext>
            </a:extLst>
          </p:cNvPr>
          <p:cNvCxnSpPr>
            <a:cxnSpLocks/>
          </p:cNvCxnSpPr>
          <p:nvPr userDrawn="1"/>
        </p:nvCxnSpPr>
        <p:spPr>
          <a:xfrm flipH="1">
            <a:off x="4168751" y="3587163"/>
            <a:ext cx="1162548" cy="0"/>
          </a:xfrm>
          <a:prstGeom prst="line">
            <a:avLst/>
          </a:prstGeom>
          <a:ln w="15875">
            <a:solidFill>
              <a:srgbClr val="184E62"/>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Conector recto 118">
            <a:extLst>
              <a:ext uri="{FF2B5EF4-FFF2-40B4-BE49-F238E27FC236}">
                <a16:creationId xmlns:a16="http://schemas.microsoft.com/office/drawing/2014/main" id="{C8C12C92-1851-C2F5-3881-DE79F0C6091F}"/>
              </a:ext>
            </a:extLst>
          </p:cNvPr>
          <p:cNvCxnSpPr>
            <a:cxnSpLocks/>
            <a:endCxn id="64" idx="3"/>
          </p:cNvCxnSpPr>
          <p:nvPr userDrawn="1"/>
        </p:nvCxnSpPr>
        <p:spPr>
          <a:xfrm flipH="1" flipV="1">
            <a:off x="4178459" y="2201116"/>
            <a:ext cx="1255447" cy="831870"/>
          </a:xfrm>
          <a:prstGeom prst="line">
            <a:avLst/>
          </a:prstGeom>
          <a:ln w="15875">
            <a:solidFill>
              <a:srgbClr val="184E62"/>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Conector recto 121">
            <a:extLst>
              <a:ext uri="{FF2B5EF4-FFF2-40B4-BE49-F238E27FC236}">
                <a16:creationId xmlns:a16="http://schemas.microsoft.com/office/drawing/2014/main" id="{ABBB124E-8DB8-2DD3-39A9-0BCA470D8505}"/>
              </a:ext>
            </a:extLst>
          </p:cNvPr>
          <p:cNvCxnSpPr>
            <a:cxnSpLocks/>
            <a:stCxn id="75" idx="2"/>
          </p:cNvCxnSpPr>
          <p:nvPr userDrawn="1"/>
        </p:nvCxnSpPr>
        <p:spPr>
          <a:xfrm flipH="1">
            <a:off x="6095609" y="1786955"/>
            <a:ext cx="0" cy="964735"/>
          </a:xfrm>
          <a:prstGeom prst="line">
            <a:avLst/>
          </a:prstGeom>
          <a:ln w="15875">
            <a:solidFill>
              <a:srgbClr val="184E62"/>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4" name="Marcador de texto 30">
            <a:extLst>
              <a:ext uri="{FF2B5EF4-FFF2-40B4-BE49-F238E27FC236}">
                <a16:creationId xmlns:a16="http://schemas.microsoft.com/office/drawing/2014/main" id="{14B2D9F9-67F0-B625-FD80-8BA9826B30D6}"/>
              </a:ext>
            </a:extLst>
          </p:cNvPr>
          <p:cNvSpPr>
            <a:spLocks noGrp="1"/>
          </p:cNvSpPr>
          <p:nvPr>
            <p:ph type="body" sz="quarter" idx="52"/>
          </p:nvPr>
        </p:nvSpPr>
        <p:spPr>
          <a:xfrm>
            <a:off x="951620" y="1865828"/>
            <a:ext cx="3226839" cy="670575"/>
          </a:xfrm>
          <a:prstGeom prst="rect">
            <a:avLst/>
          </a:prstGeom>
          <a:solidFill>
            <a:srgbClr val="DBCCBD"/>
          </a:solidFill>
        </p:spPr>
        <p:txBody>
          <a:bodyPr anchor="ctr"/>
          <a:lstStyle>
            <a:lvl1pPr marL="0" indent="0" algn="r">
              <a:spcBef>
                <a:spcPts val="0"/>
              </a:spcBef>
              <a:spcAft>
                <a:spcPts val="1200"/>
              </a:spcAft>
              <a:buNone/>
              <a:defRPr sz="1100">
                <a:solidFill>
                  <a:schemeClr val="tx1">
                    <a:lumMod val="75000"/>
                  </a:schemeClr>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65" name="Marcador de texto 30">
            <a:extLst>
              <a:ext uri="{FF2B5EF4-FFF2-40B4-BE49-F238E27FC236}">
                <a16:creationId xmlns:a16="http://schemas.microsoft.com/office/drawing/2014/main" id="{ADD6B7CC-4B59-F1FA-8FE0-0C2968752348}"/>
              </a:ext>
            </a:extLst>
          </p:cNvPr>
          <p:cNvSpPr>
            <a:spLocks noGrp="1"/>
          </p:cNvSpPr>
          <p:nvPr>
            <p:ph type="body" sz="quarter" idx="53"/>
          </p:nvPr>
        </p:nvSpPr>
        <p:spPr>
          <a:xfrm>
            <a:off x="5643488" y="3178201"/>
            <a:ext cx="888494" cy="670574"/>
          </a:xfrm>
          <a:prstGeom prst="rect">
            <a:avLst/>
          </a:prstGeom>
        </p:spPr>
        <p:txBody>
          <a:bodyPr lIns="72000" tIns="72000" rIns="72000" bIns="72000" anchor="ctr"/>
          <a:lstStyle>
            <a:lvl1pPr marL="0" indent="0" algn="ctr">
              <a:spcBef>
                <a:spcPts val="0"/>
              </a:spcBef>
              <a:spcAft>
                <a:spcPts val="1200"/>
              </a:spcAft>
              <a:buNone/>
              <a:defRPr lang="es-ES" sz="1100" b="1" kern="1200" dirty="0" smtClean="0">
                <a:solidFill>
                  <a:schemeClr val="tx2"/>
                </a:solidFill>
                <a:latin typeface="Santander Headline" panose="020B0504020201020104" pitchFamily="34" charset="0"/>
                <a:ea typeface="+mn-ea"/>
                <a:cs typeface="+mn-cs"/>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66" name="Marcador de texto 30">
            <a:extLst>
              <a:ext uri="{FF2B5EF4-FFF2-40B4-BE49-F238E27FC236}">
                <a16:creationId xmlns:a16="http://schemas.microsoft.com/office/drawing/2014/main" id="{CED2F2A0-1607-53E8-0403-42B911DADD04}"/>
              </a:ext>
            </a:extLst>
          </p:cNvPr>
          <p:cNvSpPr>
            <a:spLocks noGrp="1"/>
          </p:cNvSpPr>
          <p:nvPr>
            <p:ph type="body" sz="quarter" idx="54"/>
          </p:nvPr>
        </p:nvSpPr>
        <p:spPr>
          <a:xfrm>
            <a:off x="951620" y="3253953"/>
            <a:ext cx="3226839" cy="670575"/>
          </a:xfrm>
          <a:prstGeom prst="rect">
            <a:avLst/>
          </a:prstGeom>
          <a:solidFill>
            <a:srgbClr val="DBCCBD"/>
          </a:solidFill>
        </p:spPr>
        <p:txBody>
          <a:bodyPr anchor="ctr"/>
          <a:lstStyle>
            <a:lvl1pPr marL="0" indent="0" algn="r">
              <a:spcBef>
                <a:spcPts val="0"/>
              </a:spcBef>
              <a:spcAft>
                <a:spcPts val="1200"/>
              </a:spcAft>
              <a:buNone/>
              <a:defRPr sz="1100">
                <a:solidFill>
                  <a:schemeClr val="tx1">
                    <a:lumMod val="75000"/>
                  </a:schemeClr>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67" name="Marcador de texto 30">
            <a:extLst>
              <a:ext uri="{FF2B5EF4-FFF2-40B4-BE49-F238E27FC236}">
                <a16:creationId xmlns:a16="http://schemas.microsoft.com/office/drawing/2014/main" id="{58662CEF-ECAB-A532-DE18-077BAED8812F}"/>
              </a:ext>
            </a:extLst>
          </p:cNvPr>
          <p:cNvSpPr>
            <a:spLocks noGrp="1"/>
          </p:cNvSpPr>
          <p:nvPr>
            <p:ph type="body" sz="quarter" idx="55"/>
          </p:nvPr>
        </p:nvSpPr>
        <p:spPr>
          <a:xfrm>
            <a:off x="951620" y="4730213"/>
            <a:ext cx="3226839" cy="670575"/>
          </a:xfrm>
          <a:prstGeom prst="rect">
            <a:avLst/>
          </a:prstGeom>
          <a:solidFill>
            <a:srgbClr val="DBCCBD"/>
          </a:solidFill>
        </p:spPr>
        <p:txBody>
          <a:bodyPr anchor="ctr"/>
          <a:lstStyle>
            <a:lvl1pPr marL="0" indent="0" algn="r">
              <a:spcBef>
                <a:spcPts val="0"/>
              </a:spcBef>
              <a:spcAft>
                <a:spcPts val="1200"/>
              </a:spcAft>
              <a:buNone/>
              <a:defRPr sz="1100">
                <a:solidFill>
                  <a:schemeClr val="tx1">
                    <a:lumMod val="75000"/>
                  </a:schemeClr>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71" name="Marcador de texto 30">
            <a:extLst>
              <a:ext uri="{FF2B5EF4-FFF2-40B4-BE49-F238E27FC236}">
                <a16:creationId xmlns:a16="http://schemas.microsoft.com/office/drawing/2014/main" id="{8297E6A7-1F3E-51E5-F0DE-F5FCC23CA843}"/>
              </a:ext>
            </a:extLst>
          </p:cNvPr>
          <p:cNvSpPr>
            <a:spLocks noGrp="1"/>
          </p:cNvSpPr>
          <p:nvPr>
            <p:ph type="body" sz="quarter" idx="56"/>
          </p:nvPr>
        </p:nvSpPr>
        <p:spPr>
          <a:xfrm>
            <a:off x="8028452" y="1865828"/>
            <a:ext cx="3226839" cy="670575"/>
          </a:xfrm>
          <a:prstGeom prst="rect">
            <a:avLst/>
          </a:prstGeom>
          <a:solidFill>
            <a:srgbClr val="DBCCBD"/>
          </a:solidFill>
        </p:spPr>
        <p:txBody>
          <a:bodyPr anchor="ctr"/>
          <a:lstStyle>
            <a:lvl1pPr marL="0" indent="0" algn="l">
              <a:spcBef>
                <a:spcPts val="0"/>
              </a:spcBef>
              <a:spcAft>
                <a:spcPts val="1200"/>
              </a:spcAft>
              <a:buNone/>
              <a:defRPr sz="1100">
                <a:solidFill>
                  <a:schemeClr val="tx1">
                    <a:lumMod val="75000"/>
                  </a:schemeClr>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72" name="Marcador de texto 30">
            <a:extLst>
              <a:ext uri="{FF2B5EF4-FFF2-40B4-BE49-F238E27FC236}">
                <a16:creationId xmlns:a16="http://schemas.microsoft.com/office/drawing/2014/main" id="{806033BD-58F7-9171-0735-2815B4B117E2}"/>
              </a:ext>
            </a:extLst>
          </p:cNvPr>
          <p:cNvSpPr>
            <a:spLocks noGrp="1"/>
          </p:cNvSpPr>
          <p:nvPr>
            <p:ph type="body" sz="quarter" idx="57"/>
          </p:nvPr>
        </p:nvSpPr>
        <p:spPr>
          <a:xfrm>
            <a:off x="8028452" y="3253953"/>
            <a:ext cx="3226839" cy="670575"/>
          </a:xfrm>
          <a:prstGeom prst="rect">
            <a:avLst/>
          </a:prstGeom>
          <a:solidFill>
            <a:srgbClr val="DBCCBD"/>
          </a:solidFill>
        </p:spPr>
        <p:txBody>
          <a:bodyPr anchor="ctr"/>
          <a:lstStyle>
            <a:lvl1pPr marL="0" indent="0" algn="l">
              <a:spcBef>
                <a:spcPts val="0"/>
              </a:spcBef>
              <a:spcAft>
                <a:spcPts val="1200"/>
              </a:spcAft>
              <a:buNone/>
              <a:defRPr sz="1100">
                <a:solidFill>
                  <a:schemeClr val="tx1">
                    <a:lumMod val="75000"/>
                  </a:schemeClr>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73" name="Marcador de texto 30">
            <a:extLst>
              <a:ext uri="{FF2B5EF4-FFF2-40B4-BE49-F238E27FC236}">
                <a16:creationId xmlns:a16="http://schemas.microsoft.com/office/drawing/2014/main" id="{0C44FF5E-B18D-56C5-CB63-D98C1BC58F4B}"/>
              </a:ext>
            </a:extLst>
          </p:cNvPr>
          <p:cNvSpPr>
            <a:spLocks noGrp="1"/>
          </p:cNvSpPr>
          <p:nvPr>
            <p:ph type="body" sz="quarter" idx="58"/>
          </p:nvPr>
        </p:nvSpPr>
        <p:spPr>
          <a:xfrm>
            <a:off x="8028452" y="4730213"/>
            <a:ext cx="3226839" cy="670575"/>
          </a:xfrm>
          <a:prstGeom prst="rect">
            <a:avLst/>
          </a:prstGeom>
          <a:solidFill>
            <a:srgbClr val="DBCCBD"/>
          </a:solidFill>
        </p:spPr>
        <p:txBody>
          <a:bodyPr anchor="ctr"/>
          <a:lstStyle>
            <a:lvl1pPr marL="0" indent="0" algn="l">
              <a:spcBef>
                <a:spcPts val="0"/>
              </a:spcBef>
              <a:spcAft>
                <a:spcPts val="1200"/>
              </a:spcAft>
              <a:buNone/>
              <a:defRPr sz="1100">
                <a:solidFill>
                  <a:schemeClr val="tx1">
                    <a:lumMod val="75000"/>
                  </a:schemeClr>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75" name="Marcador de texto 30">
            <a:extLst>
              <a:ext uri="{FF2B5EF4-FFF2-40B4-BE49-F238E27FC236}">
                <a16:creationId xmlns:a16="http://schemas.microsoft.com/office/drawing/2014/main" id="{EA3D2D93-D9BD-B695-A385-7484F1AA7DCD}"/>
              </a:ext>
            </a:extLst>
          </p:cNvPr>
          <p:cNvSpPr>
            <a:spLocks noGrp="1"/>
          </p:cNvSpPr>
          <p:nvPr>
            <p:ph type="body" sz="quarter" idx="59"/>
          </p:nvPr>
        </p:nvSpPr>
        <p:spPr>
          <a:xfrm>
            <a:off x="4459267" y="1170994"/>
            <a:ext cx="3294344" cy="615961"/>
          </a:xfrm>
          <a:prstGeom prst="rect">
            <a:avLst/>
          </a:prstGeom>
          <a:solidFill>
            <a:srgbClr val="DBCCBD"/>
          </a:solidFill>
        </p:spPr>
        <p:txBody>
          <a:bodyPr anchor="b"/>
          <a:lstStyle>
            <a:lvl1pPr marL="0" indent="0" algn="ctr">
              <a:spcBef>
                <a:spcPts val="0"/>
              </a:spcBef>
              <a:spcAft>
                <a:spcPts val="1200"/>
              </a:spcAft>
              <a:buNone/>
              <a:defRPr sz="1100">
                <a:solidFill>
                  <a:schemeClr val="tx1">
                    <a:lumMod val="75000"/>
                  </a:schemeClr>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77" name="Marcador de texto 30">
            <a:extLst>
              <a:ext uri="{FF2B5EF4-FFF2-40B4-BE49-F238E27FC236}">
                <a16:creationId xmlns:a16="http://schemas.microsoft.com/office/drawing/2014/main" id="{C5E4A2D5-F94B-3798-59BA-20781D81F2D5}"/>
              </a:ext>
            </a:extLst>
          </p:cNvPr>
          <p:cNvSpPr>
            <a:spLocks noGrp="1"/>
          </p:cNvSpPr>
          <p:nvPr>
            <p:ph type="body" sz="quarter" idx="60"/>
          </p:nvPr>
        </p:nvSpPr>
        <p:spPr>
          <a:xfrm>
            <a:off x="4410859" y="5432653"/>
            <a:ext cx="3369500" cy="615961"/>
          </a:xfrm>
          <a:prstGeom prst="rect">
            <a:avLst/>
          </a:prstGeom>
          <a:solidFill>
            <a:srgbClr val="DBCCBD"/>
          </a:solidFill>
        </p:spPr>
        <p:txBody>
          <a:bodyPr anchor="t"/>
          <a:lstStyle>
            <a:lvl1pPr marL="0" indent="0" algn="ctr">
              <a:spcBef>
                <a:spcPts val="0"/>
              </a:spcBef>
              <a:spcAft>
                <a:spcPts val="1200"/>
              </a:spcAft>
              <a:buNone/>
              <a:defRPr sz="1100">
                <a:solidFill>
                  <a:schemeClr val="tx1">
                    <a:lumMod val="75000"/>
                  </a:schemeClr>
                </a:solidFill>
                <a:latin typeface="+mj-lt"/>
              </a:defRPr>
            </a:lvl1pPr>
            <a:lvl2pPr marL="457200" indent="0">
              <a:buNone/>
              <a:defRPr sz="900">
                <a:solidFill>
                  <a:schemeClr val="tx2"/>
                </a:solidFill>
                <a:latin typeface="+mn-lt"/>
              </a:defRPr>
            </a:lvl2pPr>
            <a:lvl3pPr marL="914400" indent="0">
              <a:buNone/>
              <a:defRPr sz="900">
                <a:solidFill>
                  <a:schemeClr val="tx2"/>
                </a:solidFill>
                <a:latin typeface="+mn-lt"/>
              </a:defRPr>
            </a:lvl3pPr>
            <a:lvl4pPr marL="1371600" indent="0">
              <a:buNone/>
              <a:defRPr sz="900">
                <a:solidFill>
                  <a:schemeClr val="tx2"/>
                </a:solidFill>
                <a:latin typeface="+mn-lt"/>
              </a:defRPr>
            </a:lvl4pPr>
            <a:lvl5pPr marL="1828800" indent="0">
              <a:buNone/>
              <a:defRPr sz="900">
                <a:solidFill>
                  <a:schemeClr val="tx2"/>
                </a:solidFill>
                <a:latin typeface="+mn-lt"/>
              </a:defRPr>
            </a:lvl5pPr>
          </a:lstStyle>
          <a:p>
            <a:pPr lvl="0"/>
            <a:endParaRPr lang="es-ES"/>
          </a:p>
        </p:txBody>
      </p:sp>
      <p:sp>
        <p:nvSpPr>
          <p:cNvPr id="7" name="Marcador de número de diapositiva 5">
            <a:extLst>
              <a:ext uri="{FF2B5EF4-FFF2-40B4-BE49-F238E27FC236}">
                <a16:creationId xmlns:a16="http://schemas.microsoft.com/office/drawing/2014/main" id="{B2516DF1-CC9E-E7D0-2CF5-D11741DC17C1}"/>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10" name="Título 1">
            <a:extLst>
              <a:ext uri="{FF2B5EF4-FFF2-40B4-BE49-F238E27FC236}">
                <a16:creationId xmlns:a16="http://schemas.microsoft.com/office/drawing/2014/main" id="{70EB7795-BD9A-21CF-3201-222A3A89D41B}"/>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11" name="Marcador de texto 14">
            <a:extLst>
              <a:ext uri="{FF2B5EF4-FFF2-40B4-BE49-F238E27FC236}">
                <a16:creationId xmlns:a16="http://schemas.microsoft.com/office/drawing/2014/main" id="{249A3C3B-4C55-E896-B5B1-431C390740C7}"/>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47543B1A-C406-1A3A-FC87-B358DE901F90}"/>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6" name="Footnotes">
            <a:extLst>
              <a:ext uri="{FF2B5EF4-FFF2-40B4-BE49-F238E27FC236}">
                <a16:creationId xmlns:a16="http://schemas.microsoft.com/office/drawing/2014/main" id="{A02CE2DD-7DA5-E94A-CA30-DCD98F49B93F}"/>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9" name="Gráfico 2">
            <a:extLst>
              <a:ext uri="{FF2B5EF4-FFF2-40B4-BE49-F238E27FC236}">
                <a16:creationId xmlns:a16="http://schemas.microsoft.com/office/drawing/2014/main" id="{D410DA43-3D99-4537-47F7-EB5C7EFF0A9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Tree>
    <p:extLst>
      <p:ext uri="{BB962C8B-B14F-4D97-AF65-F5344CB8AC3E}">
        <p14:creationId xmlns:p14="http://schemas.microsoft.com/office/powerpoint/2010/main" val="5651574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B0DCAC-357E-8CEA-99A4-778C11053AF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ES"/>
          </a:p>
        </p:txBody>
      </p:sp>
      <p:sp>
        <p:nvSpPr>
          <p:cNvPr id="3" name="Picture Placeholder 2">
            <a:extLst>
              <a:ext uri="{FF2B5EF4-FFF2-40B4-BE49-F238E27FC236}">
                <a16:creationId xmlns:a16="http://schemas.microsoft.com/office/drawing/2014/main" id="{73325409-A5A1-3EDA-0E45-7C6FAADFA7C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Text Placeholder 3">
            <a:extLst>
              <a:ext uri="{FF2B5EF4-FFF2-40B4-BE49-F238E27FC236}">
                <a16:creationId xmlns:a16="http://schemas.microsoft.com/office/drawing/2014/main" id="{7F9683CC-0AB3-C1CD-C34B-D73303F4C7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F1960C5-BD1A-A03B-DD46-D019A7E6DCFA}"/>
              </a:ext>
            </a:extLst>
          </p:cNvPr>
          <p:cNvSpPr>
            <a:spLocks noGrp="1"/>
          </p:cNvSpPr>
          <p:nvPr>
            <p:ph type="dt" sz="half" idx="10"/>
          </p:nvPr>
        </p:nvSpPr>
        <p:spPr/>
        <p:txBody>
          <a:bodyPr/>
          <a:lstStyle/>
          <a:p>
            <a:fld id="{2936A72B-74AE-4828-B363-D54F043C4597}" type="datetimeFigureOut">
              <a:rPr lang="es-ES" smtClean="0"/>
              <a:t>03/12/2025</a:t>
            </a:fld>
            <a:endParaRPr lang="es-ES"/>
          </a:p>
        </p:txBody>
      </p:sp>
      <p:sp>
        <p:nvSpPr>
          <p:cNvPr id="6" name="Footer Placeholder 5">
            <a:extLst>
              <a:ext uri="{FF2B5EF4-FFF2-40B4-BE49-F238E27FC236}">
                <a16:creationId xmlns:a16="http://schemas.microsoft.com/office/drawing/2014/main" id="{F40CBF5F-52A3-1DEC-EFCD-28B903D4BC60}"/>
              </a:ext>
            </a:extLst>
          </p:cNvPr>
          <p:cNvSpPr>
            <a:spLocks noGrp="1"/>
          </p:cNvSpPr>
          <p:nvPr>
            <p:ph type="ftr" sz="quarter" idx="11"/>
          </p:nvPr>
        </p:nvSpPr>
        <p:spPr/>
        <p:txBody>
          <a:bodyPr/>
          <a:lstStyle/>
          <a:p>
            <a:endParaRPr lang="es-ES"/>
          </a:p>
        </p:txBody>
      </p:sp>
      <p:sp>
        <p:nvSpPr>
          <p:cNvPr id="7" name="Slide Number Placeholder 6">
            <a:extLst>
              <a:ext uri="{FF2B5EF4-FFF2-40B4-BE49-F238E27FC236}">
                <a16:creationId xmlns:a16="http://schemas.microsoft.com/office/drawing/2014/main" id="{7D6415C2-7317-3C11-B05F-E6A3F0B2ED9E}"/>
              </a:ext>
            </a:extLst>
          </p:cNvPr>
          <p:cNvSpPr>
            <a:spLocks noGrp="1"/>
          </p:cNvSpPr>
          <p:nvPr>
            <p:ph type="sldNum" sz="quarter" idx="12"/>
          </p:nvPr>
        </p:nvSpPr>
        <p:spPr/>
        <p:txBody>
          <a:bodyPr/>
          <a:lstStyle/>
          <a:p>
            <a:fld id="{9CC58EAA-8CE3-4B47-B600-46B910A49F95}" type="slidenum">
              <a:rPr lang="es-ES" smtClean="0"/>
              <a:t>‹#›</a:t>
            </a:fld>
            <a:endParaRPr lang="es-ES"/>
          </a:p>
        </p:txBody>
      </p:sp>
    </p:spTree>
    <p:extLst>
      <p:ext uri="{BB962C8B-B14F-4D97-AF65-F5344CB8AC3E}">
        <p14:creationId xmlns:p14="http://schemas.microsoft.com/office/powerpoint/2010/main" val="383870773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4_Header &amp; Content chart">
    <p:spTree>
      <p:nvGrpSpPr>
        <p:cNvPr id="1" name=""/>
        <p:cNvGrpSpPr/>
        <p:nvPr/>
      </p:nvGrpSpPr>
      <p:grpSpPr>
        <a:xfrm>
          <a:off x="0" y="0"/>
          <a:ext cx="0" cy="0"/>
          <a:chOff x="0" y="0"/>
          <a:chExt cx="0" cy="0"/>
        </a:xfrm>
      </p:grpSpPr>
      <p:sp>
        <p:nvSpPr>
          <p:cNvPr id="37" name="Marcador de gráfico 36">
            <a:extLst>
              <a:ext uri="{FF2B5EF4-FFF2-40B4-BE49-F238E27FC236}">
                <a16:creationId xmlns:a16="http://schemas.microsoft.com/office/drawing/2014/main" id="{291B6325-F006-6FE0-CADF-9334066540CA}"/>
              </a:ext>
            </a:extLst>
          </p:cNvPr>
          <p:cNvSpPr>
            <a:spLocks noGrp="1"/>
          </p:cNvSpPr>
          <p:nvPr>
            <p:ph type="chart" sz="quarter" idx="46"/>
          </p:nvPr>
        </p:nvSpPr>
        <p:spPr>
          <a:xfrm>
            <a:off x="3986213" y="1518310"/>
            <a:ext cx="4219575" cy="4217988"/>
          </a:xfrm>
          <a:prstGeom prst="rect">
            <a:avLst/>
          </a:prstGeom>
        </p:spPr>
        <p:txBody>
          <a:bodyPr/>
          <a:lstStyle>
            <a:lvl1pPr marL="0" indent="0" algn="ctr">
              <a:buNone/>
              <a:defRPr sz="1100">
                <a:latin typeface="+mj-lt"/>
              </a:defRPr>
            </a:lvl1pPr>
          </a:lstStyle>
          <a:p>
            <a:endParaRPr lang="es-ES"/>
          </a:p>
        </p:txBody>
      </p:sp>
      <p:sp>
        <p:nvSpPr>
          <p:cNvPr id="43" name="Marcador de texto 42">
            <a:extLst>
              <a:ext uri="{FF2B5EF4-FFF2-40B4-BE49-F238E27FC236}">
                <a16:creationId xmlns:a16="http://schemas.microsoft.com/office/drawing/2014/main" id="{6E6FCC05-A8B8-2A63-CF48-6650A8F922AB}"/>
              </a:ext>
            </a:extLst>
          </p:cNvPr>
          <p:cNvSpPr>
            <a:spLocks noGrp="1"/>
          </p:cNvSpPr>
          <p:nvPr>
            <p:ph type="body" sz="quarter" idx="47" hasCustomPrompt="1"/>
          </p:nvPr>
        </p:nvSpPr>
        <p:spPr>
          <a:xfrm>
            <a:off x="693939" y="1544666"/>
            <a:ext cx="2173239" cy="1886222"/>
          </a:xfrm>
          <a:prstGeom prst="rect">
            <a:avLst/>
          </a:prstGeom>
          <a:solidFill>
            <a:srgbClr val="F8F5F2"/>
          </a:solidFill>
        </p:spPr>
        <p:txBody>
          <a:bodyPr lIns="108000" tIns="108000" rIns="108000" bIns="108000"/>
          <a:lstStyle>
            <a:lvl1pPr marL="0" indent="0">
              <a:spcBef>
                <a:spcPts val="0"/>
              </a:spcBef>
              <a:spcAft>
                <a:spcPts val="600"/>
              </a:spcAft>
              <a:buNone/>
              <a:defRPr sz="1200" b="1">
                <a:latin typeface="+mj-lt"/>
              </a:defRPr>
            </a:lvl1pPr>
            <a:lvl2pPr marL="0" indent="0">
              <a:lnSpc>
                <a:spcPct val="100000"/>
              </a:lnSpc>
              <a:spcBef>
                <a:spcPts val="0"/>
              </a:spcBef>
              <a:spcAft>
                <a:spcPts val="600"/>
              </a:spcAft>
              <a:buNone/>
              <a:defRPr sz="1100">
                <a:latin typeface="+mj-lt"/>
              </a:defRPr>
            </a:lvl2pPr>
            <a:lvl3pPr marL="180000" indent="-180000">
              <a:spcBef>
                <a:spcPts val="0"/>
              </a:spcBef>
              <a:buClr>
                <a:schemeClr val="accent3"/>
              </a:buClr>
              <a:buFont typeface="Santander Text" panose="020B0504020201020104" pitchFamily="34" charset="0"/>
              <a:buChar char="•"/>
              <a:defRPr sz="1050">
                <a:latin typeface="+mj-lt"/>
              </a:defRPr>
            </a:lvl3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a:p>
            <a:pPr lvl="2"/>
            <a:r>
              <a:rPr lang="es-ES"/>
              <a:t>Click </a:t>
            </a:r>
            <a:r>
              <a:rPr lang="es-ES" err="1"/>
              <a:t>to</a:t>
            </a:r>
            <a:r>
              <a:rPr lang="es-ES"/>
              <a:t> </a:t>
            </a:r>
            <a:r>
              <a:rPr lang="es-ES" err="1"/>
              <a:t>add</a:t>
            </a:r>
            <a:r>
              <a:rPr lang="es-ES"/>
              <a:t> </a:t>
            </a:r>
            <a:r>
              <a:rPr lang="es-ES" err="1"/>
              <a:t>text</a:t>
            </a:r>
            <a:endParaRPr lang="es-ES"/>
          </a:p>
        </p:txBody>
      </p:sp>
      <p:sp>
        <p:nvSpPr>
          <p:cNvPr id="44" name="Marcador de texto 42">
            <a:extLst>
              <a:ext uri="{FF2B5EF4-FFF2-40B4-BE49-F238E27FC236}">
                <a16:creationId xmlns:a16="http://schemas.microsoft.com/office/drawing/2014/main" id="{CBC0FFB6-4B7D-6265-B96D-47E5A1E99637}"/>
              </a:ext>
            </a:extLst>
          </p:cNvPr>
          <p:cNvSpPr>
            <a:spLocks noGrp="1"/>
          </p:cNvSpPr>
          <p:nvPr>
            <p:ph type="body" sz="quarter" idx="48" hasCustomPrompt="1"/>
          </p:nvPr>
        </p:nvSpPr>
        <p:spPr>
          <a:xfrm>
            <a:off x="9520420" y="1521494"/>
            <a:ext cx="2173239" cy="1886222"/>
          </a:xfrm>
          <a:prstGeom prst="rect">
            <a:avLst/>
          </a:prstGeom>
          <a:solidFill>
            <a:srgbClr val="F8F5F2"/>
          </a:solidFill>
        </p:spPr>
        <p:txBody>
          <a:bodyPr lIns="108000" tIns="108000" rIns="108000" bIns="108000"/>
          <a:lstStyle>
            <a:lvl1pPr marL="0" indent="0" algn="r">
              <a:spcBef>
                <a:spcPts val="0"/>
              </a:spcBef>
              <a:spcAft>
                <a:spcPts val="600"/>
              </a:spcAft>
              <a:buNone/>
              <a:defRPr sz="1200" b="1">
                <a:latin typeface="+mj-lt"/>
              </a:defRPr>
            </a:lvl1pPr>
            <a:lvl2pPr marL="0" indent="0" algn="r">
              <a:lnSpc>
                <a:spcPct val="100000"/>
              </a:lnSpc>
              <a:spcBef>
                <a:spcPts val="0"/>
              </a:spcBef>
              <a:spcAft>
                <a:spcPts val="600"/>
              </a:spcAft>
              <a:buNone/>
              <a:defRPr sz="1100">
                <a:latin typeface="+mj-lt"/>
              </a:defRPr>
            </a:lvl2pPr>
            <a:lvl3pPr marL="180000" indent="-180000" algn="r">
              <a:spcBef>
                <a:spcPts val="0"/>
              </a:spcBef>
              <a:buClr>
                <a:schemeClr val="accent3"/>
              </a:buClr>
              <a:buFont typeface="Santander Text" panose="020B0504020201020104" pitchFamily="34" charset="0"/>
              <a:buChar char="•"/>
              <a:defRPr sz="1050">
                <a:latin typeface="+mj-lt"/>
              </a:defRPr>
            </a:lvl3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a:p>
            <a:pPr lvl="2"/>
            <a:r>
              <a:rPr lang="es-ES"/>
              <a:t>Click </a:t>
            </a:r>
            <a:r>
              <a:rPr lang="es-ES" err="1"/>
              <a:t>to</a:t>
            </a:r>
            <a:r>
              <a:rPr lang="es-ES"/>
              <a:t> </a:t>
            </a:r>
            <a:r>
              <a:rPr lang="es-ES" err="1"/>
              <a:t>add</a:t>
            </a:r>
            <a:r>
              <a:rPr lang="es-ES"/>
              <a:t> </a:t>
            </a:r>
            <a:r>
              <a:rPr lang="es-ES" err="1"/>
              <a:t>text</a:t>
            </a:r>
            <a:endParaRPr lang="es-ES"/>
          </a:p>
        </p:txBody>
      </p:sp>
      <p:sp>
        <p:nvSpPr>
          <p:cNvPr id="45" name="Marcador de texto 42">
            <a:extLst>
              <a:ext uri="{FF2B5EF4-FFF2-40B4-BE49-F238E27FC236}">
                <a16:creationId xmlns:a16="http://schemas.microsoft.com/office/drawing/2014/main" id="{770592CE-2F9D-1165-CB4B-929A9F9BB01E}"/>
              </a:ext>
            </a:extLst>
          </p:cNvPr>
          <p:cNvSpPr>
            <a:spLocks noGrp="1"/>
          </p:cNvSpPr>
          <p:nvPr>
            <p:ph type="body" sz="quarter" idx="49" hasCustomPrompt="1"/>
          </p:nvPr>
        </p:nvSpPr>
        <p:spPr>
          <a:xfrm>
            <a:off x="693939" y="3850076"/>
            <a:ext cx="2173239" cy="1886222"/>
          </a:xfrm>
          <a:prstGeom prst="rect">
            <a:avLst/>
          </a:prstGeom>
          <a:solidFill>
            <a:srgbClr val="F8F5F2"/>
          </a:solidFill>
        </p:spPr>
        <p:txBody>
          <a:bodyPr lIns="108000" tIns="108000" rIns="108000" bIns="108000"/>
          <a:lstStyle>
            <a:lvl1pPr marL="0" indent="0">
              <a:spcBef>
                <a:spcPts val="0"/>
              </a:spcBef>
              <a:spcAft>
                <a:spcPts val="600"/>
              </a:spcAft>
              <a:buNone/>
              <a:defRPr sz="1200" b="1">
                <a:latin typeface="+mj-lt"/>
              </a:defRPr>
            </a:lvl1pPr>
            <a:lvl2pPr marL="0" indent="0">
              <a:lnSpc>
                <a:spcPct val="100000"/>
              </a:lnSpc>
              <a:spcBef>
                <a:spcPts val="0"/>
              </a:spcBef>
              <a:spcAft>
                <a:spcPts val="600"/>
              </a:spcAft>
              <a:buNone/>
              <a:defRPr sz="1100">
                <a:latin typeface="+mj-lt"/>
              </a:defRPr>
            </a:lvl2pPr>
            <a:lvl3pPr marL="180000" indent="-180000">
              <a:spcBef>
                <a:spcPts val="0"/>
              </a:spcBef>
              <a:buClr>
                <a:schemeClr val="accent3"/>
              </a:buClr>
              <a:buFont typeface="Santander Text" panose="020B0504020201020104" pitchFamily="34" charset="0"/>
              <a:buChar char="•"/>
              <a:defRPr sz="1050">
                <a:latin typeface="+mj-lt"/>
              </a:defRPr>
            </a:lvl3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a:p>
            <a:pPr lvl="2"/>
            <a:r>
              <a:rPr lang="es-ES"/>
              <a:t>Click </a:t>
            </a:r>
            <a:r>
              <a:rPr lang="es-ES" err="1"/>
              <a:t>to</a:t>
            </a:r>
            <a:r>
              <a:rPr lang="es-ES"/>
              <a:t> </a:t>
            </a:r>
            <a:r>
              <a:rPr lang="es-ES" err="1"/>
              <a:t>add</a:t>
            </a:r>
            <a:r>
              <a:rPr lang="es-ES"/>
              <a:t> </a:t>
            </a:r>
            <a:r>
              <a:rPr lang="es-ES" err="1"/>
              <a:t>text</a:t>
            </a:r>
            <a:endParaRPr lang="es-ES"/>
          </a:p>
          <a:p>
            <a:pPr lvl="2"/>
            <a:endParaRPr lang="es-ES"/>
          </a:p>
        </p:txBody>
      </p:sp>
      <p:sp>
        <p:nvSpPr>
          <p:cNvPr id="46" name="Marcador de texto 42">
            <a:extLst>
              <a:ext uri="{FF2B5EF4-FFF2-40B4-BE49-F238E27FC236}">
                <a16:creationId xmlns:a16="http://schemas.microsoft.com/office/drawing/2014/main" id="{7EA6E5F6-37CE-7588-3C99-91FA57FF6355}"/>
              </a:ext>
            </a:extLst>
          </p:cNvPr>
          <p:cNvSpPr>
            <a:spLocks noGrp="1"/>
          </p:cNvSpPr>
          <p:nvPr>
            <p:ph type="body" sz="quarter" idx="50" hasCustomPrompt="1"/>
          </p:nvPr>
        </p:nvSpPr>
        <p:spPr>
          <a:xfrm>
            <a:off x="9520420" y="3850076"/>
            <a:ext cx="2173239" cy="1886222"/>
          </a:xfrm>
          <a:prstGeom prst="rect">
            <a:avLst/>
          </a:prstGeom>
          <a:solidFill>
            <a:srgbClr val="F8F5F2"/>
          </a:solidFill>
        </p:spPr>
        <p:txBody>
          <a:bodyPr lIns="108000" tIns="108000" rIns="108000" bIns="108000"/>
          <a:lstStyle>
            <a:lvl1pPr marL="0" indent="0" algn="r">
              <a:spcBef>
                <a:spcPts val="0"/>
              </a:spcBef>
              <a:spcAft>
                <a:spcPts val="600"/>
              </a:spcAft>
              <a:buNone/>
              <a:defRPr sz="1200" b="1">
                <a:latin typeface="+mj-lt"/>
              </a:defRPr>
            </a:lvl1pPr>
            <a:lvl2pPr marL="0" indent="0" algn="r">
              <a:lnSpc>
                <a:spcPct val="100000"/>
              </a:lnSpc>
              <a:spcBef>
                <a:spcPts val="0"/>
              </a:spcBef>
              <a:spcAft>
                <a:spcPts val="600"/>
              </a:spcAft>
              <a:buNone/>
              <a:defRPr sz="1100">
                <a:latin typeface="+mj-lt"/>
              </a:defRPr>
            </a:lvl2pPr>
            <a:lvl3pPr marL="180000" indent="-180000" algn="r">
              <a:spcBef>
                <a:spcPts val="0"/>
              </a:spcBef>
              <a:buClr>
                <a:schemeClr val="accent3"/>
              </a:buClr>
              <a:buFont typeface="Santander Text" panose="020B0504020201020104" pitchFamily="34" charset="0"/>
              <a:buChar char="•"/>
              <a:defRPr sz="1050">
                <a:latin typeface="+mj-lt"/>
              </a:defRPr>
            </a:lvl3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a:p>
            <a:pPr lvl="2"/>
            <a:r>
              <a:rPr lang="es-ES"/>
              <a:t>Click </a:t>
            </a:r>
            <a:r>
              <a:rPr lang="es-ES" err="1"/>
              <a:t>to</a:t>
            </a:r>
            <a:r>
              <a:rPr lang="es-ES"/>
              <a:t> </a:t>
            </a:r>
            <a:r>
              <a:rPr lang="es-ES" err="1"/>
              <a:t>add</a:t>
            </a:r>
            <a:r>
              <a:rPr lang="es-ES"/>
              <a:t> </a:t>
            </a:r>
            <a:r>
              <a:rPr lang="es-ES" err="1"/>
              <a:t>text</a:t>
            </a:r>
            <a:endParaRPr lang="es-ES"/>
          </a:p>
        </p:txBody>
      </p:sp>
      <p:sp>
        <p:nvSpPr>
          <p:cNvPr id="5" name="Marcador de número de diapositiva 5">
            <a:extLst>
              <a:ext uri="{FF2B5EF4-FFF2-40B4-BE49-F238E27FC236}">
                <a16:creationId xmlns:a16="http://schemas.microsoft.com/office/drawing/2014/main" id="{413873CF-F848-FB5F-B091-6DA19F57CDEA}"/>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23DCD257-E904-B8FD-D18C-0E2924A27349}"/>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8AD1A536-C2E1-3657-2352-6879B740AFC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D5BDCDD0-765D-6C0F-B92E-382D53A28783}"/>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B3B19B1A-5C20-2D9C-6255-945A11A65C00}"/>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F1BF4864-B29D-ECB3-8657-3A4282DF85F4}"/>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28593831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5_Header &amp; Content ">
    <p:spTree>
      <p:nvGrpSpPr>
        <p:cNvPr id="1" name=""/>
        <p:cNvGrpSpPr/>
        <p:nvPr/>
      </p:nvGrpSpPr>
      <p:grpSpPr>
        <a:xfrm>
          <a:off x="0" y="0"/>
          <a:ext cx="0" cy="0"/>
          <a:chOff x="0" y="0"/>
          <a:chExt cx="0" cy="0"/>
        </a:xfrm>
      </p:grpSpPr>
      <p:grpSp>
        <p:nvGrpSpPr>
          <p:cNvPr id="53" name="Grupo 52">
            <a:extLst>
              <a:ext uri="{FF2B5EF4-FFF2-40B4-BE49-F238E27FC236}">
                <a16:creationId xmlns:a16="http://schemas.microsoft.com/office/drawing/2014/main" id="{19388133-5516-E2BF-4087-A1EA9DB0475E}"/>
              </a:ext>
            </a:extLst>
          </p:cNvPr>
          <p:cNvGrpSpPr/>
          <p:nvPr userDrawn="1"/>
        </p:nvGrpSpPr>
        <p:grpSpPr>
          <a:xfrm>
            <a:off x="3681083" y="1285002"/>
            <a:ext cx="4829833" cy="4647197"/>
            <a:chOff x="3928652" y="1332328"/>
            <a:chExt cx="4372567" cy="4207222"/>
          </a:xfrm>
        </p:grpSpPr>
        <p:sp>
          <p:nvSpPr>
            <p:cNvPr id="44" name="Forma libre: forma 43">
              <a:extLst>
                <a:ext uri="{FF2B5EF4-FFF2-40B4-BE49-F238E27FC236}">
                  <a16:creationId xmlns:a16="http://schemas.microsoft.com/office/drawing/2014/main" id="{5FA98249-EF4D-99B8-1C06-FD9A5ABAC15F}"/>
                </a:ext>
              </a:extLst>
            </p:cNvPr>
            <p:cNvSpPr txBox="1">
              <a:spLocks/>
            </p:cNvSpPr>
            <p:nvPr/>
          </p:nvSpPr>
          <p:spPr>
            <a:xfrm>
              <a:off x="6107156" y="2714505"/>
              <a:ext cx="2194063" cy="2825044"/>
            </a:xfrm>
            <a:custGeom>
              <a:avLst/>
              <a:gdLst>
                <a:gd name="connsiteX0" fmla="*/ 1509676 w 2194063"/>
                <a:gd name="connsiteY0" fmla="*/ 0 h 2825044"/>
                <a:gd name="connsiteX1" fmla="*/ 1513747 w 2194063"/>
                <a:gd name="connsiteY1" fmla="*/ 2473 h 2825044"/>
                <a:gd name="connsiteX2" fmla="*/ 2194063 w 2194063"/>
                <a:gd name="connsiteY2" fmla="*/ 1281994 h 2825044"/>
                <a:gd name="connsiteX3" fmla="*/ 651013 w 2194063"/>
                <a:gd name="connsiteY3" fmla="*/ 2825044 h 2825044"/>
                <a:gd name="connsiteX4" fmla="*/ 50388 w 2194063"/>
                <a:gd name="connsiteY4" fmla="*/ 2703783 h 2825044"/>
                <a:gd name="connsiteX5" fmla="*/ 0 w 2194063"/>
                <a:gd name="connsiteY5" fmla="*/ 2679510 h 2825044"/>
                <a:gd name="connsiteX6" fmla="*/ 84495 w 2194063"/>
                <a:gd name="connsiteY6" fmla="*/ 2638806 h 2825044"/>
                <a:gd name="connsiteX7" fmla="*/ 884069 w 2194063"/>
                <a:gd name="connsiteY7" fmla="*/ 1439762 h 2825044"/>
                <a:gd name="connsiteX8" fmla="*/ 886406 w 2194063"/>
                <a:gd name="connsiteY8" fmla="*/ 1393496 h 2825044"/>
                <a:gd name="connsiteX9" fmla="*/ 955771 w 2194063"/>
                <a:gd name="connsiteY9" fmla="*/ 1341625 h 2825044"/>
                <a:gd name="connsiteX10" fmla="*/ 1517298 w 2194063"/>
                <a:gd name="connsiteY10" fmla="*/ 150933 h 2825044"/>
                <a:gd name="connsiteX11" fmla="*/ 1509676 w 2194063"/>
                <a:gd name="connsiteY11" fmla="*/ 0 h 2825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4063" h="2825044">
                  <a:moveTo>
                    <a:pt x="1509676" y="0"/>
                  </a:moveTo>
                  <a:lnTo>
                    <a:pt x="1513747" y="2473"/>
                  </a:lnTo>
                  <a:cubicBezTo>
                    <a:pt x="1924201" y="279770"/>
                    <a:pt x="2194063" y="749367"/>
                    <a:pt x="2194063" y="1281994"/>
                  </a:cubicBezTo>
                  <a:cubicBezTo>
                    <a:pt x="2194063" y="2134197"/>
                    <a:pt x="1503216" y="2825044"/>
                    <a:pt x="651013" y="2825044"/>
                  </a:cubicBezTo>
                  <a:cubicBezTo>
                    <a:pt x="437962" y="2825044"/>
                    <a:pt x="234996" y="2781866"/>
                    <a:pt x="50388" y="2703783"/>
                  </a:cubicBezTo>
                  <a:lnTo>
                    <a:pt x="0" y="2679510"/>
                  </a:lnTo>
                  <a:lnTo>
                    <a:pt x="84495" y="2638806"/>
                  </a:lnTo>
                  <a:cubicBezTo>
                    <a:pt x="521775" y="2401262"/>
                    <a:pt x="831390" y="1958490"/>
                    <a:pt x="884069" y="1439762"/>
                  </a:cubicBezTo>
                  <a:lnTo>
                    <a:pt x="886406" y="1393496"/>
                  </a:lnTo>
                  <a:lnTo>
                    <a:pt x="955771" y="1341625"/>
                  </a:lnTo>
                  <a:cubicBezTo>
                    <a:pt x="1298710" y="1058607"/>
                    <a:pt x="1517298" y="630297"/>
                    <a:pt x="1517298" y="150933"/>
                  </a:cubicBezTo>
                  <a:lnTo>
                    <a:pt x="1509676" y="0"/>
                  </a:lnTo>
                  <a:close/>
                </a:path>
              </a:pathLst>
            </a:custGeom>
            <a:solidFill>
              <a:schemeClr val="bg1"/>
            </a:solidFill>
            <a:ln w="22225">
              <a:solidFill>
                <a:schemeClr val="bg1">
                  <a:lumMod val="75000"/>
                </a:schemeClr>
              </a:solidFill>
            </a:ln>
          </p:spPr>
          <p:txBody>
            <a:bodyPr wrap="square" lIns="900000" tIns="720000" rIns="43200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kern="1200">
                  <a:solidFill>
                    <a:schemeClr val="tx1"/>
                  </a:solidFill>
                  <a:latin typeface="Santander Text" panose="020B0504020201020104" pitchFamily="34"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400" kern="1200">
                  <a:solidFill>
                    <a:schemeClr val="tx1"/>
                  </a:solidFill>
                  <a:latin typeface="Santander Text" panose="020B0504020201020104" pitchFamily="34"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Santander Text" panose="020B0504020201020104" pitchFamily="34"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s-ES" sz="900" kern="1200">
                  <a:solidFill>
                    <a:schemeClr val="tx1"/>
                  </a:solidFill>
                  <a:latin typeface="+mj-lt"/>
                  <a:ea typeface="+mn-ea"/>
                  <a:cs typeface="+mn-cs"/>
                </a:rPr>
                <a:t>Click </a:t>
              </a:r>
              <a:r>
                <a:rPr lang="es-ES" sz="900" kern="1200" err="1">
                  <a:solidFill>
                    <a:schemeClr val="tx1"/>
                  </a:solidFill>
                  <a:latin typeface="+mj-lt"/>
                  <a:ea typeface="+mn-ea"/>
                  <a:cs typeface="+mn-cs"/>
                </a:rPr>
                <a:t>to</a:t>
              </a:r>
              <a:r>
                <a:rPr lang="es-ES" sz="900" kern="1200">
                  <a:solidFill>
                    <a:schemeClr val="tx1"/>
                  </a:solidFill>
                  <a:latin typeface="+mj-lt"/>
                  <a:ea typeface="+mn-ea"/>
                  <a:cs typeface="+mn-cs"/>
                </a:rPr>
                <a:t> </a:t>
              </a:r>
              <a:br>
                <a:rPr lang="es-ES" sz="900" kern="1200">
                  <a:solidFill>
                    <a:schemeClr val="tx1"/>
                  </a:solidFill>
                  <a:latin typeface="+mj-lt"/>
                  <a:ea typeface="+mn-ea"/>
                  <a:cs typeface="+mn-cs"/>
                </a:rPr>
              </a:br>
              <a:r>
                <a:rPr lang="es-ES" sz="900" kern="1200" err="1">
                  <a:solidFill>
                    <a:schemeClr val="tx1"/>
                  </a:solidFill>
                  <a:latin typeface="+mj-lt"/>
                  <a:ea typeface="+mn-ea"/>
                  <a:cs typeface="+mn-cs"/>
                </a:rPr>
                <a:t>add</a:t>
              </a:r>
              <a:r>
                <a:rPr lang="es-ES" sz="900" kern="1200">
                  <a:solidFill>
                    <a:schemeClr val="tx1"/>
                  </a:solidFill>
                  <a:latin typeface="+mj-lt"/>
                  <a:ea typeface="+mn-ea"/>
                  <a:cs typeface="+mn-cs"/>
                </a:rPr>
                <a:t> </a:t>
              </a:r>
              <a:r>
                <a:rPr lang="es-ES" sz="900" kern="1200" err="1">
                  <a:solidFill>
                    <a:schemeClr val="tx1"/>
                  </a:solidFill>
                  <a:latin typeface="+mj-lt"/>
                  <a:ea typeface="+mn-ea"/>
                  <a:cs typeface="+mn-cs"/>
                </a:rPr>
                <a:t>text</a:t>
              </a:r>
              <a:endParaRPr lang="es-ES" sz="900" kern="1200">
                <a:solidFill>
                  <a:schemeClr val="tx1"/>
                </a:solidFill>
                <a:latin typeface="+mj-lt"/>
                <a:ea typeface="+mn-ea"/>
                <a:cs typeface="+mn-cs"/>
              </a:endParaRPr>
            </a:p>
          </p:txBody>
        </p:sp>
        <p:sp>
          <p:nvSpPr>
            <p:cNvPr id="43" name="Forma libre: forma 42">
              <a:extLst>
                <a:ext uri="{FF2B5EF4-FFF2-40B4-BE49-F238E27FC236}">
                  <a16:creationId xmlns:a16="http://schemas.microsoft.com/office/drawing/2014/main" id="{158F1B3D-A307-1328-AEBB-B98126B49C46}"/>
                </a:ext>
              </a:extLst>
            </p:cNvPr>
            <p:cNvSpPr txBox="1">
              <a:spLocks/>
            </p:cNvSpPr>
            <p:nvPr/>
          </p:nvSpPr>
          <p:spPr>
            <a:xfrm>
              <a:off x="3928652" y="2753937"/>
              <a:ext cx="2194064" cy="2785613"/>
            </a:xfrm>
            <a:custGeom>
              <a:avLst/>
              <a:gdLst>
                <a:gd name="connsiteX0" fmla="*/ 630893 w 2194064"/>
                <a:gd name="connsiteY0" fmla="*/ 0 h 2785613"/>
                <a:gd name="connsiteX1" fmla="*/ 625262 w 2194064"/>
                <a:gd name="connsiteY1" fmla="*/ 111502 h 2785613"/>
                <a:gd name="connsiteX2" fmla="*/ 1305578 w 2194064"/>
                <a:gd name="connsiteY2" fmla="*/ 1391023 h 2785613"/>
                <a:gd name="connsiteX3" fmla="*/ 1309649 w 2194064"/>
                <a:gd name="connsiteY3" fmla="*/ 1393496 h 2785613"/>
                <a:gd name="connsiteX4" fmla="*/ 1309994 w 2194064"/>
                <a:gd name="connsiteY4" fmla="*/ 1400331 h 2785613"/>
                <a:gd name="connsiteX5" fmla="*/ 2109568 w 2194064"/>
                <a:gd name="connsiteY5" fmla="*/ 2599375 h 2785613"/>
                <a:gd name="connsiteX6" fmla="*/ 2194064 w 2194064"/>
                <a:gd name="connsiteY6" fmla="*/ 2640079 h 2785613"/>
                <a:gd name="connsiteX7" fmla="*/ 2143675 w 2194064"/>
                <a:gd name="connsiteY7" fmla="*/ 2664352 h 2785613"/>
                <a:gd name="connsiteX8" fmla="*/ 1543050 w 2194064"/>
                <a:gd name="connsiteY8" fmla="*/ 2785613 h 2785613"/>
                <a:gd name="connsiteX9" fmla="*/ 0 w 2194064"/>
                <a:gd name="connsiteY9" fmla="*/ 1242563 h 2785613"/>
                <a:gd name="connsiteX10" fmla="*/ 561527 w 2194064"/>
                <a:gd name="connsiteY10" fmla="*/ 51871 h 2785613"/>
                <a:gd name="connsiteX11" fmla="*/ 630893 w 2194064"/>
                <a:gd name="connsiteY11" fmla="*/ 0 h 278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4064" h="2785613">
                  <a:moveTo>
                    <a:pt x="630893" y="0"/>
                  </a:moveTo>
                  <a:lnTo>
                    <a:pt x="625262" y="111502"/>
                  </a:lnTo>
                  <a:cubicBezTo>
                    <a:pt x="625262" y="644129"/>
                    <a:pt x="895124" y="1113726"/>
                    <a:pt x="1305578" y="1391023"/>
                  </a:cubicBezTo>
                  <a:lnTo>
                    <a:pt x="1309649" y="1393496"/>
                  </a:lnTo>
                  <a:lnTo>
                    <a:pt x="1309994" y="1400331"/>
                  </a:lnTo>
                  <a:cubicBezTo>
                    <a:pt x="1362674" y="1919059"/>
                    <a:pt x="1672288" y="2361831"/>
                    <a:pt x="2109568" y="2599375"/>
                  </a:cubicBezTo>
                  <a:lnTo>
                    <a:pt x="2194064" y="2640079"/>
                  </a:lnTo>
                  <a:lnTo>
                    <a:pt x="2143675" y="2664352"/>
                  </a:lnTo>
                  <a:cubicBezTo>
                    <a:pt x="1959067" y="2742435"/>
                    <a:pt x="1756101" y="2785613"/>
                    <a:pt x="1543050" y="2785613"/>
                  </a:cubicBezTo>
                  <a:cubicBezTo>
                    <a:pt x="690847" y="2785613"/>
                    <a:pt x="0" y="2094766"/>
                    <a:pt x="0" y="1242563"/>
                  </a:cubicBezTo>
                  <a:cubicBezTo>
                    <a:pt x="0" y="763199"/>
                    <a:pt x="218588" y="334889"/>
                    <a:pt x="561527" y="51871"/>
                  </a:cubicBezTo>
                  <a:lnTo>
                    <a:pt x="630893" y="0"/>
                  </a:lnTo>
                  <a:close/>
                </a:path>
              </a:pathLst>
            </a:custGeom>
            <a:solidFill>
              <a:schemeClr val="bg1"/>
            </a:solidFill>
            <a:ln w="22225">
              <a:solidFill>
                <a:schemeClr val="bg1">
                  <a:lumMod val="75000"/>
                </a:schemeClr>
              </a:solidFill>
            </a:ln>
          </p:spPr>
          <p:txBody>
            <a:bodyPr wrap="square" lIns="432000" tIns="720000" rIns="90000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kern="1200">
                  <a:solidFill>
                    <a:schemeClr val="tx1"/>
                  </a:solidFill>
                  <a:latin typeface="Santander Text" panose="020B0504020201020104" pitchFamily="34"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400" kern="1200">
                  <a:solidFill>
                    <a:schemeClr val="tx1"/>
                  </a:solidFill>
                  <a:latin typeface="Santander Text" panose="020B0504020201020104" pitchFamily="34"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Santander Text" panose="020B0504020201020104" pitchFamily="34"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s-ES" sz="900">
                  <a:latin typeface="+mj-lt"/>
                </a:rPr>
                <a:t>Click </a:t>
              </a:r>
              <a:r>
                <a:rPr lang="es-ES" sz="900" err="1">
                  <a:latin typeface="+mj-lt"/>
                </a:rPr>
                <a:t>to</a:t>
              </a:r>
              <a:r>
                <a:rPr lang="es-ES" sz="900">
                  <a:latin typeface="+mj-lt"/>
                </a:rPr>
                <a:t> </a:t>
              </a:r>
              <a:br>
                <a:rPr lang="es-ES" sz="900">
                  <a:latin typeface="+mj-lt"/>
                </a:rPr>
              </a:br>
              <a:r>
                <a:rPr lang="es-ES" sz="900" err="1">
                  <a:latin typeface="+mj-lt"/>
                </a:rPr>
                <a:t>add</a:t>
              </a:r>
              <a:r>
                <a:rPr lang="es-ES" sz="900">
                  <a:latin typeface="+mj-lt"/>
                </a:rPr>
                <a:t> </a:t>
              </a:r>
              <a:r>
                <a:rPr lang="es-ES" sz="900" err="1">
                  <a:latin typeface="+mj-lt"/>
                </a:rPr>
                <a:t>text</a:t>
              </a:r>
              <a:endParaRPr lang="es-ES" sz="900">
                <a:latin typeface="+mj-lt"/>
              </a:endParaRPr>
            </a:p>
          </p:txBody>
        </p:sp>
        <p:sp>
          <p:nvSpPr>
            <p:cNvPr id="46" name="Forma libre: forma 45">
              <a:extLst>
                <a:ext uri="{FF2B5EF4-FFF2-40B4-BE49-F238E27FC236}">
                  <a16:creationId xmlns:a16="http://schemas.microsoft.com/office/drawing/2014/main" id="{A1C03E74-A66C-08F8-81EC-56453DB0166C}"/>
                </a:ext>
              </a:extLst>
            </p:cNvPr>
            <p:cNvSpPr txBox="1">
              <a:spLocks/>
            </p:cNvSpPr>
            <p:nvPr/>
          </p:nvSpPr>
          <p:spPr>
            <a:xfrm>
              <a:off x="4559576" y="1332328"/>
              <a:ext cx="3072847" cy="1431548"/>
            </a:xfrm>
            <a:custGeom>
              <a:avLst/>
              <a:gdLst>
                <a:gd name="connsiteX0" fmla="*/ 1537419 w 3072847"/>
                <a:gd name="connsiteY0" fmla="*/ 0 h 1431548"/>
                <a:gd name="connsiteX1" fmla="*/ 3072502 w 3072847"/>
                <a:gd name="connsiteY1" fmla="*/ 1385282 h 1431548"/>
                <a:gd name="connsiteX2" fmla="*/ 3072847 w 3072847"/>
                <a:gd name="connsiteY2" fmla="*/ 1392117 h 1431548"/>
                <a:gd name="connsiteX3" fmla="*/ 2949693 w 3072847"/>
                <a:gd name="connsiteY3" fmla="*/ 1317299 h 1431548"/>
                <a:gd name="connsiteX4" fmla="*/ 2214184 w 3072847"/>
                <a:gd name="connsiteY4" fmla="*/ 1131061 h 1431548"/>
                <a:gd name="connsiteX5" fmla="*/ 1613559 w 3072847"/>
                <a:gd name="connsiteY5" fmla="*/ 1252322 h 1431548"/>
                <a:gd name="connsiteX6" fmla="*/ 1563171 w 3072847"/>
                <a:gd name="connsiteY6" fmla="*/ 1276596 h 1431548"/>
                <a:gd name="connsiteX7" fmla="*/ 1512782 w 3072847"/>
                <a:gd name="connsiteY7" fmla="*/ 1252322 h 1431548"/>
                <a:gd name="connsiteX8" fmla="*/ 912157 w 3072847"/>
                <a:gd name="connsiteY8" fmla="*/ 1131061 h 1431548"/>
                <a:gd name="connsiteX9" fmla="*/ 49423 w 3072847"/>
                <a:gd name="connsiteY9" fmla="*/ 1394590 h 1431548"/>
                <a:gd name="connsiteX10" fmla="*/ 0 w 3072847"/>
                <a:gd name="connsiteY10" fmla="*/ 1431548 h 1431548"/>
                <a:gd name="connsiteX11" fmla="*/ 2336 w 3072847"/>
                <a:gd name="connsiteY11" fmla="*/ 1385282 h 1431548"/>
                <a:gd name="connsiteX12" fmla="*/ 1537419 w 3072847"/>
                <a:gd name="connsiteY12" fmla="*/ 0 h 143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72847" h="1431548">
                  <a:moveTo>
                    <a:pt x="1537419" y="0"/>
                  </a:moveTo>
                  <a:cubicBezTo>
                    <a:pt x="2336360" y="0"/>
                    <a:pt x="2993483" y="607190"/>
                    <a:pt x="3072502" y="1385282"/>
                  </a:cubicBezTo>
                  <a:lnTo>
                    <a:pt x="3072847" y="1392117"/>
                  </a:lnTo>
                  <a:lnTo>
                    <a:pt x="2949693" y="1317299"/>
                  </a:lnTo>
                  <a:cubicBezTo>
                    <a:pt x="2731054" y="1198527"/>
                    <a:pt x="2480498" y="1131061"/>
                    <a:pt x="2214184" y="1131061"/>
                  </a:cubicBezTo>
                  <a:cubicBezTo>
                    <a:pt x="2001133" y="1131061"/>
                    <a:pt x="1798167" y="1174239"/>
                    <a:pt x="1613559" y="1252322"/>
                  </a:cubicBezTo>
                  <a:lnTo>
                    <a:pt x="1563171" y="1276596"/>
                  </a:lnTo>
                  <a:lnTo>
                    <a:pt x="1512782" y="1252322"/>
                  </a:lnTo>
                  <a:cubicBezTo>
                    <a:pt x="1328174" y="1174239"/>
                    <a:pt x="1125208" y="1131061"/>
                    <a:pt x="912157" y="1131061"/>
                  </a:cubicBezTo>
                  <a:cubicBezTo>
                    <a:pt x="592581" y="1131061"/>
                    <a:pt x="295696" y="1228211"/>
                    <a:pt x="49423" y="1394590"/>
                  </a:cubicBezTo>
                  <a:lnTo>
                    <a:pt x="0" y="1431548"/>
                  </a:lnTo>
                  <a:lnTo>
                    <a:pt x="2336" y="1385282"/>
                  </a:lnTo>
                  <a:cubicBezTo>
                    <a:pt x="81355" y="607190"/>
                    <a:pt x="738479" y="0"/>
                    <a:pt x="1537419" y="0"/>
                  </a:cubicBezTo>
                  <a:close/>
                </a:path>
              </a:pathLst>
            </a:custGeom>
            <a:solidFill>
              <a:schemeClr val="bg1"/>
            </a:solidFill>
            <a:ln w="22225">
              <a:solidFill>
                <a:schemeClr val="bg1">
                  <a:lumMod val="75000"/>
                </a:schemeClr>
              </a:solidFill>
            </a:ln>
          </p:spPr>
          <p:txBody>
            <a:bodyPr wrap="square" lIns="864000" rIns="86400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kern="1200">
                  <a:solidFill>
                    <a:schemeClr val="tx1"/>
                  </a:solidFill>
                  <a:latin typeface="Santander Text" panose="020B0504020201020104" pitchFamily="34"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400" kern="1200">
                  <a:solidFill>
                    <a:schemeClr val="tx1"/>
                  </a:solidFill>
                  <a:latin typeface="Santander Text" panose="020B0504020201020104" pitchFamily="34"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Santander Text" panose="020B0504020201020104" pitchFamily="34"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900">
                  <a:latin typeface="+mj-lt"/>
                </a:rPr>
                <a:t>Click </a:t>
              </a:r>
              <a:r>
                <a:rPr lang="es-ES" sz="900" err="1">
                  <a:latin typeface="+mj-lt"/>
                </a:rPr>
                <a:t>to</a:t>
              </a:r>
              <a:r>
                <a:rPr lang="es-ES" sz="900">
                  <a:latin typeface="+mj-lt"/>
                </a:rPr>
                <a:t> </a:t>
              </a:r>
              <a:br>
                <a:rPr lang="es-ES" sz="900">
                  <a:latin typeface="+mj-lt"/>
                </a:rPr>
              </a:br>
              <a:r>
                <a:rPr lang="es-ES" sz="900" err="1">
                  <a:latin typeface="+mj-lt"/>
                </a:rPr>
                <a:t>add</a:t>
              </a:r>
              <a:r>
                <a:rPr lang="es-ES" sz="900">
                  <a:latin typeface="+mj-lt"/>
                </a:rPr>
                <a:t> </a:t>
              </a:r>
              <a:r>
                <a:rPr lang="es-ES" sz="900" err="1">
                  <a:latin typeface="+mj-lt"/>
                </a:rPr>
                <a:t>text</a:t>
              </a:r>
              <a:endParaRPr lang="es-ES" sz="900">
                <a:latin typeface="+mj-lt"/>
              </a:endParaRPr>
            </a:p>
          </p:txBody>
        </p:sp>
        <p:sp>
          <p:nvSpPr>
            <p:cNvPr id="49" name="Forma libre: forma 48">
              <a:extLst>
                <a:ext uri="{FF2B5EF4-FFF2-40B4-BE49-F238E27FC236}">
                  <a16:creationId xmlns:a16="http://schemas.microsoft.com/office/drawing/2014/main" id="{F57A6376-7586-3304-8526-F56E45196431}"/>
                </a:ext>
              </a:extLst>
            </p:cNvPr>
            <p:cNvSpPr txBox="1">
              <a:spLocks/>
            </p:cNvSpPr>
            <p:nvPr/>
          </p:nvSpPr>
          <p:spPr>
            <a:xfrm>
              <a:off x="4553944" y="2453450"/>
              <a:ext cx="1568802" cy="1693983"/>
            </a:xfrm>
            <a:custGeom>
              <a:avLst/>
              <a:gdLst>
                <a:gd name="connsiteX0" fmla="*/ 917788 w 1568802"/>
                <a:gd name="connsiteY0" fmla="*/ 0 h 1693983"/>
                <a:gd name="connsiteX1" fmla="*/ 1518413 w 1568802"/>
                <a:gd name="connsiteY1" fmla="*/ 121261 h 1693983"/>
                <a:gd name="connsiteX2" fmla="*/ 1568802 w 1568802"/>
                <a:gd name="connsiteY2" fmla="*/ 145535 h 1693983"/>
                <a:gd name="connsiteX3" fmla="*/ 1484306 w 1568802"/>
                <a:gd name="connsiteY3" fmla="*/ 186238 h 1693983"/>
                <a:gd name="connsiteX4" fmla="*/ 676765 w 1568802"/>
                <a:gd name="connsiteY4" fmla="*/ 1543050 h 1693983"/>
                <a:gd name="connsiteX5" fmla="*/ 684387 w 1568802"/>
                <a:gd name="connsiteY5" fmla="*/ 1693983 h 1693983"/>
                <a:gd name="connsiteX6" fmla="*/ 680316 w 1568802"/>
                <a:gd name="connsiteY6" fmla="*/ 1691510 h 1693983"/>
                <a:gd name="connsiteX7" fmla="*/ 0 w 1568802"/>
                <a:gd name="connsiteY7" fmla="*/ 411989 h 1693983"/>
                <a:gd name="connsiteX8" fmla="*/ 5631 w 1568802"/>
                <a:gd name="connsiteY8" fmla="*/ 300487 h 1693983"/>
                <a:gd name="connsiteX9" fmla="*/ 55054 w 1568802"/>
                <a:gd name="connsiteY9" fmla="*/ 263529 h 1693983"/>
                <a:gd name="connsiteX10" fmla="*/ 917788 w 1568802"/>
                <a:gd name="connsiteY10" fmla="*/ 0 h 1693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8802" h="1693983">
                  <a:moveTo>
                    <a:pt x="917788" y="0"/>
                  </a:moveTo>
                  <a:cubicBezTo>
                    <a:pt x="1130839" y="0"/>
                    <a:pt x="1333805" y="43178"/>
                    <a:pt x="1518413" y="121261"/>
                  </a:cubicBezTo>
                  <a:lnTo>
                    <a:pt x="1568802" y="145535"/>
                  </a:lnTo>
                  <a:lnTo>
                    <a:pt x="1484306" y="186238"/>
                  </a:lnTo>
                  <a:cubicBezTo>
                    <a:pt x="1003298" y="447537"/>
                    <a:pt x="676765" y="957161"/>
                    <a:pt x="676765" y="1543050"/>
                  </a:cubicBezTo>
                  <a:lnTo>
                    <a:pt x="684387" y="1693983"/>
                  </a:lnTo>
                  <a:lnTo>
                    <a:pt x="680316" y="1691510"/>
                  </a:lnTo>
                  <a:cubicBezTo>
                    <a:pt x="269862" y="1414213"/>
                    <a:pt x="0" y="944616"/>
                    <a:pt x="0" y="411989"/>
                  </a:cubicBezTo>
                  <a:lnTo>
                    <a:pt x="5631" y="300487"/>
                  </a:lnTo>
                  <a:lnTo>
                    <a:pt x="55054" y="263529"/>
                  </a:lnTo>
                  <a:cubicBezTo>
                    <a:pt x="301327" y="97150"/>
                    <a:pt x="598212" y="0"/>
                    <a:pt x="917788" y="0"/>
                  </a:cubicBezTo>
                  <a:close/>
                </a:path>
              </a:pathLst>
            </a:custGeom>
            <a:solidFill>
              <a:schemeClr val="accent5"/>
            </a:solidFill>
            <a:ln w="22225">
              <a:solidFill>
                <a:schemeClr val="bg1"/>
              </a:solidFill>
            </a:ln>
          </p:spPr>
          <p:txBody>
            <a:bodyPr wrap="square" lIns="252000" tIns="288000" rIns="576000" anchor="t">
              <a:noAutofit/>
            </a:bodyPr>
            <a:lstStyle>
              <a:lvl1pPr marL="0" indent="0" algn="ctr" defTabSz="914400" rtl="0" eaLnBrk="1" latinLnBrk="0" hangingPunct="1">
                <a:lnSpc>
                  <a:spcPct val="90000"/>
                </a:lnSpc>
                <a:spcBef>
                  <a:spcPts val="1000"/>
                </a:spcBef>
                <a:buFont typeface="Arial" panose="020B0604020202020204" pitchFamily="34" charset="0"/>
                <a:buNone/>
                <a:defRPr sz="1600" kern="1200">
                  <a:solidFill>
                    <a:schemeClr val="tx1"/>
                  </a:solidFill>
                  <a:latin typeface="Santander Text" panose="020B0504020201020104" pitchFamily="34"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400" kern="1200">
                  <a:solidFill>
                    <a:schemeClr val="tx1"/>
                  </a:solidFill>
                  <a:latin typeface="Santander Text" panose="020B0504020201020104" pitchFamily="34"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Santander Text" panose="020B0504020201020104" pitchFamily="34"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s-ES" sz="800">
                  <a:solidFill>
                    <a:schemeClr val="bg1"/>
                  </a:solidFill>
                  <a:latin typeface="+mj-lt"/>
                </a:rPr>
                <a:t>Click </a:t>
              </a:r>
              <a:r>
                <a:rPr lang="es-ES" sz="800" err="1">
                  <a:solidFill>
                    <a:schemeClr val="bg1"/>
                  </a:solidFill>
                  <a:latin typeface="+mj-lt"/>
                </a:rPr>
                <a:t>to</a:t>
              </a:r>
              <a:r>
                <a:rPr lang="es-ES" sz="800">
                  <a:solidFill>
                    <a:schemeClr val="bg1"/>
                  </a:solidFill>
                  <a:latin typeface="+mj-lt"/>
                </a:rPr>
                <a:t> </a:t>
              </a:r>
              <a:br>
                <a:rPr lang="es-ES" sz="800">
                  <a:solidFill>
                    <a:schemeClr val="bg1"/>
                  </a:solidFill>
                  <a:latin typeface="+mj-lt"/>
                </a:rPr>
              </a:br>
              <a:r>
                <a:rPr lang="es-ES" sz="800" err="1">
                  <a:solidFill>
                    <a:schemeClr val="bg1"/>
                  </a:solidFill>
                  <a:latin typeface="+mj-lt"/>
                </a:rPr>
                <a:t>add</a:t>
              </a:r>
              <a:r>
                <a:rPr lang="es-ES" sz="800">
                  <a:solidFill>
                    <a:schemeClr val="bg1"/>
                  </a:solidFill>
                  <a:latin typeface="+mj-lt"/>
                </a:rPr>
                <a:t> </a:t>
              </a:r>
              <a:r>
                <a:rPr lang="es-ES" sz="800" err="1">
                  <a:solidFill>
                    <a:schemeClr val="bg1"/>
                  </a:solidFill>
                  <a:latin typeface="+mj-lt"/>
                </a:rPr>
                <a:t>text</a:t>
              </a:r>
              <a:endParaRPr lang="es-ES" sz="800">
                <a:solidFill>
                  <a:schemeClr val="bg1"/>
                </a:solidFill>
                <a:latin typeface="+mj-lt"/>
              </a:endParaRPr>
            </a:p>
          </p:txBody>
        </p:sp>
        <p:sp>
          <p:nvSpPr>
            <p:cNvPr id="48" name="Forma libre: forma 47">
              <a:extLst>
                <a:ext uri="{FF2B5EF4-FFF2-40B4-BE49-F238E27FC236}">
                  <a16:creationId xmlns:a16="http://schemas.microsoft.com/office/drawing/2014/main" id="{54069C24-7F41-DFC6-C342-8F28CC775061}"/>
                </a:ext>
              </a:extLst>
            </p:cNvPr>
            <p:cNvSpPr txBox="1">
              <a:spLocks/>
            </p:cNvSpPr>
            <p:nvPr/>
          </p:nvSpPr>
          <p:spPr>
            <a:xfrm>
              <a:off x="6122746" y="2453449"/>
              <a:ext cx="1517298" cy="1654552"/>
            </a:xfrm>
            <a:custGeom>
              <a:avLst/>
              <a:gdLst>
                <a:gd name="connsiteX0" fmla="*/ 651013 w 1517298"/>
                <a:gd name="connsiteY0" fmla="*/ 0 h 1654552"/>
                <a:gd name="connsiteX1" fmla="*/ 1386522 w 1517298"/>
                <a:gd name="connsiteY1" fmla="*/ 186238 h 1654552"/>
                <a:gd name="connsiteX2" fmla="*/ 1509676 w 1517298"/>
                <a:gd name="connsiteY2" fmla="*/ 261056 h 1654552"/>
                <a:gd name="connsiteX3" fmla="*/ 1517298 w 1517298"/>
                <a:gd name="connsiteY3" fmla="*/ 411989 h 1654552"/>
                <a:gd name="connsiteX4" fmla="*/ 955771 w 1517298"/>
                <a:gd name="connsiteY4" fmla="*/ 1602681 h 1654552"/>
                <a:gd name="connsiteX5" fmla="*/ 886406 w 1517298"/>
                <a:gd name="connsiteY5" fmla="*/ 1654552 h 1654552"/>
                <a:gd name="connsiteX6" fmla="*/ 892036 w 1517298"/>
                <a:gd name="connsiteY6" fmla="*/ 1543050 h 1654552"/>
                <a:gd name="connsiteX7" fmla="*/ 84495 w 1517298"/>
                <a:gd name="connsiteY7" fmla="*/ 186238 h 1654552"/>
                <a:gd name="connsiteX8" fmla="*/ 0 w 1517298"/>
                <a:gd name="connsiteY8" fmla="*/ 145535 h 1654552"/>
                <a:gd name="connsiteX9" fmla="*/ 50388 w 1517298"/>
                <a:gd name="connsiteY9" fmla="*/ 121261 h 1654552"/>
                <a:gd name="connsiteX10" fmla="*/ 651013 w 1517298"/>
                <a:gd name="connsiteY10" fmla="*/ 0 h 16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17298" h="1654552">
                  <a:moveTo>
                    <a:pt x="651013" y="0"/>
                  </a:moveTo>
                  <a:cubicBezTo>
                    <a:pt x="917327" y="0"/>
                    <a:pt x="1167883" y="67466"/>
                    <a:pt x="1386522" y="186238"/>
                  </a:cubicBezTo>
                  <a:lnTo>
                    <a:pt x="1509676" y="261056"/>
                  </a:lnTo>
                  <a:lnTo>
                    <a:pt x="1517298" y="411989"/>
                  </a:lnTo>
                  <a:cubicBezTo>
                    <a:pt x="1517298" y="891353"/>
                    <a:pt x="1298710" y="1319663"/>
                    <a:pt x="955771" y="1602681"/>
                  </a:cubicBezTo>
                  <a:lnTo>
                    <a:pt x="886406" y="1654552"/>
                  </a:lnTo>
                  <a:lnTo>
                    <a:pt x="892036" y="1543050"/>
                  </a:lnTo>
                  <a:cubicBezTo>
                    <a:pt x="892036" y="957161"/>
                    <a:pt x="565503" y="447537"/>
                    <a:pt x="84495" y="186238"/>
                  </a:cubicBezTo>
                  <a:lnTo>
                    <a:pt x="0" y="145535"/>
                  </a:lnTo>
                  <a:lnTo>
                    <a:pt x="50388" y="121261"/>
                  </a:lnTo>
                  <a:cubicBezTo>
                    <a:pt x="234996" y="43178"/>
                    <a:pt x="437962" y="0"/>
                    <a:pt x="651013" y="0"/>
                  </a:cubicBezTo>
                  <a:close/>
                </a:path>
              </a:pathLst>
            </a:custGeom>
            <a:solidFill>
              <a:schemeClr val="accent5"/>
            </a:solidFill>
            <a:ln w="22225">
              <a:solidFill>
                <a:schemeClr val="bg1"/>
              </a:solidFill>
            </a:ln>
          </p:spPr>
          <p:txBody>
            <a:bodyPr wrap="square" lIns="576000" tIns="288000" rIns="252000" anchor="t">
              <a:noAutofit/>
            </a:bodyPr>
            <a:lstStyle>
              <a:lvl1pPr marL="0" indent="0" algn="ctr" defTabSz="914400" rtl="0" eaLnBrk="1" latinLnBrk="0" hangingPunct="1">
                <a:lnSpc>
                  <a:spcPct val="90000"/>
                </a:lnSpc>
                <a:spcBef>
                  <a:spcPts val="1000"/>
                </a:spcBef>
                <a:buFont typeface="Arial" panose="020B0604020202020204" pitchFamily="34" charset="0"/>
                <a:buNone/>
                <a:defRPr sz="1600" kern="1200">
                  <a:solidFill>
                    <a:schemeClr val="tx1"/>
                  </a:solidFill>
                  <a:latin typeface="Santander Text" panose="020B0504020201020104" pitchFamily="34"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400" kern="1200">
                  <a:solidFill>
                    <a:schemeClr val="tx1"/>
                  </a:solidFill>
                  <a:latin typeface="Santander Text" panose="020B0504020201020104" pitchFamily="34"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Santander Text" panose="020B0504020201020104" pitchFamily="34"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s-ES" sz="800">
                  <a:solidFill>
                    <a:schemeClr val="bg1"/>
                  </a:solidFill>
                  <a:latin typeface="+mj-lt"/>
                </a:rPr>
                <a:t>Click </a:t>
              </a:r>
              <a:r>
                <a:rPr lang="es-ES" sz="800" err="1">
                  <a:solidFill>
                    <a:schemeClr val="bg1"/>
                  </a:solidFill>
                  <a:latin typeface="+mj-lt"/>
                </a:rPr>
                <a:t>to</a:t>
              </a:r>
              <a:r>
                <a:rPr lang="es-ES" sz="800">
                  <a:solidFill>
                    <a:schemeClr val="bg1"/>
                  </a:solidFill>
                  <a:latin typeface="+mj-lt"/>
                </a:rPr>
                <a:t> </a:t>
              </a:r>
              <a:br>
                <a:rPr lang="es-ES" sz="800">
                  <a:solidFill>
                    <a:schemeClr val="bg1"/>
                  </a:solidFill>
                  <a:latin typeface="+mj-lt"/>
                </a:rPr>
              </a:br>
              <a:r>
                <a:rPr lang="es-ES" sz="800" err="1">
                  <a:solidFill>
                    <a:schemeClr val="bg1"/>
                  </a:solidFill>
                  <a:latin typeface="+mj-lt"/>
                </a:rPr>
                <a:t>add</a:t>
              </a:r>
              <a:r>
                <a:rPr lang="es-ES" sz="800">
                  <a:solidFill>
                    <a:schemeClr val="bg1"/>
                  </a:solidFill>
                  <a:latin typeface="+mj-lt"/>
                </a:rPr>
                <a:t> </a:t>
              </a:r>
              <a:r>
                <a:rPr lang="es-ES" sz="800" err="1">
                  <a:solidFill>
                    <a:schemeClr val="bg1"/>
                  </a:solidFill>
                  <a:latin typeface="+mj-lt"/>
                </a:rPr>
                <a:t>text</a:t>
              </a:r>
              <a:endParaRPr lang="es-ES" sz="800">
                <a:solidFill>
                  <a:schemeClr val="bg1"/>
                </a:solidFill>
                <a:latin typeface="+mj-lt"/>
              </a:endParaRPr>
            </a:p>
          </p:txBody>
        </p:sp>
        <p:sp>
          <p:nvSpPr>
            <p:cNvPr id="47" name="Forma libre: forma 46">
              <a:extLst>
                <a:ext uri="{FF2B5EF4-FFF2-40B4-BE49-F238E27FC236}">
                  <a16:creationId xmlns:a16="http://schemas.microsoft.com/office/drawing/2014/main" id="{8D89B087-CF6F-4D2D-8CA7-E329EF5CE6C1}"/>
                </a:ext>
              </a:extLst>
            </p:cNvPr>
            <p:cNvSpPr txBox="1">
              <a:spLocks/>
            </p:cNvSpPr>
            <p:nvPr/>
          </p:nvSpPr>
          <p:spPr>
            <a:xfrm>
              <a:off x="5238332" y="4108001"/>
              <a:ext cx="1770821" cy="1286014"/>
            </a:xfrm>
            <a:custGeom>
              <a:avLst/>
              <a:gdLst>
                <a:gd name="connsiteX0" fmla="*/ 1770821 w 1770821"/>
                <a:gd name="connsiteY0" fmla="*/ 0 h 1286014"/>
                <a:gd name="connsiteX1" fmla="*/ 1768484 w 1770821"/>
                <a:gd name="connsiteY1" fmla="*/ 46266 h 1286014"/>
                <a:gd name="connsiteX2" fmla="*/ 968910 w 1770821"/>
                <a:gd name="connsiteY2" fmla="*/ 1245310 h 1286014"/>
                <a:gd name="connsiteX3" fmla="*/ 884415 w 1770821"/>
                <a:gd name="connsiteY3" fmla="*/ 1286014 h 1286014"/>
                <a:gd name="connsiteX4" fmla="*/ 799919 w 1770821"/>
                <a:gd name="connsiteY4" fmla="*/ 1245310 h 1286014"/>
                <a:gd name="connsiteX5" fmla="*/ 345 w 1770821"/>
                <a:gd name="connsiteY5" fmla="*/ 46266 h 1286014"/>
                <a:gd name="connsiteX6" fmla="*/ 0 w 1770821"/>
                <a:gd name="connsiteY6" fmla="*/ 39431 h 1286014"/>
                <a:gd name="connsiteX7" fmla="*/ 123154 w 1770821"/>
                <a:gd name="connsiteY7" fmla="*/ 114249 h 1286014"/>
                <a:gd name="connsiteX8" fmla="*/ 858663 w 1770821"/>
                <a:gd name="connsiteY8" fmla="*/ 300487 h 1286014"/>
                <a:gd name="connsiteX9" fmla="*/ 1721397 w 1770821"/>
                <a:gd name="connsiteY9" fmla="*/ 36958 h 1286014"/>
                <a:gd name="connsiteX10" fmla="*/ 1770821 w 1770821"/>
                <a:gd name="connsiteY10" fmla="*/ 0 h 128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70821" h="1286014">
                  <a:moveTo>
                    <a:pt x="1770821" y="0"/>
                  </a:moveTo>
                  <a:lnTo>
                    <a:pt x="1768484" y="46266"/>
                  </a:lnTo>
                  <a:cubicBezTo>
                    <a:pt x="1715805" y="564994"/>
                    <a:pt x="1406190" y="1007766"/>
                    <a:pt x="968910" y="1245310"/>
                  </a:cubicBezTo>
                  <a:lnTo>
                    <a:pt x="884415" y="1286014"/>
                  </a:lnTo>
                  <a:lnTo>
                    <a:pt x="799919" y="1245310"/>
                  </a:lnTo>
                  <a:cubicBezTo>
                    <a:pt x="362639" y="1007766"/>
                    <a:pt x="53025" y="564994"/>
                    <a:pt x="345" y="46266"/>
                  </a:cubicBezTo>
                  <a:lnTo>
                    <a:pt x="0" y="39431"/>
                  </a:lnTo>
                  <a:lnTo>
                    <a:pt x="123154" y="114249"/>
                  </a:lnTo>
                  <a:cubicBezTo>
                    <a:pt x="341794" y="233022"/>
                    <a:pt x="592350" y="300487"/>
                    <a:pt x="858663" y="300487"/>
                  </a:cubicBezTo>
                  <a:cubicBezTo>
                    <a:pt x="1178239" y="300487"/>
                    <a:pt x="1475125" y="203337"/>
                    <a:pt x="1721397" y="36958"/>
                  </a:cubicBezTo>
                  <a:lnTo>
                    <a:pt x="1770821" y="0"/>
                  </a:lnTo>
                  <a:close/>
                </a:path>
              </a:pathLst>
            </a:custGeom>
            <a:solidFill>
              <a:schemeClr val="accent5"/>
            </a:solidFill>
            <a:ln w="22225">
              <a:solidFill>
                <a:schemeClr val="bg1"/>
              </a:solidFill>
            </a:ln>
          </p:spPr>
          <p:txBody>
            <a:bodyPr wrap="square" lIns="288000" rIns="28800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kern="1200">
                  <a:solidFill>
                    <a:schemeClr val="tx1"/>
                  </a:solidFill>
                  <a:latin typeface="Santander Text" panose="020B0504020201020104" pitchFamily="34"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400" kern="1200">
                  <a:solidFill>
                    <a:schemeClr val="tx1"/>
                  </a:solidFill>
                  <a:latin typeface="Santander Text" panose="020B0504020201020104" pitchFamily="34"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Santander Text" panose="020B0504020201020104" pitchFamily="34"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800">
                  <a:solidFill>
                    <a:schemeClr val="bg1"/>
                  </a:solidFill>
                  <a:latin typeface="+mj-lt"/>
                </a:rPr>
                <a:t>Click </a:t>
              </a:r>
              <a:r>
                <a:rPr lang="es-ES" sz="800" err="1">
                  <a:solidFill>
                    <a:schemeClr val="bg1"/>
                  </a:solidFill>
                  <a:latin typeface="+mj-lt"/>
                </a:rPr>
                <a:t>to</a:t>
              </a:r>
              <a:r>
                <a:rPr lang="es-ES" sz="800">
                  <a:solidFill>
                    <a:schemeClr val="bg1"/>
                  </a:solidFill>
                  <a:latin typeface="+mj-lt"/>
                </a:rPr>
                <a:t> </a:t>
              </a:r>
              <a:br>
                <a:rPr lang="es-ES" sz="800">
                  <a:solidFill>
                    <a:schemeClr val="bg1"/>
                  </a:solidFill>
                  <a:latin typeface="+mj-lt"/>
                </a:rPr>
              </a:br>
              <a:r>
                <a:rPr lang="es-ES" sz="800" err="1">
                  <a:solidFill>
                    <a:schemeClr val="bg1"/>
                  </a:solidFill>
                  <a:latin typeface="+mj-lt"/>
                </a:rPr>
                <a:t>add</a:t>
              </a:r>
              <a:r>
                <a:rPr lang="es-ES" sz="800">
                  <a:solidFill>
                    <a:schemeClr val="bg1"/>
                  </a:solidFill>
                  <a:latin typeface="+mj-lt"/>
                </a:rPr>
                <a:t> </a:t>
              </a:r>
              <a:r>
                <a:rPr lang="es-ES" sz="800" err="1">
                  <a:solidFill>
                    <a:schemeClr val="bg1"/>
                  </a:solidFill>
                  <a:latin typeface="+mj-lt"/>
                </a:rPr>
                <a:t>text</a:t>
              </a:r>
              <a:endParaRPr lang="es-ES" sz="800">
                <a:solidFill>
                  <a:schemeClr val="bg1"/>
                </a:solidFill>
                <a:latin typeface="+mj-lt"/>
              </a:endParaRPr>
            </a:p>
          </p:txBody>
        </p:sp>
        <p:sp>
          <p:nvSpPr>
            <p:cNvPr id="45" name="Forma libre: forma 44">
              <a:extLst>
                <a:ext uri="{FF2B5EF4-FFF2-40B4-BE49-F238E27FC236}">
                  <a16:creationId xmlns:a16="http://schemas.microsoft.com/office/drawing/2014/main" id="{32094A33-9F1E-9639-1AB8-B45C87C0D812}"/>
                </a:ext>
              </a:extLst>
            </p:cNvPr>
            <p:cNvSpPr txBox="1">
              <a:spLocks/>
            </p:cNvSpPr>
            <p:nvPr/>
          </p:nvSpPr>
          <p:spPr>
            <a:xfrm>
              <a:off x="5230710" y="2598984"/>
              <a:ext cx="1784073" cy="1809504"/>
            </a:xfrm>
            <a:custGeom>
              <a:avLst/>
              <a:gdLst>
                <a:gd name="connsiteX0" fmla="*/ 892037 w 1784073"/>
                <a:gd name="connsiteY0" fmla="*/ 0 h 1809504"/>
                <a:gd name="connsiteX1" fmla="*/ 976532 w 1784073"/>
                <a:gd name="connsiteY1" fmla="*/ 40703 h 1809504"/>
                <a:gd name="connsiteX2" fmla="*/ 1784073 w 1784073"/>
                <a:gd name="connsiteY2" fmla="*/ 1397515 h 1809504"/>
                <a:gd name="connsiteX3" fmla="*/ 1778443 w 1784073"/>
                <a:gd name="connsiteY3" fmla="*/ 1509017 h 1809504"/>
                <a:gd name="connsiteX4" fmla="*/ 1729019 w 1784073"/>
                <a:gd name="connsiteY4" fmla="*/ 1545975 h 1809504"/>
                <a:gd name="connsiteX5" fmla="*/ 866285 w 1784073"/>
                <a:gd name="connsiteY5" fmla="*/ 1809504 h 1809504"/>
                <a:gd name="connsiteX6" fmla="*/ 130776 w 1784073"/>
                <a:gd name="connsiteY6" fmla="*/ 1623266 h 1809504"/>
                <a:gd name="connsiteX7" fmla="*/ 7622 w 1784073"/>
                <a:gd name="connsiteY7" fmla="*/ 1548448 h 1809504"/>
                <a:gd name="connsiteX8" fmla="*/ 0 w 1784073"/>
                <a:gd name="connsiteY8" fmla="*/ 1397515 h 1809504"/>
                <a:gd name="connsiteX9" fmla="*/ 807541 w 1784073"/>
                <a:gd name="connsiteY9" fmla="*/ 40703 h 1809504"/>
                <a:gd name="connsiteX10" fmla="*/ 892037 w 1784073"/>
                <a:gd name="connsiteY10" fmla="*/ 0 h 180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4073" h="1809504">
                  <a:moveTo>
                    <a:pt x="892037" y="0"/>
                  </a:moveTo>
                  <a:lnTo>
                    <a:pt x="976532" y="40703"/>
                  </a:lnTo>
                  <a:cubicBezTo>
                    <a:pt x="1457540" y="302002"/>
                    <a:pt x="1784073" y="811626"/>
                    <a:pt x="1784073" y="1397515"/>
                  </a:cubicBezTo>
                  <a:lnTo>
                    <a:pt x="1778443" y="1509017"/>
                  </a:lnTo>
                  <a:lnTo>
                    <a:pt x="1729019" y="1545975"/>
                  </a:lnTo>
                  <a:cubicBezTo>
                    <a:pt x="1482747" y="1712354"/>
                    <a:pt x="1185861" y="1809504"/>
                    <a:pt x="866285" y="1809504"/>
                  </a:cubicBezTo>
                  <a:cubicBezTo>
                    <a:pt x="599972" y="1809504"/>
                    <a:pt x="349416" y="1742039"/>
                    <a:pt x="130776" y="1623266"/>
                  </a:cubicBezTo>
                  <a:lnTo>
                    <a:pt x="7622" y="1548448"/>
                  </a:lnTo>
                  <a:lnTo>
                    <a:pt x="0" y="1397515"/>
                  </a:lnTo>
                  <a:cubicBezTo>
                    <a:pt x="0" y="811626"/>
                    <a:pt x="326533" y="302002"/>
                    <a:pt x="807541" y="40703"/>
                  </a:cubicBezTo>
                  <a:lnTo>
                    <a:pt x="892037" y="0"/>
                  </a:lnTo>
                  <a:close/>
                </a:path>
              </a:pathLst>
            </a:custGeom>
            <a:solidFill>
              <a:schemeClr val="accent2"/>
            </a:solidFill>
            <a:ln w="60325">
              <a:solidFill>
                <a:schemeClr val="bg1"/>
              </a:solidFill>
            </a:ln>
          </p:spPr>
          <p:txBody>
            <a:bodyPr wrap="square"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kern="1200">
                  <a:solidFill>
                    <a:schemeClr val="tx1"/>
                  </a:solidFill>
                  <a:latin typeface="Santander Text" panose="020B0504020201020104" pitchFamily="34"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400" kern="1200">
                  <a:solidFill>
                    <a:schemeClr val="tx1"/>
                  </a:solidFill>
                  <a:latin typeface="Santander Text" panose="020B0504020201020104" pitchFamily="34"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Santander Text" panose="020B0504020201020104" pitchFamily="34"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1400">
                  <a:solidFill>
                    <a:schemeClr val="bg1"/>
                  </a:solidFill>
                  <a:latin typeface="+mj-lt"/>
                </a:rPr>
                <a:t>Click </a:t>
              </a:r>
              <a:r>
                <a:rPr lang="es-ES" sz="1400" err="1">
                  <a:solidFill>
                    <a:schemeClr val="bg1"/>
                  </a:solidFill>
                  <a:latin typeface="+mj-lt"/>
                </a:rPr>
                <a:t>to</a:t>
              </a:r>
              <a:r>
                <a:rPr lang="es-ES" sz="1400">
                  <a:solidFill>
                    <a:schemeClr val="bg1"/>
                  </a:solidFill>
                  <a:latin typeface="+mj-lt"/>
                </a:rPr>
                <a:t> </a:t>
              </a:r>
              <a:br>
                <a:rPr lang="es-ES" sz="1400">
                  <a:solidFill>
                    <a:schemeClr val="bg1"/>
                  </a:solidFill>
                  <a:latin typeface="+mj-lt"/>
                </a:rPr>
              </a:br>
              <a:r>
                <a:rPr lang="es-ES" sz="1400" err="1">
                  <a:solidFill>
                    <a:schemeClr val="bg1"/>
                  </a:solidFill>
                  <a:latin typeface="+mj-lt"/>
                </a:rPr>
                <a:t>add</a:t>
              </a:r>
              <a:r>
                <a:rPr lang="es-ES" sz="1400">
                  <a:solidFill>
                    <a:schemeClr val="bg1"/>
                  </a:solidFill>
                  <a:latin typeface="+mj-lt"/>
                </a:rPr>
                <a:t> </a:t>
              </a:r>
              <a:r>
                <a:rPr lang="es-ES" sz="1400" err="1">
                  <a:solidFill>
                    <a:schemeClr val="bg1"/>
                  </a:solidFill>
                  <a:latin typeface="+mj-lt"/>
                </a:rPr>
                <a:t>text</a:t>
              </a:r>
              <a:endParaRPr lang="es-ES" sz="1400">
                <a:solidFill>
                  <a:schemeClr val="bg1"/>
                </a:solidFill>
                <a:latin typeface="+mj-lt"/>
              </a:endParaRPr>
            </a:p>
          </p:txBody>
        </p:sp>
      </p:grpSp>
      <p:sp>
        <p:nvSpPr>
          <p:cNvPr id="55" name="Marcador de texto 54">
            <a:extLst>
              <a:ext uri="{FF2B5EF4-FFF2-40B4-BE49-F238E27FC236}">
                <a16:creationId xmlns:a16="http://schemas.microsoft.com/office/drawing/2014/main" id="{296DDE1E-C6CE-44DB-93D3-6A655DB6D667}"/>
              </a:ext>
            </a:extLst>
          </p:cNvPr>
          <p:cNvSpPr>
            <a:spLocks noGrp="1"/>
          </p:cNvSpPr>
          <p:nvPr>
            <p:ph type="body" sz="quarter" idx="46" hasCustomPrompt="1"/>
          </p:nvPr>
        </p:nvSpPr>
        <p:spPr>
          <a:xfrm>
            <a:off x="782790" y="1620422"/>
            <a:ext cx="3121918" cy="1130292"/>
          </a:xfrm>
          <a:prstGeom prst="rect">
            <a:avLst/>
          </a:prstGeom>
        </p:spPr>
        <p:txBody>
          <a:bodyPr/>
          <a:lstStyle>
            <a:lvl1pPr marL="0" indent="0" algn="r">
              <a:spcBef>
                <a:spcPts val="0"/>
              </a:spcBef>
              <a:spcAft>
                <a:spcPts val="300"/>
              </a:spcAft>
              <a:buNone/>
              <a:defRPr lang="es-ES" sz="1200" b="1" kern="1200" smtClean="0">
                <a:solidFill>
                  <a:srgbClr val="6F7779"/>
                </a:solidFill>
                <a:latin typeface="+mj-lt"/>
                <a:ea typeface="+mn-ea"/>
                <a:cs typeface="Arial" charset="0"/>
                <a:sym typeface="Arial"/>
              </a:defRPr>
            </a:lvl1pPr>
            <a:lvl2pPr marL="0" indent="0" algn="r">
              <a:lnSpc>
                <a:spcPct val="100000"/>
              </a:lnSpc>
              <a:spcBef>
                <a:spcPts val="0"/>
              </a:spcBef>
              <a:spcAft>
                <a:spcPts val="1200"/>
              </a:spcAft>
              <a:buNone/>
              <a:defRPr sz="10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56" name="Marcador de texto 54">
            <a:extLst>
              <a:ext uri="{FF2B5EF4-FFF2-40B4-BE49-F238E27FC236}">
                <a16:creationId xmlns:a16="http://schemas.microsoft.com/office/drawing/2014/main" id="{72798A9C-0753-6A54-CDB6-6604A9BF3462}"/>
              </a:ext>
            </a:extLst>
          </p:cNvPr>
          <p:cNvSpPr>
            <a:spLocks noGrp="1"/>
          </p:cNvSpPr>
          <p:nvPr>
            <p:ph type="body" sz="quarter" idx="47" hasCustomPrompt="1"/>
          </p:nvPr>
        </p:nvSpPr>
        <p:spPr>
          <a:xfrm>
            <a:off x="782790" y="4246890"/>
            <a:ext cx="2543770" cy="1130292"/>
          </a:xfrm>
          <a:prstGeom prst="rect">
            <a:avLst/>
          </a:prstGeom>
        </p:spPr>
        <p:txBody>
          <a:bodyPr/>
          <a:lstStyle>
            <a:lvl1pPr marL="0" indent="0" algn="r">
              <a:spcBef>
                <a:spcPts val="0"/>
              </a:spcBef>
              <a:spcAft>
                <a:spcPts val="300"/>
              </a:spcAft>
              <a:buNone/>
              <a:defRPr lang="es-ES" sz="1200" b="1" kern="1200" smtClean="0">
                <a:solidFill>
                  <a:srgbClr val="6F7779"/>
                </a:solidFill>
                <a:latin typeface="+mj-lt"/>
                <a:ea typeface="+mn-ea"/>
                <a:cs typeface="Arial" charset="0"/>
                <a:sym typeface="Arial"/>
              </a:defRPr>
            </a:lvl1pPr>
            <a:lvl2pPr marL="0" indent="0" algn="r">
              <a:lnSpc>
                <a:spcPct val="100000"/>
              </a:lnSpc>
              <a:spcBef>
                <a:spcPts val="0"/>
              </a:spcBef>
              <a:spcAft>
                <a:spcPts val="1200"/>
              </a:spcAft>
              <a:buNone/>
              <a:defRPr sz="10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57" name="Marcador de texto 54">
            <a:extLst>
              <a:ext uri="{FF2B5EF4-FFF2-40B4-BE49-F238E27FC236}">
                <a16:creationId xmlns:a16="http://schemas.microsoft.com/office/drawing/2014/main" id="{01E328FD-2EC4-FCCB-B8F3-6BFD3E33E2A4}"/>
              </a:ext>
            </a:extLst>
          </p:cNvPr>
          <p:cNvSpPr>
            <a:spLocks noGrp="1"/>
          </p:cNvSpPr>
          <p:nvPr>
            <p:ph type="body" sz="quarter" idx="48" hasCustomPrompt="1"/>
          </p:nvPr>
        </p:nvSpPr>
        <p:spPr>
          <a:xfrm>
            <a:off x="8681334" y="3978227"/>
            <a:ext cx="3121918" cy="1130292"/>
          </a:xfrm>
          <a:prstGeom prst="rect">
            <a:avLst/>
          </a:prstGeom>
        </p:spPr>
        <p:txBody>
          <a:bodyPr/>
          <a:lstStyle>
            <a:lvl1pPr marL="0" indent="0" algn="l">
              <a:spcBef>
                <a:spcPts val="0"/>
              </a:spcBef>
              <a:spcAft>
                <a:spcPts val="300"/>
              </a:spcAft>
              <a:buNone/>
              <a:defRPr lang="es-ES" sz="1200" b="1" kern="1200" smtClean="0">
                <a:solidFill>
                  <a:srgbClr val="6F7779"/>
                </a:solidFill>
                <a:latin typeface="+mj-lt"/>
                <a:ea typeface="+mn-ea"/>
                <a:cs typeface="Arial" charset="0"/>
                <a:sym typeface="Arial"/>
              </a:defRPr>
            </a:lvl1pPr>
            <a:lvl2pPr marL="0" indent="0" algn="l">
              <a:lnSpc>
                <a:spcPct val="100000"/>
              </a:lnSpc>
              <a:spcBef>
                <a:spcPts val="0"/>
              </a:spcBef>
              <a:spcAft>
                <a:spcPts val="1200"/>
              </a:spcAft>
              <a:buNone/>
              <a:defRPr sz="10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a:p>
            <a:pPr lvl="1"/>
            <a:endParaRPr lang="es-ES"/>
          </a:p>
        </p:txBody>
      </p:sp>
      <p:sp>
        <p:nvSpPr>
          <p:cNvPr id="5" name="Marcador de número de diapositiva 5">
            <a:extLst>
              <a:ext uri="{FF2B5EF4-FFF2-40B4-BE49-F238E27FC236}">
                <a16:creationId xmlns:a16="http://schemas.microsoft.com/office/drawing/2014/main" id="{D99B42F6-D389-A627-B7EF-8A3D28732AEC}"/>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pic>
        <p:nvPicPr>
          <p:cNvPr id="3" name="Gráfico 2">
            <a:extLst>
              <a:ext uri="{FF2B5EF4-FFF2-40B4-BE49-F238E27FC236}">
                <a16:creationId xmlns:a16="http://schemas.microsoft.com/office/drawing/2014/main" id="{57873BD8-457C-FEC1-C2B0-8E175A7E6DC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7EB74874-0B94-71A1-5178-61F6459C38EC}"/>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0D7B2079-1172-AB23-DF9B-51939718A51F}"/>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6C71A5D3-DF84-F4C9-9B04-4BA53B76EA16}"/>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9" name="Footnotes">
            <a:extLst>
              <a:ext uri="{FF2B5EF4-FFF2-40B4-BE49-F238E27FC236}">
                <a16:creationId xmlns:a16="http://schemas.microsoft.com/office/drawing/2014/main" id="{B815C484-64EB-9065-FD2A-94EE77AB9E7C}"/>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spTree>
    <p:extLst>
      <p:ext uri="{BB962C8B-B14F-4D97-AF65-F5344CB8AC3E}">
        <p14:creationId xmlns:p14="http://schemas.microsoft.com/office/powerpoint/2010/main" val="41910542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6_Header &amp; Content ">
    <p:spTree>
      <p:nvGrpSpPr>
        <p:cNvPr id="1" name=""/>
        <p:cNvGrpSpPr/>
        <p:nvPr/>
      </p:nvGrpSpPr>
      <p:grpSpPr>
        <a:xfrm>
          <a:off x="0" y="0"/>
          <a:ext cx="0" cy="0"/>
          <a:chOff x="0" y="0"/>
          <a:chExt cx="0" cy="0"/>
        </a:xfrm>
      </p:grpSpPr>
      <p:grpSp>
        <p:nvGrpSpPr>
          <p:cNvPr id="53" name="Grupo 52">
            <a:extLst>
              <a:ext uri="{FF2B5EF4-FFF2-40B4-BE49-F238E27FC236}">
                <a16:creationId xmlns:a16="http://schemas.microsoft.com/office/drawing/2014/main" id="{19388133-5516-E2BF-4087-A1EA9DB0475E}"/>
              </a:ext>
            </a:extLst>
          </p:cNvPr>
          <p:cNvGrpSpPr/>
          <p:nvPr userDrawn="1"/>
        </p:nvGrpSpPr>
        <p:grpSpPr>
          <a:xfrm>
            <a:off x="3671356" y="1332327"/>
            <a:ext cx="4829833" cy="4647197"/>
            <a:chOff x="3928652" y="1332328"/>
            <a:chExt cx="4372567" cy="4207222"/>
          </a:xfrm>
        </p:grpSpPr>
        <p:sp>
          <p:nvSpPr>
            <p:cNvPr id="44" name="Forma libre: forma 43">
              <a:extLst>
                <a:ext uri="{FF2B5EF4-FFF2-40B4-BE49-F238E27FC236}">
                  <a16:creationId xmlns:a16="http://schemas.microsoft.com/office/drawing/2014/main" id="{5FA98249-EF4D-99B8-1C06-FD9A5ABAC15F}"/>
                </a:ext>
              </a:extLst>
            </p:cNvPr>
            <p:cNvSpPr txBox="1">
              <a:spLocks/>
            </p:cNvSpPr>
            <p:nvPr/>
          </p:nvSpPr>
          <p:spPr>
            <a:xfrm>
              <a:off x="6107156" y="2714505"/>
              <a:ext cx="2194063" cy="2825044"/>
            </a:xfrm>
            <a:custGeom>
              <a:avLst/>
              <a:gdLst>
                <a:gd name="connsiteX0" fmla="*/ 1509676 w 2194063"/>
                <a:gd name="connsiteY0" fmla="*/ 0 h 2825044"/>
                <a:gd name="connsiteX1" fmla="*/ 1513747 w 2194063"/>
                <a:gd name="connsiteY1" fmla="*/ 2473 h 2825044"/>
                <a:gd name="connsiteX2" fmla="*/ 2194063 w 2194063"/>
                <a:gd name="connsiteY2" fmla="*/ 1281994 h 2825044"/>
                <a:gd name="connsiteX3" fmla="*/ 651013 w 2194063"/>
                <a:gd name="connsiteY3" fmla="*/ 2825044 h 2825044"/>
                <a:gd name="connsiteX4" fmla="*/ 50388 w 2194063"/>
                <a:gd name="connsiteY4" fmla="*/ 2703783 h 2825044"/>
                <a:gd name="connsiteX5" fmla="*/ 0 w 2194063"/>
                <a:gd name="connsiteY5" fmla="*/ 2679510 h 2825044"/>
                <a:gd name="connsiteX6" fmla="*/ 84495 w 2194063"/>
                <a:gd name="connsiteY6" fmla="*/ 2638806 h 2825044"/>
                <a:gd name="connsiteX7" fmla="*/ 884069 w 2194063"/>
                <a:gd name="connsiteY7" fmla="*/ 1439762 h 2825044"/>
                <a:gd name="connsiteX8" fmla="*/ 886406 w 2194063"/>
                <a:gd name="connsiteY8" fmla="*/ 1393496 h 2825044"/>
                <a:gd name="connsiteX9" fmla="*/ 955771 w 2194063"/>
                <a:gd name="connsiteY9" fmla="*/ 1341625 h 2825044"/>
                <a:gd name="connsiteX10" fmla="*/ 1517298 w 2194063"/>
                <a:gd name="connsiteY10" fmla="*/ 150933 h 2825044"/>
                <a:gd name="connsiteX11" fmla="*/ 1509676 w 2194063"/>
                <a:gd name="connsiteY11" fmla="*/ 0 h 2825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4063" h="2825044">
                  <a:moveTo>
                    <a:pt x="1509676" y="0"/>
                  </a:moveTo>
                  <a:lnTo>
                    <a:pt x="1513747" y="2473"/>
                  </a:lnTo>
                  <a:cubicBezTo>
                    <a:pt x="1924201" y="279770"/>
                    <a:pt x="2194063" y="749367"/>
                    <a:pt x="2194063" y="1281994"/>
                  </a:cubicBezTo>
                  <a:cubicBezTo>
                    <a:pt x="2194063" y="2134197"/>
                    <a:pt x="1503216" y="2825044"/>
                    <a:pt x="651013" y="2825044"/>
                  </a:cubicBezTo>
                  <a:cubicBezTo>
                    <a:pt x="437962" y="2825044"/>
                    <a:pt x="234996" y="2781866"/>
                    <a:pt x="50388" y="2703783"/>
                  </a:cubicBezTo>
                  <a:lnTo>
                    <a:pt x="0" y="2679510"/>
                  </a:lnTo>
                  <a:lnTo>
                    <a:pt x="84495" y="2638806"/>
                  </a:lnTo>
                  <a:cubicBezTo>
                    <a:pt x="521775" y="2401262"/>
                    <a:pt x="831390" y="1958490"/>
                    <a:pt x="884069" y="1439762"/>
                  </a:cubicBezTo>
                  <a:lnTo>
                    <a:pt x="886406" y="1393496"/>
                  </a:lnTo>
                  <a:lnTo>
                    <a:pt x="955771" y="1341625"/>
                  </a:lnTo>
                  <a:cubicBezTo>
                    <a:pt x="1298710" y="1058607"/>
                    <a:pt x="1517298" y="630297"/>
                    <a:pt x="1517298" y="150933"/>
                  </a:cubicBezTo>
                  <a:lnTo>
                    <a:pt x="1509676" y="0"/>
                  </a:lnTo>
                  <a:close/>
                </a:path>
              </a:pathLst>
            </a:custGeom>
            <a:solidFill>
              <a:schemeClr val="accent3">
                <a:alpha val="60000"/>
              </a:schemeClr>
            </a:solidFill>
            <a:ln w="22225">
              <a:noFill/>
            </a:ln>
          </p:spPr>
          <p:txBody>
            <a:bodyPr wrap="square" lIns="900000" tIns="720000" rIns="43200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kern="1200">
                  <a:solidFill>
                    <a:schemeClr val="tx1"/>
                  </a:solidFill>
                  <a:latin typeface="Santander Text" panose="020B0504020201020104" pitchFamily="34"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400" kern="1200">
                  <a:solidFill>
                    <a:schemeClr val="tx1"/>
                  </a:solidFill>
                  <a:latin typeface="Santander Text" panose="020B0504020201020104" pitchFamily="34"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Santander Text" panose="020B0504020201020104" pitchFamily="34"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s-ES" sz="900" kern="1200">
                  <a:solidFill>
                    <a:schemeClr val="tx1"/>
                  </a:solidFill>
                  <a:latin typeface="+mj-lt"/>
                  <a:ea typeface="+mn-ea"/>
                  <a:cs typeface="+mn-cs"/>
                </a:rPr>
                <a:t>Click </a:t>
              </a:r>
              <a:r>
                <a:rPr lang="es-ES" sz="900" kern="1200" err="1">
                  <a:solidFill>
                    <a:schemeClr val="tx1"/>
                  </a:solidFill>
                  <a:latin typeface="+mj-lt"/>
                  <a:ea typeface="+mn-ea"/>
                  <a:cs typeface="+mn-cs"/>
                </a:rPr>
                <a:t>to</a:t>
              </a:r>
              <a:r>
                <a:rPr lang="es-ES" sz="900" kern="1200">
                  <a:solidFill>
                    <a:schemeClr val="tx1"/>
                  </a:solidFill>
                  <a:latin typeface="+mj-lt"/>
                  <a:ea typeface="+mn-ea"/>
                  <a:cs typeface="+mn-cs"/>
                </a:rPr>
                <a:t> </a:t>
              </a:r>
              <a:br>
                <a:rPr lang="es-ES" sz="900" kern="1200">
                  <a:solidFill>
                    <a:schemeClr val="tx1"/>
                  </a:solidFill>
                  <a:latin typeface="+mj-lt"/>
                  <a:ea typeface="+mn-ea"/>
                  <a:cs typeface="+mn-cs"/>
                </a:rPr>
              </a:br>
              <a:r>
                <a:rPr lang="es-ES" sz="900" kern="1200" err="1">
                  <a:solidFill>
                    <a:schemeClr val="tx1"/>
                  </a:solidFill>
                  <a:latin typeface="+mj-lt"/>
                  <a:ea typeface="+mn-ea"/>
                  <a:cs typeface="+mn-cs"/>
                </a:rPr>
                <a:t>add</a:t>
              </a:r>
              <a:r>
                <a:rPr lang="es-ES" sz="900" kern="1200">
                  <a:solidFill>
                    <a:schemeClr val="tx1"/>
                  </a:solidFill>
                  <a:latin typeface="+mj-lt"/>
                  <a:ea typeface="+mn-ea"/>
                  <a:cs typeface="+mn-cs"/>
                </a:rPr>
                <a:t> </a:t>
              </a:r>
              <a:r>
                <a:rPr lang="es-ES" sz="900" kern="1200" err="1">
                  <a:solidFill>
                    <a:schemeClr val="tx1"/>
                  </a:solidFill>
                  <a:latin typeface="+mj-lt"/>
                  <a:ea typeface="+mn-ea"/>
                  <a:cs typeface="+mn-cs"/>
                </a:rPr>
                <a:t>text</a:t>
              </a:r>
              <a:endParaRPr lang="es-ES" sz="900" kern="1200">
                <a:solidFill>
                  <a:schemeClr val="tx1"/>
                </a:solidFill>
                <a:latin typeface="+mj-lt"/>
                <a:ea typeface="+mn-ea"/>
                <a:cs typeface="+mn-cs"/>
              </a:endParaRPr>
            </a:p>
          </p:txBody>
        </p:sp>
        <p:sp>
          <p:nvSpPr>
            <p:cNvPr id="43" name="Forma libre: forma 42">
              <a:extLst>
                <a:ext uri="{FF2B5EF4-FFF2-40B4-BE49-F238E27FC236}">
                  <a16:creationId xmlns:a16="http://schemas.microsoft.com/office/drawing/2014/main" id="{158F1B3D-A307-1328-AEBB-B98126B49C46}"/>
                </a:ext>
              </a:extLst>
            </p:cNvPr>
            <p:cNvSpPr txBox="1">
              <a:spLocks/>
            </p:cNvSpPr>
            <p:nvPr/>
          </p:nvSpPr>
          <p:spPr>
            <a:xfrm>
              <a:off x="3928652" y="2753937"/>
              <a:ext cx="2194064" cy="2785613"/>
            </a:xfrm>
            <a:custGeom>
              <a:avLst/>
              <a:gdLst>
                <a:gd name="connsiteX0" fmla="*/ 630893 w 2194064"/>
                <a:gd name="connsiteY0" fmla="*/ 0 h 2785613"/>
                <a:gd name="connsiteX1" fmla="*/ 625262 w 2194064"/>
                <a:gd name="connsiteY1" fmla="*/ 111502 h 2785613"/>
                <a:gd name="connsiteX2" fmla="*/ 1305578 w 2194064"/>
                <a:gd name="connsiteY2" fmla="*/ 1391023 h 2785613"/>
                <a:gd name="connsiteX3" fmla="*/ 1309649 w 2194064"/>
                <a:gd name="connsiteY3" fmla="*/ 1393496 h 2785613"/>
                <a:gd name="connsiteX4" fmla="*/ 1309994 w 2194064"/>
                <a:gd name="connsiteY4" fmla="*/ 1400331 h 2785613"/>
                <a:gd name="connsiteX5" fmla="*/ 2109568 w 2194064"/>
                <a:gd name="connsiteY5" fmla="*/ 2599375 h 2785613"/>
                <a:gd name="connsiteX6" fmla="*/ 2194064 w 2194064"/>
                <a:gd name="connsiteY6" fmla="*/ 2640079 h 2785613"/>
                <a:gd name="connsiteX7" fmla="*/ 2143675 w 2194064"/>
                <a:gd name="connsiteY7" fmla="*/ 2664352 h 2785613"/>
                <a:gd name="connsiteX8" fmla="*/ 1543050 w 2194064"/>
                <a:gd name="connsiteY8" fmla="*/ 2785613 h 2785613"/>
                <a:gd name="connsiteX9" fmla="*/ 0 w 2194064"/>
                <a:gd name="connsiteY9" fmla="*/ 1242563 h 2785613"/>
                <a:gd name="connsiteX10" fmla="*/ 561527 w 2194064"/>
                <a:gd name="connsiteY10" fmla="*/ 51871 h 2785613"/>
                <a:gd name="connsiteX11" fmla="*/ 630893 w 2194064"/>
                <a:gd name="connsiteY11" fmla="*/ 0 h 278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4064" h="2785613">
                  <a:moveTo>
                    <a:pt x="630893" y="0"/>
                  </a:moveTo>
                  <a:lnTo>
                    <a:pt x="625262" y="111502"/>
                  </a:lnTo>
                  <a:cubicBezTo>
                    <a:pt x="625262" y="644129"/>
                    <a:pt x="895124" y="1113726"/>
                    <a:pt x="1305578" y="1391023"/>
                  </a:cubicBezTo>
                  <a:lnTo>
                    <a:pt x="1309649" y="1393496"/>
                  </a:lnTo>
                  <a:lnTo>
                    <a:pt x="1309994" y="1400331"/>
                  </a:lnTo>
                  <a:cubicBezTo>
                    <a:pt x="1362674" y="1919059"/>
                    <a:pt x="1672288" y="2361831"/>
                    <a:pt x="2109568" y="2599375"/>
                  </a:cubicBezTo>
                  <a:lnTo>
                    <a:pt x="2194064" y="2640079"/>
                  </a:lnTo>
                  <a:lnTo>
                    <a:pt x="2143675" y="2664352"/>
                  </a:lnTo>
                  <a:cubicBezTo>
                    <a:pt x="1959067" y="2742435"/>
                    <a:pt x="1756101" y="2785613"/>
                    <a:pt x="1543050" y="2785613"/>
                  </a:cubicBezTo>
                  <a:cubicBezTo>
                    <a:pt x="690847" y="2785613"/>
                    <a:pt x="0" y="2094766"/>
                    <a:pt x="0" y="1242563"/>
                  </a:cubicBezTo>
                  <a:cubicBezTo>
                    <a:pt x="0" y="763199"/>
                    <a:pt x="218588" y="334889"/>
                    <a:pt x="561527" y="51871"/>
                  </a:cubicBezTo>
                  <a:lnTo>
                    <a:pt x="630893" y="0"/>
                  </a:lnTo>
                  <a:close/>
                </a:path>
              </a:pathLst>
            </a:custGeom>
            <a:solidFill>
              <a:schemeClr val="accent3">
                <a:alpha val="60000"/>
              </a:schemeClr>
            </a:solidFill>
            <a:ln w="22225">
              <a:noFill/>
            </a:ln>
          </p:spPr>
          <p:txBody>
            <a:bodyPr wrap="square" lIns="432000" tIns="720000" rIns="90000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kern="1200">
                  <a:solidFill>
                    <a:schemeClr val="tx1"/>
                  </a:solidFill>
                  <a:latin typeface="Santander Text" panose="020B0504020201020104" pitchFamily="34"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400" kern="1200">
                  <a:solidFill>
                    <a:schemeClr val="tx1"/>
                  </a:solidFill>
                  <a:latin typeface="Santander Text" panose="020B0504020201020104" pitchFamily="34"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Santander Text" panose="020B0504020201020104" pitchFamily="34"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s-ES" sz="900">
                  <a:latin typeface="+mj-lt"/>
                </a:rPr>
                <a:t>Click </a:t>
              </a:r>
              <a:r>
                <a:rPr lang="es-ES" sz="900" err="1">
                  <a:latin typeface="+mj-lt"/>
                </a:rPr>
                <a:t>to</a:t>
              </a:r>
              <a:r>
                <a:rPr lang="es-ES" sz="900">
                  <a:latin typeface="+mj-lt"/>
                </a:rPr>
                <a:t> </a:t>
              </a:r>
              <a:br>
                <a:rPr lang="es-ES" sz="900">
                  <a:latin typeface="+mj-lt"/>
                </a:rPr>
              </a:br>
              <a:r>
                <a:rPr lang="es-ES" sz="900" err="1">
                  <a:latin typeface="+mj-lt"/>
                </a:rPr>
                <a:t>add</a:t>
              </a:r>
              <a:r>
                <a:rPr lang="es-ES" sz="900">
                  <a:latin typeface="+mj-lt"/>
                </a:rPr>
                <a:t> </a:t>
              </a:r>
              <a:r>
                <a:rPr lang="es-ES" sz="900" err="1">
                  <a:latin typeface="+mj-lt"/>
                </a:rPr>
                <a:t>text</a:t>
              </a:r>
              <a:endParaRPr lang="es-ES" sz="900">
                <a:latin typeface="+mj-lt"/>
              </a:endParaRPr>
            </a:p>
          </p:txBody>
        </p:sp>
        <p:sp>
          <p:nvSpPr>
            <p:cNvPr id="46" name="Forma libre: forma 45">
              <a:extLst>
                <a:ext uri="{FF2B5EF4-FFF2-40B4-BE49-F238E27FC236}">
                  <a16:creationId xmlns:a16="http://schemas.microsoft.com/office/drawing/2014/main" id="{A1C03E74-A66C-08F8-81EC-56453DB0166C}"/>
                </a:ext>
              </a:extLst>
            </p:cNvPr>
            <p:cNvSpPr txBox="1">
              <a:spLocks/>
            </p:cNvSpPr>
            <p:nvPr/>
          </p:nvSpPr>
          <p:spPr>
            <a:xfrm>
              <a:off x="4559576" y="1332328"/>
              <a:ext cx="3072847" cy="1431548"/>
            </a:xfrm>
            <a:custGeom>
              <a:avLst/>
              <a:gdLst>
                <a:gd name="connsiteX0" fmla="*/ 1537419 w 3072847"/>
                <a:gd name="connsiteY0" fmla="*/ 0 h 1431548"/>
                <a:gd name="connsiteX1" fmla="*/ 3072502 w 3072847"/>
                <a:gd name="connsiteY1" fmla="*/ 1385282 h 1431548"/>
                <a:gd name="connsiteX2" fmla="*/ 3072847 w 3072847"/>
                <a:gd name="connsiteY2" fmla="*/ 1392117 h 1431548"/>
                <a:gd name="connsiteX3" fmla="*/ 2949693 w 3072847"/>
                <a:gd name="connsiteY3" fmla="*/ 1317299 h 1431548"/>
                <a:gd name="connsiteX4" fmla="*/ 2214184 w 3072847"/>
                <a:gd name="connsiteY4" fmla="*/ 1131061 h 1431548"/>
                <a:gd name="connsiteX5" fmla="*/ 1613559 w 3072847"/>
                <a:gd name="connsiteY5" fmla="*/ 1252322 h 1431548"/>
                <a:gd name="connsiteX6" fmla="*/ 1563171 w 3072847"/>
                <a:gd name="connsiteY6" fmla="*/ 1276596 h 1431548"/>
                <a:gd name="connsiteX7" fmla="*/ 1512782 w 3072847"/>
                <a:gd name="connsiteY7" fmla="*/ 1252322 h 1431548"/>
                <a:gd name="connsiteX8" fmla="*/ 912157 w 3072847"/>
                <a:gd name="connsiteY8" fmla="*/ 1131061 h 1431548"/>
                <a:gd name="connsiteX9" fmla="*/ 49423 w 3072847"/>
                <a:gd name="connsiteY9" fmla="*/ 1394590 h 1431548"/>
                <a:gd name="connsiteX10" fmla="*/ 0 w 3072847"/>
                <a:gd name="connsiteY10" fmla="*/ 1431548 h 1431548"/>
                <a:gd name="connsiteX11" fmla="*/ 2336 w 3072847"/>
                <a:gd name="connsiteY11" fmla="*/ 1385282 h 1431548"/>
                <a:gd name="connsiteX12" fmla="*/ 1537419 w 3072847"/>
                <a:gd name="connsiteY12" fmla="*/ 0 h 143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72847" h="1431548">
                  <a:moveTo>
                    <a:pt x="1537419" y="0"/>
                  </a:moveTo>
                  <a:cubicBezTo>
                    <a:pt x="2336360" y="0"/>
                    <a:pt x="2993483" y="607190"/>
                    <a:pt x="3072502" y="1385282"/>
                  </a:cubicBezTo>
                  <a:lnTo>
                    <a:pt x="3072847" y="1392117"/>
                  </a:lnTo>
                  <a:lnTo>
                    <a:pt x="2949693" y="1317299"/>
                  </a:lnTo>
                  <a:cubicBezTo>
                    <a:pt x="2731054" y="1198527"/>
                    <a:pt x="2480498" y="1131061"/>
                    <a:pt x="2214184" y="1131061"/>
                  </a:cubicBezTo>
                  <a:cubicBezTo>
                    <a:pt x="2001133" y="1131061"/>
                    <a:pt x="1798167" y="1174239"/>
                    <a:pt x="1613559" y="1252322"/>
                  </a:cubicBezTo>
                  <a:lnTo>
                    <a:pt x="1563171" y="1276596"/>
                  </a:lnTo>
                  <a:lnTo>
                    <a:pt x="1512782" y="1252322"/>
                  </a:lnTo>
                  <a:cubicBezTo>
                    <a:pt x="1328174" y="1174239"/>
                    <a:pt x="1125208" y="1131061"/>
                    <a:pt x="912157" y="1131061"/>
                  </a:cubicBezTo>
                  <a:cubicBezTo>
                    <a:pt x="592581" y="1131061"/>
                    <a:pt x="295696" y="1228211"/>
                    <a:pt x="49423" y="1394590"/>
                  </a:cubicBezTo>
                  <a:lnTo>
                    <a:pt x="0" y="1431548"/>
                  </a:lnTo>
                  <a:lnTo>
                    <a:pt x="2336" y="1385282"/>
                  </a:lnTo>
                  <a:cubicBezTo>
                    <a:pt x="81355" y="607190"/>
                    <a:pt x="738479" y="0"/>
                    <a:pt x="1537419" y="0"/>
                  </a:cubicBezTo>
                  <a:close/>
                </a:path>
              </a:pathLst>
            </a:custGeom>
            <a:solidFill>
              <a:schemeClr val="accent3">
                <a:alpha val="60000"/>
              </a:schemeClr>
            </a:solidFill>
            <a:ln w="22225">
              <a:noFill/>
            </a:ln>
          </p:spPr>
          <p:txBody>
            <a:bodyPr wrap="square" lIns="864000" rIns="86400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kern="1200">
                  <a:solidFill>
                    <a:schemeClr val="tx1"/>
                  </a:solidFill>
                  <a:latin typeface="Santander Text" panose="020B0504020201020104" pitchFamily="34"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400" kern="1200">
                  <a:solidFill>
                    <a:schemeClr val="tx1"/>
                  </a:solidFill>
                  <a:latin typeface="Santander Text" panose="020B0504020201020104" pitchFamily="34"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Santander Text" panose="020B0504020201020104" pitchFamily="34"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900">
                  <a:latin typeface="+mj-lt"/>
                </a:rPr>
                <a:t>Click </a:t>
              </a:r>
              <a:r>
                <a:rPr lang="es-ES" sz="900" err="1">
                  <a:latin typeface="+mj-lt"/>
                </a:rPr>
                <a:t>to</a:t>
              </a:r>
              <a:r>
                <a:rPr lang="es-ES" sz="900">
                  <a:latin typeface="+mj-lt"/>
                </a:rPr>
                <a:t> </a:t>
              </a:r>
              <a:br>
                <a:rPr lang="es-ES" sz="900">
                  <a:latin typeface="+mj-lt"/>
                </a:rPr>
              </a:br>
              <a:r>
                <a:rPr lang="es-ES" sz="900" err="1">
                  <a:latin typeface="+mj-lt"/>
                </a:rPr>
                <a:t>add</a:t>
              </a:r>
              <a:r>
                <a:rPr lang="es-ES" sz="900">
                  <a:latin typeface="+mj-lt"/>
                </a:rPr>
                <a:t> </a:t>
              </a:r>
              <a:r>
                <a:rPr lang="es-ES" sz="900" err="1">
                  <a:latin typeface="+mj-lt"/>
                </a:rPr>
                <a:t>text</a:t>
              </a:r>
              <a:endParaRPr lang="es-ES" sz="900">
                <a:latin typeface="+mj-lt"/>
              </a:endParaRPr>
            </a:p>
          </p:txBody>
        </p:sp>
        <p:sp>
          <p:nvSpPr>
            <p:cNvPr id="49" name="Forma libre: forma 48">
              <a:extLst>
                <a:ext uri="{FF2B5EF4-FFF2-40B4-BE49-F238E27FC236}">
                  <a16:creationId xmlns:a16="http://schemas.microsoft.com/office/drawing/2014/main" id="{F57A6376-7586-3304-8526-F56E45196431}"/>
                </a:ext>
              </a:extLst>
            </p:cNvPr>
            <p:cNvSpPr txBox="1">
              <a:spLocks/>
            </p:cNvSpPr>
            <p:nvPr/>
          </p:nvSpPr>
          <p:spPr>
            <a:xfrm>
              <a:off x="4553944" y="2453450"/>
              <a:ext cx="1568802" cy="1693983"/>
            </a:xfrm>
            <a:custGeom>
              <a:avLst/>
              <a:gdLst>
                <a:gd name="connsiteX0" fmla="*/ 917788 w 1568802"/>
                <a:gd name="connsiteY0" fmla="*/ 0 h 1693983"/>
                <a:gd name="connsiteX1" fmla="*/ 1518413 w 1568802"/>
                <a:gd name="connsiteY1" fmla="*/ 121261 h 1693983"/>
                <a:gd name="connsiteX2" fmla="*/ 1568802 w 1568802"/>
                <a:gd name="connsiteY2" fmla="*/ 145535 h 1693983"/>
                <a:gd name="connsiteX3" fmla="*/ 1484306 w 1568802"/>
                <a:gd name="connsiteY3" fmla="*/ 186238 h 1693983"/>
                <a:gd name="connsiteX4" fmla="*/ 676765 w 1568802"/>
                <a:gd name="connsiteY4" fmla="*/ 1543050 h 1693983"/>
                <a:gd name="connsiteX5" fmla="*/ 684387 w 1568802"/>
                <a:gd name="connsiteY5" fmla="*/ 1693983 h 1693983"/>
                <a:gd name="connsiteX6" fmla="*/ 680316 w 1568802"/>
                <a:gd name="connsiteY6" fmla="*/ 1691510 h 1693983"/>
                <a:gd name="connsiteX7" fmla="*/ 0 w 1568802"/>
                <a:gd name="connsiteY7" fmla="*/ 411989 h 1693983"/>
                <a:gd name="connsiteX8" fmla="*/ 5631 w 1568802"/>
                <a:gd name="connsiteY8" fmla="*/ 300487 h 1693983"/>
                <a:gd name="connsiteX9" fmla="*/ 55054 w 1568802"/>
                <a:gd name="connsiteY9" fmla="*/ 263529 h 1693983"/>
                <a:gd name="connsiteX10" fmla="*/ 917788 w 1568802"/>
                <a:gd name="connsiteY10" fmla="*/ 0 h 1693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8802" h="1693983">
                  <a:moveTo>
                    <a:pt x="917788" y="0"/>
                  </a:moveTo>
                  <a:cubicBezTo>
                    <a:pt x="1130839" y="0"/>
                    <a:pt x="1333805" y="43178"/>
                    <a:pt x="1518413" y="121261"/>
                  </a:cubicBezTo>
                  <a:lnTo>
                    <a:pt x="1568802" y="145535"/>
                  </a:lnTo>
                  <a:lnTo>
                    <a:pt x="1484306" y="186238"/>
                  </a:lnTo>
                  <a:cubicBezTo>
                    <a:pt x="1003298" y="447537"/>
                    <a:pt x="676765" y="957161"/>
                    <a:pt x="676765" y="1543050"/>
                  </a:cubicBezTo>
                  <a:lnTo>
                    <a:pt x="684387" y="1693983"/>
                  </a:lnTo>
                  <a:lnTo>
                    <a:pt x="680316" y="1691510"/>
                  </a:lnTo>
                  <a:cubicBezTo>
                    <a:pt x="269862" y="1414213"/>
                    <a:pt x="0" y="944616"/>
                    <a:pt x="0" y="411989"/>
                  </a:cubicBezTo>
                  <a:lnTo>
                    <a:pt x="5631" y="300487"/>
                  </a:lnTo>
                  <a:lnTo>
                    <a:pt x="55054" y="263529"/>
                  </a:lnTo>
                  <a:cubicBezTo>
                    <a:pt x="301327" y="97150"/>
                    <a:pt x="598212" y="0"/>
                    <a:pt x="917788" y="0"/>
                  </a:cubicBezTo>
                  <a:close/>
                </a:path>
              </a:pathLst>
            </a:custGeom>
            <a:solidFill>
              <a:schemeClr val="accent2"/>
            </a:solidFill>
            <a:ln w="22225">
              <a:solidFill>
                <a:schemeClr val="bg1"/>
              </a:solidFill>
            </a:ln>
          </p:spPr>
          <p:txBody>
            <a:bodyPr wrap="square" lIns="252000" tIns="288000" rIns="576000" anchor="t">
              <a:noAutofit/>
            </a:bodyPr>
            <a:lstStyle>
              <a:lvl1pPr marL="0" indent="0" algn="ctr" defTabSz="914400" rtl="0" eaLnBrk="1" latinLnBrk="0" hangingPunct="1">
                <a:lnSpc>
                  <a:spcPct val="90000"/>
                </a:lnSpc>
                <a:spcBef>
                  <a:spcPts val="1000"/>
                </a:spcBef>
                <a:buFont typeface="Arial" panose="020B0604020202020204" pitchFamily="34" charset="0"/>
                <a:buNone/>
                <a:defRPr sz="1600" kern="1200">
                  <a:solidFill>
                    <a:schemeClr val="tx1"/>
                  </a:solidFill>
                  <a:latin typeface="Santander Text" panose="020B0504020201020104" pitchFamily="34"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400" kern="1200">
                  <a:solidFill>
                    <a:schemeClr val="tx1"/>
                  </a:solidFill>
                  <a:latin typeface="Santander Text" panose="020B0504020201020104" pitchFamily="34"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Santander Text" panose="020B0504020201020104" pitchFamily="34"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s-ES" sz="800">
                  <a:solidFill>
                    <a:schemeClr val="bg1"/>
                  </a:solidFill>
                  <a:latin typeface="+mj-lt"/>
                </a:rPr>
                <a:t>Click </a:t>
              </a:r>
              <a:r>
                <a:rPr lang="es-ES" sz="800" err="1">
                  <a:solidFill>
                    <a:schemeClr val="bg1"/>
                  </a:solidFill>
                  <a:latin typeface="+mj-lt"/>
                </a:rPr>
                <a:t>to</a:t>
              </a:r>
              <a:r>
                <a:rPr lang="es-ES" sz="800">
                  <a:solidFill>
                    <a:schemeClr val="bg1"/>
                  </a:solidFill>
                  <a:latin typeface="+mj-lt"/>
                </a:rPr>
                <a:t> </a:t>
              </a:r>
              <a:br>
                <a:rPr lang="es-ES" sz="800">
                  <a:solidFill>
                    <a:schemeClr val="bg1"/>
                  </a:solidFill>
                  <a:latin typeface="+mj-lt"/>
                </a:rPr>
              </a:br>
              <a:r>
                <a:rPr lang="es-ES" sz="800" err="1">
                  <a:solidFill>
                    <a:schemeClr val="bg1"/>
                  </a:solidFill>
                  <a:latin typeface="+mj-lt"/>
                </a:rPr>
                <a:t>add</a:t>
              </a:r>
              <a:r>
                <a:rPr lang="es-ES" sz="800">
                  <a:solidFill>
                    <a:schemeClr val="bg1"/>
                  </a:solidFill>
                  <a:latin typeface="+mj-lt"/>
                </a:rPr>
                <a:t> </a:t>
              </a:r>
              <a:r>
                <a:rPr lang="es-ES" sz="800" err="1">
                  <a:solidFill>
                    <a:schemeClr val="bg1"/>
                  </a:solidFill>
                  <a:latin typeface="+mj-lt"/>
                </a:rPr>
                <a:t>text</a:t>
              </a:r>
              <a:endParaRPr lang="es-ES" sz="800">
                <a:solidFill>
                  <a:schemeClr val="bg1"/>
                </a:solidFill>
                <a:latin typeface="+mj-lt"/>
              </a:endParaRPr>
            </a:p>
          </p:txBody>
        </p:sp>
        <p:sp>
          <p:nvSpPr>
            <p:cNvPr id="48" name="Forma libre: forma 47">
              <a:extLst>
                <a:ext uri="{FF2B5EF4-FFF2-40B4-BE49-F238E27FC236}">
                  <a16:creationId xmlns:a16="http://schemas.microsoft.com/office/drawing/2014/main" id="{54069C24-7F41-DFC6-C342-8F28CC775061}"/>
                </a:ext>
              </a:extLst>
            </p:cNvPr>
            <p:cNvSpPr txBox="1">
              <a:spLocks/>
            </p:cNvSpPr>
            <p:nvPr/>
          </p:nvSpPr>
          <p:spPr>
            <a:xfrm>
              <a:off x="6122746" y="2453449"/>
              <a:ext cx="1517298" cy="1654552"/>
            </a:xfrm>
            <a:custGeom>
              <a:avLst/>
              <a:gdLst>
                <a:gd name="connsiteX0" fmla="*/ 651013 w 1517298"/>
                <a:gd name="connsiteY0" fmla="*/ 0 h 1654552"/>
                <a:gd name="connsiteX1" fmla="*/ 1386522 w 1517298"/>
                <a:gd name="connsiteY1" fmla="*/ 186238 h 1654552"/>
                <a:gd name="connsiteX2" fmla="*/ 1509676 w 1517298"/>
                <a:gd name="connsiteY2" fmla="*/ 261056 h 1654552"/>
                <a:gd name="connsiteX3" fmla="*/ 1517298 w 1517298"/>
                <a:gd name="connsiteY3" fmla="*/ 411989 h 1654552"/>
                <a:gd name="connsiteX4" fmla="*/ 955771 w 1517298"/>
                <a:gd name="connsiteY4" fmla="*/ 1602681 h 1654552"/>
                <a:gd name="connsiteX5" fmla="*/ 886406 w 1517298"/>
                <a:gd name="connsiteY5" fmla="*/ 1654552 h 1654552"/>
                <a:gd name="connsiteX6" fmla="*/ 892036 w 1517298"/>
                <a:gd name="connsiteY6" fmla="*/ 1543050 h 1654552"/>
                <a:gd name="connsiteX7" fmla="*/ 84495 w 1517298"/>
                <a:gd name="connsiteY7" fmla="*/ 186238 h 1654552"/>
                <a:gd name="connsiteX8" fmla="*/ 0 w 1517298"/>
                <a:gd name="connsiteY8" fmla="*/ 145535 h 1654552"/>
                <a:gd name="connsiteX9" fmla="*/ 50388 w 1517298"/>
                <a:gd name="connsiteY9" fmla="*/ 121261 h 1654552"/>
                <a:gd name="connsiteX10" fmla="*/ 651013 w 1517298"/>
                <a:gd name="connsiteY10" fmla="*/ 0 h 16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17298" h="1654552">
                  <a:moveTo>
                    <a:pt x="651013" y="0"/>
                  </a:moveTo>
                  <a:cubicBezTo>
                    <a:pt x="917327" y="0"/>
                    <a:pt x="1167883" y="67466"/>
                    <a:pt x="1386522" y="186238"/>
                  </a:cubicBezTo>
                  <a:lnTo>
                    <a:pt x="1509676" y="261056"/>
                  </a:lnTo>
                  <a:lnTo>
                    <a:pt x="1517298" y="411989"/>
                  </a:lnTo>
                  <a:cubicBezTo>
                    <a:pt x="1517298" y="891353"/>
                    <a:pt x="1298710" y="1319663"/>
                    <a:pt x="955771" y="1602681"/>
                  </a:cubicBezTo>
                  <a:lnTo>
                    <a:pt x="886406" y="1654552"/>
                  </a:lnTo>
                  <a:lnTo>
                    <a:pt x="892036" y="1543050"/>
                  </a:lnTo>
                  <a:cubicBezTo>
                    <a:pt x="892036" y="957161"/>
                    <a:pt x="565503" y="447537"/>
                    <a:pt x="84495" y="186238"/>
                  </a:cubicBezTo>
                  <a:lnTo>
                    <a:pt x="0" y="145535"/>
                  </a:lnTo>
                  <a:lnTo>
                    <a:pt x="50388" y="121261"/>
                  </a:lnTo>
                  <a:cubicBezTo>
                    <a:pt x="234996" y="43178"/>
                    <a:pt x="437962" y="0"/>
                    <a:pt x="651013" y="0"/>
                  </a:cubicBezTo>
                  <a:close/>
                </a:path>
              </a:pathLst>
            </a:custGeom>
            <a:solidFill>
              <a:schemeClr val="accent2"/>
            </a:solidFill>
            <a:ln w="22225">
              <a:solidFill>
                <a:schemeClr val="bg1"/>
              </a:solidFill>
            </a:ln>
          </p:spPr>
          <p:txBody>
            <a:bodyPr wrap="square" lIns="576000" tIns="288000" rIns="252000" anchor="t">
              <a:noAutofit/>
            </a:bodyPr>
            <a:lstStyle>
              <a:lvl1pPr marL="0" indent="0" algn="ctr" defTabSz="914400" rtl="0" eaLnBrk="1" latinLnBrk="0" hangingPunct="1">
                <a:lnSpc>
                  <a:spcPct val="90000"/>
                </a:lnSpc>
                <a:spcBef>
                  <a:spcPts val="1000"/>
                </a:spcBef>
                <a:buFont typeface="Arial" panose="020B0604020202020204" pitchFamily="34" charset="0"/>
                <a:buNone/>
                <a:defRPr sz="1600" kern="1200">
                  <a:solidFill>
                    <a:schemeClr val="tx1"/>
                  </a:solidFill>
                  <a:latin typeface="Santander Text" panose="020B0504020201020104" pitchFamily="34"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400" kern="1200">
                  <a:solidFill>
                    <a:schemeClr val="tx1"/>
                  </a:solidFill>
                  <a:latin typeface="Santander Text" panose="020B0504020201020104" pitchFamily="34"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Santander Text" panose="020B0504020201020104" pitchFamily="34"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s-ES" sz="800">
                  <a:solidFill>
                    <a:schemeClr val="bg1"/>
                  </a:solidFill>
                  <a:latin typeface="+mj-lt"/>
                </a:rPr>
                <a:t>Click </a:t>
              </a:r>
              <a:r>
                <a:rPr lang="es-ES" sz="800" err="1">
                  <a:solidFill>
                    <a:schemeClr val="bg1"/>
                  </a:solidFill>
                  <a:latin typeface="+mj-lt"/>
                </a:rPr>
                <a:t>to</a:t>
              </a:r>
              <a:r>
                <a:rPr lang="es-ES" sz="800">
                  <a:solidFill>
                    <a:schemeClr val="bg1"/>
                  </a:solidFill>
                  <a:latin typeface="+mj-lt"/>
                </a:rPr>
                <a:t> </a:t>
              </a:r>
              <a:br>
                <a:rPr lang="es-ES" sz="800">
                  <a:solidFill>
                    <a:schemeClr val="bg1"/>
                  </a:solidFill>
                  <a:latin typeface="+mj-lt"/>
                </a:rPr>
              </a:br>
              <a:r>
                <a:rPr lang="es-ES" sz="800" err="1">
                  <a:solidFill>
                    <a:schemeClr val="bg1"/>
                  </a:solidFill>
                  <a:latin typeface="+mj-lt"/>
                </a:rPr>
                <a:t>add</a:t>
              </a:r>
              <a:r>
                <a:rPr lang="es-ES" sz="800">
                  <a:solidFill>
                    <a:schemeClr val="bg1"/>
                  </a:solidFill>
                  <a:latin typeface="+mj-lt"/>
                </a:rPr>
                <a:t> </a:t>
              </a:r>
              <a:r>
                <a:rPr lang="es-ES" sz="800" err="1">
                  <a:solidFill>
                    <a:schemeClr val="bg1"/>
                  </a:solidFill>
                  <a:latin typeface="+mj-lt"/>
                </a:rPr>
                <a:t>text</a:t>
              </a:r>
              <a:endParaRPr lang="es-ES" sz="800">
                <a:solidFill>
                  <a:schemeClr val="bg1"/>
                </a:solidFill>
                <a:latin typeface="+mj-lt"/>
              </a:endParaRPr>
            </a:p>
          </p:txBody>
        </p:sp>
        <p:sp>
          <p:nvSpPr>
            <p:cNvPr id="47" name="Forma libre: forma 46">
              <a:extLst>
                <a:ext uri="{FF2B5EF4-FFF2-40B4-BE49-F238E27FC236}">
                  <a16:creationId xmlns:a16="http://schemas.microsoft.com/office/drawing/2014/main" id="{8D89B087-CF6F-4D2D-8CA7-E329EF5CE6C1}"/>
                </a:ext>
              </a:extLst>
            </p:cNvPr>
            <p:cNvSpPr txBox="1">
              <a:spLocks/>
            </p:cNvSpPr>
            <p:nvPr/>
          </p:nvSpPr>
          <p:spPr>
            <a:xfrm>
              <a:off x="5238332" y="4108001"/>
              <a:ext cx="1770821" cy="1286014"/>
            </a:xfrm>
            <a:custGeom>
              <a:avLst/>
              <a:gdLst>
                <a:gd name="connsiteX0" fmla="*/ 1770821 w 1770821"/>
                <a:gd name="connsiteY0" fmla="*/ 0 h 1286014"/>
                <a:gd name="connsiteX1" fmla="*/ 1768484 w 1770821"/>
                <a:gd name="connsiteY1" fmla="*/ 46266 h 1286014"/>
                <a:gd name="connsiteX2" fmla="*/ 968910 w 1770821"/>
                <a:gd name="connsiteY2" fmla="*/ 1245310 h 1286014"/>
                <a:gd name="connsiteX3" fmla="*/ 884415 w 1770821"/>
                <a:gd name="connsiteY3" fmla="*/ 1286014 h 1286014"/>
                <a:gd name="connsiteX4" fmla="*/ 799919 w 1770821"/>
                <a:gd name="connsiteY4" fmla="*/ 1245310 h 1286014"/>
                <a:gd name="connsiteX5" fmla="*/ 345 w 1770821"/>
                <a:gd name="connsiteY5" fmla="*/ 46266 h 1286014"/>
                <a:gd name="connsiteX6" fmla="*/ 0 w 1770821"/>
                <a:gd name="connsiteY6" fmla="*/ 39431 h 1286014"/>
                <a:gd name="connsiteX7" fmla="*/ 123154 w 1770821"/>
                <a:gd name="connsiteY7" fmla="*/ 114249 h 1286014"/>
                <a:gd name="connsiteX8" fmla="*/ 858663 w 1770821"/>
                <a:gd name="connsiteY8" fmla="*/ 300487 h 1286014"/>
                <a:gd name="connsiteX9" fmla="*/ 1721397 w 1770821"/>
                <a:gd name="connsiteY9" fmla="*/ 36958 h 1286014"/>
                <a:gd name="connsiteX10" fmla="*/ 1770821 w 1770821"/>
                <a:gd name="connsiteY10" fmla="*/ 0 h 128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70821" h="1286014">
                  <a:moveTo>
                    <a:pt x="1770821" y="0"/>
                  </a:moveTo>
                  <a:lnTo>
                    <a:pt x="1768484" y="46266"/>
                  </a:lnTo>
                  <a:cubicBezTo>
                    <a:pt x="1715805" y="564994"/>
                    <a:pt x="1406190" y="1007766"/>
                    <a:pt x="968910" y="1245310"/>
                  </a:cubicBezTo>
                  <a:lnTo>
                    <a:pt x="884415" y="1286014"/>
                  </a:lnTo>
                  <a:lnTo>
                    <a:pt x="799919" y="1245310"/>
                  </a:lnTo>
                  <a:cubicBezTo>
                    <a:pt x="362639" y="1007766"/>
                    <a:pt x="53025" y="564994"/>
                    <a:pt x="345" y="46266"/>
                  </a:cubicBezTo>
                  <a:lnTo>
                    <a:pt x="0" y="39431"/>
                  </a:lnTo>
                  <a:lnTo>
                    <a:pt x="123154" y="114249"/>
                  </a:lnTo>
                  <a:cubicBezTo>
                    <a:pt x="341794" y="233022"/>
                    <a:pt x="592350" y="300487"/>
                    <a:pt x="858663" y="300487"/>
                  </a:cubicBezTo>
                  <a:cubicBezTo>
                    <a:pt x="1178239" y="300487"/>
                    <a:pt x="1475125" y="203337"/>
                    <a:pt x="1721397" y="36958"/>
                  </a:cubicBezTo>
                  <a:lnTo>
                    <a:pt x="1770821" y="0"/>
                  </a:lnTo>
                  <a:close/>
                </a:path>
              </a:pathLst>
            </a:custGeom>
            <a:solidFill>
              <a:schemeClr val="accent2"/>
            </a:solidFill>
            <a:ln w="22225">
              <a:solidFill>
                <a:schemeClr val="bg1"/>
              </a:solidFill>
            </a:ln>
          </p:spPr>
          <p:txBody>
            <a:bodyPr wrap="square" lIns="288000" rIns="28800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kern="1200">
                  <a:solidFill>
                    <a:schemeClr val="tx1"/>
                  </a:solidFill>
                  <a:latin typeface="Santander Text" panose="020B0504020201020104" pitchFamily="34"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400" kern="1200">
                  <a:solidFill>
                    <a:schemeClr val="tx1"/>
                  </a:solidFill>
                  <a:latin typeface="Santander Text" panose="020B0504020201020104" pitchFamily="34"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Santander Text" panose="020B0504020201020104" pitchFamily="34"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800">
                  <a:solidFill>
                    <a:schemeClr val="bg1"/>
                  </a:solidFill>
                  <a:latin typeface="+mj-lt"/>
                </a:rPr>
                <a:t>Click </a:t>
              </a:r>
              <a:r>
                <a:rPr lang="es-ES" sz="800" err="1">
                  <a:solidFill>
                    <a:schemeClr val="bg1"/>
                  </a:solidFill>
                  <a:latin typeface="+mj-lt"/>
                </a:rPr>
                <a:t>to</a:t>
              </a:r>
              <a:r>
                <a:rPr lang="es-ES" sz="800">
                  <a:solidFill>
                    <a:schemeClr val="bg1"/>
                  </a:solidFill>
                  <a:latin typeface="+mj-lt"/>
                </a:rPr>
                <a:t> </a:t>
              </a:r>
              <a:br>
                <a:rPr lang="es-ES" sz="800">
                  <a:solidFill>
                    <a:schemeClr val="bg1"/>
                  </a:solidFill>
                  <a:latin typeface="+mj-lt"/>
                </a:rPr>
              </a:br>
              <a:r>
                <a:rPr lang="es-ES" sz="800" err="1">
                  <a:solidFill>
                    <a:schemeClr val="bg1"/>
                  </a:solidFill>
                  <a:latin typeface="+mj-lt"/>
                </a:rPr>
                <a:t>add</a:t>
              </a:r>
              <a:r>
                <a:rPr lang="es-ES" sz="800">
                  <a:solidFill>
                    <a:schemeClr val="bg1"/>
                  </a:solidFill>
                  <a:latin typeface="+mj-lt"/>
                </a:rPr>
                <a:t> </a:t>
              </a:r>
              <a:r>
                <a:rPr lang="es-ES" sz="800" err="1">
                  <a:solidFill>
                    <a:schemeClr val="bg1"/>
                  </a:solidFill>
                  <a:latin typeface="+mj-lt"/>
                </a:rPr>
                <a:t>text</a:t>
              </a:r>
              <a:endParaRPr lang="es-ES" sz="800">
                <a:solidFill>
                  <a:schemeClr val="bg1"/>
                </a:solidFill>
                <a:latin typeface="+mj-lt"/>
              </a:endParaRPr>
            </a:p>
          </p:txBody>
        </p:sp>
        <p:sp>
          <p:nvSpPr>
            <p:cNvPr id="45" name="Forma libre: forma 44">
              <a:extLst>
                <a:ext uri="{FF2B5EF4-FFF2-40B4-BE49-F238E27FC236}">
                  <a16:creationId xmlns:a16="http://schemas.microsoft.com/office/drawing/2014/main" id="{32094A33-9F1E-9639-1AB8-B45C87C0D812}"/>
                </a:ext>
              </a:extLst>
            </p:cNvPr>
            <p:cNvSpPr txBox="1">
              <a:spLocks/>
            </p:cNvSpPr>
            <p:nvPr/>
          </p:nvSpPr>
          <p:spPr>
            <a:xfrm>
              <a:off x="5230710" y="2598984"/>
              <a:ext cx="1784073" cy="1809504"/>
            </a:xfrm>
            <a:custGeom>
              <a:avLst/>
              <a:gdLst>
                <a:gd name="connsiteX0" fmla="*/ 892037 w 1784073"/>
                <a:gd name="connsiteY0" fmla="*/ 0 h 1809504"/>
                <a:gd name="connsiteX1" fmla="*/ 976532 w 1784073"/>
                <a:gd name="connsiteY1" fmla="*/ 40703 h 1809504"/>
                <a:gd name="connsiteX2" fmla="*/ 1784073 w 1784073"/>
                <a:gd name="connsiteY2" fmla="*/ 1397515 h 1809504"/>
                <a:gd name="connsiteX3" fmla="*/ 1778443 w 1784073"/>
                <a:gd name="connsiteY3" fmla="*/ 1509017 h 1809504"/>
                <a:gd name="connsiteX4" fmla="*/ 1729019 w 1784073"/>
                <a:gd name="connsiteY4" fmla="*/ 1545975 h 1809504"/>
                <a:gd name="connsiteX5" fmla="*/ 866285 w 1784073"/>
                <a:gd name="connsiteY5" fmla="*/ 1809504 h 1809504"/>
                <a:gd name="connsiteX6" fmla="*/ 130776 w 1784073"/>
                <a:gd name="connsiteY6" fmla="*/ 1623266 h 1809504"/>
                <a:gd name="connsiteX7" fmla="*/ 7622 w 1784073"/>
                <a:gd name="connsiteY7" fmla="*/ 1548448 h 1809504"/>
                <a:gd name="connsiteX8" fmla="*/ 0 w 1784073"/>
                <a:gd name="connsiteY8" fmla="*/ 1397515 h 1809504"/>
                <a:gd name="connsiteX9" fmla="*/ 807541 w 1784073"/>
                <a:gd name="connsiteY9" fmla="*/ 40703 h 1809504"/>
                <a:gd name="connsiteX10" fmla="*/ 892037 w 1784073"/>
                <a:gd name="connsiteY10" fmla="*/ 0 h 180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4073" h="1809504">
                  <a:moveTo>
                    <a:pt x="892037" y="0"/>
                  </a:moveTo>
                  <a:lnTo>
                    <a:pt x="976532" y="40703"/>
                  </a:lnTo>
                  <a:cubicBezTo>
                    <a:pt x="1457540" y="302002"/>
                    <a:pt x="1784073" y="811626"/>
                    <a:pt x="1784073" y="1397515"/>
                  </a:cubicBezTo>
                  <a:lnTo>
                    <a:pt x="1778443" y="1509017"/>
                  </a:lnTo>
                  <a:lnTo>
                    <a:pt x="1729019" y="1545975"/>
                  </a:lnTo>
                  <a:cubicBezTo>
                    <a:pt x="1482747" y="1712354"/>
                    <a:pt x="1185861" y="1809504"/>
                    <a:pt x="866285" y="1809504"/>
                  </a:cubicBezTo>
                  <a:cubicBezTo>
                    <a:pt x="599972" y="1809504"/>
                    <a:pt x="349416" y="1742039"/>
                    <a:pt x="130776" y="1623266"/>
                  </a:cubicBezTo>
                  <a:lnTo>
                    <a:pt x="7622" y="1548448"/>
                  </a:lnTo>
                  <a:lnTo>
                    <a:pt x="0" y="1397515"/>
                  </a:lnTo>
                  <a:cubicBezTo>
                    <a:pt x="0" y="811626"/>
                    <a:pt x="326533" y="302002"/>
                    <a:pt x="807541" y="40703"/>
                  </a:cubicBezTo>
                  <a:lnTo>
                    <a:pt x="892037" y="0"/>
                  </a:lnTo>
                  <a:close/>
                </a:path>
              </a:pathLst>
            </a:custGeom>
            <a:solidFill>
              <a:schemeClr val="accent5"/>
            </a:solidFill>
            <a:ln w="60325">
              <a:solidFill>
                <a:schemeClr val="bg1"/>
              </a:solidFill>
            </a:ln>
          </p:spPr>
          <p:txBody>
            <a:bodyPr wrap="square"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kern="1200">
                  <a:solidFill>
                    <a:schemeClr val="tx1"/>
                  </a:solidFill>
                  <a:latin typeface="Santander Text" panose="020B0504020201020104" pitchFamily="34"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400" kern="1200">
                  <a:solidFill>
                    <a:schemeClr val="tx1"/>
                  </a:solidFill>
                  <a:latin typeface="Santander Text" panose="020B0504020201020104" pitchFamily="34"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Santander Text" panose="020B0504020201020104" pitchFamily="34"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1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1400">
                  <a:solidFill>
                    <a:schemeClr val="bg1"/>
                  </a:solidFill>
                  <a:latin typeface="+mj-lt"/>
                </a:rPr>
                <a:t>Click </a:t>
              </a:r>
              <a:r>
                <a:rPr lang="es-ES" sz="1400" err="1">
                  <a:solidFill>
                    <a:schemeClr val="bg1"/>
                  </a:solidFill>
                  <a:latin typeface="+mj-lt"/>
                </a:rPr>
                <a:t>to</a:t>
              </a:r>
              <a:r>
                <a:rPr lang="es-ES" sz="1400">
                  <a:solidFill>
                    <a:schemeClr val="bg1"/>
                  </a:solidFill>
                  <a:latin typeface="+mj-lt"/>
                </a:rPr>
                <a:t> </a:t>
              </a:r>
              <a:br>
                <a:rPr lang="es-ES" sz="1400">
                  <a:solidFill>
                    <a:schemeClr val="bg1"/>
                  </a:solidFill>
                  <a:latin typeface="+mj-lt"/>
                </a:rPr>
              </a:br>
              <a:r>
                <a:rPr lang="es-ES" sz="1400" err="1">
                  <a:solidFill>
                    <a:schemeClr val="bg1"/>
                  </a:solidFill>
                  <a:latin typeface="+mj-lt"/>
                </a:rPr>
                <a:t>add</a:t>
              </a:r>
              <a:r>
                <a:rPr lang="es-ES" sz="1400">
                  <a:solidFill>
                    <a:schemeClr val="bg1"/>
                  </a:solidFill>
                  <a:latin typeface="+mj-lt"/>
                </a:rPr>
                <a:t> </a:t>
              </a:r>
              <a:r>
                <a:rPr lang="es-ES" sz="1400" err="1">
                  <a:solidFill>
                    <a:schemeClr val="bg1"/>
                  </a:solidFill>
                  <a:latin typeface="+mj-lt"/>
                </a:rPr>
                <a:t>text</a:t>
              </a:r>
              <a:endParaRPr lang="es-ES" sz="1400">
                <a:solidFill>
                  <a:schemeClr val="bg1"/>
                </a:solidFill>
                <a:latin typeface="+mj-lt"/>
              </a:endParaRPr>
            </a:p>
          </p:txBody>
        </p:sp>
      </p:grpSp>
      <p:sp>
        <p:nvSpPr>
          <p:cNvPr id="55" name="Marcador de texto 54">
            <a:extLst>
              <a:ext uri="{FF2B5EF4-FFF2-40B4-BE49-F238E27FC236}">
                <a16:creationId xmlns:a16="http://schemas.microsoft.com/office/drawing/2014/main" id="{296DDE1E-C6CE-44DB-93D3-6A655DB6D667}"/>
              </a:ext>
            </a:extLst>
          </p:cNvPr>
          <p:cNvSpPr>
            <a:spLocks noGrp="1"/>
          </p:cNvSpPr>
          <p:nvPr>
            <p:ph type="body" sz="quarter" idx="46" hasCustomPrompt="1"/>
          </p:nvPr>
        </p:nvSpPr>
        <p:spPr>
          <a:xfrm>
            <a:off x="836580" y="1620422"/>
            <a:ext cx="3121918" cy="1130292"/>
          </a:xfrm>
          <a:prstGeom prst="rect">
            <a:avLst/>
          </a:prstGeom>
        </p:spPr>
        <p:txBody>
          <a:bodyPr/>
          <a:lstStyle>
            <a:lvl1pPr marL="0" indent="0" algn="r">
              <a:spcBef>
                <a:spcPts val="0"/>
              </a:spcBef>
              <a:spcAft>
                <a:spcPts val="300"/>
              </a:spcAft>
              <a:buNone/>
              <a:defRPr lang="es-ES" sz="1200" b="1" kern="1200" smtClean="0">
                <a:solidFill>
                  <a:schemeClr val="tx1"/>
                </a:solidFill>
                <a:latin typeface="+mj-lt"/>
                <a:ea typeface="+mn-ea"/>
                <a:cs typeface="Arial" charset="0"/>
                <a:sym typeface="Arial"/>
              </a:defRPr>
            </a:lvl1pPr>
            <a:lvl2pPr marL="0" indent="0" algn="r">
              <a:lnSpc>
                <a:spcPct val="100000"/>
              </a:lnSpc>
              <a:spcBef>
                <a:spcPts val="0"/>
              </a:spcBef>
              <a:spcAft>
                <a:spcPts val="1200"/>
              </a:spcAft>
              <a:buNone/>
              <a:defRPr sz="1000">
                <a:solidFill>
                  <a:schemeClr val="tx1"/>
                </a:solidFill>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56" name="Marcador de texto 54">
            <a:extLst>
              <a:ext uri="{FF2B5EF4-FFF2-40B4-BE49-F238E27FC236}">
                <a16:creationId xmlns:a16="http://schemas.microsoft.com/office/drawing/2014/main" id="{72798A9C-0753-6A54-CDB6-6604A9BF3462}"/>
              </a:ext>
            </a:extLst>
          </p:cNvPr>
          <p:cNvSpPr>
            <a:spLocks noGrp="1"/>
          </p:cNvSpPr>
          <p:nvPr>
            <p:ph type="body" sz="quarter" idx="47" hasCustomPrompt="1"/>
          </p:nvPr>
        </p:nvSpPr>
        <p:spPr>
          <a:xfrm>
            <a:off x="836580" y="4246890"/>
            <a:ext cx="2543770" cy="1130292"/>
          </a:xfrm>
          <a:prstGeom prst="rect">
            <a:avLst/>
          </a:prstGeom>
        </p:spPr>
        <p:txBody>
          <a:bodyPr/>
          <a:lstStyle>
            <a:lvl1pPr marL="0" indent="0" algn="r">
              <a:spcBef>
                <a:spcPts val="0"/>
              </a:spcBef>
              <a:spcAft>
                <a:spcPts val="300"/>
              </a:spcAft>
              <a:buNone/>
              <a:defRPr lang="es-ES" sz="1200" b="1" kern="1200" smtClean="0">
                <a:solidFill>
                  <a:schemeClr val="tx1"/>
                </a:solidFill>
                <a:latin typeface="+mj-lt"/>
                <a:ea typeface="+mn-ea"/>
                <a:cs typeface="Arial" charset="0"/>
                <a:sym typeface="Arial"/>
              </a:defRPr>
            </a:lvl1pPr>
            <a:lvl2pPr marL="0" indent="0" algn="r">
              <a:lnSpc>
                <a:spcPct val="100000"/>
              </a:lnSpc>
              <a:spcBef>
                <a:spcPts val="0"/>
              </a:spcBef>
              <a:spcAft>
                <a:spcPts val="1200"/>
              </a:spcAft>
              <a:buNone/>
              <a:defRPr sz="1000">
                <a:solidFill>
                  <a:schemeClr val="tx1"/>
                </a:solidFill>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57" name="Marcador de texto 54">
            <a:extLst>
              <a:ext uri="{FF2B5EF4-FFF2-40B4-BE49-F238E27FC236}">
                <a16:creationId xmlns:a16="http://schemas.microsoft.com/office/drawing/2014/main" id="{01E328FD-2EC4-FCCB-B8F3-6BFD3E33E2A4}"/>
              </a:ext>
            </a:extLst>
          </p:cNvPr>
          <p:cNvSpPr>
            <a:spLocks noGrp="1"/>
          </p:cNvSpPr>
          <p:nvPr>
            <p:ph type="body" sz="quarter" idx="48" hasCustomPrompt="1"/>
          </p:nvPr>
        </p:nvSpPr>
        <p:spPr>
          <a:xfrm>
            <a:off x="8735124" y="3978227"/>
            <a:ext cx="3121918" cy="1130292"/>
          </a:xfrm>
          <a:prstGeom prst="rect">
            <a:avLst/>
          </a:prstGeom>
        </p:spPr>
        <p:txBody>
          <a:bodyPr/>
          <a:lstStyle>
            <a:lvl1pPr marL="0" indent="0" algn="l">
              <a:spcBef>
                <a:spcPts val="0"/>
              </a:spcBef>
              <a:spcAft>
                <a:spcPts val="300"/>
              </a:spcAft>
              <a:buNone/>
              <a:defRPr lang="es-ES" sz="1200" b="1" kern="1200" smtClean="0">
                <a:solidFill>
                  <a:schemeClr val="tx1"/>
                </a:solidFill>
                <a:latin typeface="+mj-lt"/>
                <a:ea typeface="+mn-ea"/>
                <a:cs typeface="Arial" charset="0"/>
                <a:sym typeface="Arial"/>
              </a:defRPr>
            </a:lvl1pPr>
            <a:lvl2pPr marL="0" indent="0" algn="l">
              <a:lnSpc>
                <a:spcPct val="100000"/>
              </a:lnSpc>
              <a:spcBef>
                <a:spcPts val="0"/>
              </a:spcBef>
              <a:spcAft>
                <a:spcPts val="1200"/>
              </a:spcAft>
              <a:buNone/>
              <a:defRPr sz="1000">
                <a:solidFill>
                  <a:schemeClr val="tx1"/>
                </a:solidFill>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5" name="Marcador de número de diapositiva 5">
            <a:extLst>
              <a:ext uri="{FF2B5EF4-FFF2-40B4-BE49-F238E27FC236}">
                <a16:creationId xmlns:a16="http://schemas.microsoft.com/office/drawing/2014/main" id="{47E657CF-AADB-A772-727F-B80EE97427C7}"/>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6BCC1090-C298-FF94-2246-FEE48768ABC6}"/>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7" name="Gráfico 6">
            <a:extLst>
              <a:ext uri="{FF2B5EF4-FFF2-40B4-BE49-F238E27FC236}">
                <a16:creationId xmlns:a16="http://schemas.microsoft.com/office/drawing/2014/main" id="{1A5443AD-8886-651C-B1D8-50E343A0033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4" name="Título 1">
            <a:extLst>
              <a:ext uri="{FF2B5EF4-FFF2-40B4-BE49-F238E27FC236}">
                <a16:creationId xmlns:a16="http://schemas.microsoft.com/office/drawing/2014/main" id="{F19D34BA-4912-E753-46CA-B91408A8532E}"/>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76A9E986-BC6E-41B5-7B0E-DDAD81D9EE33}"/>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970EF3E3-0BA7-F825-A9C3-4EBEF8CDC832}"/>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26648264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7_Header &amp; Content ">
    <p:spTree>
      <p:nvGrpSpPr>
        <p:cNvPr id="1" name=""/>
        <p:cNvGrpSpPr/>
        <p:nvPr/>
      </p:nvGrpSpPr>
      <p:grpSpPr>
        <a:xfrm>
          <a:off x="0" y="0"/>
          <a:ext cx="0" cy="0"/>
          <a:chOff x="0" y="0"/>
          <a:chExt cx="0" cy="0"/>
        </a:xfrm>
      </p:grpSpPr>
      <p:sp>
        <p:nvSpPr>
          <p:cNvPr id="35" name="Marcador de texto 34">
            <a:extLst>
              <a:ext uri="{FF2B5EF4-FFF2-40B4-BE49-F238E27FC236}">
                <a16:creationId xmlns:a16="http://schemas.microsoft.com/office/drawing/2014/main" id="{71B85F43-7FF5-59BE-B626-FF91BDA9C434}"/>
              </a:ext>
            </a:extLst>
          </p:cNvPr>
          <p:cNvSpPr>
            <a:spLocks noGrp="1"/>
          </p:cNvSpPr>
          <p:nvPr>
            <p:ph type="body" sz="quarter" idx="61" hasCustomPrompt="1"/>
          </p:nvPr>
        </p:nvSpPr>
        <p:spPr>
          <a:xfrm>
            <a:off x="1252465" y="1594786"/>
            <a:ext cx="4366010" cy="1790555"/>
          </a:xfrm>
          <a:custGeom>
            <a:avLst/>
            <a:gdLst>
              <a:gd name="connsiteX0" fmla="*/ 0 w 4366010"/>
              <a:gd name="connsiteY0" fmla="*/ 0 h 1790555"/>
              <a:gd name="connsiteX1" fmla="*/ 4366010 w 4366010"/>
              <a:gd name="connsiteY1" fmla="*/ 0 h 1790555"/>
              <a:gd name="connsiteX2" fmla="*/ 4366010 w 4366010"/>
              <a:gd name="connsiteY2" fmla="*/ 782589 h 1790555"/>
              <a:gd name="connsiteX3" fmla="*/ 4352530 w 4366010"/>
              <a:gd name="connsiteY3" fmla="*/ 787523 h 1790555"/>
              <a:gd name="connsiteX4" fmla="*/ 3607732 w 4366010"/>
              <a:gd name="connsiteY4" fmla="*/ 1695602 h 1790555"/>
              <a:gd name="connsiteX5" fmla="*/ 3598160 w 4366010"/>
              <a:gd name="connsiteY5" fmla="*/ 1790555 h 1790555"/>
              <a:gd name="connsiteX6" fmla="*/ 0 w 4366010"/>
              <a:gd name="connsiteY6" fmla="*/ 1790555 h 179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6010" h="1790555">
                <a:moveTo>
                  <a:pt x="0" y="0"/>
                </a:moveTo>
                <a:lnTo>
                  <a:pt x="4366010" y="0"/>
                </a:lnTo>
                <a:lnTo>
                  <a:pt x="4366010" y="782589"/>
                </a:lnTo>
                <a:lnTo>
                  <a:pt x="4352530" y="787523"/>
                </a:lnTo>
                <a:cubicBezTo>
                  <a:pt x="3975241" y="947102"/>
                  <a:pt x="3691749" y="1285021"/>
                  <a:pt x="3607732" y="1695602"/>
                </a:cubicBezTo>
                <a:lnTo>
                  <a:pt x="3598160" y="1790555"/>
                </a:lnTo>
                <a:lnTo>
                  <a:pt x="0" y="1790555"/>
                </a:lnTo>
                <a:close/>
              </a:path>
            </a:pathLst>
          </a:custGeom>
          <a:solidFill>
            <a:schemeClr val="accent3">
              <a:alpha val="40000"/>
            </a:schemeClr>
          </a:solidFill>
        </p:spPr>
        <p:txBody>
          <a:bodyPr wrap="square" lIns="432000" tIns="324000" rIns="72000" bIns="72000" anchor="t">
            <a:noAutofit/>
          </a:bodyPr>
          <a:lstStyle>
            <a:lvl1pPr marL="0" indent="0">
              <a:spcBef>
                <a:spcPts val="0"/>
              </a:spcBef>
              <a:spcAft>
                <a:spcPts val="600"/>
              </a:spcAft>
              <a:buNone/>
              <a:defRPr sz="1200" b="1">
                <a:solidFill>
                  <a:schemeClr val="accent1">
                    <a:lumMod val="75000"/>
                  </a:schemeClr>
                </a:solidFill>
                <a:latin typeface="Santander Headline" panose="020B0504020201020104" pitchFamily="34" charset="0"/>
              </a:defRPr>
            </a:lvl1pPr>
            <a:lvl2pPr marL="180000" indent="-180000">
              <a:spcBef>
                <a:spcPts val="0"/>
              </a:spcBef>
              <a:spcAft>
                <a:spcPts val="600"/>
              </a:spcAft>
              <a:buClr>
                <a:srgbClr val="EC0000"/>
              </a:buClr>
              <a:defRPr sz="1000">
                <a:solidFill>
                  <a:schemeClr val="tx1"/>
                </a:solidFill>
                <a:latin typeface="Santander Headline" panose="020B0504020201020104" pitchFamily="34" charset="0"/>
              </a:defRPr>
            </a:lvl2pPr>
            <a:lvl3pPr marL="396000" indent="-180000">
              <a:buClr>
                <a:schemeClr val="accent4"/>
              </a:buClr>
              <a:buFont typeface="Santander Text" panose="020B0504020201020104" pitchFamily="34" charset="0"/>
              <a:buChar char="–"/>
              <a:defRPr sz="1100"/>
            </a:lvl3pPr>
            <a:lvl4pPr marL="396000" indent="-180000">
              <a:buClr>
                <a:schemeClr val="accent4"/>
              </a:buClr>
              <a:buFont typeface="Santander Text" panose="020B0504020201020104" pitchFamily="34" charset="0"/>
              <a:buChar char="–"/>
              <a:defRPr sz="1100"/>
            </a:lvl4pPr>
            <a:lvl5pPr marL="396000" indent="-180000">
              <a:buClr>
                <a:schemeClr val="accent4"/>
              </a:buClr>
              <a:buFont typeface="Santander Text" panose="020B0504020201020104" pitchFamily="34" charset="0"/>
              <a:buChar char="–"/>
              <a:defRPr sz="1100"/>
            </a:lvl5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41" name="Marcador de texto 40">
            <a:extLst>
              <a:ext uri="{FF2B5EF4-FFF2-40B4-BE49-F238E27FC236}">
                <a16:creationId xmlns:a16="http://schemas.microsoft.com/office/drawing/2014/main" id="{EE93A7CB-8B92-EF58-039B-96D6E70446CC}"/>
              </a:ext>
            </a:extLst>
          </p:cNvPr>
          <p:cNvSpPr>
            <a:spLocks noGrp="1"/>
          </p:cNvSpPr>
          <p:nvPr>
            <p:ph type="body" sz="quarter" idx="62" hasCustomPrompt="1"/>
          </p:nvPr>
        </p:nvSpPr>
        <p:spPr>
          <a:xfrm>
            <a:off x="1252465" y="3675835"/>
            <a:ext cx="4366010" cy="1916680"/>
          </a:xfrm>
          <a:custGeom>
            <a:avLst/>
            <a:gdLst>
              <a:gd name="connsiteX0" fmla="*/ 0 w 4366010"/>
              <a:gd name="connsiteY0" fmla="*/ 0 h 1916680"/>
              <a:gd name="connsiteX1" fmla="*/ 3595333 w 4366010"/>
              <a:gd name="connsiteY1" fmla="*/ 0 h 1916680"/>
              <a:gd name="connsiteX2" fmla="*/ 3607732 w 4366010"/>
              <a:gd name="connsiteY2" fmla="*/ 122999 h 1916680"/>
              <a:gd name="connsiteX3" fmla="*/ 4352530 w 4366010"/>
              <a:gd name="connsiteY3" fmla="*/ 1031079 h 1916680"/>
              <a:gd name="connsiteX4" fmla="*/ 4366010 w 4366010"/>
              <a:gd name="connsiteY4" fmla="*/ 1036013 h 1916680"/>
              <a:gd name="connsiteX5" fmla="*/ 4366010 w 4366010"/>
              <a:gd name="connsiteY5" fmla="*/ 1916680 h 1916680"/>
              <a:gd name="connsiteX6" fmla="*/ 0 w 4366010"/>
              <a:gd name="connsiteY6" fmla="*/ 1916680 h 1916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6010" h="1916680">
                <a:moveTo>
                  <a:pt x="0" y="0"/>
                </a:moveTo>
                <a:lnTo>
                  <a:pt x="3595333" y="0"/>
                </a:lnTo>
                <a:lnTo>
                  <a:pt x="3607732" y="122999"/>
                </a:lnTo>
                <a:cubicBezTo>
                  <a:pt x="3691749" y="533580"/>
                  <a:pt x="3975241" y="871499"/>
                  <a:pt x="4352530" y="1031079"/>
                </a:cubicBezTo>
                <a:lnTo>
                  <a:pt x="4366010" y="1036013"/>
                </a:lnTo>
                <a:lnTo>
                  <a:pt x="4366010" y="1916680"/>
                </a:lnTo>
                <a:lnTo>
                  <a:pt x="0" y="1916680"/>
                </a:lnTo>
                <a:close/>
              </a:path>
            </a:pathLst>
          </a:custGeom>
          <a:solidFill>
            <a:schemeClr val="accent3">
              <a:alpha val="40000"/>
            </a:schemeClr>
          </a:solidFill>
        </p:spPr>
        <p:txBody>
          <a:bodyPr wrap="square" lIns="432000" tIns="324000" rIns="72000" bIns="72000">
            <a:noAutofit/>
          </a:bodyPr>
          <a:lstStyle>
            <a:lvl1pPr marL="0" indent="0">
              <a:spcBef>
                <a:spcPts val="0"/>
              </a:spcBef>
              <a:spcAft>
                <a:spcPts val="600"/>
              </a:spcAft>
              <a:buNone/>
              <a:defRPr sz="1200" b="1">
                <a:solidFill>
                  <a:schemeClr val="accent1">
                    <a:lumMod val="75000"/>
                  </a:schemeClr>
                </a:solidFill>
                <a:latin typeface="Santander Headline" panose="020B0504020201020104" pitchFamily="34" charset="0"/>
              </a:defRPr>
            </a:lvl1pPr>
            <a:lvl2pPr marL="180000" indent="-180000">
              <a:spcBef>
                <a:spcPts val="0"/>
              </a:spcBef>
              <a:spcAft>
                <a:spcPts val="600"/>
              </a:spcAft>
              <a:buClr>
                <a:srgbClr val="EC0000"/>
              </a:buClr>
              <a:defRPr sz="1000">
                <a:solidFill>
                  <a:schemeClr val="tx1"/>
                </a:solidFill>
                <a:latin typeface="Santander Headline" panose="020B0504020201020104" pitchFamily="34" charset="0"/>
              </a:defRPr>
            </a:lvl2pPr>
            <a:lvl3pPr marL="216000" indent="0">
              <a:buClr>
                <a:schemeClr val="accent4"/>
              </a:buClr>
              <a:buFont typeface="Santander Text" panose="020B0504020201020104" pitchFamily="34" charset="0"/>
              <a:buNone/>
              <a:defRPr sz="1100"/>
            </a:lvl3pPr>
            <a:lvl4pPr marL="396000" indent="-180000">
              <a:buClr>
                <a:schemeClr val="accent4"/>
              </a:buClr>
              <a:buFont typeface="Santander Text" panose="020B0504020201020104" pitchFamily="34" charset="0"/>
              <a:buChar char="–"/>
              <a:defRPr sz="1100"/>
            </a:lvl4pPr>
            <a:lvl5pPr marL="396000" indent="-180000">
              <a:buClr>
                <a:schemeClr val="accent4"/>
              </a:buClr>
              <a:buFont typeface="Santander Text" panose="020B0504020201020104" pitchFamily="34" charset="0"/>
              <a:buChar char="–"/>
              <a:defRPr sz="1100"/>
            </a:lvl5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37" name="Marcador de texto 36">
            <a:extLst>
              <a:ext uri="{FF2B5EF4-FFF2-40B4-BE49-F238E27FC236}">
                <a16:creationId xmlns:a16="http://schemas.microsoft.com/office/drawing/2014/main" id="{67236C1D-3E38-D5CC-783A-5D70230F30AD}"/>
              </a:ext>
            </a:extLst>
          </p:cNvPr>
          <p:cNvSpPr>
            <a:spLocks noGrp="1"/>
          </p:cNvSpPr>
          <p:nvPr>
            <p:ph type="body" sz="quarter" idx="63" hasCustomPrompt="1"/>
          </p:nvPr>
        </p:nvSpPr>
        <p:spPr>
          <a:xfrm>
            <a:off x="6549679" y="1594786"/>
            <a:ext cx="4366010" cy="1790555"/>
          </a:xfrm>
          <a:custGeom>
            <a:avLst/>
            <a:gdLst>
              <a:gd name="connsiteX0" fmla="*/ 0 w 4366010"/>
              <a:gd name="connsiteY0" fmla="*/ 0 h 1790555"/>
              <a:gd name="connsiteX1" fmla="*/ 4366010 w 4366010"/>
              <a:gd name="connsiteY1" fmla="*/ 0 h 1790555"/>
              <a:gd name="connsiteX2" fmla="*/ 4366010 w 4366010"/>
              <a:gd name="connsiteY2" fmla="*/ 1790555 h 1790555"/>
              <a:gd name="connsiteX3" fmla="*/ 791699 w 4366010"/>
              <a:gd name="connsiteY3" fmla="*/ 1790555 h 1790555"/>
              <a:gd name="connsiteX4" fmla="*/ 782127 w 4366010"/>
              <a:gd name="connsiteY4" fmla="*/ 1695602 h 1790555"/>
              <a:gd name="connsiteX5" fmla="*/ 37329 w 4366010"/>
              <a:gd name="connsiteY5" fmla="*/ 787523 h 1790555"/>
              <a:gd name="connsiteX6" fmla="*/ 0 w 4366010"/>
              <a:gd name="connsiteY6" fmla="*/ 773860 h 179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6010" h="1790555">
                <a:moveTo>
                  <a:pt x="0" y="0"/>
                </a:moveTo>
                <a:lnTo>
                  <a:pt x="4366010" y="0"/>
                </a:lnTo>
                <a:lnTo>
                  <a:pt x="4366010" y="1790555"/>
                </a:lnTo>
                <a:lnTo>
                  <a:pt x="791699" y="1790555"/>
                </a:lnTo>
                <a:lnTo>
                  <a:pt x="782127" y="1695602"/>
                </a:lnTo>
                <a:cubicBezTo>
                  <a:pt x="698110" y="1285021"/>
                  <a:pt x="414618" y="947102"/>
                  <a:pt x="37329" y="787523"/>
                </a:cubicBezTo>
                <a:lnTo>
                  <a:pt x="0" y="773860"/>
                </a:lnTo>
                <a:close/>
              </a:path>
            </a:pathLst>
          </a:custGeom>
          <a:solidFill>
            <a:schemeClr val="accent3">
              <a:alpha val="40000"/>
            </a:schemeClr>
          </a:solidFill>
        </p:spPr>
        <p:txBody>
          <a:bodyPr wrap="square" lIns="72000" tIns="324000" rIns="432000">
            <a:noAutofit/>
          </a:bodyPr>
          <a:lstStyle>
            <a:lvl1pPr marL="0" indent="0" algn="r">
              <a:spcBef>
                <a:spcPts val="0"/>
              </a:spcBef>
              <a:spcAft>
                <a:spcPts val="600"/>
              </a:spcAft>
              <a:buNone/>
              <a:defRPr lang="es-ES" sz="1200" b="1" kern="1200" dirty="0">
                <a:solidFill>
                  <a:schemeClr val="accent1">
                    <a:lumMod val="75000"/>
                  </a:schemeClr>
                </a:solidFill>
                <a:latin typeface="Santander Headline" panose="020B0504020201020104" pitchFamily="34" charset="0"/>
                <a:ea typeface="+mn-ea"/>
                <a:cs typeface="+mn-cs"/>
              </a:defRPr>
            </a:lvl1pPr>
            <a:lvl2pPr marL="180000" indent="-180000" algn="r">
              <a:spcBef>
                <a:spcPts val="0"/>
              </a:spcBef>
              <a:spcAft>
                <a:spcPts val="600"/>
              </a:spcAft>
              <a:buClr>
                <a:srgbClr val="EC0000"/>
              </a:buClr>
              <a:defRPr sz="1000">
                <a:solidFill>
                  <a:schemeClr val="tx1"/>
                </a:solidFill>
                <a:latin typeface="Santander Headline" panose="020B0504020201020104" pitchFamily="34" charset="0"/>
              </a:defRPr>
            </a:lvl2pPr>
            <a:lvl3pPr marL="396000" indent="-180000" algn="r">
              <a:buClr>
                <a:schemeClr val="accent4"/>
              </a:buClr>
              <a:buFont typeface="Santander Text" panose="020B0504020201020104" pitchFamily="34" charset="0"/>
              <a:buChar char="–"/>
              <a:defRPr sz="1100"/>
            </a:lvl3pPr>
            <a:lvl4pPr marL="396000" indent="-180000" algn="r">
              <a:buClr>
                <a:schemeClr val="accent4"/>
              </a:buClr>
              <a:buFont typeface="Santander Text" panose="020B0504020201020104" pitchFamily="34" charset="0"/>
              <a:buChar char="–"/>
              <a:defRPr sz="1100"/>
            </a:lvl4pPr>
            <a:lvl5pPr marL="396000" indent="-180000" algn="r">
              <a:buClr>
                <a:schemeClr val="accent4"/>
              </a:buClr>
              <a:buFont typeface="Santander Text" panose="020B0504020201020104" pitchFamily="34" charset="0"/>
              <a:buChar char="–"/>
              <a:defRPr sz="1100"/>
            </a:lvl5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a:p>
            <a:pPr lvl="1"/>
            <a:endParaRPr lang="es-ES"/>
          </a:p>
        </p:txBody>
      </p:sp>
      <p:sp>
        <p:nvSpPr>
          <p:cNvPr id="39" name="Marcador de texto 38">
            <a:extLst>
              <a:ext uri="{FF2B5EF4-FFF2-40B4-BE49-F238E27FC236}">
                <a16:creationId xmlns:a16="http://schemas.microsoft.com/office/drawing/2014/main" id="{A658D4B0-DFB5-2F48-2735-B1D750DD8C64}"/>
              </a:ext>
            </a:extLst>
          </p:cNvPr>
          <p:cNvSpPr>
            <a:spLocks noGrp="1"/>
          </p:cNvSpPr>
          <p:nvPr>
            <p:ph type="body" sz="quarter" idx="64" hasCustomPrompt="1"/>
          </p:nvPr>
        </p:nvSpPr>
        <p:spPr>
          <a:xfrm>
            <a:off x="6549679" y="3675835"/>
            <a:ext cx="4366010" cy="1916680"/>
          </a:xfrm>
          <a:custGeom>
            <a:avLst/>
            <a:gdLst>
              <a:gd name="connsiteX0" fmla="*/ 794526 w 4366010"/>
              <a:gd name="connsiteY0" fmla="*/ 0 h 1916680"/>
              <a:gd name="connsiteX1" fmla="*/ 4366010 w 4366010"/>
              <a:gd name="connsiteY1" fmla="*/ 0 h 1916680"/>
              <a:gd name="connsiteX2" fmla="*/ 4366010 w 4366010"/>
              <a:gd name="connsiteY2" fmla="*/ 1916680 h 1916680"/>
              <a:gd name="connsiteX3" fmla="*/ 0 w 4366010"/>
              <a:gd name="connsiteY3" fmla="*/ 1916680 h 1916680"/>
              <a:gd name="connsiteX4" fmla="*/ 0 w 4366010"/>
              <a:gd name="connsiteY4" fmla="*/ 1044741 h 1916680"/>
              <a:gd name="connsiteX5" fmla="*/ 37329 w 4366010"/>
              <a:gd name="connsiteY5" fmla="*/ 1031079 h 1916680"/>
              <a:gd name="connsiteX6" fmla="*/ 782127 w 4366010"/>
              <a:gd name="connsiteY6" fmla="*/ 122999 h 1916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6010" h="1916680">
                <a:moveTo>
                  <a:pt x="794526" y="0"/>
                </a:moveTo>
                <a:lnTo>
                  <a:pt x="4366010" y="0"/>
                </a:lnTo>
                <a:lnTo>
                  <a:pt x="4366010" y="1916680"/>
                </a:lnTo>
                <a:lnTo>
                  <a:pt x="0" y="1916680"/>
                </a:lnTo>
                <a:lnTo>
                  <a:pt x="0" y="1044741"/>
                </a:lnTo>
                <a:lnTo>
                  <a:pt x="37329" y="1031079"/>
                </a:lnTo>
                <a:cubicBezTo>
                  <a:pt x="414618" y="871499"/>
                  <a:pt x="698110" y="533580"/>
                  <a:pt x="782127" y="122999"/>
                </a:cubicBezTo>
                <a:close/>
              </a:path>
            </a:pathLst>
          </a:custGeom>
          <a:solidFill>
            <a:schemeClr val="accent3">
              <a:alpha val="40000"/>
            </a:schemeClr>
          </a:solidFill>
        </p:spPr>
        <p:txBody>
          <a:bodyPr wrap="square" lIns="72000" tIns="324000" rIns="432000" bIns="72000">
            <a:noAutofit/>
          </a:bodyPr>
          <a:lstStyle>
            <a:lvl1pPr marL="0" indent="0" algn="r">
              <a:spcBef>
                <a:spcPts val="0"/>
              </a:spcBef>
              <a:spcAft>
                <a:spcPts val="600"/>
              </a:spcAft>
              <a:buNone/>
              <a:defRPr sz="1200" b="1">
                <a:solidFill>
                  <a:schemeClr val="accent1">
                    <a:lumMod val="75000"/>
                  </a:schemeClr>
                </a:solidFill>
                <a:latin typeface="Santander Headline" panose="020B0504020201020104" pitchFamily="34" charset="0"/>
              </a:defRPr>
            </a:lvl1pPr>
            <a:lvl2pPr marL="180000" indent="-180000" algn="r">
              <a:spcBef>
                <a:spcPts val="0"/>
              </a:spcBef>
              <a:spcAft>
                <a:spcPts val="600"/>
              </a:spcAft>
              <a:buClr>
                <a:srgbClr val="EC0000"/>
              </a:buClr>
              <a:defRPr sz="1000">
                <a:solidFill>
                  <a:schemeClr val="tx1"/>
                </a:solidFill>
                <a:latin typeface="Santander Headline" panose="020B0504020201020104" pitchFamily="34" charset="0"/>
              </a:defRPr>
            </a:lvl2pPr>
            <a:lvl3pPr marL="396000" indent="-180000" algn="r">
              <a:buClr>
                <a:schemeClr val="accent4"/>
              </a:buClr>
              <a:buFont typeface="Santander Text" panose="020B0504020201020104" pitchFamily="34" charset="0"/>
              <a:buChar char="–"/>
              <a:defRPr sz="1100"/>
            </a:lvl3pPr>
            <a:lvl4pPr marL="396000" indent="-180000" algn="r">
              <a:buClr>
                <a:schemeClr val="accent4"/>
              </a:buClr>
              <a:buFont typeface="Santander Text" panose="020B0504020201020104" pitchFamily="34" charset="0"/>
              <a:buChar char="–"/>
              <a:defRPr sz="1100"/>
            </a:lvl4pPr>
            <a:lvl5pPr marL="396000" indent="-180000" algn="r">
              <a:buClr>
                <a:schemeClr val="accent4"/>
              </a:buClr>
              <a:buFont typeface="Santander Text" panose="020B0504020201020104" pitchFamily="34" charset="0"/>
              <a:buChar char="–"/>
              <a:defRPr sz="1100"/>
            </a:lvl5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28" name="Marcador de texto 24">
            <a:extLst>
              <a:ext uri="{FF2B5EF4-FFF2-40B4-BE49-F238E27FC236}">
                <a16:creationId xmlns:a16="http://schemas.microsoft.com/office/drawing/2014/main" id="{037806A9-9C0D-F7C8-0620-7E3365179394}"/>
              </a:ext>
            </a:extLst>
          </p:cNvPr>
          <p:cNvSpPr>
            <a:spLocks noGrp="1"/>
          </p:cNvSpPr>
          <p:nvPr>
            <p:ph type="body" sz="quarter" idx="65"/>
          </p:nvPr>
        </p:nvSpPr>
        <p:spPr>
          <a:xfrm>
            <a:off x="5107827" y="2561114"/>
            <a:ext cx="1985962" cy="1985962"/>
          </a:xfrm>
          <a:prstGeom prst="ellipse">
            <a:avLst/>
          </a:prstGeom>
          <a:solidFill>
            <a:schemeClr val="accent2"/>
          </a:solidFill>
        </p:spPr>
        <p:txBody>
          <a:bodyPr anchor="ctr"/>
          <a:lstStyle>
            <a:lvl1pPr marL="0" indent="0" algn="ctr">
              <a:buFontTx/>
              <a:buNone/>
              <a:defRPr sz="2000" b="1">
                <a:solidFill>
                  <a:schemeClr val="bg1"/>
                </a:solidFill>
                <a:latin typeface="Santander Headline" panose="020B0504020201020104" pitchFamily="34" charset="0"/>
              </a:defRPr>
            </a:lvl1pPr>
            <a:lvl2pPr marL="457200" indent="0">
              <a:buNone/>
              <a:defRPr sz="2000" b="1"/>
            </a:lvl2pPr>
          </a:lstStyle>
          <a:p>
            <a:pPr lvl="0"/>
            <a:endParaRPr lang="es-ES"/>
          </a:p>
        </p:txBody>
      </p:sp>
      <p:sp>
        <p:nvSpPr>
          <p:cNvPr id="5" name="Marcador de número de diapositiva 5">
            <a:extLst>
              <a:ext uri="{FF2B5EF4-FFF2-40B4-BE49-F238E27FC236}">
                <a16:creationId xmlns:a16="http://schemas.microsoft.com/office/drawing/2014/main" id="{B5461206-9336-FBB5-EDAA-D42AB92540D1}"/>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223DC067-E257-1A9B-3D54-2CC19FAE0B97}"/>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BA3C0FF1-6604-FCAF-1700-7C5740C2E4B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80E6FD64-2095-4D33-EC44-241052BA5200}"/>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52889576-D082-C4EA-2D0E-DEC3FBBA484E}"/>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E98C9047-AC44-5DBC-0DFD-0A4F5409A28F}"/>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10297205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8_Header &amp; Content ">
    <p:spTree>
      <p:nvGrpSpPr>
        <p:cNvPr id="1" name=""/>
        <p:cNvGrpSpPr/>
        <p:nvPr/>
      </p:nvGrpSpPr>
      <p:grpSpPr>
        <a:xfrm>
          <a:off x="0" y="0"/>
          <a:ext cx="0" cy="0"/>
          <a:chOff x="0" y="0"/>
          <a:chExt cx="0" cy="0"/>
        </a:xfrm>
      </p:grpSpPr>
      <p:sp>
        <p:nvSpPr>
          <p:cNvPr id="19" name="Marcador de texto 54">
            <a:extLst>
              <a:ext uri="{FF2B5EF4-FFF2-40B4-BE49-F238E27FC236}">
                <a16:creationId xmlns:a16="http://schemas.microsoft.com/office/drawing/2014/main" id="{13AEA970-EC15-67CE-6855-A3720740DB40}"/>
              </a:ext>
            </a:extLst>
          </p:cNvPr>
          <p:cNvSpPr>
            <a:spLocks noGrp="1"/>
          </p:cNvSpPr>
          <p:nvPr>
            <p:ph type="body" sz="quarter" idx="50" hasCustomPrompt="1"/>
          </p:nvPr>
        </p:nvSpPr>
        <p:spPr>
          <a:xfrm>
            <a:off x="4115146" y="1549181"/>
            <a:ext cx="1185638" cy="914686"/>
          </a:xfrm>
          <a:prstGeom prst="rect">
            <a:avLst/>
          </a:prstGeom>
        </p:spPr>
        <p:txBody>
          <a:bodyPr/>
          <a:lstStyle>
            <a:lvl1pPr marL="0" indent="0" algn="l">
              <a:spcBef>
                <a:spcPts val="0"/>
              </a:spcBef>
              <a:spcAft>
                <a:spcPts val="0"/>
              </a:spcAft>
              <a:buNone/>
              <a:defRPr lang="es-ES" sz="1000" b="1" kern="1200" smtClean="0">
                <a:solidFill>
                  <a:srgbClr val="6F7779"/>
                </a:solidFill>
                <a:latin typeface="Santander Headline" panose="020B0504020201020104" pitchFamily="34" charset="0"/>
                <a:ea typeface="+mn-ea"/>
                <a:cs typeface="Arial" charset="0"/>
                <a:sym typeface="Arial"/>
              </a:defRPr>
            </a:lvl1pPr>
            <a:lvl2pPr marL="0" indent="0" algn="l">
              <a:lnSpc>
                <a:spcPct val="100000"/>
              </a:lnSpc>
              <a:spcBef>
                <a:spcPts val="200"/>
              </a:spcBef>
              <a:spcAft>
                <a:spcPts val="600"/>
              </a:spcAft>
              <a:buNone/>
              <a:defRPr sz="800">
                <a:latin typeface="Santander Headline" panose="020B0504020201020104" pitchFamily="34" charset="0"/>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20" name="Marcador de texto 54">
            <a:extLst>
              <a:ext uri="{FF2B5EF4-FFF2-40B4-BE49-F238E27FC236}">
                <a16:creationId xmlns:a16="http://schemas.microsoft.com/office/drawing/2014/main" id="{D02A18CC-6975-BCEB-D7F6-50E9B197A407}"/>
              </a:ext>
            </a:extLst>
          </p:cNvPr>
          <p:cNvSpPr>
            <a:spLocks noGrp="1"/>
          </p:cNvSpPr>
          <p:nvPr>
            <p:ph type="body" sz="quarter" idx="51" hasCustomPrompt="1"/>
          </p:nvPr>
        </p:nvSpPr>
        <p:spPr>
          <a:xfrm>
            <a:off x="651184" y="1549181"/>
            <a:ext cx="1185638" cy="914686"/>
          </a:xfrm>
          <a:prstGeom prst="rect">
            <a:avLst/>
          </a:prstGeom>
        </p:spPr>
        <p:txBody>
          <a:bodyPr/>
          <a:lstStyle>
            <a:lvl1pPr marL="0" indent="0" algn="r">
              <a:spcBef>
                <a:spcPts val="0"/>
              </a:spcBef>
              <a:spcAft>
                <a:spcPts val="0"/>
              </a:spcAft>
              <a:buNone/>
              <a:defRPr lang="es-ES" sz="1000" b="1" kern="1200" smtClean="0">
                <a:solidFill>
                  <a:srgbClr val="6F7779"/>
                </a:solidFill>
                <a:latin typeface="Santander Headline" panose="020B0504020201020104" pitchFamily="34" charset="0"/>
                <a:ea typeface="+mn-ea"/>
                <a:cs typeface="Arial" charset="0"/>
                <a:sym typeface="Arial"/>
              </a:defRPr>
            </a:lvl1pPr>
            <a:lvl2pPr marL="0" indent="0" algn="r">
              <a:lnSpc>
                <a:spcPct val="100000"/>
              </a:lnSpc>
              <a:spcBef>
                <a:spcPts val="200"/>
              </a:spcBef>
              <a:spcAft>
                <a:spcPts val="600"/>
              </a:spcAft>
              <a:buNone/>
              <a:defRPr sz="800">
                <a:latin typeface="Santander Headline" panose="020B0504020201020104" pitchFamily="34" charset="0"/>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21" name="Marcador de texto 54">
            <a:extLst>
              <a:ext uri="{FF2B5EF4-FFF2-40B4-BE49-F238E27FC236}">
                <a16:creationId xmlns:a16="http://schemas.microsoft.com/office/drawing/2014/main" id="{61DC5EC2-1FB8-D971-A80C-11959E704CFA}"/>
              </a:ext>
            </a:extLst>
          </p:cNvPr>
          <p:cNvSpPr>
            <a:spLocks noGrp="1"/>
          </p:cNvSpPr>
          <p:nvPr>
            <p:ph type="body" sz="quarter" idx="52" hasCustomPrompt="1"/>
          </p:nvPr>
        </p:nvSpPr>
        <p:spPr>
          <a:xfrm>
            <a:off x="726488" y="3247694"/>
            <a:ext cx="1185638" cy="914686"/>
          </a:xfrm>
          <a:prstGeom prst="rect">
            <a:avLst/>
          </a:prstGeom>
        </p:spPr>
        <p:txBody>
          <a:bodyPr/>
          <a:lstStyle>
            <a:lvl1pPr marL="0" indent="0" algn="r">
              <a:spcBef>
                <a:spcPts val="0"/>
              </a:spcBef>
              <a:spcAft>
                <a:spcPts val="0"/>
              </a:spcAft>
              <a:buNone/>
              <a:defRPr lang="es-ES" sz="1000" b="1" kern="1200" smtClean="0">
                <a:solidFill>
                  <a:srgbClr val="6F7779"/>
                </a:solidFill>
                <a:latin typeface="Santander Headline" panose="020B0504020201020104" pitchFamily="34" charset="0"/>
                <a:ea typeface="+mn-ea"/>
                <a:cs typeface="Arial" charset="0"/>
                <a:sym typeface="Arial"/>
              </a:defRPr>
            </a:lvl1pPr>
            <a:lvl2pPr marL="0" indent="0" algn="r">
              <a:lnSpc>
                <a:spcPct val="100000"/>
              </a:lnSpc>
              <a:spcBef>
                <a:spcPts val="200"/>
              </a:spcBef>
              <a:spcAft>
                <a:spcPts val="600"/>
              </a:spcAft>
              <a:buNone/>
              <a:defRPr sz="800">
                <a:latin typeface="Santander Headline" panose="020B0504020201020104" pitchFamily="34" charset="0"/>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22" name="Marcador de texto 54">
            <a:extLst>
              <a:ext uri="{FF2B5EF4-FFF2-40B4-BE49-F238E27FC236}">
                <a16:creationId xmlns:a16="http://schemas.microsoft.com/office/drawing/2014/main" id="{C1333B3D-7004-6154-47E3-20DA5BC4BF37}"/>
              </a:ext>
            </a:extLst>
          </p:cNvPr>
          <p:cNvSpPr>
            <a:spLocks noGrp="1"/>
          </p:cNvSpPr>
          <p:nvPr>
            <p:ph type="body" sz="quarter" idx="53" hasCustomPrompt="1"/>
          </p:nvPr>
        </p:nvSpPr>
        <p:spPr>
          <a:xfrm>
            <a:off x="4030110" y="3247694"/>
            <a:ext cx="1185638" cy="914686"/>
          </a:xfrm>
          <a:prstGeom prst="rect">
            <a:avLst/>
          </a:prstGeom>
        </p:spPr>
        <p:txBody>
          <a:bodyPr/>
          <a:lstStyle>
            <a:lvl1pPr marL="0" indent="0" algn="l">
              <a:spcBef>
                <a:spcPts val="0"/>
              </a:spcBef>
              <a:spcAft>
                <a:spcPts val="0"/>
              </a:spcAft>
              <a:buNone/>
              <a:defRPr lang="es-ES" sz="1000" b="1" kern="1200" smtClean="0">
                <a:solidFill>
                  <a:srgbClr val="6F7779"/>
                </a:solidFill>
                <a:latin typeface="Santander Headline" panose="020B0504020201020104" pitchFamily="34" charset="0"/>
                <a:ea typeface="+mn-ea"/>
                <a:cs typeface="Arial" charset="0"/>
                <a:sym typeface="Arial"/>
              </a:defRPr>
            </a:lvl1pPr>
            <a:lvl2pPr marL="0" indent="0" algn="l">
              <a:lnSpc>
                <a:spcPct val="100000"/>
              </a:lnSpc>
              <a:spcBef>
                <a:spcPts val="200"/>
              </a:spcBef>
              <a:spcAft>
                <a:spcPts val="600"/>
              </a:spcAft>
              <a:buNone/>
              <a:defRPr sz="800">
                <a:latin typeface="Santander Headline" panose="020B0504020201020104" pitchFamily="34" charset="0"/>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24" name="Marcador de texto 23">
            <a:extLst>
              <a:ext uri="{FF2B5EF4-FFF2-40B4-BE49-F238E27FC236}">
                <a16:creationId xmlns:a16="http://schemas.microsoft.com/office/drawing/2014/main" id="{86C67CFC-DA0A-6DF4-7F47-45C1EE49BD3E}"/>
              </a:ext>
            </a:extLst>
          </p:cNvPr>
          <p:cNvSpPr>
            <a:spLocks noGrp="1" noChangeAspect="1"/>
          </p:cNvSpPr>
          <p:nvPr>
            <p:ph type="body" sz="quarter" idx="54"/>
          </p:nvPr>
        </p:nvSpPr>
        <p:spPr>
          <a:xfrm>
            <a:off x="6186435" y="368092"/>
            <a:ext cx="3082815" cy="2899460"/>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1008000" tIns="1008000" rIns="1008000" bIns="1008000" anchor="ctr"/>
          <a:lstStyle>
            <a:lvl1pPr marL="0" indent="0" algn="ctr">
              <a:buNone/>
              <a:defRPr lang="es-ES" sz="1200" b="1" kern="1200" dirty="0" smtClean="0">
                <a:solidFill>
                  <a:schemeClr val="tx1"/>
                </a:solidFill>
                <a:latin typeface="Santander Headline" panose="020B0504020201020104" pitchFamily="34" charset="0"/>
                <a:ea typeface="+mn-ea"/>
                <a:cs typeface="+mn-cs"/>
              </a:defRPr>
            </a:lvl1pPr>
            <a:lvl2pPr marL="457200" indent="0" algn="ctr">
              <a:buNone/>
              <a:defRPr sz="1000">
                <a:solidFill>
                  <a:schemeClr val="accent3"/>
                </a:solidFill>
              </a:defRPr>
            </a:lvl2pPr>
            <a:lvl3pPr marL="914400" indent="0">
              <a:buNone/>
              <a:defRPr sz="100"/>
            </a:lvl3pPr>
            <a:lvl4pPr marL="1371600" indent="0">
              <a:buNone/>
              <a:defRPr sz="100"/>
            </a:lvl4pPr>
            <a:lvl5pPr marL="1828800" indent="0">
              <a:buNone/>
              <a:defRPr sz="100"/>
            </a:lvl5pPr>
          </a:lstStyle>
          <a:p>
            <a:pPr lvl="0"/>
            <a:endParaRPr lang="es-ES"/>
          </a:p>
        </p:txBody>
      </p:sp>
      <p:sp>
        <p:nvSpPr>
          <p:cNvPr id="30" name="Marcador de texto 23">
            <a:extLst>
              <a:ext uri="{FF2B5EF4-FFF2-40B4-BE49-F238E27FC236}">
                <a16:creationId xmlns:a16="http://schemas.microsoft.com/office/drawing/2014/main" id="{62A36E65-709D-C2B5-DA94-9A27F1931F70}"/>
              </a:ext>
            </a:extLst>
          </p:cNvPr>
          <p:cNvSpPr>
            <a:spLocks noGrp="1" noChangeAspect="1"/>
          </p:cNvSpPr>
          <p:nvPr>
            <p:ph type="body" sz="quarter" idx="57"/>
          </p:nvPr>
        </p:nvSpPr>
        <p:spPr>
          <a:xfrm>
            <a:off x="4379663" y="3469352"/>
            <a:ext cx="3266175" cy="2899460"/>
          </a:xfrm>
          <a:prstGeom prst="rect">
            <a:avLst/>
          </a:prstGeom>
          <a:blipFill>
            <a:blip r:embed="rId4">
              <a:extLst>
                <a:ext uri="{96DAC541-7B7A-43D3-8B79-37D633B846F1}">
                  <asvg:svgBlip xmlns:asvg="http://schemas.microsoft.com/office/drawing/2016/SVG/main" r:embed="rId5"/>
                </a:ext>
              </a:extLst>
            </a:blip>
            <a:stretch>
              <a:fillRect/>
            </a:stretch>
          </a:blipFill>
        </p:spPr>
        <p:txBody>
          <a:bodyPr lIns="1008000" tIns="1008000" rIns="1008000" bIns="1008000" anchor="ctr"/>
          <a:lstStyle>
            <a:lvl1pPr marL="0" indent="0" algn="ctr">
              <a:buNone/>
              <a:defRPr lang="es-ES" sz="1200" b="1" kern="1200" dirty="0" smtClean="0">
                <a:solidFill>
                  <a:schemeClr val="tx1"/>
                </a:solidFill>
                <a:latin typeface="Santander Headline" panose="020B0504020201020104" pitchFamily="34" charset="0"/>
                <a:ea typeface="+mn-ea"/>
                <a:cs typeface="+mn-cs"/>
              </a:defRPr>
            </a:lvl1pPr>
            <a:lvl2pPr marL="457200" indent="0" algn="ctr">
              <a:buNone/>
              <a:defRPr sz="1000">
                <a:solidFill>
                  <a:schemeClr val="accent3"/>
                </a:solidFill>
              </a:defRPr>
            </a:lvl2pPr>
            <a:lvl3pPr marL="914400" indent="0">
              <a:buNone/>
              <a:defRPr sz="100"/>
            </a:lvl3pPr>
            <a:lvl4pPr marL="1371600" indent="0">
              <a:buNone/>
              <a:defRPr sz="100"/>
            </a:lvl4pPr>
            <a:lvl5pPr marL="1828800" indent="0">
              <a:buNone/>
              <a:defRPr sz="100"/>
            </a:lvl5pPr>
          </a:lstStyle>
          <a:p>
            <a:pPr lvl="0"/>
            <a:endParaRPr lang="es-ES"/>
          </a:p>
        </p:txBody>
      </p:sp>
      <p:sp>
        <p:nvSpPr>
          <p:cNvPr id="32" name="Marcador de texto 23">
            <a:extLst>
              <a:ext uri="{FF2B5EF4-FFF2-40B4-BE49-F238E27FC236}">
                <a16:creationId xmlns:a16="http://schemas.microsoft.com/office/drawing/2014/main" id="{779D1B75-63E0-25F0-A71E-F0834CD3285F}"/>
              </a:ext>
            </a:extLst>
          </p:cNvPr>
          <p:cNvSpPr>
            <a:spLocks noGrp="1" noChangeAspect="1"/>
          </p:cNvSpPr>
          <p:nvPr>
            <p:ph type="body" sz="quarter" idx="58"/>
          </p:nvPr>
        </p:nvSpPr>
        <p:spPr>
          <a:xfrm>
            <a:off x="8375244" y="3226215"/>
            <a:ext cx="2991980" cy="2899460"/>
          </a:xfrm>
          <a:prstGeom prst="rect">
            <a:avLst/>
          </a:prstGeom>
          <a:blipFill>
            <a:blip r:embed="rId6">
              <a:extLst>
                <a:ext uri="{96DAC541-7B7A-43D3-8B79-37D633B846F1}">
                  <asvg:svgBlip xmlns:asvg="http://schemas.microsoft.com/office/drawing/2016/SVG/main" r:embed="rId7"/>
                </a:ext>
              </a:extLst>
            </a:blip>
            <a:stretch>
              <a:fillRect/>
            </a:stretch>
          </a:blipFill>
        </p:spPr>
        <p:txBody>
          <a:bodyPr lIns="1008000" tIns="1008000" rIns="1008000" bIns="1008000" anchor="ctr"/>
          <a:lstStyle>
            <a:lvl1pPr marL="0" indent="0" algn="ctr">
              <a:buNone/>
              <a:defRPr lang="es-ES" sz="1200" b="1" kern="1200" dirty="0" smtClean="0">
                <a:solidFill>
                  <a:schemeClr val="tx1"/>
                </a:solidFill>
                <a:latin typeface="Santander Headline" panose="020B0504020201020104" pitchFamily="34" charset="0"/>
                <a:ea typeface="+mn-ea"/>
                <a:cs typeface="+mn-cs"/>
              </a:defRPr>
            </a:lvl1pPr>
            <a:lvl2pPr marL="457200" indent="0" algn="ctr">
              <a:buNone/>
              <a:defRPr sz="1000">
                <a:solidFill>
                  <a:schemeClr val="accent3"/>
                </a:solidFill>
              </a:defRPr>
            </a:lvl2pPr>
            <a:lvl3pPr marL="914400" indent="0">
              <a:buNone/>
              <a:defRPr sz="100"/>
            </a:lvl3pPr>
            <a:lvl4pPr marL="1371600" indent="0">
              <a:buNone/>
              <a:defRPr sz="100"/>
            </a:lvl4pPr>
            <a:lvl5pPr marL="1828800" indent="0">
              <a:buNone/>
              <a:defRPr sz="100"/>
            </a:lvl5pPr>
          </a:lstStyle>
          <a:p>
            <a:pPr lvl="0"/>
            <a:endParaRPr lang="es-ES"/>
          </a:p>
        </p:txBody>
      </p:sp>
      <p:sp>
        <p:nvSpPr>
          <p:cNvPr id="33" name="Marcador de texto 23">
            <a:extLst>
              <a:ext uri="{FF2B5EF4-FFF2-40B4-BE49-F238E27FC236}">
                <a16:creationId xmlns:a16="http://schemas.microsoft.com/office/drawing/2014/main" id="{FE95BDEE-F730-17E8-72B6-444A8C2C7AEC}"/>
              </a:ext>
            </a:extLst>
          </p:cNvPr>
          <p:cNvSpPr>
            <a:spLocks noGrp="1" noChangeAspect="1"/>
          </p:cNvSpPr>
          <p:nvPr>
            <p:ph type="body" sz="quarter" idx="59"/>
          </p:nvPr>
        </p:nvSpPr>
        <p:spPr>
          <a:xfrm>
            <a:off x="1886857" y="1533992"/>
            <a:ext cx="2206171" cy="2204242"/>
          </a:xfrm>
          <a:prstGeom prst="rect">
            <a:avLst/>
          </a:prstGeom>
          <a:blipFill>
            <a:blip r:embed="rId8">
              <a:extLst>
                <a:ext uri="{96DAC541-7B7A-43D3-8B79-37D633B846F1}">
                  <asvg:svgBlip xmlns:asvg="http://schemas.microsoft.com/office/drawing/2016/SVG/main" r:embed="rId9"/>
                </a:ext>
              </a:extLst>
            </a:blip>
            <a:stretch>
              <a:fillRect/>
            </a:stretch>
          </a:blipFill>
        </p:spPr>
        <p:txBody>
          <a:bodyPr lIns="720000" tIns="1008000" rIns="720000" bIns="1008000" anchor="ctr"/>
          <a:lstStyle>
            <a:lvl1pPr marL="0" indent="0" algn="ctr">
              <a:buNone/>
              <a:defRPr lang="es-ES" sz="1200" b="1" kern="1200" dirty="0" smtClean="0">
                <a:solidFill>
                  <a:schemeClr val="tx1"/>
                </a:solidFill>
                <a:latin typeface="Santander Headline" panose="020B0504020201020104" pitchFamily="34" charset="0"/>
                <a:ea typeface="+mn-ea"/>
                <a:cs typeface="+mn-cs"/>
              </a:defRPr>
            </a:lvl1pPr>
            <a:lvl2pPr marL="457200" indent="0" algn="ctr">
              <a:buNone/>
              <a:defRPr sz="1000">
                <a:solidFill>
                  <a:schemeClr val="accent3"/>
                </a:solidFill>
              </a:defRPr>
            </a:lvl2pPr>
            <a:lvl3pPr marL="914400" indent="0">
              <a:buNone/>
              <a:defRPr sz="100"/>
            </a:lvl3pPr>
            <a:lvl4pPr marL="1371600" indent="0">
              <a:buNone/>
              <a:defRPr sz="100"/>
            </a:lvl4pPr>
            <a:lvl5pPr marL="1828800" indent="0">
              <a:buNone/>
              <a:defRPr sz="100"/>
            </a:lvl5pPr>
          </a:lstStyle>
          <a:p>
            <a:pPr lvl="0"/>
            <a:endParaRPr lang="es-ES"/>
          </a:p>
        </p:txBody>
      </p:sp>
      <p:sp>
        <p:nvSpPr>
          <p:cNvPr id="5" name="Marcador de número de diapositiva 5">
            <a:extLst>
              <a:ext uri="{FF2B5EF4-FFF2-40B4-BE49-F238E27FC236}">
                <a16:creationId xmlns:a16="http://schemas.microsoft.com/office/drawing/2014/main" id="{43F9BD23-DD0F-77D1-BACC-2D904549AB9F}"/>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D45C2C36-044A-A6CF-15A6-A144B4BC125D}"/>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384769E3-E446-08C7-25F2-6EF7776DE7DF}"/>
              </a:ext>
            </a:extLst>
          </p:cNvPr>
          <p:cNvPicPr>
            <a:picLocks noChangeAspect="1"/>
          </p:cNvPicPr>
          <p:nvPr userDrawn="1"/>
        </p:nvPicPr>
        <p:blipFill>
          <a:blip r:embed="rId10">
            <a:extLst>
              <a:ext uri="{96DAC541-7B7A-43D3-8B79-37D633B846F1}">
                <asvg:svgBlip xmlns:asvg="http://schemas.microsoft.com/office/drawing/2016/SVG/main" r:embed="rId11"/>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3016E7A9-0E63-A19B-6DD5-CB473A2EC7F5}"/>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59AFE8CB-99DE-DEF4-3F58-405248CB329A}"/>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42DAA1B8-224B-835C-E7DE-91D4AF43C50C}"/>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39334678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9_Header &amp; Content ">
    <p:spTree>
      <p:nvGrpSpPr>
        <p:cNvPr id="1" name=""/>
        <p:cNvGrpSpPr/>
        <p:nvPr/>
      </p:nvGrpSpPr>
      <p:grpSpPr>
        <a:xfrm>
          <a:off x="0" y="0"/>
          <a:ext cx="0" cy="0"/>
          <a:chOff x="0" y="0"/>
          <a:chExt cx="0" cy="0"/>
        </a:xfrm>
      </p:grpSpPr>
      <p:sp>
        <p:nvSpPr>
          <p:cNvPr id="94" name="Marcador de texto 93">
            <a:extLst>
              <a:ext uri="{FF2B5EF4-FFF2-40B4-BE49-F238E27FC236}">
                <a16:creationId xmlns:a16="http://schemas.microsoft.com/office/drawing/2014/main" id="{1CF3EA8D-8FBB-67BD-02E6-521B3C3A45F9}"/>
              </a:ext>
            </a:extLst>
          </p:cNvPr>
          <p:cNvSpPr>
            <a:spLocks noGrp="1"/>
          </p:cNvSpPr>
          <p:nvPr>
            <p:ph type="body" sz="quarter" idx="54"/>
          </p:nvPr>
        </p:nvSpPr>
        <p:spPr>
          <a:xfrm>
            <a:off x="2118977" y="2426928"/>
            <a:ext cx="2767954" cy="2468753"/>
          </a:xfrm>
          <a:prstGeom prst="rect">
            <a:avLst/>
          </a:prstGeom>
          <a:blipFill>
            <a:blip r:embed="rId2">
              <a:lum/>
              <a:extLst>
                <a:ext uri="{96DAC541-7B7A-43D3-8B79-37D633B846F1}">
                  <asvg:svgBlip xmlns:asvg="http://schemas.microsoft.com/office/drawing/2016/SVG/main" r:embed="rId3"/>
                </a:ext>
              </a:extLst>
            </a:blip>
            <a:stretch>
              <a:fillRect/>
            </a:stretch>
          </a:blipFill>
        </p:spPr>
        <p:txBody>
          <a:bodyPr/>
          <a:lstStyle>
            <a:lvl1pPr>
              <a:defRPr sz="100">
                <a:solidFill>
                  <a:schemeClr val="tx1">
                    <a:alpha val="0"/>
                  </a:schemeClr>
                </a:solidFill>
                <a:latin typeface="+mj-lt"/>
              </a:defRPr>
            </a:lvl1pPr>
            <a:lvl2pPr marL="457200" indent="0">
              <a:buNone/>
              <a:defRPr sz="100"/>
            </a:lvl2pPr>
            <a:lvl3pPr marL="914400" indent="0">
              <a:buNone/>
              <a:defRPr sz="100"/>
            </a:lvl3pPr>
            <a:lvl4pPr>
              <a:defRPr sz="100"/>
            </a:lvl4pPr>
            <a:lvl5pPr>
              <a:defRPr sz="100"/>
            </a:lvl5pPr>
          </a:lstStyle>
          <a:p>
            <a:pPr lvl="0"/>
            <a:r>
              <a:rPr lang="es-ES"/>
              <a:t>Haga clic para modificar los estilos de texto del patrón</a:t>
            </a:r>
          </a:p>
        </p:txBody>
      </p:sp>
      <p:sp>
        <p:nvSpPr>
          <p:cNvPr id="57" name="Marcador de texto 56">
            <a:extLst>
              <a:ext uri="{FF2B5EF4-FFF2-40B4-BE49-F238E27FC236}">
                <a16:creationId xmlns:a16="http://schemas.microsoft.com/office/drawing/2014/main" id="{02688192-F337-FAFD-1E67-35C311A52130}"/>
              </a:ext>
            </a:extLst>
          </p:cNvPr>
          <p:cNvSpPr>
            <a:spLocks noGrp="1"/>
          </p:cNvSpPr>
          <p:nvPr userDrawn="1">
            <p:ph type="body" sz="quarter" idx="46"/>
          </p:nvPr>
        </p:nvSpPr>
        <p:spPr>
          <a:xfrm>
            <a:off x="1345129" y="2226445"/>
            <a:ext cx="1527806" cy="1320634"/>
          </a:xfrm>
          <a:prstGeom prst="hexagon">
            <a:avLst/>
          </a:prstGeom>
          <a:solidFill>
            <a:schemeClr val="bg1">
              <a:lumMod val="95000"/>
            </a:schemeClr>
          </a:solidFill>
          <a:ln w="63500">
            <a:solidFill>
              <a:srgbClr val="BFBFBF"/>
            </a:solidFill>
            <a:miter lim="800000"/>
          </a:ln>
        </p:spPr>
        <p:txBody>
          <a:bodyPr anchor="ctr"/>
          <a:lstStyle>
            <a:lvl1pPr marL="0" indent="0" algn="ctr">
              <a:buNone/>
              <a:defRPr sz="1000">
                <a:solidFill>
                  <a:schemeClr val="tx1">
                    <a:lumMod val="75000"/>
                  </a:schemeClr>
                </a:solidFill>
                <a:latin typeface="+mj-lt"/>
              </a:defRPr>
            </a:lvl1pPr>
            <a:lvl2pPr>
              <a:defRPr sz="1000"/>
            </a:lvl2pPr>
            <a:lvl3pPr>
              <a:defRPr sz="1000"/>
            </a:lvl3pPr>
            <a:lvl4pPr>
              <a:defRPr sz="1000"/>
            </a:lvl4pPr>
            <a:lvl5pPr>
              <a:defRPr sz="1000"/>
            </a:lvl5pPr>
          </a:lstStyle>
          <a:p>
            <a:pPr lvl="0"/>
            <a:endParaRPr lang="es-ES"/>
          </a:p>
        </p:txBody>
      </p:sp>
      <p:sp>
        <p:nvSpPr>
          <p:cNvPr id="60" name="Marcador de texto 56">
            <a:extLst>
              <a:ext uri="{FF2B5EF4-FFF2-40B4-BE49-F238E27FC236}">
                <a16:creationId xmlns:a16="http://schemas.microsoft.com/office/drawing/2014/main" id="{560711C3-C336-4C2C-2D73-AA2F57887457}"/>
              </a:ext>
            </a:extLst>
          </p:cNvPr>
          <p:cNvSpPr>
            <a:spLocks noGrp="1"/>
          </p:cNvSpPr>
          <p:nvPr userDrawn="1">
            <p:ph type="body" sz="quarter" idx="49"/>
          </p:nvPr>
        </p:nvSpPr>
        <p:spPr>
          <a:xfrm>
            <a:off x="4088066" y="2234537"/>
            <a:ext cx="1527806" cy="1320634"/>
          </a:xfrm>
          <a:prstGeom prst="hexagon">
            <a:avLst/>
          </a:prstGeom>
          <a:solidFill>
            <a:schemeClr val="bg1">
              <a:lumMod val="95000"/>
            </a:schemeClr>
          </a:solidFill>
          <a:ln w="63500">
            <a:solidFill>
              <a:srgbClr val="BFBFBF"/>
            </a:solidFill>
            <a:miter lim="800000"/>
          </a:ln>
        </p:spPr>
        <p:txBody>
          <a:bodyPr anchor="ctr"/>
          <a:lstStyle>
            <a:lvl1pPr marL="0" indent="0" algn="ctr">
              <a:buNone/>
              <a:defRPr sz="1000">
                <a:solidFill>
                  <a:schemeClr val="tx1">
                    <a:lumMod val="75000"/>
                  </a:schemeClr>
                </a:solidFill>
                <a:latin typeface="+mj-lt"/>
              </a:defRPr>
            </a:lvl1pPr>
            <a:lvl2pPr>
              <a:defRPr sz="1000"/>
            </a:lvl2pPr>
            <a:lvl3pPr>
              <a:defRPr sz="1000"/>
            </a:lvl3pPr>
            <a:lvl4pPr>
              <a:defRPr sz="1000"/>
            </a:lvl4pPr>
            <a:lvl5pPr>
              <a:defRPr sz="1000"/>
            </a:lvl5pPr>
          </a:lstStyle>
          <a:p>
            <a:pPr lvl="0"/>
            <a:endParaRPr lang="es-ES"/>
          </a:p>
        </p:txBody>
      </p:sp>
      <p:sp>
        <p:nvSpPr>
          <p:cNvPr id="61" name="Marcador de texto 56">
            <a:extLst>
              <a:ext uri="{FF2B5EF4-FFF2-40B4-BE49-F238E27FC236}">
                <a16:creationId xmlns:a16="http://schemas.microsoft.com/office/drawing/2014/main" id="{3AB1845B-2EC6-99A3-9F1B-A544D3A29531}"/>
              </a:ext>
            </a:extLst>
          </p:cNvPr>
          <p:cNvSpPr>
            <a:spLocks noGrp="1"/>
          </p:cNvSpPr>
          <p:nvPr userDrawn="1">
            <p:ph type="body" sz="quarter" idx="50"/>
          </p:nvPr>
        </p:nvSpPr>
        <p:spPr>
          <a:xfrm>
            <a:off x="2712035" y="1459867"/>
            <a:ext cx="1527806" cy="1320634"/>
          </a:xfrm>
          <a:prstGeom prst="hexagon">
            <a:avLst/>
          </a:prstGeom>
          <a:solidFill>
            <a:schemeClr val="bg1">
              <a:lumMod val="95000"/>
            </a:schemeClr>
          </a:solidFill>
          <a:ln w="63500">
            <a:solidFill>
              <a:srgbClr val="BFBFBF"/>
            </a:solidFill>
            <a:miter lim="800000"/>
          </a:ln>
        </p:spPr>
        <p:txBody>
          <a:bodyPr anchor="ctr"/>
          <a:lstStyle>
            <a:lvl1pPr marL="0" indent="0" algn="ctr">
              <a:buNone/>
              <a:defRPr sz="1000">
                <a:solidFill>
                  <a:schemeClr val="tx1">
                    <a:lumMod val="75000"/>
                  </a:schemeClr>
                </a:solidFill>
                <a:latin typeface="+mj-lt"/>
              </a:defRPr>
            </a:lvl1pPr>
            <a:lvl2pPr>
              <a:defRPr sz="1000"/>
            </a:lvl2pPr>
            <a:lvl3pPr>
              <a:defRPr sz="1000"/>
            </a:lvl3pPr>
            <a:lvl4pPr>
              <a:defRPr sz="1000"/>
            </a:lvl4pPr>
            <a:lvl5pPr>
              <a:defRPr sz="1000"/>
            </a:lvl5pPr>
          </a:lstStyle>
          <a:p>
            <a:pPr lvl="0"/>
            <a:endParaRPr lang="es-ES"/>
          </a:p>
        </p:txBody>
      </p:sp>
      <p:sp>
        <p:nvSpPr>
          <p:cNvPr id="62" name="Marcador de texto 56">
            <a:extLst>
              <a:ext uri="{FF2B5EF4-FFF2-40B4-BE49-F238E27FC236}">
                <a16:creationId xmlns:a16="http://schemas.microsoft.com/office/drawing/2014/main" id="{8E9389B3-1F68-99B5-89A6-FD6F4EF41359}"/>
              </a:ext>
            </a:extLst>
          </p:cNvPr>
          <p:cNvSpPr>
            <a:spLocks noGrp="1"/>
          </p:cNvSpPr>
          <p:nvPr userDrawn="1">
            <p:ph type="body" sz="quarter" idx="51"/>
          </p:nvPr>
        </p:nvSpPr>
        <p:spPr>
          <a:xfrm>
            <a:off x="2712035" y="4507219"/>
            <a:ext cx="1527806" cy="1320634"/>
          </a:xfrm>
          <a:prstGeom prst="hexagon">
            <a:avLst/>
          </a:prstGeom>
          <a:solidFill>
            <a:schemeClr val="bg1">
              <a:lumMod val="95000"/>
            </a:schemeClr>
          </a:solidFill>
          <a:ln w="63500">
            <a:solidFill>
              <a:srgbClr val="BFBFBF"/>
            </a:solidFill>
            <a:miter lim="800000"/>
          </a:ln>
        </p:spPr>
        <p:txBody>
          <a:bodyPr anchor="ctr"/>
          <a:lstStyle>
            <a:lvl1pPr marL="0" indent="0" algn="ctr">
              <a:buNone/>
              <a:defRPr sz="1000">
                <a:solidFill>
                  <a:schemeClr val="tx1">
                    <a:lumMod val="75000"/>
                  </a:schemeClr>
                </a:solidFill>
                <a:latin typeface="+mj-lt"/>
              </a:defRPr>
            </a:lvl1pPr>
            <a:lvl2pPr>
              <a:defRPr sz="1000"/>
            </a:lvl2pPr>
            <a:lvl3pPr>
              <a:defRPr sz="1000"/>
            </a:lvl3pPr>
            <a:lvl4pPr>
              <a:defRPr sz="1000"/>
            </a:lvl4pPr>
            <a:lvl5pPr>
              <a:defRPr sz="1000"/>
            </a:lvl5pPr>
          </a:lstStyle>
          <a:p>
            <a:pPr lvl="0"/>
            <a:endParaRPr lang="es-ES"/>
          </a:p>
        </p:txBody>
      </p:sp>
      <p:sp>
        <p:nvSpPr>
          <p:cNvPr id="63" name="Marcador de texto 56">
            <a:extLst>
              <a:ext uri="{FF2B5EF4-FFF2-40B4-BE49-F238E27FC236}">
                <a16:creationId xmlns:a16="http://schemas.microsoft.com/office/drawing/2014/main" id="{48B4A86B-7BC0-7B78-491E-50BB08699FF4}"/>
              </a:ext>
            </a:extLst>
          </p:cNvPr>
          <p:cNvSpPr>
            <a:spLocks noGrp="1"/>
          </p:cNvSpPr>
          <p:nvPr userDrawn="1">
            <p:ph type="body" sz="quarter" idx="52"/>
          </p:nvPr>
        </p:nvSpPr>
        <p:spPr>
          <a:xfrm>
            <a:off x="1349092" y="3777499"/>
            <a:ext cx="1527806" cy="1320634"/>
          </a:xfrm>
          <a:prstGeom prst="hexagon">
            <a:avLst/>
          </a:prstGeom>
          <a:solidFill>
            <a:schemeClr val="bg1">
              <a:lumMod val="95000"/>
            </a:schemeClr>
          </a:solidFill>
          <a:ln w="63500">
            <a:solidFill>
              <a:srgbClr val="BFBFBF"/>
            </a:solidFill>
            <a:miter lim="800000"/>
          </a:ln>
        </p:spPr>
        <p:txBody>
          <a:bodyPr anchor="ctr"/>
          <a:lstStyle>
            <a:lvl1pPr marL="0" indent="0" algn="ctr">
              <a:buNone/>
              <a:defRPr sz="1000">
                <a:solidFill>
                  <a:schemeClr val="tx1">
                    <a:lumMod val="75000"/>
                  </a:schemeClr>
                </a:solidFill>
                <a:latin typeface="+mj-lt"/>
              </a:defRPr>
            </a:lvl1pPr>
            <a:lvl2pPr>
              <a:defRPr sz="1000"/>
            </a:lvl2pPr>
            <a:lvl3pPr>
              <a:defRPr sz="1000"/>
            </a:lvl3pPr>
            <a:lvl4pPr>
              <a:defRPr sz="1000"/>
            </a:lvl4pPr>
            <a:lvl5pPr>
              <a:defRPr sz="1000"/>
            </a:lvl5pPr>
          </a:lstStyle>
          <a:p>
            <a:pPr lvl="0"/>
            <a:endParaRPr lang="es-ES"/>
          </a:p>
        </p:txBody>
      </p:sp>
      <p:sp>
        <p:nvSpPr>
          <p:cNvPr id="64" name="Marcador de texto 56">
            <a:extLst>
              <a:ext uri="{FF2B5EF4-FFF2-40B4-BE49-F238E27FC236}">
                <a16:creationId xmlns:a16="http://schemas.microsoft.com/office/drawing/2014/main" id="{1CB081F0-7B38-5B7D-8E6D-BA395529F61E}"/>
              </a:ext>
            </a:extLst>
          </p:cNvPr>
          <p:cNvSpPr>
            <a:spLocks noGrp="1"/>
          </p:cNvSpPr>
          <p:nvPr userDrawn="1">
            <p:ph type="body" sz="quarter" idx="53"/>
          </p:nvPr>
        </p:nvSpPr>
        <p:spPr>
          <a:xfrm>
            <a:off x="4079974" y="3777499"/>
            <a:ext cx="1527806" cy="1320634"/>
          </a:xfrm>
          <a:prstGeom prst="hexagon">
            <a:avLst/>
          </a:prstGeom>
          <a:solidFill>
            <a:schemeClr val="bg1">
              <a:lumMod val="95000"/>
            </a:schemeClr>
          </a:solidFill>
          <a:ln w="63500">
            <a:solidFill>
              <a:srgbClr val="BFBFBF"/>
            </a:solidFill>
            <a:miter lim="800000"/>
          </a:ln>
        </p:spPr>
        <p:txBody>
          <a:bodyPr anchor="ctr"/>
          <a:lstStyle>
            <a:lvl1pPr marL="0" indent="0" algn="ctr">
              <a:buNone/>
              <a:defRPr sz="1000">
                <a:solidFill>
                  <a:schemeClr val="tx1">
                    <a:lumMod val="75000"/>
                  </a:schemeClr>
                </a:solidFill>
                <a:latin typeface="+mj-lt"/>
              </a:defRPr>
            </a:lvl1pPr>
            <a:lvl2pPr>
              <a:defRPr sz="1000"/>
            </a:lvl2pPr>
            <a:lvl3pPr>
              <a:defRPr sz="1000"/>
            </a:lvl3pPr>
            <a:lvl4pPr>
              <a:defRPr sz="1000"/>
            </a:lvl4pPr>
            <a:lvl5pPr>
              <a:defRPr sz="1000"/>
            </a:lvl5pPr>
          </a:lstStyle>
          <a:p>
            <a:pPr lvl="0"/>
            <a:endParaRPr lang="es-ES"/>
          </a:p>
        </p:txBody>
      </p:sp>
      <p:sp>
        <p:nvSpPr>
          <p:cNvPr id="59" name="Marcador de texto 56">
            <a:extLst>
              <a:ext uri="{FF2B5EF4-FFF2-40B4-BE49-F238E27FC236}">
                <a16:creationId xmlns:a16="http://schemas.microsoft.com/office/drawing/2014/main" id="{4E7ACAB3-7628-0631-0842-D2D9F10CC0CD}"/>
              </a:ext>
            </a:extLst>
          </p:cNvPr>
          <p:cNvSpPr>
            <a:spLocks noGrp="1"/>
          </p:cNvSpPr>
          <p:nvPr userDrawn="1">
            <p:ph type="body" sz="quarter" idx="48"/>
          </p:nvPr>
        </p:nvSpPr>
        <p:spPr>
          <a:xfrm>
            <a:off x="2712035" y="2984171"/>
            <a:ext cx="1527806" cy="1320634"/>
          </a:xfrm>
          <a:prstGeom prst="hexagon">
            <a:avLst/>
          </a:prstGeom>
          <a:solidFill>
            <a:schemeClr val="bg1">
              <a:lumMod val="95000"/>
            </a:schemeClr>
          </a:solidFill>
          <a:ln w="63500">
            <a:solidFill>
              <a:schemeClr val="accent5"/>
            </a:solidFill>
            <a:miter lim="800000"/>
          </a:ln>
        </p:spPr>
        <p:txBody>
          <a:bodyPr anchor="ctr"/>
          <a:lstStyle>
            <a:lvl1pPr marL="0" indent="0" algn="ctr">
              <a:buNone/>
              <a:defRPr sz="1600" b="1">
                <a:solidFill>
                  <a:schemeClr val="tx1">
                    <a:lumMod val="75000"/>
                  </a:schemeClr>
                </a:solidFill>
                <a:latin typeface="+mj-lt"/>
              </a:defRPr>
            </a:lvl1pPr>
            <a:lvl2pPr>
              <a:defRPr sz="1000"/>
            </a:lvl2pPr>
            <a:lvl3pPr>
              <a:defRPr sz="1000"/>
            </a:lvl3pPr>
            <a:lvl4pPr>
              <a:defRPr sz="1000"/>
            </a:lvl4pPr>
            <a:lvl5pPr>
              <a:defRPr sz="1000"/>
            </a:lvl5pPr>
          </a:lstStyle>
          <a:p>
            <a:pPr lvl="0"/>
            <a:endParaRPr lang="es-ES"/>
          </a:p>
        </p:txBody>
      </p:sp>
      <p:sp>
        <p:nvSpPr>
          <p:cNvPr id="105" name="Marcador de texto 93">
            <a:extLst>
              <a:ext uri="{FF2B5EF4-FFF2-40B4-BE49-F238E27FC236}">
                <a16:creationId xmlns:a16="http://schemas.microsoft.com/office/drawing/2014/main" id="{2D656B03-36DE-0E4C-9F6C-B8DA0DBFD86A}"/>
              </a:ext>
            </a:extLst>
          </p:cNvPr>
          <p:cNvSpPr>
            <a:spLocks noGrp="1"/>
          </p:cNvSpPr>
          <p:nvPr>
            <p:ph type="body" sz="quarter" idx="63"/>
          </p:nvPr>
        </p:nvSpPr>
        <p:spPr>
          <a:xfrm>
            <a:off x="7324024" y="2426928"/>
            <a:ext cx="2767954" cy="2468753"/>
          </a:xfrm>
          <a:prstGeom prst="rect">
            <a:avLst/>
          </a:prstGeom>
          <a:blipFill>
            <a:blip r:embed="rId2">
              <a:lum/>
              <a:extLst>
                <a:ext uri="{96DAC541-7B7A-43D3-8B79-37D633B846F1}">
                  <asvg:svgBlip xmlns:asvg="http://schemas.microsoft.com/office/drawing/2016/SVG/main" r:embed="rId3"/>
                </a:ext>
              </a:extLst>
            </a:blip>
            <a:stretch>
              <a:fillRect/>
            </a:stretch>
          </a:blipFill>
        </p:spPr>
        <p:txBody>
          <a:bodyPr/>
          <a:lstStyle>
            <a:lvl1pPr>
              <a:defRPr sz="100">
                <a:solidFill>
                  <a:schemeClr val="tx1">
                    <a:alpha val="0"/>
                  </a:schemeClr>
                </a:solidFill>
                <a:latin typeface="+mj-lt"/>
              </a:defRPr>
            </a:lvl1pPr>
            <a:lvl2pPr marL="457200" indent="0">
              <a:buNone/>
              <a:defRPr sz="100"/>
            </a:lvl2pPr>
            <a:lvl3pPr marL="914400" indent="0">
              <a:buNone/>
              <a:defRPr sz="100"/>
            </a:lvl3pPr>
            <a:lvl4pPr>
              <a:defRPr sz="100"/>
            </a:lvl4pPr>
            <a:lvl5pPr>
              <a:defRPr sz="100"/>
            </a:lvl5pPr>
          </a:lstStyle>
          <a:p>
            <a:pPr lvl="0"/>
            <a:r>
              <a:rPr lang="es-ES"/>
              <a:t>Haga clic para modificar los estilos de texto del patrón</a:t>
            </a:r>
          </a:p>
        </p:txBody>
      </p:sp>
      <p:sp>
        <p:nvSpPr>
          <p:cNvPr id="106" name="Marcador de texto 56">
            <a:extLst>
              <a:ext uri="{FF2B5EF4-FFF2-40B4-BE49-F238E27FC236}">
                <a16:creationId xmlns:a16="http://schemas.microsoft.com/office/drawing/2014/main" id="{8A80C428-FE18-70E4-2C05-4A381CF7A5E6}"/>
              </a:ext>
            </a:extLst>
          </p:cNvPr>
          <p:cNvSpPr>
            <a:spLocks noGrp="1"/>
          </p:cNvSpPr>
          <p:nvPr>
            <p:ph type="body" sz="quarter" idx="64"/>
          </p:nvPr>
        </p:nvSpPr>
        <p:spPr>
          <a:xfrm>
            <a:off x="6550176" y="2226445"/>
            <a:ext cx="1527806" cy="1320634"/>
          </a:xfrm>
          <a:prstGeom prst="hexagon">
            <a:avLst/>
          </a:prstGeom>
          <a:solidFill>
            <a:schemeClr val="bg1">
              <a:lumMod val="95000"/>
            </a:schemeClr>
          </a:solidFill>
          <a:ln w="63500">
            <a:solidFill>
              <a:schemeClr val="accent5"/>
            </a:solidFill>
            <a:miter lim="800000"/>
          </a:ln>
        </p:spPr>
        <p:txBody>
          <a:bodyPr anchor="ctr"/>
          <a:lstStyle>
            <a:lvl1pPr marL="0" indent="0" algn="ctr">
              <a:buNone/>
              <a:defRPr sz="1000">
                <a:solidFill>
                  <a:schemeClr val="tx1">
                    <a:lumMod val="75000"/>
                  </a:schemeClr>
                </a:solidFill>
                <a:latin typeface="+mj-lt"/>
              </a:defRPr>
            </a:lvl1pPr>
            <a:lvl2pPr>
              <a:defRPr sz="1000"/>
            </a:lvl2pPr>
            <a:lvl3pPr>
              <a:defRPr sz="1000"/>
            </a:lvl3pPr>
            <a:lvl4pPr>
              <a:defRPr sz="1000"/>
            </a:lvl4pPr>
            <a:lvl5pPr>
              <a:defRPr sz="1000"/>
            </a:lvl5pPr>
          </a:lstStyle>
          <a:p>
            <a:pPr lvl="0"/>
            <a:endParaRPr lang="es-ES"/>
          </a:p>
        </p:txBody>
      </p:sp>
      <p:sp>
        <p:nvSpPr>
          <p:cNvPr id="107" name="Marcador de texto 56">
            <a:extLst>
              <a:ext uri="{FF2B5EF4-FFF2-40B4-BE49-F238E27FC236}">
                <a16:creationId xmlns:a16="http://schemas.microsoft.com/office/drawing/2014/main" id="{63BAC9AF-639A-2F3E-1CD6-81A2A1B6BE8B}"/>
              </a:ext>
            </a:extLst>
          </p:cNvPr>
          <p:cNvSpPr>
            <a:spLocks noGrp="1"/>
          </p:cNvSpPr>
          <p:nvPr>
            <p:ph type="body" sz="quarter" idx="65"/>
          </p:nvPr>
        </p:nvSpPr>
        <p:spPr>
          <a:xfrm>
            <a:off x="9293113" y="2234537"/>
            <a:ext cx="1527806" cy="1320634"/>
          </a:xfrm>
          <a:prstGeom prst="hexagon">
            <a:avLst/>
          </a:prstGeom>
          <a:solidFill>
            <a:schemeClr val="bg1">
              <a:lumMod val="95000"/>
            </a:schemeClr>
          </a:solidFill>
          <a:ln w="63500">
            <a:solidFill>
              <a:schemeClr val="accent3"/>
            </a:solidFill>
            <a:miter lim="800000"/>
          </a:ln>
        </p:spPr>
        <p:txBody>
          <a:bodyPr anchor="ctr"/>
          <a:lstStyle>
            <a:lvl1pPr marL="0" indent="0" algn="ctr">
              <a:buNone/>
              <a:defRPr sz="1000">
                <a:solidFill>
                  <a:schemeClr val="tx1">
                    <a:lumMod val="75000"/>
                  </a:schemeClr>
                </a:solidFill>
                <a:latin typeface="+mj-lt"/>
              </a:defRPr>
            </a:lvl1pPr>
            <a:lvl2pPr>
              <a:defRPr sz="1000"/>
            </a:lvl2pPr>
            <a:lvl3pPr>
              <a:defRPr sz="1000"/>
            </a:lvl3pPr>
            <a:lvl4pPr>
              <a:defRPr sz="1000"/>
            </a:lvl4pPr>
            <a:lvl5pPr>
              <a:defRPr sz="1000"/>
            </a:lvl5pPr>
          </a:lstStyle>
          <a:p>
            <a:pPr lvl="0"/>
            <a:endParaRPr lang="es-ES"/>
          </a:p>
        </p:txBody>
      </p:sp>
      <p:sp>
        <p:nvSpPr>
          <p:cNvPr id="108" name="Marcador de texto 56">
            <a:extLst>
              <a:ext uri="{FF2B5EF4-FFF2-40B4-BE49-F238E27FC236}">
                <a16:creationId xmlns:a16="http://schemas.microsoft.com/office/drawing/2014/main" id="{B0C60530-2F36-FD98-9030-2E2E9B5AA3D6}"/>
              </a:ext>
            </a:extLst>
          </p:cNvPr>
          <p:cNvSpPr>
            <a:spLocks noGrp="1"/>
          </p:cNvSpPr>
          <p:nvPr>
            <p:ph type="body" sz="quarter" idx="66"/>
          </p:nvPr>
        </p:nvSpPr>
        <p:spPr>
          <a:xfrm>
            <a:off x="7917082" y="1459867"/>
            <a:ext cx="1527806" cy="1320634"/>
          </a:xfrm>
          <a:prstGeom prst="hexagon">
            <a:avLst/>
          </a:prstGeom>
          <a:solidFill>
            <a:schemeClr val="bg1">
              <a:lumMod val="95000"/>
            </a:schemeClr>
          </a:solidFill>
          <a:ln w="63500">
            <a:solidFill>
              <a:schemeClr val="accent2"/>
            </a:solidFill>
            <a:miter lim="800000"/>
          </a:ln>
        </p:spPr>
        <p:txBody>
          <a:bodyPr anchor="ctr"/>
          <a:lstStyle>
            <a:lvl1pPr marL="0" indent="0" algn="ctr">
              <a:buNone/>
              <a:defRPr sz="1000">
                <a:solidFill>
                  <a:schemeClr val="tx1">
                    <a:lumMod val="75000"/>
                  </a:schemeClr>
                </a:solidFill>
                <a:latin typeface="+mj-lt"/>
              </a:defRPr>
            </a:lvl1pPr>
            <a:lvl2pPr>
              <a:defRPr sz="1000"/>
            </a:lvl2pPr>
            <a:lvl3pPr>
              <a:defRPr sz="1000"/>
            </a:lvl3pPr>
            <a:lvl4pPr>
              <a:defRPr sz="1000"/>
            </a:lvl4pPr>
            <a:lvl5pPr>
              <a:defRPr sz="1000"/>
            </a:lvl5pPr>
          </a:lstStyle>
          <a:p>
            <a:pPr lvl="0"/>
            <a:endParaRPr lang="es-ES"/>
          </a:p>
        </p:txBody>
      </p:sp>
      <p:sp>
        <p:nvSpPr>
          <p:cNvPr id="109" name="Marcador de texto 56">
            <a:extLst>
              <a:ext uri="{FF2B5EF4-FFF2-40B4-BE49-F238E27FC236}">
                <a16:creationId xmlns:a16="http://schemas.microsoft.com/office/drawing/2014/main" id="{7C59491C-5BF3-1A37-1AC8-A6B79A6452A3}"/>
              </a:ext>
            </a:extLst>
          </p:cNvPr>
          <p:cNvSpPr>
            <a:spLocks noGrp="1"/>
          </p:cNvSpPr>
          <p:nvPr>
            <p:ph type="body" sz="quarter" idx="67"/>
          </p:nvPr>
        </p:nvSpPr>
        <p:spPr>
          <a:xfrm>
            <a:off x="7917082" y="4507219"/>
            <a:ext cx="1527806" cy="1320634"/>
          </a:xfrm>
          <a:prstGeom prst="hexagon">
            <a:avLst/>
          </a:prstGeom>
          <a:solidFill>
            <a:schemeClr val="bg1">
              <a:lumMod val="95000"/>
            </a:schemeClr>
          </a:solidFill>
          <a:ln w="63500">
            <a:solidFill>
              <a:schemeClr val="accent3">
                <a:lumMod val="20000"/>
                <a:lumOff val="80000"/>
              </a:schemeClr>
            </a:solidFill>
            <a:miter lim="800000"/>
          </a:ln>
        </p:spPr>
        <p:txBody>
          <a:bodyPr anchor="ctr"/>
          <a:lstStyle>
            <a:lvl1pPr marL="0" indent="0" algn="ctr">
              <a:buNone/>
              <a:defRPr sz="1000">
                <a:solidFill>
                  <a:schemeClr val="tx1">
                    <a:lumMod val="75000"/>
                  </a:schemeClr>
                </a:solidFill>
                <a:latin typeface="+mj-lt"/>
              </a:defRPr>
            </a:lvl1pPr>
            <a:lvl2pPr>
              <a:defRPr sz="1000"/>
            </a:lvl2pPr>
            <a:lvl3pPr>
              <a:defRPr sz="1000"/>
            </a:lvl3pPr>
            <a:lvl4pPr>
              <a:defRPr sz="1000"/>
            </a:lvl4pPr>
            <a:lvl5pPr>
              <a:defRPr sz="1000"/>
            </a:lvl5pPr>
          </a:lstStyle>
          <a:p>
            <a:pPr lvl="0"/>
            <a:endParaRPr lang="es-ES"/>
          </a:p>
        </p:txBody>
      </p:sp>
      <p:sp>
        <p:nvSpPr>
          <p:cNvPr id="110" name="Marcador de texto 56">
            <a:extLst>
              <a:ext uri="{FF2B5EF4-FFF2-40B4-BE49-F238E27FC236}">
                <a16:creationId xmlns:a16="http://schemas.microsoft.com/office/drawing/2014/main" id="{6576D550-E414-E613-A944-81E8E3162A22}"/>
              </a:ext>
            </a:extLst>
          </p:cNvPr>
          <p:cNvSpPr>
            <a:spLocks noGrp="1"/>
          </p:cNvSpPr>
          <p:nvPr>
            <p:ph type="body" sz="quarter" idx="68"/>
          </p:nvPr>
        </p:nvSpPr>
        <p:spPr>
          <a:xfrm>
            <a:off x="6554139" y="3777499"/>
            <a:ext cx="1527806" cy="1320634"/>
          </a:xfrm>
          <a:prstGeom prst="hexagon">
            <a:avLst/>
          </a:prstGeom>
          <a:solidFill>
            <a:schemeClr val="bg1">
              <a:lumMod val="95000"/>
            </a:schemeClr>
          </a:solidFill>
          <a:ln w="63500">
            <a:solidFill>
              <a:schemeClr val="accent6"/>
            </a:solidFill>
            <a:miter lim="800000"/>
          </a:ln>
        </p:spPr>
        <p:txBody>
          <a:bodyPr anchor="ctr"/>
          <a:lstStyle>
            <a:lvl1pPr marL="0" indent="0" algn="ctr">
              <a:buNone/>
              <a:defRPr sz="1000">
                <a:solidFill>
                  <a:schemeClr val="tx1">
                    <a:lumMod val="75000"/>
                  </a:schemeClr>
                </a:solidFill>
                <a:latin typeface="+mj-lt"/>
              </a:defRPr>
            </a:lvl1pPr>
            <a:lvl2pPr>
              <a:defRPr sz="1000"/>
            </a:lvl2pPr>
            <a:lvl3pPr>
              <a:defRPr sz="1000"/>
            </a:lvl3pPr>
            <a:lvl4pPr>
              <a:defRPr sz="1000"/>
            </a:lvl4pPr>
            <a:lvl5pPr>
              <a:defRPr sz="1000"/>
            </a:lvl5pPr>
          </a:lstStyle>
          <a:p>
            <a:pPr lvl="0"/>
            <a:endParaRPr lang="es-ES"/>
          </a:p>
        </p:txBody>
      </p:sp>
      <p:sp>
        <p:nvSpPr>
          <p:cNvPr id="111" name="Marcador de texto 56">
            <a:extLst>
              <a:ext uri="{FF2B5EF4-FFF2-40B4-BE49-F238E27FC236}">
                <a16:creationId xmlns:a16="http://schemas.microsoft.com/office/drawing/2014/main" id="{B6F60D1B-0FC3-5070-46E7-2816CEBBF74C}"/>
              </a:ext>
            </a:extLst>
          </p:cNvPr>
          <p:cNvSpPr>
            <a:spLocks noGrp="1"/>
          </p:cNvSpPr>
          <p:nvPr>
            <p:ph type="body" sz="quarter" idx="69"/>
          </p:nvPr>
        </p:nvSpPr>
        <p:spPr>
          <a:xfrm>
            <a:off x="9285021" y="3777499"/>
            <a:ext cx="1527806" cy="1320634"/>
          </a:xfrm>
          <a:prstGeom prst="hexagon">
            <a:avLst/>
          </a:prstGeom>
          <a:solidFill>
            <a:schemeClr val="bg1">
              <a:lumMod val="95000"/>
            </a:schemeClr>
          </a:solidFill>
          <a:ln w="63500">
            <a:solidFill>
              <a:schemeClr val="accent4"/>
            </a:solidFill>
            <a:miter lim="800000"/>
          </a:ln>
        </p:spPr>
        <p:txBody>
          <a:bodyPr anchor="ctr"/>
          <a:lstStyle>
            <a:lvl1pPr marL="0" indent="0" algn="ctr">
              <a:buNone/>
              <a:defRPr sz="1000">
                <a:solidFill>
                  <a:schemeClr val="tx1">
                    <a:lumMod val="75000"/>
                  </a:schemeClr>
                </a:solidFill>
                <a:latin typeface="+mj-lt"/>
              </a:defRPr>
            </a:lvl1pPr>
            <a:lvl2pPr>
              <a:defRPr sz="1000"/>
            </a:lvl2pPr>
            <a:lvl3pPr>
              <a:defRPr sz="1000"/>
            </a:lvl3pPr>
            <a:lvl4pPr>
              <a:defRPr sz="1000"/>
            </a:lvl4pPr>
            <a:lvl5pPr>
              <a:defRPr sz="1000"/>
            </a:lvl5pPr>
          </a:lstStyle>
          <a:p>
            <a:pPr lvl="0"/>
            <a:endParaRPr lang="es-ES"/>
          </a:p>
        </p:txBody>
      </p:sp>
      <p:sp>
        <p:nvSpPr>
          <p:cNvPr id="112" name="Marcador de texto 56">
            <a:extLst>
              <a:ext uri="{FF2B5EF4-FFF2-40B4-BE49-F238E27FC236}">
                <a16:creationId xmlns:a16="http://schemas.microsoft.com/office/drawing/2014/main" id="{B2EC5BA1-4F49-952C-5B8F-F2761BADEF55}"/>
              </a:ext>
            </a:extLst>
          </p:cNvPr>
          <p:cNvSpPr>
            <a:spLocks noGrp="1"/>
          </p:cNvSpPr>
          <p:nvPr>
            <p:ph type="body" sz="quarter" idx="70"/>
          </p:nvPr>
        </p:nvSpPr>
        <p:spPr>
          <a:xfrm>
            <a:off x="7917082" y="2984171"/>
            <a:ext cx="1527806" cy="1320634"/>
          </a:xfrm>
          <a:prstGeom prst="hexagon">
            <a:avLst/>
          </a:prstGeom>
          <a:solidFill>
            <a:schemeClr val="bg1">
              <a:lumMod val="95000"/>
            </a:schemeClr>
          </a:solidFill>
          <a:ln w="63500">
            <a:solidFill>
              <a:srgbClr val="A6A6A6"/>
            </a:solidFill>
            <a:miter lim="800000"/>
          </a:ln>
        </p:spPr>
        <p:txBody>
          <a:bodyPr anchor="ctr"/>
          <a:lstStyle>
            <a:lvl1pPr marL="0" indent="0" algn="ctr">
              <a:buNone/>
              <a:defRPr sz="1600" b="1">
                <a:solidFill>
                  <a:schemeClr val="tx1">
                    <a:lumMod val="75000"/>
                  </a:schemeClr>
                </a:solidFill>
                <a:latin typeface="+mj-lt"/>
              </a:defRPr>
            </a:lvl1pPr>
            <a:lvl2pPr>
              <a:defRPr sz="1000"/>
            </a:lvl2pPr>
            <a:lvl3pPr>
              <a:defRPr sz="1000"/>
            </a:lvl3pPr>
            <a:lvl4pPr>
              <a:defRPr sz="1000"/>
            </a:lvl4pPr>
            <a:lvl5pPr>
              <a:defRPr sz="1000"/>
            </a:lvl5pPr>
          </a:lstStyle>
          <a:p>
            <a:pPr lvl="0"/>
            <a:endParaRPr lang="es-ES"/>
          </a:p>
        </p:txBody>
      </p:sp>
      <p:sp>
        <p:nvSpPr>
          <p:cNvPr id="5" name="Marcador de número de diapositiva 5">
            <a:extLst>
              <a:ext uri="{FF2B5EF4-FFF2-40B4-BE49-F238E27FC236}">
                <a16:creationId xmlns:a16="http://schemas.microsoft.com/office/drawing/2014/main" id="{BAD7CFE0-AF57-ECEA-7784-59E69DF9A3FC}"/>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CED00D96-8A09-7599-6AAF-729D5742F881}"/>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DEB71C0D-6CC0-CE59-9969-9ED8AAFAA08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167339BE-4257-6109-F00A-6F214C2AD22D}"/>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688823F5-6B60-69F5-7107-5B4FFFF0C799}"/>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F33FF06F-4D8E-4871-A70D-6952CB92B520}"/>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17755426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0_Header &amp; Content ">
    <p:spTree>
      <p:nvGrpSpPr>
        <p:cNvPr id="1" name=""/>
        <p:cNvGrpSpPr/>
        <p:nvPr/>
      </p:nvGrpSpPr>
      <p:grpSpPr>
        <a:xfrm>
          <a:off x="0" y="0"/>
          <a:ext cx="0" cy="0"/>
          <a:chOff x="0" y="0"/>
          <a:chExt cx="0" cy="0"/>
        </a:xfrm>
      </p:grpSpPr>
      <p:sp>
        <p:nvSpPr>
          <p:cNvPr id="38" name="Marcador de texto 37">
            <a:extLst>
              <a:ext uri="{FF2B5EF4-FFF2-40B4-BE49-F238E27FC236}">
                <a16:creationId xmlns:a16="http://schemas.microsoft.com/office/drawing/2014/main" id="{68A09B26-47E2-68B4-BF2D-AD72FED435FD}"/>
              </a:ext>
            </a:extLst>
          </p:cNvPr>
          <p:cNvSpPr>
            <a:spLocks noGrp="1" noChangeAspect="1"/>
          </p:cNvSpPr>
          <p:nvPr>
            <p:ph type="body" sz="quarter" idx="48"/>
          </p:nvPr>
        </p:nvSpPr>
        <p:spPr>
          <a:xfrm>
            <a:off x="4680254" y="2869326"/>
            <a:ext cx="2248252" cy="2248252"/>
          </a:xfrm>
          <a:prstGeom prst="arc">
            <a:avLst>
              <a:gd name="adj1" fmla="val 5420480"/>
              <a:gd name="adj2" fmla="val 11483903"/>
            </a:avLst>
          </a:prstGeom>
          <a:ln w="38100" cap="rnd">
            <a:solidFill>
              <a:srgbClr val="8C0014"/>
            </a:solidFill>
            <a:round/>
            <a:tailEnd type="arrow"/>
          </a:ln>
        </p:spPr>
        <p:style>
          <a:lnRef idx="1">
            <a:schemeClr val="accent1"/>
          </a:lnRef>
          <a:fillRef idx="0">
            <a:schemeClr val="accent1"/>
          </a:fillRef>
          <a:effectRef idx="0">
            <a:schemeClr val="accent1"/>
          </a:effectRef>
          <a:fontRef idx="minor">
            <a:schemeClr val="tx1"/>
          </a:fontRef>
        </p:style>
        <p:txBody>
          <a:bodyPr rtlCol="0" anchor="ctr"/>
          <a:lstStyle>
            <a:lvl1pPr marL="0" indent="0" algn="l">
              <a:buNone/>
              <a:defRPr lang="es-ES" sz="100" smtClean="0">
                <a:solidFill>
                  <a:prstClr val="black">
                    <a:alpha val="0"/>
                  </a:prstClr>
                </a:solidFill>
                <a:latin typeface="+mj-lt"/>
              </a:defRPr>
            </a:lvl1pPr>
            <a:lvl2pPr>
              <a:defRPr lang="es-ES" sz="1800" smtClean="0">
                <a:latin typeface="+mn-lt"/>
              </a:defRPr>
            </a:lvl2pPr>
            <a:lvl3pPr>
              <a:defRPr lang="es-ES" sz="1800" smtClean="0">
                <a:latin typeface="+mn-lt"/>
              </a:defRPr>
            </a:lvl3pPr>
            <a:lvl4pPr>
              <a:defRPr lang="es-ES" smtClean="0">
                <a:latin typeface="+mn-lt"/>
              </a:defRPr>
            </a:lvl4pPr>
            <a:lvl5pPr>
              <a:defRPr lang="es-ES">
                <a:latin typeface="+mn-lt"/>
              </a:defRPr>
            </a:lvl5pPr>
          </a:lstStyle>
          <a:p>
            <a:pPr marL="0" lvl="0" algn="ctr"/>
            <a:r>
              <a:rPr lang="es-ES"/>
              <a:t>Haga clic para modificar los estilos de texto del patrón</a:t>
            </a:r>
          </a:p>
        </p:txBody>
      </p:sp>
      <p:sp>
        <p:nvSpPr>
          <p:cNvPr id="45" name="Marcador de texto 37">
            <a:extLst>
              <a:ext uri="{FF2B5EF4-FFF2-40B4-BE49-F238E27FC236}">
                <a16:creationId xmlns:a16="http://schemas.microsoft.com/office/drawing/2014/main" id="{EBDA0627-1E11-92AC-30B0-827740595B20}"/>
              </a:ext>
            </a:extLst>
          </p:cNvPr>
          <p:cNvSpPr>
            <a:spLocks noGrp="1" noChangeAspect="1"/>
          </p:cNvSpPr>
          <p:nvPr>
            <p:ph type="body" sz="quarter" idx="51"/>
          </p:nvPr>
        </p:nvSpPr>
        <p:spPr>
          <a:xfrm>
            <a:off x="5237303" y="1807781"/>
            <a:ext cx="2248252" cy="2248252"/>
          </a:xfrm>
          <a:prstGeom prst="arc">
            <a:avLst>
              <a:gd name="adj1" fmla="val 16918196"/>
              <a:gd name="adj2" fmla="val 2227488"/>
            </a:avLst>
          </a:prstGeom>
          <a:ln w="38100" cap="rnd">
            <a:solidFill>
              <a:srgbClr val="8C0014"/>
            </a:solidFill>
            <a:round/>
            <a:tailEnd type="arrow"/>
          </a:ln>
        </p:spPr>
        <p:style>
          <a:lnRef idx="1">
            <a:schemeClr val="accent1"/>
          </a:lnRef>
          <a:fillRef idx="0">
            <a:schemeClr val="accent1"/>
          </a:fillRef>
          <a:effectRef idx="0">
            <a:schemeClr val="accent1"/>
          </a:effectRef>
          <a:fontRef idx="minor">
            <a:schemeClr val="tx1"/>
          </a:fontRef>
        </p:style>
        <p:txBody>
          <a:bodyPr rtlCol="0" anchor="ctr"/>
          <a:lstStyle>
            <a:lvl1pPr marL="0" indent="0" algn="l">
              <a:buNone/>
              <a:defRPr lang="es-ES" sz="100" smtClean="0">
                <a:solidFill>
                  <a:prstClr val="black">
                    <a:alpha val="0"/>
                  </a:prstClr>
                </a:solidFill>
                <a:latin typeface="+mj-lt"/>
              </a:defRPr>
            </a:lvl1pPr>
            <a:lvl2pPr>
              <a:defRPr lang="es-ES" sz="1800" smtClean="0">
                <a:latin typeface="+mn-lt"/>
              </a:defRPr>
            </a:lvl2pPr>
            <a:lvl3pPr>
              <a:defRPr lang="es-ES" sz="1800" smtClean="0">
                <a:latin typeface="+mn-lt"/>
              </a:defRPr>
            </a:lvl3pPr>
            <a:lvl4pPr>
              <a:defRPr lang="es-ES" smtClean="0">
                <a:latin typeface="+mn-lt"/>
              </a:defRPr>
            </a:lvl4pPr>
            <a:lvl5pPr>
              <a:defRPr lang="es-ES">
                <a:latin typeface="+mn-lt"/>
              </a:defRPr>
            </a:lvl5pPr>
          </a:lstStyle>
          <a:p>
            <a:pPr marL="0" lvl="0" algn="ctr"/>
            <a:r>
              <a:rPr lang="es-ES"/>
              <a:t>Haga clic para modificar los estilos de texto del patrón</a:t>
            </a:r>
          </a:p>
        </p:txBody>
      </p:sp>
      <p:sp>
        <p:nvSpPr>
          <p:cNvPr id="35" name="Marcador de texto 34">
            <a:extLst>
              <a:ext uri="{FF2B5EF4-FFF2-40B4-BE49-F238E27FC236}">
                <a16:creationId xmlns:a16="http://schemas.microsoft.com/office/drawing/2014/main" id="{692CEFA1-5D7E-05D9-7E3C-988B506E6A1F}"/>
              </a:ext>
            </a:extLst>
          </p:cNvPr>
          <p:cNvSpPr>
            <a:spLocks noGrp="1" noChangeAspect="1"/>
          </p:cNvSpPr>
          <p:nvPr>
            <p:ph type="body" sz="quarter" idx="46" hasCustomPrompt="1"/>
          </p:nvPr>
        </p:nvSpPr>
        <p:spPr>
          <a:xfrm>
            <a:off x="5022481" y="3363260"/>
            <a:ext cx="1348285" cy="1348285"/>
          </a:xfrm>
          <a:prstGeom prst="rect">
            <a:avLst/>
          </a:prstGeom>
          <a:blipFill>
            <a:blip r:embed="rId2">
              <a:extLst>
                <a:ext uri="{96DAC541-7B7A-43D3-8B79-37D633B846F1}">
                  <asvg:svgBlip xmlns:asvg="http://schemas.microsoft.com/office/drawing/2016/SVG/main" r:embed="rId3"/>
                </a:ext>
              </a:extLst>
            </a:blip>
            <a:stretch>
              <a:fillRect/>
            </a:stretch>
          </a:blipFill>
        </p:spPr>
        <p:txBody>
          <a:bodyPr tIns="72000" anchor="ctr"/>
          <a:lstStyle>
            <a:lvl1pPr marL="0" indent="0" algn="ctr">
              <a:buNone/>
              <a:defRPr sz="4400" b="1">
                <a:solidFill>
                  <a:srgbClr val="8C0014"/>
                </a:solidFill>
                <a:latin typeface="Santander Headline" panose="020B05040202010201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s-ES"/>
              <a:t>#</a:t>
            </a:r>
          </a:p>
        </p:txBody>
      </p:sp>
      <p:cxnSp>
        <p:nvCxnSpPr>
          <p:cNvPr id="12" name="Conector recto 12">
            <a:extLst>
              <a:ext uri="{FF2B5EF4-FFF2-40B4-BE49-F238E27FC236}">
                <a16:creationId xmlns:a16="http://schemas.microsoft.com/office/drawing/2014/main" id="{2378A6CD-5C95-3773-5F15-BA3E1E942D49}"/>
              </a:ext>
            </a:extLst>
          </p:cNvPr>
          <p:cNvCxnSpPr>
            <a:cxnSpLocks/>
          </p:cNvCxnSpPr>
          <p:nvPr/>
        </p:nvCxnSpPr>
        <p:spPr>
          <a:xfrm>
            <a:off x="8286097" y="1780470"/>
            <a:ext cx="0" cy="3383280"/>
          </a:xfrm>
          <a:prstGeom prst="line">
            <a:avLst/>
          </a:prstGeom>
          <a:noFill/>
          <a:ln w="1905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19" name="CuadroTexto 36">
            <a:extLst>
              <a:ext uri="{FF2B5EF4-FFF2-40B4-BE49-F238E27FC236}">
                <a16:creationId xmlns:a16="http://schemas.microsoft.com/office/drawing/2014/main" id="{8C1760DF-A4CC-5097-3ED3-C9B8DCD8959E}"/>
              </a:ext>
            </a:extLst>
          </p:cNvPr>
          <p:cNvSpPr txBox="1"/>
          <p:nvPr userDrawn="1"/>
        </p:nvSpPr>
        <p:spPr>
          <a:xfrm>
            <a:off x="6284684" y="2656364"/>
            <a:ext cx="326045" cy="646331"/>
          </a:xfrm>
          <a:prstGeom prst="rect">
            <a:avLst/>
          </a:prstGeom>
          <a:noFill/>
        </p:spPr>
        <p:txBody>
          <a:bodyPr wrap="square" rtlCol="0" anchor="ctr">
            <a:spAutoFit/>
          </a:bodyPr>
          <a:lstStyle/>
          <a:p>
            <a:pPr algn="ctr" defTabSz="895350">
              <a:spcBef>
                <a:spcPts val="300"/>
              </a:spcBef>
              <a:spcAft>
                <a:spcPts val="300"/>
              </a:spcAft>
            </a:pPr>
            <a:r>
              <a:rPr lang="en-US" sz="3600" b="1">
                <a:solidFill>
                  <a:srgbClr val="FFFFFF"/>
                </a:solidFill>
                <a:latin typeface="Santander Headline" panose="020B0504020201020104" pitchFamily="34" charset="0"/>
              </a:rPr>
              <a:t>2</a:t>
            </a:r>
            <a:endParaRPr lang="en-US" sz="2400" b="1">
              <a:solidFill>
                <a:srgbClr val="FFFFFF"/>
              </a:solidFill>
              <a:latin typeface="Santander Headline" panose="020B0504020201020104" pitchFamily="34" charset="0"/>
            </a:endParaRPr>
          </a:p>
        </p:txBody>
      </p:sp>
      <p:sp>
        <p:nvSpPr>
          <p:cNvPr id="36" name="Marcador de texto 34">
            <a:extLst>
              <a:ext uri="{FF2B5EF4-FFF2-40B4-BE49-F238E27FC236}">
                <a16:creationId xmlns:a16="http://schemas.microsoft.com/office/drawing/2014/main" id="{FBB0F90C-19B7-ADC2-B7F6-13B900418957}"/>
              </a:ext>
            </a:extLst>
          </p:cNvPr>
          <p:cNvSpPr>
            <a:spLocks noGrp="1" noChangeAspect="1"/>
          </p:cNvSpPr>
          <p:nvPr>
            <p:ph type="body" sz="quarter" idx="47" hasCustomPrompt="1"/>
          </p:nvPr>
        </p:nvSpPr>
        <p:spPr>
          <a:xfrm>
            <a:off x="5714523" y="2250564"/>
            <a:ext cx="1348285" cy="1348285"/>
          </a:xfrm>
          <a:prstGeom prst="rect">
            <a:avLst/>
          </a:prstGeom>
          <a:blipFill>
            <a:blip r:embed="rId4">
              <a:extLst>
                <a:ext uri="{96DAC541-7B7A-43D3-8B79-37D633B846F1}">
                  <asvg:svgBlip xmlns:asvg="http://schemas.microsoft.com/office/drawing/2016/SVG/main" r:embed="rId5"/>
                </a:ext>
              </a:extLst>
            </a:blip>
            <a:stretch>
              <a:fillRect/>
            </a:stretch>
          </a:blipFill>
        </p:spPr>
        <p:txBody>
          <a:bodyPr tIns="72000" anchor="ctr"/>
          <a:lstStyle>
            <a:lvl1pPr marL="0" indent="0" algn="ctr">
              <a:buNone/>
              <a:defRPr sz="4400" b="1">
                <a:solidFill>
                  <a:schemeClr val="bg1"/>
                </a:solidFill>
                <a:latin typeface="Santander Headline" panose="020B05040202010201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s-ES"/>
              <a:t>#</a:t>
            </a:r>
          </a:p>
        </p:txBody>
      </p:sp>
      <p:sp>
        <p:nvSpPr>
          <p:cNvPr id="40" name="Marcador de posición de imagen 39">
            <a:extLst>
              <a:ext uri="{FF2B5EF4-FFF2-40B4-BE49-F238E27FC236}">
                <a16:creationId xmlns:a16="http://schemas.microsoft.com/office/drawing/2014/main" id="{8994964C-0053-FC9C-6E8A-2B771D5C0782}"/>
              </a:ext>
            </a:extLst>
          </p:cNvPr>
          <p:cNvSpPr>
            <a:spLocks noGrp="1"/>
          </p:cNvSpPr>
          <p:nvPr>
            <p:ph type="pic" sz="quarter" idx="49"/>
          </p:nvPr>
        </p:nvSpPr>
        <p:spPr>
          <a:xfrm>
            <a:off x="4680254" y="4403834"/>
            <a:ext cx="485445" cy="485445"/>
          </a:xfrm>
          <a:prstGeom prst="ellipse">
            <a:avLst/>
          </a:prstGeom>
          <a:solidFill>
            <a:schemeClr val="bg1"/>
          </a:solidFill>
        </p:spPr>
        <p:txBody>
          <a:bodyPr lIns="0" tIns="0" rIns="0" bIns="0"/>
          <a:lstStyle>
            <a:lvl1pPr marL="0" indent="0" algn="ctr">
              <a:buNone/>
              <a:defRPr sz="1000">
                <a:latin typeface="Santander Headline" panose="020B0504020201020104" pitchFamily="34" charset="0"/>
              </a:defRPr>
            </a:lvl1pPr>
          </a:lstStyle>
          <a:p>
            <a:endParaRPr lang="es-ES"/>
          </a:p>
        </p:txBody>
      </p:sp>
      <p:sp>
        <p:nvSpPr>
          <p:cNvPr id="44" name="Marcador de texto 43">
            <a:extLst>
              <a:ext uri="{FF2B5EF4-FFF2-40B4-BE49-F238E27FC236}">
                <a16:creationId xmlns:a16="http://schemas.microsoft.com/office/drawing/2014/main" id="{CEDF4DDB-E03A-74D7-F726-93911851A6BC}"/>
              </a:ext>
            </a:extLst>
          </p:cNvPr>
          <p:cNvSpPr>
            <a:spLocks noGrp="1"/>
          </p:cNvSpPr>
          <p:nvPr>
            <p:ph type="body" sz="quarter" idx="50" hasCustomPrompt="1"/>
          </p:nvPr>
        </p:nvSpPr>
        <p:spPr>
          <a:xfrm>
            <a:off x="699499" y="1786667"/>
            <a:ext cx="3212412" cy="3397250"/>
          </a:xfrm>
          <a:prstGeom prst="rect">
            <a:avLst/>
          </a:prstGeom>
        </p:spPr>
        <p:txBody>
          <a:bodyPr/>
          <a:lstStyle>
            <a:lvl1pPr marL="0" indent="0" algn="r">
              <a:buNone/>
              <a:defRPr sz="1200">
                <a:solidFill>
                  <a:srgbClr val="8C0014"/>
                </a:solidFill>
                <a:latin typeface="+mj-lt"/>
              </a:defRPr>
            </a:lvl1pPr>
            <a:lvl2pPr marL="0" indent="0" algn="r">
              <a:spcBef>
                <a:spcPts val="700"/>
              </a:spcBef>
              <a:buNone/>
              <a:defRPr sz="10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46" name="Marcador de posición de imagen 39">
            <a:extLst>
              <a:ext uri="{FF2B5EF4-FFF2-40B4-BE49-F238E27FC236}">
                <a16:creationId xmlns:a16="http://schemas.microsoft.com/office/drawing/2014/main" id="{2C9BBF07-874C-4F2E-3991-49CD447DB666}"/>
              </a:ext>
            </a:extLst>
          </p:cNvPr>
          <p:cNvSpPr>
            <a:spLocks noGrp="1"/>
          </p:cNvSpPr>
          <p:nvPr>
            <p:ph type="pic" sz="quarter" idx="52"/>
          </p:nvPr>
        </p:nvSpPr>
        <p:spPr>
          <a:xfrm>
            <a:off x="7149359" y="2283765"/>
            <a:ext cx="485445" cy="485445"/>
          </a:xfrm>
          <a:prstGeom prst="ellipse">
            <a:avLst/>
          </a:prstGeom>
          <a:solidFill>
            <a:schemeClr val="bg1"/>
          </a:solidFill>
        </p:spPr>
        <p:txBody>
          <a:bodyPr lIns="0" tIns="0" rIns="0" bIns="0"/>
          <a:lstStyle>
            <a:lvl1pPr marL="0" indent="0" algn="ctr">
              <a:buNone/>
              <a:defRPr sz="1000">
                <a:latin typeface="Santander Headline" panose="020B0504020201020104" pitchFamily="34" charset="0"/>
              </a:defRPr>
            </a:lvl1pPr>
          </a:lstStyle>
          <a:p>
            <a:endParaRPr lang="es-ES"/>
          </a:p>
        </p:txBody>
      </p:sp>
      <p:sp>
        <p:nvSpPr>
          <p:cNvPr id="49" name="Marcador de texto 43">
            <a:extLst>
              <a:ext uri="{FF2B5EF4-FFF2-40B4-BE49-F238E27FC236}">
                <a16:creationId xmlns:a16="http://schemas.microsoft.com/office/drawing/2014/main" id="{E1E94D28-0BEE-42BF-1916-5A7377BC0556}"/>
              </a:ext>
            </a:extLst>
          </p:cNvPr>
          <p:cNvSpPr>
            <a:spLocks noGrp="1"/>
          </p:cNvSpPr>
          <p:nvPr>
            <p:ph type="body" sz="quarter" idx="53" hasCustomPrompt="1"/>
          </p:nvPr>
        </p:nvSpPr>
        <p:spPr>
          <a:xfrm>
            <a:off x="8466643" y="1786667"/>
            <a:ext cx="3212412" cy="3397250"/>
          </a:xfrm>
          <a:prstGeom prst="rect">
            <a:avLst/>
          </a:prstGeom>
        </p:spPr>
        <p:txBody>
          <a:bodyPr/>
          <a:lstStyle>
            <a:lvl1pPr marL="0" indent="0">
              <a:buNone/>
              <a:defRPr sz="1200">
                <a:solidFill>
                  <a:srgbClr val="8C0014"/>
                </a:solidFill>
                <a:latin typeface="+mj-lt"/>
              </a:defRPr>
            </a:lvl1pPr>
            <a:lvl2pPr marL="0" indent="0">
              <a:spcBef>
                <a:spcPts val="700"/>
              </a:spcBef>
              <a:buNone/>
              <a:defRPr sz="10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cxnSp>
        <p:nvCxnSpPr>
          <p:cNvPr id="50" name="Conector recto 12">
            <a:extLst>
              <a:ext uri="{FF2B5EF4-FFF2-40B4-BE49-F238E27FC236}">
                <a16:creationId xmlns:a16="http://schemas.microsoft.com/office/drawing/2014/main" id="{DB9F39E0-2D8D-76A7-F9E6-0B3B7A123820}"/>
              </a:ext>
            </a:extLst>
          </p:cNvPr>
          <p:cNvCxnSpPr>
            <a:cxnSpLocks/>
          </p:cNvCxnSpPr>
          <p:nvPr userDrawn="1"/>
        </p:nvCxnSpPr>
        <p:spPr>
          <a:xfrm flipH="1">
            <a:off x="7697518" y="2462591"/>
            <a:ext cx="584634" cy="0"/>
          </a:xfrm>
          <a:prstGeom prst="line">
            <a:avLst/>
          </a:prstGeom>
          <a:noFill/>
          <a:ln w="1905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3" name="Conector recto 12">
            <a:extLst>
              <a:ext uri="{FF2B5EF4-FFF2-40B4-BE49-F238E27FC236}">
                <a16:creationId xmlns:a16="http://schemas.microsoft.com/office/drawing/2014/main" id="{8FAB4E5B-F540-3DC0-20E4-87DF343FB296}"/>
              </a:ext>
            </a:extLst>
          </p:cNvPr>
          <p:cNvCxnSpPr>
            <a:cxnSpLocks/>
          </p:cNvCxnSpPr>
          <p:nvPr userDrawn="1"/>
        </p:nvCxnSpPr>
        <p:spPr>
          <a:xfrm>
            <a:off x="4113490" y="1780470"/>
            <a:ext cx="0" cy="3383280"/>
          </a:xfrm>
          <a:prstGeom prst="line">
            <a:avLst/>
          </a:prstGeom>
          <a:noFill/>
          <a:ln w="1905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4" name="Conector recto 12">
            <a:extLst>
              <a:ext uri="{FF2B5EF4-FFF2-40B4-BE49-F238E27FC236}">
                <a16:creationId xmlns:a16="http://schemas.microsoft.com/office/drawing/2014/main" id="{CC38B9AE-96EB-D870-4FF9-200FD088F821}"/>
              </a:ext>
            </a:extLst>
          </p:cNvPr>
          <p:cNvCxnSpPr>
            <a:cxnSpLocks/>
          </p:cNvCxnSpPr>
          <p:nvPr userDrawn="1"/>
        </p:nvCxnSpPr>
        <p:spPr>
          <a:xfrm flipH="1">
            <a:off x="4113490" y="4680274"/>
            <a:ext cx="500551" cy="0"/>
          </a:xfrm>
          <a:prstGeom prst="line">
            <a:avLst/>
          </a:prstGeom>
          <a:noFill/>
          <a:ln w="1905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5" name="Marcador de número de diapositiva 5">
            <a:extLst>
              <a:ext uri="{FF2B5EF4-FFF2-40B4-BE49-F238E27FC236}">
                <a16:creationId xmlns:a16="http://schemas.microsoft.com/office/drawing/2014/main" id="{F7C9BE8F-6864-5E37-7455-6A50895F937C}"/>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EFBB8BCC-73B5-4AF0-F28D-6259EA02291B}"/>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F3AB1D54-DAD7-3958-258B-964F8CB9A50E}"/>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2D7EC9CD-EAFC-31AB-FC81-86F00AE96221}"/>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C3EFCB37-6D74-0D72-EB09-98C9F9D42E22}"/>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C24DC353-C630-5BDF-D5A0-16642546D8C8}"/>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29682169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1_Header &amp; Content ">
    <p:spTree>
      <p:nvGrpSpPr>
        <p:cNvPr id="1" name=""/>
        <p:cNvGrpSpPr/>
        <p:nvPr/>
      </p:nvGrpSpPr>
      <p:grpSpPr>
        <a:xfrm>
          <a:off x="0" y="0"/>
          <a:ext cx="0" cy="0"/>
          <a:chOff x="0" y="0"/>
          <a:chExt cx="0" cy="0"/>
        </a:xfrm>
      </p:grpSpPr>
      <p:sp>
        <p:nvSpPr>
          <p:cNvPr id="10" name="Marcador de número de diapositiva 5">
            <a:extLst>
              <a:ext uri="{FF2B5EF4-FFF2-40B4-BE49-F238E27FC236}">
                <a16:creationId xmlns:a16="http://schemas.microsoft.com/office/drawing/2014/main" id="{5830E7CD-E079-D53F-6108-9EAAE1B3A4C1}"/>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77" name="Marcador de texto 43">
            <a:extLst>
              <a:ext uri="{FF2B5EF4-FFF2-40B4-BE49-F238E27FC236}">
                <a16:creationId xmlns:a16="http://schemas.microsoft.com/office/drawing/2014/main" id="{B7735E28-CAD3-155B-D314-1FFF12FC23DA}"/>
              </a:ext>
            </a:extLst>
          </p:cNvPr>
          <p:cNvSpPr>
            <a:spLocks noGrp="1"/>
          </p:cNvSpPr>
          <p:nvPr>
            <p:ph type="body" sz="quarter" idx="50" hasCustomPrompt="1"/>
          </p:nvPr>
        </p:nvSpPr>
        <p:spPr>
          <a:xfrm>
            <a:off x="3857981" y="4341904"/>
            <a:ext cx="2113241" cy="1193800"/>
          </a:xfrm>
          <a:prstGeom prst="rect">
            <a:avLst/>
          </a:prstGeom>
        </p:spPr>
        <p:txBody>
          <a:bodyPr/>
          <a:lstStyle>
            <a:lvl1pPr marL="0" indent="0" algn="ctr">
              <a:buNone/>
              <a:defRPr sz="1400" b="1">
                <a:solidFill>
                  <a:schemeClr val="accent3"/>
                </a:solidFill>
                <a:latin typeface="+mj-lt"/>
              </a:defRPr>
            </a:lvl1pPr>
            <a:lvl2pPr marL="0" indent="0" algn="ctr">
              <a:spcBef>
                <a:spcPts val="700"/>
              </a:spcBef>
              <a:buNone/>
              <a:defRPr sz="12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a:p>
            <a:pPr lvl="1"/>
            <a:endParaRPr lang="es-ES"/>
          </a:p>
        </p:txBody>
      </p:sp>
      <p:sp>
        <p:nvSpPr>
          <p:cNvPr id="78" name="Marcador de texto 43">
            <a:extLst>
              <a:ext uri="{FF2B5EF4-FFF2-40B4-BE49-F238E27FC236}">
                <a16:creationId xmlns:a16="http://schemas.microsoft.com/office/drawing/2014/main" id="{C06BE982-0EEE-DA68-1E8A-53F00DBC5703}"/>
              </a:ext>
            </a:extLst>
          </p:cNvPr>
          <p:cNvSpPr>
            <a:spLocks noGrp="1"/>
          </p:cNvSpPr>
          <p:nvPr>
            <p:ph type="body" sz="quarter" idx="51" hasCustomPrompt="1"/>
          </p:nvPr>
        </p:nvSpPr>
        <p:spPr>
          <a:xfrm>
            <a:off x="1240487" y="1473201"/>
            <a:ext cx="2113241" cy="1193800"/>
          </a:xfrm>
          <a:prstGeom prst="rect">
            <a:avLst/>
          </a:prstGeom>
        </p:spPr>
        <p:txBody>
          <a:bodyPr/>
          <a:lstStyle>
            <a:lvl1pPr marL="0" indent="0" algn="ctr">
              <a:buNone/>
              <a:defRPr sz="1400" b="1">
                <a:solidFill>
                  <a:schemeClr val="accent3"/>
                </a:solidFill>
                <a:latin typeface="+mj-lt"/>
              </a:defRPr>
            </a:lvl1pPr>
            <a:lvl2pPr marL="0" indent="0" algn="ctr">
              <a:spcBef>
                <a:spcPts val="700"/>
              </a:spcBef>
              <a:buNone/>
              <a:defRPr sz="12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79" name="Marcador de texto 43">
            <a:extLst>
              <a:ext uri="{FF2B5EF4-FFF2-40B4-BE49-F238E27FC236}">
                <a16:creationId xmlns:a16="http://schemas.microsoft.com/office/drawing/2014/main" id="{CF0A0B96-7608-E900-F32C-FA7FF0825B41}"/>
              </a:ext>
            </a:extLst>
          </p:cNvPr>
          <p:cNvSpPr>
            <a:spLocks noGrp="1"/>
          </p:cNvSpPr>
          <p:nvPr>
            <p:ph type="body" sz="quarter" idx="52" hasCustomPrompt="1"/>
          </p:nvPr>
        </p:nvSpPr>
        <p:spPr>
          <a:xfrm>
            <a:off x="8978601" y="4341904"/>
            <a:ext cx="2113241" cy="1193800"/>
          </a:xfrm>
          <a:prstGeom prst="rect">
            <a:avLst/>
          </a:prstGeom>
        </p:spPr>
        <p:txBody>
          <a:bodyPr/>
          <a:lstStyle>
            <a:lvl1pPr marL="0" indent="0" algn="ctr">
              <a:buNone/>
              <a:defRPr sz="1400" b="1">
                <a:solidFill>
                  <a:schemeClr val="accent3"/>
                </a:solidFill>
                <a:latin typeface="+mj-lt"/>
              </a:defRPr>
            </a:lvl1pPr>
            <a:lvl2pPr marL="0" indent="0" algn="ctr">
              <a:spcBef>
                <a:spcPts val="700"/>
              </a:spcBef>
              <a:buNone/>
              <a:defRPr sz="12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a:p>
            <a:pPr lvl="1"/>
            <a:endParaRPr lang="es-ES"/>
          </a:p>
        </p:txBody>
      </p:sp>
      <p:sp>
        <p:nvSpPr>
          <p:cNvPr id="80" name="Marcador de texto 43">
            <a:extLst>
              <a:ext uri="{FF2B5EF4-FFF2-40B4-BE49-F238E27FC236}">
                <a16:creationId xmlns:a16="http://schemas.microsoft.com/office/drawing/2014/main" id="{F48BDE9C-55DA-1903-FDCA-C82678F98C28}"/>
              </a:ext>
            </a:extLst>
          </p:cNvPr>
          <p:cNvSpPr>
            <a:spLocks noGrp="1"/>
          </p:cNvSpPr>
          <p:nvPr>
            <p:ph type="body" sz="quarter" idx="53" hasCustomPrompt="1"/>
          </p:nvPr>
        </p:nvSpPr>
        <p:spPr>
          <a:xfrm>
            <a:off x="6461981" y="1473201"/>
            <a:ext cx="2113241" cy="1193800"/>
          </a:xfrm>
          <a:prstGeom prst="rect">
            <a:avLst/>
          </a:prstGeom>
        </p:spPr>
        <p:txBody>
          <a:bodyPr/>
          <a:lstStyle>
            <a:lvl1pPr marL="0" indent="0" algn="ctr">
              <a:buNone/>
              <a:defRPr sz="1400" b="1">
                <a:solidFill>
                  <a:schemeClr val="accent3"/>
                </a:solidFill>
                <a:latin typeface="+mj-lt"/>
              </a:defRPr>
            </a:lvl1pPr>
            <a:lvl2pPr marL="0" indent="0" algn="ctr">
              <a:spcBef>
                <a:spcPts val="700"/>
              </a:spcBef>
              <a:buNone/>
              <a:defRPr sz="1200">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82" name="Marcador de texto 81">
            <a:extLst>
              <a:ext uri="{FF2B5EF4-FFF2-40B4-BE49-F238E27FC236}">
                <a16:creationId xmlns:a16="http://schemas.microsoft.com/office/drawing/2014/main" id="{54E43399-FA77-FB4E-9312-5C24AE232A2E}"/>
              </a:ext>
            </a:extLst>
          </p:cNvPr>
          <p:cNvSpPr>
            <a:spLocks noGrp="1"/>
          </p:cNvSpPr>
          <p:nvPr>
            <p:ph type="body" sz="quarter" idx="54" hasCustomPrompt="1"/>
          </p:nvPr>
        </p:nvSpPr>
        <p:spPr>
          <a:xfrm>
            <a:off x="1545288" y="2482052"/>
            <a:ext cx="2113240" cy="16128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216000" tIns="144000" rIns="864000" anchor="ctr"/>
          <a:lstStyle>
            <a:lvl1pPr marL="0" indent="0" algn="ctr">
              <a:buFontTx/>
              <a:buNone/>
              <a:defRPr sz="3600" b="1">
                <a:solidFill>
                  <a:schemeClr val="accent1">
                    <a:lumMod val="50000"/>
                  </a:schemeClr>
                </a:solidFill>
                <a:latin typeface="+mj-lt"/>
              </a:defRPr>
            </a:lvl1pPr>
            <a:lvl2pPr marL="457200" indent="0" algn="ctr">
              <a:buFontTx/>
              <a:buNone/>
              <a:defRPr/>
            </a:lvl2pPr>
          </a:lstStyle>
          <a:p>
            <a:pPr lvl="0"/>
            <a:r>
              <a:rPr lang="es-ES"/>
              <a:t>#</a:t>
            </a:r>
          </a:p>
        </p:txBody>
      </p:sp>
      <p:sp>
        <p:nvSpPr>
          <p:cNvPr id="83" name="Marcador de texto 81">
            <a:extLst>
              <a:ext uri="{FF2B5EF4-FFF2-40B4-BE49-F238E27FC236}">
                <a16:creationId xmlns:a16="http://schemas.microsoft.com/office/drawing/2014/main" id="{89BCDFE5-77E3-3DB9-6D01-785CDC604C4A}"/>
              </a:ext>
            </a:extLst>
          </p:cNvPr>
          <p:cNvSpPr>
            <a:spLocks noGrp="1"/>
          </p:cNvSpPr>
          <p:nvPr>
            <p:ph type="body" sz="quarter" idx="55" hasCustomPrompt="1"/>
          </p:nvPr>
        </p:nvSpPr>
        <p:spPr>
          <a:xfrm>
            <a:off x="3654781" y="2579952"/>
            <a:ext cx="2581200" cy="15948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lIns="108000" tIns="0" rIns="252000" bIns="36000" anchor="ctr"/>
          <a:lstStyle>
            <a:lvl1pPr marL="0" indent="0" algn="ctr">
              <a:buFontTx/>
              <a:buNone/>
              <a:defRPr sz="3600" b="1">
                <a:solidFill>
                  <a:schemeClr val="accent2">
                    <a:lumMod val="75000"/>
                  </a:schemeClr>
                </a:solidFill>
                <a:latin typeface="+mj-lt"/>
              </a:defRPr>
            </a:lvl1pPr>
            <a:lvl2pPr marL="457200" indent="0" algn="ctr">
              <a:buFontTx/>
              <a:buNone/>
              <a:defRPr/>
            </a:lvl2pPr>
          </a:lstStyle>
          <a:p>
            <a:pPr lvl="0"/>
            <a:r>
              <a:rPr lang="es-ES"/>
              <a:t>#</a:t>
            </a:r>
          </a:p>
        </p:txBody>
      </p:sp>
      <p:sp>
        <p:nvSpPr>
          <p:cNvPr id="84" name="Marcador de texto 81">
            <a:extLst>
              <a:ext uri="{FF2B5EF4-FFF2-40B4-BE49-F238E27FC236}">
                <a16:creationId xmlns:a16="http://schemas.microsoft.com/office/drawing/2014/main" id="{05DB0A7E-BF1B-6D2B-64EC-1D581496E115}"/>
              </a:ext>
            </a:extLst>
          </p:cNvPr>
          <p:cNvSpPr>
            <a:spLocks noGrp="1"/>
          </p:cNvSpPr>
          <p:nvPr>
            <p:ph type="body" sz="quarter" idx="56" hasCustomPrompt="1"/>
          </p:nvPr>
        </p:nvSpPr>
        <p:spPr>
          <a:xfrm>
            <a:off x="6232234" y="2503752"/>
            <a:ext cx="2581200" cy="1594800"/>
          </a:xfrm>
          <a:prstGeom prst="rect">
            <a:avLst/>
          </a:prstGeom>
          <a:blipFill>
            <a:blip r:embed="rId6">
              <a:extLst>
                <a:ext uri="{96DAC541-7B7A-43D3-8B79-37D633B846F1}">
                  <asvg:svgBlip xmlns:asvg="http://schemas.microsoft.com/office/drawing/2016/SVG/main" r:embed="rId7"/>
                </a:ext>
              </a:extLst>
            </a:blip>
            <a:stretch>
              <a:fillRect/>
            </a:stretch>
          </a:blipFill>
        </p:spPr>
        <p:txBody>
          <a:bodyPr lIns="108000" tIns="36000" rIns="252000" bIns="0" anchor="ctr"/>
          <a:lstStyle>
            <a:lvl1pPr marL="0" indent="0" algn="ctr">
              <a:buFontTx/>
              <a:buNone/>
              <a:defRPr sz="3600" b="1">
                <a:solidFill>
                  <a:schemeClr val="accent5">
                    <a:lumMod val="50000"/>
                  </a:schemeClr>
                </a:solidFill>
                <a:latin typeface="+mj-lt"/>
              </a:defRPr>
            </a:lvl1pPr>
            <a:lvl2pPr marL="457200" indent="0" algn="ctr">
              <a:buFontTx/>
              <a:buNone/>
              <a:defRPr/>
            </a:lvl2pPr>
          </a:lstStyle>
          <a:p>
            <a:pPr lvl="0"/>
            <a:r>
              <a:rPr lang="es-ES"/>
              <a:t>#</a:t>
            </a:r>
          </a:p>
        </p:txBody>
      </p:sp>
      <p:sp>
        <p:nvSpPr>
          <p:cNvPr id="85" name="Marcador de texto 81">
            <a:extLst>
              <a:ext uri="{FF2B5EF4-FFF2-40B4-BE49-F238E27FC236}">
                <a16:creationId xmlns:a16="http://schemas.microsoft.com/office/drawing/2014/main" id="{BB896253-F3FD-67D8-CF5A-E0F5290AA332}"/>
              </a:ext>
            </a:extLst>
          </p:cNvPr>
          <p:cNvSpPr>
            <a:spLocks noGrp="1"/>
          </p:cNvSpPr>
          <p:nvPr>
            <p:ph type="body" sz="quarter" idx="57" hasCustomPrompt="1"/>
          </p:nvPr>
        </p:nvSpPr>
        <p:spPr>
          <a:xfrm>
            <a:off x="8809688" y="2596352"/>
            <a:ext cx="1976400" cy="1612800"/>
          </a:xfrm>
          <a:prstGeom prst="rect">
            <a:avLst/>
          </a:prstGeom>
          <a:blipFill>
            <a:blip r:embed="rId8">
              <a:extLst>
                <a:ext uri="{96DAC541-7B7A-43D3-8B79-37D633B846F1}">
                  <asvg:svgBlip xmlns:asvg="http://schemas.microsoft.com/office/drawing/2016/SVG/main" r:embed="rId9"/>
                </a:ext>
              </a:extLst>
            </a:blip>
            <a:stretch>
              <a:fillRect/>
            </a:stretch>
          </a:blipFill>
        </p:spPr>
        <p:txBody>
          <a:bodyPr lIns="216000" tIns="0" rIns="540000" anchor="ctr"/>
          <a:lstStyle>
            <a:lvl1pPr marL="0" indent="0" algn="r">
              <a:buFontTx/>
              <a:buNone/>
              <a:defRPr sz="3600" b="1">
                <a:solidFill>
                  <a:srgbClr val="8C0014"/>
                </a:solidFill>
                <a:latin typeface="+mj-lt"/>
              </a:defRPr>
            </a:lvl1pPr>
            <a:lvl2pPr marL="457200" indent="0" algn="ctr">
              <a:buFontTx/>
              <a:buNone/>
              <a:defRPr/>
            </a:lvl2pPr>
          </a:lstStyle>
          <a:p>
            <a:pPr lvl="0"/>
            <a:r>
              <a:rPr lang="es-ES"/>
              <a:t>#</a:t>
            </a:r>
          </a:p>
        </p:txBody>
      </p:sp>
      <p:pic>
        <p:nvPicPr>
          <p:cNvPr id="4" name="Gráfico 3">
            <a:extLst>
              <a:ext uri="{FF2B5EF4-FFF2-40B4-BE49-F238E27FC236}">
                <a16:creationId xmlns:a16="http://schemas.microsoft.com/office/drawing/2014/main" id="{BCF10DE6-A58C-75A2-3A0A-143CB79EA2DE}"/>
              </a:ext>
            </a:extLst>
          </p:cNvPr>
          <p:cNvPicPr>
            <a:picLocks noChangeAspect="1"/>
          </p:cNvPicPr>
          <p:nvPr userDrawn="1"/>
        </p:nvPicPr>
        <p:blipFill>
          <a:blip r:embed="rId10">
            <a:extLst>
              <a:ext uri="{96DAC541-7B7A-43D3-8B79-37D633B846F1}">
                <asvg:svgBlip xmlns:asvg="http://schemas.microsoft.com/office/drawing/2016/SVG/main" r:embed="rId11"/>
              </a:ext>
            </a:extLst>
          </a:blip>
          <a:srcRect/>
          <a:stretch/>
        </p:blipFill>
        <p:spPr>
          <a:xfrm>
            <a:off x="754606" y="6214291"/>
            <a:ext cx="1564445" cy="293776"/>
          </a:xfrm>
          <a:prstGeom prst="rect">
            <a:avLst/>
          </a:prstGeom>
        </p:spPr>
      </p:pic>
      <p:sp>
        <p:nvSpPr>
          <p:cNvPr id="5" name="Título 1">
            <a:extLst>
              <a:ext uri="{FF2B5EF4-FFF2-40B4-BE49-F238E27FC236}">
                <a16:creationId xmlns:a16="http://schemas.microsoft.com/office/drawing/2014/main" id="{65DBEAA6-0425-B75A-4FFF-C101CF29F221}"/>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6" name="Marcador de texto 14">
            <a:extLst>
              <a:ext uri="{FF2B5EF4-FFF2-40B4-BE49-F238E27FC236}">
                <a16:creationId xmlns:a16="http://schemas.microsoft.com/office/drawing/2014/main" id="{3517D5F0-169A-F6BE-A7C8-4F4D0961DB5F}"/>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4744884F-A379-3E6C-4AD3-4455F507100E}"/>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3" name="Footnotes">
            <a:extLst>
              <a:ext uri="{FF2B5EF4-FFF2-40B4-BE49-F238E27FC236}">
                <a16:creationId xmlns:a16="http://schemas.microsoft.com/office/drawing/2014/main" id="{1AD84CE7-1218-9982-6BDF-242529F2AAB5}"/>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spTree>
    <p:extLst>
      <p:ext uri="{BB962C8B-B14F-4D97-AF65-F5344CB8AC3E}">
        <p14:creationId xmlns:p14="http://schemas.microsoft.com/office/powerpoint/2010/main" val="31748534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2_Header &amp; Content ">
    <p:spTree>
      <p:nvGrpSpPr>
        <p:cNvPr id="1" name=""/>
        <p:cNvGrpSpPr/>
        <p:nvPr/>
      </p:nvGrpSpPr>
      <p:grpSpPr>
        <a:xfrm>
          <a:off x="0" y="0"/>
          <a:ext cx="0" cy="0"/>
          <a:chOff x="0" y="0"/>
          <a:chExt cx="0" cy="0"/>
        </a:xfrm>
      </p:grpSpPr>
      <p:grpSp>
        <p:nvGrpSpPr>
          <p:cNvPr id="5" name="Group 27">
            <a:extLst>
              <a:ext uri="{FF2B5EF4-FFF2-40B4-BE49-F238E27FC236}">
                <a16:creationId xmlns:a16="http://schemas.microsoft.com/office/drawing/2014/main" id="{D5547CCF-567C-B701-2AAD-D0C23FFCB235}"/>
              </a:ext>
            </a:extLst>
          </p:cNvPr>
          <p:cNvGrpSpPr/>
          <p:nvPr userDrawn="1"/>
        </p:nvGrpSpPr>
        <p:grpSpPr>
          <a:xfrm>
            <a:off x="2968870" y="1500110"/>
            <a:ext cx="2862403" cy="4247488"/>
            <a:chOff x="-7645400" y="-6292851"/>
            <a:chExt cx="5665787" cy="8407401"/>
          </a:xfrm>
          <a:solidFill>
            <a:schemeClr val="accent5"/>
          </a:solidFill>
        </p:grpSpPr>
        <p:sp>
          <p:nvSpPr>
            <p:cNvPr id="6" name="Freeform 20">
              <a:extLst>
                <a:ext uri="{FF2B5EF4-FFF2-40B4-BE49-F238E27FC236}">
                  <a16:creationId xmlns:a16="http://schemas.microsoft.com/office/drawing/2014/main" id="{1218FE3A-9864-9314-1F4F-44483883A2B8}"/>
                </a:ext>
              </a:extLst>
            </p:cNvPr>
            <p:cNvSpPr>
              <a:spLocks/>
            </p:cNvSpPr>
            <p:nvPr/>
          </p:nvSpPr>
          <p:spPr bwMode="auto">
            <a:xfrm>
              <a:off x="-5715000" y="-138113"/>
              <a:ext cx="3138488" cy="1308100"/>
            </a:xfrm>
            <a:custGeom>
              <a:avLst/>
              <a:gdLst>
                <a:gd name="T0" fmla="*/ 581 w 837"/>
                <a:gd name="T1" fmla="*/ 349 h 349"/>
                <a:gd name="T2" fmla="*/ 581 w 837"/>
                <a:gd name="T3" fmla="*/ 349 h 349"/>
                <a:gd name="T4" fmla="*/ 762 w 837"/>
                <a:gd name="T5" fmla="*/ 281 h 349"/>
                <a:gd name="T6" fmla="*/ 776 w 837"/>
                <a:gd name="T7" fmla="*/ 95 h 349"/>
                <a:gd name="T8" fmla="*/ 619 w 837"/>
                <a:gd name="T9" fmla="*/ 101 h 349"/>
                <a:gd name="T10" fmla="*/ 266 w 837"/>
                <a:gd name="T11" fmla="*/ 59 h 349"/>
                <a:gd name="T12" fmla="*/ 116 w 837"/>
                <a:gd name="T13" fmla="*/ 0 h 349"/>
                <a:gd name="T14" fmla="*/ 27 w 837"/>
                <a:gd name="T15" fmla="*/ 145 h 349"/>
                <a:gd name="T16" fmla="*/ 0 w 837"/>
                <a:gd name="T17" fmla="*/ 179 h 349"/>
                <a:gd name="T18" fmla="*/ 126 w 837"/>
                <a:gd name="T19" fmla="*/ 255 h 349"/>
                <a:gd name="T20" fmla="*/ 581 w 837"/>
                <a:gd name="T21" fmla="*/ 349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349">
                  <a:moveTo>
                    <a:pt x="581" y="349"/>
                  </a:moveTo>
                  <a:cubicBezTo>
                    <a:pt x="581" y="349"/>
                    <a:pt x="581" y="349"/>
                    <a:pt x="581" y="349"/>
                  </a:cubicBezTo>
                  <a:cubicBezTo>
                    <a:pt x="581" y="349"/>
                    <a:pt x="697" y="348"/>
                    <a:pt x="762" y="281"/>
                  </a:cubicBezTo>
                  <a:cubicBezTo>
                    <a:pt x="837" y="203"/>
                    <a:pt x="784" y="108"/>
                    <a:pt x="776" y="95"/>
                  </a:cubicBezTo>
                  <a:cubicBezTo>
                    <a:pt x="729" y="99"/>
                    <a:pt x="676" y="101"/>
                    <a:pt x="619" y="101"/>
                  </a:cubicBezTo>
                  <a:cubicBezTo>
                    <a:pt x="508" y="101"/>
                    <a:pt x="383" y="91"/>
                    <a:pt x="266" y="59"/>
                  </a:cubicBezTo>
                  <a:cubicBezTo>
                    <a:pt x="215" y="45"/>
                    <a:pt x="164" y="25"/>
                    <a:pt x="116" y="0"/>
                  </a:cubicBezTo>
                  <a:cubicBezTo>
                    <a:pt x="90" y="53"/>
                    <a:pt x="60" y="102"/>
                    <a:pt x="27" y="145"/>
                  </a:cubicBezTo>
                  <a:cubicBezTo>
                    <a:pt x="18" y="157"/>
                    <a:pt x="9" y="168"/>
                    <a:pt x="0" y="179"/>
                  </a:cubicBezTo>
                  <a:cubicBezTo>
                    <a:pt x="40" y="210"/>
                    <a:pt x="82" y="235"/>
                    <a:pt x="126" y="255"/>
                  </a:cubicBezTo>
                  <a:cubicBezTo>
                    <a:pt x="279" y="325"/>
                    <a:pt x="457" y="345"/>
                    <a:pt x="581" y="349"/>
                  </a:cubicBezTo>
                  <a:close/>
                </a:path>
              </a:pathLst>
            </a:custGeom>
            <a:solidFill>
              <a:schemeClr val="accent4"/>
            </a:solidFill>
            <a:ln w="41275">
              <a:solidFill>
                <a:schemeClr val="bg1"/>
              </a:solidFill>
              <a:round/>
              <a:headEnd/>
              <a:tailEnd/>
            </a:ln>
          </p:spPr>
          <p:txBody>
            <a:bodyPr vert="horz" wrap="square" lIns="91440" tIns="45720" rIns="91440" bIns="45720" numCol="1" anchor="t" anchorCtr="0" compatLnSpc="1">
              <a:prstTxWarp prst="textNoShape">
                <a:avLst/>
              </a:prstTxWarp>
            </a:bodyPr>
            <a:lstStyle/>
            <a:p>
              <a:pPr algn="ctr" defTabSz="914400" fontAlgn="base">
                <a:lnSpc>
                  <a:spcPct val="86000"/>
                </a:lnSpc>
                <a:spcBef>
                  <a:spcPct val="0"/>
                </a:spcBef>
                <a:spcAft>
                  <a:spcPct val="0"/>
                </a:spcAft>
              </a:pPr>
              <a:endParaRPr lang="en-US" sz="1000">
                <a:solidFill>
                  <a:schemeClr val="tx1"/>
                </a:solidFill>
                <a:latin typeface="+mj-lt"/>
              </a:endParaRPr>
            </a:p>
          </p:txBody>
        </p:sp>
        <p:sp>
          <p:nvSpPr>
            <p:cNvPr id="7" name="Freeform 21">
              <a:extLst>
                <a:ext uri="{FF2B5EF4-FFF2-40B4-BE49-F238E27FC236}">
                  <a16:creationId xmlns:a16="http://schemas.microsoft.com/office/drawing/2014/main" id="{B1A60F3E-315B-2ECF-DA22-8ABEA2B18AE7}"/>
                </a:ext>
              </a:extLst>
            </p:cNvPr>
            <p:cNvSpPr>
              <a:spLocks/>
            </p:cNvSpPr>
            <p:nvPr/>
          </p:nvSpPr>
          <p:spPr bwMode="auto">
            <a:xfrm>
              <a:off x="-7645400" y="-2152650"/>
              <a:ext cx="2606675" cy="3810000"/>
            </a:xfrm>
            <a:custGeom>
              <a:avLst/>
              <a:gdLst>
                <a:gd name="T0" fmla="*/ 541 w 695"/>
                <a:gd name="T1" fmla="*/ 681 h 1016"/>
                <a:gd name="T2" fmla="*/ 695 w 695"/>
                <a:gd name="T3" fmla="*/ 364 h 1016"/>
                <a:gd name="T4" fmla="*/ 492 w 695"/>
                <a:gd name="T5" fmla="*/ 286 h 1016"/>
                <a:gd name="T6" fmla="*/ 305 w 695"/>
                <a:gd name="T7" fmla="*/ 153 h 1016"/>
                <a:gd name="T8" fmla="*/ 164 w 695"/>
                <a:gd name="T9" fmla="*/ 0 h 1016"/>
                <a:gd name="T10" fmla="*/ 158 w 695"/>
                <a:gd name="T11" fmla="*/ 7 h 1016"/>
                <a:gd name="T12" fmla="*/ 28 w 695"/>
                <a:gd name="T13" fmla="*/ 399 h 1016"/>
                <a:gd name="T14" fmla="*/ 129 w 695"/>
                <a:gd name="T15" fmla="*/ 970 h 1016"/>
                <a:gd name="T16" fmla="*/ 150 w 695"/>
                <a:gd name="T17" fmla="*/ 1016 h 1016"/>
                <a:gd name="T18" fmla="*/ 541 w 695"/>
                <a:gd name="T19" fmla="*/ 681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5" h="1016">
                  <a:moveTo>
                    <a:pt x="541" y="681"/>
                  </a:moveTo>
                  <a:cubicBezTo>
                    <a:pt x="607" y="595"/>
                    <a:pt x="660" y="485"/>
                    <a:pt x="695" y="364"/>
                  </a:cubicBezTo>
                  <a:cubicBezTo>
                    <a:pt x="626" y="348"/>
                    <a:pt x="558" y="322"/>
                    <a:pt x="492" y="286"/>
                  </a:cubicBezTo>
                  <a:cubicBezTo>
                    <a:pt x="427" y="251"/>
                    <a:pt x="364" y="206"/>
                    <a:pt x="305" y="153"/>
                  </a:cubicBezTo>
                  <a:cubicBezTo>
                    <a:pt x="236" y="90"/>
                    <a:pt x="188" y="31"/>
                    <a:pt x="164" y="0"/>
                  </a:cubicBezTo>
                  <a:cubicBezTo>
                    <a:pt x="163" y="2"/>
                    <a:pt x="161" y="4"/>
                    <a:pt x="158" y="7"/>
                  </a:cubicBezTo>
                  <a:cubicBezTo>
                    <a:pt x="87" y="151"/>
                    <a:pt x="44" y="280"/>
                    <a:pt x="28" y="399"/>
                  </a:cubicBezTo>
                  <a:cubicBezTo>
                    <a:pt x="0" y="609"/>
                    <a:pt x="67" y="825"/>
                    <a:pt x="129" y="970"/>
                  </a:cubicBezTo>
                  <a:cubicBezTo>
                    <a:pt x="136" y="985"/>
                    <a:pt x="143" y="1001"/>
                    <a:pt x="150" y="1016"/>
                  </a:cubicBezTo>
                  <a:cubicBezTo>
                    <a:pt x="260" y="953"/>
                    <a:pt x="416" y="846"/>
                    <a:pt x="541" y="681"/>
                  </a:cubicBezTo>
                  <a:close/>
                </a:path>
              </a:pathLst>
            </a:custGeom>
            <a:solidFill>
              <a:schemeClr val="accent2"/>
            </a:solidFill>
            <a:ln w="41275">
              <a:solidFill>
                <a:schemeClr val="bg1"/>
              </a:solidFill>
              <a:round/>
              <a:headEnd/>
              <a:tailEnd/>
            </a:ln>
          </p:spPr>
          <p:txBody>
            <a:bodyPr vert="horz" wrap="square" lIns="91440" tIns="45720" rIns="91440" bIns="45720" numCol="1" anchor="t" anchorCtr="0" compatLnSpc="1">
              <a:prstTxWarp prst="textNoShape">
                <a:avLst/>
              </a:prstTxWarp>
            </a:bodyPr>
            <a:lstStyle/>
            <a:p>
              <a:pPr algn="ctr" defTabSz="914400" fontAlgn="base">
                <a:lnSpc>
                  <a:spcPct val="86000"/>
                </a:lnSpc>
                <a:spcBef>
                  <a:spcPct val="0"/>
                </a:spcBef>
                <a:spcAft>
                  <a:spcPct val="0"/>
                </a:spcAft>
              </a:pPr>
              <a:endParaRPr lang="en-US" sz="1000">
                <a:solidFill>
                  <a:schemeClr val="tx1"/>
                </a:solidFill>
                <a:latin typeface="+mj-lt"/>
              </a:endParaRPr>
            </a:p>
          </p:txBody>
        </p:sp>
        <p:sp>
          <p:nvSpPr>
            <p:cNvPr id="8" name="Freeform 22">
              <a:extLst>
                <a:ext uri="{FF2B5EF4-FFF2-40B4-BE49-F238E27FC236}">
                  <a16:creationId xmlns:a16="http://schemas.microsoft.com/office/drawing/2014/main" id="{A094AB0C-D420-10F5-E79D-B51BAB389D73}"/>
                </a:ext>
              </a:extLst>
            </p:cNvPr>
            <p:cNvSpPr>
              <a:spLocks/>
            </p:cNvSpPr>
            <p:nvPr/>
          </p:nvSpPr>
          <p:spPr bwMode="auto">
            <a:xfrm>
              <a:off x="-5280025" y="-930275"/>
              <a:ext cx="3109913" cy="1189038"/>
            </a:xfrm>
            <a:custGeom>
              <a:avLst/>
              <a:gdLst>
                <a:gd name="T0" fmla="*/ 293 w 829"/>
                <a:gd name="T1" fmla="*/ 61 h 317"/>
                <a:gd name="T2" fmla="*/ 113 w 829"/>
                <a:gd name="T3" fmla="*/ 48 h 317"/>
                <a:gd name="T4" fmla="*/ 66 w 829"/>
                <a:gd name="T5" fmla="*/ 38 h 317"/>
                <a:gd name="T6" fmla="*/ 0 w 829"/>
                <a:gd name="T7" fmla="*/ 209 h 317"/>
                <a:gd name="T8" fmla="*/ 150 w 829"/>
                <a:gd name="T9" fmla="*/ 268 h 317"/>
                <a:gd name="T10" fmla="*/ 659 w 829"/>
                <a:gd name="T11" fmla="*/ 304 h 317"/>
                <a:gd name="T12" fmla="*/ 659 w 829"/>
                <a:gd name="T13" fmla="*/ 304 h 317"/>
                <a:gd name="T14" fmla="*/ 803 w 829"/>
                <a:gd name="T15" fmla="*/ 170 h 317"/>
                <a:gd name="T16" fmla="*/ 746 w 829"/>
                <a:gd name="T17" fmla="*/ 0 h 317"/>
                <a:gd name="T18" fmla="*/ 641 w 829"/>
                <a:gd name="T19" fmla="*/ 24 h 317"/>
                <a:gd name="T20" fmla="*/ 293 w 829"/>
                <a:gd name="T21" fmla="*/ 6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9" h="317">
                  <a:moveTo>
                    <a:pt x="293" y="61"/>
                  </a:moveTo>
                  <a:cubicBezTo>
                    <a:pt x="233" y="61"/>
                    <a:pt x="173" y="57"/>
                    <a:pt x="113" y="48"/>
                  </a:cubicBezTo>
                  <a:cubicBezTo>
                    <a:pt x="97" y="45"/>
                    <a:pt x="82" y="42"/>
                    <a:pt x="66" y="38"/>
                  </a:cubicBezTo>
                  <a:cubicBezTo>
                    <a:pt x="48" y="99"/>
                    <a:pt x="26" y="156"/>
                    <a:pt x="0" y="209"/>
                  </a:cubicBezTo>
                  <a:cubicBezTo>
                    <a:pt x="49" y="235"/>
                    <a:pt x="99" y="255"/>
                    <a:pt x="150" y="268"/>
                  </a:cubicBezTo>
                  <a:cubicBezTo>
                    <a:pt x="327" y="317"/>
                    <a:pt x="522" y="315"/>
                    <a:pt x="659" y="304"/>
                  </a:cubicBezTo>
                  <a:cubicBezTo>
                    <a:pt x="659" y="304"/>
                    <a:pt x="659" y="304"/>
                    <a:pt x="659" y="304"/>
                  </a:cubicBezTo>
                  <a:cubicBezTo>
                    <a:pt x="659" y="304"/>
                    <a:pt x="781" y="264"/>
                    <a:pt x="803" y="170"/>
                  </a:cubicBezTo>
                  <a:cubicBezTo>
                    <a:pt x="829" y="56"/>
                    <a:pt x="755" y="6"/>
                    <a:pt x="746" y="0"/>
                  </a:cubicBezTo>
                  <a:cubicBezTo>
                    <a:pt x="714" y="8"/>
                    <a:pt x="679" y="16"/>
                    <a:pt x="641" y="24"/>
                  </a:cubicBezTo>
                  <a:cubicBezTo>
                    <a:pt x="548" y="43"/>
                    <a:pt x="423" y="61"/>
                    <a:pt x="293" y="61"/>
                  </a:cubicBezTo>
                  <a:close/>
                </a:path>
              </a:pathLst>
            </a:custGeom>
            <a:solidFill>
              <a:schemeClr val="accent3">
                <a:alpha val="80000"/>
              </a:schemeClr>
            </a:solidFill>
            <a:ln w="41275">
              <a:solidFill>
                <a:schemeClr val="bg1"/>
              </a:solidFill>
              <a:round/>
              <a:headEnd/>
              <a:tailEnd/>
            </a:ln>
          </p:spPr>
          <p:txBody>
            <a:bodyPr vert="horz" wrap="square" lIns="91440" tIns="45720" rIns="91440" bIns="45720" numCol="1" anchor="t" anchorCtr="0" compatLnSpc="1">
              <a:prstTxWarp prst="textNoShape">
                <a:avLst/>
              </a:prstTxWarp>
            </a:bodyPr>
            <a:lstStyle/>
            <a:p>
              <a:pPr algn="ctr" defTabSz="914400" fontAlgn="base">
                <a:lnSpc>
                  <a:spcPct val="86000"/>
                </a:lnSpc>
                <a:spcBef>
                  <a:spcPct val="0"/>
                </a:spcBef>
                <a:spcAft>
                  <a:spcPct val="0"/>
                </a:spcAft>
              </a:pPr>
              <a:endParaRPr lang="en-US" sz="1000">
                <a:solidFill>
                  <a:schemeClr val="tx1"/>
                </a:solidFill>
                <a:latin typeface="+mj-lt"/>
              </a:endParaRPr>
            </a:p>
          </p:txBody>
        </p:sp>
        <p:sp>
          <p:nvSpPr>
            <p:cNvPr id="11" name="Freeform 23">
              <a:extLst>
                <a:ext uri="{FF2B5EF4-FFF2-40B4-BE49-F238E27FC236}">
                  <a16:creationId xmlns:a16="http://schemas.microsoft.com/office/drawing/2014/main" id="{907ACD6E-75A0-9BE7-AB8E-3A868DF8C2BC}"/>
                </a:ext>
              </a:extLst>
            </p:cNvPr>
            <p:cNvSpPr>
              <a:spLocks/>
            </p:cNvSpPr>
            <p:nvPr/>
          </p:nvSpPr>
          <p:spPr bwMode="auto">
            <a:xfrm>
              <a:off x="-5032375" y="-2557462"/>
              <a:ext cx="3052762" cy="1912938"/>
            </a:xfrm>
            <a:custGeom>
              <a:avLst/>
              <a:gdLst>
                <a:gd name="T0" fmla="*/ 600 w 814"/>
                <a:gd name="T1" fmla="*/ 85 h 510"/>
                <a:gd name="T2" fmla="*/ 446 w 814"/>
                <a:gd name="T3" fmla="*/ 113 h 510"/>
                <a:gd name="T4" fmla="*/ 36 w 814"/>
                <a:gd name="T5" fmla="*/ 305 h 510"/>
                <a:gd name="T6" fmla="*/ 0 w 814"/>
                <a:gd name="T7" fmla="*/ 471 h 510"/>
                <a:gd name="T8" fmla="*/ 47 w 814"/>
                <a:gd name="T9" fmla="*/ 480 h 510"/>
                <a:gd name="T10" fmla="*/ 575 w 814"/>
                <a:gd name="T11" fmla="*/ 456 h 510"/>
                <a:gd name="T12" fmla="*/ 680 w 814"/>
                <a:gd name="T13" fmla="*/ 432 h 510"/>
                <a:gd name="T14" fmla="*/ 789 w 814"/>
                <a:gd name="T15" fmla="*/ 269 h 510"/>
                <a:gd name="T16" fmla="*/ 731 w 814"/>
                <a:gd name="T17" fmla="*/ 29 h 510"/>
                <a:gd name="T18" fmla="*/ 687 w 814"/>
                <a:gd name="T19" fmla="*/ 0 h 510"/>
                <a:gd name="T20" fmla="*/ 600 w 814"/>
                <a:gd name="T21" fmla="*/ 85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4" h="510">
                  <a:moveTo>
                    <a:pt x="600" y="85"/>
                  </a:moveTo>
                  <a:cubicBezTo>
                    <a:pt x="554" y="96"/>
                    <a:pt x="502" y="104"/>
                    <a:pt x="446" y="113"/>
                  </a:cubicBezTo>
                  <a:cubicBezTo>
                    <a:pt x="263" y="141"/>
                    <a:pt x="56" y="173"/>
                    <a:pt x="36" y="305"/>
                  </a:cubicBezTo>
                  <a:cubicBezTo>
                    <a:pt x="28" y="362"/>
                    <a:pt x="16" y="418"/>
                    <a:pt x="0" y="471"/>
                  </a:cubicBezTo>
                  <a:cubicBezTo>
                    <a:pt x="16" y="474"/>
                    <a:pt x="31" y="477"/>
                    <a:pt x="47" y="480"/>
                  </a:cubicBezTo>
                  <a:cubicBezTo>
                    <a:pt x="236" y="510"/>
                    <a:pt x="438" y="484"/>
                    <a:pt x="575" y="456"/>
                  </a:cubicBezTo>
                  <a:cubicBezTo>
                    <a:pt x="613" y="448"/>
                    <a:pt x="648" y="440"/>
                    <a:pt x="680" y="432"/>
                  </a:cubicBezTo>
                  <a:cubicBezTo>
                    <a:pt x="690" y="424"/>
                    <a:pt x="761" y="364"/>
                    <a:pt x="789" y="269"/>
                  </a:cubicBezTo>
                  <a:cubicBezTo>
                    <a:pt x="814" y="188"/>
                    <a:pt x="798" y="91"/>
                    <a:pt x="731" y="29"/>
                  </a:cubicBezTo>
                  <a:cubicBezTo>
                    <a:pt x="720" y="18"/>
                    <a:pt x="705" y="8"/>
                    <a:pt x="687" y="0"/>
                  </a:cubicBezTo>
                  <a:cubicBezTo>
                    <a:pt x="679" y="31"/>
                    <a:pt x="658" y="72"/>
                    <a:pt x="600" y="85"/>
                  </a:cubicBezTo>
                  <a:close/>
                </a:path>
              </a:pathLst>
            </a:custGeom>
            <a:solidFill>
              <a:schemeClr val="accent2">
                <a:lumMod val="60000"/>
                <a:lumOff val="40000"/>
              </a:schemeClr>
            </a:solidFill>
            <a:ln w="41275">
              <a:solidFill>
                <a:schemeClr val="bg1"/>
              </a:solidFill>
              <a:round/>
              <a:headEnd/>
              <a:tailEnd/>
            </a:ln>
          </p:spPr>
          <p:txBody>
            <a:bodyPr vert="horz" wrap="square" lIns="91440" tIns="45720" rIns="91440" bIns="45720" numCol="1" anchor="t" anchorCtr="0" compatLnSpc="1">
              <a:prstTxWarp prst="textNoShape">
                <a:avLst/>
              </a:prstTxWarp>
            </a:bodyPr>
            <a:lstStyle/>
            <a:p>
              <a:pPr algn="ctr" defTabSz="914400" fontAlgn="base">
                <a:lnSpc>
                  <a:spcPct val="86000"/>
                </a:lnSpc>
                <a:spcBef>
                  <a:spcPct val="0"/>
                </a:spcBef>
                <a:spcAft>
                  <a:spcPct val="0"/>
                </a:spcAft>
              </a:pPr>
              <a:endParaRPr lang="en-US" sz="1000">
                <a:solidFill>
                  <a:schemeClr val="tx1"/>
                </a:solidFill>
                <a:latin typeface="+mj-lt"/>
              </a:endParaRPr>
            </a:p>
          </p:txBody>
        </p:sp>
        <p:sp>
          <p:nvSpPr>
            <p:cNvPr id="12" name="Freeform 24">
              <a:extLst>
                <a:ext uri="{FF2B5EF4-FFF2-40B4-BE49-F238E27FC236}">
                  <a16:creationId xmlns:a16="http://schemas.microsoft.com/office/drawing/2014/main" id="{98F90D3F-095D-D852-DB5C-E665AA27CD24}"/>
                </a:ext>
              </a:extLst>
            </p:cNvPr>
            <p:cNvSpPr>
              <a:spLocks/>
            </p:cNvSpPr>
            <p:nvPr/>
          </p:nvSpPr>
          <p:spPr bwMode="auto">
            <a:xfrm>
              <a:off x="-6183313" y="536575"/>
              <a:ext cx="2827338" cy="1566863"/>
            </a:xfrm>
            <a:custGeom>
              <a:avLst/>
              <a:gdLst>
                <a:gd name="T0" fmla="*/ 250 w 754"/>
                <a:gd name="T1" fmla="*/ 77 h 418"/>
                <a:gd name="T2" fmla="*/ 124 w 754"/>
                <a:gd name="T3" fmla="*/ 0 h 418"/>
                <a:gd name="T4" fmla="*/ 0 w 754"/>
                <a:gd name="T5" fmla="*/ 129 h 418"/>
                <a:gd name="T6" fmla="*/ 134 w 754"/>
                <a:gd name="T7" fmla="*/ 303 h 418"/>
                <a:gd name="T8" fmla="*/ 417 w 754"/>
                <a:gd name="T9" fmla="*/ 418 h 418"/>
                <a:gd name="T10" fmla="*/ 599 w 754"/>
                <a:gd name="T11" fmla="*/ 396 h 418"/>
                <a:gd name="T12" fmla="*/ 707 w 754"/>
                <a:gd name="T13" fmla="*/ 171 h 418"/>
                <a:gd name="T14" fmla="*/ 250 w 754"/>
                <a:gd name="T15" fmla="*/ 77 h 4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4" h="418">
                  <a:moveTo>
                    <a:pt x="250" y="77"/>
                  </a:moveTo>
                  <a:cubicBezTo>
                    <a:pt x="206" y="57"/>
                    <a:pt x="164" y="31"/>
                    <a:pt x="124" y="0"/>
                  </a:cubicBezTo>
                  <a:cubicBezTo>
                    <a:pt x="84" y="49"/>
                    <a:pt x="42" y="91"/>
                    <a:pt x="0" y="129"/>
                  </a:cubicBezTo>
                  <a:cubicBezTo>
                    <a:pt x="1" y="133"/>
                    <a:pt x="30" y="228"/>
                    <a:pt x="134" y="303"/>
                  </a:cubicBezTo>
                  <a:cubicBezTo>
                    <a:pt x="221" y="366"/>
                    <a:pt x="331" y="400"/>
                    <a:pt x="417" y="418"/>
                  </a:cubicBezTo>
                  <a:cubicBezTo>
                    <a:pt x="473" y="415"/>
                    <a:pt x="540" y="409"/>
                    <a:pt x="599" y="396"/>
                  </a:cubicBezTo>
                  <a:cubicBezTo>
                    <a:pt x="754" y="363"/>
                    <a:pt x="712" y="189"/>
                    <a:pt x="707" y="171"/>
                  </a:cubicBezTo>
                  <a:cubicBezTo>
                    <a:pt x="582" y="166"/>
                    <a:pt x="404" y="146"/>
                    <a:pt x="250" y="77"/>
                  </a:cubicBezTo>
                  <a:close/>
                </a:path>
              </a:pathLst>
            </a:custGeom>
            <a:solidFill>
              <a:schemeClr val="accent4">
                <a:alpha val="75000"/>
              </a:schemeClr>
            </a:solidFill>
            <a:ln w="41275">
              <a:solidFill>
                <a:schemeClr val="bg1"/>
              </a:solidFill>
              <a:round/>
              <a:headEnd/>
              <a:tailEnd/>
            </a:ln>
          </p:spPr>
          <p:txBody>
            <a:bodyPr vert="horz" wrap="square" lIns="91440" tIns="45720" rIns="91440" bIns="45720" numCol="1" anchor="t" anchorCtr="0" compatLnSpc="1">
              <a:prstTxWarp prst="textNoShape">
                <a:avLst/>
              </a:prstTxWarp>
            </a:bodyPr>
            <a:lstStyle/>
            <a:p>
              <a:pPr algn="ctr" defTabSz="914400" fontAlgn="base">
                <a:lnSpc>
                  <a:spcPct val="86000"/>
                </a:lnSpc>
                <a:spcBef>
                  <a:spcPct val="0"/>
                </a:spcBef>
                <a:spcAft>
                  <a:spcPct val="0"/>
                </a:spcAft>
              </a:pPr>
              <a:endParaRPr lang="en-US" sz="1000">
                <a:solidFill>
                  <a:schemeClr val="tx1"/>
                </a:solidFill>
                <a:latin typeface="+mj-lt"/>
              </a:endParaRPr>
            </a:p>
          </p:txBody>
        </p:sp>
        <p:sp>
          <p:nvSpPr>
            <p:cNvPr id="13" name="Freeform 25">
              <a:extLst>
                <a:ext uri="{FF2B5EF4-FFF2-40B4-BE49-F238E27FC236}">
                  <a16:creationId xmlns:a16="http://schemas.microsoft.com/office/drawing/2014/main" id="{C29997E5-CD59-F9CC-7959-87725E3CC179}"/>
                </a:ext>
              </a:extLst>
            </p:cNvPr>
            <p:cNvSpPr>
              <a:spLocks/>
            </p:cNvSpPr>
            <p:nvPr/>
          </p:nvSpPr>
          <p:spPr bwMode="auto">
            <a:xfrm>
              <a:off x="-7083425" y="1023937"/>
              <a:ext cx="2438400" cy="1090613"/>
            </a:xfrm>
            <a:custGeom>
              <a:avLst/>
              <a:gdLst>
                <a:gd name="T0" fmla="*/ 373 w 650"/>
                <a:gd name="T1" fmla="*/ 174 h 291"/>
                <a:gd name="T2" fmla="*/ 238 w 650"/>
                <a:gd name="T3" fmla="*/ 0 h 291"/>
                <a:gd name="T4" fmla="*/ 0 w 650"/>
                <a:gd name="T5" fmla="*/ 170 h 291"/>
                <a:gd name="T6" fmla="*/ 1 w 650"/>
                <a:gd name="T7" fmla="*/ 171 h 291"/>
                <a:gd name="T8" fmla="*/ 30 w 650"/>
                <a:gd name="T9" fmla="*/ 208 h 291"/>
                <a:gd name="T10" fmla="*/ 200 w 650"/>
                <a:gd name="T11" fmla="*/ 290 h 291"/>
                <a:gd name="T12" fmla="*/ 545 w 650"/>
                <a:gd name="T13" fmla="*/ 290 h 291"/>
                <a:gd name="T14" fmla="*/ 650 w 650"/>
                <a:gd name="T15" fmla="*/ 288 h 291"/>
                <a:gd name="T16" fmla="*/ 373 w 650"/>
                <a:gd name="T17" fmla="*/ 174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291">
                  <a:moveTo>
                    <a:pt x="373" y="174"/>
                  </a:moveTo>
                  <a:cubicBezTo>
                    <a:pt x="272" y="101"/>
                    <a:pt x="241" y="10"/>
                    <a:pt x="238" y="0"/>
                  </a:cubicBezTo>
                  <a:cubicBezTo>
                    <a:pt x="153" y="76"/>
                    <a:pt x="68" y="132"/>
                    <a:pt x="0" y="170"/>
                  </a:cubicBezTo>
                  <a:cubicBezTo>
                    <a:pt x="0" y="170"/>
                    <a:pt x="1" y="171"/>
                    <a:pt x="1" y="171"/>
                  </a:cubicBezTo>
                  <a:cubicBezTo>
                    <a:pt x="12" y="185"/>
                    <a:pt x="22" y="198"/>
                    <a:pt x="30" y="208"/>
                  </a:cubicBezTo>
                  <a:cubicBezTo>
                    <a:pt x="94" y="291"/>
                    <a:pt x="200" y="290"/>
                    <a:pt x="200" y="290"/>
                  </a:cubicBezTo>
                  <a:cubicBezTo>
                    <a:pt x="545" y="290"/>
                    <a:pt x="545" y="290"/>
                    <a:pt x="545" y="290"/>
                  </a:cubicBezTo>
                  <a:cubicBezTo>
                    <a:pt x="545" y="290"/>
                    <a:pt x="590" y="291"/>
                    <a:pt x="650" y="288"/>
                  </a:cubicBezTo>
                  <a:cubicBezTo>
                    <a:pt x="572" y="271"/>
                    <a:pt x="461" y="238"/>
                    <a:pt x="373" y="174"/>
                  </a:cubicBezTo>
                  <a:close/>
                </a:path>
              </a:pathLst>
            </a:custGeom>
            <a:solidFill>
              <a:schemeClr val="accent4">
                <a:alpha val="50000"/>
              </a:schemeClr>
            </a:solidFill>
            <a:ln w="41275">
              <a:solidFill>
                <a:schemeClr val="bg1"/>
              </a:solidFill>
              <a:round/>
              <a:headEnd/>
              <a:tailEnd/>
            </a:ln>
          </p:spPr>
          <p:txBody>
            <a:bodyPr vert="horz" wrap="square" lIns="91440" tIns="45720" rIns="91440" bIns="45720" numCol="1" anchor="t" anchorCtr="0" compatLnSpc="1">
              <a:prstTxWarp prst="textNoShape">
                <a:avLst/>
              </a:prstTxWarp>
            </a:bodyPr>
            <a:lstStyle/>
            <a:p>
              <a:pPr algn="ctr" defTabSz="914400" fontAlgn="base">
                <a:lnSpc>
                  <a:spcPct val="86000"/>
                </a:lnSpc>
                <a:spcBef>
                  <a:spcPct val="0"/>
                </a:spcBef>
                <a:spcAft>
                  <a:spcPct val="0"/>
                </a:spcAft>
              </a:pPr>
              <a:endParaRPr lang="en-US" sz="1000">
                <a:solidFill>
                  <a:schemeClr val="tx1"/>
                </a:solidFill>
                <a:latin typeface="+mj-lt"/>
              </a:endParaRPr>
            </a:p>
          </p:txBody>
        </p:sp>
        <p:sp>
          <p:nvSpPr>
            <p:cNvPr id="15" name="Freeform 26">
              <a:extLst>
                <a:ext uri="{FF2B5EF4-FFF2-40B4-BE49-F238E27FC236}">
                  <a16:creationId xmlns:a16="http://schemas.microsoft.com/office/drawing/2014/main" id="{5D9F6B34-76EA-42CD-D438-3413BF760775}"/>
                </a:ext>
              </a:extLst>
            </p:cNvPr>
            <p:cNvSpPr>
              <a:spLocks/>
            </p:cNvSpPr>
            <p:nvPr/>
          </p:nvSpPr>
          <p:spPr bwMode="auto">
            <a:xfrm>
              <a:off x="-7026275" y="-6292851"/>
              <a:ext cx="4567238" cy="5497513"/>
            </a:xfrm>
            <a:custGeom>
              <a:avLst/>
              <a:gdLst>
                <a:gd name="T0" fmla="*/ 141 w 1218"/>
                <a:gd name="T1" fmla="*/ 1256 h 1466"/>
                <a:gd name="T2" fmla="*/ 531 w 1218"/>
                <a:gd name="T3" fmla="*/ 1466 h 1466"/>
                <a:gd name="T4" fmla="*/ 567 w 1218"/>
                <a:gd name="T5" fmla="*/ 1301 h 1466"/>
                <a:gd name="T6" fmla="*/ 978 w 1218"/>
                <a:gd name="T7" fmla="*/ 1107 h 1466"/>
                <a:gd name="T8" fmla="*/ 1132 w 1218"/>
                <a:gd name="T9" fmla="*/ 1080 h 1466"/>
                <a:gd name="T10" fmla="*/ 1218 w 1218"/>
                <a:gd name="T11" fmla="*/ 996 h 1466"/>
                <a:gd name="T12" fmla="*/ 968 w 1218"/>
                <a:gd name="T13" fmla="*/ 950 h 1466"/>
                <a:gd name="T14" fmla="*/ 581 w 1218"/>
                <a:gd name="T15" fmla="*/ 950 h 1466"/>
                <a:gd name="T16" fmla="*/ 700 w 1218"/>
                <a:gd name="T17" fmla="*/ 671 h 1466"/>
                <a:gd name="T18" fmla="*/ 741 w 1218"/>
                <a:gd name="T19" fmla="*/ 246 h 1466"/>
                <a:gd name="T20" fmla="*/ 588 w 1218"/>
                <a:gd name="T21" fmla="*/ 20 h 1466"/>
                <a:gd name="T22" fmla="*/ 456 w 1218"/>
                <a:gd name="T23" fmla="*/ 110 h 1466"/>
                <a:gd name="T24" fmla="*/ 435 w 1218"/>
                <a:gd name="T25" fmla="*/ 384 h 1466"/>
                <a:gd name="T26" fmla="*/ 244 w 1218"/>
                <a:gd name="T27" fmla="*/ 674 h 1466"/>
                <a:gd name="T28" fmla="*/ 5 w 1218"/>
                <a:gd name="T29" fmla="*/ 1097 h 1466"/>
                <a:gd name="T30" fmla="*/ 0 w 1218"/>
                <a:gd name="T31" fmla="*/ 1102 h 1466"/>
                <a:gd name="T32" fmla="*/ 141 w 1218"/>
                <a:gd name="T33" fmla="*/ 1256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18" h="1466">
                  <a:moveTo>
                    <a:pt x="141" y="1256"/>
                  </a:moveTo>
                  <a:cubicBezTo>
                    <a:pt x="226" y="1332"/>
                    <a:pt x="360" y="1427"/>
                    <a:pt x="531" y="1466"/>
                  </a:cubicBezTo>
                  <a:cubicBezTo>
                    <a:pt x="546" y="1413"/>
                    <a:pt x="558" y="1358"/>
                    <a:pt x="567" y="1301"/>
                  </a:cubicBezTo>
                  <a:cubicBezTo>
                    <a:pt x="587" y="1168"/>
                    <a:pt x="795" y="1136"/>
                    <a:pt x="978" y="1107"/>
                  </a:cubicBezTo>
                  <a:cubicBezTo>
                    <a:pt x="1033" y="1098"/>
                    <a:pt x="1086" y="1090"/>
                    <a:pt x="1132" y="1080"/>
                  </a:cubicBezTo>
                  <a:cubicBezTo>
                    <a:pt x="1189" y="1067"/>
                    <a:pt x="1210" y="1026"/>
                    <a:pt x="1218" y="996"/>
                  </a:cubicBezTo>
                  <a:cubicBezTo>
                    <a:pt x="1123" y="952"/>
                    <a:pt x="968" y="950"/>
                    <a:pt x="968" y="950"/>
                  </a:cubicBezTo>
                  <a:cubicBezTo>
                    <a:pt x="581" y="950"/>
                    <a:pt x="581" y="950"/>
                    <a:pt x="581" y="950"/>
                  </a:cubicBezTo>
                  <a:cubicBezTo>
                    <a:pt x="581" y="950"/>
                    <a:pt x="613" y="824"/>
                    <a:pt x="700" y="671"/>
                  </a:cubicBezTo>
                  <a:cubicBezTo>
                    <a:pt x="786" y="517"/>
                    <a:pt x="768" y="356"/>
                    <a:pt x="741" y="246"/>
                  </a:cubicBezTo>
                  <a:cubicBezTo>
                    <a:pt x="705" y="104"/>
                    <a:pt x="667" y="41"/>
                    <a:pt x="588" y="20"/>
                  </a:cubicBezTo>
                  <a:cubicBezTo>
                    <a:pt x="511" y="0"/>
                    <a:pt x="457" y="74"/>
                    <a:pt x="456" y="110"/>
                  </a:cubicBezTo>
                  <a:cubicBezTo>
                    <a:pt x="455" y="206"/>
                    <a:pt x="445" y="341"/>
                    <a:pt x="435" y="384"/>
                  </a:cubicBezTo>
                  <a:cubicBezTo>
                    <a:pt x="425" y="428"/>
                    <a:pt x="407" y="496"/>
                    <a:pt x="244" y="674"/>
                  </a:cubicBezTo>
                  <a:cubicBezTo>
                    <a:pt x="81" y="853"/>
                    <a:pt x="5" y="1097"/>
                    <a:pt x="5" y="1097"/>
                  </a:cubicBezTo>
                  <a:cubicBezTo>
                    <a:pt x="5" y="1097"/>
                    <a:pt x="3" y="1099"/>
                    <a:pt x="0" y="1102"/>
                  </a:cubicBezTo>
                  <a:cubicBezTo>
                    <a:pt x="23" y="1133"/>
                    <a:pt x="71" y="1193"/>
                    <a:pt x="141" y="1256"/>
                  </a:cubicBezTo>
                  <a:close/>
                </a:path>
              </a:pathLst>
            </a:custGeom>
            <a:solidFill>
              <a:schemeClr val="accent2"/>
            </a:solidFill>
            <a:ln w="41275">
              <a:solidFill>
                <a:schemeClr val="bg1"/>
              </a:solidFill>
              <a:round/>
              <a:headEnd/>
              <a:tailEnd/>
            </a:ln>
          </p:spPr>
          <p:txBody>
            <a:bodyPr vert="horz" wrap="square" lIns="91440" tIns="45720" rIns="91440" bIns="45720" numCol="1" anchor="t" anchorCtr="0" compatLnSpc="1">
              <a:prstTxWarp prst="textNoShape">
                <a:avLst/>
              </a:prstTxWarp>
            </a:bodyPr>
            <a:lstStyle/>
            <a:p>
              <a:pPr algn="ctr" defTabSz="914400" fontAlgn="base">
                <a:lnSpc>
                  <a:spcPct val="86000"/>
                </a:lnSpc>
                <a:spcBef>
                  <a:spcPct val="0"/>
                </a:spcBef>
                <a:spcAft>
                  <a:spcPct val="0"/>
                </a:spcAft>
              </a:pPr>
              <a:endParaRPr lang="en-US" sz="1000">
                <a:solidFill>
                  <a:schemeClr val="tx1"/>
                </a:solidFill>
                <a:latin typeface="+mj-lt"/>
              </a:endParaRPr>
            </a:p>
          </p:txBody>
        </p:sp>
      </p:grpSp>
      <p:sp>
        <p:nvSpPr>
          <p:cNvPr id="51" name="Marcador de texto 54">
            <a:extLst>
              <a:ext uri="{FF2B5EF4-FFF2-40B4-BE49-F238E27FC236}">
                <a16:creationId xmlns:a16="http://schemas.microsoft.com/office/drawing/2014/main" id="{60ED957E-FC84-E392-2CEC-DD9D18891AEB}"/>
              </a:ext>
            </a:extLst>
          </p:cNvPr>
          <p:cNvSpPr>
            <a:spLocks noGrp="1"/>
          </p:cNvSpPr>
          <p:nvPr>
            <p:ph type="body" sz="quarter" idx="48" hasCustomPrompt="1"/>
          </p:nvPr>
        </p:nvSpPr>
        <p:spPr>
          <a:xfrm>
            <a:off x="6225158" y="4780161"/>
            <a:ext cx="3934837" cy="706240"/>
          </a:xfrm>
          <a:prstGeom prst="rect">
            <a:avLst/>
          </a:prstGeom>
        </p:spPr>
        <p:txBody>
          <a:bodyPr/>
          <a:lstStyle>
            <a:lvl1pPr marL="0" indent="0" algn="l">
              <a:spcBef>
                <a:spcPts val="0"/>
              </a:spcBef>
              <a:spcAft>
                <a:spcPts val="300"/>
              </a:spcAft>
              <a:buNone/>
              <a:defRPr lang="es-ES" sz="1200" b="1" kern="1200" smtClean="0">
                <a:solidFill>
                  <a:schemeClr val="tx1"/>
                </a:solidFill>
                <a:latin typeface="+mj-lt"/>
                <a:ea typeface="+mn-ea"/>
                <a:cs typeface="Arial" charset="0"/>
                <a:sym typeface="Arial"/>
              </a:defRPr>
            </a:lvl1pPr>
            <a:lvl2pPr marL="0" indent="0" algn="l">
              <a:lnSpc>
                <a:spcPct val="100000"/>
              </a:lnSpc>
              <a:spcBef>
                <a:spcPts val="0"/>
              </a:spcBef>
              <a:spcAft>
                <a:spcPts val="1200"/>
              </a:spcAft>
              <a:buNone/>
              <a:defRPr sz="1000">
                <a:solidFill>
                  <a:schemeClr val="tx1"/>
                </a:solidFill>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52" name="Marcador de texto 54">
            <a:extLst>
              <a:ext uri="{FF2B5EF4-FFF2-40B4-BE49-F238E27FC236}">
                <a16:creationId xmlns:a16="http://schemas.microsoft.com/office/drawing/2014/main" id="{C7E3B482-187E-CE17-F81A-5A9DB6C47A1E}"/>
              </a:ext>
            </a:extLst>
          </p:cNvPr>
          <p:cNvSpPr>
            <a:spLocks noGrp="1"/>
          </p:cNvSpPr>
          <p:nvPr>
            <p:ph type="body" sz="quarter" idx="49" hasCustomPrompt="1"/>
          </p:nvPr>
        </p:nvSpPr>
        <p:spPr>
          <a:xfrm>
            <a:off x="6578424" y="2992022"/>
            <a:ext cx="3581576" cy="706240"/>
          </a:xfrm>
          <a:prstGeom prst="rect">
            <a:avLst/>
          </a:prstGeom>
        </p:spPr>
        <p:txBody>
          <a:bodyPr/>
          <a:lstStyle>
            <a:lvl1pPr marL="0" indent="0" algn="l">
              <a:spcBef>
                <a:spcPts val="0"/>
              </a:spcBef>
              <a:spcAft>
                <a:spcPts val="300"/>
              </a:spcAft>
              <a:buNone/>
              <a:defRPr lang="es-ES" sz="1200" b="1" kern="1200" smtClean="0">
                <a:solidFill>
                  <a:schemeClr val="tx1"/>
                </a:solidFill>
                <a:latin typeface="+mj-lt"/>
                <a:ea typeface="+mn-ea"/>
                <a:cs typeface="Arial" charset="0"/>
                <a:sym typeface="Arial"/>
              </a:defRPr>
            </a:lvl1pPr>
            <a:lvl2pPr marL="0" indent="0" algn="l">
              <a:lnSpc>
                <a:spcPct val="100000"/>
              </a:lnSpc>
              <a:spcBef>
                <a:spcPts val="0"/>
              </a:spcBef>
              <a:spcAft>
                <a:spcPts val="1200"/>
              </a:spcAft>
              <a:buNone/>
              <a:defRPr sz="1000">
                <a:solidFill>
                  <a:schemeClr val="tx1"/>
                </a:solidFill>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53" name="Marcador de texto 54">
            <a:extLst>
              <a:ext uri="{FF2B5EF4-FFF2-40B4-BE49-F238E27FC236}">
                <a16:creationId xmlns:a16="http://schemas.microsoft.com/office/drawing/2014/main" id="{342629A6-49A7-AB1E-28B7-A57EC9CBFB63}"/>
              </a:ext>
            </a:extLst>
          </p:cNvPr>
          <p:cNvSpPr>
            <a:spLocks noGrp="1"/>
          </p:cNvSpPr>
          <p:nvPr>
            <p:ph type="body" sz="quarter" idx="50" hasCustomPrompt="1"/>
          </p:nvPr>
        </p:nvSpPr>
        <p:spPr>
          <a:xfrm>
            <a:off x="6578424" y="3881022"/>
            <a:ext cx="3581576" cy="706240"/>
          </a:xfrm>
          <a:prstGeom prst="rect">
            <a:avLst/>
          </a:prstGeom>
        </p:spPr>
        <p:txBody>
          <a:bodyPr/>
          <a:lstStyle>
            <a:lvl1pPr marL="0" indent="0" algn="l">
              <a:spcBef>
                <a:spcPts val="0"/>
              </a:spcBef>
              <a:spcAft>
                <a:spcPts val="300"/>
              </a:spcAft>
              <a:buNone/>
              <a:defRPr lang="es-ES" sz="1200" b="1" kern="1200" smtClean="0">
                <a:solidFill>
                  <a:schemeClr val="tx1"/>
                </a:solidFill>
                <a:latin typeface="+mj-lt"/>
                <a:ea typeface="+mn-ea"/>
                <a:cs typeface="Arial" charset="0"/>
                <a:sym typeface="Arial"/>
              </a:defRPr>
            </a:lvl1pPr>
            <a:lvl2pPr marL="0" indent="0" algn="l">
              <a:lnSpc>
                <a:spcPct val="100000"/>
              </a:lnSpc>
              <a:spcBef>
                <a:spcPts val="0"/>
              </a:spcBef>
              <a:spcAft>
                <a:spcPts val="1200"/>
              </a:spcAft>
              <a:buNone/>
              <a:defRPr sz="1000">
                <a:solidFill>
                  <a:schemeClr val="tx1"/>
                </a:solidFill>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54" name="Marcador de texto 54">
            <a:extLst>
              <a:ext uri="{FF2B5EF4-FFF2-40B4-BE49-F238E27FC236}">
                <a16:creationId xmlns:a16="http://schemas.microsoft.com/office/drawing/2014/main" id="{8F16897C-D362-54F2-5B3D-9C9FA5006D1B}"/>
              </a:ext>
            </a:extLst>
          </p:cNvPr>
          <p:cNvSpPr>
            <a:spLocks noGrp="1"/>
          </p:cNvSpPr>
          <p:nvPr>
            <p:ph type="body" sz="quarter" idx="46" hasCustomPrompt="1"/>
          </p:nvPr>
        </p:nvSpPr>
        <p:spPr>
          <a:xfrm>
            <a:off x="711024" y="3652421"/>
            <a:ext cx="1583774" cy="1864195"/>
          </a:xfrm>
          <a:prstGeom prst="rect">
            <a:avLst/>
          </a:prstGeom>
        </p:spPr>
        <p:txBody>
          <a:bodyPr/>
          <a:lstStyle>
            <a:lvl1pPr marL="0" indent="0" algn="r">
              <a:spcBef>
                <a:spcPts val="0"/>
              </a:spcBef>
              <a:spcAft>
                <a:spcPts val="300"/>
              </a:spcAft>
              <a:buNone/>
              <a:defRPr lang="es-ES" sz="1200" b="1" kern="1200" smtClean="0">
                <a:solidFill>
                  <a:schemeClr val="tx1"/>
                </a:solidFill>
                <a:latin typeface="+mj-lt"/>
                <a:ea typeface="+mn-ea"/>
                <a:cs typeface="Arial" charset="0"/>
                <a:sym typeface="Arial"/>
              </a:defRPr>
            </a:lvl1pPr>
            <a:lvl2pPr marL="0" indent="0" algn="r">
              <a:lnSpc>
                <a:spcPct val="100000"/>
              </a:lnSpc>
              <a:spcBef>
                <a:spcPts val="0"/>
              </a:spcBef>
              <a:spcAft>
                <a:spcPts val="1200"/>
              </a:spcAft>
              <a:buNone/>
              <a:defRPr sz="1000">
                <a:solidFill>
                  <a:schemeClr val="tx1"/>
                </a:solidFill>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cxnSp>
        <p:nvCxnSpPr>
          <p:cNvPr id="55" name="Conector recto 12">
            <a:extLst>
              <a:ext uri="{FF2B5EF4-FFF2-40B4-BE49-F238E27FC236}">
                <a16:creationId xmlns:a16="http://schemas.microsoft.com/office/drawing/2014/main" id="{79824613-621C-C4BB-1957-12CF72F8296F}"/>
              </a:ext>
            </a:extLst>
          </p:cNvPr>
          <p:cNvCxnSpPr>
            <a:cxnSpLocks/>
          </p:cNvCxnSpPr>
          <p:nvPr userDrawn="1"/>
        </p:nvCxnSpPr>
        <p:spPr>
          <a:xfrm>
            <a:off x="2449790" y="3644900"/>
            <a:ext cx="0" cy="1899850"/>
          </a:xfrm>
          <a:prstGeom prst="line">
            <a:avLst/>
          </a:prstGeom>
          <a:noFill/>
          <a:ln w="1905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6" name="Conector recto 12">
            <a:extLst>
              <a:ext uri="{FF2B5EF4-FFF2-40B4-BE49-F238E27FC236}">
                <a16:creationId xmlns:a16="http://schemas.microsoft.com/office/drawing/2014/main" id="{537EF4B5-EEA3-896A-745E-9D3E9B1F4676}"/>
              </a:ext>
            </a:extLst>
          </p:cNvPr>
          <p:cNvCxnSpPr>
            <a:cxnSpLocks/>
          </p:cNvCxnSpPr>
          <p:nvPr userDrawn="1"/>
        </p:nvCxnSpPr>
        <p:spPr>
          <a:xfrm flipH="1">
            <a:off x="2449790" y="4604074"/>
            <a:ext cx="500551" cy="0"/>
          </a:xfrm>
          <a:prstGeom prst="line">
            <a:avLst/>
          </a:prstGeom>
          <a:noFill/>
          <a:ln w="1905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8" name="Conector recto 12">
            <a:extLst>
              <a:ext uri="{FF2B5EF4-FFF2-40B4-BE49-F238E27FC236}">
                <a16:creationId xmlns:a16="http://schemas.microsoft.com/office/drawing/2014/main" id="{F3DAE501-6D2A-9CB2-2EC5-30B0F874BB01}"/>
              </a:ext>
            </a:extLst>
          </p:cNvPr>
          <p:cNvCxnSpPr>
            <a:cxnSpLocks/>
          </p:cNvCxnSpPr>
          <p:nvPr userDrawn="1"/>
        </p:nvCxnSpPr>
        <p:spPr>
          <a:xfrm>
            <a:off x="6081990" y="4775200"/>
            <a:ext cx="0" cy="762000"/>
          </a:xfrm>
          <a:prstGeom prst="line">
            <a:avLst/>
          </a:prstGeom>
          <a:noFill/>
          <a:ln w="1905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9" name="Conector recto 12">
            <a:extLst>
              <a:ext uri="{FF2B5EF4-FFF2-40B4-BE49-F238E27FC236}">
                <a16:creationId xmlns:a16="http://schemas.microsoft.com/office/drawing/2014/main" id="{69AD49EC-B021-2AD3-A08A-37C9C0DAD258}"/>
              </a:ext>
            </a:extLst>
          </p:cNvPr>
          <p:cNvCxnSpPr>
            <a:cxnSpLocks/>
          </p:cNvCxnSpPr>
          <p:nvPr userDrawn="1"/>
        </p:nvCxnSpPr>
        <p:spPr>
          <a:xfrm flipH="1">
            <a:off x="5599390" y="5061274"/>
            <a:ext cx="445810" cy="0"/>
          </a:xfrm>
          <a:prstGeom prst="line">
            <a:avLst/>
          </a:prstGeom>
          <a:noFill/>
          <a:ln w="1905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62" name="Conector recto 12">
            <a:extLst>
              <a:ext uri="{FF2B5EF4-FFF2-40B4-BE49-F238E27FC236}">
                <a16:creationId xmlns:a16="http://schemas.microsoft.com/office/drawing/2014/main" id="{7B3BE429-A6DF-8BE2-4895-ED9AF2D77BD0}"/>
              </a:ext>
            </a:extLst>
          </p:cNvPr>
          <p:cNvCxnSpPr>
            <a:cxnSpLocks/>
          </p:cNvCxnSpPr>
          <p:nvPr userDrawn="1"/>
        </p:nvCxnSpPr>
        <p:spPr>
          <a:xfrm>
            <a:off x="6437590" y="3873500"/>
            <a:ext cx="0" cy="736600"/>
          </a:xfrm>
          <a:prstGeom prst="line">
            <a:avLst/>
          </a:prstGeom>
          <a:noFill/>
          <a:ln w="1905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63" name="Conector recto 12">
            <a:extLst>
              <a:ext uri="{FF2B5EF4-FFF2-40B4-BE49-F238E27FC236}">
                <a16:creationId xmlns:a16="http://schemas.microsoft.com/office/drawing/2014/main" id="{473F4254-4AEF-67E6-08DD-37C22E97EFF8}"/>
              </a:ext>
            </a:extLst>
          </p:cNvPr>
          <p:cNvCxnSpPr>
            <a:cxnSpLocks/>
          </p:cNvCxnSpPr>
          <p:nvPr userDrawn="1"/>
        </p:nvCxnSpPr>
        <p:spPr>
          <a:xfrm flipH="1">
            <a:off x="5803900" y="4388174"/>
            <a:ext cx="635000" cy="0"/>
          </a:xfrm>
          <a:prstGeom prst="line">
            <a:avLst/>
          </a:prstGeom>
          <a:noFill/>
          <a:ln w="1905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ector recto 12">
            <a:extLst>
              <a:ext uri="{FF2B5EF4-FFF2-40B4-BE49-F238E27FC236}">
                <a16:creationId xmlns:a16="http://schemas.microsoft.com/office/drawing/2014/main" id="{7C303FEA-F757-1806-A43A-F92AD8EFFAA0}"/>
              </a:ext>
            </a:extLst>
          </p:cNvPr>
          <p:cNvCxnSpPr>
            <a:cxnSpLocks/>
          </p:cNvCxnSpPr>
          <p:nvPr userDrawn="1"/>
        </p:nvCxnSpPr>
        <p:spPr>
          <a:xfrm>
            <a:off x="5446990" y="1638300"/>
            <a:ext cx="0" cy="736600"/>
          </a:xfrm>
          <a:prstGeom prst="line">
            <a:avLst/>
          </a:prstGeom>
          <a:noFill/>
          <a:ln w="1905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67" name="Conector recto 12">
            <a:extLst>
              <a:ext uri="{FF2B5EF4-FFF2-40B4-BE49-F238E27FC236}">
                <a16:creationId xmlns:a16="http://schemas.microsoft.com/office/drawing/2014/main" id="{99D8F261-AC8D-6119-7987-E3D660A99BE4}"/>
              </a:ext>
            </a:extLst>
          </p:cNvPr>
          <p:cNvCxnSpPr>
            <a:cxnSpLocks/>
          </p:cNvCxnSpPr>
          <p:nvPr userDrawn="1"/>
        </p:nvCxnSpPr>
        <p:spPr>
          <a:xfrm flipH="1">
            <a:off x="4813300" y="1949774"/>
            <a:ext cx="635000" cy="0"/>
          </a:xfrm>
          <a:prstGeom prst="line">
            <a:avLst/>
          </a:prstGeom>
          <a:noFill/>
          <a:ln w="1905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69" name="Conector recto 12">
            <a:extLst>
              <a:ext uri="{FF2B5EF4-FFF2-40B4-BE49-F238E27FC236}">
                <a16:creationId xmlns:a16="http://schemas.microsoft.com/office/drawing/2014/main" id="{9873C1AA-C277-106C-9E8D-10C6FAE09474}"/>
              </a:ext>
            </a:extLst>
          </p:cNvPr>
          <p:cNvCxnSpPr>
            <a:cxnSpLocks/>
          </p:cNvCxnSpPr>
          <p:nvPr userDrawn="1"/>
        </p:nvCxnSpPr>
        <p:spPr>
          <a:xfrm>
            <a:off x="6437590" y="2984500"/>
            <a:ext cx="0" cy="736600"/>
          </a:xfrm>
          <a:prstGeom prst="line">
            <a:avLst/>
          </a:prstGeom>
          <a:noFill/>
          <a:ln w="1905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0" name="Conector recto 12">
            <a:extLst>
              <a:ext uri="{FF2B5EF4-FFF2-40B4-BE49-F238E27FC236}">
                <a16:creationId xmlns:a16="http://schemas.microsoft.com/office/drawing/2014/main" id="{3A57DE0F-6F0B-2C85-2E0A-F4A36EC17955}"/>
              </a:ext>
            </a:extLst>
          </p:cNvPr>
          <p:cNvCxnSpPr>
            <a:cxnSpLocks/>
          </p:cNvCxnSpPr>
          <p:nvPr userDrawn="1"/>
        </p:nvCxnSpPr>
        <p:spPr>
          <a:xfrm flipH="1">
            <a:off x="5905500" y="3524574"/>
            <a:ext cx="533400" cy="0"/>
          </a:xfrm>
          <a:prstGeom prst="line">
            <a:avLst/>
          </a:prstGeom>
          <a:noFill/>
          <a:ln w="1905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89" name="Marcador de texto 54">
            <a:extLst>
              <a:ext uri="{FF2B5EF4-FFF2-40B4-BE49-F238E27FC236}">
                <a16:creationId xmlns:a16="http://schemas.microsoft.com/office/drawing/2014/main" id="{766A650D-7402-803F-EDB0-57AA23C26791}"/>
              </a:ext>
            </a:extLst>
          </p:cNvPr>
          <p:cNvSpPr>
            <a:spLocks noGrp="1"/>
          </p:cNvSpPr>
          <p:nvPr>
            <p:ph type="body" sz="quarter" idx="51" hasCustomPrompt="1"/>
          </p:nvPr>
        </p:nvSpPr>
        <p:spPr>
          <a:xfrm>
            <a:off x="5589064" y="1648809"/>
            <a:ext cx="4570936" cy="706240"/>
          </a:xfrm>
          <a:prstGeom prst="rect">
            <a:avLst/>
          </a:prstGeom>
        </p:spPr>
        <p:txBody>
          <a:bodyPr/>
          <a:lstStyle>
            <a:lvl1pPr marL="0" indent="0" algn="l">
              <a:spcBef>
                <a:spcPts val="0"/>
              </a:spcBef>
              <a:spcAft>
                <a:spcPts val="300"/>
              </a:spcAft>
              <a:buNone/>
              <a:defRPr lang="es-ES" sz="1200" b="1" kern="1200" smtClean="0">
                <a:solidFill>
                  <a:schemeClr val="tx1"/>
                </a:solidFill>
                <a:latin typeface="+mj-lt"/>
                <a:ea typeface="+mn-ea"/>
                <a:cs typeface="Arial" charset="0"/>
                <a:sym typeface="Arial"/>
              </a:defRPr>
            </a:lvl1pPr>
            <a:lvl2pPr marL="0" indent="0" algn="l">
              <a:lnSpc>
                <a:spcPct val="100000"/>
              </a:lnSpc>
              <a:spcBef>
                <a:spcPts val="0"/>
              </a:spcBef>
              <a:spcAft>
                <a:spcPts val="1200"/>
              </a:spcAft>
              <a:buNone/>
              <a:defRPr sz="1000">
                <a:solidFill>
                  <a:schemeClr val="tx1"/>
                </a:solidFill>
                <a:latin typeface="+mj-lt"/>
              </a:defRPr>
            </a:lvl2pPr>
          </a:lstStyle>
          <a:p>
            <a:pPr lvl="0"/>
            <a:r>
              <a:rPr lang="es-ES"/>
              <a:t>Click </a:t>
            </a:r>
            <a:r>
              <a:rPr lang="es-ES" err="1"/>
              <a:t>to</a:t>
            </a:r>
            <a:r>
              <a:rPr lang="es-ES"/>
              <a:t> </a:t>
            </a:r>
            <a:r>
              <a:rPr lang="es-ES" err="1"/>
              <a:t>add</a:t>
            </a:r>
            <a:r>
              <a:rPr lang="es-ES"/>
              <a:t> </a:t>
            </a:r>
            <a:r>
              <a:rPr lang="es-ES" err="1"/>
              <a:t>text</a:t>
            </a:r>
            <a:endParaRPr lang="es-ES"/>
          </a:p>
          <a:p>
            <a:pPr lvl="1"/>
            <a:r>
              <a:rPr lang="es-ES"/>
              <a:t>Click </a:t>
            </a:r>
            <a:r>
              <a:rPr lang="es-ES" err="1"/>
              <a:t>to</a:t>
            </a:r>
            <a:r>
              <a:rPr lang="es-ES"/>
              <a:t> </a:t>
            </a:r>
            <a:r>
              <a:rPr lang="es-ES" err="1"/>
              <a:t>add</a:t>
            </a:r>
            <a:r>
              <a:rPr lang="es-ES"/>
              <a:t> </a:t>
            </a:r>
            <a:r>
              <a:rPr lang="es-ES" err="1"/>
              <a:t>text</a:t>
            </a:r>
            <a:endParaRPr lang="es-ES"/>
          </a:p>
        </p:txBody>
      </p:sp>
      <p:sp>
        <p:nvSpPr>
          <p:cNvPr id="98" name="Marcador de posición de imagen 97">
            <a:extLst>
              <a:ext uri="{FF2B5EF4-FFF2-40B4-BE49-F238E27FC236}">
                <a16:creationId xmlns:a16="http://schemas.microsoft.com/office/drawing/2014/main" id="{BB9FC49E-B6E1-0A12-B60F-51674A1CF9A6}"/>
              </a:ext>
            </a:extLst>
          </p:cNvPr>
          <p:cNvSpPr>
            <a:spLocks noGrp="1"/>
          </p:cNvSpPr>
          <p:nvPr>
            <p:ph type="pic" sz="quarter" idx="52"/>
          </p:nvPr>
        </p:nvSpPr>
        <p:spPr>
          <a:xfrm>
            <a:off x="10704480" y="1439261"/>
            <a:ext cx="968375" cy="968375"/>
          </a:xfrm>
          <a:prstGeom prst="rect">
            <a:avLst/>
          </a:prstGeom>
        </p:spPr>
        <p:txBody>
          <a:bodyPr/>
          <a:lstStyle>
            <a:lvl1pPr marL="0" indent="0" algn="ctr">
              <a:buNone/>
              <a:defRPr sz="1200">
                <a:solidFill>
                  <a:schemeClr val="tx1"/>
                </a:solidFill>
                <a:latin typeface="+mj-lt"/>
              </a:defRPr>
            </a:lvl1pPr>
          </a:lstStyle>
          <a:p>
            <a:endParaRPr lang="es-ES"/>
          </a:p>
        </p:txBody>
      </p:sp>
      <p:sp>
        <p:nvSpPr>
          <p:cNvPr id="99" name="Marcador de posición de imagen 97">
            <a:extLst>
              <a:ext uri="{FF2B5EF4-FFF2-40B4-BE49-F238E27FC236}">
                <a16:creationId xmlns:a16="http://schemas.microsoft.com/office/drawing/2014/main" id="{6206468D-C256-5962-4310-67A2222DFCCA}"/>
              </a:ext>
            </a:extLst>
          </p:cNvPr>
          <p:cNvSpPr>
            <a:spLocks noGrp="1"/>
          </p:cNvSpPr>
          <p:nvPr>
            <p:ph type="pic" sz="quarter" idx="53"/>
          </p:nvPr>
        </p:nvSpPr>
        <p:spPr>
          <a:xfrm>
            <a:off x="10704480" y="2594961"/>
            <a:ext cx="968375" cy="968375"/>
          </a:xfrm>
          <a:prstGeom prst="rect">
            <a:avLst/>
          </a:prstGeom>
        </p:spPr>
        <p:txBody>
          <a:bodyPr/>
          <a:lstStyle>
            <a:lvl1pPr marL="0" indent="0" algn="ctr">
              <a:buNone/>
              <a:defRPr sz="1200">
                <a:solidFill>
                  <a:schemeClr val="tx1"/>
                </a:solidFill>
                <a:latin typeface="+mj-lt"/>
              </a:defRPr>
            </a:lvl1pPr>
          </a:lstStyle>
          <a:p>
            <a:endParaRPr lang="es-ES"/>
          </a:p>
        </p:txBody>
      </p:sp>
      <p:sp>
        <p:nvSpPr>
          <p:cNvPr id="100" name="Marcador de posición de imagen 97">
            <a:extLst>
              <a:ext uri="{FF2B5EF4-FFF2-40B4-BE49-F238E27FC236}">
                <a16:creationId xmlns:a16="http://schemas.microsoft.com/office/drawing/2014/main" id="{B4CA416E-7968-D4E5-7771-FD99A9E35C33}"/>
              </a:ext>
            </a:extLst>
          </p:cNvPr>
          <p:cNvSpPr>
            <a:spLocks noGrp="1"/>
          </p:cNvSpPr>
          <p:nvPr>
            <p:ph type="pic" sz="quarter" idx="54"/>
          </p:nvPr>
        </p:nvSpPr>
        <p:spPr>
          <a:xfrm>
            <a:off x="10704480" y="3699861"/>
            <a:ext cx="968375" cy="968375"/>
          </a:xfrm>
          <a:prstGeom prst="rect">
            <a:avLst/>
          </a:prstGeom>
        </p:spPr>
        <p:txBody>
          <a:bodyPr/>
          <a:lstStyle>
            <a:lvl1pPr marL="0" indent="0" algn="ctr">
              <a:buNone/>
              <a:defRPr sz="1200">
                <a:solidFill>
                  <a:schemeClr val="tx1"/>
                </a:solidFill>
                <a:latin typeface="+mj-lt"/>
              </a:defRPr>
            </a:lvl1pPr>
          </a:lstStyle>
          <a:p>
            <a:endParaRPr lang="es-ES"/>
          </a:p>
        </p:txBody>
      </p:sp>
      <p:sp>
        <p:nvSpPr>
          <p:cNvPr id="101" name="Marcador de posición de imagen 97">
            <a:extLst>
              <a:ext uri="{FF2B5EF4-FFF2-40B4-BE49-F238E27FC236}">
                <a16:creationId xmlns:a16="http://schemas.microsoft.com/office/drawing/2014/main" id="{74E9F587-56F1-4818-6D43-244F83526C4B}"/>
              </a:ext>
            </a:extLst>
          </p:cNvPr>
          <p:cNvSpPr>
            <a:spLocks noGrp="1"/>
          </p:cNvSpPr>
          <p:nvPr>
            <p:ph type="pic" sz="quarter" idx="55"/>
          </p:nvPr>
        </p:nvSpPr>
        <p:spPr>
          <a:xfrm>
            <a:off x="10704480" y="4855561"/>
            <a:ext cx="968375" cy="968375"/>
          </a:xfrm>
          <a:prstGeom prst="rect">
            <a:avLst/>
          </a:prstGeom>
        </p:spPr>
        <p:txBody>
          <a:bodyPr/>
          <a:lstStyle>
            <a:lvl1pPr marL="0" indent="0" algn="ctr">
              <a:buNone/>
              <a:defRPr sz="1200">
                <a:solidFill>
                  <a:schemeClr val="tx1"/>
                </a:solidFill>
                <a:latin typeface="+mj-lt"/>
              </a:defRPr>
            </a:lvl1pPr>
          </a:lstStyle>
          <a:p>
            <a:endParaRPr lang="es-ES"/>
          </a:p>
        </p:txBody>
      </p:sp>
      <p:sp>
        <p:nvSpPr>
          <p:cNvPr id="18" name="Marcador de número de diapositiva 5">
            <a:extLst>
              <a:ext uri="{FF2B5EF4-FFF2-40B4-BE49-F238E27FC236}">
                <a16:creationId xmlns:a16="http://schemas.microsoft.com/office/drawing/2014/main" id="{4388E1E8-2602-7287-BAC8-A4BDEBB902F2}"/>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19" name="Footnotes">
            <a:extLst>
              <a:ext uri="{FF2B5EF4-FFF2-40B4-BE49-F238E27FC236}">
                <a16:creationId xmlns:a16="http://schemas.microsoft.com/office/drawing/2014/main" id="{09A95C6C-B9B6-32D9-374C-12552D9E0CF6}"/>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FB4667C6-D6F8-6065-EA91-733B3E768CF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10" name="Título 1">
            <a:extLst>
              <a:ext uri="{FF2B5EF4-FFF2-40B4-BE49-F238E27FC236}">
                <a16:creationId xmlns:a16="http://schemas.microsoft.com/office/drawing/2014/main" id="{51C2806F-A402-E478-12E9-097816E41D07}"/>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16" name="Marcador de texto 14">
            <a:extLst>
              <a:ext uri="{FF2B5EF4-FFF2-40B4-BE49-F238E27FC236}">
                <a16:creationId xmlns:a16="http://schemas.microsoft.com/office/drawing/2014/main" id="{D4BFAC67-A901-0EA0-C3E2-5E90299C6D88}"/>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54880393-809B-963E-5162-37F20EE70FC5}"/>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14483317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5_Header &amp; Content ">
    <p:spTree>
      <p:nvGrpSpPr>
        <p:cNvPr id="1" name=""/>
        <p:cNvGrpSpPr/>
        <p:nvPr/>
      </p:nvGrpSpPr>
      <p:grpSpPr>
        <a:xfrm>
          <a:off x="0" y="0"/>
          <a:ext cx="0" cy="0"/>
          <a:chOff x="0" y="0"/>
          <a:chExt cx="0" cy="0"/>
        </a:xfrm>
      </p:grpSpPr>
      <p:sp>
        <p:nvSpPr>
          <p:cNvPr id="40" name="CuadroTexto 286">
            <a:extLst>
              <a:ext uri="{FF2B5EF4-FFF2-40B4-BE49-F238E27FC236}">
                <a16:creationId xmlns:a16="http://schemas.microsoft.com/office/drawing/2014/main" id="{A542B2A2-76C9-955C-891D-A6CCB7222971}"/>
              </a:ext>
            </a:extLst>
          </p:cNvPr>
          <p:cNvSpPr txBox="1"/>
          <p:nvPr userDrawn="1"/>
        </p:nvSpPr>
        <p:spPr>
          <a:xfrm>
            <a:off x="3546872" y="2646090"/>
            <a:ext cx="5126088" cy="307777"/>
          </a:xfrm>
          <a:prstGeom prst="rect">
            <a:avLst/>
          </a:prstGeom>
          <a:noFill/>
        </p:spPr>
        <p:txBody>
          <a:bodyPr wrap="square" rtlCol="0">
            <a:spAutoFit/>
          </a:bodyPr>
          <a:lstStyle/>
          <a:p>
            <a:pPr algn="ctr" defTabSz="895350">
              <a:spcBef>
                <a:spcPts val="300"/>
              </a:spcBef>
              <a:spcAft>
                <a:spcPts val="300"/>
              </a:spcAft>
            </a:pPr>
            <a:r>
              <a:rPr lang="en-US" sz="1400" b="1">
                <a:solidFill>
                  <a:srgbClr val="FFFFFF"/>
                </a:solidFill>
                <a:latin typeface="+mj-lt"/>
              </a:rPr>
              <a:t>Sample Name</a:t>
            </a:r>
            <a:endParaRPr lang="en-US" sz="1050">
              <a:solidFill>
                <a:srgbClr val="FFFFFF"/>
              </a:solidFill>
              <a:latin typeface="+mj-lt"/>
            </a:endParaRPr>
          </a:p>
        </p:txBody>
      </p:sp>
      <p:sp>
        <p:nvSpPr>
          <p:cNvPr id="80" name="Text Placeholder 79">
            <a:extLst>
              <a:ext uri="{FF2B5EF4-FFF2-40B4-BE49-F238E27FC236}">
                <a16:creationId xmlns:a16="http://schemas.microsoft.com/office/drawing/2014/main" id="{3FEA73A8-07C3-4AF8-2D4B-716D427A7461}"/>
              </a:ext>
            </a:extLst>
          </p:cNvPr>
          <p:cNvSpPr>
            <a:spLocks noGrp="1"/>
          </p:cNvSpPr>
          <p:nvPr>
            <p:ph type="body" sz="quarter" idx="46"/>
          </p:nvPr>
        </p:nvSpPr>
        <p:spPr>
          <a:xfrm>
            <a:off x="1760572" y="5354638"/>
            <a:ext cx="8670854" cy="330938"/>
          </a:xfrm>
          <a:prstGeom prst="rect">
            <a:avLst/>
          </a:prstGeom>
          <a:solidFill>
            <a:schemeClr val="accent2"/>
          </a:solidFill>
        </p:spPr>
        <p:txBody>
          <a:bodyPr anchor="ctr"/>
          <a:lstStyle>
            <a:lvl1pPr marL="0" indent="0" algn="ctr">
              <a:buNone/>
              <a:defRPr sz="1200">
                <a:solidFill>
                  <a:schemeClr val="bg1"/>
                </a:solidFill>
                <a:latin typeface="+mj-lt"/>
              </a:defRPr>
            </a:lvl1pPr>
            <a:lvl2pPr marL="457200" indent="0">
              <a:buNone/>
              <a:defRPr/>
            </a:lvl2pPr>
          </a:lstStyle>
          <a:p>
            <a:pPr lvl="0"/>
            <a:r>
              <a:rPr lang="en-GB"/>
              <a:t>Click to edit Master text styles</a:t>
            </a:r>
          </a:p>
        </p:txBody>
      </p:sp>
      <p:sp>
        <p:nvSpPr>
          <p:cNvPr id="81" name="Text Placeholder 79">
            <a:extLst>
              <a:ext uri="{FF2B5EF4-FFF2-40B4-BE49-F238E27FC236}">
                <a16:creationId xmlns:a16="http://schemas.microsoft.com/office/drawing/2014/main" id="{869A835F-99AF-902C-6386-C11FC33327A4}"/>
              </a:ext>
            </a:extLst>
          </p:cNvPr>
          <p:cNvSpPr>
            <a:spLocks noGrp="1"/>
          </p:cNvSpPr>
          <p:nvPr>
            <p:ph type="body" sz="quarter" idx="47"/>
          </p:nvPr>
        </p:nvSpPr>
        <p:spPr>
          <a:xfrm>
            <a:off x="2409438" y="5028713"/>
            <a:ext cx="7373123" cy="330938"/>
          </a:xfrm>
          <a:prstGeom prst="rect">
            <a:avLst/>
          </a:prstGeom>
          <a:solidFill>
            <a:schemeClr val="accent3"/>
          </a:solidFill>
        </p:spPr>
        <p:txBody>
          <a:bodyPr anchor="ctr"/>
          <a:lstStyle>
            <a:lvl1pPr marL="0" indent="0" algn="ctr">
              <a:buNone/>
              <a:defRPr sz="1200">
                <a:solidFill>
                  <a:schemeClr val="bg1"/>
                </a:solidFill>
                <a:latin typeface="+mj-lt"/>
              </a:defRPr>
            </a:lvl1pPr>
            <a:lvl2pPr marL="457200" indent="0">
              <a:buNone/>
              <a:defRPr/>
            </a:lvl2pPr>
          </a:lstStyle>
          <a:p>
            <a:pPr lvl="0"/>
            <a:r>
              <a:rPr lang="en-GB"/>
              <a:t>Click to edit Master text styles</a:t>
            </a:r>
          </a:p>
        </p:txBody>
      </p:sp>
      <p:sp>
        <p:nvSpPr>
          <p:cNvPr id="82" name="Text Placeholder 79">
            <a:extLst>
              <a:ext uri="{FF2B5EF4-FFF2-40B4-BE49-F238E27FC236}">
                <a16:creationId xmlns:a16="http://schemas.microsoft.com/office/drawing/2014/main" id="{45B1BDDD-16D0-B6AD-D3D5-5615293E36A0}"/>
              </a:ext>
            </a:extLst>
          </p:cNvPr>
          <p:cNvSpPr>
            <a:spLocks noGrp="1"/>
          </p:cNvSpPr>
          <p:nvPr>
            <p:ph type="body" sz="quarter" idx="48"/>
          </p:nvPr>
        </p:nvSpPr>
        <p:spPr>
          <a:xfrm>
            <a:off x="2744110" y="4684681"/>
            <a:ext cx="6703779" cy="330938"/>
          </a:xfrm>
          <a:prstGeom prst="rect">
            <a:avLst/>
          </a:prstGeom>
          <a:solidFill>
            <a:schemeClr val="accent4">
              <a:alpha val="60000"/>
            </a:schemeClr>
          </a:solidFill>
        </p:spPr>
        <p:txBody>
          <a:bodyPr anchor="ctr"/>
          <a:lstStyle>
            <a:lvl1pPr marL="0" indent="0" algn="ctr">
              <a:buNone/>
              <a:defRPr sz="1200">
                <a:solidFill>
                  <a:schemeClr val="bg1"/>
                </a:solidFill>
                <a:latin typeface="+mj-lt"/>
              </a:defRPr>
            </a:lvl1pPr>
            <a:lvl2pPr marL="457200" indent="0">
              <a:buNone/>
              <a:defRPr/>
            </a:lvl2pPr>
          </a:lstStyle>
          <a:p>
            <a:pPr lvl="0"/>
            <a:r>
              <a:rPr lang="en-GB"/>
              <a:t>Click to edit Master text styles</a:t>
            </a:r>
          </a:p>
        </p:txBody>
      </p:sp>
      <p:sp>
        <p:nvSpPr>
          <p:cNvPr id="85" name="Text Placeholder 84">
            <a:extLst>
              <a:ext uri="{FF2B5EF4-FFF2-40B4-BE49-F238E27FC236}">
                <a16:creationId xmlns:a16="http://schemas.microsoft.com/office/drawing/2014/main" id="{399E9F3B-5514-C35B-1523-43886091FDAD}"/>
              </a:ext>
            </a:extLst>
          </p:cNvPr>
          <p:cNvSpPr>
            <a:spLocks noGrp="1"/>
          </p:cNvSpPr>
          <p:nvPr>
            <p:ph type="body" sz="quarter" idx="49"/>
          </p:nvPr>
        </p:nvSpPr>
        <p:spPr>
          <a:xfrm rot="16200000">
            <a:off x="5692210" y="-937099"/>
            <a:ext cx="807581" cy="6393698"/>
          </a:xfrm>
          <a:prstGeom prst="homePlate">
            <a:avLst>
              <a:gd name="adj" fmla="val 71300"/>
            </a:avLst>
          </a:prstGeom>
          <a:solidFill>
            <a:schemeClr val="accent2"/>
          </a:solidFill>
        </p:spPr>
        <p:txBody>
          <a:bodyPr vert="vert"/>
          <a:lstStyle>
            <a:lvl1pPr marL="0" indent="0" algn="ctr">
              <a:buNone/>
              <a:defRPr lang="en-GB" sz="1400" b="1" kern="1200" dirty="0" smtClean="0">
                <a:solidFill>
                  <a:schemeClr val="bg1"/>
                </a:solidFill>
                <a:latin typeface="+mj-lt"/>
                <a:ea typeface="+mn-ea"/>
                <a:cs typeface="+mn-cs"/>
              </a:defRPr>
            </a:lvl1pPr>
            <a:lvl2pPr marL="457200" indent="0" algn="ctr">
              <a:buNone/>
              <a:defRPr/>
            </a:lvl2pPr>
            <a:lvl3pPr algn="ctr">
              <a:defRPr/>
            </a:lvl3pPr>
            <a:lvl4pPr algn="ctr">
              <a:defRPr/>
            </a:lvl4pPr>
            <a:lvl5pPr algn="ctr">
              <a:defRPr/>
            </a:lvl5pPr>
          </a:lstStyle>
          <a:p>
            <a:pPr lvl="0"/>
            <a:r>
              <a:rPr lang="en-GB"/>
              <a:t>Click to edit Master text styles</a:t>
            </a:r>
          </a:p>
        </p:txBody>
      </p:sp>
      <p:sp>
        <p:nvSpPr>
          <p:cNvPr id="87" name="Text Placeholder 86">
            <a:extLst>
              <a:ext uri="{FF2B5EF4-FFF2-40B4-BE49-F238E27FC236}">
                <a16:creationId xmlns:a16="http://schemas.microsoft.com/office/drawing/2014/main" id="{55840519-B969-8A68-B5CC-213791238E0B}"/>
              </a:ext>
            </a:extLst>
          </p:cNvPr>
          <p:cNvSpPr>
            <a:spLocks noGrp="1"/>
          </p:cNvSpPr>
          <p:nvPr>
            <p:ph type="body" sz="quarter" idx="50" hasCustomPrompt="1"/>
          </p:nvPr>
        </p:nvSpPr>
        <p:spPr>
          <a:xfrm>
            <a:off x="3105263" y="2653410"/>
            <a:ext cx="1412417" cy="481653"/>
          </a:xfrm>
          <a:prstGeom prst="rect">
            <a:avLst/>
          </a:prstGeom>
          <a:solidFill>
            <a:srgbClr val="60001D"/>
          </a:solidFill>
        </p:spPr>
        <p:txBody>
          <a:bodyPr lIns="144000" tIns="72000" rIns="72000" bIns="72000" anchor="ctr"/>
          <a:lstStyle>
            <a:lvl1pPr marL="0" indent="0" algn="l">
              <a:lnSpc>
                <a:spcPct val="100000"/>
              </a:lnSpc>
              <a:buNone/>
              <a:defRPr sz="2400" b="1">
                <a:solidFill>
                  <a:schemeClr val="bg1"/>
                </a:solidFill>
                <a:latin typeface="+mj-lt"/>
              </a:defRPr>
            </a:lvl1pPr>
            <a:lvl2pPr marL="457200" indent="0" algn="ctr">
              <a:buNone/>
              <a:defRPr b="1">
                <a:solidFill>
                  <a:schemeClr val="bg1"/>
                </a:solidFill>
              </a:defRPr>
            </a:lvl2pPr>
            <a:lvl3pPr marL="914400" indent="0" algn="ctr">
              <a:buNone/>
              <a:defRPr b="1">
                <a:solidFill>
                  <a:schemeClr val="bg1"/>
                </a:solidFill>
              </a:defRPr>
            </a:lvl3pPr>
            <a:lvl4pPr marL="1371600" indent="0" algn="ctr">
              <a:buNone/>
              <a:defRPr b="1">
                <a:solidFill>
                  <a:schemeClr val="bg1"/>
                </a:solidFill>
              </a:defRPr>
            </a:lvl4pPr>
            <a:lvl5pPr marL="1828800" indent="0" algn="ctr">
              <a:buNone/>
              <a:defRPr b="1">
                <a:solidFill>
                  <a:schemeClr val="bg1"/>
                </a:solidFill>
              </a:defRPr>
            </a:lvl5pPr>
          </a:lstStyle>
          <a:p>
            <a:pPr lvl="0"/>
            <a:r>
              <a:rPr lang="en-GB"/>
              <a:t>#</a:t>
            </a:r>
          </a:p>
        </p:txBody>
      </p:sp>
      <p:sp>
        <p:nvSpPr>
          <p:cNvPr id="88" name="Text Placeholder 86">
            <a:extLst>
              <a:ext uri="{FF2B5EF4-FFF2-40B4-BE49-F238E27FC236}">
                <a16:creationId xmlns:a16="http://schemas.microsoft.com/office/drawing/2014/main" id="{1CFF2CAD-B4A3-69B4-0B79-C8FBF07F71D9}"/>
              </a:ext>
            </a:extLst>
          </p:cNvPr>
          <p:cNvSpPr>
            <a:spLocks noGrp="1"/>
          </p:cNvSpPr>
          <p:nvPr>
            <p:ph type="body" sz="quarter" idx="51" hasCustomPrompt="1"/>
          </p:nvPr>
        </p:nvSpPr>
        <p:spPr>
          <a:xfrm>
            <a:off x="4656423" y="2653410"/>
            <a:ext cx="1412417" cy="481653"/>
          </a:xfrm>
          <a:prstGeom prst="rect">
            <a:avLst/>
          </a:prstGeom>
          <a:solidFill>
            <a:srgbClr val="8C0014"/>
          </a:solidFill>
        </p:spPr>
        <p:txBody>
          <a:bodyPr lIns="144000" tIns="72000" rIns="72000" bIns="72000" anchor="ctr"/>
          <a:lstStyle>
            <a:lvl1pPr marL="0" indent="0" algn="l">
              <a:lnSpc>
                <a:spcPct val="100000"/>
              </a:lnSpc>
              <a:buNone/>
              <a:defRPr sz="2400" b="1">
                <a:solidFill>
                  <a:schemeClr val="bg1"/>
                </a:solidFill>
                <a:latin typeface="+mj-lt"/>
              </a:defRPr>
            </a:lvl1pPr>
            <a:lvl2pPr marL="457200" indent="0" algn="ctr">
              <a:buNone/>
              <a:defRPr b="1">
                <a:solidFill>
                  <a:schemeClr val="bg1"/>
                </a:solidFill>
              </a:defRPr>
            </a:lvl2pPr>
            <a:lvl3pPr marL="914400" indent="0" algn="ctr">
              <a:buNone/>
              <a:defRPr b="1">
                <a:solidFill>
                  <a:schemeClr val="bg1"/>
                </a:solidFill>
              </a:defRPr>
            </a:lvl3pPr>
            <a:lvl4pPr marL="1371600" indent="0" algn="ctr">
              <a:buNone/>
              <a:defRPr b="1">
                <a:solidFill>
                  <a:schemeClr val="bg1"/>
                </a:solidFill>
              </a:defRPr>
            </a:lvl4pPr>
            <a:lvl5pPr marL="1828800" indent="0" algn="ctr">
              <a:buNone/>
              <a:defRPr b="1">
                <a:solidFill>
                  <a:schemeClr val="bg1"/>
                </a:solidFill>
              </a:defRPr>
            </a:lvl5pPr>
          </a:lstStyle>
          <a:p>
            <a:pPr lvl="0"/>
            <a:r>
              <a:rPr lang="en-GB"/>
              <a:t>#</a:t>
            </a:r>
          </a:p>
        </p:txBody>
      </p:sp>
      <p:sp>
        <p:nvSpPr>
          <p:cNvPr id="90" name="Text Placeholder 86">
            <a:extLst>
              <a:ext uri="{FF2B5EF4-FFF2-40B4-BE49-F238E27FC236}">
                <a16:creationId xmlns:a16="http://schemas.microsoft.com/office/drawing/2014/main" id="{6A3E26FB-B7F7-2A27-F40B-B3404F8A6054}"/>
              </a:ext>
            </a:extLst>
          </p:cNvPr>
          <p:cNvSpPr>
            <a:spLocks noGrp="1"/>
          </p:cNvSpPr>
          <p:nvPr>
            <p:ph type="body" sz="quarter" idx="52" hasCustomPrompt="1"/>
          </p:nvPr>
        </p:nvSpPr>
        <p:spPr>
          <a:xfrm>
            <a:off x="6207583" y="2653410"/>
            <a:ext cx="1412417" cy="481653"/>
          </a:xfrm>
          <a:prstGeom prst="rect">
            <a:avLst/>
          </a:prstGeom>
          <a:solidFill>
            <a:srgbClr val="EC0000"/>
          </a:solidFill>
        </p:spPr>
        <p:txBody>
          <a:bodyPr lIns="144000" tIns="72000" rIns="72000" bIns="72000" anchor="ctr"/>
          <a:lstStyle>
            <a:lvl1pPr marL="0" indent="0" algn="l">
              <a:lnSpc>
                <a:spcPct val="100000"/>
              </a:lnSpc>
              <a:buNone/>
              <a:defRPr sz="2400" b="1">
                <a:solidFill>
                  <a:schemeClr val="bg1"/>
                </a:solidFill>
                <a:latin typeface="+mj-lt"/>
              </a:defRPr>
            </a:lvl1pPr>
            <a:lvl2pPr marL="457200" indent="0" algn="ctr">
              <a:buNone/>
              <a:defRPr b="1">
                <a:solidFill>
                  <a:schemeClr val="bg1"/>
                </a:solidFill>
              </a:defRPr>
            </a:lvl2pPr>
            <a:lvl3pPr marL="914400" indent="0" algn="ctr">
              <a:buNone/>
              <a:defRPr b="1">
                <a:solidFill>
                  <a:schemeClr val="bg1"/>
                </a:solidFill>
              </a:defRPr>
            </a:lvl3pPr>
            <a:lvl4pPr marL="1371600" indent="0" algn="ctr">
              <a:buNone/>
              <a:defRPr b="1">
                <a:solidFill>
                  <a:schemeClr val="bg1"/>
                </a:solidFill>
              </a:defRPr>
            </a:lvl4pPr>
            <a:lvl5pPr marL="1828800" indent="0" algn="ctr">
              <a:buNone/>
              <a:defRPr b="1">
                <a:solidFill>
                  <a:schemeClr val="bg1"/>
                </a:solidFill>
              </a:defRPr>
            </a:lvl5pPr>
          </a:lstStyle>
          <a:p>
            <a:pPr lvl="0"/>
            <a:r>
              <a:rPr lang="en-GB"/>
              <a:t>#</a:t>
            </a:r>
          </a:p>
        </p:txBody>
      </p:sp>
      <p:sp>
        <p:nvSpPr>
          <p:cNvPr id="91" name="Text Placeholder 86">
            <a:extLst>
              <a:ext uri="{FF2B5EF4-FFF2-40B4-BE49-F238E27FC236}">
                <a16:creationId xmlns:a16="http://schemas.microsoft.com/office/drawing/2014/main" id="{33DAF0A8-C018-B4B6-319D-79A49D49F9FE}"/>
              </a:ext>
            </a:extLst>
          </p:cNvPr>
          <p:cNvSpPr>
            <a:spLocks noGrp="1"/>
          </p:cNvSpPr>
          <p:nvPr>
            <p:ph type="body" sz="quarter" idx="53" hasCustomPrompt="1"/>
          </p:nvPr>
        </p:nvSpPr>
        <p:spPr>
          <a:xfrm>
            <a:off x="7758743" y="2653410"/>
            <a:ext cx="1412340" cy="481653"/>
          </a:xfrm>
          <a:prstGeom prst="rect">
            <a:avLst/>
          </a:prstGeom>
          <a:solidFill>
            <a:srgbClr val="CCB8A3"/>
          </a:solidFill>
        </p:spPr>
        <p:txBody>
          <a:bodyPr lIns="144000" tIns="72000" rIns="72000" bIns="72000" anchor="ctr"/>
          <a:lstStyle>
            <a:lvl1pPr marL="0" indent="0" algn="l">
              <a:lnSpc>
                <a:spcPct val="100000"/>
              </a:lnSpc>
              <a:buNone/>
              <a:defRPr sz="2400" b="1">
                <a:solidFill>
                  <a:schemeClr val="bg1"/>
                </a:solidFill>
                <a:latin typeface="+mj-lt"/>
              </a:defRPr>
            </a:lvl1pPr>
            <a:lvl2pPr marL="457200" indent="0" algn="ctr">
              <a:buNone/>
              <a:defRPr b="1">
                <a:solidFill>
                  <a:schemeClr val="bg1"/>
                </a:solidFill>
              </a:defRPr>
            </a:lvl2pPr>
            <a:lvl3pPr marL="914400" indent="0" algn="ctr">
              <a:buNone/>
              <a:defRPr b="1">
                <a:solidFill>
                  <a:schemeClr val="bg1"/>
                </a:solidFill>
              </a:defRPr>
            </a:lvl3pPr>
            <a:lvl4pPr marL="1371600" indent="0" algn="ctr">
              <a:buNone/>
              <a:defRPr b="1">
                <a:solidFill>
                  <a:schemeClr val="bg1"/>
                </a:solidFill>
              </a:defRPr>
            </a:lvl4pPr>
            <a:lvl5pPr marL="1828800" indent="0" algn="ctr">
              <a:buNone/>
              <a:defRPr b="1">
                <a:solidFill>
                  <a:schemeClr val="bg1"/>
                </a:solidFill>
              </a:defRPr>
            </a:lvl5pPr>
          </a:lstStyle>
          <a:p>
            <a:pPr lvl="0"/>
            <a:r>
              <a:rPr lang="en-GB"/>
              <a:t>#</a:t>
            </a:r>
          </a:p>
        </p:txBody>
      </p:sp>
      <p:sp>
        <p:nvSpPr>
          <p:cNvPr id="93" name="Text Placeholder 92">
            <a:extLst>
              <a:ext uri="{FF2B5EF4-FFF2-40B4-BE49-F238E27FC236}">
                <a16:creationId xmlns:a16="http://schemas.microsoft.com/office/drawing/2014/main" id="{32A65FD0-CA59-189F-7BE7-219EBEBE3518}"/>
              </a:ext>
            </a:extLst>
          </p:cNvPr>
          <p:cNvSpPr>
            <a:spLocks noGrp="1"/>
          </p:cNvSpPr>
          <p:nvPr>
            <p:ph type="body" sz="quarter" idx="54"/>
          </p:nvPr>
        </p:nvSpPr>
        <p:spPr>
          <a:xfrm>
            <a:off x="3105263" y="3142119"/>
            <a:ext cx="1412417" cy="1529469"/>
          </a:xfrm>
          <a:prstGeom prst="rect">
            <a:avLst/>
          </a:prstGeom>
          <a:solidFill>
            <a:schemeClr val="bg1">
              <a:lumMod val="95000"/>
            </a:schemeClr>
          </a:solidFill>
        </p:spPr>
        <p:txBody>
          <a:bodyPr lIns="108000" tIns="108000" rIns="108000" bIns="108000"/>
          <a:lstStyle>
            <a:lvl1pPr marL="0" indent="0">
              <a:buNone/>
              <a:defRPr sz="1200" b="1">
                <a:latin typeface="+mj-lt"/>
              </a:defRPr>
            </a:lvl1pPr>
            <a:lvl2pPr marL="0" indent="0">
              <a:buNone/>
              <a:defRPr sz="1100">
                <a:latin typeface="+mj-lt"/>
              </a:defRPr>
            </a:lvl2pPr>
          </a:lstStyle>
          <a:p>
            <a:pPr lvl="0"/>
            <a:r>
              <a:rPr lang="en-GB"/>
              <a:t>Click to edit Master text styles</a:t>
            </a:r>
          </a:p>
          <a:p>
            <a:pPr lvl="1"/>
            <a:r>
              <a:rPr lang="en-GB"/>
              <a:t>Second level</a:t>
            </a:r>
          </a:p>
        </p:txBody>
      </p:sp>
      <p:sp>
        <p:nvSpPr>
          <p:cNvPr id="94" name="Text Placeholder 92">
            <a:extLst>
              <a:ext uri="{FF2B5EF4-FFF2-40B4-BE49-F238E27FC236}">
                <a16:creationId xmlns:a16="http://schemas.microsoft.com/office/drawing/2014/main" id="{1065E0AA-C682-4BB7-CFC8-7A8B941D9F35}"/>
              </a:ext>
            </a:extLst>
          </p:cNvPr>
          <p:cNvSpPr>
            <a:spLocks noGrp="1"/>
          </p:cNvSpPr>
          <p:nvPr>
            <p:ph type="body" sz="quarter" idx="55"/>
          </p:nvPr>
        </p:nvSpPr>
        <p:spPr>
          <a:xfrm>
            <a:off x="4653328" y="3142119"/>
            <a:ext cx="1412417" cy="1529469"/>
          </a:xfrm>
          <a:prstGeom prst="rect">
            <a:avLst/>
          </a:prstGeom>
          <a:solidFill>
            <a:schemeClr val="bg1">
              <a:lumMod val="95000"/>
            </a:schemeClr>
          </a:solidFill>
        </p:spPr>
        <p:txBody>
          <a:bodyPr lIns="108000" tIns="108000" rIns="108000" bIns="108000"/>
          <a:lstStyle>
            <a:lvl1pPr marL="0" indent="0">
              <a:buNone/>
              <a:defRPr sz="1200" b="1">
                <a:latin typeface="+mj-lt"/>
              </a:defRPr>
            </a:lvl1pPr>
            <a:lvl2pPr marL="0" indent="0">
              <a:buNone/>
              <a:defRPr sz="1100">
                <a:latin typeface="+mj-lt"/>
              </a:defRPr>
            </a:lvl2pPr>
          </a:lstStyle>
          <a:p>
            <a:pPr lvl="0"/>
            <a:r>
              <a:rPr lang="en-GB"/>
              <a:t>Click to edit Master text styles</a:t>
            </a:r>
          </a:p>
          <a:p>
            <a:pPr lvl="1"/>
            <a:r>
              <a:rPr lang="en-GB"/>
              <a:t>Second level</a:t>
            </a:r>
          </a:p>
        </p:txBody>
      </p:sp>
      <p:sp>
        <p:nvSpPr>
          <p:cNvPr id="95" name="Text Placeholder 92">
            <a:extLst>
              <a:ext uri="{FF2B5EF4-FFF2-40B4-BE49-F238E27FC236}">
                <a16:creationId xmlns:a16="http://schemas.microsoft.com/office/drawing/2014/main" id="{66DD3A9E-C6F7-E0C6-4944-E34099D442BC}"/>
              </a:ext>
            </a:extLst>
          </p:cNvPr>
          <p:cNvSpPr>
            <a:spLocks noGrp="1"/>
          </p:cNvSpPr>
          <p:nvPr>
            <p:ph type="body" sz="quarter" idx="56"/>
          </p:nvPr>
        </p:nvSpPr>
        <p:spPr>
          <a:xfrm>
            <a:off x="6210601" y="3142119"/>
            <a:ext cx="1412417" cy="1529469"/>
          </a:xfrm>
          <a:prstGeom prst="rect">
            <a:avLst/>
          </a:prstGeom>
          <a:solidFill>
            <a:schemeClr val="bg1">
              <a:lumMod val="95000"/>
            </a:schemeClr>
          </a:solidFill>
        </p:spPr>
        <p:txBody>
          <a:bodyPr lIns="108000" tIns="108000" rIns="108000" bIns="108000"/>
          <a:lstStyle>
            <a:lvl1pPr marL="0" indent="0">
              <a:buNone/>
              <a:defRPr sz="1200" b="1">
                <a:latin typeface="+mj-lt"/>
              </a:defRPr>
            </a:lvl1pPr>
            <a:lvl2pPr marL="0" indent="0">
              <a:buNone/>
              <a:defRPr sz="1100">
                <a:latin typeface="+mj-lt"/>
              </a:defRPr>
            </a:lvl2pPr>
          </a:lstStyle>
          <a:p>
            <a:pPr lvl="0"/>
            <a:r>
              <a:rPr lang="en-GB"/>
              <a:t>Click to edit Master text styles</a:t>
            </a:r>
          </a:p>
          <a:p>
            <a:pPr lvl="1"/>
            <a:r>
              <a:rPr lang="en-GB"/>
              <a:t>Second level</a:t>
            </a:r>
          </a:p>
        </p:txBody>
      </p:sp>
      <p:sp>
        <p:nvSpPr>
          <p:cNvPr id="96" name="Text Placeholder 92">
            <a:extLst>
              <a:ext uri="{FF2B5EF4-FFF2-40B4-BE49-F238E27FC236}">
                <a16:creationId xmlns:a16="http://schemas.microsoft.com/office/drawing/2014/main" id="{762FB03D-4B22-BA46-2DF3-831CDE0E1CFA}"/>
              </a:ext>
            </a:extLst>
          </p:cNvPr>
          <p:cNvSpPr>
            <a:spLocks noGrp="1"/>
          </p:cNvSpPr>
          <p:nvPr>
            <p:ph type="body" sz="quarter" idx="57"/>
          </p:nvPr>
        </p:nvSpPr>
        <p:spPr>
          <a:xfrm>
            <a:off x="7758666" y="3142119"/>
            <a:ext cx="1412417" cy="1529469"/>
          </a:xfrm>
          <a:prstGeom prst="rect">
            <a:avLst/>
          </a:prstGeom>
          <a:solidFill>
            <a:schemeClr val="bg1">
              <a:lumMod val="95000"/>
            </a:schemeClr>
          </a:solidFill>
        </p:spPr>
        <p:txBody>
          <a:bodyPr lIns="108000" tIns="108000" rIns="108000" bIns="108000"/>
          <a:lstStyle>
            <a:lvl1pPr marL="0" indent="0">
              <a:buNone/>
              <a:defRPr sz="1200" b="1">
                <a:latin typeface="+mj-lt"/>
              </a:defRPr>
            </a:lvl1pPr>
            <a:lvl2pPr marL="0" indent="0">
              <a:buNone/>
              <a:defRPr sz="1100">
                <a:latin typeface="+mj-lt"/>
              </a:defRPr>
            </a:lvl2pPr>
          </a:lstStyle>
          <a:p>
            <a:pPr lvl="0"/>
            <a:r>
              <a:rPr lang="en-GB"/>
              <a:t>Click to edit Master text styles</a:t>
            </a:r>
          </a:p>
          <a:p>
            <a:pPr lvl="1"/>
            <a:r>
              <a:rPr lang="en-GB"/>
              <a:t>Second level</a:t>
            </a:r>
          </a:p>
        </p:txBody>
      </p:sp>
      <p:sp>
        <p:nvSpPr>
          <p:cNvPr id="5" name="Marcador de número de diapositiva 5">
            <a:extLst>
              <a:ext uri="{FF2B5EF4-FFF2-40B4-BE49-F238E27FC236}">
                <a16:creationId xmlns:a16="http://schemas.microsoft.com/office/drawing/2014/main" id="{6E5DDB31-A9EC-2A91-A1D4-9A811621648E}"/>
              </a:ext>
            </a:extLst>
          </p:cNvPr>
          <p:cNvSpPr txBox="1">
            <a:spLocks/>
          </p:cNvSpPr>
          <p:nvPr userDrawn="1"/>
        </p:nvSpPr>
        <p:spPr>
          <a:xfrm>
            <a:off x="11302999" y="6273381"/>
            <a:ext cx="475845" cy="365125"/>
          </a:xfrm>
          <a:prstGeom prst="rect">
            <a:avLst/>
          </a:prstGeom>
        </p:spPr>
        <p:txBody>
          <a:bodyPr vert="horz" lIns="91440" tIns="45720" rIns="91440" bIns="45720" rtlCol="0" anchor="ctr"/>
          <a:lstStyle>
            <a:defPPr>
              <a:defRPr lang="en-US"/>
            </a:defPPr>
            <a:lvl1pPr marL="0" algn="r" defTabSz="457200" rtl="0" eaLnBrk="1" latinLnBrk="0" hangingPunct="1">
              <a:defRPr sz="700" b="0" i="0" kern="1200">
                <a:solidFill>
                  <a:schemeClr val="tx1"/>
                </a:solidFill>
                <a:latin typeface="Santander Micro Text Light" panose="020B0504020201010104" pitchFamily="34" charset="77"/>
                <a:ea typeface="+mn-ea"/>
                <a:cs typeface="Santander Micro Text Light" panose="020B0504020201010104" pitchFamily="34" charset="77"/>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BC0D97B6-E32F-4D7D-B839-7C3B51F2640F}" type="slidenum">
              <a:rPr kumimoji="0" lang="es-ES" sz="700" b="0" i="0" u="none" strike="noStrike" kern="1200" cap="none" spc="0" normalizeH="0" baseline="0" noProof="0" smtClean="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s-ES" sz="700" b="0" i="0" u="none" strike="noStrike" kern="1200" cap="none" spc="0" normalizeH="0" baseline="0" noProof="0">
              <a:ln>
                <a:noFill/>
              </a:ln>
              <a:solidFill>
                <a:srgbClr val="6F7779"/>
              </a:solidFill>
              <a:effectLst/>
              <a:uLnTx/>
              <a:uFillTx/>
              <a:latin typeface="Santander Micro Text Light" panose="020B0504020201010104" pitchFamily="34" charset="77"/>
              <a:ea typeface="+mn-ea"/>
              <a:cs typeface="Santander Micro Text Light" panose="020B0504020201010104" pitchFamily="34" charset="77"/>
            </a:endParaRPr>
          </a:p>
        </p:txBody>
      </p:sp>
      <p:sp>
        <p:nvSpPr>
          <p:cNvPr id="6" name="Footnotes">
            <a:extLst>
              <a:ext uri="{FF2B5EF4-FFF2-40B4-BE49-F238E27FC236}">
                <a16:creationId xmlns:a16="http://schemas.microsoft.com/office/drawing/2014/main" id="{BFF7F897-51F3-F985-719C-ACCA5A614ED7}"/>
              </a:ext>
            </a:extLst>
          </p:cNvPr>
          <p:cNvSpPr>
            <a:spLocks noGrp="1"/>
          </p:cNvSpPr>
          <p:nvPr>
            <p:ph type="body" sz="quarter" idx="13" hasCustomPrompt="1"/>
          </p:nvPr>
        </p:nvSpPr>
        <p:spPr>
          <a:xfrm>
            <a:off x="3003092" y="6379172"/>
            <a:ext cx="8117061" cy="156674"/>
          </a:xfrm>
          <a:prstGeom prst="rect">
            <a:avLst/>
          </a:prstGeom>
        </p:spPr>
        <p:txBody>
          <a:bodyPr anchor="ctr"/>
          <a:lstStyle>
            <a:lvl1pPr marL="0" indent="0">
              <a:lnSpc>
                <a:spcPct val="100000"/>
              </a:lnSpc>
              <a:spcBef>
                <a:spcPts val="0"/>
              </a:spcBef>
              <a:spcAft>
                <a:spcPts val="0"/>
              </a:spcAft>
              <a:buNone/>
              <a:defRPr sz="700" b="0">
                <a:solidFill>
                  <a:schemeClr val="tx1"/>
                </a:solidFill>
                <a:latin typeface="+mj-lt"/>
              </a:defRPr>
            </a:lvl1pPr>
            <a:lvl2pPr marL="0" indent="0">
              <a:lnSpc>
                <a:spcPct val="90000"/>
              </a:lnSpc>
              <a:spcBef>
                <a:spcPts val="0"/>
              </a:spcBef>
              <a:spcAft>
                <a:spcPts val="0"/>
              </a:spcAft>
              <a:buNone/>
              <a:defRPr sz="700">
                <a:solidFill>
                  <a:schemeClr val="bg1">
                    <a:lumMod val="50000"/>
                  </a:schemeClr>
                </a:solidFill>
              </a:defRPr>
            </a:lvl2pPr>
            <a:lvl3pPr marL="0" indent="0">
              <a:lnSpc>
                <a:spcPct val="90000"/>
              </a:lnSpc>
              <a:spcBef>
                <a:spcPts val="0"/>
              </a:spcBef>
              <a:spcAft>
                <a:spcPts val="0"/>
              </a:spcAft>
              <a:buNone/>
              <a:defRPr sz="700">
                <a:solidFill>
                  <a:schemeClr val="bg1">
                    <a:lumMod val="50000"/>
                  </a:schemeClr>
                </a:solidFill>
              </a:defRPr>
            </a:lvl3pPr>
            <a:lvl4pPr marL="0" indent="0">
              <a:lnSpc>
                <a:spcPct val="90000"/>
              </a:lnSpc>
              <a:spcBef>
                <a:spcPts val="0"/>
              </a:spcBef>
              <a:spcAft>
                <a:spcPts val="0"/>
              </a:spcAft>
              <a:buNone/>
              <a:defRPr sz="700">
                <a:solidFill>
                  <a:schemeClr val="bg1">
                    <a:lumMod val="50000"/>
                  </a:schemeClr>
                </a:solidFill>
              </a:defRPr>
            </a:lvl4pPr>
            <a:lvl5pPr marL="0" indent="0">
              <a:lnSpc>
                <a:spcPct val="90000"/>
              </a:lnSpc>
              <a:spcBef>
                <a:spcPts val="0"/>
              </a:spcBef>
              <a:spcAft>
                <a:spcPts val="0"/>
              </a:spcAft>
              <a:buNone/>
              <a:defRPr sz="700">
                <a:solidFill>
                  <a:schemeClr val="bg1">
                    <a:lumMod val="50000"/>
                  </a:schemeClr>
                </a:solidFill>
              </a:defRPr>
            </a:lvl5pPr>
            <a:lvl6pPr marL="0" indent="0">
              <a:lnSpc>
                <a:spcPct val="90000"/>
              </a:lnSpc>
              <a:spcBef>
                <a:spcPts val="0"/>
              </a:spcBef>
              <a:spcAft>
                <a:spcPts val="0"/>
              </a:spcAft>
              <a:buNone/>
              <a:defRPr sz="700">
                <a:solidFill>
                  <a:schemeClr val="bg1">
                    <a:lumMod val="50000"/>
                  </a:schemeClr>
                </a:solidFill>
              </a:defRPr>
            </a:lvl6pPr>
            <a:lvl7pPr marL="0" indent="0">
              <a:lnSpc>
                <a:spcPct val="90000"/>
              </a:lnSpc>
              <a:spcBef>
                <a:spcPts val="0"/>
              </a:spcBef>
              <a:spcAft>
                <a:spcPts val="0"/>
              </a:spcAft>
              <a:buNone/>
              <a:defRPr sz="700">
                <a:solidFill>
                  <a:schemeClr val="bg1">
                    <a:lumMod val="50000"/>
                  </a:schemeClr>
                </a:solidFill>
              </a:defRPr>
            </a:lvl7pPr>
            <a:lvl8pPr marL="0" indent="0">
              <a:lnSpc>
                <a:spcPct val="90000"/>
              </a:lnSpc>
              <a:spcBef>
                <a:spcPts val="0"/>
              </a:spcBef>
              <a:spcAft>
                <a:spcPts val="0"/>
              </a:spcAft>
              <a:buNone/>
              <a:defRPr sz="700">
                <a:solidFill>
                  <a:schemeClr val="bg1">
                    <a:lumMod val="50000"/>
                  </a:schemeClr>
                </a:solidFill>
              </a:defRPr>
            </a:lvl8pPr>
            <a:lvl9pPr marL="0" indent="0">
              <a:lnSpc>
                <a:spcPct val="90000"/>
              </a:lnSpc>
              <a:spcBef>
                <a:spcPts val="0"/>
              </a:spcBef>
              <a:spcAft>
                <a:spcPts val="0"/>
              </a:spcAft>
              <a:buNone/>
              <a:defRPr sz="700">
                <a:solidFill>
                  <a:schemeClr val="bg1">
                    <a:lumMod val="50000"/>
                  </a:schemeClr>
                </a:solidFill>
              </a:defRPr>
            </a:lvl9pPr>
          </a:lstStyle>
          <a:p>
            <a:pPr lvl="0"/>
            <a:r>
              <a:rPr lang="en-GB"/>
              <a:t>Footnotes</a:t>
            </a:r>
          </a:p>
        </p:txBody>
      </p:sp>
      <p:pic>
        <p:nvPicPr>
          <p:cNvPr id="3" name="Gráfico 2">
            <a:extLst>
              <a:ext uri="{FF2B5EF4-FFF2-40B4-BE49-F238E27FC236}">
                <a16:creationId xmlns:a16="http://schemas.microsoft.com/office/drawing/2014/main" id="{DD1B3A85-2F4C-942E-607C-B665281EE0A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54606" y="6214291"/>
            <a:ext cx="1564445" cy="293776"/>
          </a:xfrm>
          <a:prstGeom prst="rect">
            <a:avLst/>
          </a:prstGeom>
        </p:spPr>
      </p:pic>
      <p:sp>
        <p:nvSpPr>
          <p:cNvPr id="7" name="Título 1">
            <a:extLst>
              <a:ext uri="{FF2B5EF4-FFF2-40B4-BE49-F238E27FC236}">
                <a16:creationId xmlns:a16="http://schemas.microsoft.com/office/drawing/2014/main" id="{52242291-57A4-2D4D-9C6C-7F7A48B7C87B}"/>
              </a:ext>
            </a:extLst>
          </p:cNvPr>
          <p:cNvSpPr>
            <a:spLocks noGrp="1"/>
          </p:cNvSpPr>
          <p:nvPr>
            <p:ph type="title" hasCustomPrompt="1"/>
          </p:nvPr>
        </p:nvSpPr>
        <p:spPr>
          <a:xfrm>
            <a:off x="693939" y="925801"/>
            <a:ext cx="10984992" cy="166199"/>
          </a:xfrm>
          <a:prstGeom prst="rect">
            <a:avLst/>
          </a:prstGeom>
        </p:spPr>
        <p:txBody>
          <a:bodyPr vert="horz" wrap="square" lIns="90000" tIns="0" rIns="0" bIns="0" anchor="t">
            <a:noAutofit/>
          </a:bodyPr>
          <a:lstStyle>
            <a:lvl1pPr rtl="0">
              <a:defRPr sz="1200">
                <a:solidFill>
                  <a:schemeClr val="tx1"/>
                </a:solidFill>
                <a:latin typeface="Santander Headline" panose="020B0504020201020104" pitchFamily="34" charset="0"/>
                <a:cs typeface="Arial" panose="020B0604020202020204" pitchFamily="34" charset="0"/>
              </a:defRPr>
            </a:lvl1pPr>
          </a:lstStyle>
          <a:p>
            <a:r>
              <a:rPr lang="en-US" noProof="0"/>
              <a:t>Slide subtitle (Santander headline 12)</a:t>
            </a:r>
          </a:p>
        </p:txBody>
      </p:sp>
      <p:sp>
        <p:nvSpPr>
          <p:cNvPr id="8" name="Marcador de texto 14">
            <a:extLst>
              <a:ext uri="{FF2B5EF4-FFF2-40B4-BE49-F238E27FC236}">
                <a16:creationId xmlns:a16="http://schemas.microsoft.com/office/drawing/2014/main" id="{E9C485B4-59BE-E423-54BA-9C3EA701E99F}"/>
              </a:ext>
            </a:extLst>
          </p:cNvPr>
          <p:cNvSpPr>
            <a:spLocks noGrp="1"/>
          </p:cNvSpPr>
          <p:nvPr>
            <p:ph type="body" sz="quarter" idx="45" hasCustomPrompt="1"/>
          </p:nvPr>
        </p:nvSpPr>
        <p:spPr>
          <a:xfrm>
            <a:off x="693939" y="585173"/>
            <a:ext cx="10984992" cy="276999"/>
          </a:xfrm>
          <a:prstGeom prst="rect">
            <a:avLst/>
          </a:prstGeom>
        </p:spPr>
        <p:txBody>
          <a:bodyPr wrap="square" lIns="90000" tIns="0" rIns="0" bIns="0" anchor="b">
            <a:noAutofit/>
          </a:bodyPr>
          <a:lstStyle>
            <a:lvl1pPr marL="0" indent="0" rtl="0">
              <a:buFontTx/>
              <a:buNone/>
              <a:defRPr sz="2000" b="0">
                <a:solidFill>
                  <a:srgbClr val="EC0000"/>
                </a:solidFill>
                <a:latin typeface="Santander Headline" panose="020B0504020201020104" pitchFamily="34" charset="0"/>
                <a:cs typeface="Arial" panose="020B0604020202020204" pitchFamily="34" charset="0"/>
              </a:defRPr>
            </a:lvl1pPr>
            <a:lvl2pPr marL="371464" indent="0">
              <a:buFontTx/>
              <a:buNone/>
              <a:defRPr sz="894"/>
            </a:lvl2pPr>
            <a:lvl3pPr marL="742927" indent="0">
              <a:buFontTx/>
              <a:buNone/>
              <a:defRPr sz="854"/>
            </a:lvl3pPr>
            <a:lvl4pPr marL="1114391" indent="0">
              <a:buFontTx/>
              <a:buNone/>
              <a:defRPr sz="812"/>
            </a:lvl4pPr>
            <a:lvl5pPr marL="1485854" indent="0">
              <a:buFontTx/>
              <a:buNone/>
              <a:defRPr sz="812"/>
            </a:lvl5pPr>
          </a:lstStyle>
          <a:p>
            <a:pPr lvl="0"/>
            <a:r>
              <a:rPr lang="en-US" noProof="0"/>
              <a:t>Slide title (Santander headline 20)</a:t>
            </a:r>
          </a:p>
        </p:txBody>
      </p:sp>
      <p:sp>
        <p:nvSpPr>
          <p:cNvPr id="2" name="Marcador de texto 14">
            <a:extLst>
              <a:ext uri="{FF2B5EF4-FFF2-40B4-BE49-F238E27FC236}">
                <a16:creationId xmlns:a16="http://schemas.microsoft.com/office/drawing/2014/main" id="{1A7720E9-33E7-82F4-71BB-5E3F95A5A07F}"/>
              </a:ext>
            </a:extLst>
          </p:cNvPr>
          <p:cNvSpPr>
            <a:spLocks noGrp="1"/>
          </p:cNvSpPr>
          <p:nvPr>
            <p:ph type="body" sz="quarter" idx="14"/>
          </p:nvPr>
        </p:nvSpPr>
        <p:spPr>
          <a:xfrm>
            <a:off x="711024" y="337100"/>
            <a:ext cx="9896016" cy="181374"/>
          </a:xfrm>
          <a:prstGeom prst="rect">
            <a:avLst/>
          </a:prstGeom>
        </p:spPr>
        <p:txBody>
          <a:bodyPr>
            <a:noAutofit/>
          </a:bodyPr>
          <a:lstStyle>
            <a:lvl1pPr marL="0" indent="0">
              <a:buFontTx/>
              <a:buNone/>
              <a:defRPr sz="900">
                <a:solidFill>
                  <a:srgbClr val="EC0000"/>
                </a:solidFill>
                <a:latin typeface="+mn-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Tree>
    <p:extLst>
      <p:ext uri="{BB962C8B-B14F-4D97-AF65-F5344CB8AC3E}">
        <p14:creationId xmlns:p14="http://schemas.microsoft.com/office/powerpoint/2010/main" val="25019891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83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theme" Target="../theme/theme2.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63.xml"/><Relationship Id="rId21" Type="http://schemas.openxmlformats.org/officeDocument/2006/relationships/slideLayout" Target="../slideLayouts/slideLayout58.xml"/><Relationship Id="rId42" Type="http://schemas.openxmlformats.org/officeDocument/2006/relationships/slideLayout" Target="../slideLayouts/slideLayout79.xml"/><Relationship Id="rId47" Type="http://schemas.openxmlformats.org/officeDocument/2006/relationships/slideLayout" Target="../slideLayouts/slideLayout84.xml"/><Relationship Id="rId63" Type="http://schemas.openxmlformats.org/officeDocument/2006/relationships/slideLayout" Target="../slideLayouts/slideLayout100.xml"/><Relationship Id="rId68" Type="http://schemas.openxmlformats.org/officeDocument/2006/relationships/slideLayout" Target="../slideLayouts/slideLayout105.xml"/><Relationship Id="rId16" Type="http://schemas.openxmlformats.org/officeDocument/2006/relationships/slideLayout" Target="../slideLayouts/slideLayout5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slideLayout" Target="../slideLayouts/slideLayout74.xml"/><Relationship Id="rId40" Type="http://schemas.openxmlformats.org/officeDocument/2006/relationships/slideLayout" Target="../slideLayouts/slideLayout77.xml"/><Relationship Id="rId45" Type="http://schemas.openxmlformats.org/officeDocument/2006/relationships/slideLayout" Target="../slideLayouts/slideLayout82.xml"/><Relationship Id="rId53" Type="http://schemas.openxmlformats.org/officeDocument/2006/relationships/slideLayout" Target="../slideLayouts/slideLayout90.xml"/><Relationship Id="rId58" Type="http://schemas.openxmlformats.org/officeDocument/2006/relationships/slideLayout" Target="../slideLayouts/slideLayout95.xml"/><Relationship Id="rId66" Type="http://schemas.openxmlformats.org/officeDocument/2006/relationships/slideLayout" Target="../slideLayouts/slideLayout103.xml"/><Relationship Id="rId74" Type="http://schemas.openxmlformats.org/officeDocument/2006/relationships/slideLayout" Target="../slideLayouts/slideLayout111.xml"/><Relationship Id="rId5" Type="http://schemas.openxmlformats.org/officeDocument/2006/relationships/slideLayout" Target="../slideLayouts/slideLayout42.xml"/><Relationship Id="rId61" Type="http://schemas.openxmlformats.org/officeDocument/2006/relationships/slideLayout" Target="../slideLayouts/slideLayout98.xml"/><Relationship Id="rId19" Type="http://schemas.openxmlformats.org/officeDocument/2006/relationships/slideLayout" Target="../slideLayouts/slideLayout5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slideLayout" Target="../slideLayouts/slideLayout72.xml"/><Relationship Id="rId43" Type="http://schemas.openxmlformats.org/officeDocument/2006/relationships/slideLayout" Target="../slideLayouts/slideLayout80.xml"/><Relationship Id="rId48" Type="http://schemas.openxmlformats.org/officeDocument/2006/relationships/slideLayout" Target="../slideLayouts/slideLayout85.xml"/><Relationship Id="rId56" Type="http://schemas.openxmlformats.org/officeDocument/2006/relationships/slideLayout" Target="../slideLayouts/slideLayout93.xml"/><Relationship Id="rId64" Type="http://schemas.openxmlformats.org/officeDocument/2006/relationships/slideLayout" Target="../slideLayouts/slideLayout101.xml"/><Relationship Id="rId69" Type="http://schemas.openxmlformats.org/officeDocument/2006/relationships/slideLayout" Target="../slideLayouts/slideLayout106.xml"/><Relationship Id="rId77" Type="http://schemas.openxmlformats.org/officeDocument/2006/relationships/theme" Target="../theme/theme3.xml"/><Relationship Id="rId8" Type="http://schemas.openxmlformats.org/officeDocument/2006/relationships/slideLayout" Target="../slideLayouts/slideLayout45.xml"/><Relationship Id="rId51" Type="http://schemas.openxmlformats.org/officeDocument/2006/relationships/slideLayout" Target="../slideLayouts/slideLayout88.xml"/><Relationship Id="rId72" Type="http://schemas.openxmlformats.org/officeDocument/2006/relationships/slideLayout" Target="../slideLayouts/slideLayout109.xml"/><Relationship Id="rId3" Type="http://schemas.openxmlformats.org/officeDocument/2006/relationships/slideLayout" Target="../slideLayouts/slideLayout40.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slideLayout" Target="../slideLayouts/slideLayout75.xml"/><Relationship Id="rId46" Type="http://schemas.openxmlformats.org/officeDocument/2006/relationships/slideLayout" Target="../slideLayouts/slideLayout83.xml"/><Relationship Id="rId59" Type="http://schemas.openxmlformats.org/officeDocument/2006/relationships/slideLayout" Target="../slideLayouts/slideLayout96.xml"/><Relationship Id="rId67" Type="http://schemas.openxmlformats.org/officeDocument/2006/relationships/slideLayout" Target="../slideLayouts/slideLayout104.xml"/><Relationship Id="rId20" Type="http://schemas.openxmlformats.org/officeDocument/2006/relationships/slideLayout" Target="../slideLayouts/slideLayout57.xml"/><Relationship Id="rId41" Type="http://schemas.openxmlformats.org/officeDocument/2006/relationships/slideLayout" Target="../slideLayouts/slideLayout78.xml"/><Relationship Id="rId54" Type="http://schemas.openxmlformats.org/officeDocument/2006/relationships/slideLayout" Target="../slideLayouts/slideLayout91.xml"/><Relationship Id="rId62" Type="http://schemas.openxmlformats.org/officeDocument/2006/relationships/slideLayout" Target="../slideLayouts/slideLayout99.xml"/><Relationship Id="rId70" Type="http://schemas.openxmlformats.org/officeDocument/2006/relationships/slideLayout" Target="../slideLayouts/slideLayout107.xml"/><Relationship Id="rId75" Type="http://schemas.openxmlformats.org/officeDocument/2006/relationships/slideLayout" Target="../slideLayouts/slideLayout112.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slideLayout" Target="../slideLayouts/slideLayout73.xml"/><Relationship Id="rId49" Type="http://schemas.openxmlformats.org/officeDocument/2006/relationships/slideLayout" Target="../slideLayouts/slideLayout86.xml"/><Relationship Id="rId57" Type="http://schemas.openxmlformats.org/officeDocument/2006/relationships/slideLayout" Target="../slideLayouts/slideLayout94.xml"/><Relationship Id="rId10" Type="http://schemas.openxmlformats.org/officeDocument/2006/relationships/slideLayout" Target="../slideLayouts/slideLayout47.xml"/><Relationship Id="rId31" Type="http://schemas.openxmlformats.org/officeDocument/2006/relationships/slideLayout" Target="../slideLayouts/slideLayout68.xml"/><Relationship Id="rId44" Type="http://schemas.openxmlformats.org/officeDocument/2006/relationships/slideLayout" Target="../slideLayouts/slideLayout81.xml"/><Relationship Id="rId52" Type="http://schemas.openxmlformats.org/officeDocument/2006/relationships/slideLayout" Target="../slideLayouts/slideLayout89.xml"/><Relationship Id="rId60" Type="http://schemas.openxmlformats.org/officeDocument/2006/relationships/slideLayout" Target="../slideLayouts/slideLayout97.xml"/><Relationship Id="rId65" Type="http://schemas.openxmlformats.org/officeDocument/2006/relationships/slideLayout" Target="../slideLayouts/slideLayout102.xml"/><Relationship Id="rId73" Type="http://schemas.openxmlformats.org/officeDocument/2006/relationships/slideLayout" Target="../slideLayouts/slideLayout110.xml"/><Relationship Id="rId78" Type="http://schemas.openxmlformats.org/officeDocument/2006/relationships/tags" Target="../tags/tag5.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9" Type="http://schemas.openxmlformats.org/officeDocument/2006/relationships/slideLayout" Target="../slideLayouts/slideLayout76.xml"/><Relationship Id="rId34" Type="http://schemas.openxmlformats.org/officeDocument/2006/relationships/slideLayout" Target="../slideLayouts/slideLayout71.xml"/><Relationship Id="rId50" Type="http://schemas.openxmlformats.org/officeDocument/2006/relationships/slideLayout" Target="../slideLayouts/slideLayout87.xml"/><Relationship Id="rId55" Type="http://schemas.openxmlformats.org/officeDocument/2006/relationships/slideLayout" Target="../slideLayouts/slideLayout92.xml"/><Relationship Id="rId76" Type="http://schemas.openxmlformats.org/officeDocument/2006/relationships/slideLayout" Target="../slideLayouts/slideLayout113.xml"/><Relationship Id="rId7" Type="http://schemas.openxmlformats.org/officeDocument/2006/relationships/slideLayout" Target="../slideLayouts/slideLayout44.xml"/><Relationship Id="rId71" Type="http://schemas.openxmlformats.org/officeDocument/2006/relationships/slideLayout" Target="../slideLayouts/slideLayout108.xml"/><Relationship Id="rId2" Type="http://schemas.openxmlformats.org/officeDocument/2006/relationships/slideLayout" Target="../slideLayouts/slideLayout39.xml"/><Relationship Id="rId29"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009036C-254A-31B2-5589-F97C06C1023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s-ES"/>
          </a:p>
        </p:txBody>
      </p:sp>
      <p:sp>
        <p:nvSpPr>
          <p:cNvPr id="3" name="Text Placeholder 2">
            <a:extLst>
              <a:ext uri="{FF2B5EF4-FFF2-40B4-BE49-F238E27FC236}">
                <a16:creationId xmlns:a16="http://schemas.microsoft.com/office/drawing/2014/main" id="{FE650803-4127-7825-8101-5BA57D487C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4FDCF9CD-5679-BD9C-AA70-B7F12788796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936A72B-74AE-4828-B363-D54F043C4597}" type="datetimeFigureOut">
              <a:rPr lang="es-ES" smtClean="0"/>
              <a:t>03/12/2025</a:t>
            </a:fld>
            <a:endParaRPr lang="es-ES"/>
          </a:p>
        </p:txBody>
      </p:sp>
      <p:sp>
        <p:nvSpPr>
          <p:cNvPr id="5" name="Footer Placeholder 4">
            <a:extLst>
              <a:ext uri="{FF2B5EF4-FFF2-40B4-BE49-F238E27FC236}">
                <a16:creationId xmlns:a16="http://schemas.microsoft.com/office/drawing/2014/main" id="{E8330C52-905C-239A-37F8-033E60AD179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s-ES"/>
          </a:p>
        </p:txBody>
      </p:sp>
      <p:sp>
        <p:nvSpPr>
          <p:cNvPr id="6" name="Slide Number Placeholder 5">
            <a:extLst>
              <a:ext uri="{FF2B5EF4-FFF2-40B4-BE49-F238E27FC236}">
                <a16:creationId xmlns:a16="http://schemas.microsoft.com/office/drawing/2014/main" id="{2696D212-6159-9AB8-FA74-AD8675B33D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CC58EAA-8CE3-4B47-B600-46B910A49F95}" type="slidenum">
              <a:rPr lang="es-ES" smtClean="0"/>
              <a:t>‹#›</a:t>
            </a:fld>
            <a:endParaRPr lang="es-ES"/>
          </a:p>
        </p:txBody>
      </p:sp>
    </p:spTree>
    <p:extLst>
      <p:ext uri="{BB962C8B-B14F-4D97-AF65-F5344CB8AC3E}">
        <p14:creationId xmlns:p14="http://schemas.microsoft.com/office/powerpoint/2010/main" val="65324216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777" r:id="rId16"/>
    <p:sldLayoutId id="2147483778"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DED56220-5584-557A-65CE-EE07FBF1E02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9FDBF5AD-762D-6B1A-37C5-5E56FF70AF2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1A5CEDCA-129D-BF16-245F-64A853D3492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B74D274C-A9CE-4BE7-9899-F2ABD49B5BEB}" type="datetimeFigureOut">
              <a:rPr lang="es-ES" smtClean="0"/>
              <a:t>03/12/2025</a:t>
            </a:fld>
            <a:endParaRPr lang="es-ES"/>
          </a:p>
        </p:txBody>
      </p:sp>
      <p:sp>
        <p:nvSpPr>
          <p:cNvPr id="5" name="Marcador de pie de página 4">
            <a:extLst>
              <a:ext uri="{FF2B5EF4-FFF2-40B4-BE49-F238E27FC236}">
                <a16:creationId xmlns:a16="http://schemas.microsoft.com/office/drawing/2014/main" id="{92F53838-DEF6-D481-BC02-2929AE3B8D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s-ES"/>
          </a:p>
        </p:txBody>
      </p:sp>
      <p:sp>
        <p:nvSpPr>
          <p:cNvPr id="6" name="Marcador de número de diapositiva 5">
            <a:extLst>
              <a:ext uri="{FF2B5EF4-FFF2-40B4-BE49-F238E27FC236}">
                <a16:creationId xmlns:a16="http://schemas.microsoft.com/office/drawing/2014/main" id="{63AC2847-F9FF-88FB-B985-2FF34D03F75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50E86D0-286E-42C4-A5D6-1DD370C734F8}" type="slidenum">
              <a:rPr lang="es-ES" smtClean="0"/>
              <a:t>‹#›</a:t>
            </a:fld>
            <a:endParaRPr lang="es-ES"/>
          </a:p>
        </p:txBody>
      </p:sp>
    </p:spTree>
    <p:extLst>
      <p:ext uri="{BB962C8B-B14F-4D97-AF65-F5344CB8AC3E}">
        <p14:creationId xmlns:p14="http://schemas.microsoft.com/office/powerpoint/2010/main" val="2538819876"/>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4">
            <a:extLst>
              <a:ext uri="{FF2B5EF4-FFF2-40B4-BE49-F238E27FC236}">
                <a16:creationId xmlns:a16="http://schemas.microsoft.com/office/drawing/2014/main" id="{4DC6E60C-BC31-31AF-7655-27DEDFE0971F}"/>
              </a:ext>
            </a:extLst>
          </p:cNvPr>
          <p:cNvSpPr txBox="1"/>
          <p:nvPr userDrawn="1"/>
        </p:nvSpPr>
        <p:spPr>
          <a:xfrm>
            <a:off x="-2258402" y="0"/>
            <a:ext cx="2176922" cy="3099823"/>
          </a:xfrm>
          <a:prstGeom prst="rect">
            <a:avLst/>
          </a:prstGeom>
          <a:solidFill>
            <a:schemeClr val="bg1">
              <a:lumMod val="95000"/>
            </a:schemeClr>
          </a:solidFill>
        </p:spPr>
        <p:txBody>
          <a:bodyPr wrap="square">
            <a:spAutoFit/>
          </a:bodyPr>
          <a:lstStyle/>
          <a:p>
            <a:pPr marL="0" marR="0">
              <a:lnSpc>
                <a:spcPct val="90000"/>
              </a:lnSpc>
              <a:spcBef>
                <a:spcPts val="100"/>
              </a:spcBef>
              <a:spcAft>
                <a:spcPts val="0"/>
              </a:spcAft>
            </a:pPr>
            <a:r>
              <a:rPr lang="en-GB" sz="700" b="1">
                <a:solidFill>
                  <a:schemeClr val="tx2"/>
                </a:solidFill>
                <a:effectLst/>
                <a:latin typeface="Santander Headline" panose="020B0504020201020104" pitchFamily="34" charset="0"/>
                <a:ea typeface="Calibri" panose="020F0502020204030204" pitchFamily="34" charset="0"/>
              </a:rPr>
              <a:t>Template Guidance:</a:t>
            </a:r>
            <a:endParaRPr lang="en-US" sz="700" b="1">
              <a:solidFill>
                <a:schemeClr val="tx2"/>
              </a:solidFill>
              <a:effectLst/>
              <a:latin typeface="Santander Headline" panose="020B0504020201020104" pitchFamily="34" charset="0"/>
              <a:ea typeface="Calibri" panose="020F0502020204030204" pitchFamily="34" charset="0"/>
            </a:endParaRPr>
          </a:p>
          <a:p>
            <a:pPr marL="172800" marR="0" lvl="2" indent="-172800" algn="l" defTabSz="914400" rtl="0" eaLnBrk="1" fontAlgn="auto" latinLnBrk="0" hangingPunct="1">
              <a:lnSpc>
                <a:spcPct val="90000"/>
              </a:lnSpc>
              <a:spcBef>
                <a:spcPts val="100"/>
              </a:spcBef>
              <a:spcAft>
                <a:spcPts val="0"/>
              </a:spcAft>
              <a:buClr>
                <a:srgbClr val="DEEDF2">
                  <a:lumMod val="25000"/>
                </a:srgbClr>
              </a:buClr>
              <a:buSzPct val="75000"/>
              <a:buFont typeface="Wingdings" panose="05000000000000000000" pitchFamily="2" charset="2"/>
              <a:buChar char="n"/>
              <a:tabLst/>
              <a:defRPr/>
            </a:pP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Fonts:</a:t>
            </a:r>
            <a:endParaRPr kumimoji="0" lang="en-US"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endParaRPr>
          </a:p>
          <a:p>
            <a:pPr marL="360000" marR="0" lvl="3" indent="-172800" algn="l" defTabSz="914400" rtl="0" eaLnBrk="1" fontAlgn="auto" latinLnBrk="0" hangingPunct="1">
              <a:lnSpc>
                <a:spcPct val="90000"/>
              </a:lnSpc>
              <a:spcBef>
                <a:spcPts val="100"/>
              </a:spcBef>
              <a:spcAft>
                <a:spcPts val="0"/>
              </a:spcAft>
              <a:buClr>
                <a:schemeClr val="tx2"/>
              </a:buClr>
              <a:buSzPct val="75000"/>
              <a:buFont typeface="Wingdings" panose="05000000000000000000" pitchFamily="2" charset="2"/>
              <a:buChar char="n"/>
              <a:tabLst/>
              <a:defRPr/>
            </a:pP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Title: Santander headline, Size 20</a:t>
            </a:r>
            <a:endParaRPr kumimoji="0" lang="en-US"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endParaRPr>
          </a:p>
          <a:p>
            <a:pPr marL="360000" marR="0" lvl="3" indent="-172800" algn="l" defTabSz="914400" rtl="0" eaLnBrk="1" fontAlgn="auto" latinLnBrk="0" hangingPunct="1">
              <a:lnSpc>
                <a:spcPct val="90000"/>
              </a:lnSpc>
              <a:spcBef>
                <a:spcPts val="100"/>
              </a:spcBef>
              <a:spcAft>
                <a:spcPts val="0"/>
              </a:spcAft>
              <a:buClr>
                <a:schemeClr val="tx2"/>
              </a:buClr>
              <a:buSzPct val="75000"/>
              <a:buFont typeface="Wingdings" panose="05000000000000000000" pitchFamily="2" charset="2"/>
              <a:buChar char="n"/>
              <a:tabLst/>
              <a:defRPr/>
            </a:pP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Subheading: Santander headline, Size 12</a:t>
            </a:r>
            <a:endParaRPr kumimoji="0" lang="en-US"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endParaRPr>
          </a:p>
          <a:p>
            <a:pPr marL="360000" marR="0" lvl="3" indent="-172800" algn="l" defTabSz="914400" rtl="0" eaLnBrk="1" fontAlgn="auto" latinLnBrk="0" hangingPunct="1">
              <a:lnSpc>
                <a:spcPct val="90000"/>
              </a:lnSpc>
              <a:spcBef>
                <a:spcPts val="100"/>
              </a:spcBef>
              <a:spcAft>
                <a:spcPts val="0"/>
              </a:spcAft>
              <a:buClr>
                <a:schemeClr val="tx2"/>
              </a:buClr>
              <a:buSzPct val="75000"/>
              <a:buFont typeface="Wingdings" panose="05000000000000000000" pitchFamily="2" charset="2"/>
              <a:buChar char="n"/>
              <a:tabLst/>
              <a:defRPr/>
            </a:pP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General Font: Santander text, Size 10</a:t>
            </a:r>
            <a:endParaRPr kumimoji="0" lang="en-US"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endParaRPr>
          </a:p>
          <a:p>
            <a:pPr marL="360000" marR="0" lvl="3" indent="-172800" algn="l" defTabSz="914400" rtl="0" eaLnBrk="1" fontAlgn="auto" latinLnBrk="0" hangingPunct="1">
              <a:lnSpc>
                <a:spcPct val="90000"/>
              </a:lnSpc>
              <a:spcBef>
                <a:spcPts val="100"/>
              </a:spcBef>
              <a:spcAft>
                <a:spcPts val="0"/>
              </a:spcAft>
              <a:buClr>
                <a:schemeClr val="tx2"/>
              </a:buClr>
              <a:buSzPct val="75000"/>
              <a:buFont typeface="Wingdings" panose="05000000000000000000" pitchFamily="2" charset="2"/>
              <a:buChar char="n"/>
              <a:tabLst/>
              <a:defRPr/>
            </a:pP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All charts &amp; tables: Santander text</a:t>
            </a:r>
            <a:endParaRPr kumimoji="0" lang="en-US"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endParaRPr>
          </a:p>
          <a:p>
            <a:pPr marL="172800" marR="0" lvl="2" indent="-172800" algn="l" defTabSz="914400" rtl="0" eaLnBrk="1" fontAlgn="auto" latinLnBrk="0" hangingPunct="1">
              <a:lnSpc>
                <a:spcPct val="90000"/>
              </a:lnSpc>
              <a:spcBef>
                <a:spcPts val="100"/>
              </a:spcBef>
              <a:spcAft>
                <a:spcPts val="0"/>
              </a:spcAft>
              <a:buClr>
                <a:srgbClr val="DEEDF2">
                  <a:lumMod val="25000"/>
                </a:srgbClr>
              </a:buClr>
              <a:buSzPct val="75000"/>
              <a:buFont typeface="Wingdings" panose="05000000000000000000" pitchFamily="2" charset="2"/>
              <a:buChar char="n"/>
              <a:tabLst/>
              <a:defRPr/>
            </a:pP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Best Practice:</a:t>
            </a:r>
            <a:endParaRPr kumimoji="0" lang="en-US"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endParaRPr>
          </a:p>
          <a:p>
            <a:pPr marL="360000" marR="0" lvl="3" indent="-172800" algn="l" defTabSz="914400" rtl="0" eaLnBrk="1" fontAlgn="auto" latinLnBrk="0" hangingPunct="1">
              <a:lnSpc>
                <a:spcPct val="90000"/>
              </a:lnSpc>
              <a:spcBef>
                <a:spcPts val="100"/>
              </a:spcBef>
              <a:spcAft>
                <a:spcPts val="0"/>
              </a:spcAft>
              <a:buClr>
                <a:schemeClr val="tx2"/>
              </a:buClr>
              <a:buSzPct val="75000"/>
              <a:buFont typeface="Wingdings" panose="05000000000000000000" pitchFamily="2" charset="2"/>
              <a:buChar char="n"/>
              <a:tabLst/>
              <a:defRPr/>
            </a:pP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20XXA” / “20XXE”: Actual / Forecast years </a:t>
            </a:r>
            <a:endParaRPr kumimoji="0" lang="en-US"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endParaRPr>
          </a:p>
          <a:p>
            <a:pPr marL="360000" marR="0" lvl="3" indent="-172800" algn="l" defTabSz="914400" rtl="0" eaLnBrk="1" fontAlgn="auto" latinLnBrk="0" hangingPunct="1">
              <a:lnSpc>
                <a:spcPct val="90000"/>
              </a:lnSpc>
              <a:spcBef>
                <a:spcPts val="100"/>
              </a:spcBef>
              <a:spcAft>
                <a:spcPts val="0"/>
              </a:spcAft>
              <a:buClr>
                <a:schemeClr val="tx2"/>
              </a:buClr>
              <a:buSzPct val="75000"/>
              <a:buFont typeface="Wingdings" panose="05000000000000000000" pitchFamily="2" charset="2"/>
              <a:buChar char="n"/>
              <a:tabLst/>
              <a:defRPr/>
            </a:pP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Currency: £m / €m / $m then </a:t>
            </a:r>
            <a:r>
              <a:rPr kumimoji="0" lang="en-GB" sz="700" b="0" i="0" u="none" strike="noStrike" kern="1200" cap="none" spc="0" normalizeH="0" baseline="0" err="1">
                <a:ln>
                  <a:noFill/>
                </a:ln>
                <a:solidFill>
                  <a:schemeClr val="tx2"/>
                </a:solidFill>
                <a:effectLst/>
                <a:uLnTx/>
                <a:uFillTx/>
                <a:latin typeface="Santander Headline" panose="020B0504020201020104" pitchFamily="34" charset="0"/>
                <a:ea typeface="+mn-ea"/>
                <a:cs typeface="+mn-cs"/>
              </a:rPr>
              <a:t>CAD$m</a:t>
            </a: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 etc. if required </a:t>
            </a:r>
            <a:r>
              <a:rPr kumimoji="0" lang="en-US"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 (</a:t>
            </a: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i.e. use 3 predominate currencies as default, further abbreviation if needed)</a:t>
            </a:r>
            <a:endParaRPr kumimoji="0" lang="en-US"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endParaRPr>
          </a:p>
          <a:p>
            <a:pPr marL="360000" marR="0" lvl="3" indent="-172800" algn="l" defTabSz="914400" rtl="0" eaLnBrk="1" fontAlgn="auto" latinLnBrk="0" hangingPunct="1">
              <a:lnSpc>
                <a:spcPct val="90000"/>
              </a:lnSpc>
              <a:spcBef>
                <a:spcPts val="100"/>
              </a:spcBef>
              <a:spcAft>
                <a:spcPts val="0"/>
              </a:spcAft>
              <a:buClr>
                <a:schemeClr val="tx2"/>
              </a:buClr>
              <a:buSzPct val="75000"/>
              <a:buFont typeface="Wingdings" panose="05000000000000000000" pitchFamily="2" charset="2"/>
              <a:buChar char="n"/>
              <a:tabLst/>
              <a:defRPr/>
            </a:pP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m = millions, bn = billions, #’000 = thousands</a:t>
            </a:r>
            <a:endParaRPr kumimoji="0" lang="en-US"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endParaRPr>
          </a:p>
          <a:p>
            <a:pPr marL="172800" marR="0" lvl="2" indent="-172800" algn="l" defTabSz="914400" rtl="0" eaLnBrk="1" fontAlgn="auto" latinLnBrk="0" hangingPunct="1">
              <a:lnSpc>
                <a:spcPct val="90000"/>
              </a:lnSpc>
              <a:spcBef>
                <a:spcPts val="100"/>
              </a:spcBef>
              <a:spcAft>
                <a:spcPts val="0"/>
              </a:spcAft>
              <a:buClr>
                <a:srgbClr val="DEEDF2">
                  <a:lumMod val="25000"/>
                </a:srgbClr>
              </a:buClr>
              <a:buSzPct val="75000"/>
              <a:buFont typeface="Wingdings" panose="05000000000000000000" pitchFamily="2" charset="2"/>
              <a:buChar char="n"/>
              <a:tabLst/>
              <a:defRPr/>
            </a:pP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Not relevant / available data:</a:t>
            </a:r>
            <a:endParaRPr kumimoji="0" lang="en-US"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endParaRPr>
          </a:p>
          <a:p>
            <a:pPr marL="360000" marR="0" lvl="3" indent="-172800" algn="l" defTabSz="914400" rtl="0" eaLnBrk="1" fontAlgn="auto" latinLnBrk="0" hangingPunct="1">
              <a:lnSpc>
                <a:spcPct val="90000"/>
              </a:lnSpc>
              <a:spcBef>
                <a:spcPts val="100"/>
              </a:spcBef>
              <a:spcAft>
                <a:spcPts val="0"/>
              </a:spcAft>
              <a:buClr>
                <a:schemeClr val="tx2"/>
              </a:buClr>
              <a:buSzPct val="75000"/>
              <a:buFont typeface="Wingdings" panose="05000000000000000000" pitchFamily="2" charset="2"/>
              <a:buChar char="n"/>
              <a:tabLst/>
              <a:defRPr/>
            </a:pP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n/a” – Doesn’t make sense to show data </a:t>
            </a:r>
            <a:endParaRPr kumimoji="0" lang="en-US"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endParaRPr>
          </a:p>
          <a:p>
            <a:pPr marL="360000" marR="0" lvl="3" indent="-172800" algn="l" defTabSz="914400" rtl="0" eaLnBrk="1" fontAlgn="auto" latinLnBrk="0" hangingPunct="1">
              <a:lnSpc>
                <a:spcPct val="90000"/>
              </a:lnSpc>
              <a:spcBef>
                <a:spcPts val="100"/>
              </a:spcBef>
              <a:spcAft>
                <a:spcPts val="0"/>
              </a:spcAft>
              <a:buClr>
                <a:schemeClr val="tx2"/>
              </a:buClr>
              <a:buSzPct val="75000"/>
              <a:buFont typeface="Wingdings" panose="05000000000000000000" pitchFamily="2" charset="2"/>
              <a:buChar char="n"/>
              <a:tabLst/>
              <a:defRPr/>
            </a:pP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a:t>
            </a:r>
            <a:r>
              <a:rPr kumimoji="0" lang="en-GB" sz="700" b="0" i="0" u="none" strike="noStrike" kern="1200" cap="none" spc="0" normalizeH="0" baseline="0" err="1">
                <a:ln>
                  <a:noFill/>
                </a:ln>
                <a:solidFill>
                  <a:schemeClr val="tx2"/>
                </a:solidFill>
                <a:effectLst/>
                <a:uLnTx/>
                <a:uFillTx/>
                <a:latin typeface="Santander Headline" panose="020B0504020201020104" pitchFamily="34" charset="0"/>
                <a:ea typeface="+mn-ea"/>
                <a:cs typeface="+mn-cs"/>
              </a:rPr>
              <a:t>Undisc</a:t>
            </a: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 – Data unavailable </a:t>
            </a:r>
            <a:endParaRPr kumimoji="0" lang="en-US"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endParaRPr>
          </a:p>
          <a:p>
            <a:pPr marL="172800" marR="0" lvl="2" indent="-172800" algn="l" defTabSz="914400" rtl="0" eaLnBrk="1" fontAlgn="auto" latinLnBrk="0" hangingPunct="1">
              <a:lnSpc>
                <a:spcPct val="90000"/>
              </a:lnSpc>
              <a:spcBef>
                <a:spcPts val="100"/>
              </a:spcBef>
              <a:spcAft>
                <a:spcPts val="0"/>
              </a:spcAft>
              <a:buClr>
                <a:srgbClr val="DEEDF2">
                  <a:lumMod val="25000"/>
                </a:srgbClr>
              </a:buClr>
              <a:buSzPct val="75000"/>
              <a:buFont typeface="Wingdings" panose="05000000000000000000" pitchFamily="2" charset="2"/>
              <a:buChar char="n"/>
              <a:tabLst/>
              <a:defRPr/>
            </a:pP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Footnote formatting:</a:t>
            </a:r>
            <a:endParaRPr kumimoji="0" lang="en-US"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endParaRPr>
          </a:p>
          <a:p>
            <a:pPr marL="360000" marR="0" lvl="3" indent="-172800" algn="l" defTabSz="914400" rtl="0" eaLnBrk="1" fontAlgn="auto" latinLnBrk="0" hangingPunct="1">
              <a:lnSpc>
                <a:spcPct val="90000"/>
              </a:lnSpc>
              <a:spcBef>
                <a:spcPts val="100"/>
              </a:spcBef>
              <a:spcAft>
                <a:spcPts val="0"/>
              </a:spcAft>
              <a:buClr>
                <a:schemeClr val="tx2"/>
              </a:buClr>
              <a:buSzPct val="75000"/>
              <a:buFont typeface="Wingdings" panose="05000000000000000000" pitchFamily="2" charset="2"/>
              <a:buChar char="n"/>
              <a:tabLst/>
              <a:defRPr/>
            </a:pP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Source: [##]”</a:t>
            </a:r>
            <a:endParaRPr kumimoji="0" lang="en-US"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endParaRPr>
          </a:p>
          <a:p>
            <a:pPr marL="360000" marR="0" lvl="3" indent="-172800" algn="l" defTabSz="914400" rtl="0" eaLnBrk="1" fontAlgn="auto" latinLnBrk="0" hangingPunct="1">
              <a:lnSpc>
                <a:spcPct val="90000"/>
              </a:lnSpc>
              <a:spcBef>
                <a:spcPts val="100"/>
              </a:spcBef>
              <a:spcAft>
                <a:spcPts val="0"/>
              </a:spcAft>
              <a:buClr>
                <a:schemeClr val="tx2"/>
              </a:buClr>
              <a:buSzPct val="75000"/>
              <a:buFont typeface="Wingdings" panose="05000000000000000000" pitchFamily="2" charset="2"/>
              <a:buChar char="n"/>
              <a:tabLst/>
              <a:defRPr/>
            </a:pP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Notes: (1) XX… (2)…</a:t>
            </a:r>
            <a:endParaRPr kumimoji="0" lang="en-US"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endParaRPr>
          </a:p>
          <a:p>
            <a:pPr marL="360000" marR="0" lvl="3" indent="-172800" algn="l" defTabSz="914400" rtl="0" eaLnBrk="1" fontAlgn="auto" latinLnBrk="0" hangingPunct="1">
              <a:lnSpc>
                <a:spcPct val="90000"/>
              </a:lnSpc>
              <a:spcBef>
                <a:spcPts val="100"/>
              </a:spcBef>
              <a:spcAft>
                <a:spcPts val="0"/>
              </a:spcAft>
              <a:buClr>
                <a:schemeClr val="tx2"/>
              </a:buClr>
              <a:buSzPct val="75000"/>
              <a:buFont typeface="Wingdings" panose="05000000000000000000" pitchFamily="2" charset="2"/>
              <a:buChar char="n"/>
              <a:tabLst/>
              <a:defRPr/>
            </a:pP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Text superscript: (1) (2) (3)</a:t>
            </a:r>
            <a:endParaRPr kumimoji="0" lang="en-US"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endParaRPr>
          </a:p>
          <a:p>
            <a:pPr marL="172800" marR="0" lvl="2" indent="-172800" algn="l" defTabSz="914400" rtl="0" eaLnBrk="1" fontAlgn="auto" latinLnBrk="0" hangingPunct="1">
              <a:lnSpc>
                <a:spcPct val="90000"/>
              </a:lnSpc>
              <a:spcBef>
                <a:spcPts val="100"/>
              </a:spcBef>
              <a:spcAft>
                <a:spcPts val="0"/>
              </a:spcAft>
              <a:buClr>
                <a:srgbClr val="DEEDF2">
                  <a:lumMod val="25000"/>
                </a:srgbClr>
              </a:buClr>
              <a:buSzPct val="75000"/>
              <a:buFont typeface="Wingdings" panose="05000000000000000000" pitchFamily="2" charset="2"/>
              <a:buChar char="n"/>
              <a:tabLst/>
              <a:defRPr/>
            </a:pP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Bullets:</a:t>
            </a:r>
          </a:p>
          <a:p>
            <a:pPr marL="360000" marR="0" lvl="3" indent="-172800" algn="l" defTabSz="914400" rtl="0" eaLnBrk="1" fontAlgn="auto" latinLnBrk="0" hangingPunct="1">
              <a:lnSpc>
                <a:spcPct val="90000"/>
              </a:lnSpc>
              <a:spcBef>
                <a:spcPts val="100"/>
              </a:spcBef>
              <a:spcAft>
                <a:spcPts val="0"/>
              </a:spcAft>
              <a:buClr>
                <a:schemeClr val="tx2"/>
              </a:buClr>
              <a:buSzPct val="75000"/>
              <a:buFont typeface="Wingdings" panose="05000000000000000000" pitchFamily="2" charset="2"/>
              <a:buChar char="n"/>
              <a:tabLst/>
              <a:defRPr/>
            </a:pP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Sub Bullet</a:t>
            </a:r>
          </a:p>
          <a:p>
            <a:pPr marL="518400" marR="0" lvl="4" indent="-172800" algn="l" defTabSz="914400" rtl="0" eaLnBrk="1" fontAlgn="auto" latinLnBrk="0" hangingPunct="1">
              <a:lnSpc>
                <a:spcPct val="100000"/>
              </a:lnSpc>
              <a:spcBef>
                <a:spcPts val="0"/>
              </a:spcBef>
              <a:spcAft>
                <a:spcPts val="0"/>
              </a:spcAft>
              <a:buClr>
                <a:schemeClr val="tx1"/>
              </a:buClr>
              <a:buSzPct val="75000"/>
              <a:buFont typeface="Santander Text" panose="020B0504020201020104" pitchFamily="34" charset="0"/>
              <a:buChar char="–"/>
              <a:tabLst/>
              <a:defRPr/>
            </a:pPr>
            <a:r>
              <a:rPr lang="en-GB" sz="700" kern="1200" err="1">
                <a:solidFill>
                  <a:schemeClr val="tx2"/>
                </a:solidFill>
                <a:latin typeface="Santander Headline" panose="020B0504020201020104" pitchFamily="34" charset="0"/>
                <a:ea typeface="+mn-ea"/>
                <a:cs typeface="+mn-cs"/>
              </a:rPr>
              <a:t>SubSubBullet</a:t>
            </a:r>
            <a:endParaRPr lang="en-GB" sz="700" kern="1200">
              <a:solidFill>
                <a:schemeClr val="tx2"/>
              </a:solidFill>
              <a:latin typeface="Santander Headline" panose="020B0504020201020104" pitchFamily="34" charset="0"/>
              <a:ea typeface="+mn-ea"/>
              <a:cs typeface="+mn-cs"/>
            </a:endParaRPr>
          </a:p>
          <a:p>
            <a:pPr marL="0" marR="0" lvl="2" indent="0" algn="l" defTabSz="914400" rtl="0" eaLnBrk="1" fontAlgn="auto" latinLnBrk="0" hangingPunct="1">
              <a:lnSpc>
                <a:spcPct val="90000"/>
              </a:lnSpc>
              <a:spcBef>
                <a:spcPts val="100"/>
              </a:spcBef>
              <a:spcAft>
                <a:spcPts val="0"/>
              </a:spcAft>
              <a:buClr>
                <a:srgbClr val="DEEDF2">
                  <a:lumMod val="25000"/>
                </a:srgbClr>
              </a:buClr>
              <a:buSzPct val="75000"/>
              <a:buFont typeface="Wingdings" panose="05000000000000000000" pitchFamily="2" charset="2"/>
              <a:buNone/>
              <a:tabLst/>
              <a:defRPr/>
            </a:pP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          Bullet point standard size 75%</a:t>
            </a:r>
          </a:p>
          <a:p>
            <a:pPr marL="172800" marR="0" lvl="2" indent="-172800" algn="l" defTabSz="914400" rtl="0" eaLnBrk="1" fontAlgn="auto" latinLnBrk="0" hangingPunct="1">
              <a:lnSpc>
                <a:spcPct val="90000"/>
              </a:lnSpc>
              <a:spcBef>
                <a:spcPts val="100"/>
              </a:spcBef>
              <a:spcAft>
                <a:spcPts val="0"/>
              </a:spcAft>
              <a:buClr>
                <a:srgbClr val="DEEDF2">
                  <a:lumMod val="25000"/>
                </a:srgbClr>
              </a:buClr>
              <a:buSzPct val="75000"/>
              <a:buFont typeface="Wingdings" panose="05000000000000000000" pitchFamily="2" charset="2"/>
              <a:buChar char="n"/>
              <a:tabLst/>
              <a:defRPr/>
            </a:pP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Other:</a:t>
            </a:r>
            <a:endParaRPr kumimoji="0" lang="en-US"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endParaRPr>
          </a:p>
          <a:p>
            <a:pPr marL="360000" marR="0" lvl="3" indent="-172800" algn="l" defTabSz="914400" rtl="0" eaLnBrk="1" fontAlgn="auto" latinLnBrk="0" hangingPunct="1">
              <a:lnSpc>
                <a:spcPct val="90000"/>
              </a:lnSpc>
              <a:spcBef>
                <a:spcPts val="100"/>
              </a:spcBef>
              <a:spcAft>
                <a:spcPts val="0"/>
              </a:spcAft>
              <a:buClr>
                <a:schemeClr val="tx2"/>
              </a:buClr>
              <a:buSzPct val="75000"/>
              <a:buFont typeface="Wingdings" panose="05000000000000000000" pitchFamily="2" charset="2"/>
              <a:buChar char="n"/>
              <a:tabLst/>
              <a:defRPr/>
            </a:pP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Content spread across multiple pages: use “(1/X)”, (2/X),…, (X/X) </a:t>
            </a:r>
          </a:p>
          <a:p>
            <a:pPr marL="360000" marR="0" lvl="3" indent="-172800" algn="l" defTabSz="914400" rtl="0" eaLnBrk="1" fontAlgn="auto" latinLnBrk="0" hangingPunct="1">
              <a:lnSpc>
                <a:spcPct val="90000"/>
              </a:lnSpc>
              <a:spcBef>
                <a:spcPts val="100"/>
              </a:spcBef>
              <a:spcAft>
                <a:spcPts val="0"/>
              </a:spcAft>
              <a:buClr>
                <a:schemeClr val="tx2"/>
              </a:buClr>
              <a:buSzPct val="75000"/>
              <a:buFont typeface="Wingdings" panose="05000000000000000000" pitchFamily="2" charset="2"/>
              <a:buChar char="n"/>
              <a:tabLst/>
              <a:defRPr/>
            </a:pPr>
            <a:r>
              <a:rPr kumimoji="0" lang="en-GB"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rPr>
              <a:t>Use “c.” rather than “~”</a:t>
            </a:r>
            <a:endParaRPr kumimoji="0" lang="en-US" sz="700" b="0" i="0" u="none" strike="noStrike" kern="1200" cap="none" spc="0" normalizeH="0" baseline="0">
              <a:ln>
                <a:noFill/>
              </a:ln>
              <a:solidFill>
                <a:schemeClr val="tx2"/>
              </a:solidFill>
              <a:effectLst/>
              <a:uLnTx/>
              <a:uFillTx/>
              <a:latin typeface="Santander Headline" panose="020B0504020201020104" pitchFamily="34" charset="0"/>
              <a:ea typeface="+mn-ea"/>
              <a:cs typeface="+mn-cs"/>
            </a:endParaRPr>
          </a:p>
        </p:txBody>
      </p:sp>
      <p:sp>
        <p:nvSpPr>
          <p:cNvPr id="3" name="Rectangle 3">
            <a:extLst>
              <a:ext uri="{FF2B5EF4-FFF2-40B4-BE49-F238E27FC236}">
                <a16:creationId xmlns:a16="http://schemas.microsoft.com/office/drawing/2014/main" id="{B095D2E2-D8EB-FCAF-5AE0-7628CC57F591}"/>
              </a:ext>
            </a:extLst>
          </p:cNvPr>
          <p:cNvSpPr/>
          <p:nvPr userDrawn="1"/>
        </p:nvSpPr>
        <p:spPr>
          <a:xfrm>
            <a:off x="-2258403" y="3117252"/>
            <a:ext cx="1080000" cy="450395"/>
          </a:xfrm>
          <a:prstGeom prst="rect">
            <a:avLst/>
          </a:prstGeom>
          <a:solidFill>
            <a:srgbClr val="6000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bg1"/>
                </a:solidFill>
                <a:latin typeface="Santander Headline" panose="020B0504020201020104" pitchFamily="34" charset="0"/>
              </a:rPr>
              <a:t>R: 96</a:t>
            </a:r>
          </a:p>
          <a:p>
            <a:pPr algn="ctr"/>
            <a:r>
              <a:rPr lang="en-GB" sz="800" b="1">
                <a:solidFill>
                  <a:schemeClr val="bg1"/>
                </a:solidFill>
                <a:latin typeface="Santander Headline" panose="020B0504020201020104" pitchFamily="34" charset="0"/>
              </a:rPr>
              <a:t>G: 0</a:t>
            </a:r>
          </a:p>
          <a:p>
            <a:pPr algn="ctr"/>
            <a:r>
              <a:rPr lang="en-GB" sz="800" b="1">
                <a:solidFill>
                  <a:schemeClr val="bg1"/>
                </a:solidFill>
                <a:latin typeface="Santander Headline" panose="020B0504020201020104" pitchFamily="34" charset="0"/>
              </a:rPr>
              <a:t>B: 29</a:t>
            </a:r>
          </a:p>
        </p:txBody>
      </p:sp>
      <p:sp>
        <p:nvSpPr>
          <p:cNvPr id="4" name="Rectangle 5">
            <a:extLst>
              <a:ext uri="{FF2B5EF4-FFF2-40B4-BE49-F238E27FC236}">
                <a16:creationId xmlns:a16="http://schemas.microsoft.com/office/drawing/2014/main" id="{38C776D2-4B1A-51CC-8FC7-737A3F7BF33A}"/>
              </a:ext>
            </a:extLst>
          </p:cNvPr>
          <p:cNvSpPr/>
          <p:nvPr userDrawn="1"/>
        </p:nvSpPr>
        <p:spPr>
          <a:xfrm>
            <a:off x="-2258403" y="3582827"/>
            <a:ext cx="1080000" cy="450395"/>
          </a:xfrm>
          <a:prstGeom prst="rect">
            <a:avLst/>
          </a:prstGeom>
          <a:solidFill>
            <a:srgbClr val="8C001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bg1"/>
                </a:solidFill>
                <a:latin typeface="Santander Headline" panose="020B0504020201020104" pitchFamily="34" charset="0"/>
              </a:rPr>
              <a:t>R: 140</a:t>
            </a:r>
          </a:p>
          <a:p>
            <a:pPr algn="ctr"/>
            <a:r>
              <a:rPr lang="en-GB" sz="800" b="1">
                <a:solidFill>
                  <a:schemeClr val="bg1"/>
                </a:solidFill>
                <a:latin typeface="Santander Headline" panose="020B0504020201020104" pitchFamily="34" charset="0"/>
              </a:rPr>
              <a:t>G: 0</a:t>
            </a:r>
          </a:p>
          <a:p>
            <a:pPr algn="ctr"/>
            <a:r>
              <a:rPr lang="en-GB" sz="800" b="1">
                <a:solidFill>
                  <a:schemeClr val="bg1"/>
                </a:solidFill>
                <a:latin typeface="Santander Headline" panose="020B0504020201020104" pitchFamily="34" charset="0"/>
              </a:rPr>
              <a:t>B: 20</a:t>
            </a:r>
          </a:p>
        </p:txBody>
      </p:sp>
      <p:sp>
        <p:nvSpPr>
          <p:cNvPr id="5" name="Rectangle 6">
            <a:extLst>
              <a:ext uri="{FF2B5EF4-FFF2-40B4-BE49-F238E27FC236}">
                <a16:creationId xmlns:a16="http://schemas.microsoft.com/office/drawing/2014/main" id="{A6C21F10-31C6-CE49-01BA-228D2B3D2772}"/>
              </a:ext>
            </a:extLst>
          </p:cNvPr>
          <p:cNvSpPr/>
          <p:nvPr userDrawn="1"/>
        </p:nvSpPr>
        <p:spPr>
          <a:xfrm>
            <a:off x="-2258403" y="4052900"/>
            <a:ext cx="1080000" cy="450395"/>
          </a:xfrm>
          <a:prstGeom prst="rect">
            <a:avLst/>
          </a:prstGeom>
          <a:solidFill>
            <a:srgbClr val="EC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bg1"/>
                </a:solidFill>
                <a:latin typeface="Santander Headline" panose="020B0504020201020104" pitchFamily="34" charset="0"/>
              </a:rPr>
              <a:t>R: 236</a:t>
            </a:r>
          </a:p>
          <a:p>
            <a:pPr algn="ctr"/>
            <a:r>
              <a:rPr lang="en-GB" sz="800" b="1">
                <a:solidFill>
                  <a:schemeClr val="bg1"/>
                </a:solidFill>
                <a:latin typeface="Santander Headline" panose="020B0504020201020104" pitchFamily="34" charset="0"/>
              </a:rPr>
              <a:t>G: 0</a:t>
            </a:r>
          </a:p>
          <a:p>
            <a:pPr algn="ctr"/>
            <a:r>
              <a:rPr lang="en-GB" sz="800" b="1">
                <a:solidFill>
                  <a:schemeClr val="bg1"/>
                </a:solidFill>
                <a:latin typeface="Santander Headline" panose="020B0504020201020104" pitchFamily="34" charset="0"/>
              </a:rPr>
              <a:t>B: 0</a:t>
            </a:r>
          </a:p>
        </p:txBody>
      </p:sp>
      <p:sp>
        <p:nvSpPr>
          <p:cNvPr id="6" name="Rectangle 7">
            <a:extLst>
              <a:ext uri="{FF2B5EF4-FFF2-40B4-BE49-F238E27FC236}">
                <a16:creationId xmlns:a16="http://schemas.microsoft.com/office/drawing/2014/main" id="{D23FAC87-26DF-85B3-B1B2-8162BCDF094C}"/>
              </a:ext>
            </a:extLst>
          </p:cNvPr>
          <p:cNvSpPr/>
          <p:nvPr userDrawn="1"/>
        </p:nvSpPr>
        <p:spPr>
          <a:xfrm>
            <a:off x="-1161480" y="4052900"/>
            <a:ext cx="1080000" cy="450395"/>
          </a:xfrm>
          <a:prstGeom prst="rect">
            <a:avLst/>
          </a:prstGeom>
          <a:solidFill>
            <a:srgbClr val="DBCCB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tx2"/>
                </a:solidFill>
                <a:latin typeface="Santander Headline" panose="020B0504020201020104" pitchFamily="34" charset="0"/>
              </a:rPr>
              <a:t>R: 219</a:t>
            </a:r>
          </a:p>
          <a:p>
            <a:pPr algn="ctr"/>
            <a:r>
              <a:rPr lang="en-GB" sz="800" b="1">
                <a:solidFill>
                  <a:schemeClr val="tx2"/>
                </a:solidFill>
                <a:latin typeface="Santander Headline" panose="020B0504020201020104" pitchFamily="34" charset="0"/>
              </a:rPr>
              <a:t>G: 204</a:t>
            </a:r>
          </a:p>
          <a:p>
            <a:pPr algn="ctr"/>
            <a:r>
              <a:rPr lang="en-GB" sz="800" b="1">
                <a:solidFill>
                  <a:schemeClr val="tx2"/>
                </a:solidFill>
                <a:latin typeface="Santander Headline" panose="020B0504020201020104" pitchFamily="34" charset="0"/>
              </a:rPr>
              <a:t>B: 189</a:t>
            </a:r>
          </a:p>
        </p:txBody>
      </p:sp>
      <p:sp>
        <p:nvSpPr>
          <p:cNvPr id="7" name="Rectangle 9">
            <a:extLst>
              <a:ext uri="{FF2B5EF4-FFF2-40B4-BE49-F238E27FC236}">
                <a16:creationId xmlns:a16="http://schemas.microsoft.com/office/drawing/2014/main" id="{E54ADCD3-1AA6-5B48-0D82-812E56D0311B}"/>
              </a:ext>
            </a:extLst>
          </p:cNvPr>
          <p:cNvSpPr/>
          <p:nvPr userDrawn="1"/>
        </p:nvSpPr>
        <p:spPr>
          <a:xfrm>
            <a:off x="-2258403" y="4520724"/>
            <a:ext cx="2176923" cy="251573"/>
          </a:xfrm>
          <a:prstGeom prst="rect">
            <a:avLst/>
          </a:prstGeom>
          <a:solidFill>
            <a:srgbClr val="CCB8A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tx2"/>
                </a:solidFill>
                <a:latin typeface="Santander Headline" panose="020B0504020201020104" pitchFamily="34" charset="0"/>
              </a:rPr>
              <a:t>R: 204 G: 184 B: 163</a:t>
            </a:r>
          </a:p>
        </p:txBody>
      </p:sp>
      <p:sp>
        <p:nvSpPr>
          <p:cNvPr id="8" name="Rectangle 11">
            <a:extLst>
              <a:ext uri="{FF2B5EF4-FFF2-40B4-BE49-F238E27FC236}">
                <a16:creationId xmlns:a16="http://schemas.microsoft.com/office/drawing/2014/main" id="{2665E67C-33B1-7C61-5F04-507690191736}"/>
              </a:ext>
            </a:extLst>
          </p:cNvPr>
          <p:cNvSpPr/>
          <p:nvPr userDrawn="1"/>
        </p:nvSpPr>
        <p:spPr>
          <a:xfrm>
            <a:off x="-1161480" y="3117252"/>
            <a:ext cx="1080000" cy="450395"/>
          </a:xfrm>
          <a:prstGeom prst="rect">
            <a:avLst/>
          </a:prstGeom>
          <a:solidFill>
            <a:srgbClr val="F8F5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tx2"/>
                </a:solidFill>
                <a:latin typeface="Santander Headline" panose="020B0504020201020104" pitchFamily="34" charset="0"/>
              </a:rPr>
              <a:t>R: 248</a:t>
            </a:r>
          </a:p>
          <a:p>
            <a:pPr algn="ctr"/>
            <a:r>
              <a:rPr lang="en-GB" sz="800" b="1">
                <a:solidFill>
                  <a:schemeClr val="tx2"/>
                </a:solidFill>
                <a:latin typeface="Santander Headline" panose="020B0504020201020104" pitchFamily="34" charset="0"/>
              </a:rPr>
              <a:t>G: 245</a:t>
            </a:r>
          </a:p>
          <a:p>
            <a:pPr algn="ctr"/>
            <a:r>
              <a:rPr lang="en-GB" sz="800" b="1">
                <a:solidFill>
                  <a:schemeClr val="tx2"/>
                </a:solidFill>
                <a:latin typeface="Santander Headline" panose="020B0504020201020104" pitchFamily="34" charset="0"/>
              </a:rPr>
              <a:t>B: 242</a:t>
            </a:r>
          </a:p>
        </p:txBody>
      </p:sp>
      <p:sp>
        <p:nvSpPr>
          <p:cNvPr id="9" name="Rectangle 13">
            <a:extLst>
              <a:ext uri="{FF2B5EF4-FFF2-40B4-BE49-F238E27FC236}">
                <a16:creationId xmlns:a16="http://schemas.microsoft.com/office/drawing/2014/main" id="{9F6E5EB9-6190-8802-C9D2-E43C8F39ED71}"/>
              </a:ext>
            </a:extLst>
          </p:cNvPr>
          <p:cNvSpPr/>
          <p:nvPr userDrawn="1"/>
        </p:nvSpPr>
        <p:spPr>
          <a:xfrm>
            <a:off x="-1161480" y="3585076"/>
            <a:ext cx="1080000" cy="450395"/>
          </a:xfrm>
          <a:prstGeom prst="rect">
            <a:avLst/>
          </a:prstGeom>
          <a:solidFill>
            <a:srgbClr val="E6DCD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tx2"/>
                </a:solidFill>
                <a:latin typeface="Santander Headline" panose="020B0504020201020104" pitchFamily="34" charset="0"/>
              </a:rPr>
              <a:t>R: 230</a:t>
            </a:r>
          </a:p>
          <a:p>
            <a:pPr algn="ctr"/>
            <a:r>
              <a:rPr lang="en-GB" sz="800" b="1">
                <a:solidFill>
                  <a:schemeClr val="tx2"/>
                </a:solidFill>
                <a:latin typeface="Santander Headline" panose="020B0504020201020104" pitchFamily="34" charset="0"/>
              </a:rPr>
              <a:t>G: 220</a:t>
            </a:r>
          </a:p>
          <a:p>
            <a:pPr algn="ctr"/>
            <a:r>
              <a:rPr lang="en-GB" sz="800" b="1">
                <a:solidFill>
                  <a:schemeClr val="tx2"/>
                </a:solidFill>
                <a:latin typeface="Santander Headline" panose="020B0504020201020104" pitchFamily="34" charset="0"/>
              </a:rPr>
              <a:t>B: 210</a:t>
            </a:r>
          </a:p>
        </p:txBody>
      </p:sp>
      <p:sp>
        <p:nvSpPr>
          <p:cNvPr id="10" name="Rectangle 15">
            <a:extLst>
              <a:ext uri="{FF2B5EF4-FFF2-40B4-BE49-F238E27FC236}">
                <a16:creationId xmlns:a16="http://schemas.microsoft.com/office/drawing/2014/main" id="{F45E8403-A20E-1A25-DD17-A6DC7F7DA017}"/>
              </a:ext>
            </a:extLst>
          </p:cNvPr>
          <p:cNvSpPr/>
          <p:nvPr userDrawn="1"/>
        </p:nvSpPr>
        <p:spPr>
          <a:xfrm>
            <a:off x="-2258403" y="4974433"/>
            <a:ext cx="1080000" cy="216000"/>
          </a:xfrm>
          <a:prstGeom prst="rect">
            <a:avLst/>
          </a:prstGeom>
          <a:solidFill>
            <a:srgbClr val="184E6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tx2"/>
                </a:solidFill>
                <a:latin typeface="Santander Headline" panose="020B0504020201020104" pitchFamily="34" charset="0"/>
              </a:rPr>
              <a:t>R: 24  G: 78 B: 98</a:t>
            </a:r>
          </a:p>
        </p:txBody>
      </p:sp>
      <p:sp>
        <p:nvSpPr>
          <p:cNvPr id="13" name="CuadroTexto 12">
            <a:extLst>
              <a:ext uri="{FF2B5EF4-FFF2-40B4-BE49-F238E27FC236}">
                <a16:creationId xmlns:a16="http://schemas.microsoft.com/office/drawing/2014/main" id="{C548D47B-F3D1-D1BB-BEA9-0CCA14DBC523}"/>
              </a:ext>
            </a:extLst>
          </p:cNvPr>
          <p:cNvSpPr txBox="1"/>
          <p:nvPr userDrawn="1"/>
        </p:nvSpPr>
        <p:spPr>
          <a:xfrm>
            <a:off x="-2207741" y="4757221"/>
            <a:ext cx="2051222" cy="230832"/>
          </a:xfrm>
          <a:prstGeom prst="rect">
            <a:avLst/>
          </a:prstGeom>
          <a:noFill/>
        </p:spPr>
        <p:txBody>
          <a:bodyPr wrap="square" rtlCol="0">
            <a:spAutoFit/>
          </a:bodyPr>
          <a:lstStyle/>
          <a:p>
            <a:pPr algn="ctr"/>
            <a:r>
              <a:rPr lang="es-ES" sz="900">
                <a:solidFill>
                  <a:schemeClr val="bg1"/>
                </a:solidFill>
                <a:latin typeface="Santander Headline" panose="020B0504020201020104" pitchFamily="34" charset="0"/>
              </a:rPr>
              <a:t>CHART COLORS</a:t>
            </a:r>
          </a:p>
        </p:txBody>
      </p:sp>
      <p:sp>
        <p:nvSpPr>
          <p:cNvPr id="14" name="TextBox 20">
            <a:extLst>
              <a:ext uri="{FF2B5EF4-FFF2-40B4-BE49-F238E27FC236}">
                <a16:creationId xmlns:a16="http://schemas.microsoft.com/office/drawing/2014/main" id="{58F20FCA-D2C3-86E9-FE3A-6E599409DA5D}"/>
              </a:ext>
            </a:extLst>
          </p:cNvPr>
          <p:cNvSpPr txBox="1"/>
          <p:nvPr userDrawn="1">
            <p:custDataLst>
              <p:tags r:id="rId78"/>
            </p:custDataLst>
          </p:nvPr>
        </p:nvSpPr>
        <p:spPr>
          <a:xfrm>
            <a:off x="10824088" y="130264"/>
            <a:ext cx="1189498" cy="161583"/>
          </a:xfrm>
          <a:prstGeom prst="rect">
            <a:avLst/>
          </a:prstGeom>
        </p:spPr>
        <p:txBody>
          <a:bodyPr wrap="square" lIns="0" tIns="0" rIns="0" bIns="0">
            <a:spAutoFit/>
          </a:bodyPr>
          <a:lstStyle/>
          <a:p>
            <a:pPr algn="r"/>
            <a:r>
              <a:rPr lang="en-GB" sz="1050" kern="1200">
                <a:solidFill>
                  <a:schemeClr val="tx2"/>
                </a:solidFill>
                <a:latin typeface="Santander Headline" panose="020B0504020201020104" pitchFamily="34" charset="0"/>
                <a:ea typeface="+mn-ea"/>
                <a:cs typeface="+mn-cs"/>
              </a:rPr>
              <a:t>Confidential</a:t>
            </a:r>
          </a:p>
        </p:txBody>
      </p:sp>
      <p:sp>
        <p:nvSpPr>
          <p:cNvPr id="15" name="Rectangle 15">
            <a:extLst>
              <a:ext uri="{FF2B5EF4-FFF2-40B4-BE49-F238E27FC236}">
                <a16:creationId xmlns:a16="http://schemas.microsoft.com/office/drawing/2014/main" id="{73F32B54-EB7E-840F-7B20-7E62F317E6EB}"/>
              </a:ext>
            </a:extLst>
          </p:cNvPr>
          <p:cNvSpPr/>
          <p:nvPr userDrawn="1"/>
        </p:nvSpPr>
        <p:spPr>
          <a:xfrm>
            <a:off x="-2258403" y="5217858"/>
            <a:ext cx="1080000" cy="216000"/>
          </a:xfrm>
          <a:prstGeom prst="rect">
            <a:avLst/>
          </a:prstGeom>
          <a:solidFill>
            <a:srgbClr val="23779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tx2"/>
                </a:solidFill>
                <a:latin typeface="Santander Headline" panose="020B0504020201020104" pitchFamily="34" charset="0"/>
              </a:rPr>
              <a:t>R:35 G:119 B: 154</a:t>
            </a:r>
          </a:p>
        </p:txBody>
      </p:sp>
      <p:sp>
        <p:nvSpPr>
          <p:cNvPr id="21" name="Rectangle 15">
            <a:extLst>
              <a:ext uri="{FF2B5EF4-FFF2-40B4-BE49-F238E27FC236}">
                <a16:creationId xmlns:a16="http://schemas.microsoft.com/office/drawing/2014/main" id="{EBF1440A-410E-CAA1-878C-16B8AC8E74CC}"/>
              </a:ext>
            </a:extLst>
          </p:cNvPr>
          <p:cNvSpPr/>
          <p:nvPr userDrawn="1"/>
        </p:nvSpPr>
        <p:spPr>
          <a:xfrm>
            <a:off x="-2258403" y="6423635"/>
            <a:ext cx="1080000" cy="216000"/>
          </a:xfrm>
          <a:prstGeom prst="rect">
            <a:avLst/>
          </a:prstGeom>
          <a:solidFill>
            <a:srgbClr val="9F908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tx2"/>
                </a:solidFill>
                <a:latin typeface="Santander Headline" panose="020B0504020201020104" pitchFamily="34" charset="0"/>
              </a:rPr>
              <a:t>R: 159  G: 144 B: 132</a:t>
            </a:r>
          </a:p>
        </p:txBody>
      </p:sp>
      <p:sp>
        <p:nvSpPr>
          <p:cNvPr id="22" name="Rectangle 15">
            <a:extLst>
              <a:ext uri="{FF2B5EF4-FFF2-40B4-BE49-F238E27FC236}">
                <a16:creationId xmlns:a16="http://schemas.microsoft.com/office/drawing/2014/main" id="{B5A2F1A1-9572-57A9-9FC2-5A73897CC21D}"/>
              </a:ext>
            </a:extLst>
          </p:cNvPr>
          <p:cNvSpPr/>
          <p:nvPr userDrawn="1"/>
        </p:nvSpPr>
        <p:spPr>
          <a:xfrm>
            <a:off x="-1161480" y="5217858"/>
            <a:ext cx="1080000" cy="216000"/>
          </a:xfrm>
          <a:prstGeom prst="rect">
            <a:avLst/>
          </a:prstGeom>
          <a:solidFill>
            <a:srgbClr val="8C001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bg1"/>
                </a:solidFill>
                <a:latin typeface="Santander Headline" panose="020B0504020201020104" pitchFamily="34" charset="0"/>
              </a:rPr>
              <a:t>R: 140 G: 0 B: 20</a:t>
            </a:r>
          </a:p>
        </p:txBody>
      </p:sp>
      <p:sp>
        <p:nvSpPr>
          <p:cNvPr id="23" name="Rectangle 15">
            <a:extLst>
              <a:ext uri="{FF2B5EF4-FFF2-40B4-BE49-F238E27FC236}">
                <a16:creationId xmlns:a16="http://schemas.microsoft.com/office/drawing/2014/main" id="{F928CBB2-03B4-953A-10BE-7AD46180FA1E}"/>
              </a:ext>
            </a:extLst>
          </p:cNvPr>
          <p:cNvSpPr/>
          <p:nvPr userDrawn="1"/>
        </p:nvSpPr>
        <p:spPr>
          <a:xfrm>
            <a:off x="-2258403" y="5460758"/>
            <a:ext cx="1080000" cy="216000"/>
          </a:xfrm>
          <a:prstGeom prst="rect">
            <a:avLst/>
          </a:prstGeom>
          <a:solidFill>
            <a:srgbClr val="9BC3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tx2"/>
                </a:solidFill>
                <a:latin typeface="Santander Headline" panose="020B0504020201020104" pitchFamily="34" charset="0"/>
              </a:rPr>
              <a:t>R: 155  G: 195 B: 211</a:t>
            </a:r>
          </a:p>
        </p:txBody>
      </p:sp>
      <p:sp>
        <p:nvSpPr>
          <p:cNvPr id="24" name="Rectangle 15">
            <a:extLst>
              <a:ext uri="{FF2B5EF4-FFF2-40B4-BE49-F238E27FC236}">
                <a16:creationId xmlns:a16="http://schemas.microsoft.com/office/drawing/2014/main" id="{B70EEC51-3FAD-DA9C-D2EB-645CC7C51889}"/>
              </a:ext>
            </a:extLst>
          </p:cNvPr>
          <p:cNvSpPr/>
          <p:nvPr userDrawn="1"/>
        </p:nvSpPr>
        <p:spPr>
          <a:xfrm>
            <a:off x="-2258403" y="5703794"/>
            <a:ext cx="1080000" cy="216000"/>
          </a:xfrm>
          <a:prstGeom prst="rect">
            <a:avLst/>
          </a:prstGeom>
          <a:solidFill>
            <a:srgbClr val="C3DEE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tx2"/>
                </a:solidFill>
                <a:latin typeface="Santander Headline" panose="020B0504020201020104" pitchFamily="34" charset="0"/>
              </a:rPr>
              <a:t>R: 195 G: 222 B: 231</a:t>
            </a:r>
          </a:p>
        </p:txBody>
      </p:sp>
      <p:sp>
        <p:nvSpPr>
          <p:cNvPr id="25" name="Rectangle 15">
            <a:extLst>
              <a:ext uri="{FF2B5EF4-FFF2-40B4-BE49-F238E27FC236}">
                <a16:creationId xmlns:a16="http://schemas.microsoft.com/office/drawing/2014/main" id="{A5F9C368-D6E1-ED18-9F32-6EDA0382F448}"/>
              </a:ext>
            </a:extLst>
          </p:cNvPr>
          <p:cNvSpPr/>
          <p:nvPr userDrawn="1"/>
        </p:nvSpPr>
        <p:spPr>
          <a:xfrm>
            <a:off x="-1161480" y="5460758"/>
            <a:ext cx="1080000" cy="216000"/>
          </a:xfrm>
          <a:prstGeom prst="rect">
            <a:avLst/>
          </a:prstGeom>
          <a:solidFill>
            <a:srgbClr val="6000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bg1"/>
                </a:solidFill>
                <a:latin typeface="Santander Headline" panose="020B0504020201020104" pitchFamily="34" charset="0"/>
              </a:rPr>
              <a:t>R: 96  G: 0 B: 29</a:t>
            </a:r>
          </a:p>
        </p:txBody>
      </p:sp>
      <p:sp>
        <p:nvSpPr>
          <p:cNvPr id="26" name="Rectangle 15">
            <a:extLst>
              <a:ext uri="{FF2B5EF4-FFF2-40B4-BE49-F238E27FC236}">
                <a16:creationId xmlns:a16="http://schemas.microsoft.com/office/drawing/2014/main" id="{CB33C874-D49F-3E7C-7BDA-7D1ECC622CFA}"/>
              </a:ext>
            </a:extLst>
          </p:cNvPr>
          <p:cNvSpPr/>
          <p:nvPr userDrawn="1"/>
        </p:nvSpPr>
        <p:spPr>
          <a:xfrm>
            <a:off x="-1161480" y="5703794"/>
            <a:ext cx="1080000" cy="216000"/>
          </a:xfrm>
          <a:prstGeom prst="rect">
            <a:avLst/>
          </a:prstGeom>
          <a:solidFill>
            <a:srgbClr val="EC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bg1"/>
                </a:solidFill>
                <a:latin typeface="Santander Headline" panose="020B0504020201020104" pitchFamily="34" charset="0"/>
              </a:rPr>
              <a:t>R: 236 G: 0 B: 0</a:t>
            </a:r>
          </a:p>
        </p:txBody>
      </p:sp>
      <p:sp>
        <p:nvSpPr>
          <p:cNvPr id="27" name="Rectangle 15">
            <a:extLst>
              <a:ext uri="{FF2B5EF4-FFF2-40B4-BE49-F238E27FC236}">
                <a16:creationId xmlns:a16="http://schemas.microsoft.com/office/drawing/2014/main" id="{D321BBC1-6E71-E7AD-35DB-FB1C0F54AD42}"/>
              </a:ext>
            </a:extLst>
          </p:cNvPr>
          <p:cNvSpPr/>
          <p:nvPr userDrawn="1"/>
        </p:nvSpPr>
        <p:spPr>
          <a:xfrm>
            <a:off x="-2258403" y="5948438"/>
            <a:ext cx="1080000" cy="216000"/>
          </a:xfrm>
          <a:prstGeom prst="rect">
            <a:avLst/>
          </a:prstGeom>
          <a:solidFill>
            <a:srgbClr val="DEED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tx2"/>
                </a:solidFill>
                <a:latin typeface="Santander Headline" panose="020B0504020201020104" pitchFamily="34" charset="0"/>
              </a:rPr>
              <a:t>R: 222  G: 237 B: 242</a:t>
            </a:r>
          </a:p>
        </p:txBody>
      </p:sp>
      <p:sp>
        <p:nvSpPr>
          <p:cNvPr id="28" name="Rectangle 15">
            <a:extLst>
              <a:ext uri="{FF2B5EF4-FFF2-40B4-BE49-F238E27FC236}">
                <a16:creationId xmlns:a16="http://schemas.microsoft.com/office/drawing/2014/main" id="{57BAE2F5-A953-7C54-0DF4-30CA85854A97}"/>
              </a:ext>
            </a:extLst>
          </p:cNvPr>
          <p:cNvSpPr/>
          <p:nvPr userDrawn="1"/>
        </p:nvSpPr>
        <p:spPr>
          <a:xfrm>
            <a:off x="-2258403" y="6183442"/>
            <a:ext cx="1080000" cy="216000"/>
          </a:xfrm>
          <a:prstGeom prst="rect">
            <a:avLst/>
          </a:prstGeom>
          <a:solidFill>
            <a:srgbClr val="DBCCB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tx2"/>
                </a:solidFill>
                <a:latin typeface="Santander Headline" panose="020B0504020201020104" pitchFamily="34" charset="0"/>
              </a:rPr>
              <a:t>R: 219 G: 204 B: 189</a:t>
            </a:r>
          </a:p>
        </p:txBody>
      </p:sp>
      <p:sp>
        <p:nvSpPr>
          <p:cNvPr id="29" name="Rectangle 15">
            <a:extLst>
              <a:ext uri="{FF2B5EF4-FFF2-40B4-BE49-F238E27FC236}">
                <a16:creationId xmlns:a16="http://schemas.microsoft.com/office/drawing/2014/main" id="{AC11DFB0-DADD-AA6F-A1A4-E1A4C777EE64}"/>
              </a:ext>
            </a:extLst>
          </p:cNvPr>
          <p:cNvSpPr/>
          <p:nvPr userDrawn="1"/>
        </p:nvSpPr>
        <p:spPr>
          <a:xfrm>
            <a:off x="-1161123" y="6183442"/>
            <a:ext cx="1080000" cy="216000"/>
          </a:xfrm>
          <a:prstGeom prst="rect">
            <a:avLst/>
          </a:prstGeom>
          <a:solidFill>
            <a:srgbClr val="3366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bg1"/>
                </a:solidFill>
                <a:latin typeface="Santander Headline" panose="020B0504020201020104" pitchFamily="34" charset="0"/>
              </a:rPr>
              <a:t>R: 51  G: 102 B: 255</a:t>
            </a:r>
          </a:p>
        </p:txBody>
      </p:sp>
      <p:sp>
        <p:nvSpPr>
          <p:cNvPr id="30" name="Rectangle 15">
            <a:extLst>
              <a:ext uri="{FF2B5EF4-FFF2-40B4-BE49-F238E27FC236}">
                <a16:creationId xmlns:a16="http://schemas.microsoft.com/office/drawing/2014/main" id="{FDEA1C34-1354-9073-0651-01321B7DFC4D}"/>
              </a:ext>
            </a:extLst>
          </p:cNvPr>
          <p:cNvSpPr/>
          <p:nvPr userDrawn="1"/>
        </p:nvSpPr>
        <p:spPr>
          <a:xfrm>
            <a:off x="-1161123" y="6423635"/>
            <a:ext cx="1080000" cy="216000"/>
          </a:xfrm>
          <a:prstGeom prst="rect">
            <a:avLst/>
          </a:prstGeom>
          <a:solidFill>
            <a:srgbClr val="002DB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bg1"/>
                </a:solidFill>
                <a:latin typeface="Santander Headline" panose="020B0504020201020104" pitchFamily="34" charset="0"/>
              </a:rPr>
              <a:t>R: 0 G: 45 B: 182</a:t>
            </a:r>
          </a:p>
        </p:txBody>
      </p:sp>
      <p:sp>
        <p:nvSpPr>
          <p:cNvPr id="11" name="Rectangle 9">
            <a:extLst>
              <a:ext uri="{FF2B5EF4-FFF2-40B4-BE49-F238E27FC236}">
                <a16:creationId xmlns:a16="http://schemas.microsoft.com/office/drawing/2014/main" id="{F07F4A15-17FD-F716-7A4F-EBC8CEB56E01}"/>
              </a:ext>
            </a:extLst>
          </p:cNvPr>
          <p:cNvSpPr/>
          <p:nvPr userDrawn="1"/>
        </p:nvSpPr>
        <p:spPr>
          <a:xfrm>
            <a:off x="-1164850" y="6660552"/>
            <a:ext cx="1083370" cy="216000"/>
          </a:xfrm>
          <a:prstGeom prst="rect">
            <a:avLst/>
          </a:prstGeom>
          <a:solidFill>
            <a:srgbClr val="99B3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tx2"/>
                </a:solidFill>
                <a:latin typeface="Santander Headline" panose="020B0504020201020104" pitchFamily="34" charset="0"/>
              </a:rPr>
              <a:t>R: 153 G: 179 B: 255</a:t>
            </a:r>
          </a:p>
        </p:txBody>
      </p:sp>
      <p:sp>
        <p:nvSpPr>
          <p:cNvPr id="12" name="Rectangle 15">
            <a:extLst>
              <a:ext uri="{FF2B5EF4-FFF2-40B4-BE49-F238E27FC236}">
                <a16:creationId xmlns:a16="http://schemas.microsoft.com/office/drawing/2014/main" id="{DD21AA60-B1F6-37D4-A953-FB096293EB11}"/>
              </a:ext>
            </a:extLst>
          </p:cNvPr>
          <p:cNvSpPr/>
          <p:nvPr userDrawn="1"/>
        </p:nvSpPr>
        <p:spPr>
          <a:xfrm>
            <a:off x="-2262130" y="6660552"/>
            <a:ext cx="1080000" cy="216000"/>
          </a:xfrm>
          <a:prstGeom prst="rect">
            <a:avLst/>
          </a:prstGeom>
          <a:solidFill>
            <a:srgbClr val="E6DCD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tx2"/>
                </a:solidFill>
                <a:latin typeface="Santander Headline" panose="020B0504020201020104" pitchFamily="34" charset="0"/>
              </a:rPr>
              <a:t>R: 230  G: 220 B: 210</a:t>
            </a:r>
          </a:p>
        </p:txBody>
      </p:sp>
      <p:sp>
        <p:nvSpPr>
          <p:cNvPr id="16" name="Rectangle 15">
            <a:extLst>
              <a:ext uri="{FF2B5EF4-FFF2-40B4-BE49-F238E27FC236}">
                <a16:creationId xmlns:a16="http://schemas.microsoft.com/office/drawing/2014/main" id="{E74D1AC8-E4F0-1D0C-F076-B315B84B2B68}"/>
              </a:ext>
            </a:extLst>
          </p:cNvPr>
          <p:cNvSpPr/>
          <p:nvPr userDrawn="1"/>
        </p:nvSpPr>
        <p:spPr>
          <a:xfrm>
            <a:off x="-1161480" y="4974433"/>
            <a:ext cx="1080000" cy="216000"/>
          </a:xfrm>
          <a:prstGeom prst="rect">
            <a:avLst/>
          </a:prstGeom>
          <a:solidFill>
            <a:srgbClr val="CCB8A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tx2"/>
                </a:solidFill>
                <a:latin typeface="Santander Headline" panose="020B0504020201020104" pitchFamily="34" charset="0"/>
              </a:rPr>
              <a:t>R: 204  G: 184 B: 163</a:t>
            </a:r>
          </a:p>
        </p:txBody>
      </p:sp>
      <p:sp>
        <p:nvSpPr>
          <p:cNvPr id="17" name="Rectangle 15">
            <a:extLst>
              <a:ext uri="{FF2B5EF4-FFF2-40B4-BE49-F238E27FC236}">
                <a16:creationId xmlns:a16="http://schemas.microsoft.com/office/drawing/2014/main" id="{31E46A42-2F6E-B962-04BA-0331FB4E47E6}"/>
              </a:ext>
            </a:extLst>
          </p:cNvPr>
          <p:cNvSpPr/>
          <p:nvPr userDrawn="1"/>
        </p:nvSpPr>
        <p:spPr>
          <a:xfrm>
            <a:off x="-1161480" y="5948438"/>
            <a:ext cx="1080000" cy="216000"/>
          </a:xfrm>
          <a:prstGeom prst="rect">
            <a:avLst/>
          </a:prstGeom>
          <a:solidFill>
            <a:srgbClr val="BA01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b="1">
                <a:solidFill>
                  <a:schemeClr val="bg1"/>
                </a:solidFill>
                <a:latin typeface="Santander Headline" panose="020B0504020201020104" pitchFamily="34" charset="0"/>
              </a:rPr>
              <a:t>R: 186 G: 1 B: 10</a:t>
            </a:r>
          </a:p>
        </p:txBody>
      </p:sp>
    </p:spTree>
    <p:extLst>
      <p:ext uri="{BB962C8B-B14F-4D97-AF65-F5344CB8AC3E}">
        <p14:creationId xmlns:p14="http://schemas.microsoft.com/office/powerpoint/2010/main" val="2071900321"/>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 id="2147483714" r:id="rId29"/>
    <p:sldLayoutId id="2147483715" r:id="rId30"/>
    <p:sldLayoutId id="2147483716" r:id="rId31"/>
    <p:sldLayoutId id="2147483717" r:id="rId32"/>
    <p:sldLayoutId id="2147483718" r:id="rId33"/>
    <p:sldLayoutId id="2147483719" r:id="rId34"/>
    <p:sldLayoutId id="2147483720" r:id="rId35"/>
    <p:sldLayoutId id="2147483721" r:id="rId36"/>
    <p:sldLayoutId id="2147483722" r:id="rId37"/>
    <p:sldLayoutId id="2147483723" r:id="rId38"/>
    <p:sldLayoutId id="2147483724" r:id="rId39"/>
    <p:sldLayoutId id="2147483725" r:id="rId40"/>
    <p:sldLayoutId id="2147483726" r:id="rId41"/>
    <p:sldLayoutId id="2147483727" r:id="rId42"/>
    <p:sldLayoutId id="2147483728" r:id="rId43"/>
    <p:sldLayoutId id="2147483729" r:id="rId44"/>
    <p:sldLayoutId id="2147483730" r:id="rId45"/>
    <p:sldLayoutId id="2147483731" r:id="rId46"/>
    <p:sldLayoutId id="2147483732" r:id="rId47"/>
    <p:sldLayoutId id="2147483733" r:id="rId48"/>
    <p:sldLayoutId id="2147483734" r:id="rId49"/>
    <p:sldLayoutId id="2147483735" r:id="rId50"/>
    <p:sldLayoutId id="2147483736" r:id="rId51"/>
    <p:sldLayoutId id="2147483737" r:id="rId52"/>
    <p:sldLayoutId id="2147483738" r:id="rId53"/>
    <p:sldLayoutId id="2147483739" r:id="rId54"/>
    <p:sldLayoutId id="2147483740" r:id="rId55"/>
    <p:sldLayoutId id="2147483741" r:id="rId56"/>
    <p:sldLayoutId id="2147483742" r:id="rId57"/>
    <p:sldLayoutId id="2147483743" r:id="rId58"/>
    <p:sldLayoutId id="2147483744" r:id="rId59"/>
    <p:sldLayoutId id="2147483745" r:id="rId60"/>
    <p:sldLayoutId id="2147483746" r:id="rId61"/>
    <p:sldLayoutId id="2147483747" r:id="rId62"/>
    <p:sldLayoutId id="2147483748" r:id="rId63"/>
    <p:sldLayoutId id="2147483749" r:id="rId64"/>
    <p:sldLayoutId id="2147483750" r:id="rId65"/>
    <p:sldLayoutId id="2147483751" r:id="rId66"/>
    <p:sldLayoutId id="2147483752" r:id="rId67"/>
    <p:sldLayoutId id="2147483753" r:id="rId68"/>
    <p:sldLayoutId id="2147483754" r:id="rId69"/>
    <p:sldLayoutId id="2147483755" r:id="rId70"/>
    <p:sldLayoutId id="2147483756" r:id="rId71"/>
    <p:sldLayoutId id="2147483757" r:id="rId72"/>
    <p:sldLayoutId id="2147483758" r:id="rId73"/>
    <p:sldLayoutId id="2147483759" r:id="rId74"/>
    <p:sldLayoutId id="2147483760" r:id="rId75"/>
    <p:sldLayoutId id="2147483761" r:id="rId76"/>
  </p:sldLayoutIdLst>
  <p:hf hdr="0" ftr="0" dt="0"/>
  <p:txStyles>
    <p:titleStyle>
      <a:lvl1pPr algn="l" defTabSz="914400" rtl="0" eaLnBrk="1" latinLnBrk="0" hangingPunct="1">
        <a:lnSpc>
          <a:spcPct val="90000"/>
        </a:lnSpc>
        <a:spcBef>
          <a:spcPct val="0"/>
        </a:spcBef>
        <a:buNone/>
        <a:defRPr sz="4400" b="0" i="0" kern="1200">
          <a:solidFill>
            <a:schemeClr val="tx1"/>
          </a:solidFill>
          <a:latin typeface="Santander Headline Light" panose="020B0304020201010104" pitchFamily="34" charset="77"/>
          <a:ea typeface="+mj-ea"/>
          <a:cs typeface="Santander Headline Light" panose="020B0304020201010104" pitchFamily="34" charset="77"/>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antander Text" panose="020B05040202010201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antander Text" panose="020B0504020201020104"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antander Text" panose="020B05040202010201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antander Text" panose="020B05040202010201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1">
          <p15:clr>
            <a:srgbClr val="F26B43"/>
          </p15:clr>
        </p15:guide>
        <p15:guide id="2" pos="288">
          <p15:clr>
            <a:srgbClr val="F26B43"/>
          </p15:clr>
        </p15:guide>
        <p15:guide id="3" pos="7384">
          <p15:clr>
            <a:srgbClr val="F26B43"/>
          </p15:clr>
        </p15:guide>
        <p15:guide id="4" orient="horz" pos="395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DB37B6-3DF4-34BD-D5E9-52EA5E80D4A7}"/>
              </a:ext>
            </a:extLst>
          </p:cNvPr>
          <p:cNvSpPr>
            <a:spLocks noGrp="1"/>
          </p:cNvSpPr>
          <p:nvPr>
            <p:ph type="dt" sz="half" idx="2"/>
          </p:nvPr>
        </p:nvSpPr>
        <p:spPr>
          <a:xfrm>
            <a:off x="381000" y="6400800"/>
            <a:ext cx="914400" cy="304800"/>
          </a:xfrm>
          <a:prstGeom prst="rect">
            <a:avLst/>
          </a:prstGeom>
          <a:ln w="3175">
            <a:noFill/>
          </a:ln>
        </p:spPr>
        <p:txBody>
          <a:bodyPr vert="horz" lIns="0" tIns="0" rIns="0" bIns="0" rtlCol="0" anchor="ctr"/>
          <a:lstStyle>
            <a:lvl1pPr>
              <a:defRPr lang="en-US" sz="800" smtClean="0">
                <a:solidFill>
                  <a:srgbClr val="050D24"/>
                </a:solidFill>
              </a:defRPr>
            </a:lvl1pPr>
          </a:lstStyle>
          <a:p>
            <a:r>
              <a:rPr lang="es-ES"/>
              <a:t>Noviembre 2024</a:t>
            </a:r>
            <a:endParaRPr lang="en-US"/>
          </a:p>
        </p:txBody>
      </p:sp>
      <p:sp>
        <p:nvSpPr>
          <p:cNvPr id="5" name="Footer Placeholder 4">
            <a:extLst>
              <a:ext uri="{FF2B5EF4-FFF2-40B4-BE49-F238E27FC236}">
                <a16:creationId xmlns:a16="http://schemas.microsoft.com/office/drawing/2014/main" id="{D93C5F86-8F5F-160E-E108-4A97EA9FE1AE}"/>
              </a:ext>
            </a:extLst>
          </p:cNvPr>
          <p:cNvSpPr>
            <a:spLocks noGrp="1"/>
          </p:cNvSpPr>
          <p:nvPr>
            <p:ph type="ftr" sz="quarter" idx="3"/>
          </p:nvPr>
        </p:nvSpPr>
        <p:spPr>
          <a:xfrm>
            <a:off x="1371600" y="6400800"/>
            <a:ext cx="4114800" cy="304800"/>
          </a:xfrm>
          <a:prstGeom prst="rect">
            <a:avLst/>
          </a:prstGeom>
          <a:ln w="3175">
            <a:noFill/>
          </a:ln>
        </p:spPr>
        <p:txBody>
          <a:bodyPr vert="horz" lIns="0" tIns="0" rIns="0" bIns="0" rtlCol="0" anchor="ctr"/>
          <a:lstStyle>
            <a:lvl1pPr>
              <a:defRPr lang="en-US" sz="800" b="0" i="0">
                <a:solidFill>
                  <a:schemeClr val="tx2"/>
                </a:solidFill>
                <a:latin typeface="Arial" panose="020B0604020202020204" pitchFamily="34" charset="0"/>
              </a:defRPr>
            </a:lvl1pPr>
          </a:lstStyle>
          <a:p>
            <a:r>
              <a:rPr lang="en-US" noProof="0"/>
              <a:t>NTT DATA, Inc.</a:t>
            </a:r>
          </a:p>
        </p:txBody>
      </p:sp>
      <p:sp>
        <p:nvSpPr>
          <p:cNvPr id="2" name="Title Placeholder 1">
            <a:extLst>
              <a:ext uri="{FF2B5EF4-FFF2-40B4-BE49-F238E27FC236}">
                <a16:creationId xmlns:a16="http://schemas.microsoft.com/office/drawing/2014/main" id="{A64DB4C7-535B-ACE9-FD48-E216483B5812}"/>
              </a:ext>
            </a:extLst>
          </p:cNvPr>
          <p:cNvSpPr>
            <a:spLocks noGrp="1"/>
          </p:cNvSpPr>
          <p:nvPr>
            <p:ph type="title"/>
          </p:nvPr>
        </p:nvSpPr>
        <p:spPr>
          <a:xfrm>
            <a:off x="381000" y="304801"/>
            <a:ext cx="11430000" cy="533399"/>
          </a:xfrm>
          <a:prstGeom prst="rect">
            <a:avLst/>
          </a:prstGeom>
        </p:spPr>
        <p:txBody>
          <a:bodyPr vert="horz" lIns="0" tIns="45720" rIns="0" bIns="45720" rtlCol="0" anchor="t">
            <a:noAutofit/>
          </a:bodyPr>
          <a:lstStyle/>
          <a:p>
            <a:pPr lvl="0">
              <a:lnSpc>
                <a:spcPct val="100000"/>
              </a:lnSpc>
            </a:pPr>
            <a:r>
              <a:rPr lang="en-US" noProof="0"/>
              <a:t>Click to edit Master title style</a:t>
            </a:r>
          </a:p>
        </p:txBody>
      </p:sp>
      <p:sp>
        <p:nvSpPr>
          <p:cNvPr id="3" name="Text Placeholder 2">
            <a:extLst>
              <a:ext uri="{FF2B5EF4-FFF2-40B4-BE49-F238E27FC236}">
                <a16:creationId xmlns:a16="http://schemas.microsoft.com/office/drawing/2014/main" id="{2015ACC7-9813-39D4-E0E6-4E62A19476A0}"/>
              </a:ext>
            </a:extLst>
          </p:cNvPr>
          <p:cNvSpPr>
            <a:spLocks noGrp="1"/>
          </p:cNvSpPr>
          <p:nvPr>
            <p:ph type="body" idx="1"/>
          </p:nvPr>
        </p:nvSpPr>
        <p:spPr>
          <a:xfrm>
            <a:off x="381000" y="1371600"/>
            <a:ext cx="11430000" cy="4876800"/>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0"/>
            <a:endParaRPr lang="en-US"/>
          </a:p>
        </p:txBody>
      </p:sp>
      <p:sp>
        <p:nvSpPr>
          <p:cNvPr id="6" name="NTT DATA Global Logo">
            <a:extLst>
              <a:ext uri="{FF2B5EF4-FFF2-40B4-BE49-F238E27FC236}">
                <a16:creationId xmlns:a16="http://schemas.microsoft.com/office/drawing/2014/main" id="{D62245BE-2342-B72F-AA57-DD503F64FDA4}"/>
              </a:ext>
            </a:extLst>
          </p:cNvPr>
          <p:cNvSpPr/>
          <p:nvPr userDrawn="1"/>
        </p:nvSpPr>
        <p:spPr bwMode="black">
          <a:xfrm>
            <a:off x="10599361" y="299294"/>
            <a:ext cx="1211639" cy="246888"/>
          </a:xfrm>
          <a:custGeom>
            <a:avLst/>
            <a:gdLst>
              <a:gd name="connsiteX0" fmla="*/ 9329240 w 10020924"/>
              <a:gd name="connsiteY0" fmla="*/ 1080290 h 2041903"/>
              <a:gd name="connsiteX1" fmla="*/ 9251983 w 10020924"/>
              <a:gd name="connsiteY1" fmla="*/ 1187029 h 2041903"/>
              <a:gd name="connsiteX2" fmla="*/ 9329240 w 10020924"/>
              <a:gd name="connsiteY2" fmla="*/ 1296468 h 2041903"/>
              <a:gd name="connsiteX3" fmla="*/ 9782722 w 10020924"/>
              <a:gd name="connsiteY3" fmla="*/ 1296468 h 2041903"/>
              <a:gd name="connsiteX4" fmla="*/ 9782722 w 10020924"/>
              <a:gd name="connsiteY4" fmla="*/ 1080290 h 2041903"/>
              <a:gd name="connsiteX5" fmla="*/ 7331825 w 10020924"/>
              <a:gd name="connsiteY5" fmla="*/ 1080290 h 2041903"/>
              <a:gd name="connsiteX6" fmla="*/ 7254583 w 10020924"/>
              <a:gd name="connsiteY6" fmla="*/ 1187029 h 2041903"/>
              <a:gd name="connsiteX7" fmla="*/ 7331825 w 10020924"/>
              <a:gd name="connsiteY7" fmla="*/ 1296468 h 2041903"/>
              <a:gd name="connsiteX8" fmla="*/ 7785307 w 10020924"/>
              <a:gd name="connsiteY8" fmla="*/ 1296468 h 2041903"/>
              <a:gd name="connsiteX9" fmla="*/ 7785307 w 10020924"/>
              <a:gd name="connsiteY9" fmla="*/ 1080290 h 2041903"/>
              <a:gd name="connsiteX10" fmla="*/ 6171264 w 10020924"/>
              <a:gd name="connsiteY10" fmla="*/ 689323 h 2041903"/>
              <a:gd name="connsiteX11" fmla="*/ 6171264 w 10020924"/>
              <a:gd name="connsiteY11" fmla="*/ 1297318 h 2041903"/>
              <a:gd name="connsiteX12" fmla="*/ 6558679 w 10020924"/>
              <a:gd name="connsiteY12" fmla="*/ 1297318 h 2041903"/>
              <a:gd name="connsiteX13" fmla="*/ 6679368 w 10020924"/>
              <a:gd name="connsiteY13" fmla="*/ 1156413 h 2041903"/>
              <a:gd name="connsiteX14" fmla="*/ 6679368 w 10020924"/>
              <a:gd name="connsiteY14" fmla="*/ 830244 h 2041903"/>
              <a:gd name="connsiteX15" fmla="*/ 6558679 w 10020924"/>
              <a:gd name="connsiteY15" fmla="*/ 689323 h 2041903"/>
              <a:gd name="connsiteX16" fmla="*/ 9072763 w 10020924"/>
              <a:gd name="connsiteY16" fmla="*/ 463851 h 2041903"/>
              <a:gd name="connsiteX17" fmla="*/ 9678449 w 10020924"/>
              <a:gd name="connsiteY17" fmla="*/ 463851 h 2041903"/>
              <a:gd name="connsiteX18" fmla="*/ 10020924 w 10020924"/>
              <a:gd name="connsiteY18" fmla="*/ 826574 h 2041903"/>
              <a:gd name="connsiteX19" fmla="*/ 10020924 w 10020924"/>
              <a:gd name="connsiteY19" fmla="*/ 1522671 h 2041903"/>
              <a:gd name="connsiteX20" fmla="*/ 9304207 w 10020924"/>
              <a:gd name="connsiteY20" fmla="*/ 1522671 h 2041903"/>
              <a:gd name="connsiteX21" fmla="*/ 9015771 w 10020924"/>
              <a:gd name="connsiteY21" fmla="*/ 1219793 h 2041903"/>
              <a:gd name="connsiteX22" fmla="*/ 9015771 w 10020924"/>
              <a:gd name="connsiteY22" fmla="*/ 1169781 h 2041903"/>
              <a:gd name="connsiteX23" fmla="*/ 9294061 w 10020924"/>
              <a:gd name="connsiteY23" fmla="*/ 866738 h 2041903"/>
              <a:gd name="connsiteX24" fmla="*/ 9782829 w 10020924"/>
              <a:gd name="connsiteY24" fmla="*/ 866738 h 2041903"/>
              <a:gd name="connsiteX25" fmla="*/ 9782707 w 10020924"/>
              <a:gd name="connsiteY25" fmla="*/ 829349 h 2041903"/>
              <a:gd name="connsiteX26" fmla="*/ 9662481 w 10020924"/>
              <a:gd name="connsiteY26" fmla="*/ 688428 h 2041903"/>
              <a:gd name="connsiteX27" fmla="*/ 9072763 w 10020924"/>
              <a:gd name="connsiteY27" fmla="*/ 688428 h 2041903"/>
              <a:gd name="connsiteX28" fmla="*/ 8071817 w 10020924"/>
              <a:gd name="connsiteY28" fmla="*/ 463851 h 2041903"/>
              <a:gd name="connsiteX29" fmla="*/ 8991911 w 10020924"/>
              <a:gd name="connsiteY29" fmla="*/ 463851 h 2041903"/>
              <a:gd name="connsiteX30" fmla="*/ 8991911 w 10020924"/>
              <a:gd name="connsiteY30" fmla="*/ 686668 h 2041903"/>
              <a:gd name="connsiteX31" fmla="*/ 8652240 w 10020924"/>
              <a:gd name="connsiteY31" fmla="*/ 686668 h 2041903"/>
              <a:gd name="connsiteX32" fmla="*/ 8652240 w 10020924"/>
              <a:gd name="connsiteY32" fmla="*/ 1522955 h 2041903"/>
              <a:gd name="connsiteX33" fmla="*/ 8411534 w 10020924"/>
              <a:gd name="connsiteY33" fmla="*/ 1522955 h 2041903"/>
              <a:gd name="connsiteX34" fmla="*/ 8411534 w 10020924"/>
              <a:gd name="connsiteY34" fmla="*/ 686668 h 2041903"/>
              <a:gd name="connsiteX35" fmla="*/ 8071817 w 10020924"/>
              <a:gd name="connsiteY35" fmla="*/ 686668 h 2041903"/>
              <a:gd name="connsiteX36" fmla="*/ 7075333 w 10020924"/>
              <a:gd name="connsiteY36" fmla="*/ 463851 h 2041903"/>
              <a:gd name="connsiteX37" fmla="*/ 7681075 w 10020924"/>
              <a:gd name="connsiteY37" fmla="*/ 463851 h 2041903"/>
              <a:gd name="connsiteX38" fmla="*/ 8023417 w 10020924"/>
              <a:gd name="connsiteY38" fmla="*/ 826574 h 2041903"/>
              <a:gd name="connsiteX39" fmla="*/ 8023417 w 10020924"/>
              <a:gd name="connsiteY39" fmla="*/ 1522671 h 2041903"/>
              <a:gd name="connsiteX40" fmla="*/ 7306759 w 10020924"/>
              <a:gd name="connsiteY40" fmla="*/ 1522671 h 2041903"/>
              <a:gd name="connsiteX41" fmla="*/ 7018293 w 10020924"/>
              <a:gd name="connsiteY41" fmla="*/ 1219793 h 2041903"/>
              <a:gd name="connsiteX42" fmla="*/ 7018293 w 10020924"/>
              <a:gd name="connsiteY42" fmla="*/ 1169781 h 2041903"/>
              <a:gd name="connsiteX43" fmla="*/ 7296628 w 10020924"/>
              <a:gd name="connsiteY43" fmla="*/ 866738 h 2041903"/>
              <a:gd name="connsiteX44" fmla="*/ 7785307 w 10020924"/>
              <a:gd name="connsiteY44" fmla="*/ 866738 h 2041903"/>
              <a:gd name="connsiteX45" fmla="*/ 7785307 w 10020924"/>
              <a:gd name="connsiteY45" fmla="*/ 829349 h 2041903"/>
              <a:gd name="connsiteX46" fmla="*/ 7665080 w 10020924"/>
              <a:gd name="connsiteY46" fmla="*/ 688428 h 2041903"/>
              <a:gd name="connsiteX47" fmla="*/ 7075333 w 10020924"/>
              <a:gd name="connsiteY47" fmla="*/ 688428 h 2041903"/>
              <a:gd name="connsiteX48" fmla="*/ 5930572 w 10020924"/>
              <a:gd name="connsiteY48" fmla="*/ 463851 h 2041903"/>
              <a:gd name="connsiteX49" fmla="*/ 6574718 w 10020924"/>
              <a:gd name="connsiteY49" fmla="*/ 463851 h 2041903"/>
              <a:gd name="connsiteX50" fmla="*/ 6925013 w 10020924"/>
              <a:gd name="connsiteY50" fmla="*/ 834884 h 2041903"/>
              <a:gd name="connsiteX51" fmla="*/ 6925013 w 10020924"/>
              <a:gd name="connsiteY51" fmla="*/ 1151743 h 2041903"/>
              <a:gd name="connsiteX52" fmla="*/ 6585968 w 10020924"/>
              <a:gd name="connsiteY52" fmla="*/ 1522671 h 2041903"/>
              <a:gd name="connsiteX53" fmla="*/ 5930572 w 10020924"/>
              <a:gd name="connsiteY53" fmla="*/ 1522671 h 2041903"/>
              <a:gd name="connsiteX54" fmla="*/ 4717895 w 10020924"/>
              <a:gd name="connsiteY54" fmla="*/ 463851 h 2041903"/>
              <a:gd name="connsiteX55" fmla="*/ 5638093 w 10020924"/>
              <a:gd name="connsiteY55" fmla="*/ 463851 h 2041903"/>
              <a:gd name="connsiteX56" fmla="*/ 5638093 w 10020924"/>
              <a:gd name="connsiteY56" fmla="*/ 686668 h 2041903"/>
              <a:gd name="connsiteX57" fmla="*/ 5298318 w 10020924"/>
              <a:gd name="connsiteY57" fmla="*/ 686668 h 2041903"/>
              <a:gd name="connsiteX58" fmla="*/ 5298318 w 10020924"/>
              <a:gd name="connsiteY58" fmla="*/ 1522955 h 2041903"/>
              <a:gd name="connsiteX59" fmla="*/ 5057626 w 10020924"/>
              <a:gd name="connsiteY59" fmla="*/ 1522955 h 2041903"/>
              <a:gd name="connsiteX60" fmla="*/ 5057626 w 10020924"/>
              <a:gd name="connsiteY60" fmla="*/ 686668 h 2041903"/>
              <a:gd name="connsiteX61" fmla="*/ 4717895 w 10020924"/>
              <a:gd name="connsiteY61" fmla="*/ 686668 h 2041903"/>
              <a:gd name="connsiteX62" fmla="*/ 3721291 w 10020924"/>
              <a:gd name="connsiteY62" fmla="*/ 463851 h 2041903"/>
              <a:gd name="connsiteX63" fmla="*/ 4641430 w 10020924"/>
              <a:gd name="connsiteY63" fmla="*/ 463851 h 2041903"/>
              <a:gd name="connsiteX64" fmla="*/ 4641430 w 10020924"/>
              <a:gd name="connsiteY64" fmla="*/ 686668 h 2041903"/>
              <a:gd name="connsiteX65" fmla="*/ 4301654 w 10020924"/>
              <a:gd name="connsiteY65" fmla="*/ 686668 h 2041903"/>
              <a:gd name="connsiteX66" fmla="*/ 4301654 w 10020924"/>
              <a:gd name="connsiteY66" fmla="*/ 1522955 h 2041903"/>
              <a:gd name="connsiteX67" fmla="*/ 4061067 w 10020924"/>
              <a:gd name="connsiteY67" fmla="*/ 1522955 h 2041903"/>
              <a:gd name="connsiteX68" fmla="*/ 4061067 w 10020924"/>
              <a:gd name="connsiteY68" fmla="*/ 686668 h 2041903"/>
              <a:gd name="connsiteX69" fmla="*/ 3721291 w 10020924"/>
              <a:gd name="connsiteY69" fmla="*/ 686668 h 2041903"/>
              <a:gd name="connsiteX70" fmla="*/ 2809822 w 10020924"/>
              <a:gd name="connsiteY70" fmla="*/ 452019 h 2041903"/>
              <a:gd name="connsiteX71" fmla="*/ 3016077 w 10020924"/>
              <a:gd name="connsiteY71" fmla="*/ 572753 h 2041903"/>
              <a:gd name="connsiteX72" fmla="*/ 3381948 w 10020924"/>
              <a:gd name="connsiteY72" fmla="*/ 1270566 h 2041903"/>
              <a:gd name="connsiteX73" fmla="*/ 3400240 w 10020924"/>
              <a:gd name="connsiteY73" fmla="*/ 1281756 h 2041903"/>
              <a:gd name="connsiteX74" fmla="*/ 3406134 w 10020924"/>
              <a:gd name="connsiteY74" fmla="*/ 1255736 h 2041903"/>
              <a:gd name="connsiteX75" fmla="*/ 3402657 w 10020924"/>
              <a:gd name="connsiteY75" fmla="*/ 1123946 h 2041903"/>
              <a:gd name="connsiteX76" fmla="*/ 3402657 w 10020924"/>
              <a:gd name="connsiteY76" fmla="*/ 463522 h 2041903"/>
              <a:gd name="connsiteX77" fmla="*/ 3639813 w 10020924"/>
              <a:gd name="connsiteY77" fmla="*/ 463522 h 2041903"/>
              <a:gd name="connsiteX78" fmla="*/ 3639813 w 10020924"/>
              <a:gd name="connsiteY78" fmla="*/ 1255333 h 2041903"/>
              <a:gd name="connsiteX79" fmla="*/ 3425426 w 10020924"/>
              <a:gd name="connsiteY79" fmla="*/ 1534727 h 2041903"/>
              <a:gd name="connsiteX80" fmla="*/ 3219125 w 10020924"/>
              <a:gd name="connsiteY80" fmla="*/ 1413949 h 2041903"/>
              <a:gd name="connsiteX81" fmla="*/ 2853165 w 10020924"/>
              <a:gd name="connsiteY81" fmla="*/ 716135 h 2041903"/>
              <a:gd name="connsiteX82" fmla="*/ 2834887 w 10020924"/>
              <a:gd name="connsiteY82" fmla="*/ 704930 h 2041903"/>
              <a:gd name="connsiteX83" fmla="*/ 2829009 w 10020924"/>
              <a:gd name="connsiteY83" fmla="*/ 730980 h 2041903"/>
              <a:gd name="connsiteX84" fmla="*/ 2832590 w 10020924"/>
              <a:gd name="connsiteY84" fmla="*/ 862725 h 2041903"/>
              <a:gd name="connsiteX85" fmla="*/ 2832590 w 10020924"/>
              <a:gd name="connsiteY85" fmla="*/ 1523194 h 2041903"/>
              <a:gd name="connsiteX86" fmla="*/ 2595360 w 10020924"/>
              <a:gd name="connsiteY86" fmla="*/ 1523194 h 2041903"/>
              <a:gd name="connsiteX87" fmla="*/ 2595360 w 10020924"/>
              <a:gd name="connsiteY87" fmla="*/ 731368 h 2041903"/>
              <a:gd name="connsiteX88" fmla="*/ 2809822 w 10020924"/>
              <a:gd name="connsiteY88" fmla="*/ 452019 h 2041903"/>
              <a:gd name="connsiteX89" fmla="*/ 1079247 w 10020924"/>
              <a:gd name="connsiteY89" fmla="*/ 330967 h 2041903"/>
              <a:gd name="connsiteX90" fmla="*/ 952084 w 10020924"/>
              <a:gd name="connsiteY90" fmla="*/ 465588 h 2041903"/>
              <a:gd name="connsiteX91" fmla="*/ 887125 w 10020924"/>
              <a:gd name="connsiteY91" fmla="*/ 684091 h 2041903"/>
              <a:gd name="connsiteX92" fmla="*/ 940315 w 10020924"/>
              <a:gd name="connsiteY92" fmla="*/ 833769 h 2041903"/>
              <a:gd name="connsiteX93" fmla="*/ 1079206 w 10020924"/>
              <a:gd name="connsiteY93" fmla="*/ 894946 h 2041903"/>
              <a:gd name="connsiteX94" fmla="*/ 1218097 w 10020924"/>
              <a:gd name="connsiteY94" fmla="*/ 833769 h 2041903"/>
              <a:gd name="connsiteX95" fmla="*/ 1271286 w 10020924"/>
              <a:gd name="connsiteY95" fmla="*/ 684091 h 2041903"/>
              <a:gd name="connsiteX96" fmla="*/ 1206328 w 10020924"/>
              <a:gd name="connsiteY96" fmla="*/ 465588 h 2041903"/>
              <a:gd name="connsiteX97" fmla="*/ 1079247 w 10020924"/>
              <a:gd name="connsiteY97" fmla="*/ 330967 h 2041903"/>
              <a:gd name="connsiteX98" fmla="*/ 805966 w 10020924"/>
              <a:gd name="connsiteY98" fmla="*/ 263259 h 2041903"/>
              <a:gd name="connsiteX99" fmla="*/ 446364 w 10020924"/>
              <a:gd name="connsiteY99" fmla="*/ 449558 h 2041903"/>
              <a:gd name="connsiteX100" fmla="*/ 316290 w 10020924"/>
              <a:gd name="connsiteY100" fmla="*/ 671430 h 2041903"/>
              <a:gd name="connsiteX101" fmla="*/ 265280 w 10020924"/>
              <a:gd name="connsiteY101" fmla="*/ 958605 h 2041903"/>
              <a:gd name="connsiteX102" fmla="*/ 329833 w 10020924"/>
              <a:gd name="connsiteY102" fmla="*/ 1280240 h 2041903"/>
              <a:gd name="connsiteX103" fmla="*/ 505249 w 10020924"/>
              <a:gd name="connsiteY103" fmla="*/ 1539802 h 2041903"/>
              <a:gd name="connsiteX104" fmla="*/ 764163 w 10020924"/>
              <a:gd name="connsiteY104" fmla="*/ 1713204 h 2041903"/>
              <a:gd name="connsiteX105" fmla="*/ 1079208 w 10020924"/>
              <a:gd name="connsiteY105" fmla="*/ 1776358 h 2041903"/>
              <a:gd name="connsiteX106" fmla="*/ 1394254 w 10020924"/>
              <a:gd name="connsiteY106" fmla="*/ 1713204 h 2041903"/>
              <a:gd name="connsiteX107" fmla="*/ 1653167 w 10020924"/>
              <a:gd name="connsiteY107" fmla="*/ 1539802 h 2041903"/>
              <a:gd name="connsiteX108" fmla="*/ 1828584 w 10020924"/>
              <a:gd name="connsiteY108" fmla="*/ 1280240 h 2041903"/>
              <a:gd name="connsiteX109" fmla="*/ 1893137 w 10020924"/>
              <a:gd name="connsiteY109" fmla="*/ 958605 h 2041903"/>
              <a:gd name="connsiteX110" fmla="*/ 1843297 w 10020924"/>
              <a:gd name="connsiteY110" fmla="*/ 674433 h 2041903"/>
              <a:gd name="connsiteX111" fmla="*/ 1715171 w 10020924"/>
              <a:gd name="connsiteY111" fmla="*/ 452650 h 2041903"/>
              <a:gd name="connsiteX112" fmla="*/ 1352451 w 10020924"/>
              <a:gd name="connsiteY112" fmla="*/ 263259 h 2041903"/>
              <a:gd name="connsiteX113" fmla="*/ 1489332 w 10020924"/>
              <a:gd name="connsiteY113" fmla="*/ 469668 h 2041903"/>
              <a:gd name="connsiteX114" fmla="*/ 1533501 w 10020924"/>
              <a:gd name="connsiteY114" fmla="*/ 697463 h 2041903"/>
              <a:gd name="connsiteX115" fmla="*/ 1395669 w 10020924"/>
              <a:gd name="connsiteY115" fmla="*/ 1031243 h 2041903"/>
              <a:gd name="connsiteX116" fmla="*/ 1079208 w 10020924"/>
              <a:gd name="connsiteY116" fmla="*/ 1160853 h 2041903"/>
              <a:gd name="connsiteX117" fmla="*/ 762748 w 10020924"/>
              <a:gd name="connsiteY117" fmla="*/ 1031243 h 2041903"/>
              <a:gd name="connsiteX118" fmla="*/ 624916 w 10020924"/>
              <a:gd name="connsiteY118" fmla="*/ 697463 h 2041903"/>
              <a:gd name="connsiteX119" fmla="*/ 673201 w 10020924"/>
              <a:gd name="connsiteY119" fmla="*/ 463015 h 2041903"/>
              <a:gd name="connsiteX120" fmla="*/ 805966 w 10020924"/>
              <a:gd name="connsiteY120" fmla="*/ 263259 h 2041903"/>
              <a:gd name="connsiteX121" fmla="*/ 817834 w 10020924"/>
              <a:gd name="connsiteY121" fmla="*/ 0 h 2041903"/>
              <a:gd name="connsiteX122" fmla="*/ 963091 w 10020924"/>
              <a:gd name="connsiteY122" fmla="*/ 14770 h 2041903"/>
              <a:gd name="connsiteX123" fmla="*/ 1079167 w 10020924"/>
              <a:gd name="connsiteY123" fmla="*/ 48893 h 2041903"/>
              <a:gd name="connsiteX124" fmla="*/ 1194646 w 10020924"/>
              <a:gd name="connsiteY124" fmla="*/ 14436 h 2041903"/>
              <a:gd name="connsiteX125" fmla="*/ 1340583 w 10020924"/>
              <a:gd name="connsiteY125" fmla="*/ 0 h 2041903"/>
              <a:gd name="connsiteX126" fmla="*/ 1649693 w 10020924"/>
              <a:gd name="connsiteY126" fmla="*/ 72213 h 2041903"/>
              <a:gd name="connsiteX127" fmla="*/ 1910677 w 10020924"/>
              <a:gd name="connsiteY127" fmla="*/ 272891 h 2041903"/>
              <a:gd name="connsiteX128" fmla="*/ 2091072 w 10020924"/>
              <a:gd name="connsiteY128" fmla="*/ 578096 h 2041903"/>
              <a:gd name="connsiteX129" fmla="*/ 2158417 w 10020924"/>
              <a:gd name="connsiteY129" fmla="*/ 963886 h 2041903"/>
              <a:gd name="connsiteX130" fmla="*/ 2071704 w 10020924"/>
              <a:gd name="connsiteY130" fmla="*/ 1388805 h 2041903"/>
              <a:gd name="connsiteX131" fmla="*/ 1837251 w 10020924"/>
              <a:gd name="connsiteY131" fmla="*/ 1730875 h 2041903"/>
              <a:gd name="connsiteX132" fmla="*/ 1493585 w 10020924"/>
              <a:gd name="connsiteY132" fmla="*/ 1958956 h 2041903"/>
              <a:gd name="connsiteX133" fmla="*/ 1079208 w 10020924"/>
              <a:gd name="connsiteY133" fmla="*/ 2041903 h 2041903"/>
              <a:gd name="connsiteX134" fmla="*/ 664832 w 10020924"/>
              <a:gd name="connsiteY134" fmla="*/ 1958956 h 2041903"/>
              <a:gd name="connsiteX135" fmla="*/ 321166 w 10020924"/>
              <a:gd name="connsiteY135" fmla="*/ 1730875 h 2041903"/>
              <a:gd name="connsiteX136" fmla="*/ 86713 w 10020924"/>
              <a:gd name="connsiteY136" fmla="*/ 1388805 h 2041903"/>
              <a:gd name="connsiteX137" fmla="*/ 0 w 10020924"/>
              <a:gd name="connsiteY137" fmla="*/ 963886 h 2041903"/>
              <a:gd name="connsiteX138" fmla="*/ 67345 w 10020924"/>
              <a:gd name="connsiteY138" fmla="*/ 578096 h 2041903"/>
              <a:gd name="connsiteX139" fmla="*/ 247740 w 10020924"/>
              <a:gd name="connsiteY139" fmla="*/ 272891 h 2041903"/>
              <a:gd name="connsiteX140" fmla="*/ 508723 w 10020924"/>
              <a:gd name="connsiteY140" fmla="*/ 72213 h 2041903"/>
              <a:gd name="connsiteX141" fmla="*/ 817834 w 10020924"/>
              <a:gd name="connsiteY141" fmla="*/ 0 h 204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0020924" h="2041903">
                <a:moveTo>
                  <a:pt x="9329240" y="1080290"/>
                </a:moveTo>
                <a:cubicBezTo>
                  <a:pt x="9292358" y="1080290"/>
                  <a:pt x="9251983" y="1096116"/>
                  <a:pt x="9251983" y="1187029"/>
                </a:cubicBezTo>
                <a:cubicBezTo>
                  <a:pt x="9251983" y="1277880"/>
                  <a:pt x="9292801" y="1296468"/>
                  <a:pt x="9329240" y="1296468"/>
                </a:cubicBezTo>
                <a:lnTo>
                  <a:pt x="9782722" y="1296468"/>
                </a:lnTo>
                <a:lnTo>
                  <a:pt x="9782722" y="1080290"/>
                </a:lnTo>
                <a:close/>
                <a:moveTo>
                  <a:pt x="7331825" y="1080290"/>
                </a:moveTo>
                <a:cubicBezTo>
                  <a:pt x="7294927" y="1080290"/>
                  <a:pt x="7254583" y="1096116"/>
                  <a:pt x="7254583" y="1187029"/>
                </a:cubicBezTo>
                <a:cubicBezTo>
                  <a:pt x="7254583" y="1277880"/>
                  <a:pt x="7295379" y="1296468"/>
                  <a:pt x="7331825" y="1296468"/>
                </a:cubicBezTo>
                <a:lnTo>
                  <a:pt x="7785307" y="1296468"/>
                </a:lnTo>
                <a:lnTo>
                  <a:pt x="7785307" y="1080290"/>
                </a:lnTo>
                <a:close/>
                <a:moveTo>
                  <a:pt x="6171264" y="689323"/>
                </a:moveTo>
                <a:lnTo>
                  <a:pt x="6171264" y="1297318"/>
                </a:lnTo>
                <a:lnTo>
                  <a:pt x="6558679" y="1297318"/>
                </a:lnTo>
                <a:cubicBezTo>
                  <a:pt x="6645146" y="1297318"/>
                  <a:pt x="6679368" y="1257837"/>
                  <a:pt x="6679368" y="1156413"/>
                </a:cubicBezTo>
                <a:lnTo>
                  <a:pt x="6679368" y="830244"/>
                </a:lnTo>
                <a:cubicBezTo>
                  <a:pt x="6679368" y="728827"/>
                  <a:pt x="6645146" y="689323"/>
                  <a:pt x="6558679" y="689323"/>
                </a:cubicBezTo>
                <a:close/>
                <a:moveTo>
                  <a:pt x="9072763" y="463851"/>
                </a:moveTo>
                <a:lnTo>
                  <a:pt x="9678449" y="463851"/>
                </a:lnTo>
                <a:cubicBezTo>
                  <a:pt x="9932730" y="463851"/>
                  <a:pt x="10020924" y="559816"/>
                  <a:pt x="10020924" y="826574"/>
                </a:cubicBezTo>
                <a:lnTo>
                  <a:pt x="10020924" y="1522671"/>
                </a:lnTo>
                <a:lnTo>
                  <a:pt x="9304207" y="1522671"/>
                </a:lnTo>
                <a:cubicBezTo>
                  <a:pt x="9111641" y="1522671"/>
                  <a:pt x="9015771" y="1435849"/>
                  <a:pt x="9015771" y="1219793"/>
                </a:cubicBezTo>
                <a:lnTo>
                  <a:pt x="9015771" y="1169781"/>
                </a:lnTo>
                <a:cubicBezTo>
                  <a:pt x="9015771" y="959714"/>
                  <a:pt x="9108248" y="866738"/>
                  <a:pt x="9294061" y="866738"/>
                </a:cubicBezTo>
                <a:lnTo>
                  <a:pt x="9782829" y="866738"/>
                </a:lnTo>
                <a:cubicBezTo>
                  <a:pt x="9782829" y="858122"/>
                  <a:pt x="9782707" y="829861"/>
                  <a:pt x="9782707" y="829349"/>
                </a:cubicBezTo>
                <a:cubicBezTo>
                  <a:pt x="9782707" y="727955"/>
                  <a:pt x="9749047" y="688428"/>
                  <a:pt x="9662481" y="688428"/>
                </a:cubicBezTo>
                <a:lnTo>
                  <a:pt x="9072763" y="688428"/>
                </a:lnTo>
                <a:close/>
                <a:moveTo>
                  <a:pt x="8071817" y="463851"/>
                </a:moveTo>
                <a:lnTo>
                  <a:pt x="8991911" y="463851"/>
                </a:lnTo>
                <a:lnTo>
                  <a:pt x="8991911" y="686668"/>
                </a:lnTo>
                <a:lnTo>
                  <a:pt x="8652240" y="686668"/>
                </a:lnTo>
                <a:lnTo>
                  <a:pt x="8652240" y="1522955"/>
                </a:lnTo>
                <a:lnTo>
                  <a:pt x="8411534" y="1522955"/>
                </a:lnTo>
                <a:lnTo>
                  <a:pt x="8411534" y="686668"/>
                </a:lnTo>
                <a:lnTo>
                  <a:pt x="8071817" y="686668"/>
                </a:lnTo>
                <a:close/>
                <a:moveTo>
                  <a:pt x="7075333" y="463851"/>
                </a:moveTo>
                <a:lnTo>
                  <a:pt x="7681075" y="463851"/>
                </a:lnTo>
                <a:cubicBezTo>
                  <a:pt x="7935303" y="463851"/>
                  <a:pt x="8023424" y="559816"/>
                  <a:pt x="8023417" y="826574"/>
                </a:cubicBezTo>
                <a:lnTo>
                  <a:pt x="8023417" y="1522671"/>
                </a:lnTo>
                <a:lnTo>
                  <a:pt x="7306759" y="1522671"/>
                </a:lnTo>
                <a:cubicBezTo>
                  <a:pt x="7114170" y="1522671"/>
                  <a:pt x="7018293" y="1435849"/>
                  <a:pt x="7018293" y="1219793"/>
                </a:cubicBezTo>
                <a:lnTo>
                  <a:pt x="7018293" y="1169781"/>
                </a:lnTo>
                <a:cubicBezTo>
                  <a:pt x="7018293" y="959714"/>
                  <a:pt x="7110792" y="866738"/>
                  <a:pt x="7296628" y="866738"/>
                </a:cubicBezTo>
                <a:lnTo>
                  <a:pt x="7785307" y="866738"/>
                </a:lnTo>
                <a:lnTo>
                  <a:pt x="7785307" y="829349"/>
                </a:lnTo>
                <a:cubicBezTo>
                  <a:pt x="7785307" y="727955"/>
                  <a:pt x="7751547" y="688428"/>
                  <a:pt x="7665080" y="688428"/>
                </a:cubicBezTo>
                <a:lnTo>
                  <a:pt x="7075333" y="688428"/>
                </a:lnTo>
                <a:close/>
                <a:moveTo>
                  <a:pt x="5930572" y="463851"/>
                </a:moveTo>
                <a:lnTo>
                  <a:pt x="6574718" y="463851"/>
                </a:lnTo>
                <a:cubicBezTo>
                  <a:pt x="6817412" y="463851"/>
                  <a:pt x="6925013" y="557409"/>
                  <a:pt x="6925013" y="834884"/>
                </a:cubicBezTo>
                <a:lnTo>
                  <a:pt x="6925013" y="1151743"/>
                </a:lnTo>
                <a:cubicBezTo>
                  <a:pt x="6925013" y="1394650"/>
                  <a:pt x="6843589" y="1522671"/>
                  <a:pt x="6585968" y="1522671"/>
                </a:cubicBezTo>
                <a:lnTo>
                  <a:pt x="5930572" y="1522671"/>
                </a:lnTo>
                <a:close/>
                <a:moveTo>
                  <a:pt x="4717895" y="463851"/>
                </a:moveTo>
                <a:lnTo>
                  <a:pt x="5638093" y="463851"/>
                </a:lnTo>
                <a:lnTo>
                  <a:pt x="5638093" y="686668"/>
                </a:lnTo>
                <a:lnTo>
                  <a:pt x="5298318" y="686668"/>
                </a:lnTo>
                <a:lnTo>
                  <a:pt x="5298318" y="1522955"/>
                </a:lnTo>
                <a:lnTo>
                  <a:pt x="5057626" y="1522955"/>
                </a:lnTo>
                <a:lnTo>
                  <a:pt x="5057626" y="686668"/>
                </a:lnTo>
                <a:lnTo>
                  <a:pt x="4717895" y="686668"/>
                </a:lnTo>
                <a:close/>
                <a:moveTo>
                  <a:pt x="3721291" y="463851"/>
                </a:moveTo>
                <a:lnTo>
                  <a:pt x="4641430" y="463851"/>
                </a:lnTo>
                <a:lnTo>
                  <a:pt x="4641430" y="686668"/>
                </a:lnTo>
                <a:lnTo>
                  <a:pt x="4301654" y="686668"/>
                </a:lnTo>
                <a:lnTo>
                  <a:pt x="4301654" y="1522955"/>
                </a:lnTo>
                <a:lnTo>
                  <a:pt x="4061067" y="1522955"/>
                </a:lnTo>
                <a:lnTo>
                  <a:pt x="4061067" y="686668"/>
                </a:lnTo>
                <a:lnTo>
                  <a:pt x="3721291" y="686668"/>
                </a:lnTo>
                <a:close/>
                <a:moveTo>
                  <a:pt x="2809822" y="452019"/>
                </a:moveTo>
                <a:cubicBezTo>
                  <a:pt x="2915562" y="452019"/>
                  <a:pt x="2970732" y="501487"/>
                  <a:pt x="3016077" y="572753"/>
                </a:cubicBezTo>
                <a:cubicBezTo>
                  <a:pt x="3055320" y="634446"/>
                  <a:pt x="3376830" y="1260842"/>
                  <a:pt x="3381948" y="1270566"/>
                </a:cubicBezTo>
                <a:cubicBezTo>
                  <a:pt x="3386677" y="1279328"/>
                  <a:pt x="3393442" y="1285729"/>
                  <a:pt x="3400240" y="1281756"/>
                </a:cubicBezTo>
                <a:cubicBezTo>
                  <a:pt x="3406237" y="1278349"/>
                  <a:pt x="3406646" y="1267378"/>
                  <a:pt x="3406134" y="1255736"/>
                </a:cubicBezTo>
                <a:cubicBezTo>
                  <a:pt x="3405492" y="1241619"/>
                  <a:pt x="3402657" y="1171378"/>
                  <a:pt x="3402657" y="1123946"/>
                </a:cubicBezTo>
                <a:lnTo>
                  <a:pt x="3402657" y="463522"/>
                </a:lnTo>
                <a:lnTo>
                  <a:pt x="3639813" y="463522"/>
                </a:lnTo>
                <a:lnTo>
                  <a:pt x="3639813" y="1255333"/>
                </a:lnTo>
                <a:cubicBezTo>
                  <a:pt x="3639813" y="1491113"/>
                  <a:pt x="3523557" y="1534727"/>
                  <a:pt x="3425426" y="1534727"/>
                </a:cubicBezTo>
                <a:cubicBezTo>
                  <a:pt x="3319670" y="1534727"/>
                  <a:pt x="3264509" y="1485221"/>
                  <a:pt x="3219125" y="1413949"/>
                </a:cubicBezTo>
                <a:cubicBezTo>
                  <a:pt x="3155813" y="1314503"/>
                  <a:pt x="2857763" y="724966"/>
                  <a:pt x="2853165" y="716135"/>
                </a:cubicBezTo>
                <a:cubicBezTo>
                  <a:pt x="2848558" y="707335"/>
                  <a:pt x="2841793" y="701034"/>
                  <a:pt x="2834887" y="704930"/>
                </a:cubicBezTo>
                <a:cubicBezTo>
                  <a:pt x="2829005" y="708344"/>
                  <a:pt x="2828497" y="719338"/>
                  <a:pt x="2829009" y="730980"/>
                </a:cubicBezTo>
                <a:cubicBezTo>
                  <a:pt x="2829628" y="745090"/>
                  <a:pt x="2832590" y="815378"/>
                  <a:pt x="2832590" y="862725"/>
                </a:cubicBezTo>
                <a:lnTo>
                  <a:pt x="2832590" y="1523194"/>
                </a:lnTo>
                <a:lnTo>
                  <a:pt x="2595360" y="1523194"/>
                </a:lnTo>
                <a:lnTo>
                  <a:pt x="2595360" y="731368"/>
                </a:lnTo>
                <a:cubicBezTo>
                  <a:pt x="2595360" y="495611"/>
                  <a:pt x="2711606" y="452019"/>
                  <a:pt x="2809822" y="452019"/>
                </a:cubicBezTo>
                <a:close/>
                <a:moveTo>
                  <a:pt x="1079247" y="330967"/>
                </a:moveTo>
                <a:cubicBezTo>
                  <a:pt x="1039101" y="354484"/>
                  <a:pt x="989740" y="403598"/>
                  <a:pt x="952084" y="465588"/>
                </a:cubicBezTo>
                <a:cubicBezTo>
                  <a:pt x="914427" y="527577"/>
                  <a:pt x="887125" y="603548"/>
                  <a:pt x="887125" y="684091"/>
                </a:cubicBezTo>
                <a:cubicBezTo>
                  <a:pt x="887125" y="743091"/>
                  <a:pt x="906578" y="795805"/>
                  <a:pt x="940315" y="833769"/>
                </a:cubicBezTo>
                <a:cubicBezTo>
                  <a:pt x="974052" y="871732"/>
                  <a:pt x="1022072" y="894946"/>
                  <a:pt x="1079206" y="894946"/>
                </a:cubicBezTo>
                <a:cubicBezTo>
                  <a:pt x="1136340" y="894946"/>
                  <a:pt x="1184360" y="871732"/>
                  <a:pt x="1218097" y="833769"/>
                </a:cubicBezTo>
                <a:cubicBezTo>
                  <a:pt x="1251833" y="795805"/>
                  <a:pt x="1271286" y="743091"/>
                  <a:pt x="1271286" y="684091"/>
                </a:cubicBezTo>
                <a:cubicBezTo>
                  <a:pt x="1271286" y="603548"/>
                  <a:pt x="1243984" y="527577"/>
                  <a:pt x="1206328" y="465588"/>
                </a:cubicBezTo>
                <a:cubicBezTo>
                  <a:pt x="1168672" y="403598"/>
                  <a:pt x="1110735" y="347874"/>
                  <a:pt x="1079247" y="330967"/>
                </a:cubicBezTo>
                <a:close/>
                <a:moveTo>
                  <a:pt x="805966" y="263259"/>
                </a:moveTo>
                <a:cubicBezTo>
                  <a:pt x="686954" y="257894"/>
                  <a:pt x="551782" y="326830"/>
                  <a:pt x="446364" y="449558"/>
                </a:cubicBezTo>
                <a:cubicBezTo>
                  <a:pt x="393654" y="510922"/>
                  <a:pt x="348383" y="585734"/>
                  <a:pt x="316290" y="671430"/>
                </a:cubicBezTo>
                <a:cubicBezTo>
                  <a:pt x="284196" y="757125"/>
                  <a:pt x="265280" y="853705"/>
                  <a:pt x="265280" y="958605"/>
                </a:cubicBezTo>
                <a:cubicBezTo>
                  <a:pt x="265280" y="1073486"/>
                  <a:pt x="288318" y="1182036"/>
                  <a:pt x="329833" y="1280240"/>
                </a:cubicBezTo>
                <a:cubicBezTo>
                  <a:pt x="371348" y="1378444"/>
                  <a:pt x="431341" y="1466303"/>
                  <a:pt x="505249" y="1539802"/>
                </a:cubicBezTo>
                <a:cubicBezTo>
                  <a:pt x="579158" y="1613301"/>
                  <a:pt x="666983" y="1672440"/>
                  <a:pt x="764163" y="1713204"/>
                </a:cubicBezTo>
                <a:cubicBezTo>
                  <a:pt x="861343" y="1753969"/>
                  <a:pt x="967878" y="1776358"/>
                  <a:pt x="1079208" y="1776358"/>
                </a:cubicBezTo>
                <a:cubicBezTo>
                  <a:pt x="1190538" y="1776358"/>
                  <a:pt x="1297074" y="1753969"/>
                  <a:pt x="1394254" y="1713204"/>
                </a:cubicBezTo>
                <a:cubicBezTo>
                  <a:pt x="1491434" y="1672440"/>
                  <a:pt x="1579259" y="1613301"/>
                  <a:pt x="1653167" y="1539802"/>
                </a:cubicBezTo>
                <a:cubicBezTo>
                  <a:pt x="1727076" y="1466303"/>
                  <a:pt x="1787068" y="1378444"/>
                  <a:pt x="1828584" y="1280240"/>
                </a:cubicBezTo>
                <a:cubicBezTo>
                  <a:pt x="1870099" y="1182036"/>
                  <a:pt x="1893137" y="1073486"/>
                  <a:pt x="1893137" y="958605"/>
                </a:cubicBezTo>
                <a:cubicBezTo>
                  <a:pt x="1893137" y="855344"/>
                  <a:pt x="1874740" y="759689"/>
                  <a:pt x="1843297" y="674433"/>
                </a:cubicBezTo>
                <a:cubicBezTo>
                  <a:pt x="1811852" y="589176"/>
                  <a:pt x="1767361" y="514318"/>
                  <a:pt x="1715171" y="452650"/>
                </a:cubicBezTo>
                <a:cubicBezTo>
                  <a:pt x="1610792" y="329313"/>
                  <a:pt x="1475621" y="258738"/>
                  <a:pt x="1352451" y="263259"/>
                </a:cubicBezTo>
                <a:cubicBezTo>
                  <a:pt x="1412945" y="322179"/>
                  <a:pt x="1458865" y="394141"/>
                  <a:pt x="1489332" y="469668"/>
                </a:cubicBezTo>
                <a:cubicBezTo>
                  <a:pt x="1519800" y="545194"/>
                  <a:pt x="1534815" y="624285"/>
                  <a:pt x="1533501" y="697463"/>
                </a:cubicBezTo>
                <a:cubicBezTo>
                  <a:pt x="1533501" y="833577"/>
                  <a:pt x="1479467" y="949424"/>
                  <a:pt x="1395669" y="1031243"/>
                </a:cubicBezTo>
                <a:cubicBezTo>
                  <a:pt x="1311871" y="1113062"/>
                  <a:pt x="1198308" y="1160853"/>
                  <a:pt x="1079208" y="1160853"/>
                </a:cubicBezTo>
                <a:cubicBezTo>
                  <a:pt x="960109" y="1160853"/>
                  <a:pt x="846546" y="1113062"/>
                  <a:pt x="762748" y="1031243"/>
                </a:cubicBezTo>
                <a:cubicBezTo>
                  <a:pt x="678950" y="949424"/>
                  <a:pt x="624916" y="833577"/>
                  <a:pt x="624916" y="697463"/>
                </a:cubicBezTo>
                <a:cubicBezTo>
                  <a:pt x="624916" y="618236"/>
                  <a:pt x="642018" y="537734"/>
                  <a:pt x="673201" y="463015"/>
                </a:cubicBezTo>
                <a:cubicBezTo>
                  <a:pt x="704383" y="388296"/>
                  <a:pt x="749646" y="319359"/>
                  <a:pt x="805966" y="263259"/>
                </a:cubicBezTo>
                <a:close/>
                <a:moveTo>
                  <a:pt x="817834" y="0"/>
                </a:moveTo>
                <a:cubicBezTo>
                  <a:pt x="866589" y="0"/>
                  <a:pt x="917272" y="5772"/>
                  <a:pt x="963091" y="14770"/>
                </a:cubicBezTo>
                <a:cubicBezTo>
                  <a:pt x="1008909" y="23768"/>
                  <a:pt x="1049865" y="35991"/>
                  <a:pt x="1079167" y="48893"/>
                </a:cubicBezTo>
                <a:cubicBezTo>
                  <a:pt x="1107617" y="35545"/>
                  <a:pt x="1148593" y="23322"/>
                  <a:pt x="1194646" y="14436"/>
                </a:cubicBezTo>
                <a:cubicBezTo>
                  <a:pt x="1240699" y="5549"/>
                  <a:pt x="1291827" y="0"/>
                  <a:pt x="1340583" y="0"/>
                </a:cubicBezTo>
                <a:cubicBezTo>
                  <a:pt x="1448034" y="0"/>
                  <a:pt x="1552874" y="25401"/>
                  <a:pt x="1649693" y="72213"/>
                </a:cubicBezTo>
                <a:cubicBezTo>
                  <a:pt x="1746513" y="119025"/>
                  <a:pt x="1835310" y="187248"/>
                  <a:pt x="1910677" y="272891"/>
                </a:cubicBezTo>
                <a:cubicBezTo>
                  <a:pt x="1986043" y="358535"/>
                  <a:pt x="2047978" y="461600"/>
                  <a:pt x="2091072" y="578096"/>
                </a:cubicBezTo>
                <a:cubicBezTo>
                  <a:pt x="2134165" y="694592"/>
                  <a:pt x="2158417" y="824518"/>
                  <a:pt x="2158417" y="963886"/>
                </a:cubicBezTo>
                <a:cubicBezTo>
                  <a:pt x="2158417" y="1115873"/>
                  <a:pt x="2127372" y="1259243"/>
                  <a:pt x="2071704" y="1388805"/>
                </a:cubicBezTo>
                <a:cubicBezTo>
                  <a:pt x="2016036" y="1518366"/>
                  <a:pt x="1935744" y="1634120"/>
                  <a:pt x="1837251" y="1730875"/>
                </a:cubicBezTo>
                <a:cubicBezTo>
                  <a:pt x="1738759" y="1827631"/>
                  <a:pt x="1622064" y="1905388"/>
                  <a:pt x="1493585" y="1958956"/>
                </a:cubicBezTo>
                <a:cubicBezTo>
                  <a:pt x="1365105" y="2012524"/>
                  <a:pt x="1224841" y="2041903"/>
                  <a:pt x="1079208" y="2041903"/>
                </a:cubicBezTo>
                <a:cubicBezTo>
                  <a:pt x="933576" y="2041903"/>
                  <a:pt x="793312" y="2012524"/>
                  <a:pt x="664832" y="1958956"/>
                </a:cubicBezTo>
                <a:cubicBezTo>
                  <a:pt x="536353" y="1905388"/>
                  <a:pt x="419658" y="1827631"/>
                  <a:pt x="321166" y="1730875"/>
                </a:cubicBezTo>
                <a:cubicBezTo>
                  <a:pt x="222673" y="1634120"/>
                  <a:pt x="142381" y="1518366"/>
                  <a:pt x="86713" y="1388805"/>
                </a:cubicBezTo>
                <a:cubicBezTo>
                  <a:pt x="31045" y="1259243"/>
                  <a:pt x="0" y="1115873"/>
                  <a:pt x="0" y="963886"/>
                </a:cubicBezTo>
                <a:cubicBezTo>
                  <a:pt x="0" y="824518"/>
                  <a:pt x="24252" y="694592"/>
                  <a:pt x="67345" y="578096"/>
                </a:cubicBezTo>
                <a:cubicBezTo>
                  <a:pt x="110439" y="461600"/>
                  <a:pt x="172374" y="358535"/>
                  <a:pt x="247740" y="272891"/>
                </a:cubicBezTo>
                <a:cubicBezTo>
                  <a:pt x="323106" y="187248"/>
                  <a:pt x="411904" y="119025"/>
                  <a:pt x="508723" y="72213"/>
                </a:cubicBezTo>
                <a:cubicBezTo>
                  <a:pt x="605542" y="25401"/>
                  <a:pt x="710382" y="0"/>
                  <a:pt x="817834" y="0"/>
                </a:cubicBezTo>
                <a:close/>
              </a:path>
            </a:pathLst>
          </a:custGeom>
          <a:solidFill>
            <a:srgbClr val="0072BC"/>
          </a:solidFill>
          <a:ln w="7639" cap="flat">
            <a:noFill/>
            <a:prstDash val="solid"/>
            <a:miter/>
          </a:ln>
        </p:spPr>
        <p:txBody>
          <a:bodyPr rtlCol="0" anchor="ctr"/>
          <a:lstStyle/>
          <a:p>
            <a:endParaRPr lang="en-US"/>
          </a:p>
        </p:txBody>
      </p:sp>
    </p:spTree>
    <p:extLst>
      <p:ext uri="{BB962C8B-B14F-4D97-AF65-F5344CB8AC3E}">
        <p14:creationId xmlns:p14="http://schemas.microsoft.com/office/powerpoint/2010/main" val="3495582011"/>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6" r:id="rId13"/>
  </p:sldLayoutIdLst>
  <p:hf hdr="0"/>
  <p:txStyles>
    <p:titleStyle>
      <a:lvl1pPr algn="l" defTabSz="914400" rtl="0" eaLnBrk="1" latinLnBrk="0" hangingPunct="1">
        <a:lnSpc>
          <a:spcPct val="90000"/>
        </a:lnSpc>
        <a:spcBef>
          <a:spcPct val="0"/>
        </a:spcBef>
        <a:buNone/>
        <a:defRPr lang="en-US" sz="2800" kern="1200" dirty="0">
          <a:solidFill>
            <a:schemeClr val="bg1"/>
          </a:solidFill>
          <a:latin typeface="Georgia" panose="02040502050405020303" pitchFamily="18" charset="0"/>
          <a:ea typeface="+mj-ea"/>
          <a:cs typeface="+mj-cs"/>
        </a:defRPr>
      </a:lvl1pPr>
    </p:titleStyle>
    <p:bodyStyle>
      <a:lvl1pPr marL="227013" indent="-227013"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1pPr>
      <a:lvl2pPr marL="798513" indent="-28575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2pPr>
      <a:lvl3pPr marL="1200150" indent="-22860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712913" indent="-28575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4pPr>
      <a:lvl5pPr marL="2114550" indent="-22860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6.jpeg"/><Relationship Id="rId1" Type="http://schemas.openxmlformats.org/officeDocument/2006/relationships/slideLayout" Target="../slideLayouts/slideLayout14.xml"/><Relationship Id="rId4" Type="http://schemas.openxmlformats.org/officeDocument/2006/relationships/image" Target="../media/image11.svg"/></Relationships>
</file>

<file path=ppt/slides/_rels/slide11.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svg"/><Relationship Id="rId7" Type="http://schemas.openxmlformats.org/officeDocument/2006/relationships/image" Target="../media/image75.svg"/><Relationship Id="rId2" Type="http://schemas.openxmlformats.org/officeDocument/2006/relationships/image" Target="../media/image70.png"/><Relationship Id="rId1" Type="http://schemas.openxmlformats.org/officeDocument/2006/relationships/slideLayout" Target="../slideLayouts/slideLayout105.xml"/><Relationship Id="rId6" Type="http://schemas.openxmlformats.org/officeDocument/2006/relationships/image" Target="../media/image74.png"/><Relationship Id="rId11" Type="http://schemas.openxmlformats.org/officeDocument/2006/relationships/image" Target="../media/image64.png"/><Relationship Id="rId5" Type="http://schemas.openxmlformats.org/officeDocument/2006/relationships/image" Target="../media/image73.svg"/><Relationship Id="rId10" Type="http://schemas.openxmlformats.org/officeDocument/2006/relationships/image" Target="../media/image65.png"/><Relationship Id="rId4" Type="http://schemas.openxmlformats.org/officeDocument/2006/relationships/image" Target="../media/image72.png"/><Relationship Id="rId9" Type="http://schemas.openxmlformats.org/officeDocument/2006/relationships/image" Target="../media/image77.svg"/></Relationships>
</file>

<file path=ppt/slides/_rels/slide1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xml"/><Relationship Id="rId1" Type="http://schemas.openxmlformats.org/officeDocument/2006/relationships/slideLayout" Target="../slideLayouts/slideLayout29.xml"/><Relationship Id="rId4" Type="http://schemas.openxmlformats.org/officeDocument/2006/relationships/image" Target="../media/image65.png"/></Relationships>
</file>

<file path=ppt/slides/_rels/slide14.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65.png"/><Relationship Id="rId2" Type="http://schemas.openxmlformats.org/officeDocument/2006/relationships/notesSlide" Target="../notesSlides/notesSlide4.xml"/><Relationship Id="rId1" Type="http://schemas.openxmlformats.org/officeDocument/2006/relationships/slideLayout" Target="../slideLayouts/slideLayout30.xml"/><Relationship Id="rId6" Type="http://schemas.openxmlformats.org/officeDocument/2006/relationships/image" Target="../media/image64.png"/><Relationship Id="rId5" Type="http://schemas.openxmlformats.org/officeDocument/2006/relationships/image" Target="../media/image80.png"/><Relationship Id="rId4" Type="http://schemas.openxmlformats.org/officeDocument/2006/relationships/image" Target="../media/image79.png"/></Relationships>
</file>

<file path=ppt/slides/_rels/slide15.xml.rels><?xml version="1.0" encoding="UTF-8" standalone="yes"?>
<Relationships xmlns="http://schemas.openxmlformats.org/package/2006/relationships"><Relationship Id="rId8" Type="http://schemas.openxmlformats.org/officeDocument/2006/relationships/image" Target="../media/image86.svg"/><Relationship Id="rId13" Type="http://schemas.openxmlformats.org/officeDocument/2006/relationships/image" Target="../media/image89.svg"/><Relationship Id="rId3" Type="http://schemas.openxmlformats.org/officeDocument/2006/relationships/image" Target="../media/image81.png"/><Relationship Id="rId7" Type="http://schemas.openxmlformats.org/officeDocument/2006/relationships/image" Target="../media/image85.png"/><Relationship Id="rId12" Type="http://schemas.openxmlformats.org/officeDocument/2006/relationships/image" Target="../media/image88.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84.svg"/><Relationship Id="rId11" Type="http://schemas.openxmlformats.org/officeDocument/2006/relationships/image" Target="../media/image87.png"/><Relationship Id="rId5" Type="http://schemas.openxmlformats.org/officeDocument/2006/relationships/image" Target="../media/image83.png"/><Relationship Id="rId10" Type="http://schemas.openxmlformats.org/officeDocument/2006/relationships/image" Target="../media/image65.png"/><Relationship Id="rId4" Type="http://schemas.openxmlformats.org/officeDocument/2006/relationships/image" Target="../media/image82.svg"/><Relationship Id="rId9" Type="http://schemas.openxmlformats.org/officeDocument/2006/relationships/image" Target="../media/image64.png"/><Relationship Id="rId14" Type="http://schemas.openxmlformats.org/officeDocument/2006/relationships/image" Target="../media/image90.jpeg"/></Relationships>
</file>

<file path=ppt/slides/_rels/slide16.xml.rels><?xml version="1.0" encoding="UTF-8" standalone="yes"?>
<Relationships xmlns="http://schemas.openxmlformats.org/package/2006/relationships"><Relationship Id="rId8" Type="http://schemas.openxmlformats.org/officeDocument/2006/relationships/image" Target="../media/image93.svg"/><Relationship Id="rId3" Type="http://schemas.openxmlformats.org/officeDocument/2006/relationships/image" Target="../media/image64.png"/><Relationship Id="rId7" Type="http://schemas.openxmlformats.org/officeDocument/2006/relationships/image" Target="../media/image92.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microsoft.com/office/2007/relationships/hdphoto" Target="../media/hdphoto2.wdp"/><Relationship Id="rId5" Type="http://schemas.openxmlformats.org/officeDocument/2006/relationships/image" Target="../media/image91.png"/><Relationship Id="rId4" Type="http://schemas.openxmlformats.org/officeDocument/2006/relationships/image" Target="../media/image65.png"/><Relationship Id="rId9" Type="http://schemas.openxmlformats.org/officeDocument/2006/relationships/image" Target="../media/image90.jpeg"/></Relationships>
</file>

<file path=ppt/slides/_rels/slide1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7.xml"/><Relationship Id="rId4" Type="http://schemas.openxmlformats.org/officeDocument/2006/relationships/image" Target="../media/image67.png"/></Relationships>
</file>

<file path=ppt/slides/_rels/slide1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7.xml"/><Relationship Id="rId4" Type="http://schemas.openxmlformats.org/officeDocument/2006/relationships/image" Target="../media/image68.png"/></Relationships>
</file>

<file path=ppt/slides/_rels/slide1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94.png"/><Relationship Id="rId1" Type="http://schemas.openxmlformats.org/officeDocument/2006/relationships/slideLayout" Target="../slideLayouts/slideLayout24.xml"/><Relationship Id="rId4" Type="http://schemas.openxmlformats.org/officeDocument/2006/relationships/image" Target="../media/image65.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3.jpeg"/><Relationship Id="rId1" Type="http://schemas.openxmlformats.org/officeDocument/2006/relationships/slideLayout" Target="../slideLayouts/slideLayout13.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5.svg"/></Relationships>
</file>

<file path=ppt/slides/_rels/slide2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24.xml"/><Relationship Id="rId5" Type="http://schemas.openxmlformats.org/officeDocument/2006/relationships/image" Target="../media/image65.png"/><Relationship Id="rId4" Type="http://schemas.openxmlformats.org/officeDocument/2006/relationships/image" Target="../media/image64.png"/></Relationships>
</file>

<file path=ppt/slides/_rels/slide2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24.xml"/><Relationship Id="rId5" Type="http://schemas.openxmlformats.org/officeDocument/2006/relationships/image" Target="../media/image65.png"/><Relationship Id="rId4" Type="http://schemas.openxmlformats.org/officeDocument/2006/relationships/image" Target="../media/image64.png"/></Relationships>
</file>

<file path=ppt/slides/_rels/slide2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99.png"/><Relationship Id="rId1" Type="http://schemas.openxmlformats.org/officeDocument/2006/relationships/slideLayout" Target="../slideLayouts/slideLayout24.xml"/><Relationship Id="rId4" Type="http://schemas.openxmlformats.org/officeDocument/2006/relationships/image" Target="../media/image65.png"/></Relationships>
</file>

<file path=ppt/slides/_rels/slide2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99.png"/><Relationship Id="rId1" Type="http://schemas.openxmlformats.org/officeDocument/2006/relationships/slideLayout" Target="../slideLayouts/slideLayout24.xml"/><Relationship Id="rId4" Type="http://schemas.openxmlformats.org/officeDocument/2006/relationships/image" Target="../media/image65.png"/></Relationships>
</file>

<file path=ppt/slides/_rels/slide24.xml.rels><?xml version="1.0" encoding="UTF-8" standalone="yes"?>
<Relationships xmlns="http://schemas.openxmlformats.org/package/2006/relationships"><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image" Target="../media/image105.svg"/><Relationship Id="rId39" Type="http://schemas.openxmlformats.org/officeDocument/2006/relationships/image" Target="../media/image113.png"/><Relationship Id="rId21" Type="http://schemas.openxmlformats.org/officeDocument/2006/relationships/image" Target="../media/image100.png"/><Relationship Id="rId34" Type="http://schemas.openxmlformats.org/officeDocument/2006/relationships/image" Target="../media/image108.png"/><Relationship Id="rId42" Type="http://schemas.openxmlformats.org/officeDocument/2006/relationships/image" Target="../media/image116.png"/><Relationship Id="rId7" Type="http://schemas.openxmlformats.org/officeDocument/2006/relationships/tags" Target="../tags/tag16.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notesSlide" Target="../notesSlides/notesSlide7.xml"/><Relationship Id="rId29" Type="http://schemas.openxmlformats.org/officeDocument/2006/relationships/image" Target="../media/image90.jpeg"/><Relationship Id="rId41" Type="http://schemas.openxmlformats.org/officeDocument/2006/relationships/image" Target="../media/image115.png"/><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image" Target="../media/image103.svg"/><Relationship Id="rId32" Type="http://schemas.openxmlformats.org/officeDocument/2006/relationships/image" Target="../media/image88.png"/><Relationship Id="rId37" Type="http://schemas.openxmlformats.org/officeDocument/2006/relationships/image" Target="../media/image111.png"/><Relationship Id="rId40" Type="http://schemas.openxmlformats.org/officeDocument/2006/relationships/image" Target="../media/image114.png"/><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image" Target="../media/image102.png"/><Relationship Id="rId28" Type="http://schemas.microsoft.com/office/2007/relationships/hdphoto" Target="../media/hdphoto2.wdp"/><Relationship Id="rId36" Type="http://schemas.openxmlformats.org/officeDocument/2006/relationships/image" Target="../media/image110.png"/><Relationship Id="rId10" Type="http://schemas.openxmlformats.org/officeDocument/2006/relationships/tags" Target="../tags/tag19.xml"/><Relationship Id="rId19" Type="http://schemas.openxmlformats.org/officeDocument/2006/relationships/slideLayout" Target="../slideLayouts/slideLayout24.xml"/><Relationship Id="rId31" Type="http://schemas.openxmlformats.org/officeDocument/2006/relationships/image" Target="../media/image107.svg"/><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image" Target="../media/image101.svg"/><Relationship Id="rId27" Type="http://schemas.openxmlformats.org/officeDocument/2006/relationships/image" Target="../media/image91.png"/><Relationship Id="rId30" Type="http://schemas.openxmlformats.org/officeDocument/2006/relationships/image" Target="../media/image106.png"/><Relationship Id="rId35" Type="http://schemas.openxmlformats.org/officeDocument/2006/relationships/image" Target="../media/image109.jpeg"/><Relationship Id="rId8" Type="http://schemas.openxmlformats.org/officeDocument/2006/relationships/tags" Target="../tags/tag17.xml"/><Relationship Id="rId3" Type="http://schemas.openxmlformats.org/officeDocument/2006/relationships/tags" Target="../tags/tag12.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image" Target="../media/image104.png"/><Relationship Id="rId33" Type="http://schemas.openxmlformats.org/officeDocument/2006/relationships/image" Target="../media/image89.svg"/><Relationship Id="rId38" Type="http://schemas.openxmlformats.org/officeDocument/2006/relationships/image" Target="../media/image112.png"/></Relationships>
</file>

<file path=ppt/slides/_rels/slide25.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24.xml"/><Relationship Id="rId4" Type="http://schemas.openxmlformats.org/officeDocument/2006/relationships/image" Target="../media/image65.png"/></Relationships>
</file>

<file path=ppt/slides/_rels/slide2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9.xml"/><Relationship Id="rId1" Type="http://schemas.openxmlformats.org/officeDocument/2006/relationships/slideLayout" Target="../slideLayouts/slideLayout19.xml"/><Relationship Id="rId4" Type="http://schemas.openxmlformats.org/officeDocument/2006/relationships/image" Target="../media/image64.png"/></Relationships>
</file>

<file path=ppt/slides/_rels/slide28.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64.png"/><Relationship Id="rId7" Type="http://schemas.openxmlformats.org/officeDocument/2006/relationships/image" Target="../media/image88.png"/><Relationship Id="rId2" Type="http://schemas.openxmlformats.org/officeDocument/2006/relationships/image" Target="../media/image90.jpeg"/><Relationship Id="rId1" Type="http://schemas.openxmlformats.org/officeDocument/2006/relationships/slideLayout" Target="../slideLayouts/slideLayout7.xml"/><Relationship Id="rId6" Type="http://schemas.microsoft.com/office/2007/relationships/hdphoto" Target="../media/hdphoto2.wdp"/><Relationship Id="rId5" Type="http://schemas.openxmlformats.org/officeDocument/2006/relationships/image" Target="../media/image91.png"/><Relationship Id="rId4" Type="http://schemas.openxmlformats.org/officeDocument/2006/relationships/image" Target="../media/image65.png"/></Relationships>
</file>

<file path=ppt/slides/_rels/slide29.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6.jpeg"/><Relationship Id="rId1" Type="http://schemas.openxmlformats.org/officeDocument/2006/relationships/slideLayout" Target="../slideLayouts/slideLayout14.xml"/><Relationship Id="rId4" Type="http://schemas.openxmlformats.org/officeDocument/2006/relationships/image" Target="../media/image11.svg"/></Relationships>
</file>

<file path=ppt/slides/_rels/slide3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0.xml"/><Relationship Id="rId1" Type="http://schemas.openxmlformats.org/officeDocument/2006/relationships/slideLayout" Target="../slideLayouts/slideLayout24.xml"/><Relationship Id="rId6" Type="http://schemas.openxmlformats.org/officeDocument/2006/relationships/image" Target="../media/image64.png"/><Relationship Id="rId5" Type="http://schemas.openxmlformats.org/officeDocument/2006/relationships/image" Target="../media/image65.png"/><Relationship Id="rId4" Type="http://schemas.openxmlformats.org/officeDocument/2006/relationships/image" Target="../media/image107.svg"/></Relationships>
</file>

<file path=ppt/slides/_rels/slide31.xml.rels><?xml version="1.0" encoding="UTF-8" standalone="yes"?>
<Relationships xmlns="http://schemas.openxmlformats.org/package/2006/relationships"><Relationship Id="rId13" Type="http://schemas.openxmlformats.org/officeDocument/2006/relationships/image" Target="../media/image122.png"/><Relationship Id="rId18" Type="http://schemas.openxmlformats.org/officeDocument/2006/relationships/image" Target="../media/image127.png"/><Relationship Id="rId26" Type="http://schemas.openxmlformats.org/officeDocument/2006/relationships/image" Target="../media/image135.png"/><Relationship Id="rId39" Type="http://schemas.openxmlformats.org/officeDocument/2006/relationships/image" Target="../media/image148.png"/><Relationship Id="rId21" Type="http://schemas.openxmlformats.org/officeDocument/2006/relationships/image" Target="../media/image130.png"/><Relationship Id="rId34" Type="http://schemas.openxmlformats.org/officeDocument/2006/relationships/image" Target="../media/image143.png"/><Relationship Id="rId42" Type="http://schemas.openxmlformats.org/officeDocument/2006/relationships/image" Target="../media/image151.png"/><Relationship Id="rId7" Type="http://schemas.openxmlformats.org/officeDocument/2006/relationships/image" Target="../media/image117.png"/><Relationship Id="rId2" Type="http://schemas.openxmlformats.org/officeDocument/2006/relationships/notesSlide" Target="../notesSlides/notesSlide11.xml"/><Relationship Id="rId16" Type="http://schemas.openxmlformats.org/officeDocument/2006/relationships/image" Target="../media/image125.jpeg"/><Relationship Id="rId29" Type="http://schemas.openxmlformats.org/officeDocument/2006/relationships/image" Target="../media/image138.png"/><Relationship Id="rId1" Type="http://schemas.openxmlformats.org/officeDocument/2006/relationships/slideLayout" Target="../slideLayouts/slideLayout24.xml"/><Relationship Id="rId6" Type="http://schemas.openxmlformats.org/officeDocument/2006/relationships/image" Target="../media/image64.png"/><Relationship Id="rId11" Type="http://schemas.openxmlformats.org/officeDocument/2006/relationships/image" Target="../media/image120.png"/><Relationship Id="rId24" Type="http://schemas.openxmlformats.org/officeDocument/2006/relationships/image" Target="../media/image133.jpeg"/><Relationship Id="rId32" Type="http://schemas.openxmlformats.org/officeDocument/2006/relationships/image" Target="../media/image141.png"/><Relationship Id="rId37" Type="http://schemas.openxmlformats.org/officeDocument/2006/relationships/image" Target="../media/image146.png"/><Relationship Id="rId40" Type="http://schemas.openxmlformats.org/officeDocument/2006/relationships/image" Target="../media/image149.png"/><Relationship Id="rId45" Type="http://schemas.openxmlformats.org/officeDocument/2006/relationships/image" Target="../media/image154.png"/><Relationship Id="rId5" Type="http://schemas.openxmlformats.org/officeDocument/2006/relationships/image" Target="../media/image65.png"/><Relationship Id="rId15" Type="http://schemas.openxmlformats.org/officeDocument/2006/relationships/image" Target="../media/image124.png"/><Relationship Id="rId23" Type="http://schemas.openxmlformats.org/officeDocument/2006/relationships/image" Target="../media/image132.png"/><Relationship Id="rId28" Type="http://schemas.openxmlformats.org/officeDocument/2006/relationships/image" Target="../media/image137.png"/><Relationship Id="rId36" Type="http://schemas.openxmlformats.org/officeDocument/2006/relationships/image" Target="../media/image145.png"/><Relationship Id="rId10" Type="http://schemas.openxmlformats.org/officeDocument/2006/relationships/image" Target="../media/image119.png"/><Relationship Id="rId19" Type="http://schemas.openxmlformats.org/officeDocument/2006/relationships/image" Target="../media/image128.png"/><Relationship Id="rId31" Type="http://schemas.openxmlformats.org/officeDocument/2006/relationships/image" Target="../media/image140.png"/><Relationship Id="rId44" Type="http://schemas.openxmlformats.org/officeDocument/2006/relationships/image" Target="../media/image153.png"/><Relationship Id="rId4" Type="http://schemas.openxmlformats.org/officeDocument/2006/relationships/image" Target="../media/image107.svg"/><Relationship Id="rId9" Type="http://schemas.openxmlformats.org/officeDocument/2006/relationships/image" Target="../media/image118.png"/><Relationship Id="rId14" Type="http://schemas.openxmlformats.org/officeDocument/2006/relationships/image" Target="../media/image123.png"/><Relationship Id="rId22" Type="http://schemas.openxmlformats.org/officeDocument/2006/relationships/image" Target="../media/image131.png"/><Relationship Id="rId27" Type="http://schemas.openxmlformats.org/officeDocument/2006/relationships/image" Target="../media/image136.png"/><Relationship Id="rId30" Type="http://schemas.openxmlformats.org/officeDocument/2006/relationships/image" Target="../media/image139.png"/><Relationship Id="rId35" Type="http://schemas.openxmlformats.org/officeDocument/2006/relationships/image" Target="../media/image144.png"/><Relationship Id="rId43" Type="http://schemas.openxmlformats.org/officeDocument/2006/relationships/image" Target="../media/image152.png"/><Relationship Id="rId8" Type="http://schemas.microsoft.com/office/2007/relationships/hdphoto" Target="../media/hdphoto3.wdp"/><Relationship Id="rId3" Type="http://schemas.openxmlformats.org/officeDocument/2006/relationships/image" Target="../media/image106.png"/><Relationship Id="rId12" Type="http://schemas.openxmlformats.org/officeDocument/2006/relationships/image" Target="../media/image121.png"/><Relationship Id="rId17" Type="http://schemas.openxmlformats.org/officeDocument/2006/relationships/image" Target="../media/image126.png"/><Relationship Id="rId25" Type="http://schemas.openxmlformats.org/officeDocument/2006/relationships/image" Target="../media/image134.png"/><Relationship Id="rId33" Type="http://schemas.openxmlformats.org/officeDocument/2006/relationships/image" Target="../media/image142.png"/><Relationship Id="rId38" Type="http://schemas.openxmlformats.org/officeDocument/2006/relationships/image" Target="../media/image147.png"/><Relationship Id="rId20" Type="http://schemas.openxmlformats.org/officeDocument/2006/relationships/image" Target="../media/image129.png"/><Relationship Id="rId41" Type="http://schemas.openxmlformats.org/officeDocument/2006/relationships/image" Target="../media/image150.png"/></Relationships>
</file>

<file path=ppt/slides/_rels/slide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8" Type="http://schemas.openxmlformats.org/officeDocument/2006/relationships/image" Target="../media/image160.svg"/><Relationship Id="rId13" Type="http://schemas.openxmlformats.org/officeDocument/2006/relationships/image" Target="../media/image165.png"/><Relationship Id="rId3" Type="http://schemas.openxmlformats.org/officeDocument/2006/relationships/image" Target="../media/image155.png"/><Relationship Id="rId7" Type="http://schemas.openxmlformats.org/officeDocument/2006/relationships/image" Target="../media/image159.png"/><Relationship Id="rId12" Type="http://schemas.openxmlformats.org/officeDocument/2006/relationships/image" Target="../media/image164.svg"/><Relationship Id="rId2" Type="http://schemas.openxmlformats.org/officeDocument/2006/relationships/notesSlide" Target="../notesSlides/notesSlide12.xml"/><Relationship Id="rId16" Type="http://schemas.openxmlformats.org/officeDocument/2006/relationships/image" Target="../media/image64.png"/><Relationship Id="rId1" Type="http://schemas.openxmlformats.org/officeDocument/2006/relationships/slideLayout" Target="../slideLayouts/slideLayout1.xml"/><Relationship Id="rId6" Type="http://schemas.openxmlformats.org/officeDocument/2006/relationships/image" Target="../media/image158.svg"/><Relationship Id="rId11" Type="http://schemas.openxmlformats.org/officeDocument/2006/relationships/image" Target="../media/image163.png"/><Relationship Id="rId5" Type="http://schemas.openxmlformats.org/officeDocument/2006/relationships/image" Target="../media/image157.png"/><Relationship Id="rId15" Type="http://schemas.openxmlformats.org/officeDocument/2006/relationships/image" Target="../media/image65.png"/><Relationship Id="rId10" Type="http://schemas.openxmlformats.org/officeDocument/2006/relationships/image" Target="../media/image162.svg"/><Relationship Id="rId4" Type="http://schemas.openxmlformats.org/officeDocument/2006/relationships/image" Target="../media/image156.svg"/><Relationship Id="rId9" Type="http://schemas.openxmlformats.org/officeDocument/2006/relationships/image" Target="../media/image161.png"/><Relationship Id="rId14" Type="http://schemas.openxmlformats.org/officeDocument/2006/relationships/image" Target="../media/image166.svg"/></Relationships>
</file>

<file path=ppt/slides/_rels/slide34.xml.rels><?xml version="1.0" encoding="UTF-8" standalone="yes"?>
<Relationships xmlns="http://schemas.openxmlformats.org/package/2006/relationships"><Relationship Id="rId8" Type="http://schemas.openxmlformats.org/officeDocument/2006/relationships/image" Target="../media/image172.svg"/><Relationship Id="rId3" Type="http://schemas.openxmlformats.org/officeDocument/2006/relationships/image" Target="../media/image167.png"/><Relationship Id="rId7" Type="http://schemas.openxmlformats.org/officeDocument/2006/relationships/image" Target="../media/image171.png"/><Relationship Id="rId12" Type="http://schemas.openxmlformats.org/officeDocument/2006/relationships/image" Target="../media/image64.png"/><Relationship Id="rId2" Type="http://schemas.openxmlformats.org/officeDocument/2006/relationships/notesSlide" Target="../notesSlides/notesSlide13.xml"/><Relationship Id="rId1" Type="http://schemas.openxmlformats.org/officeDocument/2006/relationships/slideLayout" Target="../slideLayouts/slideLayout15.xml"/><Relationship Id="rId6" Type="http://schemas.openxmlformats.org/officeDocument/2006/relationships/image" Target="../media/image170.svg"/><Relationship Id="rId11" Type="http://schemas.openxmlformats.org/officeDocument/2006/relationships/image" Target="../media/image65.png"/><Relationship Id="rId5" Type="http://schemas.openxmlformats.org/officeDocument/2006/relationships/image" Target="../media/image169.png"/><Relationship Id="rId10" Type="http://schemas.openxmlformats.org/officeDocument/2006/relationships/image" Target="../media/image174.svg"/><Relationship Id="rId4" Type="http://schemas.openxmlformats.org/officeDocument/2006/relationships/image" Target="../media/image168.svg"/><Relationship Id="rId9" Type="http://schemas.openxmlformats.org/officeDocument/2006/relationships/image" Target="../media/image173.png"/></Relationships>
</file>

<file path=ppt/slides/_rels/slide35.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4.xml"/><Relationship Id="rId1" Type="http://schemas.openxmlformats.org/officeDocument/2006/relationships/slideLayout" Target="../slideLayouts/slideLayout15.xml"/><Relationship Id="rId5" Type="http://schemas.openxmlformats.org/officeDocument/2006/relationships/image" Target="../media/image64.png"/><Relationship Id="rId4" Type="http://schemas.openxmlformats.org/officeDocument/2006/relationships/image" Target="../media/image65.png"/></Relationships>
</file>

<file path=ppt/slides/_rels/slide36.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5.xml"/><Relationship Id="rId1" Type="http://schemas.openxmlformats.org/officeDocument/2006/relationships/slideLayout" Target="../slideLayouts/slideLayout123.xml"/><Relationship Id="rId4" Type="http://schemas.openxmlformats.org/officeDocument/2006/relationships/image" Target="../media/image177.png"/></Relationships>
</file>

<file path=ppt/slides/_rels/slide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65.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6.jpeg"/><Relationship Id="rId1" Type="http://schemas.openxmlformats.org/officeDocument/2006/relationships/slideLayout" Target="../slideLayouts/slideLayout14.xml"/><Relationship Id="rId4" Type="http://schemas.openxmlformats.org/officeDocument/2006/relationships/image" Target="../media/image11.svg"/></Relationships>
</file>

<file path=ppt/slides/_rels/slide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65.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6.jpeg"/><Relationship Id="rId1" Type="http://schemas.openxmlformats.org/officeDocument/2006/relationships/slideLayout" Target="../slideLayouts/slideLayout14.xml"/><Relationship Id="rId4" Type="http://schemas.openxmlformats.org/officeDocument/2006/relationships/image" Target="../media/image11.svg"/></Relationships>
</file>

<file path=ppt/slides/_rels/slide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7.xml"/><Relationship Id="rId4" Type="http://schemas.openxmlformats.org/officeDocument/2006/relationships/image" Target="../media/image67.png"/></Relationships>
</file>

<file path=ppt/slides/_rels/slide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7.xml"/><Relationship Id="rId4" Type="http://schemas.openxmlformats.org/officeDocument/2006/relationships/image" Target="../media/image6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9">
            <a:extLst>
              <a:ext uri="{FF2B5EF4-FFF2-40B4-BE49-F238E27FC236}">
                <a16:creationId xmlns:a16="http://schemas.microsoft.com/office/drawing/2014/main" id="{5E4EA2CD-FA1A-C351-24C7-C9E2DF29C07B}"/>
              </a:ext>
            </a:extLst>
          </p:cNvPr>
          <p:cNvSpPr>
            <a:spLocks noGrp="1"/>
          </p:cNvSpPr>
          <p:nvPr>
            <p:ph type="ctrTitle"/>
          </p:nvPr>
        </p:nvSpPr>
        <p:spPr>
          <a:xfrm>
            <a:off x="774700" y="1771650"/>
            <a:ext cx="4937125" cy="1406525"/>
          </a:xfrm>
          <a:noFill/>
        </p:spPr>
        <p:txBody>
          <a:bodyPr>
            <a:normAutofit fontScale="90000"/>
          </a:bodyPr>
          <a:lstStyle/>
          <a:p>
            <a:br>
              <a:rPr lang="en-GB" sz="3200" i="1" noProof="0" dirty="0">
                <a:cs typeface="Times New Roman"/>
              </a:rPr>
            </a:br>
            <a:r>
              <a:rPr lang="en-GB" sz="2600" b="1" i="1" noProof="0" dirty="0">
                <a:cs typeface="Times New Roman"/>
              </a:rPr>
              <a:t>BANCO SANTANDER</a:t>
            </a:r>
            <a:br>
              <a:rPr lang="en-GB" sz="2600" b="1" i="1" noProof="0" dirty="0">
                <a:cs typeface="Times New Roman"/>
              </a:rPr>
            </a:br>
            <a:r>
              <a:rPr lang="en-GB" sz="2600" b="1" i="1" noProof="0" dirty="0">
                <a:cs typeface="Times New Roman"/>
              </a:rPr>
              <a:t>Corporate &amp; Investment Banking</a:t>
            </a:r>
            <a:br>
              <a:rPr lang="en-GB" sz="2600" i="1" noProof="0" dirty="0">
                <a:cs typeface="Times New Roman"/>
              </a:rPr>
            </a:br>
            <a:br>
              <a:rPr lang="en-GB" sz="2600" i="1" noProof="0" dirty="0">
                <a:cs typeface="Times New Roman"/>
              </a:rPr>
            </a:br>
            <a:r>
              <a:rPr lang="en-GB" sz="2600" i="1" dirty="0" err="1">
                <a:cs typeface="Times New Roman"/>
              </a:rPr>
              <a:t>SteerCo</a:t>
            </a:r>
            <a:r>
              <a:rPr lang="en-GB" sz="2600" i="1" dirty="0">
                <a:cs typeface="Times New Roman"/>
              </a:rPr>
              <a:t> </a:t>
            </a:r>
            <a:r>
              <a:rPr lang="en-GB" sz="2600" i="1" noProof="0" dirty="0">
                <a:cs typeface="Times New Roman"/>
              </a:rPr>
              <a:t>SCIB </a:t>
            </a:r>
            <a:r>
              <a:rPr lang="en-GB" sz="2600" i="1" noProof="0" dirty="0" err="1">
                <a:cs typeface="Times New Roman"/>
              </a:rPr>
              <a:t>Agentics</a:t>
            </a:r>
            <a:r>
              <a:rPr lang="en-GB" sz="2600" i="1" noProof="0" dirty="0">
                <a:cs typeface="Times New Roman"/>
              </a:rPr>
              <a:t> for Finance</a:t>
            </a:r>
            <a:br>
              <a:rPr lang="en-GB" sz="2600" i="1" noProof="0" dirty="0">
                <a:cs typeface="Times New Roman"/>
              </a:rPr>
            </a:br>
            <a:r>
              <a:rPr lang="en-GB" sz="2600" i="1" noProof="0" dirty="0">
                <a:cs typeface="Times New Roman"/>
              </a:rPr>
              <a:t>FMIS &amp; SANART</a:t>
            </a:r>
          </a:p>
        </p:txBody>
      </p:sp>
      <p:pic>
        <p:nvPicPr>
          <p:cNvPr id="3" name="NTT DATA Global Logo">
            <a:extLst>
              <a:ext uri="{FF2B5EF4-FFF2-40B4-BE49-F238E27FC236}">
                <a16:creationId xmlns:a16="http://schemas.microsoft.com/office/drawing/2014/main" id="{152BAD3E-39A6-FFE1-438C-30DE16C3F7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gray">
          <a:xfrm>
            <a:off x="3136422" y="5934318"/>
            <a:ext cx="1288971" cy="262800"/>
          </a:xfrm>
          <a:prstGeom prst="rect">
            <a:avLst/>
          </a:prstGeom>
        </p:spPr>
      </p:pic>
      <p:sp>
        <p:nvSpPr>
          <p:cNvPr id="2" name="Text Placeholder 13">
            <a:extLst>
              <a:ext uri="{FF2B5EF4-FFF2-40B4-BE49-F238E27FC236}">
                <a16:creationId xmlns:a16="http://schemas.microsoft.com/office/drawing/2014/main" id="{6EDDB096-7EA1-42E3-EDF2-922ED14A0E62}"/>
              </a:ext>
            </a:extLst>
          </p:cNvPr>
          <p:cNvSpPr txBox="1">
            <a:spLocks/>
          </p:cNvSpPr>
          <p:nvPr/>
        </p:nvSpPr>
        <p:spPr>
          <a:xfrm>
            <a:off x="720463" y="333651"/>
            <a:ext cx="1914177" cy="4191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900" dirty="0">
                <a:solidFill>
                  <a:schemeClr val="bg1"/>
                </a:solidFill>
                <a:latin typeface="Santander Text" panose="020B0504020201020104"/>
              </a:rPr>
              <a:t>03/12/2025</a:t>
            </a:r>
          </a:p>
        </p:txBody>
      </p:sp>
    </p:spTree>
    <p:extLst>
      <p:ext uri="{BB962C8B-B14F-4D97-AF65-F5344CB8AC3E}">
        <p14:creationId xmlns:p14="http://schemas.microsoft.com/office/powerpoint/2010/main" val="28110074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Marcador de posición de imagen 62">
            <a:extLst>
              <a:ext uri="{FF2B5EF4-FFF2-40B4-BE49-F238E27FC236}">
                <a16:creationId xmlns:a16="http://schemas.microsoft.com/office/drawing/2014/main" id="{A1BB4C33-3EB3-0837-4B34-40EE7BEEB623}"/>
              </a:ext>
            </a:extLst>
          </p:cNvPr>
          <p:cNvPicPr>
            <a:picLocks noGrp="1" noRot="1" noChangeAspect="1" noMove="1" noResize="1" noEditPoints="1" noAdjustHandles="1" noChangeArrowheads="1" noChangeShapeType="1" noCrop="1"/>
          </p:cNvPicPr>
          <p:nvPr>
            <p:ph type="pic" sz="quarter" idx="4294967295"/>
          </p:nvPr>
        </p:nvPicPr>
        <p:blipFill>
          <a:blip r:embed="rId2">
            <a:extLst>
              <a:ext uri="{28A0092B-C50C-407E-A947-70E740481C1C}">
                <a14:useLocalDpi xmlns:a14="http://schemas.microsoft.com/office/drawing/2010/main" val="0"/>
              </a:ext>
            </a:extLst>
          </a:blip>
          <a:srcRect t="7841" b="7841"/>
          <a:stretch/>
        </p:blipFill>
        <p:spPr>
          <a:xfrm>
            <a:off x="0" y="0"/>
            <a:ext cx="12192000" cy="6858000"/>
          </a:xfrm>
        </p:spPr>
      </p:pic>
      <p:sp>
        <p:nvSpPr>
          <p:cNvPr id="43" name="Marcador de texto 42">
            <a:extLst>
              <a:ext uri="{FF2B5EF4-FFF2-40B4-BE49-F238E27FC236}">
                <a16:creationId xmlns:a16="http://schemas.microsoft.com/office/drawing/2014/main" id="{4401B903-8B2F-9576-572F-85977123A293}"/>
              </a:ext>
            </a:extLst>
          </p:cNvPr>
          <p:cNvSpPr>
            <a:spLocks noGrp="1"/>
          </p:cNvSpPr>
          <p:nvPr>
            <p:ph type="body" sz="quarter" idx="14"/>
          </p:nvPr>
        </p:nvSpPr>
        <p:spPr/>
        <p:txBody>
          <a:bodyPr/>
          <a:lstStyle/>
          <a:p>
            <a:r>
              <a:rPr lang="en-GB" noProof="0" dirty="0"/>
              <a:t>04</a:t>
            </a:r>
          </a:p>
        </p:txBody>
      </p:sp>
      <p:sp>
        <p:nvSpPr>
          <p:cNvPr id="4" name="Text Placeholder 3">
            <a:extLst>
              <a:ext uri="{FF2B5EF4-FFF2-40B4-BE49-F238E27FC236}">
                <a16:creationId xmlns:a16="http://schemas.microsoft.com/office/drawing/2014/main" id="{FE69CE83-E30F-A513-75CE-A3226BDA670D}"/>
              </a:ext>
            </a:extLst>
          </p:cNvPr>
          <p:cNvSpPr>
            <a:spLocks noGrp="1"/>
          </p:cNvSpPr>
          <p:nvPr>
            <p:ph type="body" sz="quarter" idx="17"/>
          </p:nvPr>
        </p:nvSpPr>
        <p:spPr/>
        <p:txBody>
          <a:bodyPr/>
          <a:lstStyle/>
          <a:p>
            <a:endParaRPr lang="en-GB" noProof="0" dirty="0"/>
          </a:p>
        </p:txBody>
      </p:sp>
      <p:sp>
        <p:nvSpPr>
          <p:cNvPr id="42" name="Título 41">
            <a:extLst>
              <a:ext uri="{FF2B5EF4-FFF2-40B4-BE49-F238E27FC236}">
                <a16:creationId xmlns:a16="http://schemas.microsoft.com/office/drawing/2014/main" id="{CB0A6AEB-B2B4-A3BA-E39B-45DD8CFAF9FA}"/>
              </a:ext>
            </a:extLst>
          </p:cNvPr>
          <p:cNvSpPr>
            <a:spLocks noGrp="1"/>
          </p:cNvSpPr>
          <p:nvPr>
            <p:ph type="title"/>
          </p:nvPr>
        </p:nvSpPr>
        <p:spPr/>
        <p:txBody>
          <a:bodyPr/>
          <a:lstStyle/>
          <a:p>
            <a:r>
              <a:rPr lang="en-GB" noProof="0" dirty="0"/>
              <a:t>Annex</a:t>
            </a:r>
          </a:p>
        </p:txBody>
      </p:sp>
      <p:sp>
        <p:nvSpPr>
          <p:cNvPr id="5" name="Text Placeholder 4">
            <a:extLst>
              <a:ext uri="{FF2B5EF4-FFF2-40B4-BE49-F238E27FC236}">
                <a16:creationId xmlns:a16="http://schemas.microsoft.com/office/drawing/2014/main" id="{18685344-E6CC-5866-9021-49BD0D90F994}"/>
              </a:ext>
            </a:extLst>
          </p:cNvPr>
          <p:cNvSpPr>
            <a:spLocks noGrp="1"/>
          </p:cNvSpPr>
          <p:nvPr>
            <p:ph type="body" sz="quarter" idx="19"/>
          </p:nvPr>
        </p:nvSpPr>
        <p:spPr/>
        <p:txBody>
          <a:bodyPr/>
          <a:lstStyle/>
          <a:p>
            <a:endParaRPr lang="en-GB" noProof="0"/>
          </a:p>
        </p:txBody>
      </p:sp>
      <p:pic>
        <p:nvPicPr>
          <p:cNvPr id="7" name="NTT DATA Global Logo">
            <a:extLst>
              <a:ext uri="{FF2B5EF4-FFF2-40B4-BE49-F238E27FC236}">
                <a16:creationId xmlns:a16="http://schemas.microsoft.com/office/drawing/2014/main" id="{C4294E20-B24D-861C-E97D-A423421E8E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gray">
          <a:xfrm>
            <a:off x="3136422" y="5934318"/>
            <a:ext cx="1288971" cy="262800"/>
          </a:xfrm>
          <a:prstGeom prst="rect">
            <a:avLst/>
          </a:prstGeom>
        </p:spPr>
      </p:pic>
    </p:spTree>
    <p:extLst>
      <p:ext uri="{BB962C8B-B14F-4D97-AF65-F5344CB8AC3E}">
        <p14:creationId xmlns:p14="http://schemas.microsoft.com/office/powerpoint/2010/main" val="15318990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525AD7-2F88-CD9E-53E3-078196C5FBB3}"/>
            </a:ext>
          </a:extLst>
        </p:cNvPr>
        <p:cNvGrpSpPr/>
        <p:nvPr/>
      </p:nvGrpSpPr>
      <p:grpSpPr>
        <a:xfrm>
          <a:off x="0" y="0"/>
          <a:ext cx="0" cy="0"/>
          <a:chOff x="0" y="0"/>
          <a:chExt cx="0" cy="0"/>
        </a:xfrm>
      </p:grpSpPr>
      <p:sp>
        <p:nvSpPr>
          <p:cNvPr id="6" name="Título 1">
            <a:extLst>
              <a:ext uri="{FF2B5EF4-FFF2-40B4-BE49-F238E27FC236}">
                <a16:creationId xmlns:a16="http://schemas.microsoft.com/office/drawing/2014/main" id="{402FCE75-7A8D-B064-AB96-E7D101D97BAD}"/>
              </a:ext>
            </a:extLst>
          </p:cNvPr>
          <p:cNvSpPr>
            <a:spLocks noGrp="1"/>
          </p:cNvSpPr>
          <p:nvPr>
            <p:ph type="ctrTitle"/>
          </p:nvPr>
        </p:nvSpPr>
        <p:spPr/>
        <p:txBody>
          <a:bodyPr/>
          <a:lstStyle/>
          <a:p>
            <a:r>
              <a:rPr lang="en-US" dirty="0"/>
              <a:t>FMIS Use case</a:t>
            </a:r>
          </a:p>
        </p:txBody>
      </p:sp>
      <p:pic>
        <p:nvPicPr>
          <p:cNvPr id="8" name="Marcador de posición de imagen 7">
            <a:extLst>
              <a:ext uri="{FF2B5EF4-FFF2-40B4-BE49-F238E27FC236}">
                <a16:creationId xmlns:a16="http://schemas.microsoft.com/office/drawing/2014/main" id="{7BAFA307-9DED-EA1D-4013-7E6A673C458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27544" r="27544"/>
          <a:stretch/>
        </p:blipFill>
        <p:spPr/>
      </p:pic>
      <p:sp>
        <p:nvSpPr>
          <p:cNvPr id="14" name="Text Placeholder 13">
            <a:extLst>
              <a:ext uri="{FF2B5EF4-FFF2-40B4-BE49-F238E27FC236}">
                <a16:creationId xmlns:a16="http://schemas.microsoft.com/office/drawing/2014/main" id="{232DB27D-C87B-D1D9-64F5-16797AE15381}"/>
              </a:ext>
            </a:extLst>
          </p:cNvPr>
          <p:cNvSpPr>
            <a:spLocks noGrp="1"/>
          </p:cNvSpPr>
          <p:nvPr>
            <p:ph type="body" sz="quarter" idx="14"/>
          </p:nvPr>
        </p:nvSpPr>
        <p:spPr/>
        <p:txBody>
          <a:bodyPr/>
          <a:lstStyle/>
          <a:p>
            <a:r>
              <a:rPr lang="en-GB" dirty="0"/>
              <a:t>03/12/2025</a:t>
            </a:r>
          </a:p>
        </p:txBody>
      </p:sp>
      <p:sp>
        <p:nvSpPr>
          <p:cNvPr id="2" name="Text Placeholder 15">
            <a:extLst>
              <a:ext uri="{FF2B5EF4-FFF2-40B4-BE49-F238E27FC236}">
                <a16:creationId xmlns:a16="http://schemas.microsoft.com/office/drawing/2014/main" id="{1622BB9F-CFAA-8ABC-4D48-F2FBC364EA5F}"/>
              </a:ext>
            </a:extLst>
          </p:cNvPr>
          <p:cNvSpPr>
            <a:spLocks noGrp="1"/>
          </p:cNvSpPr>
          <p:nvPr>
            <p:ph type="body" sz="quarter" idx="16"/>
          </p:nvPr>
        </p:nvSpPr>
        <p:spPr>
          <a:xfrm>
            <a:off x="10815678" y="89692"/>
            <a:ext cx="1285311" cy="281220"/>
          </a:xfrm>
        </p:spPr>
        <p:txBody>
          <a:bodyPr/>
          <a:lstStyle/>
          <a:p>
            <a:endParaRPr lang="en-GB" dirty="0"/>
          </a:p>
        </p:txBody>
      </p:sp>
    </p:spTree>
    <p:extLst>
      <p:ext uri="{BB962C8B-B14F-4D97-AF65-F5344CB8AC3E}">
        <p14:creationId xmlns:p14="http://schemas.microsoft.com/office/powerpoint/2010/main" val="41103299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Marcador de texto 24">
            <a:extLst>
              <a:ext uri="{FF2B5EF4-FFF2-40B4-BE49-F238E27FC236}">
                <a16:creationId xmlns:a16="http://schemas.microsoft.com/office/drawing/2014/main" id="{D37F69B5-17E3-66E7-3075-ED512BEBD747}"/>
              </a:ext>
            </a:extLst>
          </p:cNvPr>
          <p:cNvSpPr>
            <a:spLocks noGrp="1"/>
          </p:cNvSpPr>
          <p:nvPr>
            <p:ph type="body" sz="quarter" idx="52"/>
          </p:nvPr>
        </p:nvSpPr>
        <p:spPr>
          <a:xfrm>
            <a:off x="4452474" y="2200306"/>
            <a:ext cx="3445061" cy="3445061"/>
          </a:xfrm>
        </p:spPr>
        <p:txBody>
          <a:bodyPr/>
          <a:lstStyle/>
          <a:p>
            <a:r>
              <a:rPr lang="en-GB" sz="2800" noProof="0"/>
              <a:t>TYPES OF INFORMATION</a:t>
            </a:r>
          </a:p>
        </p:txBody>
      </p:sp>
      <p:sp>
        <p:nvSpPr>
          <p:cNvPr id="23" name="Marcador de texto 22">
            <a:extLst>
              <a:ext uri="{FF2B5EF4-FFF2-40B4-BE49-F238E27FC236}">
                <a16:creationId xmlns:a16="http://schemas.microsoft.com/office/drawing/2014/main" id="{DB5F3B35-8650-85C4-BE44-0A53803395AE}"/>
              </a:ext>
            </a:extLst>
          </p:cNvPr>
          <p:cNvSpPr>
            <a:spLocks noGrp="1"/>
          </p:cNvSpPr>
          <p:nvPr>
            <p:ph type="body" sz="quarter" idx="50"/>
          </p:nvPr>
        </p:nvSpPr>
        <p:spPr>
          <a:xfrm>
            <a:off x="7365642" y="3526094"/>
            <a:ext cx="432000" cy="432000"/>
          </a:xfrm>
        </p:spPr>
        <p:txBody>
          <a:bodyPr/>
          <a:lstStyle/>
          <a:p>
            <a:endParaRPr lang="en-GB" noProof="0"/>
          </a:p>
        </p:txBody>
      </p:sp>
      <p:sp>
        <p:nvSpPr>
          <p:cNvPr id="24" name="Marcador de texto 23">
            <a:extLst>
              <a:ext uri="{FF2B5EF4-FFF2-40B4-BE49-F238E27FC236}">
                <a16:creationId xmlns:a16="http://schemas.microsoft.com/office/drawing/2014/main" id="{BA285849-21ED-BEFF-2876-0FDBC961CEA0}"/>
              </a:ext>
            </a:extLst>
          </p:cNvPr>
          <p:cNvSpPr>
            <a:spLocks noGrp="1"/>
          </p:cNvSpPr>
          <p:nvPr>
            <p:ph type="body" sz="quarter" idx="51"/>
          </p:nvPr>
        </p:nvSpPr>
        <p:spPr>
          <a:xfrm>
            <a:off x="4328854" y="4286891"/>
            <a:ext cx="432000" cy="432000"/>
          </a:xfrm>
        </p:spPr>
        <p:txBody>
          <a:bodyPr/>
          <a:lstStyle/>
          <a:p>
            <a:endParaRPr lang="en-GB" noProof="0"/>
          </a:p>
        </p:txBody>
      </p:sp>
      <p:sp>
        <p:nvSpPr>
          <p:cNvPr id="26" name="Marcador de texto 25">
            <a:extLst>
              <a:ext uri="{FF2B5EF4-FFF2-40B4-BE49-F238E27FC236}">
                <a16:creationId xmlns:a16="http://schemas.microsoft.com/office/drawing/2014/main" id="{46C46917-B8FE-F5A6-4D85-D89EC498DC71}"/>
              </a:ext>
            </a:extLst>
          </p:cNvPr>
          <p:cNvSpPr>
            <a:spLocks noGrp="1"/>
          </p:cNvSpPr>
          <p:nvPr>
            <p:ph type="body" sz="quarter" idx="53"/>
          </p:nvPr>
        </p:nvSpPr>
        <p:spPr>
          <a:xfrm>
            <a:off x="5439807" y="2372949"/>
            <a:ext cx="432000" cy="432000"/>
          </a:xfrm>
        </p:spPr>
        <p:txBody>
          <a:bodyPr/>
          <a:lstStyle/>
          <a:p>
            <a:endParaRPr lang="en-GB" noProof="0"/>
          </a:p>
        </p:txBody>
      </p:sp>
      <p:sp>
        <p:nvSpPr>
          <p:cNvPr id="27" name="Marcador de texto 26">
            <a:extLst>
              <a:ext uri="{FF2B5EF4-FFF2-40B4-BE49-F238E27FC236}">
                <a16:creationId xmlns:a16="http://schemas.microsoft.com/office/drawing/2014/main" id="{ABCF9FC1-B090-ABD8-6496-8603A9DDC03E}"/>
              </a:ext>
            </a:extLst>
          </p:cNvPr>
          <p:cNvSpPr>
            <a:spLocks noGrp="1"/>
          </p:cNvSpPr>
          <p:nvPr>
            <p:ph type="body" sz="quarter" idx="54"/>
          </p:nvPr>
        </p:nvSpPr>
        <p:spPr>
          <a:xfrm>
            <a:off x="6237596" y="5414937"/>
            <a:ext cx="432000" cy="432000"/>
          </a:xfrm>
        </p:spPr>
        <p:txBody>
          <a:bodyPr/>
          <a:lstStyle/>
          <a:p>
            <a:endParaRPr lang="en-GB" noProof="0"/>
          </a:p>
        </p:txBody>
      </p:sp>
      <p:sp>
        <p:nvSpPr>
          <p:cNvPr id="28" name="Marcador de texto 27">
            <a:extLst>
              <a:ext uri="{FF2B5EF4-FFF2-40B4-BE49-F238E27FC236}">
                <a16:creationId xmlns:a16="http://schemas.microsoft.com/office/drawing/2014/main" id="{90A50610-B10A-A809-419C-2D93713EC952}"/>
              </a:ext>
            </a:extLst>
          </p:cNvPr>
          <p:cNvSpPr>
            <a:spLocks noGrp="1"/>
          </p:cNvSpPr>
          <p:nvPr>
            <p:ph type="body" sz="quarter" idx="55"/>
          </p:nvPr>
        </p:nvSpPr>
        <p:spPr>
          <a:xfrm>
            <a:off x="914400" y="2978548"/>
            <a:ext cx="3181613" cy="1175462"/>
          </a:xfrm>
        </p:spPr>
        <p:txBody>
          <a:bodyPr/>
          <a:lstStyle/>
          <a:p>
            <a:r>
              <a:rPr lang="en-GB" sz="1400" noProof="0">
                <a:solidFill>
                  <a:schemeClr val="tx2"/>
                </a:solidFill>
              </a:rPr>
              <a:t>Engine-calculated information.</a:t>
            </a:r>
          </a:p>
          <a:p>
            <a:pPr algn="just"/>
            <a:r>
              <a:rPr lang="en-GB" b="0" noProof="0">
                <a:solidFill>
                  <a:schemeClr val="tx2"/>
                </a:solidFill>
              </a:rPr>
              <a:t>FMIS engines generate key data required to build the Balance Sheet and P&amp;L. These outputs constitute one of the core information blocks stored in the FMIS Repository.</a:t>
            </a:r>
          </a:p>
        </p:txBody>
      </p:sp>
      <p:pic>
        <p:nvPicPr>
          <p:cNvPr id="8" name="Marcador de posición de imagen 7" descr="Calculadora con relleno sólido">
            <a:extLst>
              <a:ext uri="{FF2B5EF4-FFF2-40B4-BE49-F238E27FC236}">
                <a16:creationId xmlns:a16="http://schemas.microsoft.com/office/drawing/2014/main" id="{FA2B3B2E-2297-5551-840D-41F91BC13392}"/>
              </a:ext>
            </a:extLst>
          </p:cNvPr>
          <p:cNvPicPr>
            <a:picLocks noGrp="1" noChangeAspect="1"/>
          </p:cNvPicPr>
          <p:nvPr>
            <p:ph type="pic" sz="quarter" idx="60"/>
          </p:nvPr>
        </p:nvPicPr>
        <p:blipFill>
          <a:blip r:embed="rId2">
            <a:extLst>
              <a:ext uri="{96DAC541-7B7A-43D3-8B79-37D633B846F1}">
                <asvg:svgBlip xmlns:asvg="http://schemas.microsoft.com/office/drawing/2016/SVG/main" r:embed="rId3"/>
              </a:ext>
            </a:extLst>
          </a:blip>
          <a:srcRect l="152" r="152"/>
          <a:stretch>
            <a:fillRect/>
          </a:stretch>
        </p:blipFill>
        <p:spPr>
          <a:xfrm>
            <a:off x="3575050" y="2345436"/>
            <a:ext cx="520700" cy="522288"/>
          </a:xfrm>
        </p:spPr>
      </p:pic>
      <p:sp>
        <p:nvSpPr>
          <p:cNvPr id="30" name="Marcador de texto 29">
            <a:extLst>
              <a:ext uri="{FF2B5EF4-FFF2-40B4-BE49-F238E27FC236}">
                <a16:creationId xmlns:a16="http://schemas.microsoft.com/office/drawing/2014/main" id="{321E7AC4-0E7C-1C01-6C2C-AFB908FBB10F}"/>
              </a:ext>
            </a:extLst>
          </p:cNvPr>
          <p:cNvSpPr>
            <a:spLocks noGrp="1"/>
          </p:cNvSpPr>
          <p:nvPr>
            <p:ph type="body" sz="quarter" idx="61"/>
          </p:nvPr>
        </p:nvSpPr>
        <p:spPr>
          <a:xfrm>
            <a:off x="914400" y="4918443"/>
            <a:ext cx="3181613" cy="914686"/>
          </a:xfrm>
        </p:spPr>
        <p:txBody>
          <a:bodyPr/>
          <a:lstStyle/>
          <a:p>
            <a:r>
              <a:rPr lang="en-GB" sz="1400" noProof="0">
                <a:solidFill>
                  <a:schemeClr val="tx2"/>
                </a:solidFill>
              </a:rPr>
              <a:t>Management dimensions.</a:t>
            </a:r>
          </a:p>
          <a:p>
            <a:pPr algn="just"/>
            <a:r>
              <a:rPr lang="en-GB" b="0" noProof="0">
                <a:solidFill>
                  <a:schemeClr val="tx2"/>
                </a:solidFill>
              </a:rPr>
              <a:t>Based on these assigned dimensions, FMIS creates management views that enable the exploitation and visualization of the underlying data sourced from the Common Repository.</a:t>
            </a:r>
          </a:p>
        </p:txBody>
      </p:sp>
      <p:pic>
        <p:nvPicPr>
          <p:cNvPr id="10" name="Marcador de posición de imagen 9" descr="Crecimiento empresarial con relleno sólido">
            <a:extLst>
              <a:ext uri="{FF2B5EF4-FFF2-40B4-BE49-F238E27FC236}">
                <a16:creationId xmlns:a16="http://schemas.microsoft.com/office/drawing/2014/main" id="{2655851E-C5C9-741C-DCF3-9194088B77C0}"/>
              </a:ext>
            </a:extLst>
          </p:cNvPr>
          <p:cNvPicPr>
            <a:picLocks noGrp="1" noChangeAspect="1"/>
          </p:cNvPicPr>
          <p:nvPr>
            <p:ph type="pic" sz="quarter" idx="62"/>
          </p:nvPr>
        </p:nvPicPr>
        <p:blipFill>
          <a:blip r:embed="rId4">
            <a:extLst>
              <a:ext uri="{96DAC541-7B7A-43D3-8B79-37D633B846F1}">
                <asvg:svgBlip xmlns:asvg="http://schemas.microsoft.com/office/drawing/2016/SVG/main" r:embed="rId5"/>
              </a:ext>
            </a:extLst>
          </a:blip>
          <a:srcRect l="152" r="152"/>
          <a:stretch>
            <a:fillRect/>
          </a:stretch>
        </p:blipFill>
        <p:spPr>
          <a:xfrm>
            <a:off x="3575050" y="4285361"/>
            <a:ext cx="520700" cy="522288"/>
          </a:xfrm>
        </p:spPr>
      </p:pic>
      <p:sp>
        <p:nvSpPr>
          <p:cNvPr id="32" name="Marcador de texto 31">
            <a:extLst>
              <a:ext uri="{FF2B5EF4-FFF2-40B4-BE49-F238E27FC236}">
                <a16:creationId xmlns:a16="http://schemas.microsoft.com/office/drawing/2014/main" id="{F886808A-C71E-410C-519A-746076162D5B}"/>
              </a:ext>
            </a:extLst>
          </p:cNvPr>
          <p:cNvSpPr>
            <a:spLocks noGrp="1"/>
          </p:cNvSpPr>
          <p:nvPr>
            <p:ph type="body" sz="quarter" idx="63"/>
          </p:nvPr>
        </p:nvSpPr>
        <p:spPr>
          <a:xfrm>
            <a:off x="8014794" y="2978548"/>
            <a:ext cx="3262806" cy="914686"/>
          </a:xfrm>
        </p:spPr>
        <p:txBody>
          <a:bodyPr/>
          <a:lstStyle/>
          <a:p>
            <a:r>
              <a:rPr lang="en-GB" sz="1400" noProof="0">
                <a:solidFill>
                  <a:schemeClr val="tx2"/>
                </a:solidFill>
              </a:rPr>
              <a:t>User-uploaded information.</a:t>
            </a:r>
          </a:p>
          <a:p>
            <a:pPr algn="just"/>
            <a:r>
              <a:rPr lang="en-GB" b="0" noProof="0">
                <a:solidFill>
                  <a:schemeClr val="tx2"/>
                </a:solidFill>
              </a:rPr>
              <a:t>This data is essential for the proper operation of the engines. For example, the calculation of the TTI requires the parametrization of rates and interest rate curves, which are uploaded through the user interface.</a:t>
            </a:r>
          </a:p>
        </p:txBody>
      </p:sp>
      <p:pic>
        <p:nvPicPr>
          <p:cNvPr id="14" name="Marcador de posición de imagen 13" descr="Interfaz de la experiencia de usuario con relleno sólido">
            <a:extLst>
              <a:ext uri="{FF2B5EF4-FFF2-40B4-BE49-F238E27FC236}">
                <a16:creationId xmlns:a16="http://schemas.microsoft.com/office/drawing/2014/main" id="{181680D9-720F-CCA0-9FF5-A24E989957B4}"/>
              </a:ext>
            </a:extLst>
          </p:cNvPr>
          <p:cNvPicPr>
            <a:picLocks noGrp="1" noChangeAspect="1"/>
          </p:cNvPicPr>
          <p:nvPr>
            <p:ph type="pic" sz="quarter" idx="64"/>
          </p:nvPr>
        </p:nvPicPr>
        <p:blipFill>
          <a:blip r:embed="rId6">
            <a:extLst>
              <a:ext uri="{96DAC541-7B7A-43D3-8B79-37D633B846F1}">
                <asvg:svgBlip xmlns:asvg="http://schemas.microsoft.com/office/drawing/2016/SVG/main" r:embed="rId7"/>
              </a:ext>
            </a:extLst>
          </a:blip>
          <a:srcRect l="152" r="152"/>
          <a:stretch>
            <a:fillRect/>
          </a:stretch>
        </p:blipFill>
        <p:spPr>
          <a:xfrm>
            <a:off x="8015288" y="2345436"/>
            <a:ext cx="520700" cy="522288"/>
          </a:xfrm>
        </p:spPr>
      </p:pic>
      <p:sp>
        <p:nvSpPr>
          <p:cNvPr id="34" name="Marcador de texto 33">
            <a:extLst>
              <a:ext uri="{FF2B5EF4-FFF2-40B4-BE49-F238E27FC236}">
                <a16:creationId xmlns:a16="http://schemas.microsoft.com/office/drawing/2014/main" id="{008A69B4-86D2-CD78-A197-4145D50A7CF9}"/>
              </a:ext>
            </a:extLst>
          </p:cNvPr>
          <p:cNvSpPr>
            <a:spLocks noGrp="1"/>
          </p:cNvSpPr>
          <p:nvPr>
            <p:ph type="body" sz="quarter" idx="65"/>
          </p:nvPr>
        </p:nvSpPr>
        <p:spPr>
          <a:xfrm>
            <a:off x="8014794" y="4918443"/>
            <a:ext cx="3262806" cy="914686"/>
          </a:xfrm>
        </p:spPr>
        <p:txBody>
          <a:bodyPr/>
          <a:lstStyle/>
          <a:p>
            <a:r>
              <a:rPr lang="en-GB" sz="1400" noProof="0">
                <a:solidFill>
                  <a:schemeClr val="tx2"/>
                </a:solidFill>
              </a:rPr>
              <a:t>Balance Sheet and P&amp;L.</a:t>
            </a:r>
          </a:p>
          <a:p>
            <a:pPr algn="just"/>
            <a:r>
              <a:rPr lang="en-GB" b="0" noProof="0">
                <a:solidFill>
                  <a:schemeClr val="tx2"/>
                </a:solidFill>
              </a:rPr>
              <a:t>Once the main engines are executed, the resulting Balance Sheet and P&amp;L figures are stored in the FMIS Repository.</a:t>
            </a:r>
          </a:p>
        </p:txBody>
      </p:sp>
      <p:pic>
        <p:nvPicPr>
          <p:cNvPr id="12" name="Marcador de posición de imagen 11" descr="Carpeta abierta con relleno sólido">
            <a:extLst>
              <a:ext uri="{FF2B5EF4-FFF2-40B4-BE49-F238E27FC236}">
                <a16:creationId xmlns:a16="http://schemas.microsoft.com/office/drawing/2014/main" id="{4B0E0D71-F888-01F0-09CD-4B2FAC6D757C}"/>
              </a:ext>
            </a:extLst>
          </p:cNvPr>
          <p:cNvPicPr>
            <a:picLocks noGrp="1" noChangeAspect="1"/>
          </p:cNvPicPr>
          <p:nvPr>
            <p:ph type="pic" sz="quarter" idx="66"/>
          </p:nvPr>
        </p:nvPicPr>
        <p:blipFill>
          <a:blip r:embed="rId8">
            <a:extLst>
              <a:ext uri="{96DAC541-7B7A-43D3-8B79-37D633B846F1}">
                <asvg:svgBlip xmlns:asvg="http://schemas.microsoft.com/office/drawing/2016/SVG/main" r:embed="rId9"/>
              </a:ext>
            </a:extLst>
          </a:blip>
          <a:srcRect l="152" r="152"/>
          <a:stretch>
            <a:fillRect/>
          </a:stretch>
        </p:blipFill>
        <p:spPr>
          <a:xfrm>
            <a:off x="8015288" y="4285361"/>
            <a:ext cx="520700" cy="522288"/>
          </a:xfrm>
        </p:spPr>
      </p:pic>
      <p:pic>
        <p:nvPicPr>
          <p:cNvPr id="15" name="Picture 2">
            <a:extLst>
              <a:ext uri="{FF2B5EF4-FFF2-40B4-BE49-F238E27FC236}">
                <a16:creationId xmlns:a16="http://schemas.microsoft.com/office/drawing/2014/main" id="{1981D6A6-3B10-27D8-4403-AFB9D33A938D}"/>
              </a:ext>
            </a:extLst>
          </p:cNvPr>
          <p:cNvPicPr>
            <a:picLocks noGrp="1" noRot="1" noChangeAspect="1" noMove="1" noResize="1" noEditPoints="1" noAdjustHandles="1" noChangeArrowheads="1" noChangeShapeType="1" noCrop="1"/>
          </p:cNvPicPr>
          <p:nvPr/>
        </p:nvPicPr>
        <p:blipFill>
          <a:blip r:embed="rId10"/>
          <a:srcRect r="22480"/>
          <a:stretch>
            <a:fillRect/>
          </a:stretch>
        </p:blipFill>
        <p:spPr>
          <a:xfrm>
            <a:off x="9081410" y="32335"/>
            <a:ext cx="1610515" cy="388493"/>
          </a:xfrm>
          <a:prstGeom prst="rect">
            <a:avLst/>
          </a:prstGeom>
        </p:spPr>
      </p:pic>
      <p:sp>
        <p:nvSpPr>
          <p:cNvPr id="16" name="Rectángulo 15">
            <a:extLst>
              <a:ext uri="{FF2B5EF4-FFF2-40B4-BE49-F238E27FC236}">
                <a16:creationId xmlns:a16="http://schemas.microsoft.com/office/drawing/2014/main" id="{73AA2598-FD67-9D19-89CD-F6610F0A2761}"/>
              </a:ext>
            </a:extLst>
          </p:cNvPr>
          <p:cNvSpPr>
            <a:spLocks noGrp="1" noRot="1" noMove="1" noResize="1" noEditPoints="1" noAdjustHandles="1" noChangeArrowheads="1" noChangeShapeType="1"/>
          </p:cNvSpPr>
          <p:nvPr/>
        </p:nvSpPr>
        <p:spPr>
          <a:xfrm>
            <a:off x="11163300" y="0"/>
            <a:ext cx="1028700" cy="552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antander Text Light"/>
              <a:ea typeface="+mn-ea"/>
              <a:cs typeface="+mn-cs"/>
            </a:endParaRPr>
          </a:p>
        </p:txBody>
      </p:sp>
      <p:pic>
        <p:nvPicPr>
          <p:cNvPr id="17" name="Imagen 2" descr="NTT Data - Red Seguridad">
            <a:extLst>
              <a:ext uri="{FF2B5EF4-FFF2-40B4-BE49-F238E27FC236}">
                <a16:creationId xmlns:a16="http://schemas.microsoft.com/office/drawing/2014/main" id="{2795C268-E4EA-11AF-8485-B9AA2310F0B2}"/>
              </a:ext>
            </a:extLst>
          </p:cNvPr>
          <p:cNvPicPr>
            <a:picLocks noGrp="1" noRot="1" noChangeAspect="1" noMove="1" noResize="1" noEditPoints="1" noAdjustHandles="1" noChangeArrowheads="1" noChangeShapeType="1" noCrop="1"/>
          </p:cNvPicPr>
          <p:nvPr/>
        </p:nvPicPr>
        <p:blipFill>
          <a:blip r:embed="rId11"/>
          <a:stretch>
            <a:fillRect/>
          </a:stretch>
        </p:blipFill>
        <p:spPr>
          <a:xfrm>
            <a:off x="10881313" y="-202669"/>
            <a:ext cx="1166998" cy="847775"/>
          </a:xfrm>
          <a:prstGeom prst="rect">
            <a:avLst/>
          </a:prstGeom>
        </p:spPr>
      </p:pic>
      <p:sp>
        <p:nvSpPr>
          <p:cNvPr id="20" name="Text Placeholder 3">
            <a:extLst>
              <a:ext uri="{FF2B5EF4-FFF2-40B4-BE49-F238E27FC236}">
                <a16:creationId xmlns:a16="http://schemas.microsoft.com/office/drawing/2014/main" id="{DD1FE150-D770-E924-9FDD-51D517B88149}"/>
              </a:ext>
            </a:extLst>
          </p:cNvPr>
          <p:cNvSpPr txBox="1">
            <a:spLocks/>
          </p:cNvSpPr>
          <p:nvPr/>
        </p:nvSpPr>
        <p:spPr>
          <a:xfrm>
            <a:off x="354840" y="186174"/>
            <a:ext cx="1696683" cy="307777"/>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2000" b="0" i="0" u="none" strike="noStrike" kern="1200" cap="none" spc="0" normalizeH="0" baseline="0" noProof="0">
                <a:ln>
                  <a:noFill/>
                </a:ln>
                <a:solidFill>
                  <a:srgbClr val="F14949"/>
                </a:solidFill>
                <a:effectLst/>
                <a:uLnTx/>
                <a:uFillTx/>
                <a:latin typeface="Santander Headline" panose="020B0504020201020104"/>
                <a:ea typeface="+mn-ea"/>
                <a:cs typeface="+mn-cs"/>
              </a:rPr>
              <a:t>FMIS Repository</a:t>
            </a:r>
          </a:p>
        </p:txBody>
      </p:sp>
      <p:sp>
        <p:nvSpPr>
          <p:cNvPr id="7" name="Google Shape;316;p41">
            <a:extLst>
              <a:ext uri="{FF2B5EF4-FFF2-40B4-BE49-F238E27FC236}">
                <a16:creationId xmlns:a16="http://schemas.microsoft.com/office/drawing/2014/main" id="{B28488AC-C9BA-F787-5E32-D49083E94204}"/>
              </a:ext>
            </a:extLst>
          </p:cNvPr>
          <p:cNvSpPr/>
          <p:nvPr/>
        </p:nvSpPr>
        <p:spPr>
          <a:xfrm flipH="1">
            <a:off x="637254" y="944007"/>
            <a:ext cx="11122353" cy="792000"/>
          </a:xfrm>
          <a:prstGeom prst="parallelogram">
            <a:avLst>
              <a:gd name="adj" fmla="val 43232"/>
            </a:avLst>
          </a:prstGeom>
          <a:solidFill>
            <a:srgbClr val="FFEFEF"/>
          </a:solidFill>
          <a:ln>
            <a:noFill/>
          </a:ln>
        </p:spPr>
        <p:txBody>
          <a:bodyPr spcFirstLastPara="1" wrap="square" lIns="121862" tIns="60915" rIns="121862" bIns="6091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white"/>
              </a:solidFill>
              <a:effectLst/>
              <a:uLnTx/>
              <a:uFillTx/>
              <a:latin typeface="Santander Text" panose="020B0504020201020104"/>
              <a:ea typeface="Calibri"/>
              <a:cs typeface="Calibri"/>
              <a:sym typeface="Calibri"/>
            </a:endParaRPr>
          </a:p>
        </p:txBody>
      </p:sp>
      <p:sp>
        <p:nvSpPr>
          <p:cNvPr id="18" name="Google Shape;316;p41">
            <a:extLst>
              <a:ext uri="{FF2B5EF4-FFF2-40B4-BE49-F238E27FC236}">
                <a16:creationId xmlns:a16="http://schemas.microsoft.com/office/drawing/2014/main" id="{AF1A5CA8-EA44-B72A-863A-530EFA30FBFA}"/>
              </a:ext>
            </a:extLst>
          </p:cNvPr>
          <p:cNvSpPr/>
          <p:nvPr/>
        </p:nvSpPr>
        <p:spPr>
          <a:xfrm flipH="1">
            <a:off x="523452" y="899002"/>
            <a:ext cx="11031292" cy="781894"/>
          </a:xfrm>
          <a:prstGeom prst="parallelogram">
            <a:avLst>
              <a:gd name="adj" fmla="val 43232"/>
            </a:avLst>
          </a:prstGeom>
          <a:solidFill>
            <a:srgbClr val="C00000"/>
          </a:solidFill>
          <a:ln>
            <a:noFill/>
          </a:ln>
        </p:spPr>
        <p:txBody>
          <a:bodyPr spcFirstLastPara="1" wrap="square" lIns="121862" tIns="60915" rIns="121862" bIns="6091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Santander Text" panose="020B0504020201020104"/>
              <a:ea typeface="Calibri"/>
              <a:cs typeface="Calibri"/>
              <a:sym typeface="Calibri"/>
            </a:endParaRPr>
          </a:p>
        </p:txBody>
      </p:sp>
      <p:sp>
        <p:nvSpPr>
          <p:cNvPr id="6" name="Marcador de texto 27">
            <a:extLst>
              <a:ext uri="{FF2B5EF4-FFF2-40B4-BE49-F238E27FC236}">
                <a16:creationId xmlns:a16="http://schemas.microsoft.com/office/drawing/2014/main" id="{0891A278-30EA-561C-18B4-37C3D30208AF}"/>
              </a:ext>
            </a:extLst>
          </p:cNvPr>
          <p:cNvSpPr txBox="1">
            <a:spLocks/>
          </p:cNvSpPr>
          <p:nvPr/>
        </p:nvSpPr>
        <p:spPr>
          <a:xfrm>
            <a:off x="914399" y="1069478"/>
            <a:ext cx="10248901" cy="552826"/>
          </a:xfrm>
          <a:prstGeom prst="rect">
            <a:avLst/>
          </a:prstGeom>
        </p:spPr>
        <p:txBody>
          <a:bodyPr/>
          <a:lstStyle>
            <a:lvl1pPr marL="0" indent="0" algn="r" defTabSz="914400" rtl="0" eaLnBrk="1" latinLnBrk="0" hangingPunct="1">
              <a:lnSpc>
                <a:spcPct val="90000"/>
              </a:lnSpc>
              <a:spcBef>
                <a:spcPts val="0"/>
              </a:spcBef>
              <a:spcAft>
                <a:spcPts val="0"/>
              </a:spcAft>
              <a:buFont typeface="Arial" panose="020B0604020202020204" pitchFamily="34" charset="0"/>
              <a:buNone/>
              <a:defRPr lang="es-ES" sz="1200" b="1" kern="1200" smtClean="0">
                <a:solidFill>
                  <a:srgbClr val="8C0014"/>
                </a:solidFill>
                <a:latin typeface="+mj-lt"/>
                <a:ea typeface="+mn-ea"/>
                <a:cs typeface="Arial" charset="0"/>
                <a:sym typeface="Arial"/>
              </a:defRPr>
            </a:lvl1pPr>
            <a:lvl2pPr marL="0" indent="0" algn="r" defTabSz="914400" rtl="0" eaLnBrk="1" latinLnBrk="0" hangingPunct="1">
              <a:lnSpc>
                <a:spcPct val="100000"/>
              </a:lnSpc>
              <a:spcBef>
                <a:spcPts val="200"/>
              </a:spcBef>
              <a:spcAft>
                <a:spcPts val="600"/>
              </a:spcAft>
              <a:buFont typeface="Arial" panose="020B0604020202020204" pitchFamily="34" charset="0"/>
              <a:buNone/>
              <a:defRPr sz="11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antander Text" panose="020B05040202010201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antander Text" panose="020B05040202010201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srgbClr val="FFFFFF"/>
                </a:solidFill>
                <a:effectLst/>
                <a:uLnTx/>
                <a:uFillTx/>
                <a:latin typeface="Santander Text"/>
                <a:ea typeface="+mn-ea"/>
                <a:cs typeface="Arial" charset="0"/>
                <a:sym typeface="Arial"/>
              </a:rPr>
              <a:t>The FMIS Repository is the centralized storage location for all information calculated by the FMIS engines, as well as data uploaded by users through the interface to support these calculations. Its structure and processing logic are built on top of the information coming from the Common Repository.</a:t>
            </a:r>
          </a:p>
        </p:txBody>
      </p:sp>
    </p:spTree>
    <p:extLst>
      <p:ext uri="{BB962C8B-B14F-4D97-AF65-F5344CB8AC3E}">
        <p14:creationId xmlns:p14="http://schemas.microsoft.com/office/powerpoint/2010/main" val="16418314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1CAF48-E6E7-7F4F-23CE-57B4129BEC9F}"/>
            </a:ext>
          </a:extLst>
        </p:cNvPr>
        <p:cNvGrpSpPr/>
        <p:nvPr/>
      </p:nvGrpSpPr>
      <p:grpSpPr>
        <a:xfrm>
          <a:off x="0" y="0"/>
          <a:ext cx="0" cy="0"/>
          <a:chOff x="0" y="0"/>
          <a:chExt cx="0" cy="0"/>
        </a:xfrm>
      </p:grpSpPr>
      <p:sp>
        <p:nvSpPr>
          <p:cNvPr id="11" name="CuadroTexto 11">
            <a:extLst>
              <a:ext uri="{FF2B5EF4-FFF2-40B4-BE49-F238E27FC236}">
                <a16:creationId xmlns:a16="http://schemas.microsoft.com/office/drawing/2014/main" id="{C083442B-A979-0B14-76AE-2F60B58F7ACE}"/>
              </a:ext>
            </a:extLst>
          </p:cNvPr>
          <p:cNvSpPr txBox="1"/>
          <p:nvPr/>
        </p:nvSpPr>
        <p:spPr>
          <a:xfrm>
            <a:off x="396464" y="1504459"/>
            <a:ext cx="4657966" cy="1571058"/>
          </a:xfrm>
          <a:prstGeom prst="rect">
            <a:avLst/>
          </a:prstGeom>
          <a:solidFill>
            <a:srgbClr val="F2F2F2"/>
          </a:solidFill>
          <a:ln w="9525" cap="flat" cmpd="sng" algn="ctr">
            <a:noFill/>
            <a:prstDash val="dash"/>
          </a:ln>
          <a:effectLst/>
        </p:spPr>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The system generates daily P&amp;L balance information and average balance data, which are reported in the accounting books used by the Management Control and Finance areas.</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FMIS integrates multiple data sources, with BDH being the main operational source feeding intercompany information. Through its own iterative logic, it determines the CIB product and the associated business area.</a:t>
            </a:r>
            <a:endParaRPr kumimoji="0" lang="en-GB" sz="1100" b="0" i="0" u="none" strike="noStrike" kern="0" cap="none" spc="0" normalizeH="0" baseline="0" noProof="0">
              <a:ln>
                <a:noFill/>
              </a:ln>
              <a:solidFill>
                <a:prstClr val="black"/>
              </a:solidFill>
              <a:effectLst/>
              <a:uLnTx/>
              <a:uFillTx/>
              <a:latin typeface="Santander Text" panose="020B0504020201020104"/>
              <a:ea typeface="+mn-ea"/>
              <a:cs typeface="+mn-cs"/>
            </a:endParaRPr>
          </a:p>
        </p:txBody>
      </p:sp>
      <p:sp>
        <p:nvSpPr>
          <p:cNvPr id="12" name="Rectángulo 7">
            <a:extLst>
              <a:ext uri="{FF2B5EF4-FFF2-40B4-BE49-F238E27FC236}">
                <a16:creationId xmlns:a16="http://schemas.microsoft.com/office/drawing/2014/main" id="{81674678-F583-783B-7699-BAD9F701411E}"/>
              </a:ext>
            </a:extLst>
          </p:cNvPr>
          <p:cNvSpPr/>
          <p:nvPr/>
        </p:nvSpPr>
        <p:spPr>
          <a:xfrm>
            <a:off x="398552" y="1223106"/>
            <a:ext cx="4657966" cy="216156"/>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MAIN FUNCTIONALITY</a:t>
            </a:r>
          </a:p>
        </p:txBody>
      </p:sp>
      <p:sp>
        <p:nvSpPr>
          <p:cNvPr id="13" name="Rectángulo 7">
            <a:extLst>
              <a:ext uri="{FF2B5EF4-FFF2-40B4-BE49-F238E27FC236}">
                <a16:creationId xmlns:a16="http://schemas.microsoft.com/office/drawing/2014/main" id="{D218E78E-F9EF-0367-3CC2-7C001EEEB82D}"/>
              </a:ext>
            </a:extLst>
          </p:cNvPr>
          <p:cNvSpPr/>
          <p:nvPr/>
        </p:nvSpPr>
        <p:spPr>
          <a:xfrm>
            <a:off x="5178121" y="1220820"/>
            <a:ext cx="6576953" cy="218442"/>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ACCOUNTING SOURCES AND INTEGRATIONS</a:t>
            </a:r>
          </a:p>
        </p:txBody>
      </p:sp>
      <p:sp>
        <p:nvSpPr>
          <p:cNvPr id="15" name="CuadroTexto 12">
            <a:extLst>
              <a:ext uri="{FF2B5EF4-FFF2-40B4-BE49-F238E27FC236}">
                <a16:creationId xmlns:a16="http://schemas.microsoft.com/office/drawing/2014/main" id="{F286E626-8C0D-9805-9565-3B4CA15E73C9}"/>
              </a:ext>
            </a:extLst>
          </p:cNvPr>
          <p:cNvSpPr txBox="1"/>
          <p:nvPr/>
        </p:nvSpPr>
        <p:spPr>
          <a:xfrm>
            <a:off x="5178121" y="1498398"/>
            <a:ext cx="6556495" cy="1575007"/>
          </a:xfrm>
          <a:prstGeom prst="rect">
            <a:avLst/>
          </a:prstGeom>
          <a:solidFill>
            <a:srgbClr val="F2F2F2"/>
          </a:solidFill>
          <a:ln w="9525" cap="flat" cmpd="sng" algn="ctr">
            <a:noFill/>
            <a:prstDash val="dash"/>
          </a:ln>
          <a:effectLst/>
        </p:spPr>
        <p:txBody>
          <a:bodyPr rtlCol="0" anchor="ctr"/>
          <a:lstStyle>
            <a:defPPr>
              <a:defRPr lang="es-ES"/>
            </a:defPPr>
            <a:lvl1pPr marL="171450" indent="-171450">
              <a:buFont typeface="Arial" panose="020B0604020202020204" pitchFamily="34" charset="0"/>
              <a:buChar char="•"/>
              <a:defRPr sz="900">
                <a:solidFill>
                  <a:schemeClr val="bg1">
                    <a:lumMod val="50000"/>
                  </a:schemeClr>
                </a:solidFill>
                <a:latin typeface="Century Gothic" panose="020B0502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Off-ledger information is the main source for the GBP perimeter, while the Equation accounting files feed the Branches perimeter, with the objective of migrating both sources to the Accounting Data Hub.</a:t>
            </a:r>
            <a:b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b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The system ingests other types of complementary information such as interest rate curves, exchange rates, manual adjustments, and ESG data related to intercompany operations, thereby consolidating all the information required for the organization’s end-to-end financial management.</a:t>
            </a:r>
          </a:p>
        </p:txBody>
      </p:sp>
      <p:sp>
        <p:nvSpPr>
          <p:cNvPr id="59" name="Cheurón 106">
            <a:extLst>
              <a:ext uri="{FF2B5EF4-FFF2-40B4-BE49-F238E27FC236}">
                <a16:creationId xmlns:a16="http://schemas.microsoft.com/office/drawing/2014/main" id="{A6FA333F-9C25-A4A8-4641-E73196112F6A}"/>
              </a:ext>
            </a:extLst>
          </p:cNvPr>
          <p:cNvSpPr/>
          <p:nvPr/>
        </p:nvSpPr>
        <p:spPr>
          <a:xfrm>
            <a:off x="396464" y="3165962"/>
            <a:ext cx="2226406" cy="210239"/>
          </a:xfrm>
          <a:prstGeom prst="chevron">
            <a:avLst/>
          </a:prstGeom>
          <a:solidFill>
            <a:schemeClr val="accent2">
              <a:lumMod val="75000"/>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Data input</a:t>
            </a:r>
          </a:p>
        </p:txBody>
      </p:sp>
      <p:sp>
        <p:nvSpPr>
          <p:cNvPr id="60" name="Cheurón 106">
            <a:extLst>
              <a:ext uri="{FF2B5EF4-FFF2-40B4-BE49-F238E27FC236}">
                <a16:creationId xmlns:a16="http://schemas.microsoft.com/office/drawing/2014/main" id="{ADB3C3AF-A97F-8BF3-6039-1B26C9101C59}"/>
              </a:ext>
            </a:extLst>
          </p:cNvPr>
          <p:cNvSpPr/>
          <p:nvPr/>
        </p:nvSpPr>
        <p:spPr>
          <a:xfrm>
            <a:off x="2622870" y="3165961"/>
            <a:ext cx="6959027" cy="213459"/>
          </a:xfrm>
          <a:prstGeom prst="chevron">
            <a:avLst/>
          </a:prstGeom>
          <a:solidFill>
            <a:srgbClr val="9B2D1F"/>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FMIS Internal Processes</a:t>
            </a:r>
          </a:p>
        </p:txBody>
      </p:sp>
      <p:sp>
        <p:nvSpPr>
          <p:cNvPr id="61" name="Cheurón 106">
            <a:extLst>
              <a:ext uri="{FF2B5EF4-FFF2-40B4-BE49-F238E27FC236}">
                <a16:creationId xmlns:a16="http://schemas.microsoft.com/office/drawing/2014/main" id="{F7F5DFFF-C42C-A084-866C-6FF51A30B198}"/>
              </a:ext>
            </a:extLst>
          </p:cNvPr>
          <p:cNvSpPr/>
          <p:nvPr/>
        </p:nvSpPr>
        <p:spPr>
          <a:xfrm>
            <a:off x="9561187" y="3173308"/>
            <a:ext cx="2173177" cy="202893"/>
          </a:xfrm>
          <a:prstGeom prst="chevron">
            <a:avLst/>
          </a:prstGeom>
          <a:solidFill>
            <a:schemeClr val="accent1">
              <a:lumMod val="20000"/>
              <a:lumOff val="80000"/>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Data Output</a:t>
            </a:r>
          </a:p>
        </p:txBody>
      </p:sp>
      <p:sp>
        <p:nvSpPr>
          <p:cNvPr id="62" name="CuadroTexto 133">
            <a:extLst>
              <a:ext uri="{FF2B5EF4-FFF2-40B4-BE49-F238E27FC236}">
                <a16:creationId xmlns:a16="http://schemas.microsoft.com/office/drawing/2014/main" id="{32F2ED3C-FF35-70DD-6A7D-62208271C4F5}"/>
              </a:ext>
            </a:extLst>
          </p:cNvPr>
          <p:cNvSpPr txBox="1"/>
          <p:nvPr/>
        </p:nvSpPr>
        <p:spPr>
          <a:xfrm>
            <a:off x="382895" y="4125493"/>
            <a:ext cx="2125364" cy="2460182"/>
          </a:xfrm>
          <a:prstGeom prst="rect">
            <a:avLst/>
          </a:prstGeom>
          <a:solidFill>
            <a:srgbClr val="F2F2F2"/>
          </a:solidFill>
          <a:ln>
            <a:noFill/>
            <a:prstDash val="dash"/>
          </a:ln>
        </p:spPr>
        <p:txBody>
          <a:bodyPr wrap="square" rtlCol="0" anchor="ctr">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Data Ingestion Source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1" i="0" u="none" strike="noStrike" kern="1200" cap="none" spc="0" normalizeH="0" baseline="0" noProof="0">
                <a:ln>
                  <a:noFill/>
                </a:ln>
                <a:solidFill>
                  <a:prstClr val="black"/>
                </a:solidFill>
                <a:effectLst/>
                <a:uLnTx/>
                <a:uFillTx/>
                <a:latin typeface="Santander Text" panose="020B0504020201020104"/>
                <a:ea typeface="+mn-ea"/>
                <a:cs typeface="+mn-cs"/>
              </a:rPr>
              <a:t>API Calls</a:t>
            </a: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 (structural data, exchange rates, STRATUS customer </a:t>
            </a:r>
            <a:r>
              <a:rPr kumimoji="0" lang="en-GB" sz="1100" b="0" i="0" u="none" strike="noStrike" kern="1200" cap="none" spc="0" normalizeH="0" baseline="0" noProof="0" err="1">
                <a:ln>
                  <a:noFill/>
                </a:ln>
                <a:solidFill>
                  <a:prstClr val="black"/>
                </a:solidFill>
                <a:effectLst/>
                <a:uLnTx/>
                <a:uFillTx/>
                <a:latin typeface="Santander Text" panose="020B0504020201020104"/>
                <a:ea typeface="+mn-ea"/>
                <a:cs typeface="+mn-cs"/>
              </a:rPr>
              <a:t>catalog</a:t>
            </a: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1" i="0" u="none" strike="noStrike" kern="1200" cap="none" spc="0" normalizeH="0" baseline="0" noProof="0">
                <a:ln>
                  <a:noFill/>
                </a:ln>
                <a:solidFill>
                  <a:prstClr val="black"/>
                </a:solidFill>
                <a:effectLst/>
                <a:uLnTx/>
                <a:uFillTx/>
                <a:latin typeface="Santander Text" panose="020B0504020201020104"/>
                <a:ea typeface="+mn-ea"/>
                <a:cs typeface="+mn-cs"/>
              </a:rPr>
              <a:t>Output Manager </a:t>
            </a: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queries between systems to BHD, which stores them on the server)</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1" i="0" u="none" strike="noStrike" kern="1200" cap="none" spc="0" normalizeH="0" baseline="0" noProof="0">
                <a:ln>
                  <a:noFill/>
                </a:ln>
                <a:solidFill>
                  <a:prstClr val="black"/>
                </a:solidFill>
                <a:effectLst/>
                <a:uLnTx/>
                <a:uFillTx/>
                <a:latin typeface="Santander Text" panose="020B0504020201020104"/>
                <a:ea typeface="+mn-ea"/>
                <a:cs typeface="+mn-cs"/>
              </a:rPr>
              <a:t>M1 FMIS Files </a:t>
            </a: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accounting and off-ledger data), sent directly to the FMIS server</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1" i="0" u="none" strike="noStrike" kern="1200" cap="none" spc="0" normalizeH="0" baseline="0" noProof="0">
                <a:ln>
                  <a:noFill/>
                </a:ln>
                <a:solidFill>
                  <a:prstClr val="black"/>
                </a:solidFill>
                <a:effectLst/>
                <a:uLnTx/>
                <a:uFillTx/>
                <a:latin typeface="Santander Text" panose="020B0504020201020104"/>
                <a:ea typeface="+mn-ea"/>
                <a:cs typeface="+mn-cs"/>
              </a:rPr>
              <a:t>Emails</a:t>
            </a: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 (manual uploads)</a:t>
            </a:r>
          </a:p>
        </p:txBody>
      </p:sp>
      <p:sp>
        <p:nvSpPr>
          <p:cNvPr id="64" name="CuadroTexto 133">
            <a:extLst>
              <a:ext uri="{FF2B5EF4-FFF2-40B4-BE49-F238E27FC236}">
                <a16:creationId xmlns:a16="http://schemas.microsoft.com/office/drawing/2014/main" id="{7A3E86FE-3EF7-9EBF-450F-6F21F8D74F02}"/>
              </a:ext>
            </a:extLst>
          </p:cNvPr>
          <p:cNvSpPr txBox="1"/>
          <p:nvPr/>
        </p:nvSpPr>
        <p:spPr>
          <a:xfrm>
            <a:off x="2599146" y="4123263"/>
            <a:ext cx="1640123" cy="2460182"/>
          </a:xfrm>
          <a:prstGeom prst="rect">
            <a:avLst/>
          </a:prstGeom>
          <a:solidFill>
            <a:srgbClr val="F2F2F2"/>
          </a:solidFill>
          <a:ln>
            <a:noFill/>
            <a:prstDash val="dash"/>
          </a:ln>
        </p:spPr>
        <p:txBody>
          <a:bodyPr wrap="square" rtlCol="0" anchor="ctr">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The most critical errors are detected in the Landing layer and can propagate to Common Data.</a:t>
            </a:r>
          </a:p>
        </p:txBody>
      </p:sp>
      <p:sp>
        <p:nvSpPr>
          <p:cNvPr id="68" name="CuadroTexto 133">
            <a:extLst>
              <a:ext uri="{FF2B5EF4-FFF2-40B4-BE49-F238E27FC236}">
                <a16:creationId xmlns:a16="http://schemas.microsoft.com/office/drawing/2014/main" id="{29F2BC6C-C45A-DA42-7620-072D76BDF9EE}"/>
              </a:ext>
            </a:extLst>
          </p:cNvPr>
          <p:cNvSpPr txBox="1"/>
          <p:nvPr/>
        </p:nvSpPr>
        <p:spPr>
          <a:xfrm>
            <a:off x="9568497" y="4123263"/>
            <a:ext cx="2087030" cy="2460182"/>
          </a:xfrm>
          <a:prstGeom prst="rect">
            <a:avLst/>
          </a:prstGeom>
          <a:solidFill>
            <a:srgbClr val="F2F2F2"/>
          </a:solidFill>
          <a:ln>
            <a:noFill/>
            <a:prstDash val="dash"/>
          </a:ln>
        </p:spPr>
        <p:txBody>
          <a:bodyPr wrap="square" rtlCol="0" anchor="ctr">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Output of information with the TTI calculation</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Dashboards for direction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Information for the commercial network</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Exits or transfer of information for other area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Information for corporate systems </a:t>
            </a:r>
          </a:p>
          <a:p>
            <a:pPr marL="628650" marR="0" lvl="1"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Business books</a:t>
            </a:r>
          </a:p>
          <a:p>
            <a:pPr marL="628650" marR="0" lvl="1"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GTS</a:t>
            </a:r>
          </a:p>
          <a:p>
            <a:pPr marL="628650" marR="0" lvl="1"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MISCO</a:t>
            </a:r>
            <a:endParaRPr kumimoji="0" lang="en-GB" sz="1100" b="0" i="0" u="none" strike="noStrike" kern="0" cap="none" spc="0" normalizeH="0" baseline="0" noProof="0">
              <a:ln>
                <a:noFill/>
              </a:ln>
              <a:solidFill>
                <a:prstClr val="black"/>
              </a:solidFill>
              <a:effectLst/>
              <a:uLnTx/>
              <a:uFillTx/>
              <a:latin typeface="Santander Text" panose="020B0504020201020104"/>
              <a:ea typeface="+mn-ea"/>
              <a:cs typeface="Arial" panose="020B0604020202020204" pitchFamily="34" charset="0"/>
            </a:endParaRPr>
          </a:p>
        </p:txBody>
      </p:sp>
      <p:sp>
        <p:nvSpPr>
          <p:cNvPr id="70" name="CuadroTexto 133">
            <a:extLst>
              <a:ext uri="{FF2B5EF4-FFF2-40B4-BE49-F238E27FC236}">
                <a16:creationId xmlns:a16="http://schemas.microsoft.com/office/drawing/2014/main" id="{E46CB370-D194-2DE7-D855-679C5928ACDB}"/>
              </a:ext>
            </a:extLst>
          </p:cNvPr>
          <p:cNvSpPr txBox="1"/>
          <p:nvPr/>
        </p:nvSpPr>
        <p:spPr>
          <a:xfrm>
            <a:off x="7811778" y="4123263"/>
            <a:ext cx="1648622" cy="2460182"/>
          </a:xfrm>
          <a:prstGeom prst="rect">
            <a:avLst/>
          </a:prstGeom>
          <a:solidFill>
            <a:srgbClr val="F2F2F2"/>
          </a:solidFill>
          <a:ln>
            <a:noFill/>
            <a:prstDash val="dash"/>
          </a:ln>
        </p:spPr>
        <p:txBody>
          <a:bodyPr wrap="square" rtlCol="0" anchor="ctr">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With the information normalized in the Common Data layers, it passes through a decision tree via an ETL process, after which each transaction is assigned the methodology, it should follow for TTI calculation</a:t>
            </a:r>
          </a:p>
        </p:txBody>
      </p:sp>
      <p:sp>
        <p:nvSpPr>
          <p:cNvPr id="72" name="CuadroTexto 133">
            <a:extLst>
              <a:ext uri="{FF2B5EF4-FFF2-40B4-BE49-F238E27FC236}">
                <a16:creationId xmlns:a16="http://schemas.microsoft.com/office/drawing/2014/main" id="{1AD36E10-6403-B263-BDA1-CDBB366BEDEF}"/>
              </a:ext>
            </a:extLst>
          </p:cNvPr>
          <p:cNvSpPr txBox="1"/>
          <p:nvPr/>
        </p:nvSpPr>
        <p:spPr>
          <a:xfrm>
            <a:off x="4329371" y="4123263"/>
            <a:ext cx="3384151" cy="2460182"/>
          </a:xfrm>
          <a:prstGeom prst="rect">
            <a:avLst/>
          </a:prstGeom>
          <a:solidFill>
            <a:srgbClr val="F2F2F2"/>
          </a:solidFill>
          <a:ln>
            <a:noFill/>
            <a:prstDash val="dash"/>
          </a:ln>
        </p:spPr>
        <p:txBody>
          <a:bodyPr wrap="square" rtlCol="0" anchor="ctr">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Errors identified by users are recorded in the error </a:t>
            </a:r>
            <a:r>
              <a:rPr kumimoji="0" lang="en-GB" sz="1100" b="0" i="0" u="none" strike="noStrike" kern="1200" cap="none" spc="0" normalizeH="0" baseline="0" noProof="0" err="1">
                <a:ln>
                  <a:noFill/>
                </a:ln>
                <a:solidFill>
                  <a:prstClr val="black"/>
                </a:solidFill>
                <a:effectLst/>
                <a:uLnTx/>
                <a:uFillTx/>
                <a:latin typeface="Santander Text" panose="020B0504020201020104"/>
                <a:ea typeface="+mn-ea"/>
                <a:cs typeface="+mn-cs"/>
              </a:rPr>
              <a:t>catalog</a:t>
            </a: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 table according to their specific cases (in the OAS Oracle visualization tool), including variations in transaction volumes.</a:t>
            </a:r>
            <a:b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b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Currently, errors are managed through ServiceNow tickets with the relevant systems or via email, requiring error remediation.</a:t>
            </a:r>
            <a:endParaRPr kumimoji="0" lang="en-GB" sz="1100" b="0" i="0" u="none" strike="noStrike" kern="0" cap="none" spc="0" normalizeH="0" baseline="0" noProof="0">
              <a:ln>
                <a:noFill/>
              </a:ln>
              <a:solidFill>
                <a:prstClr val="black"/>
              </a:solidFill>
              <a:effectLst/>
              <a:uLnTx/>
              <a:uFillTx/>
              <a:latin typeface="Santander Text" panose="020B0504020201020104"/>
              <a:ea typeface="+mn-ea"/>
              <a:cs typeface="Arial" panose="020B0604020202020204" pitchFamily="34" charset="0"/>
            </a:endParaRPr>
          </a:p>
        </p:txBody>
      </p:sp>
      <p:sp>
        <p:nvSpPr>
          <p:cNvPr id="81" name="Text Placeholder 7">
            <a:extLst>
              <a:ext uri="{FF2B5EF4-FFF2-40B4-BE49-F238E27FC236}">
                <a16:creationId xmlns:a16="http://schemas.microsoft.com/office/drawing/2014/main" id="{3606A242-C00B-E13B-EB4D-8323E1781684}"/>
              </a:ext>
            </a:extLst>
          </p:cNvPr>
          <p:cNvSpPr txBox="1">
            <a:spLocks/>
          </p:cNvSpPr>
          <p:nvPr/>
        </p:nvSpPr>
        <p:spPr>
          <a:xfrm>
            <a:off x="376006" y="616069"/>
            <a:ext cx="11358610" cy="434375"/>
          </a:xfrm>
          <a:prstGeom prst="rect">
            <a:avLst/>
          </a:prstGeom>
        </p:spPr>
        <p:txBody>
          <a:bodyPr vert="horz" lIns="0" tIns="45720" rIns="0" bIns="45720" rtlCol="0">
            <a:noAutofit/>
          </a:bodyPr>
          <a:lstStyle>
            <a:lvl1pPr marL="0" indent="0" algn="l" defTabSz="914400" rtl="0" eaLnBrk="1" latinLnBrk="0" hangingPunct="1">
              <a:lnSpc>
                <a:spcPct val="90000"/>
              </a:lnSpc>
              <a:spcBef>
                <a:spcPts val="0"/>
              </a:spcBef>
              <a:spcAft>
                <a:spcPts val="1200"/>
              </a:spcAft>
              <a:buFont typeface="Arial" panose="020B0604020202020204" pitchFamily="34" charset="0"/>
              <a:buNone/>
              <a:defRPr lang="en-US" sz="2000" kern="1200" dirty="0" smtClean="0">
                <a:solidFill>
                  <a:schemeClr val="bg2"/>
                </a:solidFill>
                <a:latin typeface="Arial" panose="020B0604020202020204" pitchFamily="34" charset="0"/>
                <a:ea typeface="+mn-ea"/>
                <a:cs typeface="Arial" panose="020B0604020202020204" pitchFamily="34" charset="0"/>
              </a:defRPr>
            </a:lvl1pPr>
            <a:lvl2pPr marL="798513" indent="-28575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2pPr>
            <a:lvl3pPr marL="1200150" indent="-22860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712913" indent="-28575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4pPr>
            <a:lvl5pPr marL="2114550" indent="-22860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en-GB" sz="1400" b="0" i="0" u="none" strike="noStrike" kern="1200" cap="none" spc="0" normalizeH="0" baseline="0" noProof="0">
                <a:ln>
                  <a:noFill/>
                </a:ln>
                <a:solidFill>
                  <a:prstClr val="black"/>
                </a:solidFill>
                <a:effectLst/>
                <a:uLnTx/>
                <a:uFillTx/>
                <a:latin typeface="Santander Text" panose="020B0504020201020104"/>
                <a:ea typeface="+mn-ea"/>
                <a:cs typeface="Arial" panose="020B0604020202020204" pitchFamily="34" charset="0"/>
              </a:rPr>
              <a:t>FMIS is the central system for financial calculation and reporting, taking the daily balance sheet as its main base. From this, the daily TTI is calculated, differentiated by product type within the CIB perimeter, covering both Branches and GBP</a:t>
            </a:r>
          </a:p>
        </p:txBody>
      </p:sp>
      <p:pic>
        <p:nvPicPr>
          <p:cNvPr id="5" name="Imagen 2" descr="NTT Data - Red Seguridad">
            <a:extLst>
              <a:ext uri="{FF2B5EF4-FFF2-40B4-BE49-F238E27FC236}">
                <a16:creationId xmlns:a16="http://schemas.microsoft.com/office/drawing/2014/main" id="{970016DC-1E8A-9C6C-AC88-D1873112EE04}"/>
              </a:ext>
            </a:extLst>
          </p:cNvPr>
          <p:cNvPicPr>
            <a:picLocks noChangeAspect="1"/>
          </p:cNvPicPr>
          <p:nvPr/>
        </p:nvPicPr>
        <p:blipFill>
          <a:blip r:embed="rId3"/>
          <a:stretch>
            <a:fillRect/>
          </a:stretch>
        </p:blipFill>
        <p:spPr>
          <a:xfrm>
            <a:off x="10881313" y="-202669"/>
            <a:ext cx="1166998" cy="847775"/>
          </a:xfrm>
          <a:prstGeom prst="rect">
            <a:avLst/>
          </a:prstGeom>
        </p:spPr>
      </p:pic>
      <p:sp>
        <p:nvSpPr>
          <p:cNvPr id="18" name="Cheurón 135">
            <a:extLst>
              <a:ext uri="{FF2B5EF4-FFF2-40B4-BE49-F238E27FC236}">
                <a16:creationId xmlns:a16="http://schemas.microsoft.com/office/drawing/2014/main" id="{72F45A08-85FD-931E-77AD-572883A2EF1E}"/>
              </a:ext>
            </a:extLst>
          </p:cNvPr>
          <p:cNvSpPr/>
          <p:nvPr/>
        </p:nvSpPr>
        <p:spPr>
          <a:xfrm>
            <a:off x="2612547" y="3444617"/>
            <a:ext cx="1964950" cy="635688"/>
          </a:xfrm>
          <a:prstGeom prst="chevron">
            <a:avLst/>
          </a:prstGeom>
          <a:solidFill>
            <a:srgbClr val="9B2D1F"/>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LANDING LAYER</a:t>
            </a:r>
          </a:p>
        </p:txBody>
      </p:sp>
      <p:sp>
        <p:nvSpPr>
          <p:cNvPr id="19" name="Cheurón 60">
            <a:extLst>
              <a:ext uri="{FF2B5EF4-FFF2-40B4-BE49-F238E27FC236}">
                <a16:creationId xmlns:a16="http://schemas.microsoft.com/office/drawing/2014/main" id="{C694CFBC-8EAF-382C-CC14-0EFB77907BE6}"/>
              </a:ext>
            </a:extLst>
          </p:cNvPr>
          <p:cNvSpPr/>
          <p:nvPr/>
        </p:nvSpPr>
        <p:spPr>
          <a:xfrm>
            <a:off x="4342773" y="3440501"/>
            <a:ext cx="1964950" cy="632470"/>
          </a:xfrm>
          <a:prstGeom prst="chevron">
            <a:avLst/>
          </a:prstGeom>
          <a:solidFill>
            <a:schemeClr val="accent2">
              <a:lumMod val="60000"/>
              <a:lumOff val="40000"/>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ERROR CATALOGING</a:t>
            </a:r>
          </a:p>
        </p:txBody>
      </p:sp>
      <p:sp>
        <p:nvSpPr>
          <p:cNvPr id="20" name="Cheurón 106">
            <a:extLst>
              <a:ext uri="{FF2B5EF4-FFF2-40B4-BE49-F238E27FC236}">
                <a16:creationId xmlns:a16="http://schemas.microsoft.com/office/drawing/2014/main" id="{B0D0C254-B38A-32AF-9928-F212B607A6DF}"/>
              </a:ext>
            </a:extLst>
          </p:cNvPr>
          <p:cNvSpPr/>
          <p:nvPr/>
        </p:nvSpPr>
        <p:spPr>
          <a:xfrm>
            <a:off x="9581898" y="3453850"/>
            <a:ext cx="2173176" cy="618224"/>
          </a:xfrm>
          <a:prstGeom prst="chevron">
            <a:avLst/>
          </a:prstGeom>
          <a:solidFill>
            <a:schemeClr val="accent1">
              <a:lumMod val="20000"/>
              <a:lumOff val="80000"/>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REPORTING</a:t>
            </a:r>
          </a:p>
        </p:txBody>
      </p:sp>
      <p:sp>
        <p:nvSpPr>
          <p:cNvPr id="21" name="Cheurón 134">
            <a:extLst>
              <a:ext uri="{FF2B5EF4-FFF2-40B4-BE49-F238E27FC236}">
                <a16:creationId xmlns:a16="http://schemas.microsoft.com/office/drawing/2014/main" id="{434BB8F9-B58A-C957-CFC8-AB363EF16C7F}"/>
              </a:ext>
            </a:extLst>
          </p:cNvPr>
          <p:cNvSpPr/>
          <p:nvPr/>
        </p:nvSpPr>
        <p:spPr>
          <a:xfrm>
            <a:off x="396465" y="3447835"/>
            <a:ext cx="2444226" cy="619940"/>
          </a:xfrm>
          <a:prstGeom prst="chevron">
            <a:avLst/>
          </a:prstGeom>
          <a:solidFill>
            <a:schemeClr val="accent2">
              <a:lumMod val="75000"/>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BBDD</a:t>
            </a:r>
          </a:p>
        </p:txBody>
      </p:sp>
      <p:sp>
        <p:nvSpPr>
          <p:cNvPr id="22" name="Cheurón 60">
            <a:extLst>
              <a:ext uri="{FF2B5EF4-FFF2-40B4-BE49-F238E27FC236}">
                <a16:creationId xmlns:a16="http://schemas.microsoft.com/office/drawing/2014/main" id="{63F881A8-92F7-E363-D3B8-C07CF1747E4B}"/>
              </a:ext>
            </a:extLst>
          </p:cNvPr>
          <p:cNvSpPr/>
          <p:nvPr/>
        </p:nvSpPr>
        <p:spPr>
          <a:xfrm>
            <a:off x="6072999" y="3440501"/>
            <a:ext cx="1964950" cy="632470"/>
          </a:xfrm>
          <a:prstGeom prst="chevron">
            <a:avLst/>
          </a:prstGeom>
          <a:solidFill>
            <a:schemeClr val="accent2">
              <a:lumMod val="40000"/>
              <a:lumOff val="60000"/>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ERROR CORRECTION</a:t>
            </a:r>
          </a:p>
        </p:txBody>
      </p:sp>
      <p:sp>
        <p:nvSpPr>
          <p:cNvPr id="23" name="Cheurón 60">
            <a:extLst>
              <a:ext uri="{FF2B5EF4-FFF2-40B4-BE49-F238E27FC236}">
                <a16:creationId xmlns:a16="http://schemas.microsoft.com/office/drawing/2014/main" id="{6E6BA930-E6C5-22D9-7601-58121051A624}"/>
              </a:ext>
            </a:extLst>
          </p:cNvPr>
          <p:cNvSpPr/>
          <p:nvPr/>
        </p:nvSpPr>
        <p:spPr>
          <a:xfrm>
            <a:off x="7819876" y="3447835"/>
            <a:ext cx="1964950" cy="632470"/>
          </a:xfrm>
          <a:prstGeom prst="chevron">
            <a:avLst/>
          </a:prstGeom>
          <a:solidFill>
            <a:schemeClr val="accent2">
              <a:lumMod val="20000"/>
              <a:lumOff val="80000"/>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COMMON DATA</a:t>
            </a:r>
          </a:p>
        </p:txBody>
      </p:sp>
      <p:pic>
        <p:nvPicPr>
          <p:cNvPr id="24" name="Picture 2">
            <a:extLst>
              <a:ext uri="{FF2B5EF4-FFF2-40B4-BE49-F238E27FC236}">
                <a16:creationId xmlns:a16="http://schemas.microsoft.com/office/drawing/2014/main" id="{E030B014-D6F5-075D-CD93-9DE231FAC551}"/>
              </a:ext>
            </a:extLst>
          </p:cNvPr>
          <p:cNvPicPr>
            <a:picLocks noChangeAspect="1"/>
          </p:cNvPicPr>
          <p:nvPr/>
        </p:nvPicPr>
        <p:blipFill>
          <a:blip r:embed="rId4"/>
          <a:srcRect r="22480"/>
          <a:stretch>
            <a:fillRect/>
          </a:stretch>
        </p:blipFill>
        <p:spPr>
          <a:xfrm>
            <a:off x="9081410" y="32335"/>
            <a:ext cx="1610515" cy="388493"/>
          </a:xfrm>
          <a:prstGeom prst="rect">
            <a:avLst/>
          </a:prstGeom>
        </p:spPr>
      </p:pic>
      <p:sp>
        <p:nvSpPr>
          <p:cNvPr id="2" name="Text Placeholder 3">
            <a:extLst>
              <a:ext uri="{FF2B5EF4-FFF2-40B4-BE49-F238E27FC236}">
                <a16:creationId xmlns:a16="http://schemas.microsoft.com/office/drawing/2014/main" id="{6531CE07-70F4-A697-7DED-33F0CADEB97A}"/>
              </a:ext>
            </a:extLst>
          </p:cNvPr>
          <p:cNvSpPr txBox="1">
            <a:spLocks/>
          </p:cNvSpPr>
          <p:nvPr/>
        </p:nvSpPr>
        <p:spPr>
          <a:xfrm>
            <a:off x="354840" y="186174"/>
            <a:ext cx="6566156" cy="307777"/>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2000" b="0" i="0" u="none" strike="noStrike" kern="1200" cap="none" spc="0" normalizeH="0" baseline="0" noProof="0">
                <a:ln>
                  <a:noFill/>
                </a:ln>
                <a:solidFill>
                  <a:srgbClr val="F14949"/>
                </a:solidFill>
                <a:effectLst/>
                <a:uLnTx/>
                <a:uFillTx/>
                <a:latin typeface="Santander Headline" panose="020B0504020201020104"/>
                <a:ea typeface="+mn-ea"/>
                <a:cs typeface="+mn-cs"/>
              </a:rPr>
              <a:t>FMIS — Central system for financial calculation and reporting.</a:t>
            </a:r>
          </a:p>
        </p:txBody>
      </p:sp>
    </p:spTree>
    <p:extLst>
      <p:ext uri="{BB962C8B-B14F-4D97-AF65-F5344CB8AC3E}">
        <p14:creationId xmlns:p14="http://schemas.microsoft.com/office/powerpoint/2010/main" val="23248131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F79B25-320B-5B73-4AAF-43FB6DEFDDC6}"/>
            </a:ext>
          </a:extLst>
        </p:cNvPr>
        <p:cNvGrpSpPr/>
        <p:nvPr/>
      </p:nvGrpSpPr>
      <p:grpSpPr>
        <a:xfrm>
          <a:off x="0" y="0"/>
          <a:ext cx="0" cy="0"/>
          <a:chOff x="0" y="0"/>
          <a:chExt cx="0" cy="0"/>
        </a:xfrm>
      </p:grpSpPr>
      <p:sp>
        <p:nvSpPr>
          <p:cNvPr id="5" name="Título 5">
            <a:extLst>
              <a:ext uri="{FF2B5EF4-FFF2-40B4-BE49-F238E27FC236}">
                <a16:creationId xmlns:a16="http://schemas.microsoft.com/office/drawing/2014/main" id="{6B415751-6527-0675-36A4-10E10F20CE15}"/>
              </a:ext>
            </a:extLst>
          </p:cNvPr>
          <p:cNvSpPr>
            <a:spLocks noGrp="1"/>
          </p:cNvSpPr>
          <p:nvPr>
            <p:ph type="title"/>
          </p:nvPr>
        </p:nvSpPr>
        <p:spPr>
          <a:xfrm>
            <a:off x="294492" y="567180"/>
            <a:ext cx="11477340" cy="847775"/>
          </a:xfrm>
        </p:spPr>
        <p:txBody>
          <a:bodyPr>
            <a:normAutofit fontScale="90000"/>
          </a:bodyPr>
          <a:lstStyle/>
          <a:p>
            <a:pPr algn="just"/>
            <a:br>
              <a:rPr lang="en-GB" sz="1600" b="1" noProof="0">
                <a:latin typeface="Santander Text" panose="020B0504020201020104"/>
              </a:rPr>
            </a:br>
            <a:r>
              <a:rPr lang="en-GB" sz="1600" noProof="0">
                <a:latin typeface="Santander Text" panose="020B0504020201020104"/>
              </a:rPr>
              <a:t>The implementation of agents is primarily planned for the Common data layers where the TTIs are calculated. The value proposition includes positioning the agent as a monitoring tool for TTI calculations and implementing a chatbot capable of retrieving information from the decision tree using natural language.</a:t>
            </a:r>
            <a:br>
              <a:rPr lang="en-GB" sz="1600" noProof="0">
                <a:latin typeface="Santander Text" panose="020B0504020201020104"/>
              </a:rPr>
            </a:br>
            <a:endParaRPr lang="en-GB" sz="1600" noProof="0">
              <a:solidFill>
                <a:schemeClr val="tx1"/>
              </a:solidFill>
              <a:latin typeface="Santander Text" panose="020B0504020201020104"/>
            </a:endParaRPr>
          </a:p>
        </p:txBody>
      </p:sp>
      <p:sp>
        <p:nvSpPr>
          <p:cNvPr id="79" name="Rectángulo: esquinas redondeadas 123">
            <a:extLst>
              <a:ext uri="{FF2B5EF4-FFF2-40B4-BE49-F238E27FC236}">
                <a16:creationId xmlns:a16="http://schemas.microsoft.com/office/drawing/2014/main" id="{D0F368F8-49EB-5E9B-E260-7D153A295088}"/>
              </a:ext>
            </a:extLst>
          </p:cNvPr>
          <p:cNvSpPr/>
          <p:nvPr/>
        </p:nvSpPr>
        <p:spPr>
          <a:xfrm>
            <a:off x="336000" y="2693287"/>
            <a:ext cx="11520000" cy="271472"/>
          </a:xfrm>
          <a:prstGeom prst="roundRect">
            <a:avLst>
              <a:gd name="adj" fmla="val 5818"/>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AGENT FUNCTIONALITIES</a:t>
            </a:r>
          </a:p>
        </p:txBody>
      </p:sp>
      <p:sp>
        <p:nvSpPr>
          <p:cNvPr id="80" name="Rectángulo: esquinas redondeadas 124">
            <a:extLst>
              <a:ext uri="{FF2B5EF4-FFF2-40B4-BE49-F238E27FC236}">
                <a16:creationId xmlns:a16="http://schemas.microsoft.com/office/drawing/2014/main" id="{A6B83334-2419-1F40-EF7D-F9DB49605AA0}"/>
              </a:ext>
            </a:extLst>
          </p:cNvPr>
          <p:cNvSpPr/>
          <p:nvPr/>
        </p:nvSpPr>
        <p:spPr>
          <a:xfrm>
            <a:off x="336000" y="3068468"/>
            <a:ext cx="11520000" cy="3594601"/>
          </a:xfrm>
          <a:prstGeom prst="roundRect">
            <a:avLst>
              <a:gd name="adj" fmla="val 0"/>
            </a:avLst>
          </a:prstGeom>
          <a:solidFill>
            <a:srgbClr val="F2F2F2"/>
          </a:solidFill>
          <a:ln w="12700" cap="flat" cmpd="sng" algn="ctr">
            <a:noFill/>
            <a:prstDash val="solid"/>
            <a:miter lim="800000"/>
          </a:ln>
          <a:effectLst/>
        </p:spPr>
        <p:txBody>
          <a:bodyPr lIns="108000" tIns="72000" rIns="108000" bIns="72000" rtlCol="0"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GB" sz="1200" b="0" i="1" u="none" strike="noStrike" kern="0" cap="none" spc="0" normalizeH="0" baseline="0" noProof="0">
              <a:ln w="0"/>
              <a:solidFill>
                <a:srgbClr val="000000"/>
              </a:solidFill>
              <a:effectLst>
                <a:outerShdw blurRad="38100" dist="19050" dir="2700000" algn="tl" rotWithShape="0">
                  <a:srgbClr val="000000">
                    <a:alpha val="40000"/>
                  </a:srgbClr>
                </a:outerShdw>
              </a:effectLst>
              <a:uLnTx/>
              <a:uFillTx/>
              <a:latin typeface="Santander Text" panose="020B0504020201020104"/>
              <a:ea typeface="+mn-ea"/>
              <a:cs typeface="Arial" panose="020B0604020202020204" pitchFamily="34" charset="0"/>
            </a:endParaRPr>
          </a:p>
        </p:txBody>
      </p:sp>
      <p:sp>
        <p:nvSpPr>
          <p:cNvPr id="83" name="Rectángulo: esquinas redondeadas 125">
            <a:extLst>
              <a:ext uri="{FF2B5EF4-FFF2-40B4-BE49-F238E27FC236}">
                <a16:creationId xmlns:a16="http://schemas.microsoft.com/office/drawing/2014/main" id="{8C908B60-60DC-F5A6-06F8-FBB67291D122}"/>
              </a:ext>
            </a:extLst>
          </p:cNvPr>
          <p:cNvSpPr/>
          <p:nvPr/>
        </p:nvSpPr>
        <p:spPr>
          <a:xfrm rot="5400000">
            <a:off x="3296357" y="2546565"/>
            <a:ext cx="217034" cy="2240883"/>
          </a:xfrm>
          <a:prstGeom prst="roundRect">
            <a:avLst/>
          </a:prstGeom>
          <a:solidFill>
            <a:schemeClr val="accent2">
              <a:lumMod val="75000"/>
            </a:schemeClr>
          </a:solidFill>
          <a:ln w="6350">
            <a:noFill/>
          </a:ln>
          <a:effectLst/>
        </p:spPr>
        <p:txBody>
          <a:bodyPr vert="vert270" wrap="square" lIns="540000" tIns="0" rIns="540000" bIns="0" anchor="ctr" anchorCtr="0">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10000"/>
              </a:lnSpc>
              <a:spcBef>
                <a:spcPts val="600"/>
              </a:spcBef>
              <a:spcAft>
                <a:spcPts val="0"/>
              </a:spcAft>
              <a:buClr>
                <a:srgbClr val="000000"/>
              </a:buClr>
              <a:buSzTx/>
              <a:buFont typeface="Arial" panose="020B0604020202020204" pitchFamily="34" charset="0"/>
              <a:buNone/>
              <a:tabLst/>
              <a:defRPr/>
            </a:pPr>
            <a:r>
              <a:rPr kumimoji="0" lang="en-GB" sz="1200" b="1" i="1"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Santander Text" panose="020B0504020201020104"/>
                <a:ea typeface="+mn-ea"/>
                <a:cs typeface="Arial"/>
              </a:rPr>
              <a:t>Orchestration Agent</a:t>
            </a:r>
          </a:p>
        </p:txBody>
      </p:sp>
      <p:sp>
        <p:nvSpPr>
          <p:cNvPr id="84" name="Content Placeholder 4">
            <a:extLst>
              <a:ext uri="{FF2B5EF4-FFF2-40B4-BE49-F238E27FC236}">
                <a16:creationId xmlns:a16="http://schemas.microsoft.com/office/drawing/2014/main" id="{1EC657C4-8AD4-8EAB-192F-683C94AB15FD}"/>
              </a:ext>
            </a:extLst>
          </p:cNvPr>
          <p:cNvSpPr txBox="1">
            <a:spLocks/>
          </p:cNvSpPr>
          <p:nvPr/>
        </p:nvSpPr>
        <p:spPr bwMode="gray">
          <a:xfrm>
            <a:off x="2284432" y="3816708"/>
            <a:ext cx="2236026" cy="2694352"/>
          </a:xfrm>
          <a:prstGeom prst="roundRect">
            <a:avLst/>
          </a:prstGeom>
          <a:solidFill>
            <a:srgbClr val="FFFFFF"/>
          </a:solidFill>
          <a:ln w="12700">
            <a:solidFill>
              <a:srgbClr val="184E62"/>
            </a:solidFill>
          </a:ln>
          <a:effectLst/>
        </p:spPr>
        <p:txBody>
          <a:bodyPr wrap="square" lIns="72000" tIns="36000" rIns="72000" bIns="36000" anchor="ctr" anchorCtr="0">
            <a:noAutofit/>
          </a:bodyPr>
          <a:lstStyle>
            <a:defPPr>
              <a:defRPr lang="es-ES"/>
            </a:defPPr>
            <a:lvl1pPr defTabSz="1219170">
              <a:lnSpc>
                <a:spcPct val="110000"/>
              </a:lnSpc>
              <a:buClr>
                <a:srgbClr val="000000"/>
              </a:buClr>
              <a:buFont typeface="Arial" panose="020B0604020202020204" pitchFamily="34" charset="0"/>
              <a:buChar char="•"/>
              <a:defRPr sz="800" b="0" i="0" kern="0">
                <a:solidFill>
                  <a:srgbClr val="374151"/>
                </a:solidFill>
                <a:effectLst/>
                <a:latin typeface="+mj-lt"/>
                <a:cs typeface="Arial"/>
              </a:defRPr>
            </a:lvl1pPr>
            <a:lvl2pPr marL="216000" indent="-216000">
              <a:lnSpc>
                <a:spcPct val="100000"/>
              </a:lnSpc>
              <a:spcBef>
                <a:spcPts val="600"/>
              </a:spcBef>
              <a:buFont typeface="Arial" panose="020B0604020202020204" pitchFamily="34" charset="0"/>
              <a:buChar char="•"/>
            </a:lvl2pPr>
            <a:lvl3pPr marL="432000" indent="-216000">
              <a:lnSpc>
                <a:spcPct val="100000"/>
              </a:lnSpc>
              <a:spcBef>
                <a:spcPts val="600"/>
              </a:spcBef>
              <a:buFont typeface="Arial" panose="020B0604020202020204" pitchFamily="34" charset="0"/>
              <a:buChar char="•"/>
              <a:defRPr sz="1600"/>
            </a:lvl3pPr>
            <a:lvl4pPr marL="648000" indent="-216000">
              <a:lnSpc>
                <a:spcPct val="100000"/>
              </a:lnSpc>
              <a:spcBef>
                <a:spcPts val="600"/>
              </a:spcBef>
              <a:buFont typeface="Arial" panose="020B0604020202020204" pitchFamily="34" charset="0"/>
              <a:buChar char="•"/>
              <a:defRPr sz="1600"/>
            </a:lvl4pPr>
            <a:lvl5pPr marL="864000" indent="-216000">
              <a:lnSpc>
                <a:spcPct val="100000"/>
              </a:lnSpc>
              <a:spcBef>
                <a:spcPts val="6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just" defTabSz="1219170" rtl="0" eaLnBrk="1" fontAlgn="auto" latinLnBrk="0" hangingPunct="1">
              <a:lnSpc>
                <a:spcPct val="110000"/>
              </a:lnSpc>
              <a:spcBef>
                <a:spcPts val="0"/>
              </a:spcBef>
              <a:spcAft>
                <a:spcPts val="0"/>
              </a:spcAft>
              <a:buClr>
                <a:srgbClr val="000000"/>
              </a:buClr>
              <a:buSzTx/>
              <a:buFont typeface="Arial" panose="020B0604020202020204" pitchFamily="34" charset="0"/>
              <a:buNone/>
              <a:tabLst/>
              <a:defRPr/>
            </a:pPr>
            <a:r>
              <a:rPr kumimoji="0" lang="en-GB" sz="1050" b="0" i="0" u="none" strike="noStrike" kern="0" cap="none" spc="0" normalizeH="0" baseline="0" noProof="0">
                <a:ln>
                  <a:noFill/>
                </a:ln>
                <a:solidFill>
                  <a:prstClr val="black">
                    <a:lumMod val="50000"/>
                    <a:lumOff val="50000"/>
                  </a:prstClr>
                </a:solidFill>
                <a:effectLst/>
                <a:uLnTx/>
                <a:uFillTx/>
                <a:latin typeface="Santander Text" panose="020B0504020201020104"/>
                <a:ea typeface="+mn-ea"/>
                <a:cs typeface="Arial"/>
              </a:rPr>
              <a:t>By understanding the TTI calculation process, an “evaluator” agent could be established to check for any deviations, since TTI is a linear metric. It would review whether there are discrepancies compared to the data obtained on previous days.</a:t>
            </a:r>
          </a:p>
        </p:txBody>
      </p:sp>
      <p:sp>
        <p:nvSpPr>
          <p:cNvPr id="85" name="Rectángulo: esquinas redondeadas 125">
            <a:extLst>
              <a:ext uri="{FF2B5EF4-FFF2-40B4-BE49-F238E27FC236}">
                <a16:creationId xmlns:a16="http://schemas.microsoft.com/office/drawing/2014/main" id="{374DF273-6ADA-87B5-7035-B4EF5F14D3FF}"/>
              </a:ext>
            </a:extLst>
          </p:cNvPr>
          <p:cNvSpPr/>
          <p:nvPr/>
        </p:nvSpPr>
        <p:spPr>
          <a:xfrm rot="5400000">
            <a:off x="5866169" y="2545056"/>
            <a:ext cx="217034" cy="2240883"/>
          </a:xfrm>
          <a:prstGeom prst="roundRect">
            <a:avLst/>
          </a:prstGeom>
          <a:solidFill>
            <a:schemeClr val="accent2">
              <a:lumMod val="75000"/>
            </a:schemeClr>
          </a:solidFill>
          <a:ln w="6350">
            <a:noFill/>
          </a:ln>
          <a:effectLst/>
        </p:spPr>
        <p:txBody>
          <a:bodyPr vert="vert270" wrap="square" lIns="540000" tIns="0" rIns="540000" bIns="0" anchor="ctr" anchorCtr="0">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10000"/>
              </a:lnSpc>
              <a:spcBef>
                <a:spcPts val="600"/>
              </a:spcBef>
              <a:spcAft>
                <a:spcPts val="0"/>
              </a:spcAft>
              <a:buClr>
                <a:srgbClr val="000000"/>
              </a:buClr>
              <a:buSzTx/>
              <a:buFontTx/>
              <a:buNone/>
              <a:tabLst/>
              <a:defRPr/>
            </a:pPr>
            <a:r>
              <a:rPr kumimoji="0" lang="en-GB" sz="1200" b="1" i="1"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Santander Text" panose="020B0504020201020104"/>
                <a:ea typeface="+mn-ea"/>
                <a:cs typeface="Arial"/>
              </a:rPr>
              <a:t>Decision Tree Query</a:t>
            </a:r>
          </a:p>
        </p:txBody>
      </p:sp>
      <p:sp>
        <p:nvSpPr>
          <p:cNvPr id="86" name="Content Placeholder 4">
            <a:extLst>
              <a:ext uri="{FF2B5EF4-FFF2-40B4-BE49-F238E27FC236}">
                <a16:creationId xmlns:a16="http://schemas.microsoft.com/office/drawing/2014/main" id="{E9499992-3960-1466-A907-659CFF6ABDEB}"/>
              </a:ext>
            </a:extLst>
          </p:cNvPr>
          <p:cNvSpPr txBox="1">
            <a:spLocks/>
          </p:cNvSpPr>
          <p:nvPr/>
        </p:nvSpPr>
        <p:spPr bwMode="gray">
          <a:xfrm>
            <a:off x="4854247" y="3816708"/>
            <a:ext cx="2236026" cy="2694352"/>
          </a:xfrm>
          <a:prstGeom prst="roundRect">
            <a:avLst/>
          </a:prstGeom>
          <a:solidFill>
            <a:srgbClr val="FFFFFF"/>
          </a:solidFill>
          <a:ln w="12700">
            <a:solidFill>
              <a:srgbClr val="184E62"/>
            </a:solidFill>
          </a:ln>
          <a:effectLst/>
        </p:spPr>
        <p:txBody>
          <a:bodyPr wrap="square" lIns="72000" tIns="36000" rIns="72000" bIns="36000" anchor="ctr" anchorCtr="0">
            <a:noAutofit/>
          </a:bodyPr>
          <a:lstStyle>
            <a:defPPr>
              <a:defRPr lang="es-ES"/>
            </a:defPPr>
            <a:lvl1pPr defTabSz="1219170">
              <a:lnSpc>
                <a:spcPct val="110000"/>
              </a:lnSpc>
              <a:buClr>
                <a:srgbClr val="000000"/>
              </a:buClr>
              <a:buFont typeface="Arial" panose="020B0604020202020204" pitchFamily="34" charset="0"/>
              <a:buChar char="•"/>
              <a:defRPr sz="800" b="0" i="0" kern="0">
                <a:solidFill>
                  <a:srgbClr val="374151"/>
                </a:solidFill>
                <a:effectLst/>
                <a:latin typeface="+mj-lt"/>
                <a:cs typeface="Arial"/>
              </a:defRPr>
            </a:lvl1pPr>
            <a:lvl2pPr marL="216000" indent="-216000">
              <a:lnSpc>
                <a:spcPct val="100000"/>
              </a:lnSpc>
              <a:spcBef>
                <a:spcPts val="600"/>
              </a:spcBef>
              <a:buFont typeface="Arial" panose="020B0604020202020204" pitchFamily="34" charset="0"/>
              <a:buChar char="•"/>
            </a:lvl2pPr>
            <a:lvl3pPr marL="432000" indent="-216000">
              <a:lnSpc>
                <a:spcPct val="100000"/>
              </a:lnSpc>
              <a:spcBef>
                <a:spcPts val="600"/>
              </a:spcBef>
              <a:buFont typeface="Arial" panose="020B0604020202020204" pitchFamily="34" charset="0"/>
              <a:buChar char="•"/>
              <a:defRPr sz="1600"/>
            </a:lvl3pPr>
            <a:lvl4pPr marL="648000" indent="-216000">
              <a:lnSpc>
                <a:spcPct val="100000"/>
              </a:lnSpc>
              <a:spcBef>
                <a:spcPts val="600"/>
              </a:spcBef>
              <a:buFont typeface="Arial" panose="020B0604020202020204" pitchFamily="34" charset="0"/>
              <a:buChar char="•"/>
              <a:defRPr sz="1600"/>
            </a:lvl4pPr>
            <a:lvl5pPr marL="864000" indent="-216000">
              <a:lnSpc>
                <a:spcPct val="100000"/>
              </a:lnSpc>
              <a:spcBef>
                <a:spcPts val="6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just" defTabSz="1219170" rtl="0" eaLnBrk="1" fontAlgn="auto" latinLnBrk="0" hangingPunct="1">
              <a:lnSpc>
                <a:spcPct val="110000"/>
              </a:lnSpc>
              <a:spcBef>
                <a:spcPts val="0"/>
              </a:spcBef>
              <a:spcAft>
                <a:spcPts val="0"/>
              </a:spcAft>
              <a:buClr>
                <a:srgbClr val="000000"/>
              </a:buClr>
              <a:buSzTx/>
              <a:buFont typeface="Arial" panose="020B0604020202020204" pitchFamily="34" charset="0"/>
              <a:buNone/>
              <a:tabLst/>
              <a:defRPr/>
            </a:pPr>
            <a:r>
              <a:rPr kumimoji="0" lang="en-GB" sz="1050" b="0" i="0" u="none" strike="noStrike" kern="0" cap="none" spc="0" normalizeH="0" baseline="0" noProof="0">
                <a:ln>
                  <a:noFill/>
                </a:ln>
                <a:solidFill>
                  <a:prstClr val="black">
                    <a:lumMod val="50000"/>
                    <a:lumOff val="50000"/>
                  </a:prstClr>
                </a:solidFill>
                <a:effectLst/>
                <a:uLnTx/>
                <a:uFillTx/>
                <a:latin typeface="Santander Text" panose="020B0504020201020104"/>
                <a:ea typeface="+mn-ea"/>
                <a:cs typeface="Arial"/>
              </a:rPr>
              <a:t>With information normalized in the Common Data layers and processed through the decision tree via the ETL process, the agent could assist in understanding—through natural language queries—why a certain methodology was assigned and the basis for that assignment.</a:t>
            </a:r>
          </a:p>
        </p:txBody>
      </p:sp>
      <p:sp>
        <p:nvSpPr>
          <p:cNvPr id="91" name="Rectángulo: esquinas redondeadas 125">
            <a:extLst>
              <a:ext uri="{FF2B5EF4-FFF2-40B4-BE49-F238E27FC236}">
                <a16:creationId xmlns:a16="http://schemas.microsoft.com/office/drawing/2014/main" id="{83FA8926-B938-6E3D-DF41-AC7E292C3CC4}"/>
              </a:ext>
            </a:extLst>
          </p:cNvPr>
          <p:cNvSpPr/>
          <p:nvPr/>
        </p:nvSpPr>
        <p:spPr>
          <a:xfrm rot="5400000">
            <a:off x="8439361" y="2547359"/>
            <a:ext cx="217034" cy="2240883"/>
          </a:xfrm>
          <a:prstGeom prst="roundRect">
            <a:avLst/>
          </a:prstGeom>
          <a:solidFill>
            <a:schemeClr val="accent2">
              <a:lumMod val="75000"/>
            </a:schemeClr>
          </a:solidFill>
          <a:ln w="6350">
            <a:noFill/>
          </a:ln>
          <a:effectLst/>
        </p:spPr>
        <p:txBody>
          <a:bodyPr vert="vert270" wrap="square" lIns="540000" tIns="0" rIns="540000" bIns="0" anchor="ctr" anchorCtr="0">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10000"/>
              </a:lnSpc>
              <a:spcBef>
                <a:spcPts val="600"/>
              </a:spcBef>
              <a:spcAft>
                <a:spcPts val="0"/>
              </a:spcAft>
              <a:buClr>
                <a:srgbClr val="000000"/>
              </a:buClr>
              <a:buSzTx/>
              <a:buFontTx/>
              <a:buNone/>
              <a:tabLst/>
              <a:defRPr/>
            </a:pPr>
            <a:r>
              <a:rPr kumimoji="0" lang="en-GB" sz="1200" b="1" i="1"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Santander Text" panose="020B0504020201020104"/>
                <a:ea typeface="+mn-ea"/>
                <a:cs typeface="Arial"/>
              </a:rPr>
              <a:t>TTI Calculation Monitoring</a:t>
            </a:r>
          </a:p>
        </p:txBody>
      </p:sp>
      <p:sp>
        <p:nvSpPr>
          <p:cNvPr id="92" name="Content Placeholder 4">
            <a:extLst>
              <a:ext uri="{FF2B5EF4-FFF2-40B4-BE49-F238E27FC236}">
                <a16:creationId xmlns:a16="http://schemas.microsoft.com/office/drawing/2014/main" id="{BC889D28-E190-9C34-23B8-B839CD45817B}"/>
              </a:ext>
            </a:extLst>
          </p:cNvPr>
          <p:cNvSpPr txBox="1">
            <a:spLocks/>
          </p:cNvSpPr>
          <p:nvPr/>
        </p:nvSpPr>
        <p:spPr bwMode="gray">
          <a:xfrm>
            <a:off x="7428943" y="3819009"/>
            <a:ext cx="2236026" cy="2694352"/>
          </a:xfrm>
          <a:prstGeom prst="roundRect">
            <a:avLst/>
          </a:prstGeom>
          <a:solidFill>
            <a:srgbClr val="FFFFFF"/>
          </a:solidFill>
          <a:ln w="12700">
            <a:solidFill>
              <a:srgbClr val="184E62"/>
            </a:solidFill>
          </a:ln>
          <a:effectLst/>
        </p:spPr>
        <p:txBody>
          <a:bodyPr wrap="square" lIns="72000" tIns="36000" rIns="72000" bIns="36000" anchor="ctr" anchorCtr="0">
            <a:noAutofit/>
          </a:bodyPr>
          <a:lstStyle>
            <a:defPPr>
              <a:defRPr lang="es-ES"/>
            </a:defPPr>
            <a:lvl1pPr defTabSz="1219170">
              <a:lnSpc>
                <a:spcPct val="110000"/>
              </a:lnSpc>
              <a:buClr>
                <a:srgbClr val="000000"/>
              </a:buClr>
              <a:buFont typeface="Arial" panose="020B0604020202020204" pitchFamily="34" charset="0"/>
              <a:buChar char="•"/>
              <a:defRPr sz="800" b="0" i="0" kern="0">
                <a:solidFill>
                  <a:srgbClr val="374151"/>
                </a:solidFill>
                <a:effectLst/>
                <a:latin typeface="+mj-lt"/>
                <a:cs typeface="Arial"/>
              </a:defRPr>
            </a:lvl1pPr>
            <a:lvl2pPr marL="216000" indent="-216000">
              <a:lnSpc>
                <a:spcPct val="100000"/>
              </a:lnSpc>
              <a:spcBef>
                <a:spcPts val="600"/>
              </a:spcBef>
              <a:buFont typeface="Arial" panose="020B0604020202020204" pitchFamily="34" charset="0"/>
              <a:buChar char="•"/>
            </a:lvl2pPr>
            <a:lvl3pPr marL="432000" indent="-216000">
              <a:lnSpc>
                <a:spcPct val="100000"/>
              </a:lnSpc>
              <a:spcBef>
                <a:spcPts val="600"/>
              </a:spcBef>
              <a:buFont typeface="Arial" panose="020B0604020202020204" pitchFamily="34" charset="0"/>
              <a:buChar char="•"/>
              <a:defRPr sz="1600"/>
            </a:lvl3pPr>
            <a:lvl4pPr marL="648000" indent="-216000">
              <a:lnSpc>
                <a:spcPct val="100000"/>
              </a:lnSpc>
              <a:spcBef>
                <a:spcPts val="600"/>
              </a:spcBef>
              <a:buFont typeface="Arial" panose="020B0604020202020204" pitchFamily="34" charset="0"/>
              <a:buChar char="•"/>
              <a:defRPr sz="1600"/>
            </a:lvl4pPr>
            <a:lvl5pPr marL="864000" indent="-216000">
              <a:lnSpc>
                <a:spcPct val="100000"/>
              </a:lnSpc>
              <a:spcBef>
                <a:spcPts val="6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just" defTabSz="1219170" rtl="0" eaLnBrk="1" fontAlgn="auto" latinLnBrk="0" hangingPunct="1">
              <a:lnSpc>
                <a:spcPct val="110000"/>
              </a:lnSpc>
              <a:spcBef>
                <a:spcPts val="0"/>
              </a:spcBef>
              <a:spcAft>
                <a:spcPts val="0"/>
              </a:spcAft>
              <a:buClr>
                <a:srgbClr val="000000"/>
              </a:buClr>
              <a:buSzTx/>
              <a:buFont typeface="Arial" panose="020B0604020202020204" pitchFamily="34" charset="0"/>
              <a:buNone/>
              <a:tabLst/>
              <a:defRPr/>
            </a:pPr>
            <a:r>
              <a:rPr kumimoji="0" lang="en-GB" sz="1050" b="0" i="0" u="none" strike="noStrike" kern="0" cap="none" spc="0" normalizeH="0" baseline="0" noProof="0">
                <a:ln>
                  <a:noFill/>
                </a:ln>
                <a:solidFill>
                  <a:prstClr val="black">
                    <a:lumMod val="50000"/>
                    <a:lumOff val="50000"/>
                  </a:prstClr>
                </a:solidFill>
                <a:effectLst/>
                <a:uLnTx/>
                <a:uFillTx/>
                <a:latin typeface="Santander Text" panose="020B0504020201020104"/>
                <a:ea typeface="+mn-ea"/>
                <a:cs typeface="Arial"/>
              </a:rPr>
              <a:t>The focus should be on improving data quality, ensuring that the information reaching the calculation engines is accurate and contains as few errors as possible.</a:t>
            </a:r>
            <a:endParaRPr kumimoji="0" lang="en-GB" sz="1050" b="0" i="0" u="none" strike="noStrike" kern="0" cap="none" spc="0" normalizeH="0" baseline="0" noProof="0">
              <a:ln>
                <a:noFill/>
              </a:ln>
              <a:solidFill>
                <a:prstClr val="black">
                  <a:lumMod val="50000"/>
                  <a:lumOff val="50000"/>
                </a:prstClr>
              </a:solidFill>
              <a:effectLst/>
              <a:uLnTx/>
              <a:uFillTx/>
              <a:latin typeface="Santander Text" panose="020B0504020201020104"/>
              <a:ea typeface="+mn-ea"/>
              <a:cs typeface="Arial"/>
              <a:sym typeface="Arial"/>
            </a:endParaRPr>
          </a:p>
        </p:txBody>
      </p:sp>
      <p:pic>
        <p:nvPicPr>
          <p:cNvPr id="96" name="Imagen 95" descr="Icono&#10;&#10;Descripción generada automáticamente">
            <a:extLst>
              <a:ext uri="{FF2B5EF4-FFF2-40B4-BE49-F238E27FC236}">
                <a16:creationId xmlns:a16="http://schemas.microsoft.com/office/drawing/2014/main" id="{44C31F78-D766-AF6A-68CA-18F89FE919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82332" y="3146750"/>
            <a:ext cx="345389" cy="345389"/>
          </a:xfrm>
          <a:prstGeom prst="rect">
            <a:avLst/>
          </a:prstGeom>
        </p:spPr>
      </p:pic>
      <p:pic>
        <p:nvPicPr>
          <p:cNvPr id="99" name="Imagen 98" descr="Un conjunto de letras negras en un fondo negro&#10;&#10;Descripción generada automáticamente con confianza media">
            <a:extLst>
              <a:ext uri="{FF2B5EF4-FFF2-40B4-BE49-F238E27FC236}">
                <a16:creationId xmlns:a16="http://schemas.microsoft.com/office/drawing/2014/main" id="{28B31568-5B50-2F0A-C966-3F6D11B0D0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80275" y="3137110"/>
            <a:ext cx="363181" cy="363181"/>
          </a:xfrm>
          <a:prstGeom prst="rect">
            <a:avLst/>
          </a:prstGeom>
        </p:spPr>
      </p:pic>
      <p:pic>
        <p:nvPicPr>
          <p:cNvPr id="101" name="Imagen 100" descr="Un letrero de color negro&#10;&#10;Descripción generada automáticamente con confianza baja">
            <a:extLst>
              <a:ext uri="{FF2B5EF4-FFF2-40B4-BE49-F238E27FC236}">
                <a16:creationId xmlns:a16="http://schemas.microsoft.com/office/drawing/2014/main" id="{4E524827-5FB7-74EF-4FEB-E314A91A1D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43530" y="3132476"/>
            <a:ext cx="363181" cy="363181"/>
          </a:xfrm>
          <a:prstGeom prst="rect">
            <a:avLst/>
          </a:prstGeom>
        </p:spPr>
      </p:pic>
      <p:sp>
        <p:nvSpPr>
          <p:cNvPr id="3" name="Cheurón 60">
            <a:extLst>
              <a:ext uri="{FF2B5EF4-FFF2-40B4-BE49-F238E27FC236}">
                <a16:creationId xmlns:a16="http://schemas.microsoft.com/office/drawing/2014/main" id="{84D0CD3A-472F-FD10-A82C-EDF0EC2929C5}"/>
              </a:ext>
            </a:extLst>
          </p:cNvPr>
          <p:cNvSpPr/>
          <p:nvPr/>
        </p:nvSpPr>
        <p:spPr>
          <a:xfrm>
            <a:off x="3094331" y="1680951"/>
            <a:ext cx="2816949" cy="695717"/>
          </a:xfrm>
          <a:prstGeom prst="chevron">
            <a:avLst/>
          </a:prstGeom>
          <a:solidFill>
            <a:srgbClr val="9B2D1F"/>
          </a:solidFill>
          <a:ln w="19050" cap="flat" cmpd="sng" algn="ctr">
            <a:noFill/>
            <a:prstDash val="solid"/>
            <a:miter lim="800000"/>
          </a:ln>
          <a:effectLst/>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It passes through a decision tree via an ETL process, after which each transaction is assigned the methodology, it should follow for TTI calculation.</a:t>
            </a:r>
          </a:p>
        </p:txBody>
      </p:sp>
      <p:sp>
        <p:nvSpPr>
          <p:cNvPr id="7" name="Cheurón 134">
            <a:extLst>
              <a:ext uri="{FF2B5EF4-FFF2-40B4-BE49-F238E27FC236}">
                <a16:creationId xmlns:a16="http://schemas.microsoft.com/office/drawing/2014/main" id="{415C7C31-7645-4E1E-BF3D-2ADBE4E4ABF8}"/>
              </a:ext>
            </a:extLst>
          </p:cNvPr>
          <p:cNvSpPr/>
          <p:nvPr/>
        </p:nvSpPr>
        <p:spPr>
          <a:xfrm>
            <a:off x="476721" y="1690046"/>
            <a:ext cx="2816949" cy="681934"/>
          </a:xfrm>
          <a:prstGeom prst="chevron">
            <a:avLst/>
          </a:prstGeom>
          <a:solidFill>
            <a:schemeClr val="accent2">
              <a:lumMod val="75000"/>
            </a:schemeClr>
          </a:solidFill>
          <a:ln w="19050" cap="flat" cmpd="sng" algn="ctr">
            <a:noFill/>
            <a:prstDash val="solid"/>
            <a:miter lim="800000"/>
          </a:ln>
          <a:effectLst/>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Information is received from various data sources such as BDH, Accounting Data Hub, Stratus, Asset Control, and MISCO.</a:t>
            </a:r>
          </a:p>
        </p:txBody>
      </p:sp>
      <p:sp>
        <p:nvSpPr>
          <p:cNvPr id="8" name="Cheurón 106">
            <a:extLst>
              <a:ext uri="{FF2B5EF4-FFF2-40B4-BE49-F238E27FC236}">
                <a16:creationId xmlns:a16="http://schemas.microsoft.com/office/drawing/2014/main" id="{6128FBC2-3D99-A817-119A-7B1022B78ED3}"/>
              </a:ext>
            </a:extLst>
          </p:cNvPr>
          <p:cNvSpPr/>
          <p:nvPr/>
        </p:nvSpPr>
        <p:spPr>
          <a:xfrm>
            <a:off x="447318" y="1405475"/>
            <a:ext cx="2647014" cy="224933"/>
          </a:xfrm>
          <a:prstGeom prst="chevron">
            <a:avLst/>
          </a:prstGeom>
          <a:solidFill>
            <a:schemeClr val="accent2">
              <a:lumMod val="75000"/>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Data Input</a:t>
            </a:r>
          </a:p>
        </p:txBody>
      </p:sp>
      <p:sp>
        <p:nvSpPr>
          <p:cNvPr id="9" name="Cheurón 106">
            <a:extLst>
              <a:ext uri="{FF2B5EF4-FFF2-40B4-BE49-F238E27FC236}">
                <a16:creationId xmlns:a16="http://schemas.microsoft.com/office/drawing/2014/main" id="{430786F5-D200-1858-2721-A79BCBBA3158}"/>
              </a:ext>
            </a:extLst>
          </p:cNvPr>
          <p:cNvSpPr/>
          <p:nvPr/>
        </p:nvSpPr>
        <p:spPr>
          <a:xfrm>
            <a:off x="3094331" y="1403847"/>
            <a:ext cx="5829031" cy="226561"/>
          </a:xfrm>
          <a:prstGeom prst="chevron">
            <a:avLst/>
          </a:prstGeom>
          <a:solidFill>
            <a:srgbClr val="9B2D1F"/>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FMIS Internal Processes</a:t>
            </a:r>
          </a:p>
        </p:txBody>
      </p:sp>
      <p:sp>
        <p:nvSpPr>
          <p:cNvPr id="10" name="Cheurón 106">
            <a:extLst>
              <a:ext uri="{FF2B5EF4-FFF2-40B4-BE49-F238E27FC236}">
                <a16:creationId xmlns:a16="http://schemas.microsoft.com/office/drawing/2014/main" id="{ADCF14FD-3FE0-6699-DD85-F9698358BBB6}"/>
              </a:ext>
            </a:extLst>
          </p:cNvPr>
          <p:cNvSpPr/>
          <p:nvPr/>
        </p:nvSpPr>
        <p:spPr>
          <a:xfrm>
            <a:off x="8923362" y="1395646"/>
            <a:ext cx="2848470" cy="226561"/>
          </a:xfrm>
          <a:prstGeom prst="chevron">
            <a:avLst/>
          </a:prstGeom>
          <a:solidFill>
            <a:schemeClr val="accent2">
              <a:lumMod val="60000"/>
              <a:lumOff val="40000"/>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Data Output</a:t>
            </a:r>
          </a:p>
        </p:txBody>
      </p:sp>
      <p:sp>
        <p:nvSpPr>
          <p:cNvPr id="12" name="Cheurón 60">
            <a:extLst>
              <a:ext uri="{FF2B5EF4-FFF2-40B4-BE49-F238E27FC236}">
                <a16:creationId xmlns:a16="http://schemas.microsoft.com/office/drawing/2014/main" id="{5F2AC429-CDF5-CE10-F2E3-B683366F0C48}"/>
              </a:ext>
            </a:extLst>
          </p:cNvPr>
          <p:cNvSpPr/>
          <p:nvPr/>
        </p:nvSpPr>
        <p:spPr>
          <a:xfrm>
            <a:off x="8923361" y="1689420"/>
            <a:ext cx="2848471" cy="695717"/>
          </a:xfrm>
          <a:prstGeom prst="chevron">
            <a:avLst/>
          </a:prstGeom>
          <a:solidFill>
            <a:schemeClr val="accent2">
              <a:lumMod val="60000"/>
              <a:lumOff val="40000"/>
            </a:schemeClr>
          </a:solidFill>
          <a:ln w="19050" cap="flat" cmpd="sng" algn="ctr">
            <a:noFill/>
            <a:prstDash val="solid"/>
            <a:miter lim="800000"/>
          </a:ln>
          <a:effectLst/>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The information calculated by FMIS is consumed by systems such as SANART, MISCO CIB, CAFET, </a:t>
            </a:r>
            <a:r>
              <a:rPr kumimoji="0" lang="en-GB" sz="1000" b="1" i="0" u="none" strike="noStrike" kern="0" cap="none" spc="0" normalizeH="0" baseline="0" noProof="0" err="1">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LdN</a:t>
            </a:r>
            <a:r>
              <a:rPr kumimoji="0" lang="en-GB" sz="10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 (SENDA), and IB TOOL.</a:t>
            </a:r>
          </a:p>
        </p:txBody>
      </p:sp>
      <p:sp>
        <p:nvSpPr>
          <p:cNvPr id="18" name="Cheurón 60">
            <a:extLst>
              <a:ext uri="{FF2B5EF4-FFF2-40B4-BE49-F238E27FC236}">
                <a16:creationId xmlns:a16="http://schemas.microsoft.com/office/drawing/2014/main" id="{693322C2-2C1D-5DF1-F4AA-E98AD6C5EBD9}"/>
              </a:ext>
            </a:extLst>
          </p:cNvPr>
          <p:cNvSpPr/>
          <p:nvPr/>
        </p:nvSpPr>
        <p:spPr>
          <a:xfrm>
            <a:off x="5698434" y="1680950"/>
            <a:ext cx="3433865" cy="695717"/>
          </a:xfrm>
          <a:prstGeom prst="chevron">
            <a:avLst/>
          </a:prstGeom>
          <a:solidFill>
            <a:srgbClr val="9B2D1F"/>
          </a:solidFill>
          <a:ln w="19050" cap="flat" cmpd="sng" algn="ctr">
            <a:noFill/>
            <a:prstDash val="solid"/>
            <a:miter lim="800000"/>
          </a:ln>
          <a:effectLst/>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The FTP module is responsible for assigning the ETL processes and houses the OFSAA calculation engines.</a:t>
            </a:r>
            <a:br>
              <a:rPr kumimoji="0" lang="en-GB" sz="9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br>
            <a:r>
              <a:rPr kumimoji="0" lang="en-GB" sz="9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Additionally, there is a Profitability module responsible for calculating management metrics.</a:t>
            </a:r>
          </a:p>
        </p:txBody>
      </p:sp>
      <p:sp>
        <p:nvSpPr>
          <p:cNvPr id="54" name="Rectángulo 53">
            <a:extLst>
              <a:ext uri="{FF2B5EF4-FFF2-40B4-BE49-F238E27FC236}">
                <a16:creationId xmlns:a16="http://schemas.microsoft.com/office/drawing/2014/main" id="{4C9BE741-B474-DDEB-F93A-5B5B447F7DB8}"/>
              </a:ext>
            </a:extLst>
          </p:cNvPr>
          <p:cNvSpPr/>
          <p:nvPr/>
        </p:nvSpPr>
        <p:spPr>
          <a:xfrm>
            <a:off x="3058902" y="1289785"/>
            <a:ext cx="5864458" cy="1264000"/>
          </a:xfrm>
          <a:prstGeom prst="rect">
            <a:avLst/>
          </a:prstGeom>
          <a:noFill/>
          <a:ln w="38100">
            <a:solidFill>
              <a:srgbClr val="EC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0000"/>
              </a:solidFill>
              <a:effectLst>
                <a:outerShdw blurRad="38100" dist="38100" dir="2700000" algn="tl">
                  <a:srgbClr val="000000">
                    <a:alpha val="43137"/>
                  </a:srgbClr>
                </a:outerShdw>
              </a:effectLst>
              <a:uLnTx/>
              <a:uFillTx/>
              <a:latin typeface="Santander Text" panose="020B0504020201020104"/>
              <a:ea typeface="+mn-ea"/>
              <a:cs typeface="+mn-cs"/>
            </a:endParaRPr>
          </a:p>
        </p:txBody>
      </p:sp>
      <p:pic>
        <p:nvPicPr>
          <p:cNvPr id="2" name="Imagen 2" descr="NTT Data - Red Seguridad">
            <a:extLst>
              <a:ext uri="{FF2B5EF4-FFF2-40B4-BE49-F238E27FC236}">
                <a16:creationId xmlns:a16="http://schemas.microsoft.com/office/drawing/2014/main" id="{12B85B74-43C0-90AC-FC7B-92B6E32FC421}"/>
              </a:ext>
            </a:extLst>
          </p:cNvPr>
          <p:cNvPicPr>
            <a:picLocks noChangeAspect="1"/>
          </p:cNvPicPr>
          <p:nvPr/>
        </p:nvPicPr>
        <p:blipFill>
          <a:blip r:embed="rId6"/>
          <a:stretch>
            <a:fillRect/>
          </a:stretch>
        </p:blipFill>
        <p:spPr>
          <a:xfrm>
            <a:off x="10881313" y="-202669"/>
            <a:ext cx="1166998" cy="847775"/>
          </a:xfrm>
          <a:prstGeom prst="rect">
            <a:avLst/>
          </a:prstGeom>
        </p:spPr>
      </p:pic>
      <p:pic>
        <p:nvPicPr>
          <p:cNvPr id="4" name="Picture 3">
            <a:extLst>
              <a:ext uri="{FF2B5EF4-FFF2-40B4-BE49-F238E27FC236}">
                <a16:creationId xmlns:a16="http://schemas.microsoft.com/office/drawing/2014/main" id="{EEC139C8-CE00-C857-3C59-1A3D1399A6B8}"/>
              </a:ext>
            </a:extLst>
          </p:cNvPr>
          <p:cNvPicPr>
            <a:picLocks noChangeAspect="1"/>
          </p:cNvPicPr>
          <p:nvPr/>
        </p:nvPicPr>
        <p:blipFill>
          <a:blip r:embed="rId7"/>
          <a:srcRect r="22480"/>
          <a:stretch>
            <a:fillRect/>
          </a:stretch>
        </p:blipFill>
        <p:spPr>
          <a:xfrm>
            <a:off x="9081410" y="32335"/>
            <a:ext cx="1610515" cy="388493"/>
          </a:xfrm>
          <a:prstGeom prst="rect">
            <a:avLst/>
          </a:prstGeom>
        </p:spPr>
      </p:pic>
      <p:sp>
        <p:nvSpPr>
          <p:cNvPr id="14" name="Text Placeholder 3">
            <a:extLst>
              <a:ext uri="{FF2B5EF4-FFF2-40B4-BE49-F238E27FC236}">
                <a16:creationId xmlns:a16="http://schemas.microsoft.com/office/drawing/2014/main" id="{4885E2DC-3A9A-1C07-647E-291E95784647}"/>
              </a:ext>
            </a:extLst>
          </p:cNvPr>
          <p:cNvSpPr txBox="1">
            <a:spLocks/>
          </p:cNvSpPr>
          <p:nvPr/>
        </p:nvSpPr>
        <p:spPr>
          <a:xfrm>
            <a:off x="354840" y="186174"/>
            <a:ext cx="3352328" cy="307777"/>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2000" b="0" i="0" u="none" strike="noStrike" kern="1200" cap="none" spc="0" normalizeH="0" baseline="0" noProof="0">
                <a:ln>
                  <a:noFill/>
                </a:ln>
                <a:solidFill>
                  <a:srgbClr val="F14949"/>
                </a:solidFill>
                <a:effectLst/>
                <a:uLnTx/>
                <a:uFillTx/>
                <a:latin typeface="Santander Headline" panose="020B0504020201020104"/>
                <a:ea typeface="+mn-ea"/>
                <a:cs typeface="+mn-cs"/>
              </a:rPr>
              <a:t>FMIS — Agent Implementation.</a:t>
            </a:r>
          </a:p>
        </p:txBody>
      </p:sp>
    </p:spTree>
    <p:extLst>
      <p:ext uri="{BB962C8B-B14F-4D97-AF65-F5344CB8AC3E}">
        <p14:creationId xmlns:p14="http://schemas.microsoft.com/office/powerpoint/2010/main" val="22730565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DA703A-EB5D-8C3A-8D57-FDD4B6531320}"/>
            </a:ext>
          </a:extLst>
        </p:cNvPr>
        <p:cNvGrpSpPr/>
        <p:nvPr/>
      </p:nvGrpSpPr>
      <p:grpSpPr>
        <a:xfrm>
          <a:off x="0" y="0"/>
          <a:ext cx="0" cy="0"/>
          <a:chOff x="0" y="0"/>
          <a:chExt cx="0" cy="0"/>
        </a:xfrm>
      </p:grpSpPr>
      <p:sp>
        <p:nvSpPr>
          <p:cNvPr id="129" name="Rectangle: Rounded Corners 193">
            <a:extLst>
              <a:ext uri="{FF2B5EF4-FFF2-40B4-BE49-F238E27FC236}">
                <a16:creationId xmlns:a16="http://schemas.microsoft.com/office/drawing/2014/main" id="{EF6B0EF8-F563-A3D3-FF4F-F03CA21DA386}"/>
              </a:ext>
            </a:extLst>
          </p:cNvPr>
          <p:cNvSpPr>
            <a:spLocks/>
          </p:cNvSpPr>
          <p:nvPr/>
        </p:nvSpPr>
        <p:spPr>
          <a:xfrm rot="16200000">
            <a:off x="-886663" y="2524456"/>
            <a:ext cx="4449086" cy="1792532"/>
          </a:xfrm>
          <a:prstGeom prst="roundRect">
            <a:avLst>
              <a:gd name="adj" fmla="val 3636"/>
            </a:avLst>
          </a:prstGeom>
          <a:solidFill>
            <a:srgbClr val="C00000"/>
          </a:solidFill>
          <a:ln w="6350" cap="flat" cmpd="sng" algn="ctr">
            <a:noFill/>
            <a:prstDash val="solid"/>
            <a:miter lim="800000"/>
            <a:headEnd type="none" w="med" len="med"/>
            <a:tailEnd type="none" w="med" len="med"/>
          </a:ln>
          <a:effectLst/>
        </p:spPr>
        <p:txBody>
          <a:bodyPr vert="horz"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a:ln>
                <a:noFill/>
              </a:ln>
              <a:solidFill>
                <a:prstClr val="white"/>
              </a:solidFill>
              <a:effectLst/>
              <a:uLnTx/>
              <a:uFillTx/>
              <a:latin typeface="Santander Text" panose="020B0504020201020104"/>
              <a:ea typeface="+mn-ea"/>
              <a:cs typeface="+mn-cs"/>
            </a:endParaRPr>
          </a:p>
        </p:txBody>
      </p:sp>
      <p:sp>
        <p:nvSpPr>
          <p:cNvPr id="130" name="Rectangle: Rounded Corners 1218">
            <a:extLst>
              <a:ext uri="{FF2B5EF4-FFF2-40B4-BE49-F238E27FC236}">
                <a16:creationId xmlns:a16="http://schemas.microsoft.com/office/drawing/2014/main" id="{656C9674-C2B8-AAC7-D069-19ED621E9639}"/>
              </a:ext>
            </a:extLst>
          </p:cNvPr>
          <p:cNvSpPr>
            <a:spLocks/>
          </p:cNvSpPr>
          <p:nvPr/>
        </p:nvSpPr>
        <p:spPr>
          <a:xfrm>
            <a:off x="515838" y="1417134"/>
            <a:ext cx="1641191" cy="937891"/>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black"/>
                </a:solidFill>
                <a:effectLst/>
                <a:uLnTx/>
                <a:uFillTx/>
                <a:latin typeface="Santander Text" panose="020B0504020201020104"/>
                <a:ea typeface="+mn-ea"/>
                <a:cs typeface="+mn-cs"/>
              </a:rPr>
              <a:t>API Calls </a:t>
            </a:r>
            <a:br>
              <a:rPr kumimoji="0" lang="en-GB" sz="900" b="1" i="0" u="none" strike="noStrike" kern="1200" cap="none" spc="0" normalizeH="0" baseline="0" noProof="0">
                <a:ln>
                  <a:noFill/>
                </a:ln>
                <a:solidFill>
                  <a:prstClr val="black"/>
                </a:solidFill>
                <a:effectLst/>
                <a:uLnTx/>
                <a:uFillTx/>
                <a:latin typeface="Santander Text" panose="020B0504020201020104"/>
                <a:ea typeface="+mn-ea"/>
                <a:cs typeface="+mn-cs"/>
              </a:rPr>
            </a:br>
            <a:r>
              <a:rPr kumimoji="0" lang="en-GB" sz="900" b="1" i="0" u="none" strike="noStrike" kern="1200" cap="none" spc="0" normalizeH="0" baseline="0" noProof="0">
                <a:ln>
                  <a:noFill/>
                </a:ln>
                <a:solidFill>
                  <a:prstClr val="black"/>
                </a:solidFill>
                <a:effectLst/>
                <a:uLnTx/>
                <a:uFillTx/>
                <a:latin typeface="Santander Text" panose="020B0504020201020104"/>
                <a:ea typeface="+mn-ea"/>
                <a:cs typeface="+mn-cs"/>
              </a:rPr>
              <a:t>(Structured Data, Exchange Rate, STRATUS)</a:t>
            </a:r>
          </a:p>
        </p:txBody>
      </p:sp>
      <p:sp>
        <p:nvSpPr>
          <p:cNvPr id="133" name="Rectangle: Rounded Corners 1218">
            <a:extLst>
              <a:ext uri="{FF2B5EF4-FFF2-40B4-BE49-F238E27FC236}">
                <a16:creationId xmlns:a16="http://schemas.microsoft.com/office/drawing/2014/main" id="{B60D2350-0AE4-E621-D2D8-E9F1E4E438FE}"/>
              </a:ext>
            </a:extLst>
          </p:cNvPr>
          <p:cNvSpPr>
            <a:spLocks/>
          </p:cNvSpPr>
          <p:nvPr/>
        </p:nvSpPr>
        <p:spPr>
          <a:xfrm>
            <a:off x="529112" y="3522002"/>
            <a:ext cx="1614643" cy="937891"/>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prstClr val="black"/>
                </a:solidFill>
                <a:effectLst/>
                <a:uLnTx/>
                <a:uFillTx/>
                <a:latin typeface="Santander Text" panose="020B0504020201020104"/>
                <a:ea typeface="+mn-ea"/>
                <a:cs typeface="+mn-cs"/>
              </a:rPr>
              <a:t>Output Manag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prstClr val="black"/>
                </a:solidFill>
                <a:effectLst/>
                <a:uLnTx/>
                <a:uFillTx/>
                <a:latin typeface="Santander Text" panose="020B0504020201020104"/>
                <a:ea typeface="+mn-ea"/>
                <a:cs typeface="+mn-cs"/>
              </a:rPr>
              <a:t>(BDH Operational Data)</a:t>
            </a:r>
          </a:p>
        </p:txBody>
      </p:sp>
      <p:sp>
        <p:nvSpPr>
          <p:cNvPr id="134" name="Rectangle: Rounded Corners 1218">
            <a:extLst>
              <a:ext uri="{FF2B5EF4-FFF2-40B4-BE49-F238E27FC236}">
                <a16:creationId xmlns:a16="http://schemas.microsoft.com/office/drawing/2014/main" id="{D42E33CA-2F96-7747-B92E-E90D77B457D1}"/>
              </a:ext>
            </a:extLst>
          </p:cNvPr>
          <p:cNvSpPr>
            <a:spLocks/>
          </p:cNvSpPr>
          <p:nvPr/>
        </p:nvSpPr>
        <p:spPr>
          <a:xfrm>
            <a:off x="529112" y="4589776"/>
            <a:ext cx="1614643" cy="937891"/>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effectLst/>
                <a:uLnTx/>
                <a:uFillTx/>
                <a:latin typeface="Santander Text" panose="020B0504020201020104"/>
                <a:ea typeface="+mn-ea"/>
                <a:cs typeface="+mn-cs"/>
              </a:rPr>
              <a:t>Manual infor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effectLst/>
                <a:uLnTx/>
                <a:uFillTx/>
                <a:latin typeface="Santander Text" panose="020B0504020201020104"/>
                <a:ea typeface="+mn-ea"/>
                <a:cs typeface="+mn-cs"/>
              </a:rPr>
              <a:t>(email, phone call)</a:t>
            </a:r>
          </a:p>
        </p:txBody>
      </p:sp>
      <p:sp>
        <p:nvSpPr>
          <p:cNvPr id="135" name="Rectángulo: esquinas redondeadas 134">
            <a:extLst>
              <a:ext uri="{FF2B5EF4-FFF2-40B4-BE49-F238E27FC236}">
                <a16:creationId xmlns:a16="http://schemas.microsoft.com/office/drawing/2014/main" id="{883B2D06-E09F-A171-5806-E1B3FDD1A7B0}"/>
              </a:ext>
            </a:extLst>
          </p:cNvPr>
          <p:cNvSpPr>
            <a:spLocks/>
          </p:cNvSpPr>
          <p:nvPr/>
        </p:nvSpPr>
        <p:spPr>
          <a:xfrm>
            <a:off x="643634" y="961502"/>
            <a:ext cx="1350928" cy="347869"/>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Santander Text" panose="020B0504020201020104"/>
                <a:ea typeface="+mn-ea"/>
                <a:cs typeface="+mn-cs"/>
              </a:rPr>
              <a:t>Data Sources</a:t>
            </a:r>
          </a:p>
        </p:txBody>
      </p:sp>
      <p:sp>
        <p:nvSpPr>
          <p:cNvPr id="136" name="Rectangle: Rounded Corners 193">
            <a:extLst>
              <a:ext uri="{FF2B5EF4-FFF2-40B4-BE49-F238E27FC236}">
                <a16:creationId xmlns:a16="http://schemas.microsoft.com/office/drawing/2014/main" id="{2235C3F2-28B3-7675-48D7-F852B030121D}"/>
              </a:ext>
            </a:extLst>
          </p:cNvPr>
          <p:cNvSpPr>
            <a:spLocks/>
          </p:cNvSpPr>
          <p:nvPr/>
        </p:nvSpPr>
        <p:spPr>
          <a:xfrm>
            <a:off x="2847495" y="1679541"/>
            <a:ext cx="8291091" cy="2910235"/>
          </a:xfrm>
          <a:prstGeom prst="roundRect">
            <a:avLst>
              <a:gd name="adj" fmla="val 3636"/>
            </a:avLst>
          </a:prstGeom>
          <a:solidFill>
            <a:srgbClr val="C00000"/>
          </a:solidFill>
          <a:ln w="6350" cap="flat" cmpd="sng" algn="ctr">
            <a:noFill/>
            <a:prstDash val="solid"/>
            <a:miter lim="800000"/>
            <a:headEnd type="none" w="med" len="med"/>
            <a:tailEnd type="none" w="med" len="med"/>
          </a:ln>
          <a:effectLst/>
        </p:spPr>
        <p:txBody>
          <a:bodyPr vert="horz"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a:ln>
                <a:noFill/>
              </a:ln>
              <a:solidFill>
                <a:prstClr val="white"/>
              </a:solidFill>
              <a:effectLst/>
              <a:uLnTx/>
              <a:uFillTx/>
              <a:latin typeface="Santander Text" panose="020B0504020201020104"/>
              <a:ea typeface="+mn-ea"/>
              <a:cs typeface="+mn-cs"/>
            </a:endParaRPr>
          </a:p>
        </p:txBody>
      </p:sp>
      <p:sp>
        <p:nvSpPr>
          <p:cNvPr id="137" name="Rectángulo: esquinas redondeadas 136">
            <a:extLst>
              <a:ext uri="{FF2B5EF4-FFF2-40B4-BE49-F238E27FC236}">
                <a16:creationId xmlns:a16="http://schemas.microsoft.com/office/drawing/2014/main" id="{09D814BE-80A3-3AB4-6922-91F0A7B97DDB}"/>
              </a:ext>
            </a:extLst>
          </p:cNvPr>
          <p:cNvSpPr/>
          <p:nvPr/>
        </p:nvSpPr>
        <p:spPr>
          <a:xfrm>
            <a:off x="2903472" y="1417134"/>
            <a:ext cx="1350928" cy="347869"/>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Santander Text" panose="020B0504020201020104"/>
                <a:ea typeface="+mn-ea"/>
                <a:cs typeface="+mn-cs"/>
              </a:rPr>
              <a:t>FMIS</a:t>
            </a:r>
          </a:p>
        </p:txBody>
      </p:sp>
      <p:sp>
        <p:nvSpPr>
          <p:cNvPr id="138" name="Rectangle: Rounded Corners 1218">
            <a:extLst>
              <a:ext uri="{FF2B5EF4-FFF2-40B4-BE49-F238E27FC236}">
                <a16:creationId xmlns:a16="http://schemas.microsoft.com/office/drawing/2014/main" id="{3A2E01F6-1B4F-39CB-909A-BE15E746E33F}"/>
              </a:ext>
            </a:extLst>
          </p:cNvPr>
          <p:cNvSpPr/>
          <p:nvPr/>
        </p:nvSpPr>
        <p:spPr>
          <a:xfrm>
            <a:off x="3017571" y="1945079"/>
            <a:ext cx="4808376" cy="2526089"/>
          </a:xfrm>
          <a:prstGeom prst="roundRect">
            <a:avLst>
              <a:gd name="adj" fmla="val 5394"/>
            </a:avLst>
          </a:prstGeom>
          <a:solidFill>
            <a:schemeClr val="bg2"/>
          </a:solidFill>
          <a:ln w="12700" cap="flat" cmpd="sng" algn="ctr">
            <a:noFill/>
            <a:prstDash val="solid"/>
            <a:miter lim="800000"/>
          </a:ln>
          <a:effectLst>
            <a:outerShdw blurRad="50800" dist="38100" dir="5400000" algn="t" rotWithShape="0">
              <a:prstClr val="black">
                <a:alpha val="40000"/>
              </a:prstClr>
            </a:outerShdw>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Santander Text" panose="020B0504020201020104"/>
                <a:ea typeface="+mn-ea"/>
                <a:cs typeface="+mn-cs"/>
              </a:rPr>
              <a:t>Process Engine</a:t>
            </a:r>
          </a:p>
        </p:txBody>
      </p:sp>
      <p:pic>
        <p:nvPicPr>
          <p:cNvPr id="34" name="Gráfico 56" descr="Servidor contorno">
            <a:extLst>
              <a:ext uri="{FF2B5EF4-FFF2-40B4-BE49-F238E27FC236}">
                <a16:creationId xmlns:a16="http://schemas.microsoft.com/office/drawing/2014/main" id="{DB2BAA27-4ED5-133F-0F91-C31BDDE4F253}"/>
              </a:ext>
            </a:extLst>
          </p:cNvPr>
          <p:cNvPicPr>
            <a:picLocks noChangeAspect="1"/>
          </p:cNvPicPr>
          <p:nvPr/>
        </p:nvPicPr>
        <p:blipFill>
          <a:blip r:embed="rId3">
            <a:extLst>
              <a:ext uri="{96DAC541-7B7A-43D3-8B79-37D633B846F1}">
                <asvg:svgBlip xmlns:asvg="http://schemas.microsoft.com/office/drawing/2016/SVG/main" r:embed="rId4"/>
              </a:ext>
            </a:extLst>
          </a:blip>
          <a:srcRect b="33102"/>
          <a:stretch>
            <a:fillRect/>
          </a:stretch>
        </p:blipFill>
        <p:spPr>
          <a:xfrm>
            <a:off x="1082808" y="3961523"/>
            <a:ext cx="460124" cy="307815"/>
          </a:xfrm>
          <a:prstGeom prst="rect">
            <a:avLst/>
          </a:prstGeom>
        </p:spPr>
      </p:pic>
      <p:pic>
        <p:nvPicPr>
          <p:cNvPr id="35" name="Gráfico 61" descr="Nube contorno">
            <a:extLst>
              <a:ext uri="{FF2B5EF4-FFF2-40B4-BE49-F238E27FC236}">
                <a16:creationId xmlns:a16="http://schemas.microsoft.com/office/drawing/2014/main" id="{1CE1025B-3B0B-FD3C-653C-475DAC9CD27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9187" y="1885418"/>
            <a:ext cx="367368" cy="367368"/>
          </a:xfrm>
          <a:prstGeom prst="rect">
            <a:avLst/>
          </a:prstGeom>
        </p:spPr>
      </p:pic>
      <p:pic>
        <p:nvPicPr>
          <p:cNvPr id="36" name="Gráfico 1343" descr="Sobre contorno">
            <a:extLst>
              <a:ext uri="{FF2B5EF4-FFF2-40B4-BE49-F238E27FC236}">
                <a16:creationId xmlns:a16="http://schemas.microsoft.com/office/drawing/2014/main" id="{9756481A-E22E-22FA-39EC-D808949334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99742" y="4950475"/>
            <a:ext cx="487582" cy="487582"/>
          </a:xfrm>
          <a:prstGeom prst="rect">
            <a:avLst/>
          </a:prstGeom>
        </p:spPr>
      </p:pic>
      <p:sp>
        <p:nvSpPr>
          <p:cNvPr id="65" name="Arrow: Right 498">
            <a:extLst>
              <a:ext uri="{FF2B5EF4-FFF2-40B4-BE49-F238E27FC236}">
                <a16:creationId xmlns:a16="http://schemas.microsoft.com/office/drawing/2014/main" id="{4D6CB0A0-5AFB-E644-DD53-ABC504BA4D75}"/>
              </a:ext>
            </a:extLst>
          </p:cNvPr>
          <p:cNvSpPr/>
          <p:nvPr/>
        </p:nvSpPr>
        <p:spPr>
          <a:xfrm>
            <a:off x="2212092" y="3043018"/>
            <a:ext cx="887213" cy="715322"/>
          </a:xfrm>
          <a:prstGeom prst="rightArrow">
            <a:avLst/>
          </a:prstGeom>
          <a:solidFill>
            <a:srgbClr val="C00000"/>
          </a:solidFill>
          <a:ln>
            <a:solidFill>
              <a:schemeClr val="tx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Ingestion</a:t>
            </a:r>
          </a:p>
        </p:txBody>
      </p:sp>
      <p:sp>
        <p:nvSpPr>
          <p:cNvPr id="84" name="Rectangle: Rounded Corners 1218">
            <a:extLst>
              <a:ext uri="{FF2B5EF4-FFF2-40B4-BE49-F238E27FC236}">
                <a16:creationId xmlns:a16="http://schemas.microsoft.com/office/drawing/2014/main" id="{1C857DE3-3B7A-9BC1-A4AB-B8652E7637F5}"/>
              </a:ext>
            </a:extLst>
          </p:cNvPr>
          <p:cNvSpPr/>
          <p:nvPr/>
        </p:nvSpPr>
        <p:spPr>
          <a:xfrm>
            <a:off x="8453040" y="2327936"/>
            <a:ext cx="2505182" cy="867400"/>
          </a:xfrm>
          <a:prstGeom prst="roundRect">
            <a:avLst>
              <a:gd name="adj" fmla="val 5394"/>
            </a:avLst>
          </a:prstGeom>
          <a:solidFill>
            <a:schemeClr val="bg2"/>
          </a:solidFill>
          <a:ln w="12700" cap="flat" cmpd="sng" algn="ctr">
            <a:noFill/>
            <a:prstDash val="solid"/>
            <a:miter lim="800000"/>
          </a:ln>
          <a:effectLst>
            <a:outerShdw blurRad="50800" dist="38100" dir="5400000" algn="t" rotWithShape="0">
              <a:prstClr val="black">
                <a:alpha val="40000"/>
              </a:prstClr>
            </a:outerShdw>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Santander Text" panose="020B0504020201020104"/>
                <a:ea typeface="+mn-ea"/>
                <a:cs typeface="+mn-cs"/>
              </a:rPr>
              <a:t>FMIS Oracle D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Santander Text" panose="020B0504020201020104"/>
                <a:ea typeface="+mn-ea"/>
                <a:cs typeface="+mn-cs"/>
              </a:rPr>
              <a:t>(OFSAA)</a:t>
            </a:r>
          </a:p>
        </p:txBody>
      </p:sp>
      <p:grpSp>
        <p:nvGrpSpPr>
          <p:cNvPr id="140" name="Database3" descr="{&quot;Key&quot;:&quot;POWER_USER_SHAPE_ICON&quot;,&quot;Value&quot;:&quot;POWER_USER_SHAPE_ICON_STYLE_1&quot;}">
            <a:extLst>
              <a:ext uri="{FF2B5EF4-FFF2-40B4-BE49-F238E27FC236}">
                <a16:creationId xmlns:a16="http://schemas.microsoft.com/office/drawing/2014/main" id="{DBAA92BA-A361-4B37-325F-2FA58B4DFA73}"/>
              </a:ext>
            </a:extLst>
          </p:cNvPr>
          <p:cNvGrpSpPr>
            <a:grpSpLocks noChangeAspect="1"/>
          </p:cNvGrpSpPr>
          <p:nvPr/>
        </p:nvGrpSpPr>
        <p:grpSpPr>
          <a:xfrm>
            <a:off x="10256929" y="2702165"/>
            <a:ext cx="264993" cy="424592"/>
            <a:chOff x="3805239" y="5622926"/>
            <a:chExt cx="279400" cy="447676"/>
          </a:xfrm>
          <a:solidFill>
            <a:schemeClr val="dk1"/>
          </a:solidFill>
        </p:grpSpPr>
        <p:sp>
          <p:nvSpPr>
            <p:cNvPr id="141" name="Freeform 490">
              <a:extLst>
                <a:ext uri="{FF2B5EF4-FFF2-40B4-BE49-F238E27FC236}">
                  <a16:creationId xmlns:a16="http://schemas.microsoft.com/office/drawing/2014/main" id="{C8460969-C2F7-53E5-019A-6CA68DCB4561}"/>
                </a:ext>
              </a:extLst>
            </p:cNvPr>
            <p:cNvSpPr>
              <a:spLocks noEditPoints="1"/>
            </p:cNvSpPr>
            <p:nvPr/>
          </p:nvSpPr>
          <p:spPr bwMode="auto">
            <a:xfrm>
              <a:off x="3805239" y="5622926"/>
              <a:ext cx="279400" cy="131763"/>
            </a:xfrm>
            <a:custGeom>
              <a:avLst/>
              <a:gdLst>
                <a:gd name="T0" fmla="*/ 184 w 368"/>
                <a:gd name="T1" fmla="*/ 17 h 173"/>
                <a:gd name="T2" fmla="*/ 16 w 368"/>
                <a:gd name="T3" fmla="*/ 86 h 173"/>
                <a:gd name="T4" fmla="*/ 184 w 368"/>
                <a:gd name="T5" fmla="*/ 156 h 173"/>
                <a:gd name="T6" fmla="*/ 351 w 368"/>
                <a:gd name="T7" fmla="*/ 86 h 173"/>
                <a:gd name="T8" fmla="*/ 184 w 368"/>
                <a:gd name="T9" fmla="*/ 17 h 173"/>
                <a:gd name="T10" fmla="*/ 184 w 368"/>
                <a:gd name="T11" fmla="*/ 173 h 173"/>
                <a:gd name="T12" fmla="*/ 0 w 368"/>
                <a:gd name="T13" fmla="*/ 86 h 173"/>
                <a:gd name="T14" fmla="*/ 184 w 368"/>
                <a:gd name="T15" fmla="*/ 0 h 173"/>
                <a:gd name="T16" fmla="*/ 368 w 368"/>
                <a:gd name="T17" fmla="*/ 86 h 173"/>
                <a:gd name="T18" fmla="*/ 184 w 368"/>
                <a:gd name="T1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8" h="173">
                  <a:moveTo>
                    <a:pt x="184" y="17"/>
                  </a:moveTo>
                  <a:cubicBezTo>
                    <a:pt x="84" y="17"/>
                    <a:pt x="16" y="53"/>
                    <a:pt x="16" y="86"/>
                  </a:cubicBezTo>
                  <a:cubicBezTo>
                    <a:pt x="16" y="120"/>
                    <a:pt x="84" y="156"/>
                    <a:pt x="184" y="156"/>
                  </a:cubicBezTo>
                  <a:cubicBezTo>
                    <a:pt x="284" y="156"/>
                    <a:pt x="351" y="120"/>
                    <a:pt x="351" y="86"/>
                  </a:cubicBezTo>
                  <a:cubicBezTo>
                    <a:pt x="351" y="53"/>
                    <a:pt x="284" y="17"/>
                    <a:pt x="184" y="17"/>
                  </a:cubicBezTo>
                  <a:close/>
                  <a:moveTo>
                    <a:pt x="184" y="173"/>
                  </a:moveTo>
                  <a:cubicBezTo>
                    <a:pt x="81" y="173"/>
                    <a:pt x="0" y="135"/>
                    <a:pt x="0" y="86"/>
                  </a:cubicBezTo>
                  <a:cubicBezTo>
                    <a:pt x="0" y="38"/>
                    <a:pt x="81" y="0"/>
                    <a:pt x="184" y="0"/>
                  </a:cubicBezTo>
                  <a:cubicBezTo>
                    <a:pt x="287" y="0"/>
                    <a:pt x="368" y="38"/>
                    <a:pt x="368" y="86"/>
                  </a:cubicBezTo>
                  <a:cubicBezTo>
                    <a:pt x="368" y="135"/>
                    <a:pt x="287" y="173"/>
                    <a:pt x="184" y="17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42" name="Freeform 491">
              <a:extLst>
                <a:ext uri="{FF2B5EF4-FFF2-40B4-BE49-F238E27FC236}">
                  <a16:creationId xmlns:a16="http://schemas.microsoft.com/office/drawing/2014/main" id="{ED2E8C10-F495-2DF3-2688-852645919062}"/>
                </a:ext>
              </a:extLst>
            </p:cNvPr>
            <p:cNvSpPr>
              <a:spLocks/>
            </p:cNvSpPr>
            <p:nvPr/>
          </p:nvSpPr>
          <p:spPr bwMode="auto">
            <a:xfrm>
              <a:off x="3805239" y="5768976"/>
              <a:ext cx="279400" cy="65088"/>
            </a:xfrm>
            <a:custGeom>
              <a:avLst/>
              <a:gdLst>
                <a:gd name="T0" fmla="*/ 184 w 368"/>
                <a:gd name="T1" fmla="*/ 86 h 86"/>
                <a:gd name="T2" fmla="*/ 0 w 368"/>
                <a:gd name="T3" fmla="*/ 0 h 86"/>
                <a:gd name="T4" fmla="*/ 16 w 368"/>
                <a:gd name="T5" fmla="*/ 0 h 86"/>
                <a:gd name="T6" fmla="*/ 184 w 368"/>
                <a:gd name="T7" fmla="*/ 69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3"/>
                    <a:pt x="84" y="69"/>
                    <a:pt x="184" y="69"/>
                  </a:cubicBezTo>
                  <a:cubicBezTo>
                    <a:pt x="284" y="69"/>
                    <a:pt x="351" y="33"/>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43" name="Freeform 492">
              <a:extLst>
                <a:ext uri="{FF2B5EF4-FFF2-40B4-BE49-F238E27FC236}">
                  <a16:creationId xmlns:a16="http://schemas.microsoft.com/office/drawing/2014/main" id="{731914CB-48F9-E664-FF1A-FEBE08B233B2}"/>
                </a:ext>
              </a:extLst>
            </p:cNvPr>
            <p:cNvSpPr>
              <a:spLocks/>
            </p:cNvSpPr>
            <p:nvPr/>
          </p:nvSpPr>
          <p:spPr bwMode="auto">
            <a:xfrm>
              <a:off x="3805239" y="5848351"/>
              <a:ext cx="279400" cy="65088"/>
            </a:xfrm>
            <a:custGeom>
              <a:avLst/>
              <a:gdLst>
                <a:gd name="T0" fmla="*/ 184 w 368"/>
                <a:gd name="T1" fmla="*/ 86 h 86"/>
                <a:gd name="T2" fmla="*/ 0 w 368"/>
                <a:gd name="T3" fmla="*/ 0 h 86"/>
                <a:gd name="T4" fmla="*/ 16 w 368"/>
                <a:gd name="T5" fmla="*/ 0 h 86"/>
                <a:gd name="T6" fmla="*/ 184 w 368"/>
                <a:gd name="T7" fmla="*/ 70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4"/>
                    <a:pt x="84" y="70"/>
                    <a:pt x="184" y="70"/>
                  </a:cubicBezTo>
                  <a:cubicBezTo>
                    <a:pt x="284" y="70"/>
                    <a:pt x="351" y="34"/>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44" name="Freeform 493">
              <a:extLst>
                <a:ext uri="{FF2B5EF4-FFF2-40B4-BE49-F238E27FC236}">
                  <a16:creationId xmlns:a16="http://schemas.microsoft.com/office/drawing/2014/main" id="{5EFEB51E-4CD5-EF73-6DEF-7444A3066F88}"/>
                </a:ext>
              </a:extLst>
            </p:cNvPr>
            <p:cNvSpPr>
              <a:spLocks/>
            </p:cNvSpPr>
            <p:nvPr/>
          </p:nvSpPr>
          <p:spPr bwMode="auto">
            <a:xfrm>
              <a:off x="3805239" y="5689601"/>
              <a:ext cx="279400" cy="304800"/>
            </a:xfrm>
            <a:custGeom>
              <a:avLst/>
              <a:gdLst>
                <a:gd name="T0" fmla="*/ 184 w 368"/>
                <a:gd name="T1" fmla="*/ 400 h 400"/>
                <a:gd name="T2" fmla="*/ 0 w 368"/>
                <a:gd name="T3" fmla="*/ 314 h 400"/>
                <a:gd name="T4" fmla="*/ 0 w 368"/>
                <a:gd name="T5" fmla="*/ 0 h 400"/>
                <a:gd name="T6" fmla="*/ 16 w 368"/>
                <a:gd name="T7" fmla="*/ 0 h 400"/>
                <a:gd name="T8" fmla="*/ 16 w 368"/>
                <a:gd name="T9" fmla="*/ 314 h 400"/>
                <a:gd name="T10" fmla="*/ 184 w 368"/>
                <a:gd name="T11" fmla="*/ 383 h 400"/>
                <a:gd name="T12" fmla="*/ 351 w 368"/>
                <a:gd name="T13" fmla="*/ 314 h 400"/>
                <a:gd name="T14" fmla="*/ 351 w 368"/>
                <a:gd name="T15" fmla="*/ 0 h 400"/>
                <a:gd name="T16" fmla="*/ 368 w 368"/>
                <a:gd name="T17" fmla="*/ 0 h 400"/>
                <a:gd name="T18" fmla="*/ 368 w 368"/>
                <a:gd name="T19" fmla="*/ 314 h 400"/>
                <a:gd name="T20" fmla="*/ 184 w 368"/>
                <a:gd name="T21" fmla="*/ 4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400">
                  <a:moveTo>
                    <a:pt x="184" y="400"/>
                  </a:moveTo>
                  <a:cubicBezTo>
                    <a:pt x="81" y="400"/>
                    <a:pt x="0" y="362"/>
                    <a:pt x="0" y="314"/>
                  </a:cubicBezTo>
                  <a:lnTo>
                    <a:pt x="0" y="0"/>
                  </a:lnTo>
                  <a:lnTo>
                    <a:pt x="16" y="0"/>
                  </a:lnTo>
                  <a:lnTo>
                    <a:pt x="16" y="314"/>
                  </a:lnTo>
                  <a:cubicBezTo>
                    <a:pt x="16" y="347"/>
                    <a:pt x="84" y="383"/>
                    <a:pt x="184" y="383"/>
                  </a:cubicBezTo>
                  <a:cubicBezTo>
                    <a:pt x="284" y="383"/>
                    <a:pt x="351" y="347"/>
                    <a:pt x="351" y="314"/>
                  </a:cubicBezTo>
                  <a:lnTo>
                    <a:pt x="351" y="0"/>
                  </a:lnTo>
                  <a:lnTo>
                    <a:pt x="368" y="0"/>
                  </a:lnTo>
                  <a:lnTo>
                    <a:pt x="368" y="314"/>
                  </a:lnTo>
                  <a:cubicBezTo>
                    <a:pt x="368" y="362"/>
                    <a:pt x="287" y="400"/>
                    <a:pt x="184"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45" name="Freeform 494">
              <a:extLst>
                <a:ext uri="{FF2B5EF4-FFF2-40B4-BE49-F238E27FC236}">
                  <a16:creationId xmlns:a16="http://schemas.microsoft.com/office/drawing/2014/main" id="{38D734F8-BD91-6A54-34AA-D0C6EBA89D0F}"/>
                </a:ext>
              </a:extLst>
            </p:cNvPr>
            <p:cNvSpPr>
              <a:spLocks noEditPoints="1"/>
            </p:cNvSpPr>
            <p:nvPr/>
          </p:nvSpPr>
          <p:spPr bwMode="auto">
            <a:xfrm>
              <a:off x="3905251" y="5778501"/>
              <a:ext cx="80963" cy="15875"/>
            </a:xfrm>
            <a:custGeom>
              <a:avLst/>
              <a:gdLst>
                <a:gd name="T0" fmla="*/ 87 w 106"/>
                <a:gd name="T1" fmla="*/ 3 h 22"/>
                <a:gd name="T2" fmla="*/ 103 w 106"/>
                <a:gd name="T3" fmla="*/ 0 h 22"/>
                <a:gd name="T4" fmla="*/ 106 w 106"/>
                <a:gd name="T5" fmla="*/ 17 h 22"/>
                <a:gd name="T6" fmla="*/ 89 w 106"/>
                <a:gd name="T7" fmla="*/ 20 h 22"/>
                <a:gd name="T8" fmla="*/ 87 w 106"/>
                <a:gd name="T9" fmla="*/ 3 h 22"/>
                <a:gd name="T10" fmla="*/ 8 w 106"/>
                <a:gd name="T11" fmla="*/ 18 h 22"/>
                <a:gd name="T12" fmla="*/ 0 w 106"/>
                <a:gd name="T13" fmla="*/ 17 h 22"/>
                <a:gd name="T14" fmla="*/ 3 w 106"/>
                <a:gd name="T15" fmla="*/ 0 h 22"/>
                <a:gd name="T16" fmla="*/ 19 w 106"/>
                <a:gd name="T17" fmla="*/ 3 h 22"/>
                <a:gd name="T18" fmla="*/ 17 w 106"/>
                <a:gd name="T19" fmla="*/ 20 h 22"/>
                <a:gd name="T20" fmla="*/ 8 w 106"/>
                <a:gd name="T21" fmla="*/ 18 h 22"/>
                <a:gd name="T22" fmla="*/ 45 w 106"/>
                <a:gd name="T23" fmla="*/ 22 h 22"/>
                <a:gd name="T24" fmla="*/ 45 w 106"/>
                <a:gd name="T25" fmla="*/ 5 h 22"/>
                <a:gd name="T26" fmla="*/ 61 w 106"/>
                <a:gd name="T27" fmla="*/ 5 h 22"/>
                <a:gd name="T28" fmla="*/ 61 w 106"/>
                <a:gd name="T29" fmla="*/ 22 h 22"/>
                <a:gd name="T30" fmla="*/ 53 w 106"/>
                <a:gd name="T31" fmla="*/ 22 h 22"/>
                <a:gd name="T32" fmla="*/ 45 w 106"/>
                <a:gd name="T3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2">
                  <a:moveTo>
                    <a:pt x="87" y="3"/>
                  </a:moveTo>
                  <a:lnTo>
                    <a:pt x="103" y="0"/>
                  </a:lnTo>
                  <a:lnTo>
                    <a:pt x="106" y="17"/>
                  </a:lnTo>
                  <a:lnTo>
                    <a:pt x="89" y="20"/>
                  </a:lnTo>
                  <a:lnTo>
                    <a:pt x="87" y="3"/>
                  </a:lnTo>
                  <a:close/>
                  <a:moveTo>
                    <a:pt x="8" y="18"/>
                  </a:moveTo>
                  <a:lnTo>
                    <a:pt x="0" y="17"/>
                  </a:lnTo>
                  <a:lnTo>
                    <a:pt x="3" y="0"/>
                  </a:lnTo>
                  <a:lnTo>
                    <a:pt x="19" y="3"/>
                  </a:lnTo>
                  <a:lnTo>
                    <a:pt x="17" y="20"/>
                  </a:lnTo>
                  <a:lnTo>
                    <a:pt x="8" y="18"/>
                  </a:lnTo>
                  <a:close/>
                  <a:moveTo>
                    <a:pt x="45" y="22"/>
                  </a:moveTo>
                  <a:lnTo>
                    <a:pt x="45" y="5"/>
                  </a:lnTo>
                  <a:lnTo>
                    <a:pt x="61" y="5"/>
                  </a:lnTo>
                  <a:lnTo>
                    <a:pt x="61" y="22"/>
                  </a:lnTo>
                  <a:lnTo>
                    <a:pt x="53" y="22"/>
                  </a:lnTo>
                  <a:lnTo>
                    <a:pt x="45"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46" name="Freeform 495">
              <a:extLst>
                <a:ext uri="{FF2B5EF4-FFF2-40B4-BE49-F238E27FC236}">
                  <a16:creationId xmlns:a16="http://schemas.microsoft.com/office/drawing/2014/main" id="{575CAC14-B049-D93D-06E3-30A63917F1A5}"/>
                </a:ext>
              </a:extLst>
            </p:cNvPr>
            <p:cNvSpPr>
              <a:spLocks/>
            </p:cNvSpPr>
            <p:nvPr/>
          </p:nvSpPr>
          <p:spPr bwMode="auto">
            <a:xfrm>
              <a:off x="3805239" y="5762626"/>
              <a:ext cx="279400" cy="71438"/>
            </a:xfrm>
            <a:custGeom>
              <a:avLst/>
              <a:gdLst>
                <a:gd name="T0" fmla="*/ 184 w 368"/>
                <a:gd name="T1" fmla="*/ 95 h 95"/>
                <a:gd name="T2" fmla="*/ 0 w 368"/>
                <a:gd name="T3" fmla="*/ 9 h 95"/>
                <a:gd name="T4" fmla="*/ 0 w 368"/>
                <a:gd name="T5" fmla="*/ 0 h 95"/>
                <a:gd name="T6" fmla="*/ 16 w 368"/>
                <a:gd name="T7" fmla="*/ 0 h 95"/>
                <a:gd name="T8" fmla="*/ 16 w 368"/>
                <a:gd name="T9" fmla="*/ 9 h 95"/>
                <a:gd name="T10" fmla="*/ 184 w 368"/>
                <a:gd name="T11" fmla="*/ 78 h 95"/>
                <a:gd name="T12" fmla="*/ 351 w 368"/>
                <a:gd name="T13" fmla="*/ 9 h 95"/>
                <a:gd name="T14" fmla="*/ 351 w 368"/>
                <a:gd name="T15" fmla="*/ 0 h 95"/>
                <a:gd name="T16" fmla="*/ 368 w 368"/>
                <a:gd name="T17" fmla="*/ 0 h 95"/>
                <a:gd name="T18" fmla="*/ 368 w 368"/>
                <a:gd name="T19" fmla="*/ 9 h 95"/>
                <a:gd name="T20" fmla="*/ 184 w 368"/>
                <a:gd name="T21"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95">
                  <a:moveTo>
                    <a:pt x="184" y="95"/>
                  </a:moveTo>
                  <a:cubicBezTo>
                    <a:pt x="81" y="95"/>
                    <a:pt x="0" y="57"/>
                    <a:pt x="0" y="9"/>
                  </a:cubicBezTo>
                  <a:lnTo>
                    <a:pt x="0" y="0"/>
                  </a:lnTo>
                  <a:lnTo>
                    <a:pt x="16" y="0"/>
                  </a:lnTo>
                  <a:lnTo>
                    <a:pt x="16" y="9"/>
                  </a:lnTo>
                  <a:cubicBezTo>
                    <a:pt x="16" y="42"/>
                    <a:pt x="84" y="78"/>
                    <a:pt x="184" y="78"/>
                  </a:cubicBezTo>
                  <a:cubicBezTo>
                    <a:pt x="284" y="78"/>
                    <a:pt x="351" y="42"/>
                    <a:pt x="351" y="9"/>
                  </a:cubicBezTo>
                  <a:lnTo>
                    <a:pt x="351" y="0"/>
                  </a:lnTo>
                  <a:lnTo>
                    <a:pt x="368" y="0"/>
                  </a:lnTo>
                  <a:lnTo>
                    <a:pt x="368" y="9"/>
                  </a:lnTo>
                  <a:cubicBezTo>
                    <a:pt x="368" y="57"/>
                    <a:pt x="287" y="95"/>
                    <a:pt x="184" y="9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47" name="Freeform 496">
              <a:extLst>
                <a:ext uri="{FF2B5EF4-FFF2-40B4-BE49-F238E27FC236}">
                  <a16:creationId xmlns:a16="http://schemas.microsoft.com/office/drawing/2014/main" id="{A0B5B5BE-B64C-D1D6-3DA1-995AC96F961D}"/>
                </a:ext>
              </a:extLst>
            </p:cNvPr>
            <p:cNvSpPr>
              <a:spLocks noEditPoints="1"/>
            </p:cNvSpPr>
            <p:nvPr/>
          </p:nvSpPr>
          <p:spPr bwMode="auto">
            <a:xfrm>
              <a:off x="3905251" y="5857876"/>
              <a:ext cx="80963" cy="15875"/>
            </a:xfrm>
            <a:custGeom>
              <a:avLst/>
              <a:gdLst>
                <a:gd name="T0" fmla="*/ 87 w 106"/>
                <a:gd name="T1" fmla="*/ 2 h 21"/>
                <a:gd name="T2" fmla="*/ 95 w 106"/>
                <a:gd name="T3" fmla="*/ 1 h 21"/>
                <a:gd name="T4" fmla="*/ 95 w 106"/>
                <a:gd name="T5" fmla="*/ 1 h 21"/>
                <a:gd name="T6" fmla="*/ 103 w 106"/>
                <a:gd name="T7" fmla="*/ 0 h 21"/>
                <a:gd name="T8" fmla="*/ 106 w 106"/>
                <a:gd name="T9" fmla="*/ 16 h 21"/>
                <a:gd name="T10" fmla="*/ 89 w 106"/>
                <a:gd name="T11" fmla="*/ 19 h 21"/>
                <a:gd name="T12" fmla="*/ 87 w 106"/>
                <a:gd name="T13" fmla="*/ 2 h 21"/>
                <a:gd name="T14" fmla="*/ 8 w 106"/>
                <a:gd name="T15" fmla="*/ 17 h 21"/>
                <a:gd name="T16" fmla="*/ 0 w 106"/>
                <a:gd name="T17" fmla="*/ 16 h 21"/>
                <a:gd name="T18" fmla="*/ 3 w 106"/>
                <a:gd name="T19" fmla="*/ 0 h 21"/>
                <a:gd name="T20" fmla="*/ 19 w 106"/>
                <a:gd name="T21" fmla="*/ 2 h 21"/>
                <a:gd name="T22" fmla="*/ 17 w 106"/>
                <a:gd name="T23" fmla="*/ 19 h 21"/>
                <a:gd name="T24" fmla="*/ 8 w 106"/>
                <a:gd name="T25" fmla="*/ 17 h 21"/>
                <a:gd name="T26" fmla="*/ 45 w 106"/>
                <a:gd name="T27" fmla="*/ 21 h 21"/>
                <a:gd name="T28" fmla="*/ 45 w 106"/>
                <a:gd name="T29" fmla="*/ 4 h 21"/>
                <a:gd name="T30" fmla="*/ 61 w 106"/>
                <a:gd name="T31" fmla="*/ 4 h 21"/>
                <a:gd name="T32" fmla="*/ 61 w 106"/>
                <a:gd name="T33" fmla="*/ 21 h 21"/>
                <a:gd name="T34" fmla="*/ 53 w 106"/>
                <a:gd name="T35" fmla="*/ 21 h 21"/>
                <a:gd name="T36" fmla="*/ 45 w 106"/>
                <a:gd name="T3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1">
                  <a:moveTo>
                    <a:pt x="87" y="2"/>
                  </a:moveTo>
                  <a:lnTo>
                    <a:pt x="95" y="1"/>
                  </a:lnTo>
                  <a:lnTo>
                    <a:pt x="95" y="1"/>
                  </a:lnTo>
                  <a:lnTo>
                    <a:pt x="103" y="0"/>
                  </a:lnTo>
                  <a:lnTo>
                    <a:pt x="106" y="16"/>
                  </a:lnTo>
                  <a:lnTo>
                    <a:pt x="89" y="19"/>
                  </a:lnTo>
                  <a:lnTo>
                    <a:pt x="87" y="2"/>
                  </a:lnTo>
                  <a:close/>
                  <a:moveTo>
                    <a:pt x="8" y="17"/>
                  </a:moveTo>
                  <a:lnTo>
                    <a:pt x="0" y="16"/>
                  </a:lnTo>
                  <a:lnTo>
                    <a:pt x="3" y="0"/>
                  </a:lnTo>
                  <a:lnTo>
                    <a:pt x="19" y="2"/>
                  </a:lnTo>
                  <a:lnTo>
                    <a:pt x="17" y="19"/>
                  </a:lnTo>
                  <a:lnTo>
                    <a:pt x="8" y="17"/>
                  </a:lnTo>
                  <a:close/>
                  <a:moveTo>
                    <a:pt x="45" y="21"/>
                  </a:moveTo>
                  <a:lnTo>
                    <a:pt x="45" y="4"/>
                  </a:lnTo>
                  <a:lnTo>
                    <a:pt x="61" y="4"/>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49" name="Freeform 497">
              <a:extLst>
                <a:ext uri="{FF2B5EF4-FFF2-40B4-BE49-F238E27FC236}">
                  <a16:creationId xmlns:a16="http://schemas.microsoft.com/office/drawing/2014/main" id="{34559EFF-87EB-2EC4-B87F-2A8269F7394F}"/>
                </a:ext>
              </a:extLst>
            </p:cNvPr>
            <p:cNvSpPr>
              <a:spLocks noEditPoints="1"/>
            </p:cNvSpPr>
            <p:nvPr/>
          </p:nvSpPr>
          <p:spPr bwMode="auto">
            <a:xfrm>
              <a:off x="3905251" y="5937251"/>
              <a:ext cx="80963" cy="15875"/>
            </a:xfrm>
            <a:custGeom>
              <a:avLst/>
              <a:gdLst>
                <a:gd name="T0" fmla="*/ 87 w 106"/>
                <a:gd name="T1" fmla="*/ 3 h 21"/>
                <a:gd name="T2" fmla="*/ 103 w 106"/>
                <a:gd name="T3" fmla="*/ 0 h 21"/>
                <a:gd name="T4" fmla="*/ 106 w 106"/>
                <a:gd name="T5" fmla="*/ 16 h 21"/>
                <a:gd name="T6" fmla="*/ 89 w 106"/>
                <a:gd name="T7" fmla="*/ 19 h 21"/>
                <a:gd name="T8" fmla="*/ 87 w 106"/>
                <a:gd name="T9" fmla="*/ 3 h 21"/>
                <a:gd name="T10" fmla="*/ 8 w 106"/>
                <a:gd name="T11" fmla="*/ 18 h 21"/>
                <a:gd name="T12" fmla="*/ 0 w 106"/>
                <a:gd name="T13" fmla="*/ 16 h 21"/>
                <a:gd name="T14" fmla="*/ 3 w 106"/>
                <a:gd name="T15" fmla="*/ 0 h 21"/>
                <a:gd name="T16" fmla="*/ 19 w 106"/>
                <a:gd name="T17" fmla="*/ 3 h 21"/>
                <a:gd name="T18" fmla="*/ 17 w 106"/>
                <a:gd name="T19" fmla="*/ 19 h 21"/>
                <a:gd name="T20" fmla="*/ 8 w 106"/>
                <a:gd name="T21" fmla="*/ 18 h 21"/>
                <a:gd name="T22" fmla="*/ 45 w 106"/>
                <a:gd name="T23" fmla="*/ 21 h 21"/>
                <a:gd name="T24" fmla="*/ 45 w 106"/>
                <a:gd name="T25" fmla="*/ 5 h 21"/>
                <a:gd name="T26" fmla="*/ 61 w 106"/>
                <a:gd name="T27" fmla="*/ 5 h 21"/>
                <a:gd name="T28" fmla="*/ 61 w 106"/>
                <a:gd name="T29" fmla="*/ 21 h 21"/>
                <a:gd name="T30" fmla="*/ 53 w 106"/>
                <a:gd name="T31" fmla="*/ 21 h 21"/>
                <a:gd name="T32" fmla="*/ 45 w 106"/>
                <a:gd name="T3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1">
                  <a:moveTo>
                    <a:pt x="87" y="3"/>
                  </a:moveTo>
                  <a:lnTo>
                    <a:pt x="103" y="0"/>
                  </a:lnTo>
                  <a:lnTo>
                    <a:pt x="106" y="16"/>
                  </a:lnTo>
                  <a:lnTo>
                    <a:pt x="89" y="19"/>
                  </a:lnTo>
                  <a:lnTo>
                    <a:pt x="87" y="3"/>
                  </a:lnTo>
                  <a:close/>
                  <a:moveTo>
                    <a:pt x="8" y="18"/>
                  </a:moveTo>
                  <a:lnTo>
                    <a:pt x="0" y="16"/>
                  </a:lnTo>
                  <a:lnTo>
                    <a:pt x="3" y="0"/>
                  </a:lnTo>
                  <a:lnTo>
                    <a:pt x="19" y="3"/>
                  </a:lnTo>
                  <a:lnTo>
                    <a:pt x="17" y="19"/>
                  </a:lnTo>
                  <a:lnTo>
                    <a:pt x="8" y="18"/>
                  </a:lnTo>
                  <a:close/>
                  <a:moveTo>
                    <a:pt x="45" y="21"/>
                  </a:moveTo>
                  <a:lnTo>
                    <a:pt x="45" y="5"/>
                  </a:lnTo>
                  <a:lnTo>
                    <a:pt x="61" y="5"/>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54" name="Rectangle 498">
              <a:extLst>
                <a:ext uri="{FF2B5EF4-FFF2-40B4-BE49-F238E27FC236}">
                  <a16:creationId xmlns:a16="http://schemas.microsoft.com/office/drawing/2014/main" id="{1FA34E75-3547-FD3C-4AFA-E0C65FFA816E}"/>
                </a:ext>
              </a:extLst>
            </p:cNvPr>
            <p:cNvSpPr>
              <a:spLocks noChangeArrowheads="1"/>
            </p:cNvSpPr>
            <p:nvPr/>
          </p:nvSpPr>
          <p:spPr bwMode="auto">
            <a:xfrm>
              <a:off x="3938589" y="5980114"/>
              <a:ext cx="12700"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55" name="Rectangle 499">
              <a:extLst>
                <a:ext uri="{FF2B5EF4-FFF2-40B4-BE49-F238E27FC236}">
                  <a16:creationId xmlns:a16="http://schemas.microsoft.com/office/drawing/2014/main" id="{C8B2960D-3E61-3311-37F7-3C9ED78CD6C9}"/>
                </a:ext>
              </a:extLst>
            </p:cNvPr>
            <p:cNvSpPr>
              <a:spLocks noChangeArrowheads="1"/>
            </p:cNvSpPr>
            <p:nvPr/>
          </p:nvSpPr>
          <p:spPr bwMode="auto">
            <a:xfrm>
              <a:off x="38052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56" name="Freeform 500">
              <a:extLst>
                <a:ext uri="{FF2B5EF4-FFF2-40B4-BE49-F238E27FC236}">
                  <a16:creationId xmlns:a16="http://schemas.microsoft.com/office/drawing/2014/main" id="{06F511D7-CD6D-6589-6966-171B54E8B533}"/>
                </a:ext>
              </a:extLst>
            </p:cNvPr>
            <p:cNvSpPr>
              <a:spLocks noEditPoints="1"/>
            </p:cNvSpPr>
            <p:nvPr/>
          </p:nvSpPr>
          <p:spPr bwMode="auto">
            <a:xfrm>
              <a:off x="3919539" y="6018214"/>
              <a:ext cx="50800" cy="52388"/>
            </a:xfrm>
            <a:custGeom>
              <a:avLst/>
              <a:gdLst>
                <a:gd name="T0" fmla="*/ 34 w 68"/>
                <a:gd name="T1" fmla="*/ 16 h 68"/>
                <a:gd name="T2" fmla="*/ 16 w 68"/>
                <a:gd name="T3" fmla="*/ 34 h 68"/>
                <a:gd name="T4" fmla="*/ 34 w 68"/>
                <a:gd name="T5" fmla="*/ 51 h 68"/>
                <a:gd name="T6" fmla="*/ 51 w 68"/>
                <a:gd name="T7" fmla="*/ 34 h 68"/>
                <a:gd name="T8" fmla="*/ 34 w 68"/>
                <a:gd name="T9" fmla="*/ 16 h 68"/>
                <a:gd name="T10" fmla="*/ 34 w 68"/>
                <a:gd name="T11" fmla="*/ 68 h 68"/>
                <a:gd name="T12" fmla="*/ 0 w 68"/>
                <a:gd name="T13" fmla="*/ 34 h 68"/>
                <a:gd name="T14" fmla="*/ 34 w 68"/>
                <a:gd name="T15" fmla="*/ 0 h 68"/>
                <a:gd name="T16" fmla="*/ 68 w 68"/>
                <a:gd name="T17" fmla="*/ 34 h 68"/>
                <a:gd name="T18" fmla="*/ 34 w 68"/>
                <a:gd name="T1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16"/>
                  </a:moveTo>
                  <a:cubicBezTo>
                    <a:pt x="24" y="16"/>
                    <a:pt x="16" y="24"/>
                    <a:pt x="16" y="34"/>
                  </a:cubicBezTo>
                  <a:cubicBezTo>
                    <a:pt x="16" y="43"/>
                    <a:pt x="24" y="51"/>
                    <a:pt x="34" y="51"/>
                  </a:cubicBezTo>
                  <a:cubicBezTo>
                    <a:pt x="43" y="51"/>
                    <a:pt x="51" y="43"/>
                    <a:pt x="51" y="34"/>
                  </a:cubicBezTo>
                  <a:cubicBezTo>
                    <a:pt x="51" y="24"/>
                    <a:pt x="43" y="16"/>
                    <a:pt x="34" y="16"/>
                  </a:cubicBezTo>
                  <a:close/>
                  <a:moveTo>
                    <a:pt x="34" y="68"/>
                  </a:moveTo>
                  <a:cubicBezTo>
                    <a:pt x="15" y="68"/>
                    <a:pt x="0" y="52"/>
                    <a:pt x="0" y="34"/>
                  </a:cubicBezTo>
                  <a:cubicBezTo>
                    <a:pt x="0" y="15"/>
                    <a:pt x="15" y="0"/>
                    <a:pt x="34" y="0"/>
                  </a:cubicBezTo>
                  <a:cubicBezTo>
                    <a:pt x="53" y="0"/>
                    <a:pt x="68" y="15"/>
                    <a:pt x="68" y="34"/>
                  </a:cubicBezTo>
                  <a:cubicBezTo>
                    <a:pt x="68" y="52"/>
                    <a:pt x="53" y="68"/>
                    <a:pt x="34" y="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57" name="Rectangle 501">
              <a:extLst>
                <a:ext uri="{FF2B5EF4-FFF2-40B4-BE49-F238E27FC236}">
                  <a16:creationId xmlns:a16="http://schemas.microsoft.com/office/drawing/2014/main" id="{2036A229-1D13-38DB-0A06-1B7C153C1752}"/>
                </a:ext>
              </a:extLst>
            </p:cNvPr>
            <p:cNvSpPr>
              <a:spLocks noChangeArrowheads="1"/>
            </p:cNvSpPr>
            <p:nvPr/>
          </p:nvSpPr>
          <p:spPr bwMode="auto">
            <a:xfrm>
              <a:off x="39576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grpSp>
      <p:grpSp>
        <p:nvGrpSpPr>
          <p:cNvPr id="97" name="Grupo 96">
            <a:extLst>
              <a:ext uri="{FF2B5EF4-FFF2-40B4-BE49-F238E27FC236}">
                <a16:creationId xmlns:a16="http://schemas.microsoft.com/office/drawing/2014/main" id="{F02E0527-D3EA-E398-BDEF-009979E16D74}"/>
              </a:ext>
            </a:extLst>
          </p:cNvPr>
          <p:cNvGrpSpPr/>
          <p:nvPr/>
        </p:nvGrpSpPr>
        <p:grpSpPr>
          <a:xfrm>
            <a:off x="9850096" y="3754061"/>
            <a:ext cx="1119787" cy="717107"/>
            <a:chOff x="9566990" y="3172870"/>
            <a:chExt cx="1119787" cy="717107"/>
          </a:xfrm>
        </p:grpSpPr>
        <p:sp>
          <p:nvSpPr>
            <p:cNvPr id="90" name="Rectangle: Rounded Corners 1218">
              <a:extLst>
                <a:ext uri="{FF2B5EF4-FFF2-40B4-BE49-F238E27FC236}">
                  <a16:creationId xmlns:a16="http://schemas.microsoft.com/office/drawing/2014/main" id="{368F5AE9-55A0-A13D-E455-63F749473F3C}"/>
                </a:ext>
              </a:extLst>
            </p:cNvPr>
            <p:cNvSpPr/>
            <p:nvPr/>
          </p:nvSpPr>
          <p:spPr>
            <a:xfrm>
              <a:off x="9566990" y="3172870"/>
              <a:ext cx="1119787" cy="717107"/>
            </a:xfrm>
            <a:prstGeom prst="roundRect">
              <a:avLst>
                <a:gd name="adj" fmla="val 5394"/>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black"/>
                  </a:solidFill>
                  <a:effectLst/>
                  <a:uLnTx/>
                  <a:uFillTx/>
                  <a:latin typeface="Santander Text" panose="020B0504020201020104"/>
                  <a:ea typeface="+mn-ea"/>
                  <a:cs typeface="+mn-cs"/>
                </a:rPr>
                <a:t>Reports</a:t>
              </a:r>
            </a:p>
          </p:txBody>
        </p:sp>
        <p:grpSp>
          <p:nvGrpSpPr>
            <p:cNvPr id="159" name="Analytics25" descr="{&quot;Key&quot;:&quot;POWER_USER_SHAPE_ICON&quot;,&quot;Value&quot;:&quot;POWER_USER_SHAPE_ICON_STYLE_1&quot;}">
              <a:extLst>
                <a:ext uri="{FF2B5EF4-FFF2-40B4-BE49-F238E27FC236}">
                  <a16:creationId xmlns:a16="http://schemas.microsoft.com/office/drawing/2014/main" id="{7E600D34-886C-7262-3D36-5A701AB8EC1E}"/>
                </a:ext>
              </a:extLst>
            </p:cNvPr>
            <p:cNvGrpSpPr>
              <a:grpSpLocks noChangeAspect="1"/>
            </p:cNvGrpSpPr>
            <p:nvPr/>
          </p:nvGrpSpPr>
          <p:grpSpPr>
            <a:xfrm>
              <a:off x="10050979" y="3415520"/>
              <a:ext cx="256968" cy="337201"/>
              <a:chOff x="4452938" y="3203575"/>
              <a:chExt cx="400050" cy="495300"/>
            </a:xfrm>
            <a:solidFill>
              <a:schemeClr val="dk1"/>
            </a:solidFill>
          </p:grpSpPr>
          <p:sp>
            <p:nvSpPr>
              <p:cNvPr id="161" name="Freeform 628">
                <a:extLst>
                  <a:ext uri="{FF2B5EF4-FFF2-40B4-BE49-F238E27FC236}">
                    <a16:creationId xmlns:a16="http://schemas.microsoft.com/office/drawing/2014/main" id="{D8394C50-C2E5-EC5F-3C7D-76920C8D72B0}"/>
                  </a:ext>
                </a:extLst>
              </p:cNvPr>
              <p:cNvSpPr>
                <a:spLocks/>
              </p:cNvSpPr>
              <p:nvPr/>
            </p:nvSpPr>
            <p:spPr bwMode="auto">
              <a:xfrm>
                <a:off x="4452938" y="3203575"/>
                <a:ext cx="355600" cy="495300"/>
              </a:xfrm>
              <a:custGeom>
                <a:avLst/>
                <a:gdLst>
                  <a:gd name="T0" fmla="*/ 382 w 389"/>
                  <a:gd name="T1" fmla="*/ 543 h 543"/>
                  <a:gd name="T2" fmla="*/ 8 w 389"/>
                  <a:gd name="T3" fmla="*/ 543 h 543"/>
                  <a:gd name="T4" fmla="*/ 0 w 389"/>
                  <a:gd name="T5" fmla="*/ 536 h 543"/>
                  <a:gd name="T6" fmla="*/ 0 w 389"/>
                  <a:gd name="T7" fmla="*/ 7 h 543"/>
                  <a:gd name="T8" fmla="*/ 8 w 389"/>
                  <a:gd name="T9" fmla="*/ 0 h 543"/>
                  <a:gd name="T10" fmla="*/ 382 w 389"/>
                  <a:gd name="T11" fmla="*/ 0 h 543"/>
                  <a:gd name="T12" fmla="*/ 389 w 389"/>
                  <a:gd name="T13" fmla="*/ 7 h 543"/>
                  <a:gd name="T14" fmla="*/ 389 w 389"/>
                  <a:gd name="T15" fmla="*/ 389 h 543"/>
                  <a:gd name="T16" fmla="*/ 382 w 389"/>
                  <a:gd name="T17" fmla="*/ 396 h 543"/>
                  <a:gd name="T18" fmla="*/ 374 w 389"/>
                  <a:gd name="T19" fmla="*/ 389 h 543"/>
                  <a:gd name="T20" fmla="*/ 374 w 389"/>
                  <a:gd name="T21" fmla="*/ 14 h 543"/>
                  <a:gd name="T22" fmla="*/ 15 w 389"/>
                  <a:gd name="T23" fmla="*/ 14 h 543"/>
                  <a:gd name="T24" fmla="*/ 15 w 389"/>
                  <a:gd name="T25" fmla="*/ 529 h 543"/>
                  <a:gd name="T26" fmla="*/ 374 w 389"/>
                  <a:gd name="T27" fmla="*/ 529 h 543"/>
                  <a:gd name="T28" fmla="*/ 374 w 389"/>
                  <a:gd name="T29" fmla="*/ 518 h 543"/>
                  <a:gd name="T30" fmla="*/ 382 w 389"/>
                  <a:gd name="T31" fmla="*/ 511 h 543"/>
                  <a:gd name="T32" fmla="*/ 389 w 389"/>
                  <a:gd name="T33" fmla="*/ 518 h 543"/>
                  <a:gd name="T34" fmla="*/ 389 w 389"/>
                  <a:gd name="T35" fmla="*/ 536 h 543"/>
                  <a:gd name="T36" fmla="*/ 382 w 389"/>
                  <a:gd name="T37" fmla="*/ 54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543">
                    <a:moveTo>
                      <a:pt x="382" y="543"/>
                    </a:moveTo>
                    <a:lnTo>
                      <a:pt x="8" y="543"/>
                    </a:lnTo>
                    <a:cubicBezTo>
                      <a:pt x="4" y="543"/>
                      <a:pt x="0" y="540"/>
                      <a:pt x="0" y="536"/>
                    </a:cubicBezTo>
                    <a:lnTo>
                      <a:pt x="0" y="7"/>
                    </a:lnTo>
                    <a:cubicBezTo>
                      <a:pt x="0" y="3"/>
                      <a:pt x="4" y="0"/>
                      <a:pt x="8" y="0"/>
                    </a:cubicBezTo>
                    <a:lnTo>
                      <a:pt x="382" y="0"/>
                    </a:lnTo>
                    <a:cubicBezTo>
                      <a:pt x="386" y="0"/>
                      <a:pt x="389" y="3"/>
                      <a:pt x="389" y="7"/>
                    </a:cubicBezTo>
                    <a:lnTo>
                      <a:pt x="389" y="389"/>
                    </a:lnTo>
                    <a:cubicBezTo>
                      <a:pt x="389" y="393"/>
                      <a:pt x="386" y="396"/>
                      <a:pt x="382" y="396"/>
                    </a:cubicBezTo>
                    <a:cubicBezTo>
                      <a:pt x="378" y="396"/>
                      <a:pt x="374" y="393"/>
                      <a:pt x="374" y="389"/>
                    </a:cubicBezTo>
                    <a:lnTo>
                      <a:pt x="374" y="14"/>
                    </a:lnTo>
                    <a:lnTo>
                      <a:pt x="15" y="14"/>
                    </a:lnTo>
                    <a:lnTo>
                      <a:pt x="15" y="529"/>
                    </a:lnTo>
                    <a:lnTo>
                      <a:pt x="374" y="529"/>
                    </a:lnTo>
                    <a:lnTo>
                      <a:pt x="374" y="518"/>
                    </a:lnTo>
                    <a:cubicBezTo>
                      <a:pt x="374" y="514"/>
                      <a:pt x="378" y="511"/>
                      <a:pt x="382" y="511"/>
                    </a:cubicBezTo>
                    <a:cubicBezTo>
                      <a:pt x="386" y="511"/>
                      <a:pt x="389" y="514"/>
                      <a:pt x="389" y="518"/>
                    </a:cubicBezTo>
                    <a:lnTo>
                      <a:pt x="389" y="536"/>
                    </a:lnTo>
                    <a:cubicBezTo>
                      <a:pt x="389" y="540"/>
                      <a:pt x="386" y="543"/>
                      <a:pt x="382" y="5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62" name="Freeform 629">
                <a:extLst>
                  <a:ext uri="{FF2B5EF4-FFF2-40B4-BE49-F238E27FC236}">
                    <a16:creationId xmlns:a16="http://schemas.microsoft.com/office/drawing/2014/main" id="{84A7B3F9-293A-520C-C3D4-BB21F445F4C3}"/>
                  </a:ext>
                </a:extLst>
              </p:cNvPr>
              <p:cNvSpPr>
                <a:spLocks noEditPoints="1"/>
              </p:cNvSpPr>
              <p:nvPr/>
            </p:nvSpPr>
            <p:spPr bwMode="auto">
              <a:xfrm>
                <a:off x="4741863" y="3562350"/>
                <a:ext cx="111125" cy="109538"/>
              </a:xfrm>
              <a:custGeom>
                <a:avLst/>
                <a:gdLst>
                  <a:gd name="T0" fmla="*/ 13 w 121"/>
                  <a:gd name="T1" fmla="*/ 30 h 120"/>
                  <a:gd name="T2" fmla="*/ 13 w 121"/>
                  <a:gd name="T3" fmla="*/ 30 h 120"/>
                  <a:gd name="T4" fmla="*/ 16 w 121"/>
                  <a:gd name="T5" fmla="*/ 33 h 120"/>
                  <a:gd name="T6" fmla="*/ 85 w 121"/>
                  <a:gd name="T7" fmla="*/ 102 h 120"/>
                  <a:gd name="T8" fmla="*/ 101 w 121"/>
                  <a:gd name="T9" fmla="*/ 102 h 120"/>
                  <a:gd name="T10" fmla="*/ 101 w 121"/>
                  <a:gd name="T11" fmla="*/ 86 h 120"/>
                  <a:gd name="T12" fmla="*/ 32 w 121"/>
                  <a:gd name="T13" fmla="*/ 17 h 120"/>
                  <a:gd name="T14" fmla="*/ 16 w 121"/>
                  <a:gd name="T15" fmla="*/ 33 h 120"/>
                  <a:gd name="T16" fmla="*/ 93 w 121"/>
                  <a:gd name="T17" fmla="*/ 120 h 120"/>
                  <a:gd name="T18" fmla="*/ 75 w 121"/>
                  <a:gd name="T19" fmla="*/ 112 h 120"/>
                  <a:gd name="T20" fmla="*/ 3 w 121"/>
                  <a:gd name="T21" fmla="*/ 40 h 120"/>
                  <a:gd name="T22" fmla="*/ 0 w 121"/>
                  <a:gd name="T23" fmla="*/ 33 h 120"/>
                  <a:gd name="T24" fmla="*/ 3 w 121"/>
                  <a:gd name="T25" fmla="*/ 25 h 120"/>
                  <a:gd name="T26" fmla="*/ 24 w 121"/>
                  <a:gd name="T27" fmla="*/ 4 h 120"/>
                  <a:gd name="T28" fmla="*/ 40 w 121"/>
                  <a:gd name="T29" fmla="*/ 4 h 120"/>
                  <a:gd name="T30" fmla="*/ 111 w 121"/>
                  <a:gd name="T31" fmla="*/ 75 h 120"/>
                  <a:gd name="T32" fmla="*/ 111 w 121"/>
                  <a:gd name="T33" fmla="*/ 112 h 120"/>
                  <a:gd name="T34" fmla="*/ 93 w 121"/>
                  <a:gd name="T3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120">
                    <a:moveTo>
                      <a:pt x="13" y="30"/>
                    </a:moveTo>
                    <a:lnTo>
                      <a:pt x="13" y="30"/>
                    </a:lnTo>
                    <a:close/>
                    <a:moveTo>
                      <a:pt x="16" y="33"/>
                    </a:moveTo>
                    <a:lnTo>
                      <a:pt x="85" y="102"/>
                    </a:lnTo>
                    <a:cubicBezTo>
                      <a:pt x="89" y="106"/>
                      <a:pt x="97" y="106"/>
                      <a:pt x="101" y="102"/>
                    </a:cubicBezTo>
                    <a:cubicBezTo>
                      <a:pt x="105" y="97"/>
                      <a:pt x="105" y="90"/>
                      <a:pt x="101" y="86"/>
                    </a:cubicBezTo>
                    <a:lnTo>
                      <a:pt x="32" y="17"/>
                    </a:lnTo>
                    <a:lnTo>
                      <a:pt x="16" y="33"/>
                    </a:lnTo>
                    <a:close/>
                    <a:moveTo>
                      <a:pt x="93" y="120"/>
                    </a:moveTo>
                    <a:cubicBezTo>
                      <a:pt x="86" y="120"/>
                      <a:pt x="80" y="117"/>
                      <a:pt x="75" y="112"/>
                    </a:cubicBezTo>
                    <a:lnTo>
                      <a:pt x="3" y="40"/>
                    </a:lnTo>
                    <a:cubicBezTo>
                      <a:pt x="1" y="38"/>
                      <a:pt x="0" y="35"/>
                      <a:pt x="0" y="33"/>
                    </a:cubicBezTo>
                    <a:cubicBezTo>
                      <a:pt x="0" y="30"/>
                      <a:pt x="1" y="27"/>
                      <a:pt x="3" y="25"/>
                    </a:cubicBezTo>
                    <a:lnTo>
                      <a:pt x="24" y="4"/>
                    </a:lnTo>
                    <a:cubicBezTo>
                      <a:pt x="28" y="0"/>
                      <a:pt x="35" y="0"/>
                      <a:pt x="40" y="4"/>
                    </a:cubicBezTo>
                    <a:lnTo>
                      <a:pt x="111" y="75"/>
                    </a:lnTo>
                    <a:cubicBezTo>
                      <a:pt x="121" y="86"/>
                      <a:pt x="121" y="102"/>
                      <a:pt x="111" y="112"/>
                    </a:cubicBezTo>
                    <a:cubicBezTo>
                      <a:pt x="106" y="117"/>
                      <a:pt x="100" y="120"/>
                      <a:pt x="93" y="1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63" name="Freeform 630">
                <a:extLst>
                  <a:ext uri="{FF2B5EF4-FFF2-40B4-BE49-F238E27FC236}">
                    <a16:creationId xmlns:a16="http://schemas.microsoft.com/office/drawing/2014/main" id="{AE1AE7A3-DF42-A43E-4DBB-39183C8D7310}"/>
                  </a:ext>
                </a:extLst>
              </p:cNvPr>
              <p:cNvSpPr>
                <a:spLocks/>
              </p:cNvSpPr>
              <p:nvPr/>
            </p:nvSpPr>
            <p:spPr bwMode="auto">
              <a:xfrm>
                <a:off x="4729163" y="3549650"/>
                <a:ext cx="44450" cy="44450"/>
              </a:xfrm>
              <a:custGeom>
                <a:avLst/>
                <a:gdLst>
                  <a:gd name="T0" fmla="*/ 25 w 49"/>
                  <a:gd name="T1" fmla="*/ 48 h 48"/>
                  <a:gd name="T2" fmla="*/ 19 w 49"/>
                  <a:gd name="T3" fmla="*/ 46 h 48"/>
                  <a:gd name="T4" fmla="*/ 3 w 49"/>
                  <a:gd name="T5" fmla="*/ 30 h 48"/>
                  <a:gd name="T6" fmla="*/ 3 w 49"/>
                  <a:gd name="T7" fmla="*/ 20 h 48"/>
                  <a:gd name="T8" fmla="*/ 14 w 49"/>
                  <a:gd name="T9" fmla="*/ 20 h 48"/>
                  <a:gd name="T10" fmla="*/ 25 w 49"/>
                  <a:gd name="T11" fmla="*/ 30 h 48"/>
                  <a:gd name="T12" fmla="*/ 31 w 49"/>
                  <a:gd name="T13" fmla="*/ 24 h 48"/>
                  <a:gd name="T14" fmla="*/ 20 w 49"/>
                  <a:gd name="T15" fmla="*/ 13 h 48"/>
                  <a:gd name="T16" fmla="*/ 20 w 49"/>
                  <a:gd name="T17" fmla="*/ 3 h 48"/>
                  <a:gd name="T18" fmla="*/ 30 w 49"/>
                  <a:gd name="T19" fmla="*/ 3 h 48"/>
                  <a:gd name="T20" fmla="*/ 46 w 49"/>
                  <a:gd name="T21" fmla="*/ 19 h 48"/>
                  <a:gd name="T22" fmla="*/ 46 w 49"/>
                  <a:gd name="T23" fmla="*/ 29 h 48"/>
                  <a:gd name="T24" fmla="*/ 30 w 49"/>
                  <a:gd name="T25" fmla="*/ 46 h 48"/>
                  <a:gd name="T26" fmla="*/ 25 w 49"/>
                  <a:gd name="T2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48">
                    <a:moveTo>
                      <a:pt x="25" y="48"/>
                    </a:moveTo>
                    <a:cubicBezTo>
                      <a:pt x="23" y="48"/>
                      <a:pt x="21" y="47"/>
                      <a:pt x="19" y="46"/>
                    </a:cubicBezTo>
                    <a:lnTo>
                      <a:pt x="3" y="30"/>
                    </a:lnTo>
                    <a:cubicBezTo>
                      <a:pt x="0" y="27"/>
                      <a:pt x="0" y="22"/>
                      <a:pt x="3" y="20"/>
                    </a:cubicBezTo>
                    <a:cubicBezTo>
                      <a:pt x="6" y="17"/>
                      <a:pt x="11" y="17"/>
                      <a:pt x="14" y="20"/>
                    </a:cubicBezTo>
                    <a:lnTo>
                      <a:pt x="25" y="30"/>
                    </a:lnTo>
                    <a:lnTo>
                      <a:pt x="31" y="24"/>
                    </a:lnTo>
                    <a:lnTo>
                      <a:pt x="20" y="13"/>
                    </a:lnTo>
                    <a:cubicBezTo>
                      <a:pt x="17" y="10"/>
                      <a:pt x="17" y="6"/>
                      <a:pt x="20" y="3"/>
                    </a:cubicBezTo>
                    <a:cubicBezTo>
                      <a:pt x="23" y="0"/>
                      <a:pt x="27" y="0"/>
                      <a:pt x="30" y="3"/>
                    </a:cubicBezTo>
                    <a:lnTo>
                      <a:pt x="46" y="19"/>
                    </a:lnTo>
                    <a:cubicBezTo>
                      <a:pt x="49" y="22"/>
                      <a:pt x="49" y="27"/>
                      <a:pt x="46" y="29"/>
                    </a:cubicBezTo>
                    <a:lnTo>
                      <a:pt x="30" y="46"/>
                    </a:lnTo>
                    <a:cubicBezTo>
                      <a:pt x="28" y="47"/>
                      <a:pt x="26" y="48"/>
                      <a:pt x="25"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64" name="Freeform 631">
                <a:extLst>
                  <a:ext uri="{FF2B5EF4-FFF2-40B4-BE49-F238E27FC236}">
                    <a16:creationId xmlns:a16="http://schemas.microsoft.com/office/drawing/2014/main" id="{0BCA25A0-42A2-5112-EB2F-AF864F36C79E}"/>
                  </a:ext>
                </a:extLst>
              </p:cNvPr>
              <p:cNvSpPr>
                <a:spLocks noEditPoints="1"/>
              </p:cNvSpPr>
              <p:nvPr/>
            </p:nvSpPr>
            <p:spPr bwMode="auto">
              <a:xfrm>
                <a:off x="4594226" y="3414713"/>
                <a:ext cx="188913" cy="180975"/>
              </a:xfrm>
              <a:custGeom>
                <a:avLst/>
                <a:gdLst>
                  <a:gd name="T0" fmla="*/ 104 w 207"/>
                  <a:gd name="T1" fmla="*/ 23 h 198"/>
                  <a:gd name="T2" fmla="*/ 47 w 207"/>
                  <a:gd name="T3" fmla="*/ 47 h 198"/>
                  <a:gd name="T4" fmla="*/ 47 w 207"/>
                  <a:gd name="T5" fmla="*/ 160 h 198"/>
                  <a:gd name="T6" fmla="*/ 104 w 207"/>
                  <a:gd name="T7" fmla="*/ 183 h 198"/>
                  <a:gd name="T8" fmla="*/ 160 w 207"/>
                  <a:gd name="T9" fmla="*/ 160 h 198"/>
                  <a:gd name="T10" fmla="*/ 184 w 207"/>
                  <a:gd name="T11" fmla="*/ 103 h 198"/>
                  <a:gd name="T12" fmla="*/ 160 w 207"/>
                  <a:gd name="T13" fmla="*/ 47 h 198"/>
                  <a:gd name="T14" fmla="*/ 104 w 207"/>
                  <a:gd name="T15" fmla="*/ 23 h 198"/>
                  <a:gd name="T16" fmla="*/ 104 w 207"/>
                  <a:gd name="T17" fmla="*/ 198 h 198"/>
                  <a:gd name="T18" fmla="*/ 37 w 207"/>
                  <a:gd name="T19" fmla="*/ 170 h 198"/>
                  <a:gd name="T20" fmla="*/ 37 w 207"/>
                  <a:gd name="T21" fmla="*/ 36 h 198"/>
                  <a:gd name="T22" fmla="*/ 171 w 207"/>
                  <a:gd name="T23" fmla="*/ 36 h 198"/>
                  <a:gd name="T24" fmla="*/ 171 w 207"/>
                  <a:gd name="T25" fmla="*/ 170 h 198"/>
                  <a:gd name="T26" fmla="*/ 104 w 207"/>
                  <a:gd name="T2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 h="198">
                    <a:moveTo>
                      <a:pt x="104" y="23"/>
                    </a:moveTo>
                    <a:cubicBezTo>
                      <a:pt x="82" y="23"/>
                      <a:pt x="62" y="32"/>
                      <a:pt x="47" y="47"/>
                    </a:cubicBezTo>
                    <a:cubicBezTo>
                      <a:pt x="16" y="78"/>
                      <a:pt x="16" y="129"/>
                      <a:pt x="47" y="160"/>
                    </a:cubicBezTo>
                    <a:cubicBezTo>
                      <a:pt x="62" y="175"/>
                      <a:pt x="82" y="183"/>
                      <a:pt x="104" y="183"/>
                    </a:cubicBezTo>
                    <a:cubicBezTo>
                      <a:pt x="125" y="183"/>
                      <a:pt x="145" y="175"/>
                      <a:pt x="160" y="160"/>
                    </a:cubicBezTo>
                    <a:cubicBezTo>
                      <a:pt x="175" y="145"/>
                      <a:pt x="184" y="125"/>
                      <a:pt x="184" y="103"/>
                    </a:cubicBezTo>
                    <a:cubicBezTo>
                      <a:pt x="184" y="82"/>
                      <a:pt x="175" y="62"/>
                      <a:pt x="160" y="47"/>
                    </a:cubicBezTo>
                    <a:cubicBezTo>
                      <a:pt x="145" y="32"/>
                      <a:pt x="125" y="23"/>
                      <a:pt x="104" y="23"/>
                    </a:cubicBezTo>
                    <a:close/>
                    <a:moveTo>
                      <a:pt x="104" y="198"/>
                    </a:moveTo>
                    <a:cubicBezTo>
                      <a:pt x="79" y="198"/>
                      <a:pt x="55" y="189"/>
                      <a:pt x="37" y="170"/>
                    </a:cubicBezTo>
                    <a:cubicBezTo>
                      <a:pt x="0" y="133"/>
                      <a:pt x="0" y="73"/>
                      <a:pt x="37" y="36"/>
                    </a:cubicBezTo>
                    <a:cubicBezTo>
                      <a:pt x="74" y="0"/>
                      <a:pt x="134" y="0"/>
                      <a:pt x="171" y="36"/>
                    </a:cubicBezTo>
                    <a:cubicBezTo>
                      <a:pt x="207" y="73"/>
                      <a:pt x="207" y="133"/>
                      <a:pt x="171" y="170"/>
                    </a:cubicBezTo>
                    <a:cubicBezTo>
                      <a:pt x="152" y="189"/>
                      <a:pt x="128" y="198"/>
                      <a:pt x="104" y="19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65" name="Freeform 632">
                <a:extLst>
                  <a:ext uri="{FF2B5EF4-FFF2-40B4-BE49-F238E27FC236}">
                    <a16:creationId xmlns:a16="http://schemas.microsoft.com/office/drawing/2014/main" id="{7ADC93A2-9EE3-D718-4ACA-F743A547023D}"/>
                  </a:ext>
                </a:extLst>
              </p:cNvPr>
              <p:cNvSpPr>
                <a:spLocks noEditPoints="1"/>
              </p:cNvSpPr>
              <p:nvPr/>
            </p:nvSpPr>
            <p:spPr bwMode="auto">
              <a:xfrm>
                <a:off x="4489451" y="3452813"/>
                <a:ext cx="63500" cy="101600"/>
              </a:xfrm>
              <a:custGeom>
                <a:avLst/>
                <a:gdLst>
                  <a:gd name="T0" fmla="*/ 15 w 70"/>
                  <a:gd name="T1" fmla="*/ 98 h 112"/>
                  <a:gd name="T2" fmla="*/ 56 w 70"/>
                  <a:gd name="T3" fmla="*/ 98 h 112"/>
                  <a:gd name="T4" fmla="*/ 56 w 70"/>
                  <a:gd name="T5" fmla="*/ 15 h 112"/>
                  <a:gd name="T6" fmla="*/ 15 w 70"/>
                  <a:gd name="T7" fmla="*/ 15 h 112"/>
                  <a:gd name="T8" fmla="*/ 15 w 70"/>
                  <a:gd name="T9" fmla="*/ 98 h 112"/>
                  <a:gd name="T10" fmla="*/ 63 w 70"/>
                  <a:gd name="T11" fmla="*/ 112 h 112"/>
                  <a:gd name="T12" fmla="*/ 7 w 70"/>
                  <a:gd name="T13" fmla="*/ 112 h 112"/>
                  <a:gd name="T14" fmla="*/ 0 w 70"/>
                  <a:gd name="T15" fmla="*/ 105 h 112"/>
                  <a:gd name="T16" fmla="*/ 0 w 70"/>
                  <a:gd name="T17" fmla="*/ 7 h 112"/>
                  <a:gd name="T18" fmla="*/ 7 w 70"/>
                  <a:gd name="T19" fmla="*/ 0 h 112"/>
                  <a:gd name="T20" fmla="*/ 63 w 70"/>
                  <a:gd name="T21" fmla="*/ 0 h 112"/>
                  <a:gd name="T22" fmla="*/ 70 w 70"/>
                  <a:gd name="T23" fmla="*/ 7 h 112"/>
                  <a:gd name="T24" fmla="*/ 70 w 70"/>
                  <a:gd name="T25" fmla="*/ 105 h 112"/>
                  <a:gd name="T26" fmla="*/ 63 w 70"/>
                  <a:gd name="T2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112">
                    <a:moveTo>
                      <a:pt x="15" y="98"/>
                    </a:moveTo>
                    <a:lnTo>
                      <a:pt x="56" y="98"/>
                    </a:lnTo>
                    <a:lnTo>
                      <a:pt x="56" y="15"/>
                    </a:lnTo>
                    <a:lnTo>
                      <a:pt x="15" y="15"/>
                    </a:lnTo>
                    <a:lnTo>
                      <a:pt x="15" y="98"/>
                    </a:lnTo>
                    <a:close/>
                    <a:moveTo>
                      <a:pt x="63" y="112"/>
                    </a:moveTo>
                    <a:lnTo>
                      <a:pt x="7" y="112"/>
                    </a:lnTo>
                    <a:cubicBezTo>
                      <a:pt x="3" y="112"/>
                      <a:pt x="0" y="109"/>
                      <a:pt x="0" y="105"/>
                    </a:cubicBezTo>
                    <a:lnTo>
                      <a:pt x="0" y="7"/>
                    </a:lnTo>
                    <a:cubicBezTo>
                      <a:pt x="0" y="3"/>
                      <a:pt x="3" y="0"/>
                      <a:pt x="7" y="0"/>
                    </a:cubicBezTo>
                    <a:lnTo>
                      <a:pt x="63" y="0"/>
                    </a:lnTo>
                    <a:cubicBezTo>
                      <a:pt x="67" y="0"/>
                      <a:pt x="70" y="3"/>
                      <a:pt x="70" y="7"/>
                    </a:cubicBezTo>
                    <a:lnTo>
                      <a:pt x="70" y="105"/>
                    </a:lnTo>
                    <a:cubicBezTo>
                      <a:pt x="70" y="109"/>
                      <a:pt x="67" y="112"/>
                      <a:pt x="63" y="1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66" name="Freeform 633">
                <a:extLst>
                  <a:ext uri="{FF2B5EF4-FFF2-40B4-BE49-F238E27FC236}">
                    <a16:creationId xmlns:a16="http://schemas.microsoft.com/office/drawing/2014/main" id="{4F1EDB25-952C-1759-F8FE-60B472EBD6DD}"/>
                  </a:ext>
                </a:extLst>
              </p:cNvPr>
              <p:cNvSpPr>
                <a:spLocks/>
              </p:cNvSpPr>
              <p:nvPr/>
            </p:nvSpPr>
            <p:spPr bwMode="auto">
              <a:xfrm>
                <a:off x="4579938" y="3392488"/>
                <a:ext cx="63500" cy="161925"/>
              </a:xfrm>
              <a:custGeom>
                <a:avLst/>
                <a:gdLst>
                  <a:gd name="T0" fmla="*/ 23 w 70"/>
                  <a:gd name="T1" fmla="*/ 177 h 177"/>
                  <a:gd name="T2" fmla="*/ 7 w 70"/>
                  <a:gd name="T3" fmla="*/ 177 h 177"/>
                  <a:gd name="T4" fmla="*/ 0 w 70"/>
                  <a:gd name="T5" fmla="*/ 170 h 177"/>
                  <a:gd name="T6" fmla="*/ 0 w 70"/>
                  <a:gd name="T7" fmla="*/ 7 h 177"/>
                  <a:gd name="T8" fmla="*/ 7 w 70"/>
                  <a:gd name="T9" fmla="*/ 0 h 177"/>
                  <a:gd name="T10" fmla="*/ 63 w 70"/>
                  <a:gd name="T11" fmla="*/ 0 h 177"/>
                  <a:gd name="T12" fmla="*/ 70 w 70"/>
                  <a:gd name="T13" fmla="*/ 7 h 177"/>
                  <a:gd name="T14" fmla="*/ 70 w 70"/>
                  <a:gd name="T15" fmla="*/ 40 h 177"/>
                  <a:gd name="T16" fmla="*/ 63 w 70"/>
                  <a:gd name="T17" fmla="*/ 47 h 177"/>
                  <a:gd name="T18" fmla="*/ 56 w 70"/>
                  <a:gd name="T19" fmla="*/ 40 h 177"/>
                  <a:gd name="T20" fmla="*/ 56 w 70"/>
                  <a:gd name="T21" fmla="*/ 15 h 177"/>
                  <a:gd name="T22" fmla="*/ 15 w 70"/>
                  <a:gd name="T23" fmla="*/ 15 h 177"/>
                  <a:gd name="T24" fmla="*/ 15 w 70"/>
                  <a:gd name="T25" fmla="*/ 163 h 177"/>
                  <a:gd name="T26" fmla="*/ 23 w 70"/>
                  <a:gd name="T27" fmla="*/ 163 h 177"/>
                  <a:gd name="T28" fmla="*/ 30 w 70"/>
                  <a:gd name="T29" fmla="*/ 170 h 177"/>
                  <a:gd name="T30" fmla="*/ 23 w 70"/>
                  <a:gd name="T31"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177">
                    <a:moveTo>
                      <a:pt x="23" y="177"/>
                    </a:moveTo>
                    <a:lnTo>
                      <a:pt x="7" y="177"/>
                    </a:lnTo>
                    <a:cubicBezTo>
                      <a:pt x="3" y="177"/>
                      <a:pt x="0" y="174"/>
                      <a:pt x="0" y="170"/>
                    </a:cubicBezTo>
                    <a:lnTo>
                      <a:pt x="0" y="7"/>
                    </a:lnTo>
                    <a:cubicBezTo>
                      <a:pt x="0" y="3"/>
                      <a:pt x="3" y="0"/>
                      <a:pt x="7" y="0"/>
                    </a:cubicBezTo>
                    <a:lnTo>
                      <a:pt x="63" y="0"/>
                    </a:lnTo>
                    <a:cubicBezTo>
                      <a:pt x="67" y="0"/>
                      <a:pt x="70" y="3"/>
                      <a:pt x="70" y="7"/>
                    </a:cubicBezTo>
                    <a:lnTo>
                      <a:pt x="70" y="40"/>
                    </a:lnTo>
                    <a:cubicBezTo>
                      <a:pt x="70" y="44"/>
                      <a:pt x="67" y="47"/>
                      <a:pt x="63" y="47"/>
                    </a:cubicBezTo>
                    <a:cubicBezTo>
                      <a:pt x="59" y="47"/>
                      <a:pt x="56" y="44"/>
                      <a:pt x="56" y="40"/>
                    </a:cubicBezTo>
                    <a:lnTo>
                      <a:pt x="56" y="15"/>
                    </a:lnTo>
                    <a:lnTo>
                      <a:pt x="15" y="15"/>
                    </a:lnTo>
                    <a:lnTo>
                      <a:pt x="15" y="163"/>
                    </a:lnTo>
                    <a:lnTo>
                      <a:pt x="23" y="163"/>
                    </a:lnTo>
                    <a:cubicBezTo>
                      <a:pt x="27" y="163"/>
                      <a:pt x="30" y="166"/>
                      <a:pt x="30" y="170"/>
                    </a:cubicBezTo>
                    <a:cubicBezTo>
                      <a:pt x="30" y="174"/>
                      <a:pt x="27" y="177"/>
                      <a:pt x="23" y="1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67" name="Freeform 634">
                <a:extLst>
                  <a:ext uri="{FF2B5EF4-FFF2-40B4-BE49-F238E27FC236}">
                    <a16:creationId xmlns:a16="http://schemas.microsoft.com/office/drawing/2014/main" id="{A2EAF840-ED84-E090-AE6F-3209EEB0375F}"/>
                  </a:ext>
                </a:extLst>
              </p:cNvPr>
              <p:cNvSpPr>
                <a:spLocks/>
              </p:cNvSpPr>
              <p:nvPr/>
            </p:nvSpPr>
            <p:spPr bwMode="auto">
              <a:xfrm>
                <a:off x="4630738" y="3473450"/>
                <a:ext cx="12700" cy="80963"/>
              </a:xfrm>
              <a:custGeom>
                <a:avLst/>
                <a:gdLst>
                  <a:gd name="T0" fmla="*/ 7 w 14"/>
                  <a:gd name="T1" fmla="*/ 89 h 89"/>
                  <a:gd name="T2" fmla="*/ 0 w 14"/>
                  <a:gd name="T3" fmla="*/ 82 h 89"/>
                  <a:gd name="T4" fmla="*/ 0 w 14"/>
                  <a:gd name="T5" fmla="*/ 8 h 89"/>
                  <a:gd name="T6" fmla="*/ 7 w 14"/>
                  <a:gd name="T7" fmla="*/ 0 h 89"/>
                  <a:gd name="T8" fmla="*/ 14 w 14"/>
                  <a:gd name="T9" fmla="*/ 8 h 89"/>
                  <a:gd name="T10" fmla="*/ 14 w 14"/>
                  <a:gd name="T11" fmla="*/ 82 h 89"/>
                  <a:gd name="T12" fmla="*/ 7 w 14"/>
                  <a:gd name="T13" fmla="*/ 89 h 89"/>
                </a:gdLst>
                <a:ahLst/>
                <a:cxnLst>
                  <a:cxn ang="0">
                    <a:pos x="T0" y="T1"/>
                  </a:cxn>
                  <a:cxn ang="0">
                    <a:pos x="T2" y="T3"/>
                  </a:cxn>
                  <a:cxn ang="0">
                    <a:pos x="T4" y="T5"/>
                  </a:cxn>
                  <a:cxn ang="0">
                    <a:pos x="T6" y="T7"/>
                  </a:cxn>
                  <a:cxn ang="0">
                    <a:pos x="T8" y="T9"/>
                  </a:cxn>
                  <a:cxn ang="0">
                    <a:pos x="T10" y="T11"/>
                  </a:cxn>
                  <a:cxn ang="0">
                    <a:pos x="T12" y="T13"/>
                  </a:cxn>
                </a:cxnLst>
                <a:rect l="0" t="0" r="r" b="b"/>
                <a:pathLst>
                  <a:path w="14" h="89">
                    <a:moveTo>
                      <a:pt x="7" y="89"/>
                    </a:moveTo>
                    <a:cubicBezTo>
                      <a:pt x="3" y="89"/>
                      <a:pt x="0" y="86"/>
                      <a:pt x="0" y="82"/>
                    </a:cubicBezTo>
                    <a:lnTo>
                      <a:pt x="0" y="8"/>
                    </a:lnTo>
                    <a:cubicBezTo>
                      <a:pt x="0" y="4"/>
                      <a:pt x="3" y="0"/>
                      <a:pt x="7" y="0"/>
                    </a:cubicBezTo>
                    <a:cubicBezTo>
                      <a:pt x="11" y="0"/>
                      <a:pt x="14" y="4"/>
                      <a:pt x="14" y="8"/>
                    </a:cubicBezTo>
                    <a:lnTo>
                      <a:pt x="14" y="82"/>
                    </a:lnTo>
                    <a:cubicBezTo>
                      <a:pt x="14" y="86"/>
                      <a:pt x="11" y="89"/>
                      <a:pt x="7" y="8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68" name="Freeform 635">
                <a:extLst>
                  <a:ext uri="{FF2B5EF4-FFF2-40B4-BE49-F238E27FC236}">
                    <a16:creationId xmlns:a16="http://schemas.microsoft.com/office/drawing/2014/main" id="{915D514F-46B5-407C-D417-8BFD63C82A8A}"/>
                  </a:ext>
                </a:extLst>
              </p:cNvPr>
              <p:cNvSpPr>
                <a:spLocks/>
              </p:cNvSpPr>
              <p:nvPr/>
            </p:nvSpPr>
            <p:spPr bwMode="auto">
              <a:xfrm>
                <a:off x="4670426" y="3308350"/>
                <a:ext cx="63500" cy="117475"/>
              </a:xfrm>
              <a:custGeom>
                <a:avLst/>
                <a:gdLst>
                  <a:gd name="T0" fmla="*/ 63 w 70"/>
                  <a:gd name="T1" fmla="*/ 129 h 129"/>
                  <a:gd name="T2" fmla="*/ 56 w 70"/>
                  <a:gd name="T3" fmla="*/ 122 h 129"/>
                  <a:gd name="T4" fmla="*/ 56 w 70"/>
                  <a:gd name="T5" fmla="*/ 15 h 129"/>
                  <a:gd name="T6" fmla="*/ 15 w 70"/>
                  <a:gd name="T7" fmla="*/ 15 h 129"/>
                  <a:gd name="T8" fmla="*/ 15 w 70"/>
                  <a:gd name="T9" fmla="*/ 115 h 129"/>
                  <a:gd name="T10" fmla="*/ 8 w 70"/>
                  <a:gd name="T11" fmla="*/ 122 h 129"/>
                  <a:gd name="T12" fmla="*/ 0 w 70"/>
                  <a:gd name="T13" fmla="*/ 115 h 129"/>
                  <a:gd name="T14" fmla="*/ 0 w 70"/>
                  <a:gd name="T15" fmla="*/ 7 h 129"/>
                  <a:gd name="T16" fmla="*/ 8 w 70"/>
                  <a:gd name="T17" fmla="*/ 0 h 129"/>
                  <a:gd name="T18" fmla="*/ 63 w 70"/>
                  <a:gd name="T19" fmla="*/ 0 h 129"/>
                  <a:gd name="T20" fmla="*/ 70 w 70"/>
                  <a:gd name="T21" fmla="*/ 7 h 129"/>
                  <a:gd name="T22" fmla="*/ 70 w 70"/>
                  <a:gd name="T23" fmla="*/ 122 h 129"/>
                  <a:gd name="T24" fmla="*/ 63 w 70"/>
                  <a:gd name="T2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29">
                    <a:moveTo>
                      <a:pt x="63" y="129"/>
                    </a:moveTo>
                    <a:cubicBezTo>
                      <a:pt x="59" y="129"/>
                      <a:pt x="56" y="126"/>
                      <a:pt x="56" y="122"/>
                    </a:cubicBezTo>
                    <a:lnTo>
                      <a:pt x="56" y="15"/>
                    </a:lnTo>
                    <a:lnTo>
                      <a:pt x="15" y="15"/>
                    </a:lnTo>
                    <a:lnTo>
                      <a:pt x="15" y="115"/>
                    </a:lnTo>
                    <a:cubicBezTo>
                      <a:pt x="15" y="119"/>
                      <a:pt x="12" y="122"/>
                      <a:pt x="8" y="122"/>
                    </a:cubicBezTo>
                    <a:cubicBezTo>
                      <a:pt x="4" y="122"/>
                      <a:pt x="0" y="119"/>
                      <a:pt x="0" y="115"/>
                    </a:cubicBezTo>
                    <a:lnTo>
                      <a:pt x="0" y="7"/>
                    </a:lnTo>
                    <a:cubicBezTo>
                      <a:pt x="0" y="3"/>
                      <a:pt x="4" y="0"/>
                      <a:pt x="8" y="0"/>
                    </a:cubicBezTo>
                    <a:lnTo>
                      <a:pt x="63" y="0"/>
                    </a:lnTo>
                    <a:cubicBezTo>
                      <a:pt x="67" y="0"/>
                      <a:pt x="70" y="3"/>
                      <a:pt x="70" y="7"/>
                    </a:cubicBezTo>
                    <a:lnTo>
                      <a:pt x="70" y="122"/>
                    </a:lnTo>
                    <a:cubicBezTo>
                      <a:pt x="70" y="126"/>
                      <a:pt x="67" y="129"/>
                      <a:pt x="63" y="12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69" name="Freeform 636">
                <a:extLst>
                  <a:ext uri="{FF2B5EF4-FFF2-40B4-BE49-F238E27FC236}">
                    <a16:creationId xmlns:a16="http://schemas.microsoft.com/office/drawing/2014/main" id="{BFB58F9B-DF47-1F34-6359-1EE6951720D8}"/>
                  </a:ext>
                </a:extLst>
              </p:cNvPr>
              <p:cNvSpPr>
                <a:spLocks/>
              </p:cNvSpPr>
              <p:nvPr/>
            </p:nvSpPr>
            <p:spPr bwMode="auto">
              <a:xfrm>
                <a:off x="4670426" y="3448050"/>
                <a:ext cx="63500" cy="106363"/>
              </a:xfrm>
              <a:custGeom>
                <a:avLst/>
                <a:gdLst>
                  <a:gd name="T0" fmla="*/ 63 w 70"/>
                  <a:gd name="T1" fmla="*/ 116 h 116"/>
                  <a:gd name="T2" fmla="*/ 8 w 70"/>
                  <a:gd name="T3" fmla="*/ 116 h 116"/>
                  <a:gd name="T4" fmla="*/ 0 w 70"/>
                  <a:gd name="T5" fmla="*/ 109 h 116"/>
                  <a:gd name="T6" fmla="*/ 0 w 70"/>
                  <a:gd name="T7" fmla="*/ 7 h 116"/>
                  <a:gd name="T8" fmla="*/ 8 w 70"/>
                  <a:gd name="T9" fmla="*/ 0 h 116"/>
                  <a:gd name="T10" fmla="*/ 15 w 70"/>
                  <a:gd name="T11" fmla="*/ 7 h 116"/>
                  <a:gd name="T12" fmla="*/ 15 w 70"/>
                  <a:gd name="T13" fmla="*/ 102 h 116"/>
                  <a:gd name="T14" fmla="*/ 56 w 70"/>
                  <a:gd name="T15" fmla="*/ 102 h 116"/>
                  <a:gd name="T16" fmla="*/ 56 w 70"/>
                  <a:gd name="T17" fmla="*/ 14 h 116"/>
                  <a:gd name="T18" fmla="*/ 63 w 70"/>
                  <a:gd name="T19" fmla="*/ 7 h 116"/>
                  <a:gd name="T20" fmla="*/ 70 w 70"/>
                  <a:gd name="T21" fmla="*/ 14 h 116"/>
                  <a:gd name="T22" fmla="*/ 70 w 70"/>
                  <a:gd name="T23" fmla="*/ 109 h 116"/>
                  <a:gd name="T24" fmla="*/ 63 w 70"/>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16">
                    <a:moveTo>
                      <a:pt x="63" y="116"/>
                    </a:moveTo>
                    <a:lnTo>
                      <a:pt x="8" y="116"/>
                    </a:lnTo>
                    <a:cubicBezTo>
                      <a:pt x="4" y="116"/>
                      <a:pt x="0" y="113"/>
                      <a:pt x="0" y="109"/>
                    </a:cubicBezTo>
                    <a:lnTo>
                      <a:pt x="0" y="7"/>
                    </a:lnTo>
                    <a:cubicBezTo>
                      <a:pt x="0" y="3"/>
                      <a:pt x="4" y="0"/>
                      <a:pt x="8" y="0"/>
                    </a:cubicBezTo>
                    <a:cubicBezTo>
                      <a:pt x="12" y="0"/>
                      <a:pt x="15" y="3"/>
                      <a:pt x="15" y="7"/>
                    </a:cubicBezTo>
                    <a:lnTo>
                      <a:pt x="15" y="102"/>
                    </a:lnTo>
                    <a:lnTo>
                      <a:pt x="56" y="102"/>
                    </a:lnTo>
                    <a:lnTo>
                      <a:pt x="56" y="14"/>
                    </a:lnTo>
                    <a:cubicBezTo>
                      <a:pt x="56" y="10"/>
                      <a:pt x="59" y="7"/>
                      <a:pt x="63" y="7"/>
                    </a:cubicBezTo>
                    <a:cubicBezTo>
                      <a:pt x="67" y="7"/>
                      <a:pt x="70" y="10"/>
                      <a:pt x="70" y="14"/>
                    </a:cubicBezTo>
                    <a:lnTo>
                      <a:pt x="70" y="109"/>
                    </a:lnTo>
                    <a:cubicBezTo>
                      <a:pt x="70" y="113"/>
                      <a:pt x="67" y="116"/>
                      <a:pt x="63" y="11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grpSp>
      </p:grpSp>
      <p:cxnSp>
        <p:nvCxnSpPr>
          <p:cNvPr id="110" name="Conector recto de flecha 109">
            <a:extLst>
              <a:ext uri="{FF2B5EF4-FFF2-40B4-BE49-F238E27FC236}">
                <a16:creationId xmlns:a16="http://schemas.microsoft.com/office/drawing/2014/main" id="{A77C6D79-0302-F811-4E74-54E1A38BCA2A}"/>
              </a:ext>
            </a:extLst>
          </p:cNvPr>
          <p:cNvCxnSpPr>
            <a:cxnSpLocks/>
          </p:cNvCxnSpPr>
          <p:nvPr/>
        </p:nvCxnSpPr>
        <p:spPr>
          <a:xfrm>
            <a:off x="7630413" y="2822734"/>
            <a:ext cx="808882" cy="0"/>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112" name="Conector recto de flecha 111">
            <a:extLst>
              <a:ext uri="{FF2B5EF4-FFF2-40B4-BE49-F238E27FC236}">
                <a16:creationId xmlns:a16="http://schemas.microsoft.com/office/drawing/2014/main" id="{B4E2F690-5A0B-EA99-585C-99DC2A19C441}"/>
              </a:ext>
            </a:extLst>
          </p:cNvPr>
          <p:cNvCxnSpPr>
            <a:cxnSpLocks/>
          </p:cNvCxnSpPr>
          <p:nvPr/>
        </p:nvCxnSpPr>
        <p:spPr>
          <a:xfrm>
            <a:off x="10409990" y="3195336"/>
            <a:ext cx="0" cy="558725"/>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sp>
        <p:nvSpPr>
          <p:cNvPr id="332" name="Text Placeholder 3">
            <a:extLst>
              <a:ext uri="{FF2B5EF4-FFF2-40B4-BE49-F238E27FC236}">
                <a16:creationId xmlns:a16="http://schemas.microsoft.com/office/drawing/2014/main" id="{FFA5A3E9-F43B-8033-A369-AF57CCF8E1EC}"/>
              </a:ext>
            </a:extLst>
          </p:cNvPr>
          <p:cNvSpPr txBox="1">
            <a:spLocks/>
          </p:cNvSpPr>
          <p:nvPr/>
        </p:nvSpPr>
        <p:spPr>
          <a:xfrm>
            <a:off x="441135" y="224364"/>
            <a:ext cx="2173287" cy="307777"/>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2000" b="0" i="0" u="none" strike="noStrike" kern="1200" cap="none" spc="0" normalizeH="0" baseline="0" noProof="0">
                <a:ln>
                  <a:noFill/>
                </a:ln>
                <a:solidFill>
                  <a:srgbClr val="F14949"/>
                </a:solidFill>
                <a:effectLst/>
                <a:uLnTx/>
                <a:uFillTx/>
                <a:latin typeface="Santander Headline" panose="020B0504020201020104"/>
                <a:ea typeface="+mn-ea"/>
                <a:cs typeface="+mn-cs"/>
              </a:rPr>
              <a:t>Agentic Architecture</a:t>
            </a:r>
          </a:p>
        </p:txBody>
      </p:sp>
      <p:sp>
        <p:nvSpPr>
          <p:cNvPr id="333" name="CuadroTexto 332">
            <a:extLst>
              <a:ext uri="{FF2B5EF4-FFF2-40B4-BE49-F238E27FC236}">
                <a16:creationId xmlns:a16="http://schemas.microsoft.com/office/drawing/2014/main" id="{34CFE2BB-94FA-320C-9CCD-70F67A87A1D5}"/>
              </a:ext>
            </a:extLst>
          </p:cNvPr>
          <p:cNvSpPr txBox="1"/>
          <p:nvPr/>
        </p:nvSpPr>
        <p:spPr>
          <a:xfrm>
            <a:off x="353774" y="462381"/>
            <a:ext cx="226064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14949"/>
                </a:solidFill>
                <a:effectLst/>
                <a:uLnTx/>
                <a:uFillTx/>
                <a:latin typeface="Santander Headline" panose="020B0504020201020104"/>
                <a:ea typeface="+mn-ea"/>
                <a:cs typeface="Arial"/>
              </a:rPr>
              <a:t>FMIS Data Quality Remediation</a:t>
            </a:r>
            <a:endParaRPr kumimoji="0" lang="en-GB" sz="1200" b="0" i="0" u="none" strike="noStrike" kern="1200" cap="none" spc="0" normalizeH="0" baseline="0" noProof="0" dirty="0">
              <a:ln>
                <a:noFill/>
              </a:ln>
              <a:solidFill>
                <a:srgbClr val="F14949"/>
              </a:solidFill>
              <a:effectLst/>
              <a:uLnTx/>
              <a:uFillTx/>
              <a:latin typeface="Santander Headline" panose="020B0504020201020104"/>
              <a:ea typeface="+mn-ea"/>
              <a:cs typeface="+mn-cs"/>
            </a:endParaRPr>
          </a:p>
        </p:txBody>
      </p:sp>
      <p:pic>
        <p:nvPicPr>
          <p:cNvPr id="81" name="Imagen 2" descr="NTT Data - Red Seguridad">
            <a:extLst>
              <a:ext uri="{FF2B5EF4-FFF2-40B4-BE49-F238E27FC236}">
                <a16:creationId xmlns:a16="http://schemas.microsoft.com/office/drawing/2014/main" id="{7BF9270B-8D4B-74AB-2DE7-F0AFC4B8B77B}"/>
              </a:ext>
            </a:extLst>
          </p:cNvPr>
          <p:cNvPicPr>
            <a:picLocks noChangeAspect="1"/>
          </p:cNvPicPr>
          <p:nvPr/>
        </p:nvPicPr>
        <p:blipFill>
          <a:blip r:embed="rId9"/>
          <a:stretch>
            <a:fillRect/>
          </a:stretch>
        </p:blipFill>
        <p:spPr>
          <a:xfrm>
            <a:off x="10881313" y="-202669"/>
            <a:ext cx="1166998" cy="847775"/>
          </a:xfrm>
          <a:prstGeom prst="rect">
            <a:avLst/>
          </a:prstGeom>
        </p:spPr>
      </p:pic>
      <p:pic>
        <p:nvPicPr>
          <p:cNvPr id="82" name="Picture 81">
            <a:extLst>
              <a:ext uri="{FF2B5EF4-FFF2-40B4-BE49-F238E27FC236}">
                <a16:creationId xmlns:a16="http://schemas.microsoft.com/office/drawing/2014/main" id="{3152A0DA-8A75-CB31-EE4E-8CFD4CCA0AA9}"/>
              </a:ext>
            </a:extLst>
          </p:cNvPr>
          <p:cNvPicPr>
            <a:picLocks noChangeAspect="1"/>
          </p:cNvPicPr>
          <p:nvPr/>
        </p:nvPicPr>
        <p:blipFill>
          <a:blip r:embed="rId10"/>
          <a:srcRect r="22480"/>
          <a:stretch>
            <a:fillRect/>
          </a:stretch>
        </p:blipFill>
        <p:spPr>
          <a:xfrm>
            <a:off x="9081410" y="32335"/>
            <a:ext cx="1610515" cy="388493"/>
          </a:xfrm>
          <a:prstGeom prst="rect">
            <a:avLst/>
          </a:prstGeom>
        </p:spPr>
      </p:pic>
      <p:sp>
        <p:nvSpPr>
          <p:cNvPr id="139" name="Rectangle: Rounded Corners 1218">
            <a:extLst>
              <a:ext uri="{FF2B5EF4-FFF2-40B4-BE49-F238E27FC236}">
                <a16:creationId xmlns:a16="http://schemas.microsoft.com/office/drawing/2014/main" id="{065953E7-BBC4-2798-BEA5-9FA6A1FBD9A6}"/>
              </a:ext>
            </a:extLst>
          </p:cNvPr>
          <p:cNvSpPr/>
          <p:nvPr/>
        </p:nvSpPr>
        <p:spPr>
          <a:xfrm>
            <a:off x="5967245" y="2717449"/>
            <a:ext cx="255505" cy="238715"/>
          </a:xfrm>
          <a:prstGeom prst="flowChartDecision">
            <a:avLst/>
          </a:prstGeom>
          <a:solidFill>
            <a:schemeClr val="bg1"/>
          </a:solidFill>
          <a:ln w="12700" cap="flat" cmpd="sng" algn="ctr">
            <a:solidFill>
              <a:srgbClr val="ED0202"/>
            </a:solidFill>
            <a:prstDash val="solid"/>
            <a:miter lim="800000"/>
          </a:ln>
          <a:effectLst>
            <a:outerShdw blurRad="50800" dist="38100" dir="5400000" algn="t"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13" name="CuadroTexto 112">
            <a:extLst>
              <a:ext uri="{FF2B5EF4-FFF2-40B4-BE49-F238E27FC236}">
                <a16:creationId xmlns:a16="http://schemas.microsoft.com/office/drawing/2014/main" id="{7164B5DC-8B27-2046-9CE7-00664663DA0A}"/>
              </a:ext>
            </a:extLst>
          </p:cNvPr>
          <p:cNvSpPr txBox="1"/>
          <p:nvPr/>
        </p:nvSpPr>
        <p:spPr>
          <a:xfrm>
            <a:off x="5775970" y="2484557"/>
            <a:ext cx="569387"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9B2D1F"/>
                </a:solidFill>
                <a:effectLst/>
                <a:uLnTx/>
                <a:uFillTx/>
                <a:latin typeface="Santander Text" panose="020B0504020201020104"/>
                <a:ea typeface="+mn-ea"/>
                <a:cs typeface="+mn-cs"/>
              </a:rPr>
              <a:t>ERROR?</a:t>
            </a:r>
          </a:p>
        </p:txBody>
      </p:sp>
      <p:sp>
        <p:nvSpPr>
          <p:cNvPr id="114" name="CuadroTexto 113">
            <a:extLst>
              <a:ext uri="{FF2B5EF4-FFF2-40B4-BE49-F238E27FC236}">
                <a16:creationId xmlns:a16="http://schemas.microsoft.com/office/drawing/2014/main" id="{952CFF99-9BF8-53C6-92DA-BD0AB15F00E4}"/>
              </a:ext>
            </a:extLst>
          </p:cNvPr>
          <p:cNvSpPr txBox="1"/>
          <p:nvPr/>
        </p:nvSpPr>
        <p:spPr>
          <a:xfrm>
            <a:off x="6059005" y="3040127"/>
            <a:ext cx="35458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9B2D1F"/>
                </a:solidFill>
                <a:effectLst/>
                <a:uLnTx/>
                <a:uFillTx/>
                <a:latin typeface="Santander Text" panose="020B0504020201020104"/>
                <a:ea typeface="+mn-ea"/>
                <a:cs typeface="+mn-cs"/>
              </a:rPr>
              <a:t>YES</a:t>
            </a:r>
          </a:p>
        </p:txBody>
      </p:sp>
      <p:sp>
        <p:nvSpPr>
          <p:cNvPr id="31" name="CuadroTexto 30">
            <a:extLst>
              <a:ext uri="{FF2B5EF4-FFF2-40B4-BE49-F238E27FC236}">
                <a16:creationId xmlns:a16="http://schemas.microsoft.com/office/drawing/2014/main" id="{4B9177DB-D81A-F56E-B1C4-66D69777C184}"/>
              </a:ext>
            </a:extLst>
          </p:cNvPr>
          <p:cNvSpPr txBox="1"/>
          <p:nvPr/>
        </p:nvSpPr>
        <p:spPr>
          <a:xfrm>
            <a:off x="6180214" y="2636022"/>
            <a:ext cx="33855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9B2D1F"/>
                </a:solidFill>
                <a:effectLst/>
                <a:uLnTx/>
                <a:uFillTx/>
                <a:latin typeface="Santander Text" panose="020B0504020201020104"/>
                <a:ea typeface="+mn-ea"/>
                <a:cs typeface="+mn-cs"/>
              </a:rPr>
              <a:t>NO</a:t>
            </a:r>
          </a:p>
        </p:txBody>
      </p:sp>
      <p:grpSp>
        <p:nvGrpSpPr>
          <p:cNvPr id="46" name="Grupo 45">
            <a:extLst>
              <a:ext uri="{FF2B5EF4-FFF2-40B4-BE49-F238E27FC236}">
                <a16:creationId xmlns:a16="http://schemas.microsoft.com/office/drawing/2014/main" id="{B05024D6-5212-1507-505F-E425B15BB4C1}"/>
              </a:ext>
            </a:extLst>
          </p:cNvPr>
          <p:cNvGrpSpPr/>
          <p:nvPr/>
        </p:nvGrpSpPr>
        <p:grpSpPr>
          <a:xfrm>
            <a:off x="6510626" y="2297171"/>
            <a:ext cx="1119787" cy="1084809"/>
            <a:chOff x="5394973" y="2415033"/>
            <a:chExt cx="1119787" cy="1084809"/>
          </a:xfrm>
        </p:grpSpPr>
        <p:sp>
          <p:nvSpPr>
            <p:cNvPr id="44" name="Rectangle: Rounded Corners 1218">
              <a:extLst>
                <a:ext uri="{FF2B5EF4-FFF2-40B4-BE49-F238E27FC236}">
                  <a16:creationId xmlns:a16="http://schemas.microsoft.com/office/drawing/2014/main" id="{46C0ECCE-3847-AE6C-4E34-07B3390E7AC0}"/>
                </a:ext>
              </a:extLst>
            </p:cNvPr>
            <p:cNvSpPr/>
            <p:nvPr/>
          </p:nvSpPr>
          <p:spPr>
            <a:xfrm>
              <a:off x="5394973" y="2415033"/>
              <a:ext cx="1119787" cy="1084809"/>
            </a:xfrm>
            <a:prstGeom prst="roundRect">
              <a:avLst>
                <a:gd name="adj" fmla="val 5394"/>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black"/>
                  </a:solidFill>
                  <a:effectLst/>
                  <a:uLnTx/>
                  <a:uFillTx/>
                  <a:latin typeface="Santander Text" panose="020B0504020201020104"/>
                  <a:ea typeface="+mn-ea"/>
                  <a:cs typeface="+mn-cs"/>
                </a:rPr>
                <a:t>Common Data Layer</a:t>
              </a:r>
            </a:p>
          </p:txBody>
        </p:sp>
        <p:sp>
          <p:nvSpPr>
            <p:cNvPr id="43" name="Cilindro 42">
              <a:extLst>
                <a:ext uri="{FF2B5EF4-FFF2-40B4-BE49-F238E27FC236}">
                  <a16:creationId xmlns:a16="http://schemas.microsoft.com/office/drawing/2014/main" id="{2FE43FDB-919D-7FCF-E977-F0B16A7E9B2B}"/>
                </a:ext>
              </a:extLst>
            </p:cNvPr>
            <p:cNvSpPr/>
            <p:nvPr/>
          </p:nvSpPr>
          <p:spPr>
            <a:xfrm>
              <a:off x="5659547" y="2833251"/>
              <a:ext cx="612747" cy="490612"/>
            </a:xfrm>
            <a:prstGeom prst="can">
              <a:avLst/>
            </a:prstGeom>
            <a:solidFill>
              <a:schemeClr val="accent2">
                <a:lumMod val="40000"/>
                <a:lumOff val="60000"/>
              </a:schemeClr>
            </a:solidFill>
            <a:ln w="12700" cap="flat" cmpd="sng" algn="ctr">
              <a:solidFill>
                <a:srgbClr val="ED0202"/>
              </a:solidFill>
              <a:prstDash val="solid"/>
              <a:miter lim="800000"/>
            </a:ln>
            <a:effectLst>
              <a:outerShdw blurRad="50800" dist="38100" dir="5400000" algn="t"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grpSp>
      <p:grpSp>
        <p:nvGrpSpPr>
          <p:cNvPr id="60" name="Grupo 59">
            <a:extLst>
              <a:ext uri="{FF2B5EF4-FFF2-40B4-BE49-F238E27FC236}">
                <a16:creationId xmlns:a16="http://schemas.microsoft.com/office/drawing/2014/main" id="{D440D911-F52A-2622-B612-217B35323BF3}"/>
              </a:ext>
            </a:extLst>
          </p:cNvPr>
          <p:cNvGrpSpPr/>
          <p:nvPr/>
        </p:nvGrpSpPr>
        <p:grpSpPr>
          <a:xfrm>
            <a:off x="3280931" y="2292394"/>
            <a:ext cx="1119787" cy="1084809"/>
            <a:chOff x="2909880" y="2636886"/>
            <a:chExt cx="1119787" cy="1084809"/>
          </a:xfrm>
        </p:grpSpPr>
        <p:sp>
          <p:nvSpPr>
            <p:cNvPr id="50" name="Rectangle: Rounded Corners 1218">
              <a:extLst>
                <a:ext uri="{FF2B5EF4-FFF2-40B4-BE49-F238E27FC236}">
                  <a16:creationId xmlns:a16="http://schemas.microsoft.com/office/drawing/2014/main" id="{C0C9CB38-6295-7D9F-3F43-06FBC7BB1DB1}"/>
                </a:ext>
              </a:extLst>
            </p:cNvPr>
            <p:cNvSpPr/>
            <p:nvPr/>
          </p:nvSpPr>
          <p:spPr>
            <a:xfrm>
              <a:off x="2909880" y="2636886"/>
              <a:ext cx="1119787" cy="1084809"/>
            </a:xfrm>
            <a:prstGeom prst="roundRect">
              <a:avLst>
                <a:gd name="adj" fmla="val 5394"/>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black"/>
                  </a:solidFill>
                  <a:effectLst/>
                  <a:uLnTx/>
                  <a:uFillTx/>
                  <a:latin typeface="Santander Text" panose="020B0504020201020104"/>
                  <a:ea typeface="+mn-ea"/>
                  <a:cs typeface="+mn-cs"/>
                </a:rPr>
                <a:t>Landing Data Layer</a:t>
              </a:r>
            </a:p>
          </p:txBody>
        </p:sp>
        <p:sp>
          <p:nvSpPr>
            <p:cNvPr id="42" name="Cilindro 41">
              <a:extLst>
                <a:ext uri="{FF2B5EF4-FFF2-40B4-BE49-F238E27FC236}">
                  <a16:creationId xmlns:a16="http://schemas.microsoft.com/office/drawing/2014/main" id="{8330206B-2207-F66B-6136-E96B35D06A00}"/>
                </a:ext>
              </a:extLst>
            </p:cNvPr>
            <p:cNvSpPr/>
            <p:nvPr/>
          </p:nvSpPr>
          <p:spPr>
            <a:xfrm>
              <a:off x="3187246" y="2983717"/>
              <a:ext cx="565057" cy="490612"/>
            </a:xfrm>
            <a:prstGeom prst="can">
              <a:avLst/>
            </a:prstGeom>
            <a:solidFill>
              <a:schemeClr val="accent2">
                <a:lumMod val="40000"/>
                <a:lumOff val="60000"/>
              </a:schemeClr>
            </a:solidFill>
            <a:ln w="12700" cap="flat" cmpd="sng" algn="ctr">
              <a:solidFill>
                <a:srgbClr val="ED0202"/>
              </a:solidFill>
              <a:prstDash val="solid"/>
              <a:miter lim="800000"/>
            </a:ln>
            <a:effectLst>
              <a:outerShdw blurRad="50800" dist="38100" dir="5400000" algn="t"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grpSp>
      <p:sp>
        <p:nvSpPr>
          <p:cNvPr id="61" name="Rectangle: Rounded Corners 1218">
            <a:extLst>
              <a:ext uri="{FF2B5EF4-FFF2-40B4-BE49-F238E27FC236}">
                <a16:creationId xmlns:a16="http://schemas.microsoft.com/office/drawing/2014/main" id="{C94E07C4-8C75-7B10-15B1-F48E8DE38DA2}"/>
              </a:ext>
            </a:extLst>
          </p:cNvPr>
          <p:cNvSpPr/>
          <p:nvPr/>
        </p:nvSpPr>
        <p:spPr>
          <a:xfrm>
            <a:off x="4647616" y="2572683"/>
            <a:ext cx="1119787" cy="520565"/>
          </a:xfrm>
          <a:prstGeom prst="roundRect">
            <a:avLst>
              <a:gd name="adj" fmla="val 5394"/>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black"/>
                </a:solidFill>
                <a:effectLst/>
                <a:uLnTx/>
                <a:uFillTx/>
                <a:latin typeface="Santander Text" panose="020B0504020201020104"/>
                <a:ea typeface="+mn-ea"/>
                <a:cs typeface="+mn-cs"/>
              </a:rPr>
              <a:t>Normalization &amp; Data Quality process</a:t>
            </a:r>
          </a:p>
        </p:txBody>
      </p:sp>
      <p:cxnSp>
        <p:nvCxnSpPr>
          <p:cNvPr id="62" name="Conector recto de flecha 61">
            <a:extLst>
              <a:ext uri="{FF2B5EF4-FFF2-40B4-BE49-F238E27FC236}">
                <a16:creationId xmlns:a16="http://schemas.microsoft.com/office/drawing/2014/main" id="{9CAFA4F0-8B71-5D03-871A-8201A653C7E3}"/>
              </a:ext>
            </a:extLst>
          </p:cNvPr>
          <p:cNvCxnSpPr>
            <a:cxnSpLocks/>
            <a:stCxn id="139" idx="3"/>
          </p:cNvCxnSpPr>
          <p:nvPr/>
        </p:nvCxnSpPr>
        <p:spPr>
          <a:xfrm>
            <a:off x="6222750" y="2836807"/>
            <a:ext cx="287876" cy="2769"/>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71" name="Conector recto de flecha 70">
            <a:extLst>
              <a:ext uri="{FF2B5EF4-FFF2-40B4-BE49-F238E27FC236}">
                <a16:creationId xmlns:a16="http://schemas.microsoft.com/office/drawing/2014/main" id="{54F3CBD2-76C9-7F89-A16E-4DF801033125}"/>
              </a:ext>
            </a:extLst>
          </p:cNvPr>
          <p:cNvCxnSpPr>
            <a:cxnSpLocks/>
            <a:stCxn id="61" idx="3"/>
            <a:endCxn id="139" idx="1"/>
          </p:cNvCxnSpPr>
          <p:nvPr/>
        </p:nvCxnSpPr>
        <p:spPr>
          <a:xfrm>
            <a:off x="5767403" y="2832966"/>
            <a:ext cx="199842" cy="3841"/>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75" name="Conector recto de flecha 74">
            <a:extLst>
              <a:ext uri="{FF2B5EF4-FFF2-40B4-BE49-F238E27FC236}">
                <a16:creationId xmlns:a16="http://schemas.microsoft.com/office/drawing/2014/main" id="{998DFB1C-0F1D-6C63-F2D6-3C276C805823}"/>
              </a:ext>
            </a:extLst>
          </p:cNvPr>
          <p:cNvCxnSpPr>
            <a:cxnSpLocks/>
            <a:endCxn id="61" idx="1"/>
          </p:cNvCxnSpPr>
          <p:nvPr/>
        </p:nvCxnSpPr>
        <p:spPr>
          <a:xfrm flipV="1">
            <a:off x="4400718" y="2832966"/>
            <a:ext cx="246898" cy="1833"/>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92" name="Conector recto de flecha 91">
            <a:extLst>
              <a:ext uri="{FF2B5EF4-FFF2-40B4-BE49-F238E27FC236}">
                <a16:creationId xmlns:a16="http://schemas.microsoft.com/office/drawing/2014/main" id="{7C134E49-DF84-27D4-BCC0-951DD1F3AEDB}"/>
              </a:ext>
            </a:extLst>
          </p:cNvPr>
          <p:cNvCxnSpPr>
            <a:cxnSpLocks/>
            <a:stCxn id="139" idx="2"/>
          </p:cNvCxnSpPr>
          <p:nvPr/>
        </p:nvCxnSpPr>
        <p:spPr>
          <a:xfrm>
            <a:off x="6094998" y="2956164"/>
            <a:ext cx="0" cy="555570"/>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sp>
        <p:nvSpPr>
          <p:cNvPr id="108" name="Rectangle: Rounded Corners 1218">
            <a:extLst>
              <a:ext uri="{FF2B5EF4-FFF2-40B4-BE49-F238E27FC236}">
                <a16:creationId xmlns:a16="http://schemas.microsoft.com/office/drawing/2014/main" id="{178CA691-BA23-9288-9352-5C40D184EED5}"/>
              </a:ext>
            </a:extLst>
          </p:cNvPr>
          <p:cNvSpPr/>
          <p:nvPr/>
        </p:nvSpPr>
        <p:spPr>
          <a:xfrm>
            <a:off x="5535103" y="3525251"/>
            <a:ext cx="1119787" cy="520565"/>
          </a:xfrm>
          <a:prstGeom prst="roundRect">
            <a:avLst>
              <a:gd name="adj" fmla="val 5394"/>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black"/>
                </a:solidFill>
                <a:effectLst/>
                <a:uLnTx/>
                <a:uFillTx/>
                <a:latin typeface="Santander Text" panose="020B0504020201020104"/>
                <a:ea typeface="+mn-ea"/>
                <a:cs typeface="+mn-cs"/>
              </a:rPr>
              <a:t>Data troubleshooting</a:t>
            </a:r>
          </a:p>
        </p:txBody>
      </p:sp>
      <p:sp>
        <p:nvSpPr>
          <p:cNvPr id="121" name="Rectangle: Rounded Corners 1218">
            <a:extLst>
              <a:ext uri="{FF2B5EF4-FFF2-40B4-BE49-F238E27FC236}">
                <a16:creationId xmlns:a16="http://schemas.microsoft.com/office/drawing/2014/main" id="{065953E7-BBC4-2798-BEA5-9FA6A1FBD9A6}"/>
              </a:ext>
            </a:extLst>
          </p:cNvPr>
          <p:cNvSpPr/>
          <p:nvPr/>
        </p:nvSpPr>
        <p:spPr>
          <a:xfrm>
            <a:off x="6936402" y="3634703"/>
            <a:ext cx="255505" cy="238715"/>
          </a:xfrm>
          <a:prstGeom prst="flowChartDecision">
            <a:avLst/>
          </a:prstGeom>
          <a:solidFill>
            <a:schemeClr val="bg1"/>
          </a:solidFill>
          <a:ln w="12700" cap="flat" cmpd="sng" algn="ctr">
            <a:solidFill>
              <a:srgbClr val="ED0202"/>
            </a:solidFill>
            <a:prstDash val="solid"/>
            <a:miter lim="800000"/>
          </a:ln>
          <a:effectLst>
            <a:outerShdw blurRad="50800" dist="38100" dir="5400000" algn="t"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22" name="CuadroTexto 121">
            <a:extLst>
              <a:ext uri="{FF2B5EF4-FFF2-40B4-BE49-F238E27FC236}">
                <a16:creationId xmlns:a16="http://schemas.microsoft.com/office/drawing/2014/main" id="{7164B5DC-8B27-2046-9CE7-00664663DA0A}"/>
              </a:ext>
            </a:extLst>
          </p:cNvPr>
          <p:cNvSpPr txBox="1"/>
          <p:nvPr/>
        </p:nvSpPr>
        <p:spPr>
          <a:xfrm>
            <a:off x="7090033" y="3774527"/>
            <a:ext cx="61587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9B2D1F"/>
                </a:solidFill>
                <a:effectLst/>
                <a:uLnTx/>
                <a:uFillTx/>
                <a:latin typeface="Santander Text" panose="020B0504020201020104"/>
                <a:ea typeface="+mn-ea"/>
                <a:cs typeface="+mn-cs"/>
              </a:rPr>
              <a:t>SOLVED?</a:t>
            </a:r>
          </a:p>
        </p:txBody>
      </p:sp>
      <p:cxnSp>
        <p:nvCxnSpPr>
          <p:cNvPr id="125" name="Conector recto de flecha 124">
            <a:extLst>
              <a:ext uri="{FF2B5EF4-FFF2-40B4-BE49-F238E27FC236}">
                <a16:creationId xmlns:a16="http://schemas.microsoft.com/office/drawing/2014/main" id="{9CAFA4F0-8B71-5D03-871A-8201A653C7E3}"/>
              </a:ext>
            </a:extLst>
          </p:cNvPr>
          <p:cNvCxnSpPr>
            <a:cxnSpLocks/>
            <a:stCxn id="121" idx="0"/>
          </p:cNvCxnSpPr>
          <p:nvPr/>
        </p:nvCxnSpPr>
        <p:spPr>
          <a:xfrm flipH="1" flipV="1">
            <a:off x="7061734" y="3420722"/>
            <a:ext cx="2421" cy="213981"/>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175" name="Conector recto de flecha 174">
            <a:extLst>
              <a:ext uri="{FF2B5EF4-FFF2-40B4-BE49-F238E27FC236}">
                <a16:creationId xmlns:a16="http://schemas.microsoft.com/office/drawing/2014/main" id="{AC078872-66C3-2710-4118-E2D161642DAD}"/>
              </a:ext>
            </a:extLst>
          </p:cNvPr>
          <p:cNvCxnSpPr>
            <a:cxnSpLocks/>
            <a:endCxn id="121" idx="1"/>
          </p:cNvCxnSpPr>
          <p:nvPr/>
        </p:nvCxnSpPr>
        <p:spPr>
          <a:xfrm>
            <a:off x="6654645" y="3754061"/>
            <a:ext cx="281757" cy="0"/>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sp>
        <p:nvSpPr>
          <p:cNvPr id="177" name="CuadroTexto 176">
            <a:extLst>
              <a:ext uri="{FF2B5EF4-FFF2-40B4-BE49-F238E27FC236}">
                <a16:creationId xmlns:a16="http://schemas.microsoft.com/office/drawing/2014/main" id="{4BAFFF52-F1CD-16FF-052A-D5F415F44494}"/>
              </a:ext>
            </a:extLst>
          </p:cNvPr>
          <p:cNvSpPr txBox="1"/>
          <p:nvPr/>
        </p:nvSpPr>
        <p:spPr>
          <a:xfrm>
            <a:off x="7067337" y="3452153"/>
            <a:ext cx="35458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9B2D1F"/>
                </a:solidFill>
                <a:effectLst/>
                <a:uLnTx/>
                <a:uFillTx/>
                <a:latin typeface="Santander Text" panose="020B0504020201020104"/>
                <a:ea typeface="+mn-ea"/>
                <a:cs typeface="+mn-cs"/>
              </a:rPr>
              <a:t>YES</a:t>
            </a:r>
          </a:p>
        </p:txBody>
      </p:sp>
      <p:sp>
        <p:nvSpPr>
          <p:cNvPr id="178" name="CuadroTexto 177">
            <a:extLst>
              <a:ext uri="{FF2B5EF4-FFF2-40B4-BE49-F238E27FC236}">
                <a16:creationId xmlns:a16="http://schemas.microsoft.com/office/drawing/2014/main" id="{90804573-94A8-F3FC-701C-0D640B79F9A6}"/>
              </a:ext>
            </a:extLst>
          </p:cNvPr>
          <p:cNvSpPr txBox="1"/>
          <p:nvPr/>
        </p:nvSpPr>
        <p:spPr>
          <a:xfrm>
            <a:off x="7075352" y="4118662"/>
            <a:ext cx="33855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9B2D1F"/>
                </a:solidFill>
                <a:effectLst/>
                <a:uLnTx/>
                <a:uFillTx/>
                <a:latin typeface="Santander Text" panose="020B0504020201020104"/>
                <a:ea typeface="+mn-ea"/>
                <a:cs typeface="+mn-cs"/>
              </a:rPr>
              <a:t>NO</a:t>
            </a:r>
          </a:p>
        </p:txBody>
      </p:sp>
      <p:cxnSp>
        <p:nvCxnSpPr>
          <p:cNvPr id="179" name="Conector recto de flecha 178">
            <a:extLst>
              <a:ext uri="{FF2B5EF4-FFF2-40B4-BE49-F238E27FC236}">
                <a16:creationId xmlns:a16="http://schemas.microsoft.com/office/drawing/2014/main" id="{2DB2811F-A77B-520C-E569-638D762E4299}"/>
              </a:ext>
            </a:extLst>
          </p:cNvPr>
          <p:cNvCxnSpPr>
            <a:cxnSpLocks/>
          </p:cNvCxnSpPr>
          <p:nvPr/>
        </p:nvCxnSpPr>
        <p:spPr>
          <a:xfrm>
            <a:off x="7060011" y="3896185"/>
            <a:ext cx="0" cy="910161"/>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sp>
        <p:nvSpPr>
          <p:cNvPr id="322" name="Rectangle: Rounded Corners 1218">
            <a:extLst>
              <a:ext uri="{FF2B5EF4-FFF2-40B4-BE49-F238E27FC236}">
                <a16:creationId xmlns:a16="http://schemas.microsoft.com/office/drawing/2014/main" id="{70A3065B-9FBF-47A5-78CF-092C967256A9}"/>
              </a:ext>
            </a:extLst>
          </p:cNvPr>
          <p:cNvSpPr/>
          <p:nvPr/>
        </p:nvSpPr>
        <p:spPr>
          <a:xfrm>
            <a:off x="3922302" y="3499062"/>
            <a:ext cx="1119787" cy="899566"/>
          </a:xfrm>
          <a:prstGeom prst="roundRect">
            <a:avLst>
              <a:gd name="adj" fmla="val 5394"/>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black"/>
                </a:solidFill>
                <a:effectLst/>
                <a:uLnTx/>
                <a:uFillTx/>
                <a:latin typeface="Santander Text" panose="020B0504020201020104"/>
                <a:ea typeface="+mn-ea"/>
                <a:cs typeface="+mn-cs"/>
              </a:rPr>
              <a:t>FMIs Oracle D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black"/>
                </a:solidFill>
                <a:effectLst/>
                <a:uLnTx/>
                <a:uFillTx/>
                <a:latin typeface="Santander Text" panose="020B0504020201020104"/>
                <a:ea typeface="+mn-ea"/>
                <a:cs typeface="+mn-cs"/>
              </a:rPr>
              <a:t>(Historical Data)</a:t>
            </a:r>
          </a:p>
        </p:txBody>
      </p:sp>
      <p:grpSp>
        <p:nvGrpSpPr>
          <p:cNvPr id="323" name="Database3" descr="{&quot;Key&quot;:&quot;POWER_USER_SHAPE_ICON&quot;,&quot;Value&quot;:&quot;POWER_USER_SHAPE_ICON_STYLE_1&quot;}">
            <a:extLst>
              <a:ext uri="{FF2B5EF4-FFF2-40B4-BE49-F238E27FC236}">
                <a16:creationId xmlns:a16="http://schemas.microsoft.com/office/drawing/2014/main" id="{370BDB69-C7B9-17CF-3613-EAAC32430CED}"/>
              </a:ext>
            </a:extLst>
          </p:cNvPr>
          <p:cNvGrpSpPr>
            <a:grpSpLocks noChangeAspect="1"/>
          </p:cNvGrpSpPr>
          <p:nvPr/>
        </p:nvGrpSpPr>
        <p:grpSpPr>
          <a:xfrm>
            <a:off x="4382623" y="3913026"/>
            <a:ext cx="264993" cy="424592"/>
            <a:chOff x="3805239" y="5622926"/>
            <a:chExt cx="279400" cy="447676"/>
          </a:xfrm>
          <a:solidFill>
            <a:schemeClr val="dk1"/>
          </a:solidFill>
        </p:grpSpPr>
        <p:sp>
          <p:nvSpPr>
            <p:cNvPr id="324" name="Freeform 490">
              <a:extLst>
                <a:ext uri="{FF2B5EF4-FFF2-40B4-BE49-F238E27FC236}">
                  <a16:creationId xmlns:a16="http://schemas.microsoft.com/office/drawing/2014/main" id="{7341C0D4-B7C4-C0CA-0573-75DA97149032}"/>
                </a:ext>
              </a:extLst>
            </p:cNvPr>
            <p:cNvSpPr>
              <a:spLocks noEditPoints="1"/>
            </p:cNvSpPr>
            <p:nvPr/>
          </p:nvSpPr>
          <p:spPr bwMode="auto">
            <a:xfrm>
              <a:off x="3805239" y="5622926"/>
              <a:ext cx="279400" cy="131763"/>
            </a:xfrm>
            <a:custGeom>
              <a:avLst/>
              <a:gdLst>
                <a:gd name="T0" fmla="*/ 184 w 368"/>
                <a:gd name="T1" fmla="*/ 17 h 173"/>
                <a:gd name="T2" fmla="*/ 16 w 368"/>
                <a:gd name="T3" fmla="*/ 86 h 173"/>
                <a:gd name="T4" fmla="*/ 184 w 368"/>
                <a:gd name="T5" fmla="*/ 156 h 173"/>
                <a:gd name="T6" fmla="*/ 351 w 368"/>
                <a:gd name="T7" fmla="*/ 86 h 173"/>
                <a:gd name="T8" fmla="*/ 184 w 368"/>
                <a:gd name="T9" fmla="*/ 17 h 173"/>
                <a:gd name="T10" fmla="*/ 184 w 368"/>
                <a:gd name="T11" fmla="*/ 173 h 173"/>
                <a:gd name="T12" fmla="*/ 0 w 368"/>
                <a:gd name="T13" fmla="*/ 86 h 173"/>
                <a:gd name="T14" fmla="*/ 184 w 368"/>
                <a:gd name="T15" fmla="*/ 0 h 173"/>
                <a:gd name="T16" fmla="*/ 368 w 368"/>
                <a:gd name="T17" fmla="*/ 86 h 173"/>
                <a:gd name="T18" fmla="*/ 184 w 368"/>
                <a:gd name="T1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8" h="173">
                  <a:moveTo>
                    <a:pt x="184" y="17"/>
                  </a:moveTo>
                  <a:cubicBezTo>
                    <a:pt x="84" y="17"/>
                    <a:pt x="16" y="53"/>
                    <a:pt x="16" y="86"/>
                  </a:cubicBezTo>
                  <a:cubicBezTo>
                    <a:pt x="16" y="120"/>
                    <a:pt x="84" y="156"/>
                    <a:pt x="184" y="156"/>
                  </a:cubicBezTo>
                  <a:cubicBezTo>
                    <a:pt x="284" y="156"/>
                    <a:pt x="351" y="120"/>
                    <a:pt x="351" y="86"/>
                  </a:cubicBezTo>
                  <a:cubicBezTo>
                    <a:pt x="351" y="53"/>
                    <a:pt x="284" y="17"/>
                    <a:pt x="184" y="17"/>
                  </a:cubicBezTo>
                  <a:close/>
                  <a:moveTo>
                    <a:pt x="184" y="173"/>
                  </a:moveTo>
                  <a:cubicBezTo>
                    <a:pt x="81" y="173"/>
                    <a:pt x="0" y="135"/>
                    <a:pt x="0" y="86"/>
                  </a:cubicBezTo>
                  <a:cubicBezTo>
                    <a:pt x="0" y="38"/>
                    <a:pt x="81" y="0"/>
                    <a:pt x="184" y="0"/>
                  </a:cubicBezTo>
                  <a:cubicBezTo>
                    <a:pt x="287" y="0"/>
                    <a:pt x="368" y="38"/>
                    <a:pt x="368" y="86"/>
                  </a:cubicBezTo>
                  <a:cubicBezTo>
                    <a:pt x="368" y="135"/>
                    <a:pt x="287" y="173"/>
                    <a:pt x="184" y="17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325" name="Freeform 491">
              <a:extLst>
                <a:ext uri="{FF2B5EF4-FFF2-40B4-BE49-F238E27FC236}">
                  <a16:creationId xmlns:a16="http://schemas.microsoft.com/office/drawing/2014/main" id="{4023280D-0E09-44B4-6248-323632F9C408}"/>
                </a:ext>
              </a:extLst>
            </p:cNvPr>
            <p:cNvSpPr>
              <a:spLocks/>
            </p:cNvSpPr>
            <p:nvPr/>
          </p:nvSpPr>
          <p:spPr bwMode="auto">
            <a:xfrm>
              <a:off x="3805239" y="5768976"/>
              <a:ext cx="279400" cy="65088"/>
            </a:xfrm>
            <a:custGeom>
              <a:avLst/>
              <a:gdLst>
                <a:gd name="T0" fmla="*/ 184 w 368"/>
                <a:gd name="T1" fmla="*/ 86 h 86"/>
                <a:gd name="T2" fmla="*/ 0 w 368"/>
                <a:gd name="T3" fmla="*/ 0 h 86"/>
                <a:gd name="T4" fmla="*/ 16 w 368"/>
                <a:gd name="T5" fmla="*/ 0 h 86"/>
                <a:gd name="T6" fmla="*/ 184 w 368"/>
                <a:gd name="T7" fmla="*/ 69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3"/>
                    <a:pt x="84" y="69"/>
                    <a:pt x="184" y="69"/>
                  </a:cubicBezTo>
                  <a:cubicBezTo>
                    <a:pt x="284" y="69"/>
                    <a:pt x="351" y="33"/>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326" name="Freeform 492">
              <a:extLst>
                <a:ext uri="{FF2B5EF4-FFF2-40B4-BE49-F238E27FC236}">
                  <a16:creationId xmlns:a16="http://schemas.microsoft.com/office/drawing/2014/main" id="{FED95A30-8FB7-231E-4CA7-DDF675062F02}"/>
                </a:ext>
              </a:extLst>
            </p:cNvPr>
            <p:cNvSpPr>
              <a:spLocks/>
            </p:cNvSpPr>
            <p:nvPr/>
          </p:nvSpPr>
          <p:spPr bwMode="auto">
            <a:xfrm>
              <a:off x="3805239" y="5848351"/>
              <a:ext cx="279400" cy="65088"/>
            </a:xfrm>
            <a:custGeom>
              <a:avLst/>
              <a:gdLst>
                <a:gd name="T0" fmla="*/ 184 w 368"/>
                <a:gd name="T1" fmla="*/ 86 h 86"/>
                <a:gd name="T2" fmla="*/ 0 w 368"/>
                <a:gd name="T3" fmla="*/ 0 h 86"/>
                <a:gd name="T4" fmla="*/ 16 w 368"/>
                <a:gd name="T5" fmla="*/ 0 h 86"/>
                <a:gd name="T6" fmla="*/ 184 w 368"/>
                <a:gd name="T7" fmla="*/ 70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4"/>
                    <a:pt x="84" y="70"/>
                    <a:pt x="184" y="70"/>
                  </a:cubicBezTo>
                  <a:cubicBezTo>
                    <a:pt x="284" y="70"/>
                    <a:pt x="351" y="34"/>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327" name="Freeform 493">
              <a:extLst>
                <a:ext uri="{FF2B5EF4-FFF2-40B4-BE49-F238E27FC236}">
                  <a16:creationId xmlns:a16="http://schemas.microsoft.com/office/drawing/2014/main" id="{7E9162ED-9223-8084-B232-3DC9FA30FF66}"/>
                </a:ext>
              </a:extLst>
            </p:cNvPr>
            <p:cNvSpPr>
              <a:spLocks/>
            </p:cNvSpPr>
            <p:nvPr/>
          </p:nvSpPr>
          <p:spPr bwMode="auto">
            <a:xfrm>
              <a:off x="3805239" y="5689601"/>
              <a:ext cx="279400" cy="304800"/>
            </a:xfrm>
            <a:custGeom>
              <a:avLst/>
              <a:gdLst>
                <a:gd name="T0" fmla="*/ 184 w 368"/>
                <a:gd name="T1" fmla="*/ 400 h 400"/>
                <a:gd name="T2" fmla="*/ 0 w 368"/>
                <a:gd name="T3" fmla="*/ 314 h 400"/>
                <a:gd name="T4" fmla="*/ 0 w 368"/>
                <a:gd name="T5" fmla="*/ 0 h 400"/>
                <a:gd name="T6" fmla="*/ 16 w 368"/>
                <a:gd name="T7" fmla="*/ 0 h 400"/>
                <a:gd name="T8" fmla="*/ 16 w 368"/>
                <a:gd name="T9" fmla="*/ 314 h 400"/>
                <a:gd name="T10" fmla="*/ 184 w 368"/>
                <a:gd name="T11" fmla="*/ 383 h 400"/>
                <a:gd name="T12" fmla="*/ 351 w 368"/>
                <a:gd name="T13" fmla="*/ 314 h 400"/>
                <a:gd name="T14" fmla="*/ 351 w 368"/>
                <a:gd name="T15" fmla="*/ 0 h 400"/>
                <a:gd name="T16" fmla="*/ 368 w 368"/>
                <a:gd name="T17" fmla="*/ 0 h 400"/>
                <a:gd name="T18" fmla="*/ 368 w 368"/>
                <a:gd name="T19" fmla="*/ 314 h 400"/>
                <a:gd name="T20" fmla="*/ 184 w 368"/>
                <a:gd name="T21" fmla="*/ 4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400">
                  <a:moveTo>
                    <a:pt x="184" y="400"/>
                  </a:moveTo>
                  <a:cubicBezTo>
                    <a:pt x="81" y="400"/>
                    <a:pt x="0" y="362"/>
                    <a:pt x="0" y="314"/>
                  </a:cubicBezTo>
                  <a:lnTo>
                    <a:pt x="0" y="0"/>
                  </a:lnTo>
                  <a:lnTo>
                    <a:pt x="16" y="0"/>
                  </a:lnTo>
                  <a:lnTo>
                    <a:pt x="16" y="314"/>
                  </a:lnTo>
                  <a:cubicBezTo>
                    <a:pt x="16" y="347"/>
                    <a:pt x="84" y="383"/>
                    <a:pt x="184" y="383"/>
                  </a:cubicBezTo>
                  <a:cubicBezTo>
                    <a:pt x="284" y="383"/>
                    <a:pt x="351" y="347"/>
                    <a:pt x="351" y="314"/>
                  </a:cubicBezTo>
                  <a:lnTo>
                    <a:pt x="351" y="0"/>
                  </a:lnTo>
                  <a:lnTo>
                    <a:pt x="368" y="0"/>
                  </a:lnTo>
                  <a:lnTo>
                    <a:pt x="368" y="314"/>
                  </a:lnTo>
                  <a:cubicBezTo>
                    <a:pt x="368" y="362"/>
                    <a:pt x="287" y="400"/>
                    <a:pt x="184"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328" name="Freeform 494">
              <a:extLst>
                <a:ext uri="{FF2B5EF4-FFF2-40B4-BE49-F238E27FC236}">
                  <a16:creationId xmlns:a16="http://schemas.microsoft.com/office/drawing/2014/main" id="{C894334A-A159-C8BD-3D66-72FEEEC14F9F}"/>
                </a:ext>
              </a:extLst>
            </p:cNvPr>
            <p:cNvSpPr>
              <a:spLocks noEditPoints="1"/>
            </p:cNvSpPr>
            <p:nvPr/>
          </p:nvSpPr>
          <p:spPr bwMode="auto">
            <a:xfrm>
              <a:off x="3905251" y="5778501"/>
              <a:ext cx="80963" cy="15875"/>
            </a:xfrm>
            <a:custGeom>
              <a:avLst/>
              <a:gdLst>
                <a:gd name="T0" fmla="*/ 87 w 106"/>
                <a:gd name="T1" fmla="*/ 3 h 22"/>
                <a:gd name="T2" fmla="*/ 103 w 106"/>
                <a:gd name="T3" fmla="*/ 0 h 22"/>
                <a:gd name="T4" fmla="*/ 106 w 106"/>
                <a:gd name="T5" fmla="*/ 17 h 22"/>
                <a:gd name="T6" fmla="*/ 89 w 106"/>
                <a:gd name="T7" fmla="*/ 20 h 22"/>
                <a:gd name="T8" fmla="*/ 87 w 106"/>
                <a:gd name="T9" fmla="*/ 3 h 22"/>
                <a:gd name="T10" fmla="*/ 8 w 106"/>
                <a:gd name="T11" fmla="*/ 18 h 22"/>
                <a:gd name="T12" fmla="*/ 0 w 106"/>
                <a:gd name="T13" fmla="*/ 17 h 22"/>
                <a:gd name="T14" fmla="*/ 3 w 106"/>
                <a:gd name="T15" fmla="*/ 0 h 22"/>
                <a:gd name="T16" fmla="*/ 19 w 106"/>
                <a:gd name="T17" fmla="*/ 3 h 22"/>
                <a:gd name="T18" fmla="*/ 17 w 106"/>
                <a:gd name="T19" fmla="*/ 20 h 22"/>
                <a:gd name="T20" fmla="*/ 8 w 106"/>
                <a:gd name="T21" fmla="*/ 18 h 22"/>
                <a:gd name="T22" fmla="*/ 45 w 106"/>
                <a:gd name="T23" fmla="*/ 22 h 22"/>
                <a:gd name="T24" fmla="*/ 45 w 106"/>
                <a:gd name="T25" fmla="*/ 5 h 22"/>
                <a:gd name="T26" fmla="*/ 61 w 106"/>
                <a:gd name="T27" fmla="*/ 5 h 22"/>
                <a:gd name="T28" fmla="*/ 61 w 106"/>
                <a:gd name="T29" fmla="*/ 22 h 22"/>
                <a:gd name="T30" fmla="*/ 53 w 106"/>
                <a:gd name="T31" fmla="*/ 22 h 22"/>
                <a:gd name="T32" fmla="*/ 45 w 106"/>
                <a:gd name="T3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2">
                  <a:moveTo>
                    <a:pt x="87" y="3"/>
                  </a:moveTo>
                  <a:lnTo>
                    <a:pt x="103" y="0"/>
                  </a:lnTo>
                  <a:lnTo>
                    <a:pt x="106" y="17"/>
                  </a:lnTo>
                  <a:lnTo>
                    <a:pt x="89" y="20"/>
                  </a:lnTo>
                  <a:lnTo>
                    <a:pt x="87" y="3"/>
                  </a:lnTo>
                  <a:close/>
                  <a:moveTo>
                    <a:pt x="8" y="18"/>
                  </a:moveTo>
                  <a:lnTo>
                    <a:pt x="0" y="17"/>
                  </a:lnTo>
                  <a:lnTo>
                    <a:pt x="3" y="0"/>
                  </a:lnTo>
                  <a:lnTo>
                    <a:pt x="19" y="3"/>
                  </a:lnTo>
                  <a:lnTo>
                    <a:pt x="17" y="20"/>
                  </a:lnTo>
                  <a:lnTo>
                    <a:pt x="8" y="18"/>
                  </a:lnTo>
                  <a:close/>
                  <a:moveTo>
                    <a:pt x="45" y="22"/>
                  </a:moveTo>
                  <a:lnTo>
                    <a:pt x="45" y="5"/>
                  </a:lnTo>
                  <a:lnTo>
                    <a:pt x="61" y="5"/>
                  </a:lnTo>
                  <a:lnTo>
                    <a:pt x="61" y="22"/>
                  </a:lnTo>
                  <a:lnTo>
                    <a:pt x="53" y="22"/>
                  </a:lnTo>
                  <a:lnTo>
                    <a:pt x="45"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329" name="Freeform 495">
              <a:extLst>
                <a:ext uri="{FF2B5EF4-FFF2-40B4-BE49-F238E27FC236}">
                  <a16:creationId xmlns:a16="http://schemas.microsoft.com/office/drawing/2014/main" id="{C83E0772-F6AD-46E4-C902-35C981B0E909}"/>
                </a:ext>
              </a:extLst>
            </p:cNvPr>
            <p:cNvSpPr>
              <a:spLocks/>
            </p:cNvSpPr>
            <p:nvPr/>
          </p:nvSpPr>
          <p:spPr bwMode="auto">
            <a:xfrm>
              <a:off x="3805239" y="5762626"/>
              <a:ext cx="279400" cy="71438"/>
            </a:xfrm>
            <a:custGeom>
              <a:avLst/>
              <a:gdLst>
                <a:gd name="T0" fmla="*/ 184 w 368"/>
                <a:gd name="T1" fmla="*/ 95 h 95"/>
                <a:gd name="T2" fmla="*/ 0 w 368"/>
                <a:gd name="T3" fmla="*/ 9 h 95"/>
                <a:gd name="T4" fmla="*/ 0 w 368"/>
                <a:gd name="T5" fmla="*/ 0 h 95"/>
                <a:gd name="T6" fmla="*/ 16 w 368"/>
                <a:gd name="T7" fmla="*/ 0 h 95"/>
                <a:gd name="T8" fmla="*/ 16 w 368"/>
                <a:gd name="T9" fmla="*/ 9 h 95"/>
                <a:gd name="T10" fmla="*/ 184 w 368"/>
                <a:gd name="T11" fmla="*/ 78 h 95"/>
                <a:gd name="T12" fmla="*/ 351 w 368"/>
                <a:gd name="T13" fmla="*/ 9 h 95"/>
                <a:gd name="T14" fmla="*/ 351 w 368"/>
                <a:gd name="T15" fmla="*/ 0 h 95"/>
                <a:gd name="T16" fmla="*/ 368 w 368"/>
                <a:gd name="T17" fmla="*/ 0 h 95"/>
                <a:gd name="T18" fmla="*/ 368 w 368"/>
                <a:gd name="T19" fmla="*/ 9 h 95"/>
                <a:gd name="T20" fmla="*/ 184 w 368"/>
                <a:gd name="T21"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95">
                  <a:moveTo>
                    <a:pt x="184" y="95"/>
                  </a:moveTo>
                  <a:cubicBezTo>
                    <a:pt x="81" y="95"/>
                    <a:pt x="0" y="57"/>
                    <a:pt x="0" y="9"/>
                  </a:cubicBezTo>
                  <a:lnTo>
                    <a:pt x="0" y="0"/>
                  </a:lnTo>
                  <a:lnTo>
                    <a:pt x="16" y="0"/>
                  </a:lnTo>
                  <a:lnTo>
                    <a:pt x="16" y="9"/>
                  </a:lnTo>
                  <a:cubicBezTo>
                    <a:pt x="16" y="42"/>
                    <a:pt x="84" y="78"/>
                    <a:pt x="184" y="78"/>
                  </a:cubicBezTo>
                  <a:cubicBezTo>
                    <a:pt x="284" y="78"/>
                    <a:pt x="351" y="42"/>
                    <a:pt x="351" y="9"/>
                  </a:cubicBezTo>
                  <a:lnTo>
                    <a:pt x="351" y="0"/>
                  </a:lnTo>
                  <a:lnTo>
                    <a:pt x="368" y="0"/>
                  </a:lnTo>
                  <a:lnTo>
                    <a:pt x="368" y="9"/>
                  </a:lnTo>
                  <a:cubicBezTo>
                    <a:pt x="368" y="57"/>
                    <a:pt x="287" y="95"/>
                    <a:pt x="184" y="9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330" name="Freeform 496">
              <a:extLst>
                <a:ext uri="{FF2B5EF4-FFF2-40B4-BE49-F238E27FC236}">
                  <a16:creationId xmlns:a16="http://schemas.microsoft.com/office/drawing/2014/main" id="{8550BB12-7906-96FB-CC42-7907DAD9B271}"/>
                </a:ext>
              </a:extLst>
            </p:cNvPr>
            <p:cNvSpPr>
              <a:spLocks noEditPoints="1"/>
            </p:cNvSpPr>
            <p:nvPr/>
          </p:nvSpPr>
          <p:spPr bwMode="auto">
            <a:xfrm>
              <a:off x="3905251" y="5857876"/>
              <a:ext cx="80963" cy="15875"/>
            </a:xfrm>
            <a:custGeom>
              <a:avLst/>
              <a:gdLst>
                <a:gd name="T0" fmla="*/ 87 w 106"/>
                <a:gd name="T1" fmla="*/ 2 h 21"/>
                <a:gd name="T2" fmla="*/ 95 w 106"/>
                <a:gd name="T3" fmla="*/ 1 h 21"/>
                <a:gd name="T4" fmla="*/ 95 w 106"/>
                <a:gd name="T5" fmla="*/ 1 h 21"/>
                <a:gd name="T6" fmla="*/ 103 w 106"/>
                <a:gd name="T7" fmla="*/ 0 h 21"/>
                <a:gd name="T8" fmla="*/ 106 w 106"/>
                <a:gd name="T9" fmla="*/ 16 h 21"/>
                <a:gd name="T10" fmla="*/ 89 w 106"/>
                <a:gd name="T11" fmla="*/ 19 h 21"/>
                <a:gd name="T12" fmla="*/ 87 w 106"/>
                <a:gd name="T13" fmla="*/ 2 h 21"/>
                <a:gd name="T14" fmla="*/ 8 w 106"/>
                <a:gd name="T15" fmla="*/ 17 h 21"/>
                <a:gd name="T16" fmla="*/ 0 w 106"/>
                <a:gd name="T17" fmla="*/ 16 h 21"/>
                <a:gd name="T18" fmla="*/ 3 w 106"/>
                <a:gd name="T19" fmla="*/ 0 h 21"/>
                <a:gd name="T20" fmla="*/ 19 w 106"/>
                <a:gd name="T21" fmla="*/ 2 h 21"/>
                <a:gd name="T22" fmla="*/ 17 w 106"/>
                <a:gd name="T23" fmla="*/ 19 h 21"/>
                <a:gd name="T24" fmla="*/ 8 w 106"/>
                <a:gd name="T25" fmla="*/ 17 h 21"/>
                <a:gd name="T26" fmla="*/ 45 w 106"/>
                <a:gd name="T27" fmla="*/ 21 h 21"/>
                <a:gd name="T28" fmla="*/ 45 w 106"/>
                <a:gd name="T29" fmla="*/ 4 h 21"/>
                <a:gd name="T30" fmla="*/ 61 w 106"/>
                <a:gd name="T31" fmla="*/ 4 h 21"/>
                <a:gd name="T32" fmla="*/ 61 w 106"/>
                <a:gd name="T33" fmla="*/ 21 h 21"/>
                <a:gd name="T34" fmla="*/ 53 w 106"/>
                <a:gd name="T35" fmla="*/ 21 h 21"/>
                <a:gd name="T36" fmla="*/ 45 w 106"/>
                <a:gd name="T3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1">
                  <a:moveTo>
                    <a:pt x="87" y="2"/>
                  </a:moveTo>
                  <a:lnTo>
                    <a:pt x="95" y="1"/>
                  </a:lnTo>
                  <a:lnTo>
                    <a:pt x="95" y="1"/>
                  </a:lnTo>
                  <a:lnTo>
                    <a:pt x="103" y="0"/>
                  </a:lnTo>
                  <a:lnTo>
                    <a:pt x="106" y="16"/>
                  </a:lnTo>
                  <a:lnTo>
                    <a:pt x="89" y="19"/>
                  </a:lnTo>
                  <a:lnTo>
                    <a:pt x="87" y="2"/>
                  </a:lnTo>
                  <a:close/>
                  <a:moveTo>
                    <a:pt x="8" y="17"/>
                  </a:moveTo>
                  <a:lnTo>
                    <a:pt x="0" y="16"/>
                  </a:lnTo>
                  <a:lnTo>
                    <a:pt x="3" y="0"/>
                  </a:lnTo>
                  <a:lnTo>
                    <a:pt x="19" y="2"/>
                  </a:lnTo>
                  <a:lnTo>
                    <a:pt x="17" y="19"/>
                  </a:lnTo>
                  <a:lnTo>
                    <a:pt x="8" y="17"/>
                  </a:lnTo>
                  <a:close/>
                  <a:moveTo>
                    <a:pt x="45" y="21"/>
                  </a:moveTo>
                  <a:lnTo>
                    <a:pt x="45" y="4"/>
                  </a:lnTo>
                  <a:lnTo>
                    <a:pt x="61" y="4"/>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331" name="Freeform 497">
              <a:extLst>
                <a:ext uri="{FF2B5EF4-FFF2-40B4-BE49-F238E27FC236}">
                  <a16:creationId xmlns:a16="http://schemas.microsoft.com/office/drawing/2014/main" id="{B9F4373F-85D8-323E-54FF-F9099B9E9DB5}"/>
                </a:ext>
              </a:extLst>
            </p:cNvPr>
            <p:cNvSpPr>
              <a:spLocks noEditPoints="1"/>
            </p:cNvSpPr>
            <p:nvPr/>
          </p:nvSpPr>
          <p:spPr bwMode="auto">
            <a:xfrm>
              <a:off x="3905251" y="5937251"/>
              <a:ext cx="80963" cy="15875"/>
            </a:xfrm>
            <a:custGeom>
              <a:avLst/>
              <a:gdLst>
                <a:gd name="T0" fmla="*/ 87 w 106"/>
                <a:gd name="T1" fmla="*/ 3 h 21"/>
                <a:gd name="T2" fmla="*/ 103 w 106"/>
                <a:gd name="T3" fmla="*/ 0 h 21"/>
                <a:gd name="T4" fmla="*/ 106 w 106"/>
                <a:gd name="T5" fmla="*/ 16 h 21"/>
                <a:gd name="T6" fmla="*/ 89 w 106"/>
                <a:gd name="T7" fmla="*/ 19 h 21"/>
                <a:gd name="T8" fmla="*/ 87 w 106"/>
                <a:gd name="T9" fmla="*/ 3 h 21"/>
                <a:gd name="T10" fmla="*/ 8 w 106"/>
                <a:gd name="T11" fmla="*/ 18 h 21"/>
                <a:gd name="T12" fmla="*/ 0 w 106"/>
                <a:gd name="T13" fmla="*/ 16 h 21"/>
                <a:gd name="T14" fmla="*/ 3 w 106"/>
                <a:gd name="T15" fmla="*/ 0 h 21"/>
                <a:gd name="T16" fmla="*/ 19 w 106"/>
                <a:gd name="T17" fmla="*/ 3 h 21"/>
                <a:gd name="T18" fmla="*/ 17 w 106"/>
                <a:gd name="T19" fmla="*/ 19 h 21"/>
                <a:gd name="T20" fmla="*/ 8 w 106"/>
                <a:gd name="T21" fmla="*/ 18 h 21"/>
                <a:gd name="T22" fmla="*/ 45 w 106"/>
                <a:gd name="T23" fmla="*/ 21 h 21"/>
                <a:gd name="T24" fmla="*/ 45 w 106"/>
                <a:gd name="T25" fmla="*/ 5 h 21"/>
                <a:gd name="T26" fmla="*/ 61 w 106"/>
                <a:gd name="T27" fmla="*/ 5 h 21"/>
                <a:gd name="T28" fmla="*/ 61 w 106"/>
                <a:gd name="T29" fmla="*/ 21 h 21"/>
                <a:gd name="T30" fmla="*/ 53 w 106"/>
                <a:gd name="T31" fmla="*/ 21 h 21"/>
                <a:gd name="T32" fmla="*/ 45 w 106"/>
                <a:gd name="T3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1">
                  <a:moveTo>
                    <a:pt x="87" y="3"/>
                  </a:moveTo>
                  <a:lnTo>
                    <a:pt x="103" y="0"/>
                  </a:lnTo>
                  <a:lnTo>
                    <a:pt x="106" y="16"/>
                  </a:lnTo>
                  <a:lnTo>
                    <a:pt x="89" y="19"/>
                  </a:lnTo>
                  <a:lnTo>
                    <a:pt x="87" y="3"/>
                  </a:lnTo>
                  <a:close/>
                  <a:moveTo>
                    <a:pt x="8" y="18"/>
                  </a:moveTo>
                  <a:lnTo>
                    <a:pt x="0" y="16"/>
                  </a:lnTo>
                  <a:lnTo>
                    <a:pt x="3" y="0"/>
                  </a:lnTo>
                  <a:lnTo>
                    <a:pt x="19" y="3"/>
                  </a:lnTo>
                  <a:lnTo>
                    <a:pt x="17" y="19"/>
                  </a:lnTo>
                  <a:lnTo>
                    <a:pt x="8" y="18"/>
                  </a:lnTo>
                  <a:close/>
                  <a:moveTo>
                    <a:pt x="45" y="21"/>
                  </a:moveTo>
                  <a:lnTo>
                    <a:pt x="45" y="5"/>
                  </a:lnTo>
                  <a:lnTo>
                    <a:pt x="61" y="5"/>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334" name="Rectangle 498">
              <a:extLst>
                <a:ext uri="{FF2B5EF4-FFF2-40B4-BE49-F238E27FC236}">
                  <a16:creationId xmlns:a16="http://schemas.microsoft.com/office/drawing/2014/main" id="{F678FFF1-4F5E-837E-3DC7-0A21FCF31EF2}"/>
                </a:ext>
              </a:extLst>
            </p:cNvPr>
            <p:cNvSpPr>
              <a:spLocks noChangeArrowheads="1"/>
            </p:cNvSpPr>
            <p:nvPr/>
          </p:nvSpPr>
          <p:spPr bwMode="auto">
            <a:xfrm>
              <a:off x="3938589" y="5980114"/>
              <a:ext cx="12700"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335" name="Rectangle 499">
              <a:extLst>
                <a:ext uri="{FF2B5EF4-FFF2-40B4-BE49-F238E27FC236}">
                  <a16:creationId xmlns:a16="http://schemas.microsoft.com/office/drawing/2014/main" id="{439C5BE9-51BC-37D3-A0CD-E5E1B32306AC}"/>
                </a:ext>
              </a:extLst>
            </p:cNvPr>
            <p:cNvSpPr>
              <a:spLocks noChangeArrowheads="1"/>
            </p:cNvSpPr>
            <p:nvPr/>
          </p:nvSpPr>
          <p:spPr bwMode="auto">
            <a:xfrm>
              <a:off x="38052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336" name="Freeform 500">
              <a:extLst>
                <a:ext uri="{FF2B5EF4-FFF2-40B4-BE49-F238E27FC236}">
                  <a16:creationId xmlns:a16="http://schemas.microsoft.com/office/drawing/2014/main" id="{D35C2128-709E-2A5A-0E9A-0F580033A780}"/>
                </a:ext>
              </a:extLst>
            </p:cNvPr>
            <p:cNvSpPr>
              <a:spLocks noEditPoints="1"/>
            </p:cNvSpPr>
            <p:nvPr/>
          </p:nvSpPr>
          <p:spPr bwMode="auto">
            <a:xfrm>
              <a:off x="3919539" y="6018214"/>
              <a:ext cx="50800" cy="52388"/>
            </a:xfrm>
            <a:custGeom>
              <a:avLst/>
              <a:gdLst>
                <a:gd name="T0" fmla="*/ 34 w 68"/>
                <a:gd name="T1" fmla="*/ 16 h 68"/>
                <a:gd name="T2" fmla="*/ 16 w 68"/>
                <a:gd name="T3" fmla="*/ 34 h 68"/>
                <a:gd name="T4" fmla="*/ 34 w 68"/>
                <a:gd name="T5" fmla="*/ 51 h 68"/>
                <a:gd name="T6" fmla="*/ 51 w 68"/>
                <a:gd name="T7" fmla="*/ 34 h 68"/>
                <a:gd name="T8" fmla="*/ 34 w 68"/>
                <a:gd name="T9" fmla="*/ 16 h 68"/>
                <a:gd name="T10" fmla="*/ 34 w 68"/>
                <a:gd name="T11" fmla="*/ 68 h 68"/>
                <a:gd name="T12" fmla="*/ 0 w 68"/>
                <a:gd name="T13" fmla="*/ 34 h 68"/>
                <a:gd name="T14" fmla="*/ 34 w 68"/>
                <a:gd name="T15" fmla="*/ 0 h 68"/>
                <a:gd name="T16" fmla="*/ 68 w 68"/>
                <a:gd name="T17" fmla="*/ 34 h 68"/>
                <a:gd name="T18" fmla="*/ 34 w 68"/>
                <a:gd name="T1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16"/>
                  </a:moveTo>
                  <a:cubicBezTo>
                    <a:pt x="24" y="16"/>
                    <a:pt x="16" y="24"/>
                    <a:pt x="16" y="34"/>
                  </a:cubicBezTo>
                  <a:cubicBezTo>
                    <a:pt x="16" y="43"/>
                    <a:pt x="24" y="51"/>
                    <a:pt x="34" y="51"/>
                  </a:cubicBezTo>
                  <a:cubicBezTo>
                    <a:pt x="43" y="51"/>
                    <a:pt x="51" y="43"/>
                    <a:pt x="51" y="34"/>
                  </a:cubicBezTo>
                  <a:cubicBezTo>
                    <a:pt x="51" y="24"/>
                    <a:pt x="43" y="16"/>
                    <a:pt x="34" y="16"/>
                  </a:cubicBezTo>
                  <a:close/>
                  <a:moveTo>
                    <a:pt x="34" y="68"/>
                  </a:moveTo>
                  <a:cubicBezTo>
                    <a:pt x="15" y="68"/>
                    <a:pt x="0" y="52"/>
                    <a:pt x="0" y="34"/>
                  </a:cubicBezTo>
                  <a:cubicBezTo>
                    <a:pt x="0" y="15"/>
                    <a:pt x="15" y="0"/>
                    <a:pt x="34" y="0"/>
                  </a:cubicBezTo>
                  <a:cubicBezTo>
                    <a:pt x="53" y="0"/>
                    <a:pt x="68" y="15"/>
                    <a:pt x="68" y="34"/>
                  </a:cubicBezTo>
                  <a:cubicBezTo>
                    <a:pt x="68" y="52"/>
                    <a:pt x="53" y="68"/>
                    <a:pt x="34" y="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337" name="Rectangle 501">
              <a:extLst>
                <a:ext uri="{FF2B5EF4-FFF2-40B4-BE49-F238E27FC236}">
                  <a16:creationId xmlns:a16="http://schemas.microsoft.com/office/drawing/2014/main" id="{BF6873BA-354A-152A-BAA2-982595F3F72F}"/>
                </a:ext>
              </a:extLst>
            </p:cNvPr>
            <p:cNvSpPr>
              <a:spLocks noChangeArrowheads="1"/>
            </p:cNvSpPr>
            <p:nvPr/>
          </p:nvSpPr>
          <p:spPr bwMode="auto">
            <a:xfrm>
              <a:off x="39576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grpSp>
      <p:cxnSp>
        <p:nvCxnSpPr>
          <p:cNvPr id="338" name="Conector recto de flecha 337">
            <a:extLst>
              <a:ext uri="{FF2B5EF4-FFF2-40B4-BE49-F238E27FC236}">
                <a16:creationId xmlns:a16="http://schemas.microsoft.com/office/drawing/2014/main" id="{7B84104D-58E2-7CCF-D4A8-3D4C0852F97E}"/>
              </a:ext>
            </a:extLst>
          </p:cNvPr>
          <p:cNvCxnSpPr>
            <a:cxnSpLocks/>
          </p:cNvCxnSpPr>
          <p:nvPr/>
        </p:nvCxnSpPr>
        <p:spPr>
          <a:xfrm flipV="1">
            <a:off x="5042089" y="3780795"/>
            <a:ext cx="493014" cy="897"/>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pic>
        <p:nvPicPr>
          <p:cNvPr id="1026" name="Picture 2">
            <a:extLst>
              <a:ext uri="{FF2B5EF4-FFF2-40B4-BE49-F238E27FC236}">
                <a16:creationId xmlns:a16="http://schemas.microsoft.com/office/drawing/2014/main" id="{0B1F7369-85DE-FC93-E1BF-C5AA8B4E3AB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951829" y="2292394"/>
            <a:ext cx="505517" cy="26263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20072489-C926-56FF-079B-2917BB68DDD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819740" y="4117523"/>
            <a:ext cx="505517" cy="262632"/>
          </a:xfrm>
          <a:prstGeom prst="rect">
            <a:avLst/>
          </a:prstGeom>
          <a:noFill/>
          <a:extLst>
            <a:ext uri="{909E8E84-426E-40DD-AFC4-6F175D3DCCD1}">
              <a14:hiddenFill xmlns:a14="http://schemas.microsoft.com/office/drawing/2010/main">
                <a:solidFill>
                  <a:srgbClr val="FFFFFF"/>
                </a:solidFill>
              </a14:hiddenFill>
            </a:ext>
          </a:extLst>
        </p:spPr>
      </p:pic>
      <p:sp>
        <p:nvSpPr>
          <p:cNvPr id="132" name="Rectangle: Rounded Corners 1218">
            <a:extLst>
              <a:ext uri="{FF2B5EF4-FFF2-40B4-BE49-F238E27FC236}">
                <a16:creationId xmlns:a16="http://schemas.microsoft.com/office/drawing/2014/main" id="{2571A5A6-39BF-B245-A188-DCA9C5DAAFFC}"/>
              </a:ext>
            </a:extLst>
          </p:cNvPr>
          <p:cNvSpPr>
            <a:spLocks/>
          </p:cNvSpPr>
          <p:nvPr/>
        </p:nvSpPr>
        <p:spPr>
          <a:xfrm>
            <a:off x="506258" y="2476197"/>
            <a:ext cx="1641191" cy="937891"/>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black"/>
                </a:solidFill>
                <a:effectLst/>
                <a:uLnTx/>
                <a:uFillTx/>
                <a:latin typeface="Santander Text" panose="020B0504020201020104"/>
                <a:ea typeface="+mn-ea"/>
                <a:cs typeface="+mn-cs"/>
              </a:rPr>
              <a:t>M1 FMIS FILE (EQUATION: Accounting and non-accounting data)</a:t>
            </a:r>
          </a:p>
        </p:txBody>
      </p:sp>
      <p:pic>
        <p:nvPicPr>
          <p:cNvPr id="33" name="Gráfico 55" descr="Documento contorno">
            <a:extLst>
              <a:ext uri="{FF2B5EF4-FFF2-40B4-BE49-F238E27FC236}">
                <a16:creationId xmlns:a16="http://schemas.microsoft.com/office/drawing/2014/main" id="{4DE16E0F-2132-3D6A-4705-0D0FE814361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60612" y="2964235"/>
            <a:ext cx="350512" cy="350512"/>
          </a:xfrm>
          <a:prstGeom prst="rect">
            <a:avLst/>
          </a:prstGeom>
        </p:spPr>
      </p:pic>
      <p:sp>
        <p:nvSpPr>
          <p:cNvPr id="6" name="Rectangle: Rounded Corners 193">
            <a:extLst>
              <a:ext uri="{FF2B5EF4-FFF2-40B4-BE49-F238E27FC236}">
                <a16:creationId xmlns:a16="http://schemas.microsoft.com/office/drawing/2014/main" id="{06BBF9C7-8C2C-0BF1-8EAD-1B0450D07780}"/>
              </a:ext>
            </a:extLst>
          </p:cNvPr>
          <p:cNvSpPr>
            <a:spLocks/>
          </p:cNvSpPr>
          <p:nvPr/>
        </p:nvSpPr>
        <p:spPr>
          <a:xfrm>
            <a:off x="6112396" y="4974274"/>
            <a:ext cx="1955274" cy="1613443"/>
          </a:xfrm>
          <a:prstGeom prst="roundRect">
            <a:avLst>
              <a:gd name="adj" fmla="val 3636"/>
            </a:avLst>
          </a:prstGeom>
          <a:noFill/>
          <a:ln w="6350" cap="flat" cmpd="sng" algn="ctr">
            <a:solidFill>
              <a:srgbClr val="002060"/>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a:ln>
                <a:noFill/>
              </a:ln>
              <a:solidFill>
                <a:prstClr val="black"/>
              </a:solidFill>
              <a:effectLst/>
              <a:uLnTx/>
              <a:uFillTx/>
              <a:latin typeface="Santander Text" panose="020B0504020201020104"/>
              <a:ea typeface="+mn-ea"/>
              <a:cs typeface="+mn-cs"/>
            </a:endParaRPr>
          </a:p>
        </p:txBody>
      </p:sp>
      <p:sp>
        <p:nvSpPr>
          <p:cNvPr id="8" name="Freeform: Shape 49">
            <a:extLst>
              <a:ext uri="{FF2B5EF4-FFF2-40B4-BE49-F238E27FC236}">
                <a16:creationId xmlns:a16="http://schemas.microsoft.com/office/drawing/2014/main" id="{DCC27417-D911-9408-E1F7-788FB5A3635D}"/>
              </a:ext>
            </a:extLst>
          </p:cNvPr>
          <p:cNvSpPr>
            <a:spLocks/>
          </p:cNvSpPr>
          <p:nvPr/>
        </p:nvSpPr>
        <p:spPr>
          <a:xfrm>
            <a:off x="6364255" y="5129568"/>
            <a:ext cx="1502414" cy="1306689"/>
          </a:xfrm>
          <a:custGeom>
            <a:avLst/>
            <a:gdLst>
              <a:gd name="connsiteX0" fmla="*/ 0 w 1927423"/>
              <a:gd name="connsiteY0" fmla="*/ 0 h 1581120"/>
              <a:gd name="connsiteX1" fmla="*/ 1927423 w 1927423"/>
              <a:gd name="connsiteY1" fmla="*/ 0 h 1581120"/>
              <a:gd name="connsiteX2" fmla="*/ 1927423 w 1927423"/>
              <a:gd name="connsiteY2" fmla="*/ 1581120 h 1581120"/>
              <a:gd name="connsiteX3" fmla="*/ 0 w 1927423"/>
              <a:gd name="connsiteY3" fmla="*/ 1581120 h 1581120"/>
              <a:gd name="connsiteX4" fmla="*/ 0 w 1927423"/>
              <a:gd name="connsiteY4" fmla="*/ 0 h 158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423" h="1581120">
                <a:moveTo>
                  <a:pt x="0" y="0"/>
                </a:moveTo>
                <a:lnTo>
                  <a:pt x="1927423" y="0"/>
                </a:lnTo>
                <a:lnTo>
                  <a:pt x="1927423" y="1581120"/>
                </a:lnTo>
                <a:lnTo>
                  <a:pt x="0" y="1581120"/>
                </a:lnTo>
                <a:lnTo>
                  <a:pt x="0" y="0"/>
                </a:lnTo>
                <a:close/>
              </a:path>
            </a:pathLst>
          </a:custGeom>
          <a:solidFill>
            <a:schemeClr val="bg1">
              <a:lumMod val="95000"/>
            </a:schemeClr>
          </a:solidFill>
          <a:ln w="12700" cap="flat" cmpd="sng" algn="ctr">
            <a:solidFill>
              <a:srgbClr val="070F26">
                <a:alpha val="90000"/>
                <a:tint val="40000"/>
                <a:hueOff val="0"/>
                <a:satOff val="0"/>
                <a:lumOff val="0"/>
                <a:alphaOff val="0"/>
              </a:srgbClr>
            </a:solidFill>
            <a:prstDash val="solid"/>
            <a:miter lim="800000"/>
          </a:ln>
          <a:effectLst/>
        </p:spPr>
        <p:txBody>
          <a:bodyPr spcFirstLastPara="0" vert="horz" wrap="square" lIns="192024" tIns="192024" rIns="256032" bIns="288036" numCol="1" spcCol="1270" anchor="t" anchorCtr="0">
            <a:noAutofit/>
          </a:bodyPr>
          <a:lstStyle/>
          <a:p>
            <a:pPr marL="0" marR="0" lvl="1" indent="0" algn="l" defTabSz="1600200" rtl="0" eaLnBrk="1" fontAlgn="auto" latinLnBrk="0" hangingPunct="1">
              <a:lnSpc>
                <a:spcPct val="90000"/>
              </a:lnSpc>
              <a:spcBef>
                <a:spcPct val="0"/>
              </a:spcBef>
              <a:spcAft>
                <a:spcPct val="15000"/>
              </a:spcAft>
              <a:buClrTx/>
              <a:buSzTx/>
              <a:buFontTx/>
              <a:buNone/>
              <a:tabLst/>
              <a:defRPr/>
            </a:pPr>
            <a:endParaRPr kumimoji="0" lang="en-GB" sz="800" b="0" i="0" u="none" strike="noStrike" kern="0" cap="none" spc="0" normalizeH="0" baseline="0" noProof="0">
              <a:ln>
                <a:noFill/>
              </a:ln>
              <a:solidFill>
                <a:srgbClr val="000000"/>
              </a:solidFill>
              <a:effectLst/>
              <a:uLnTx/>
              <a:uFillTx/>
              <a:latin typeface="Santander Text" panose="020B0504020201020104"/>
              <a:ea typeface="+mn-ea"/>
              <a:cs typeface="+mn-cs"/>
            </a:endParaRPr>
          </a:p>
        </p:txBody>
      </p:sp>
      <p:sp>
        <p:nvSpPr>
          <p:cNvPr id="9" name="Rectangle 205">
            <a:extLst>
              <a:ext uri="{FF2B5EF4-FFF2-40B4-BE49-F238E27FC236}">
                <a16:creationId xmlns:a16="http://schemas.microsoft.com/office/drawing/2014/main" id="{EA8B0B67-21A2-7791-F34F-DFE041AC9407}"/>
              </a:ext>
            </a:extLst>
          </p:cNvPr>
          <p:cNvSpPr>
            <a:spLocks/>
          </p:cNvSpPr>
          <p:nvPr/>
        </p:nvSpPr>
        <p:spPr>
          <a:xfrm>
            <a:off x="6430987" y="5858645"/>
            <a:ext cx="1380182" cy="444644"/>
          </a:xfrm>
          <a:prstGeom prst="rect">
            <a:avLst/>
          </a:prstGeom>
          <a:solidFill>
            <a:srgbClr val="C00000"/>
          </a:solidFill>
          <a:ln w="12700" cap="flat" cmpd="sng" algn="ctr">
            <a:solidFill>
              <a:srgbClr val="C00000"/>
            </a:solidFill>
            <a:prstDash val="solid"/>
            <a:miter lim="800000"/>
          </a:ln>
          <a:effectLst/>
        </p:spPr>
        <p:txBody>
          <a:bodyPr lIns="36000" tIns="36000" rIns="36000" bIns="36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Santander Text" panose="020B0504020201020104"/>
                <a:ea typeface="+mn-ea"/>
                <a:cs typeface="+mn-cs"/>
              </a:rPr>
              <a:t>Error Remediation</a:t>
            </a:r>
            <a:endParaRPr kumimoji="0" lang="en-GB" sz="900" b="1" i="0" u="none" strike="noStrike" kern="0" cap="none" spc="0" normalizeH="0" baseline="0" noProof="0">
              <a:ln>
                <a:noFill/>
              </a:ln>
              <a:solidFill>
                <a:prstClr val="white"/>
              </a:solidFill>
              <a:effectLst/>
              <a:uLnTx/>
              <a:uFillTx/>
              <a:latin typeface="Santander Text" panose="020B0504020201020104"/>
              <a:ea typeface="+mn-ea"/>
              <a:cs typeface="+mn-cs"/>
            </a:endParaRPr>
          </a:p>
        </p:txBody>
      </p:sp>
      <p:pic>
        <p:nvPicPr>
          <p:cNvPr id="10" name="Imagem 12" descr="Ícone&#10;&#10;Descrição gerada automaticamente">
            <a:extLst>
              <a:ext uri="{FF2B5EF4-FFF2-40B4-BE49-F238E27FC236}">
                <a16:creationId xmlns:a16="http://schemas.microsoft.com/office/drawing/2014/main" id="{37FCCAF9-2DCF-DED5-1611-743F6A0D9D4E}"/>
              </a:ext>
            </a:extLst>
          </p:cNvPr>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6869947" y="5332814"/>
            <a:ext cx="435941" cy="491874"/>
          </a:xfrm>
          <a:prstGeom prst="rect">
            <a:avLst/>
          </a:prstGeom>
        </p:spPr>
      </p:pic>
      <p:sp>
        <p:nvSpPr>
          <p:cNvPr id="7" name="Rectángulo: esquinas redondeadas 6">
            <a:extLst>
              <a:ext uri="{FF2B5EF4-FFF2-40B4-BE49-F238E27FC236}">
                <a16:creationId xmlns:a16="http://schemas.microsoft.com/office/drawing/2014/main" id="{5B8A5D9F-D259-CB5B-0266-94E519A08550}"/>
              </a:ext>
            </a:extLst>
          </p:cNvPr>
          <p:cNvSpPr/>
          <p:nvPr/>
        </p:nvSpPr>
        <p:spPr>
          <a:xfrm>
            <a:off x="8681761" y="2715079"/>
            <a:ext cx="972227" cy="307103"/>
          </a:xfrm>
          <a:prstGeom prst="roundRect">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black"/>
                </a:solidFill>
                <a:effectLst/>
                <a:uLnTx/>
                <a:uFillTx/>
                <a:latin typeface="Santander Text" panose="020B0504020201020104"/>
                <a:ea typeface="+mn-ea"/>
                <a:cs typeface="+mn-cs"/>
              </a:rPr>
              <a:t>TTIs Calculated</a:t>
            </a:r>
          </a:p>
        </p:txBody>
      </p:sp>
      <p:cxnSp>
        <p:nvCxnSpPr>
          <p:cNvPr id="12" name="Conector recto de flecha 11">
            <a:extLst>
              <a:ext uri="{FF2B5EF4-FFF2-40B4-BE49-F238E27FC236}">
                <a16:creationId xmlns:a16="http://schemas.microsoft.com/office/drawing/2014/main" id="{42390A10-46D9-C921-548D-2F110FCD7AF1}"/>
              </a:ext>
            </a:extLst>
          </p:cNvPr>
          <p:cNvCxnSpPr>
            <a:cxnSpLocks/>
            <a:stCxn id="7" idx="3"/>
          </p:cNvCxnSpPr>
          <p:nvPr/>
        </p:nvCxnSpPr>
        <p:spPr>
          <a:xfrm flipV="1">
            <a:off x="9653988" y="2866854"/>
            <a:ext cx="555666" cy="1777"/>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sp>
        <p:nvSpPr>
          <p:cNvPr id="24" name="Rectángulo: esquinas redondeadas 23">
            <a:extLst>
              <a:ext uri="{FF2B5EF4-FFF2-40B4-BE49-F238E27FC236}">
                <a16:creationId xmlns:a16="http://schemas.microsoft.com/office/drawing/2014/main" id="{F5C16CDD-B534-BFE7-DDAC-2B3373947DCE}"/>
              </a:ext>
            </a:extLst>
          </p:cNvPr>
          <p:cNvSpPr/>
          <p:nvPr/>
        </p:nvSpPr>
        <p:spPr>
          <a:xfrm>
            <a:off x="6124103" y="4806346"/>
            <a:ext cx="1350928" cy="247520"/>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50" b="1" noProof="0">
                <a:solidFill>
                  <a:prstClr val="white"/>
                </a:solidFill>
                <a:latin typeface="Santander Text" panose="020B0504020201020104"/>
              </a:rPr>
              <a:t>Agentic Platform</a:t>
            </a:r>
          </a:p>
        </p:txBody>
      </p:sp>
      <p:sp>
        <p:nvSpPr>
          <p:cNvPr id="2" name="Bocadillo: rectángulo 74">
            <a:extLst>
              <a:ext uri="{FF2B5EF4-FFF2-40B4-BE49-F238E27FC236}">
                <a16:creationId xmlns:a16="http://schemas.microsoft.com/office/drawing/2014/main" id="{DC7B0216-591E-25AB-DA00-B078EEA1F1FE}"/>
              </a:ext>
            </a:extLst>
          </p:cNvPr>
          <p:cNvSpPr/>
          <p:nvPr/>
        </p:nvSpPr>
        <p:spPr>
          <a:xfrm>
            <a:off x="2739839" y="4903171"/>
            <a:ext cx="3055563" cy="1172948"/>
          </a:xfrm>
          <a:prstGeom prst="wedgeRectCallout">
            <a:avLst>
              <a:gd name="adj1" fmla="val 43662"/>
              <a:gd name="adj2" fmla="val -110966"/>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88900" algn="just">
              <a:spcAft>
                <a:spcPts val="600"/>
              </a:spcAft>
            </a:pPr>
            <a:r>
              <a:rPr lang="en-GB" sz="900" noProof="0">
                <a:solidFill>
                  <a:schemeClr val="tx1"/>
                </a:solidFill>
                <a:latin typeface="Santander Text" panose="020B0504020201020104"/>
              </a:rPr>
              <a:t>•Transactions without an assigned product, which are entered manually in order to assign this product. (To do this, they consult the data on past dates and transactions.)</a:t>
            </a:r>
          </a:p>
          <a:p>
            <a:pPr marL="88900" algn="just">
              <a:spcAft>
                <a:spcPts val="600"/>
              </a:spcAft>
            </a:pPr>
            <a:r>
              <a:rPr lang="en-GB" sz="900" noProof="0">
                <a:solidFill>
                  <a:schemeClr val="tx1"/>
                </a:solidFill>
                <a:latin typeface="Santander Text" panose="020B0504020201020104"/>
              </a:rPr>
              <a:t>•Transactions where the closing date/financial year is inconsistent, with future dates or empty dates, which are corrected manually.</a:t>
            </a:r>
          </a:p>
        </p:txBody>
      </p:sp>
      <p:pic>
        <p:nvPicPr>
          <p:cNvPr id="4" name="Imagem 12" descr="Ícone&#10;&#10;Descrição gerada automaticamente">
            <a:extLst>
              <a:ext uri="{FF2B5EF4-FFF2-40B4-BE49-F238E27FC236}">
                <a16:creationId xmlns:a16="http://schemas.microsoft.com/office/drawing/2014/main" id="{182A3B89-10B8-8AC2-9C47-D8C5783662E9}"/>
              </a:ext>
            </a:extLst>
          </p:cNvPr>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1558272" y="3900700"/>
            <a:ext cx="435941" cy="491874"/>
          </a:xfrm>
          <a:prstGeom prst="rect">
            <a:avLst/>
          </a:prstGeom>
        </p:spPr>
      </p:pic>
      <p:sp>
        <p:nvSpPr>
          <p:cNvPr id="5" name="TextBox 4">
            <a:extLst>
              <a:ext uri="{FF2B5EF4-FFF2-40B4-BE49-F238E27FC236}">
                <a16:creationId xmlns:a16="http://schemas.microsoft.com/office/drawing/2014/main" id="{2D19D940-1214-17E7-F1F0-E06744AC7CFE}"/>
              </a:ext>
            </a:extLst>
          </p:cNvPr>
          <p:cNvSpPr txBox="1"/>
          <p:nvPr/>
        </p:nvSpPr>
        <p:spPr>
          <a:xfrm rot="1149828">
            <a:off x="10766862" y="575933"/>
            <a:ext cx="1395901" cy="276999"/>
          </a:xfrm>
          <a:prstGeom prst="rect">
            <a:avLst/>
          </a:prstGeom>
          <a:solidFill>
            <a:srgbClr val="FFFF00"/>
          </a:solidFill>
        </p:spPr>
        <p:txBody>
          <a:bodyPr wrap="square">
            <a:spAutoFit/>
          </a:bodyPr>
          <a:lstStyle/>
          <a:p>
            <a:r>
              <a:rPr lang="es-ES" sz="1200" b="1" dirty="0"/>
              <a:t>WORKING DRAFT</a:t>
            </a:r>
          </a:p>
        </p:txBody>
      </p:sp>
    </p:spTree>
    <p:extLst>
      <p:ext uri="{BB962C8B-B14F-4D97-AF65-F5344CB8AC3E}">
        <p14:creationId xmlns:p14="http://schemas.microsoft.com/office/powerpoint/2010/main" val="5081865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Text Placeholder 3">
            <a:extLst>
              <a:ext uri="{FF2B5EF4-FFF2-40B4-BE49-F238E27FC236}">
                <a16:creationId xmlns:a16="http://schemas.microsoft.com/office/drawing/2014/main" id="{6269C650-6B20-4981-D0DD-C1931916BCE5}"/>
              </a:ext>
            </a:extLst>
          </p:cNvPr>
          <p:cNvSpPr txBox="1">
            <a:spLocks/>
          </p:cNvSpPr>
          <p:nvPr/>
        </p:nvSpPr>
        <p:spPr>
          <a:xfrm>
            <a:off x="354840" y="186174"/>
            <a:ext cx="2173287" cy="307777"/>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0" noProof="0">
                <a:solidFill>
                  <a:srgbClr val="F14949"/>
                </a:solidFill>
                <a:latin typeface="Santander Headline" panose="020B0504020201020104"/>
              </a:rPr>
              <a:t>Agentic Architecture</a:t>
            </a:r>
          </a:p>
        </p:txBody>
      </p:sp>
      <p:pic>
        <p:nvPicPr>
          <p:cNvPr id="88" name="Imagen 2" descr="NTT Data - Red Seguridad">
            <a:extLst>
              <a:ext uri="{FF2B5EF4-FFF2-40B4-BE49-F238E27FC236}">
                <a16:creationId xmlns:a16="http://schemas.microsoft.com/office/drawing/2014/main" id="{E02405B0-2625-D5C5-37AD-49F23197CC7A}"/>
              </a:ext>
            </a:extLst>
          </p:cNvPr>
          <p:cNvPicPr>
            <a:picLocks noChangeAspect="1"/>
          </p:cNvPicPr>
          <p:nvPr/>
        </p:nvPicPr>
        <p:blipFill>
          <a:blip r:embed="rId3"/>
          <a:stretch>
            <a:fillRect/>
          </a:stretch>
        </p:blipFill>
        <p:spPr>
          <a:xfrm>
            <a:off x="10881313" y="-202669"/>
            <a:ext cx="1166998" cy="847775"/>
          </a:xfrm>
          <a:prstGeom prst="rect">
            <a:avLst/>
          </a:prstGeom>
        </p:spPr>
      </p:pic>
      <p:pic>
        <p:nvPicPr>
          <p:cNvPr id="89" name="Picture 66">
            <a:extLst>
              <a:ext uri="{FF2B5EF4-FFF2-40B4-BE49-F238E27FC236}">
                <a16:creationId xmlns:a16="http://schemas.microsoft.com/office/drawing/2014/main" id="{E0814CF5-3FF0-F076-3ED4-F6AB8E8B05AE}"/>
              </a:ext>
            </a:extLst>
          </p:cNvPr>
          <p:cNvPicPr>
            <a:picLocks noChangeAspect="1"/>
          </p:cNvPicPr>
          <p:nvPr/>
        </p:nvPicPr>
        <p:blipFill>
          <a:blip r:embed="rId4"/>
          <a:srcRect r="22480"/>
          <a:stretch>
            <a:fillRect/>
          </a:stretch>
        </p:blipFill>
        <p:spPr>
          <a:xfrm>
            <a:off x="9081410" y="32335"/>
            <a:ext cx="1610515" cy="388493"/>
          </a:xfrm>
          <a:prstGeom prst="rect">
            <a:avLst/>
          </a:prstGeom>
        </p:spPr>
      </p:pic>
      <p:sp>
        <p:nvSpPr>
          <p:cNvPr id="90" name="CuadroTexto 89">
            <a:extLst>
              <a:ext uri="{FF2B5EF4-FFF2-40B4-BE49-F238E27FC236}">
                <a16:creationId xmlns:a16="http://schemas.microsoft.com/office/drawing/2014/main" id="{B7CB71DB-7215-A991-8F8A-2DB482B68726}"/>
              </a:ext>
            </a:extLst>
          </p:cNvPr>
          <p:cNvSpPr txBox="1"/>
          <p:nvPr/>
        </p:nvSpPr>
        <p:spPr>
          <a:xfrm>
            <a:off x="267479" y="424191"/>
            <a:ext cx="5350860" cy="276999"/>
          </a:xfrm>
          <a:prstGeom prst="rect">
            <a:avLst/>
          </a:prstGeom>
          <a:noFill/>
        </p:spPr>
        <p:txBody>
          <a:bodyPr wrap="square" rtlCol="0">
            <a:spAutoFit/>
          </a:bodyPr>
          <a:lstStyle/>
          <a:p>
            <a:r>
              <a:rPr lang="en-GB" sz="1200" noProof="0" dirty="0">
                <a:solidFill>
                  <a:srgbClr val="F14949"/>
                </a:solidFill>
                <a:latin typeface="Santander Headline" panose="020B0504020201020104"/>
                <a:cs typeface="Arial"/>
              </a:rPr>
              <a:t>Agent conversational system to check FMIS TTI</a:t>
            </a:r>
            <a:endParaRPr lang="en-GB" sz="1200" noProof="0" dirty="0">
              <a:solidFill>
                <a:srgbClr val="F14949"/>
              </a:solidFill>
              <a:latin typeface="Santander Headline" panose="020B0504020201020104"/>
            </a:endParaRPr>
          </a:p>
        </p:txBody>
      </p:sp>
      <p:grpSp>
        <p:nvGrpSpPr>
          <p:cNvPr id="105" name="Grupo 104">
            <a:extLst>
              <a:ext uri="{FF2B5EF4-FFF2-40B4-BE49-F238E27FC236}">
                <a16:creationId xmlns:a16="http://schemas.microsoft.com/office/drawing/2014/main" id="{A0BCA5D5-753B-B10D-9DDD-4E927896446C}"/>
              </a:ext>
            </a:extLst>
          </p:cNvPr>
          <p:cNvGrpSpPr/>
          <p:nvPr/>
        </p:nvGrpSpPr>
        <p:grpSpPr>
          <a:xfrm>
            <a:off x="3057302" y="2564956"/>
            <a:ext cx="1288318" cy="697899"/>
            <a:chOff x="2696908" y="3687926"/>
            <a:chExt cx="1288318" cy="697899"/>
          </a:xfrm>
        </p:grpSpPr>
        <p:sp>
          <p:nvSpPr>
            <p:cNvPr id="106" name="Rectangle 1">
              <a:extLst>
                <a:ext uri="{FF2B5EF4-FFF2-40B4-BE49-F238E27FC236}">
                  <a16:creationId xmlns:a16="http://schemas.microsoft.com/office/drawing/2014/main" id="{0E3CC913-3F3C-1BD7-6145-BA14722FA04C}"/>
                </a:ext>
              </a:extLst>
            </p:cNvPr>
            <p:cNvSpPr/>
            <p:nvPr/>
          </p:nvSpPr>
          <p:spPr>
            <a:xfrm>
              <a:off x="2956486" y="3940175"/>
              <a:ext cx="1028740" cy="445650"/>
            </a:xfrm>
            <a:prstGeom prst="roundRect">
              <a:avLst/>
            </a:prstGeom>
            <a:solidFill>
              <a:schemeClr val="accent2">
                <a:lumMod val="40000"/>
                <a:lumOff val="60000"/>
              </a:schemeClr>
            </a:solidFill>
            <a:ln w="6350" cap="flat" cmpd="sng" algn="ctr">
              <a:noFill/>
              <a:prstDash val="solid"/>
              <a:miter lim="800000"/>
              <a:headEnd type="none" w="med" len="med"/>
              <a:tailEnd type="none" w="med" len="med"/>
            </a:ln>
            <a:effectLst/>
          </p:spPr>
          <p:txBody>
            <a:bodyPr vert="horz" lIns="0" rIns="0" rtlCol="0" anchor="ctr"/>
            <a:lstStyle/>
            <a:p>
              <a:pPr algn="ctr"/>
              <a:r>
                <a:rPr lang="en-GB" sz="1200" b="1" kern="0" noProof="0">
                  <a:solidFill>
                    <a:schemeClr val="bg1"/>
                  </a:solidFill>
                  <a:latin typeface="Santander Text" panose="020B0504020201020104"/>
                </a:rPr>
                <a:t>Conversational Interface</a:t>
              </a:r>
            </a:p>
          </p:txBody>
        </p:sp>
        <p:pic>
          <p:nvPicPr>
            <p:cNvPr id="107" name="Picture 6" descr="Microsoft Teams Logo y símbolo, significado, historia, PNG, marca">
              <a:extLst>
                <a:ext uri="{FF2B5EF4-FFF2-40B4-BE49-F238E27FC236}">
                  <a16:creationId xmlns:a16="http://schemas.microsoft.com/office/drawing/2014/main" id="{C64EAB5C-20AC-D531-BD9E-0567F9D28640}"/>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0000" l="10000" r="90000">
                          <a14:foregroundMark x1="76705" y1="26591" x2="76705" y2="26591"/>
                          <a14:foregroundMark x1="30909" y1="43750" x2="30909" y2="43750"/>
                          <a14:foregroundMark x1="24091" y1="42273" x2="28750" y2="56705"/>
                          <a14:foregroundMark x1="28409" y1="58182" x2="36364" y2="41932"/>
                          <a14:foregroundMark x1="33864" y1="41932" x2="33864" y2="44432"/>
                          <a14:foregroundMark x1="30568" y1="45227" x2="30227" y2="48068"/>
                          <a14:foregroundMark x1="30568" y1="43750" x2="30909" y2="50909"/>
                          <a14:foregroundMark x1="81136" y1="26364" x2="81136" y2="26364"/>
                          <a14:foregroundMark x1="76818" y1="26023" x2="76818" y2="26023"/>
                          <a14:foregroundMark x1="78636" y1="28523" x2="78636" y2="28523"/>
                          <a14:foregroundMark x1="76477" y1="24205" x2="80455" y2="25682"/>
                        </a14:backgroundRemoval>
                      </a14:imgEffect>
                    </a14:imgLayer>
                  </a14:imgProps>
                </a:ext>
                <a:ext uri="{28A0092B-C50C-407E-A947-70E740481C1C}">
                  <a14:useLocalDpi xmlns:a14="http://schemas.microsoft.com/office/drawing/2010/main" val="0"/>
                </a:ext>
              </a:extLst>
            </a:blip>
            <a:srcRect/>
            <a:stretch>
              <a:fillRect/>
            </a:stretch>
          </p:blipFill>
          <p:spPr bwMode="auto">
            <a:xfrm>
              <a:off x="2696908" y="3687926"/>
              <a:ext cx="445650" cy="4456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8" name="Computer9" descr="{&quot;Key&quot;:&quot;POWER_USER_SHAPE_ICON&quot;,&quot;Value&quot;:&quot;POWER_USER_SHAPE_ICON_STYLE_1&quot;}">
            <a:extLst>
              <a:ext uri="{FF2B5EF4-FFF2-40B4-BE49-F238E27FC236}">
                <a16:creationId xmlns:a16="http://schemas.microsoft.com/office/drawing/2014/main" id="{A0D8266B-F1D8-D966-D167-A9340DAAF1B5}"/>
              </a:ext>
            </a:extLst>
          </p:cNvPr>
          <p:cNvGrpSpPr>
            <a:grpSpLocks noChangeAspect="1"/>
          </p:cNvGrpSpPr>
          <p:nvPr/>
        </p:nvGrpSpPr>
        <p:grpSpPr>
          <a:xfrm>
            <a:off x="865524" y="2376236"/>
            <a:ext cx="931623" cy="950533"/>
            <a:chOff x="2325688" y="5576885"/>
            <a:chExt cx="625475" cy="638175"/>
          </a:xfrm>
          <a:solidFill>
            <a:schemeClr val="tx1"/>
          </a:solidFill>
        </p:grpSpPr>
        <p:sp>
          <p:nvSpPr>
            <p:cNvPr id="109" name="Freeform 85">
              <a:extLst>
                <a:ext uri="{FF2B5EF4-FFF2-40B4-BE49-F238E27FC236}">
                  <a16:creationId xmlns:a16="http://schemas.microsoft.com/office/drawing/2014/main" id="{C53DB4BC-46E7-4383-A1FF-2C4CD3CA91A8}"/>
                </a:ext>
              </a:extLst>
            </p:cNvPr>
            <p:cNvSpPr>
              <a:spLocks noEditPoints="1"/>
            </p:cNvSpPr>
            <p:nvPr/>
          </p:nvSpPr>
          <p:spPr bwMode="auto">
            <a:xfrm>
              <a:off x="2387600" y="5641976"/>
              <a:ext cx="130175" cy="142875"/>
            </a:xfrm>
            <a:custGeom>
              <a:avLst/>
              <a:gdLst>
                <a:gd name="T0" fmla="*/ 109 w 219"/>
                <a:gd name="T1" fmla="*/ 33 h 241"/>
                <a:gd name="T2" fmla="*/ 185 w 219"/>
                <a:gd name="T3" fmla="*/ 120 h 241"/>
                <a:gd name="T4" fmla="*/ 109 w 219"/>
                <a:gd name="T5" fmla="*/ 207 h 241"/>
                <a:gd name="T6" fmla="*/ 33 w 219"/>
                <a:gd name="T7" fmla="*/ 120 h 241"/>
                <a:gd name="T8" fmla="*/ 109 w 219"/>
                <a:gd name="T9" fmla="*/ 33 h 241"/>
                <a:gd name="T10" fmla="*/ 109 w 219"/>
                <a:gd name="T11" fmla="*/ 241 h 241"/>
                <a:gd name="T12" fmla="*/ 219 w 219"/>
                <a:gd name="T13" fmla="*/ 120 h 241"/>
                <a:gd name="T14" fmla="*/ 109 w 219"/>
                <a:gd name="T15" fmla="*/ 0 h 241"/>
                <a:gd name="T16" fmla="*/ 0 w 219"/>
                <a:gd name="T17" fmla="*/ 120 h 241"/>
                <a:gd name="T18" fmla="*/ 109 w 219"/>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9" h="241">
                  <a:moveTo>
                    <a:pt x="109" y="33"/>
                  </a:moveTo>
                  <a:cubicBezTo>
                    <a:pt x="151" y="33"/>
                    <a:pt x="185" y="72"/>
                    <a:pt x="185" y="120"/>
                  </a:cubicBezTo>
                  <a:cubicBezTo>
                    <a:pt x="185" y="168"/>
                    <a:pt x="151" y="207"/>
                    <a:pt x="109" y="207"/>
                  </a:cubicBezTo>
                  <a:cubicBezTo>
                    <a:pt x="67" y="207"/>
                    <a:pt x="33" y="168"/>
                    <a:pt x="33" y="120"/>
                  </a:cubicBezTo>
                  <a:cubicBezTo>
                    <a:pt x="33" y="72"/>
                    <a:pt x="67" y="33"/>
                    <a:pt x="109" y="33"/>
                  </a:cubicBezTo>
                  <a:close/>
                  <a:moveTo>
                    <a:pt x="109" y="241"/>
                  </a:moveTo>
                  <a:cubicBezTo>
                    <a:pt x="170" y="241"/>
                    <a:pt x="219" y="187"/>
                    <a:pt x="219" y="120"/>
                  </a:cubicBezTo>
                  <a:cubicBezTo>
                    <a:pt x="219" y="54"/>
                    <a:pt x="170" y="0"/>
                    <a:pt x="109" y="0"/>
                  </a:cubicBezTo>
                  <a:cubicBezTo>
                    <a:pt x="49" y="0"/>
                    <a:pt x="0" y="54"/>
                    <a:pt x="0" y="120"/>
                  </a:cubicBezTo>
                  <a:cubicBezTo>
                    <a:pt x="0" y="187"/>
                    <a:pt x="49" y="241"/>
                    <a:pt x="109" y="2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latin typeface="Santander Text" panose="020B0504020201020104"/>
              </a:endParaRPr>
            </a:p>
          </p:txBody>
        </p:sp>
        <p:sp>
          <p:nvSpPr>
            <p:cNvPr id="110" name="Freeform 86">
              <a:extLst>
                <a:ext uri="{FF2B5EF4-FFF2-40B4-BE49-F238E27FC236}">
                  <a16:creationId xmlns:a16="http://schemas.microsoft.com/office/drawing/2014/main" id="{CB79A200-FFE4-3097-1F0E-3619982EDCF6}"/>
                </a:ext>
              </a:extLst>
            </p:cNvPr>
            <p:cNvSpPr>
              <a:spLocks noEditPoints="1"/>
            </p:cNvSpPr>
            <p:nvPr/>
          </p:nvSpPr>
          <p:spPr bwMode="auto">
            <a:xfrm>
              <a:off x="2325688" y="5576885"/>
              <a:ext cx="625475" cy="638175"/>
            </a:xfrm>
            <a:custGeom>
              <a:avLst/>
              <a:gdLst>
                <a:gd name="T0" fmla="*/ 312 w 1045"/>
                <a:gd name="T1" fmla="*/ 575 h 1067"/>
                <a:gd name="T2" fmla="*/ 276 w 1045"/>
                <a:gd name="T3" fmla="*/ 539 h 1067"/>
                <a:gd name="T4" fmla="*/ 226 w 1045"/>
                <a:gd name="T5" fmla="*/ 513 h 1067"/>
                <a:gd name="T6" fmla="*/ 247 w 1045"/>
                <a:gd name="T7" fmla="*/ 557 h 1067"/>
                <a:gd name="T8" fmla="*/ 247 w 1045"/>
                <a:gd name="T9" fmla="*/ 687 h 1067"/>
                <a:gd name="T10" fmla="*/ 387 w 1045"/>
                <a:gd name="T11" fmla="*/ 704 h 1067"/>
                <a:gd name="T12" fmla="*/ 514 w 1045"/>
                <a:gd name="T13" fmla="*/ 1034 h 1067"/>
                <a:gd name="T14" fmla="*/ 379 w 1045"/>
                <a:gd name="T15" fmla="*/ 825 h 1067"/>
                <a:gd name="T16" fmla="*/ 185 w 1045"/>
                <a:gd name="T17" fmla="*/ 813 h 1067"/>
                <a:gd name="T18" fmla="*/ 115 w 1045"/>
                <a:gd name="T19" fmla="*/ 532 h 1067"/>
                <a:gd name="T20" fmla="*/ 131 w 1045"/>
                <a:gd name="T21" fmla="*/ 424 h 1067"/>
                <a:gd name="T22" fmla="*/ 243 w 1045"/>
                <a:gd name="T23" fmla="*/ 407 h 1067"/>
                <a:gd name="T24" fmla="*/ 370 w 1045"/>
                <a:gd name="T25" fmla="*/ 526 h 1067"/>
                <a:gd name="T26" fmla="*/ 497 w 1045"/>
                <a:gd name="T27" fmla="*/ 530 h 1067"/>
                <a:gd name="T28" fmla="*/ 488 w 1045"/>
                <a:gd name="T29" fmla="*/ 564 h 1067"/>
                <a:gd name="T30" fmla="*/ 442 w 1045"/>
                <a:gd name="T31" fmla="*/ 575 h 1067"/>
                <a:gd name="T32" fmla="*/ 53 w 1045"/>
                <a:gd name="T33" fmla="*/ 888 h 1067"/>
                <a:gd name="T34" fmla="*/ 33 w 1045"/>
                <a:gd name="T35" fmla="*/ 427 h 1067"/>
                <a:gd name="T36" fmla="*/ 61 w 1045"/>
                <a:gd name="T37" fmla="*/ 407 h 1067"/>
                <a:gd name="T38" fmla="*/ 81 w 1045"/>
                <a:gd name="T39" fmla="*/ 464 h 1067"/>
                <a:gd name="T40" fmla="*/ 81 w 1045"/>
                <a:gd name="T41" fmla="*/ 532 h 1067"/>
                <a:gd name="T42" fmla="*/ 100 w 1045"/>
                <a:gd name="T43" fmla="*/ 848 h 1067"/>
                <a:gd name="T44" fmla="*/ 280 w 1045"/>
                <a:gd name="T45" fmla="*/ 868 h 1067"/>
                <a:gd name="T46" fmla="*/ 787 w 1045"/>
                <a:gd name="T47" fmla="*/ 347 h 1067"/>
                <a:gd name="T48" fmla="*/ 690 w 1045"/>
                <a:gd name="T49" fmla="*/ 406 h 1067"/>
                <a:gd name="T50" fmla="*/ 727 w 1045"/>
                <a:gd name="T51" fmla="*/ 34 h 1067"/>
                <a:gd name="T52" fmla="*/ 787 w 1045"/>
                <a:gd name="T53" fmla="*/ 347 h 1067"/>
                <a:gd name="T54" fmla="*/ 785 w 1045"/>
                <a:gd name="T55" fmla="*/ 575 h 1067"/>
                <a:gd name="T56" fmla="*/ 932 w 1045"/>
                <a:gd name="T57" fmla="*/ 535 h 1067"/>
                <a:gd name="T58" fmla="*/ 949 w 1045"/>
                <a:gd name="T59" fmla="*/ 220 h 1067"/>
                <a:gd name="T60" fmla="*/ 820 w 1045"/>
                <a:gd name="T61" fmla="*/ 203 h 1067"/>
                <a:gd name="T62" fmla="*/ 727 w 1045"/>
                <a:gd name="T63" fmla="*/ 0 h 1067"/>
                <a:gd name="T64" fmla="*/ 657 w 1045"/>
                <a:gd name="T65" fmla="*/ 17 h 1067"/>
                <a:gd name="T66" fmla="*/ 674 w 1045"/>
                <a:gd name="T67" fmla="*/ 440 h 1067"/>
                <a:gd name="T68" fmla="*/ 820 w 1045"/>
                <a:gd name="T69" fmla="*/ 347 h 1067"/>
                <a:gd name="T70" fmla="*/ 916 w 1045"/>
                <a:gd name="T71" fmla="*/ 237 h 1067"/>
                <a:gd name="T72" fmla="*/ 769 w 1045"/>
                <a:gd name="T73" fmla="*/ 501 h 1067"/>
                <a:gd name="T74" fmla="*/ 752 w 1045"/>
                <a:gd name="T75" fmla="*/ 575 h 1067"/>
                <a:gd name="T76" fmla="*/ 531 w 1045"/>
                <a:gd name="T77" fmla="*/ 536 h 1067"/>
                <a:gd name="T78" fmla="*/ 513 w 1045"/>
                <a:gd name="T79" fmla="*/ 497 h 1067"/>
                <a:gd name="T80" fmla="*/ 281 w 1045"/>
                <a:gd name="T81" fmla="*/ 389 h 1067"/>
                <a:gd name="T82" fmla="*/ 172 w 1045"/>
                <a:gd name="T83" fmla="*/ 374 h 1067"/>
                <a:gd name="T84" fmla="*/ 107 w 1045"/>
                <a:gd name="T85" fmla="*/ 401 h 1067"/>
                <a:gd name="T86" fmla="*/ 53 w 1045"/>
                <a:gd name="T87" fmla="*/ 374 h 1067"/>
                <a:gd name="T88" fmla="*/ 0 w 1045"/>
                <a:gd name="T89" fmla="*/ 868 h 1067"/>
                <a:gd name="T90" fmla="*/ 166 w 1045"/>
                <a:gd name="T91" fmla="*/ 922 h 1067"/>
                <a:gd name="T92" fmla="*/ 95 w 1045"/>
                <a:gd name="T93" fmla="*/ 1013 h 1067"/>
                <a:gd name="T94" fmla="*/ 105 w 1045"/>
                <a:gd name="T95" fmla="*/ 1044 h 1067"/>
                <a:gd name="T96" fmla="*/ 166 w 1045"/>
                <a:gd name="T97" fmla="*/ 1006 h 1067"/>
                <a:gd name="T98" fmla="*/ 183 w 1045"/>
                <a:gd name="T99" fmla="*/ 1067 h 1067"/>
                <a:gd name="T100" fmla="*/ 199 w 1045"/>
                <a:gd name="T101" fmla="*/ 1006 h 1067"/>
                <a:gd name="T102" fmla="*/ 276 w 1045"/>
                <a:gd name="T103" fmla="*/ 1038 h 1067"/>
                <a:gd name="T104" fmla="*/ 199 w 1045"/>
                <a:gd name="T105" fmla="*/ 965 h 1067"/>
                <a:gd name="T106" fmla="*/ 260 w 1045"/>
                <a:gd name="T107" fmla="*/ 922 h 1067"/>
                <a:gd name="T108" fmla="*/ 308 w 1045"/>
                <a:gd name="T109" fmla="*/ 847 h 1067"/>
                <a:gd name="T110" fmla="*/ 419 w 1045"/>
                <a:gd name="T111" fmla="*/ 1056 h 1067"/>
                <a:gd name="T112" fmla="*/ 535 w 1045"/>
                <a:gd name="T113" fmla="*/ 1067 h 1067"/>
                <a:gd name="T114" fmla="*/ 551 w 1045"/>
                <a:gd name="T115" fmla="*/ 1047 h 1067"/>
                <a:gd name="T116" fmla="*/ 387 w 1045"/>
                <a:gd name="T117" fmla="*/ 671 h 1067"/>
                <a:gd name="T118" fmla="*/ 281 w 1045"/>
                <a:gd name="T119" fmla="*/ 608 h 1067"/>
                <a:gd name="T120" fmla="*/ 462 w 1045"/>
                <a:gd name="T121" fmla="*/ 608 h 1067"/>
                <a:gd name="T122" fmla="*/ 1045 w 1045"/>
                <a:gd name="T123" fmla="*/ 591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5" h="1067">
                  <a:moveTo>
                    <a:pt x="442" y="575"/>
                  </a:moveTo>
                  <a:lnTo>
                    <a:pt x="312" y="575"/>
                  </a:lnTo>
                  <a:lnTo>
                    <a:pt x="276" y="539"/>
                  </a:lnTo>
                  <a:lnTo>
                    <a:pt x="276" y="539"/>
                  </a:lnTo>
                  <a:lnTo>
                    <a:pt x="250" y="513"/>
                  </a:lnTo>
                  <a:cubicBezTo>
                    <a:pt x="243" y="506"/>
                    <a:pt x="233" y="506"/>
                    <a:pt x="226" y="513"/>
                  </a:cubicBezTo>
                  <a:cubicBezTo>
                    <a:pt x="220" y="519"/>
                    <a:pt x="220" y="530"/>
                    <a:pt x="226" y="536"/>
                  </a:cubicBezTo>
                  <a:lnTo>
                    <a:pt x="247" y="557"/>
                  </a:lnTo>
                  <a:lnTo>
                    <a:pt x="247" y="591"/>
                  </a:lnTo>
                  <a:lnTo>
                    <a:pt x="247" y="687"/>
                  </a:lnTo>
                  <a:cubicBezTo>
                    <a:pt x="247" y="697"/>
                    <a:pt x="255" y="704"/>
                    <a:pt x="264" y="704"/>
                  </a:cubicBezTo>
                  <a:lnTo>
                    <a:pt x="387" y="704"/>
                  </a:lnTo>
                  <a:cubicBezTo>
                    <a:pt x="416" y="704"/>
                    <a:pt x="441" y="724"/>
                    <a:pt x="448" y="752"/>
                  </a:cubicBezTo>
                  <a:lnTo>
                    <a:pt x="514" y="1034"/>
                  </a:lnTo>
                  <a:lnTo>
                    <a:pt x="447" y="1034"/>
                  </a:lnTo>
                  <a:lnTo>
                    <a:pt x="379" y="825"/>
                  </a:lnTo>
                  <a:cubicBezTo>
                    <a:pt x="377" y="818"/>
                    <a:pt x="371" y="813"/>
                    <a:pt x="363" y="813"/>
                  </a:cubicBezTo>
                  <a:lnTo>
                    <a:pt x="185" y="813"/>
                  </a:lnTo>
                  <a:cubicBezTo>
                    <a:pt x="147" y="813"/>
                    <a:pt x="117" y="782"/>
                    <a:pt x="117" y="744"/>
                  </a:cubicBezTo>
                  <a:lnTo>
                    <a:pt x="115" y="532"/>
                  </a:lnTo>
                  <a:lnTo>
                    <a:pt x="114" y="463"/>
                  </a:lnTo>
                  <a:cubicBezTo>
                    <a:pt x="115" y="449"/>
                    <a:pt x="120" y="435"/>
                    <a:pt x="131" y="424"/>
                  </a:cubicBezTo>
                  <a:cubicBezTo>
                    <a:pt x="142" y="413"/>
                    <a:pt x="157" y="407"/>
                    <a:pt x="172" y="407"/>
                  </a:cubicBezTo>
                  <a:lnTo>
                    <a:pt x="243" y="407"/>
                  </a:lnTo>
                  <a:cubicBezTo>
                    <a:pt x="248" y="407"/>
                    <a:pt x="254" y="409"/>
                    <a:pt x="257" y="413"/>
                  </a:cubicBezTo>
                  <a:lnTo>
                    <a:pt x="370" y="526"/>
                  </a:lnTo>
                  <a:cubicBezTo>
                    <a:pt x="373" y="529"/>
                    <a:pt x="377" y="530"/>
                    <a:pt x="382" y="530"/>
                  </a:cubicBezTo>
                  <a:lnTo>
                    <a:pt x="497" y="530"/>
                  </a:lnTo>
                  <a:lnTo>
                    <a:pt x="498" y="537"/>
                  </a:lnTo>
                  <a:cubicBezTo>
                    <a:pt x="498" y="547"/>
                    <a:pt x="495" y="556"/>
                    <a:pt x="488" y="564"/>
                  </a:cubicBezTo>
                  <a:cubicBezTo>
                    <a:pt x="481" y="571"/>
                    <a:pt x="472" y="575"/>
                    <a:pt x="462" y="575"/>
                  </a:cubicBezTo>
                  <a:lnTo>
                    <a:pt x="442" y="575"/>
                  </a:lnTo>
                  <a:close/>
                  <a:moveTo>
                    <a:pt x="260" y="888"/>
                  </a:moveTo>
                  <a:lnTo>
                    <a:pt x="53" y="888"/>
                  </a:lnTo>
                  <a:cubicBezTo>
                    <a:pt x="42" y="888"/>
                    <a:pt x="33" y="879"/>
                    <a:pt x="33" y="868"/>
                  </a:cubicBezTo>
                  <a:lnTo>
                    <a:pt x="33" y="427"/>
                  </a:lnTo>
                  <a:cubicBezTo>
                    <a:pt x="33" y="416"/>
                    <a:pt x="42" y="407"/>
                    <a:pt x="53" y="407"/>
                  </a:cubicBezTo>
                  <a:lnTo>
                    <a:pt x="61" y="407"/>
                  </a:lnTo>
                  <a:cubicBezTo>
                    <a:pt x="72" y="407"/>
                    <a:pt x="81" y="416"/>
                    <a:pt x="81" y="427"/>
                  </a:cubicBezTo>
                  <a:lnTo>
                    <a:pt x="81" y="464"/>
                  </a:lnTo>
                  <a:cubicBezTo>
                    <a:pt x="81" y="465"/>
                    <a:pt x="81" y="465"/>
                    <a:pt x="81" y="466"/>
                  </a:cubicBezTo>
                  <a:lnTo>
                    <a:pt x="81" y="532"/>
                  </a:lnTo>
                  <a:lnTo>
                    <a:pt x="83" y="832"/>
                  </a:lnTo>
                  <a:cubicBezTo>
                    <a:pt x="83" y="841"/>
                    <a:pt x="90" y="848"/>
                    <a:pt x="100" y="848"/>
                  </a:cubicBezTo>
                  <a:lnTo>
                    <a:pt x="260" y="848"/>
                  </a:lnTo>
                  <a:cubicBezTo>
                    <a:pt x="271" y="848"/>
                    <a:pt x="280" y="857"/>
                    <a:pt x="280" y="868"/>
                  </a:cubicBezTo>
                  <a:cubicBezTo>
                    <a:pt x="280" y="879"/>
                    <a:pt x="271" y="888"/>
                    <a:pt x="260" y="888"/>
                  </a:cubicBezTo>
                  <a:close/>
                  <a:moveTo>
                    <a:pt x="787" y="347"/>
                  </a:moveTo>
                  <a:cubicBezTo>
                    <a:pt x="787" y="380"/>
                    <a:pt x="760" y="406"/>
                    <a:pt x="727" y="406"/>
                  </a:cubicBezTo>
                  <a:lnTo>
                    <a:pt x="690" y="406"/>
                  </a:lnTo>
                  <a:lnTo>
                    <a:pt x="690" y="34"/>
                  </a:lnTo>
                  <a:lnTo>
                    <a:pt x="727" y="34"/>
                  </a:lnTo>
                  <a:cubicBezTo>
                    <a:pt x="760" y="34"/>
                    <a:pt x="787" y="60"/>
                    <a:pt x="787" y="93"/>
                  </a:cubicBezTo>
                  <a:lnTo>
                    <a:pt x="787" y="347"/>
                  </a:lnTo>
                  <a:close/>
                  <a:moveTo>
                    <a:pt x="1029" y="575"/>
                  </a:moveTo>
                  <a:lnTo>
                    <a:pt x="785" y="575"/>
                  </a:lnTo>
                  <a:lnTo>
                    <a:pt x="785" y="535"/>
                  </a:lnTo>
                  <a:lnTo>
                    <a:pt x="932" y="535"/>
                  </a:lnTo>
                  <a:cubicBezTo>
                    <a:pt x="942" y="535"/>
                    <a:pt x="949" y="527"/>
                    <a:pt x="949" y="518"/>
                  </a:cubicBezTo>
                  <a:lnTo>
                    <a:pt x="949" y="220"/>
                  </a:lnTo>
                  <a:cubicBezTo>
                    <a:pt x="949" y="211"/>
                    <a:pt x="942" y="203"/>
                    <a:pt x="932" y="203"/>
                  </a:cubicBezTo>
                  <a:lnTo>
                    <a:pt x="820" y="203"/>
                  </a:lnTo>
                  <a:lnTo>
                    <a:pt x="820" y="93"/>
                  </a:lnTo>
                  <a:cubicBezTo>
                    <a:pt x="820" y="42"/>
                    <a:pt x="778" y="0"/>
                    <a:pt x="727" y="0"/>
                  </a:cubicBezTo>
                  <a:lnTo>
                    <a:pt x="674" y="0"/>
                  </a:lnTo>
                  <a:cubicBezTo>
                    <a:pt x="665" y="0"/>
                    <a:pt x="657" y="8"/>
                    <a:pt x="657" y="17"/>
                  </a:cubicBezTo>
                  <a:lnTo>
                    <a:pt x="657" y="423"/>
                  </a:lnTo>
                  <a:cubicBezTo>
                    <a:pt x="657" y="432"/>
                    <a:pt x="665" y="440"/>
                    <a:pt x="674" y="440"/>
                  </a:cubicBezTo>
                  <a:lnTo>
                    <a:pt x="727" y="440"/>
                  </a:lnTo>
                  <a:cubicBezTo>
                    <a:pt x="778" y="440"/>
                    <a:pt x="820" y="398"/>
                    <a:pt x="820" y="347"/>
                  </a:cubicBezTo>
                  <a:lnTo>
                    <a:pt x="820" y="237"/>
                  </a:lnTo>
                  <a:lnTo>
                    <a:pt x="916" y="237"/>
                  </a:lnTo>
                  <a:lnTo>
                    <a:pt x="916" y="501"/>
                  </a:lnTo>
                  <a:lnTo>
                    <a:pt x="769" y="501"/>
                  </a:lnTo>
                  <a:cubicBezTo>
                    <a:pt x="759" y="501"/>
                    <a:pt x="752" y="509"/>
                    <a:pt x="752" y="518"/>
                  </a:cubicBezTo>
                  <a:lnTo>
                    <a:pt x="752" y="575"/>
                  </a:lnTo>
                  <a:lnTo>
                    <a:pt x="521" y="575"/>
                  </a:lnTo>
                  <a:cubicBezTo>
                    <a:pt x="528" y="563"/>
                    <a:pt x="532" y="550"/>
                    <a:pt x="531" y="536"/>
                  </a:cubicBezTo>
                  <a:lnTo>
                    <a:pt x="530" y="513"/>
                  </a:lnTo>
                  <a:cubicBezTo>
                    <a:pt x="530" y="504"/>
                    <a:pt x="522" y="497"/>
                    <a:pt x="513" y="497"/>
                  </a:cubicBezTo>
                  <a:lnTo>
                    <a:pt x="389" y="497"/>
                  </a:lnTo>
                  <a:lnTo>
                    <a:pt x="281" y="389"/>
                  </a:lnTo>
                  <a:cubicBezTo>
                    <a:pt x="271" y="379"/>
                    <a:pt x="257" y="374"/>
                    <a:pt x="243" y="374"/>
                  </a:cubicBezTo>
                  <a:lnTo>
                    <a:pt x="172" y="374"/>
                  </a:lnTo>
                  <a:cubicBezTo>
                    <a:pt x="148" y="374"/>
                    <a:pt x="125" y="383"/>
                    <a:pt x="107" y="401"/>
                  </a:cubicBezTo>
                  <a:cubicBezTo>
                    <a:pt x="107" y="401"/>
                    <a:pt x="107" y="401"/>
                    <a:pt x="107" y="401"/>
                  </a:cubicBezTo>
                  <a:cubicBezTo>
                    <a:pt x="98" y="385"/>
                    <a:pt x="81" y="374"/>
                    <a:pt x="61" y="374"/>
                  </a:cubicBezTo>
                  <a:lnTo>
                    <a:pt x="53" y="374"/>
                  </a:lnTo>
                  <a:cubicBezTo>
                    <a:pt x="24" y="374"/>
                    <a:pt x="0" y="398"/>
                    <a:pt x="0" y="427"/>
                  </a:cubicBezTo>
                  <a:lnTo>
                    <a:pt x="0" y="868"/>
                  </a:lnTo>
                  <a:cubicBezTo>
                    <a:pt x="0" y="898"/>
                    <a:pt x="24" y="922"/>
                    <a:pt x="53" y="922"/>
                  </a:cubicBezTo>
                  <a:lnTo>
                    <a:pt x="166" y="922"/>
                  </a:lnTo>
                  <a:lnTo>
                    <a:pt x="166" y="965"/>
                  </a:lnTo>
                  <a:lnTo>
                    <a:pt x="95" y="1013"/>
                  </a:lnTo>
                  <a:cubicBezTo>
                    <a:pt x="88" y="1018"/>
                    <a:pt x="86" y="1029"/>
                    <a:pt x="91" y="1036"/>
                  </a:cubicBezTo>
                  <a:cubicBezTo>
                    <a:pt x="94" y="1041"/>
                    <a:pt x="99" y="1044"/>
                    <a:pt x="105" y="1044"/>
                  </a:cubicBezTo>
                  <a:cubicBezTo>
                    <a:pt x="108" y="1044"/>
                    <a:pt x="111" y="1043"/>
                    <a:pt x="114" y="1041"/>
                  </a:cubicBezTo>
                  <a:lnTo>
                    <a:pt x="166" y="1006"/>
                  </a:lnTo>
                  <a:lnTo>
                    <a:pt x="166" y="1050"/>
                  </a:lnTo>
                  <a:cubicBezTo>
                    <a:pt x="166" y="1060"/>
                    <a:pt x="173" y="1067"/>
                    <a:pt x="183" y="1067"/>
                  </a:cubicBezTo>
                  <a:cubicBezTo>
                    <a:pt x="192" y="1067"/>
                    <a:pt x="199" y="1060"/>
                    <a:pt x="199" y="1050"/>
                  </a:cubicBezTo>
                  <a:lnTo>
                    <a:pt x="199" y="1006"/>
                  </a:lnTo>
                  <a:lnTo>
                    <a:pt x="253" y="1043"/>
                  </a:lnTo>
                  <a:cubicBezTo>
                    <a:pt x="261" y="1048"/>
                    <a:pt x="271" y="1046"/>
                    <a:pt x="276" y="1038"/>
                  </a:cubicBezTo>
                  <a:cubicBezTo>
                    <a:pt x="281" y="1031"/>
                    <a:pt x="279" y="1020"/>
                    <a:pt x="272" y="1015"/>
                  </a:cubicBezTo>
                  <a:lnTo>
                    <a:pt x="199" y="965"/>
                  </a:lnTo>
                  <a:lnTo>
                    <a:pt x="199" y="922"/>
                  </a:lnTo>
                  <a:lnTo>
                    <a:pt x="260" y="922"/>
                  </a:lnTo>
                  <a:cubicBezTo>
                    <a:pt x="289" y="922"/>
                    <a:pt x="313" y="898"/>
                    <a:pt x="313" y="868"/>
                  </a:cubicBezTo>
                  <a:cubicBezTo>
                    <a:pt x="313" y="861"/>
                    <a:pt x="311" y="853"/>
                    <a:pt x="308" y="847"/>
                  </a:cubicBezTo>
                  <a:lnTo>
                    <a:pt x="351" y="847"/>
                  </a:lnTo>
                  <a:lnTo>
                    <a:pt x="419" y="1056"/>
                  </a:lnTo>
                  <a:cubicBezTo>
                    <a:pt x="422" y="1062"/>
                    <a:pt x="428" y="1067"/>
                    <a:pt x="435" y="1067"/>
                  </a:cubicBezTo>
                  <a:lnTo>
                    <a:pt x="535" y="1067"/>
                  </a:lnTo>
                  <a:cubicBezTo>
                    <a:pt x="540" y="1067"/>
                    <a:pt x="545" y="1065"/>
                    <a:pt x="548" y="1061"/>
                  </a:cubicBezTo>
                  <a:cubicBezTo>
                    <a:pt x="551" y="1057"/>
                    <a:pt x="552" y="1051"/>
                    <a:pt x="551" y="1047"/>
                  </a:cubicBezTo>
                  <a:lnTo>
                    <a:pt x="480" y="744"/>
                  </a:lnTo>
                  <a:cubicBezTo>
                    <a:pt x="470" y="701"/>
                    <a:pt x="432" y="671"/>
                    <a:pt x="387" y="671"/>
                  </a:cubicBezTo>
                  <a:lnTo>
                    <a:pt x="281" y="671"/>
                  </a:lnTo>
                  <a:lnTo>
                    <a:pt x="281" y="608"/>
                  </a:lnTo>
                  <a:lnTo>
                    <a:pt x="442" y="608"/>
                  </a:lnTo>
                  <a:lnTo>
                    <a:pt x="462" y="608"/>
                  </a:lnTo>
                  <a:lnTo>
                    <a:pt x="1029" y="608"/>
                  </a:lnTo>
                  <a:cubicBezTo>
                    <a:pt x="1038" y="608"/>
                    <a:pt x="1045" y="601"/>
                    <a:pt x="1045" y="591"/>
                  </a:cubicBezTo>
                  <a:cubicBezTo>
                    <a:pt x="1045" y="582"/>
                    <a:pt x="1038" y="575"/>
                    <a:pt x="1029" y="57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latin typeface="Santander Text" panose="020B0504020201020104"/>
              </a:endParaRPr>
            </a:p>
          </p:txBody>
        </p:sp>
      </p:grpSp>
      <p:cxnSp>
        <p:nvCxnSpPr>
          <p:cNvPr id="111" name="Conector recto de flecha 110">
            <a:extLst>
              <a:ext uri="{FF2B5EF4-FFF2-40B4-BE49-F238E27FC236}">
                <a16:creationId xmlns:a16="http://schemas.microsoft.com/office/drawing/2014/main" id="{0BB13DAD-BE24-2D0A-CCAC-FE69319C820A}"/>
              </a:ext>
            </a:extLst>
          </p:cNvPr>
          <p:cNvCxnSpPr>
            <a:cxnSpLocks/>
          </p:cNvCxnSpPr>
          <p:nvPr/>
        </p:nvCxnSpPr>
        <p:spPr>
          <a:xfrm>
            <a:off x="2010603" y="3040030"/>
            <a:ext cx="1046699" cy="0"/>
          </a:xfrm>
          <a:prstGeom prst="straightConnector1">
            <a:avLst/>
          </a:prstGeom>
          <a:ln>
            <a:solidFill>
              <a:srgbClr val="C00000"/>
            </a:solidFill>
            <a:tailEnd type="triangle"/>
          </a:ln>
        </p:spPr>
        <p:style>
          <a:lnRef idx="2">
            <a:schemeClr val="accent1"/>
          </a:lnRef>
          <a:fillRef idx="0">
            <a:schemeClr val="accent1"/>
          </a:fillRef>
          <a:effectRef idx="1">
            <a:schemeClr val="accent1"/>
          </a:effectRef>
          <a:fontRef idx="minor">
            <a:schemeClr val="tx1"/>
          </a:fontRef>
        </p:style>
      </p:cxnSp>
      <p:cxnSp>
        <p:nvCxnSpPr>
          <p:cNvPr id="112" name="Conector: angular 111">
            <a:extLst>
              <a:ext uri="{FF2B5EF4-FFF2-40B4-BE49-F238E27FC236}">
                <a16:creationId xmlns:a16="http://schemas.microsoft.com/office/drawing/2014/main" id="{9EEF9194-9B6C-4C72-B329-1C362467270B}"/>
              </a:ext>
            </a:extLst>
          </p:cNvPr>
          <p:cNvCxnSpPr>
            <a:cxnSpLocks/>
            <a:stCxn id="106" idx="3"/>
          </p:cNvCxnSpPr>
          <p:nvPr/>
        </p:nvCxnSpPr>
        <p:spPr>
          <a:xfrm flipV="1">
            <a:off x="4345620" y="2039992"/>
            <a:ext cx="1717296" cy="1000038"/>
          </a:xfrm>
          <a:prstGeom prst="bentConnector3">
            <a:avLst>
              <a:gd name="adj1" fmla="val 50000"/>
            </a:avLst>
          </a:prstGeom>
          <a:ln>
            <a:solidFill>
              <a:srgbClr val="C00000"/>
            </a:solidFill>
            <a:tailEnd type="triangle"/>
          </a:ln>
        </p:spPr>
        <p:style>
          <a:lnRef idx="2">
            <a:schemeClr val="accent1"/>
          </a:lnRef>
          <a:fillRef idx="0">
            <a:schemeClr val="accent1"/>
          </a:fillRef>
          <a:effectRef idx="1">
            <a:schemeClr val="accent1"/>
          </a:effectRef>
          <a:fontRef idx="minor">
            <a:schemeClr val="tx1"/>
          </a:fontRef>
        </p:style>
      </p:cxnSp>
      <p:sp>
        <p:nvSpPr>
          <p:cNvPr id="75" name="Rectangle: Rounded Corners 193">
            <a:extLst>
              <a:ext uri="{FF2B5EF4-FFF2-40B4-BE49-F238E27FC236}">
                <a16:creationId xmlns:a16="http://schemas.microsoft.com/office/drawing/2014/main" id="{3DB2DAF8-1815-8D43-A9E3-C9EF055F5273}"/>
              </a:ext>
            </a:extLst>
          </p:cNvPr>
          <p:cNvSpPr>
            <a:spLocks/>
          </p:cNvSpPr>
          <p:nvPr/>
        </p:nvSpPr>
        <p:spPr>
          <a:xfrm>
            <a:off x="10415036" y="1717295"/>
            <a:ext cx="1132735" cy="3863965"/>
          </a:xfrm>
          <a:prstGeom prst="roundRect">
            <a:avLst>
              <a:gd name="adj" fmla="val 3636"/>
            </a:avLst>
          </a:prstGeom>
          <a:solidFill>
            <a:srgbClr val="C00000"/>
          </a:solidFill>
          <a:ln w="6350" cap="flat" cmpd="sng" algn="ctr">
            <a:noFill/>
            <a:prstDash val="solid"/>
            <a:miter lim="800000"/>
            <a:headEnd type="none" w="med" len="med"/>
            <a:tailEnd type="none" w="med" len="med"/>
          </a:ln>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a:ln>
                <a:noFill/>
              </a:ln>
              <a:solidFill>
                <a:schemeClr val="bg1"/>
              </a:solidFill>
              <a:effectLst/>
              <a:uLnTx/>
              <a:uFillTx/>
              <a:latin typeface="Calibri" panose="020F0502020204030204"/>
              <a:ea typeface="+mn-ea"/>
              <a:cs typeface="+mn-cs"/>
            </a:endParaRPr>
          </a:p>
        </p:txBody>
      </p:sp>
      <p:sp>
        <p:nvSpPr>
          <p:cNvPr id="76" name="Rectángulo: esquinas redondeadas 75">
            <a:extLst>
              <a:ext uri="{FF2B5EF4-FFF2-40B4-BE49-F238E27FC236}">
                <a16:creationId xmlns:a16="http://schemas.microsoft.com/office/drawing/2014/main" id="{73281B49-D218-5E33-E82D-ADF8D1402645}"/>
              </a:ext>
            </a:extLst>
          </p:cNvPr>
          <p:cNvSpPr>
            <a:spLocks/>
          </p:cNvSpPr>
          <p:nvPr/>
        </p:nvSpPr>
        <p:spPr>
          <a:xfrm>
            <a:off x="10463885" y="1574776"/>
            <a:ext cx="1009096" cy="251532"/>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50" b="1" noProof="0"/>
              <a:t>FMIS</a:t>
            </a:r>
          </a:p>
        </p:txBody>
      </p:sp>
      <p:sp>
        <p:nvSpPr>
          <p:cNvPr id="77" name="Rectangle: Rounded Corners 193">
            <a:extLst>
              <a:ext uri="{FF2B5EF4-FFF2-40B4-BE49-F238E27FC236}">
                <a16:creationId xmlns:a16="http://schemas.microsoft.com/office/drawing/2014/main" id="{8246E9D4-5600-1BA2-20E3-DFB6ABDC3EBD}"/>
              </a:ext>
            </a:extLst>
          </p:cNvPr>
          <p:cNvSpPr>
            <a:spLocks/>
          </p:cNvSpPr>
          <p:nvPr/>
        </p:nvSpPr>
        <p:spPr>
          <a:xfrm>
            <a:off x="10451858" y="1948268"/>
            <a:ext cx="1037343" cy="2058094"/>
          </a:xfrm>
          <a:prstGeom prst="roundRect">
            <a:avLst>
              <a:gd name="adj" fmla="val 3636"/>
            </a:avLst>
          </a:prstGeom>
          <a:noFill/>
          <a:ln w="9525" cap="flat" cmpd="sng" algn="ctr">
            <a:solidFill>
              <a:schemeClr val="bg1"/>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Calibri" panose="020F0502020204030204"/>
                <a:ea typeface="+mn-ea"/>
                <a:cs typeface="+mn-cs"/>
              </a:rPr>
              <a:t>COMMON DATA</a:t>
            </a:r>
          </a:p>
        </p:txBody>
      </p:sp>
      <p:grpSp>
        <p:nvGrpSpPr>
          <p:cNvPr id="78" name="Grupo 77">
            <a:extLst>
              <a:ext uri="{FF2B5EF4-FFF2-40B4-BE49-F238E27FC236}">
                <a16:creationId xmlns:a16="http://schemas.microsoft.com/office/drawing/2014/main" id="{1EFFAC76-6090-6491-196B-8034609B73DA}"/>
              </a:ext>
            </a:extLst>
          </p:cNvPr>
          <p:cNvGrpSpPr>
            <a:grpSpLocks/>
          </p:cNvGrpSpPr>
          <p:nvPr/>
        </p:nvGrpSpPr>
        <p:grpSpPr>
          <a:xfrm>
            <a:off x="10497707" y="2523218"/>
            <a:ext cx="945822" cy="660468"/>
            <a:chOff x="2737330" y="3574391"/>
            <a:chExt cx="1119787" cy="717107"/>
          </a:xfrm>
          <a:effectLst>
            <a:outerShdw blurRad="50800" dist="38100" dir="2700000" algn="tl" rotWithShape="0">
              <a:prstClr val="black">
                <a:alpha val="40000"/>
              </a:prstClr>
            </a:outerShdw>
          </a:effectLst>
        </p:grpSpPr>
        <p:sp>
          <p:nvSpPr>
            <p:cNvPr id="79" name="Rectangle: Rounded Corners 1218">
              <a:extLst>
                <a:ext uri="{FF2B5EF4-FFF2-40B4-BE49-F238E27FC236}">
                  <a16:creationId xmlns:a16="http://schemas.microsoft.com/office/drawing/2014/main" id="{411FE17D-EE3D-3087-9427-687CC9139FFE}"/>
                </a:ext>
              </a:extLst>
            </p:cNvPr>
            <p:cNvSpPr>
              <a:spLocks/>
            </p:cNvSpPr>
            <p:nvPr/>
          </p:nvSpPr>
          <p:spPr>
            <a:xfrm>
              <a:off x="2737330" y="3574391"/>
              <a:ext cx="1119787" cy="717107"/>
            </a:xfrm>
            <a:prstGeom prst="roundRect">
              <a:avLst>
                <a:gd name="adj" fmla="val 5394"/>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rtlCol="0" anchor="t"/>
            <a:lstStyle/>
            <a:p>
              <a:pPr algn="ctr"/>
              <a:r>
                <a:rPr lang="en-GB" sz="800" b="1" noProof="0"/>
                <a:t>FMIS Oracle DB</a:t>
              </a:r>
            </a:p>
          </p:txBody>
        </p:sp>
        <p:grpSp>
          <p:nvGrpSpPr>
            <p:cNvPr id="80" name="Database3" descr="{&quot;Key&quot;:&quot;POWER_USER_SHAPE_ICON&quot;,&quot;Value&quot;:&quot;POWER_USER_SHAPE_ICON_STYLE_1&quot;}">
              <a:extLst>
                <a:ext uri="{FF2B5EF4-FFF2-40B4-BE49-F238E27FC236}">
                  <a16:creationId xmlns:a16="http://schemas.microsoft.com/office/drawing/2014/main" id="{75DDCD66-B8C0-A39D-077F-107C70DFB0C5}"/>
                </a:ext>
              </a:extLst>
            </p:cNvPr>
            <p:cNvGrpSpPr>
              <a:grpSpLocks noChangeAspect="1"/>
            </p:cNvGrpSpPr>
            <p:nvPr/>
          </p:nvGrpSpPr>
          <p:grpSpPr>
            <a:xfrm>
              <a:off x="3155825" y="3798331"/>
              <a:ext cx="264993" cy="424592"/>
              <a:chOff x="3805239" y="5622926"/>
              <a:chExt cx="279400" cy="447676"/>
            </a:xfrm>
            <a:solidFill>
              <a:schemeClr val="dk1"/>
            </a:solidFill>
          </p:grpSpPr>
          <p:sp>
            <p:nvSpPr>
              <p:cNvPr id="81" name="Freeform 490">
                <a:extLst>
                  <a:ext uri="{FF2B5EF4-FFF2-40B4-BE49-F238E27FC236}">
                    <a16:creationId xmlns:a16="http://schemas.microsoft.com/office/drawing/2014/main" id="{8CAEF574-06B9-544B-DD66-0B740BFCEA6B}"/>
                  </a:ext>
                </a:extLst>
              </p:cNvPr>
              <p:cNvSpPr>
                <a:spLocks/>
              </p:cNvSpPr>
              <p:nvPr/>
            </p:nvSpPr>
            <p:spPr bwMode="auto">
              <a:xfrm>
                <a:off x="3805239" y="5622926"/>
                <a:ext cx="279400" cy="131763"/>
              </a:xfrm>
              <a:custGeom>
                <a:avLst/>
                <a:gdLst>
                  <a:gd name="T0" fmla="*/ 184 w 368"/>
                  <a:gd name="T1" fmla="*/ 17 h 173"/>
                  <a:gd name="T2" fmla="*/ 16 w 368"/>
                  <a:gd name="T3" fmla="*/ 86 h 173"/>
                  <a:gd name="T4" fmla="*/ 184 w 368"/>
                  <a:gd name="T5" fmla="*/ 156 h 173"/>
                  <a:gd name="T6" fmla="*/ 351 w 368"/>
                  <a:gd name="T7" fmla="*/ 86 h 173"/>
                  <a:gd name="T8" fmla="*/ 184 w 368"/>
                  <a:gd name="T9" fmla="*/ 17 h 173"/>
                  <a:gd name="T10" fmla="*/ 184 w 368"/>
                  <a:gd name="T11" fmla="*/ 173 h 173"/>
                  <a:gd name="T12" fmla="*/ 0 w 368"/>
                  <a:gd name="T13" fmla="*/ 86 h 173"/>
                  <a:gd name="T14" fmla="*/ 184 w 368"/>
                  <a:gd name="T15" fmla="*/ 0 h 173"/>
                  <a:gd name="T16" fmla="*/ 368 w 368"/>
                  <a:gd name="T17" fmla="*/ 86 h 173"/>
                  <a:gd name="T18" fmla="*/ 184 w 368"/>
                  <a:gd name="T1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8" h="173">
                    <a:moveTo>
                      <a:pt x="184" y="17"/>
                    </a:moveTo>
                    <a:cubicBezTo>
                      <a:pt x="84" y="17"/>
                      <a:pt x="16" y="53"/>
                      <a:pt x="16" y="86"/>
                    </a:cubicBezTo>
                    <a:cubicBezTo>
                      <a:pt x="16" y="120"/>
                      <a:pt x="84" y="156"/>
                      <a:pt x="184" y="156"/>
                    </a:cubicBezTo>
                    <a:cubicBezTo>
                      <a:pt x="284" y="156"/>
                      <a:pt x="351" y="120"/>
                      <a:pt x="351" y="86"/>
                    </a:cubicBezTo>
                    <a:cubicBezTo>
                      <a:pt x="351" y="53"/>
                      <a:pt x="284" y="17"/>
                      <a:pt x="184" y="17"/>
                    </a:cubicBezTo>
                    <a:close/>
                    <a:moveTo>
                      <a:pt x="184" y="173"/>
                    </a:moveTo>
                    <a:cubicBezTo>
                      <a:pt x="81" y="173"/>
                      <a:pt x="0" y="135"/>
                      <a:pt x="0" y="86"/>
                    </a:cubicBezTo>
                    <a:cubicBezTo>
                      <a:pt x="0" y="38"/>
                      <a:pt x="81" y="0"/>
                      <a:pt x="184" y="0"/>
                    </a:cubicBezTo>
                    <a:cubicBezTo>
                      <a:pt x="287" y="0"/>
                      <a:pt x="368" y="38"/>
                      <a:pt x="368" y="86"/>
                    </a:cubicBezTo>
                    <a:cubicBezTo>
                      <a:pt x="368" y="135"/>
                      <a:pt x="287" y="173"/>
                      <a:pt x="184" y="17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82" name="Freeform 491">
                <a:extLst>
                  <a:ext uri="{FF2B5EF4-FFF2-40B4-BE49-F238E27FC236}">
                    <a16:creationId xmlns:a16="http://schemas.microsoft.com/office/drawing/2014/main" id="{0BFADE99-67A5-BC7A-7CE3-616837B3AB54}"/>
                  </a:ext>
                </a:extLst>
              </p:cNvPr>
              <p:cNvSpPr>
                <a:spLocks/>
              </p:cNvSpPr>
              <p:nvPr/>
            </p:nvSpPr>
            <p:spPr bwMode="auto">
              <a:xfrm>
                <a:off x="3805239" y="5768976"/>
                <a:ext cx="279400" cy="65088"/>
              </a:xfrm>
              <a:custGeom>
                <a:avLst/>
                <a:gdLst>
                  <a:gd name="T0" fmla="*/ 184 w 368"/>
                  <a:gd name="T1" fmla="*/ 86 h 86"/>
                  <a:gd name="T2" fmla="*/ 0 w 368"/>
                  <a:gd name="T3" fmla="*/ 0 h 86"/>
                  <a:gd name="T4" fmla="*/ 16 w 368"/>
                  <a:gd name="T5" fmla="*/ 0 h 86"/>
                  <a:gd name="T6" fmla="*/ 184 w 368"/>
                  <a:gd name="T7" fmla="*/ 69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3"/>
                      <a:pt x="84" y="69"/>
                      <a:pt x="184" y="69"/>
                    </a:cubicBezTo>
                    <a:cubicBezTo>
                      <a:pt x="284" y="69"/>
                      <a:pt x="351" y="33"/>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83" name="Freeform 492">
                <a:extLst>
                  <a:ext uri="{FF2B5EF4-FFF2-40B4-BE49-F238E27FC236}">
                    <a16:creationId xmlns:a16="http://schemas.microsoft.com/office/drawing/2014/main" id="{8BE46939-8926-1744-1F42-F066C6579671}"/>
                  </a:ext>
                </a:extLst>
              </p:cNvPr>
              <p:cNvSpPr>
                <a:spLocks/>
              </p:cNvSpPr>
              <p:nvPr/>
            </p:nvSpPr>
            <p:spPr bwMode="auto">
              <a:xfrm>
                <a:off x="3805239" y="5848351"/>
                <a:ext cx="279400" cy="65088"/>
              </a:xfrm>
              <a:custGeom>
                <a:avLst/>
                <a:gdLst>
                  <a:gd name="T0" fmla="*/ 184 w 368"/>
                  <a:gd name="T1" fmla="*/ 86 h 86"/>
                  <a:gd name="T2" fmla="*/ 0 w 368"/>
                  <a:gd name="T3" fmla="*/ 0 h 86"/>
                  <a:gd name="T4" fmla="*/ 16 w 368"/>
                  <a:gd name="T5" fmla="*/ 0 h 86"/>
                  <a:gd name="T6" fmla="*/ 184 w 368"/>
                  <a:gd name="T7" fmla="*/ 70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4"/>
                      <a:pt x="84" y="70"/>
                      <a:pt x="184" y="70"/>
                    </a:cubicBezTo>
                    <a:cubicBezTo>
                      <a:pt x="284" y="70"/>
                      <a:pt x="351" y="34"/>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84" name="Freeform 493">
                <a:extLst>
                  <a:ext uri="{FF2B5EF4-FFF2-40B4-BE49-F238E27FC236}">
                    <a16:creationId xmlns:a16="http://schemas.microsoft.com/office/drawing/2014/main" id="{8E51F30F-F8AA-7EEF-1E5F-B5C10133BF79}"/>
                  </a:ext>
                </a:extLst>
              </p:cNvPr>
              <p:cNvSpPr>
                <a:spLocks/>
              </p:cNvSpPr>
              <p:nvPr/>
            </p:nvSpPr>
            <p:spPr bwMode="auto">
              <a:xfrm>
                <a:off x="3805239" y="5689601"/>
                <a:ext cx="279400" cy="304800"/>
              </a:xfrm>
              <a:custGeom>
                <a:avLst/>
                <a:gdLst>
                  <a:gd name="T0" fmla="*/ 184 w 368"/>
                  <a:gd name="T1" fmla="*/ 400 h 400"/>
                  <a:gd name="T2" fmla="*/ 0 w 368"/>
                  <a:gd name="T3" fmla="*/ 314 h 400"/>
                  <a:gd name="T4" fmla="*/ 0 w 368"/>
                  <a:gd name="T5" fmla="*/ 0 h 400"/>
                  <a:gd name="T6" fmla="*/ 16 w 368"/>
                  <a:gd name="T7" fmla="*/ 0 h 400"/>
                  <a:gd name="T8" fmla="*/ 16 w 368"/>
                  <a:gd name="T9" fmla="*/ 314 h 400"/>
                  <a:gd name="T10" fmla="*/ 184 w 368"/>
                  <a:gd name="T11" fmla="*/ 383 h 400"/>
                  <a:gd name="T12" fmla="*/ 351 w 368"/>
                  <a:gd name="T13" fmla="*/ 314 h 400"/>
                  <a:gd name="T14" fmla="*/ 351 w 368"/>
                  <a:gd name="T15" fmla="*/ 0 h 400"/>
                  <a:gd name="T16" fmla="*/ 368 w 368"/>
                  <a:gd name="T17" fmla="*/ 0 h 400"/>
                  <a:gd name="T18" fmla="*/ 368 w 368"/>
                  <a:gd name="T19" fmla="*/ 314 h 400"/>
                  <a:gd name="T20" fmla="*/ 184 w 368"/>
                  <a:gd name="T21" fmla="*/ 4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400">
                    <a:moveTo>
                      <a:pt x="184" y="400"/>
                    </a:moveTo>
                    <a:cubicBezTo>
                      <a:pt x="81" y="400"/>
                      <a:pt x="0" y="362"/>
                      <a:pt x="0" y="314"/>
                    </a:cubicBezTo>
                    <a:lnTo>
                      <a:pt x="0" y="0"/>
                    </a:lnTo>
                    <a:lnTo>
                      <a:pt x="16" y="0"/>
                    </a:lnTo>
                    <a:lnTo>
                      <a:pt x="16" y="314"/>
                    </a:lnTo>
                    <a:cubicBezTo>
                      <a:pt x="16" y="347"/>
                      <a:pt x="84" y="383"/>
                      <a:pt x="184" y="383"/>
                    </a:cubicBezTo>
                    <a:cubicBezTo>
                      <a:pt x="284" y="383"/>
                      <a:pt x="351" y="347"/>
                      <a:pt x="351" y="314"/>
                    </a:cubicBezTo>
                    <a:lnTo>
                      <a:pt x="351" y="0"/>
                    </a:lnTo>
                    <a:lnTo>
                      <a:pt x="368" y="0"/>
                    </a:lnTo>
                    <a:lnTo>
                      <a:pt x="368" y="314"/>
                    </a:lnTo>
                    <a:cubicBezTo>
                      <a:pt x="368" y="362"/>
                      <a:pt x="287" y="400"/>
                      <a:pt x="184"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85" name="Freeform 494">
                <a:extLst>
                  <a:ext uri="{FF2B5EF4-FFF2-40B4-BE49-F238E27FC236}">
                    <a16:creationId xmlns:a16="http://schemas.microsoft.com/office/drawing/2014/main" id="{CFE459CA-E1BE-3405-CF66-9E90BB6D85FF}"/>
                  </a:ext>
                </a:extLst>
              </p:cNvPr>
              <p:cNvSpPr>
                <a:spLocks/>
              </p:cNvSpPr>
              <p:nvPr/>
            </p:nvSpPr>
            <p:spPr bwMode="auto">
              <a:xfrm>
                <a:off x="3905251" y="5778501"/>
                <a:ext cx="80963" cy="15875"/>
              </a:xfrm>
              <a:custGeom>
                <a:avLst/>
                <a:gdLst>
                  <a:gd name="T0" fmla="*/ 87 w 106"/>
                  <a:gd name="T1" fmla="*/ 3 h 22"/>
                  <a:gd name="T2" fmla="*/ 103 w 106"/>
                  <a:gd name="T3" fmla="*/ 0 h 22"/>
                  <a:gd name="T4" fmla="*/ 106 w 106"/>
                  <a:gd name="T5" fmla="*/ 17 h 22"/>
                  <a:gd name="T6" fmla="*/ 89 w 106"/>
                  <a:gd name="T7" fmla="*/ 20 h 22"/>
                  <a:gd name="T8" fmla="*/ 87 w 106"/>
                  <a:gd name="T9" fmla="*/ 3 h 22"/>
                  <a:gd name="T10" fmla="*/ 8 w 106"/>
                  <a:gd name="T11" fmla="*/ 18 h 22"/>
                  <a:gd name="T12" fmla="*/ 0 w 106"/>
                  <a:gd name="T13" fmla="*/ 17 h 22"/>
                  <a:gd name="T14" fmla="*/ 3 w 106"/>
                  <a:gd name="T15" fmla="*/ 0 h 22"/>
                  <a:gd name="T16" fmla="*/ 19 w 106"/>
                  <a:gd name="T17" fmla="*/ 3 h 22"/>
                  <a:gd name="T18" fmla="*/ 17 w 106"/>
                  <a:gd name="T19" fmla="*/ 20 h 22"/>
                  <a:gd name="T20" fmla="*/ 8 w 106"/>
                  <a:gd name="T21" fmla="*/ 18 h 22"/>
                  <a:gd name="T22" fmla="*/ 45 w 106"/>
                  <a:gd name="T23" fmla="*/ 22 h 22"/>
                  <a:gd name="T24" fmla="*/ 45 w 106"/>
                  <a:gd name="T25" fmla="*/ 5 h 22"/>
                  <a:gd name="T26" fmla="*/ 61 w 106"/>
                  <a:gd name="T27" fmla="*/ 5 h 22"/>
                  <a:gd name="T28" fmla="*/ 61 w 106"/>
                  <a:gd name="T29" fmla="*/ 22 h 22"/>
                  <a:gd name="T30" fmla="*/ 53 w 106"/>
                  <a:gd name="T31" fmla="*/ 22 h 22"/>
                  <a:gd name="T32" fmla="*/ 45 w 106"/>
                  <a:gd name="T3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2">
                    <a:moveTo>
                      <a:pt x="87" y="3"/>
                    </a:moveTo>
                    <a:lnTo>
                      <a:pt x="103" y="0"/>
                    </a:lnTo>
                    <a:lnTo>
                      <a:pt x="106" y="17"/>
                    </a:lnTo>
                    <a:lnTo>
                      <a:pt x="89" y="20"/>
                    </a:lnTo>
                    <a:lnTo>
                      <a:pt x="87" y="3"/>
                    </a:lnTo>
                    <a:close/>
                    <a:moveTo>
                      <a:pt x="8" y="18"/>
                    </a:moveTo>
                    <a:lnTo>
                      <a:pt x="0" y="17"/>
                    </a:lnTo>
                    <a:lnTo>
                      <a:pt x="3" y="0"/>
                    </a:lnTo>
                    <a:lnTo>
                      <a:pt x="19" y="3"/>
                    </a:lnTo>
                    <a:lnTo>
                      <a:pt x="17" y="20"/>
                    </a:lnTo>
                    <a:lnTo>
                      <a:pt x="8" y="18"/>
                    </a:lnTo>
                    <a:close/>
                    <a:moveTo>
                      <a:pt x="45" y="22"/>
                    </a:moveTo>
                    <a:lnTo>
                      <a:pt x="45" y="5"/>
                    </a:lnTo>
                    <a:lnTo>
                      <a:pt x="61" y="5"/>
                    </a:lnTo>
                    <a:lnTo>
                      <a:pt x="61" y="22"/>
                    </a:lnTo>
                    <a:lnTo>
                      <a:pt x="53" y="22"/>
                    </a:lnTo>
                    <a:lnTo>
                      <a:pt x="45"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2" name="Freeform 495">
                <a:extLst>
                  <a:ext uri="{FF2B5EF4-FFF2-40B4-BE49-F238E27FC236}">
                    <a16:creationId xmlns:a16="http://schemas.microsoft.com/office/drawing/2014/main" id="{3180C733-E90C-70AB-4F36-D0B516E4B7CE}"/>
                  </a:ext>
                </a:extLst>
              </p:cNvPr>
              <p:cNvSpPr>
                <a:spLocks/>
              </p:cNvSpPr>
              <p:nvPr/>
            </p:nvSpPr>
            <p:spPr bwMode="auto">
              <a:xfrm>
                <a:off x="3805239" y="5762626"/>
                <a:ext cx="279400" cy="71438"/>
              </a:xfrm>
              <a:custGeom>
                <a:avLst/>
                <a:gdLst>
                  <a:gd name="T0" fmla="*/ 184 w 368"/>
                  <a:gd name="T1" fmla="*/ 95 h 95"/>
                  <a:gd name="T2" fmla="*/ 0 w 368"/>
                  <a:gd name="T3" fmla="*/ 9 h 95"/>
                  <a:gd name="T4" fmla="*/ 0 w 368"/>
                  <a:gd name="T5" fmla="*/ 0 h 95"/>
                  <a:gd name="T6" fmla="*/ 16 w 368"/>
                  <a:gd name="T7" fmla="*/ 0 h 95"/>
                  <a:gd name="T8" fmla="*/ 16 w 368"/>
                  <a:gd name="T9" fmla="*/ 9 h 95"/>
                  <a:gd name="T10" fmla="*/ 184 w 368"/>
                  <a:gd name="T11" fmla="*/ 78 h 95"/>
                  <a:gd name="T12" fmla="*/ 351 w 368"/>
                  <a:gd name="T13" fmla="*/ 9 h 95"/>
                  <a:gd name="T14" fmla="*/ 351 w 368"/>
                  <a:gd name="T15" fmla="*/ 0 h 95"/>
                  <a:gd name="T16" fmla="*/ 368 w 368"/>
                  <a:gd name="T17" fmla="*/ 0 h 95"/>
                  <a:gd name="T18" fmla="*/ 368 w 368"/>
                  <a:gd name="T19" fmla="*/ 9 h 95"/>
                  <a:gd name="T20" fmla="*/ 184 w 368"/>
                  <a:gd name="T21"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95">
                    <a:moveTo>
                      <a:pt x="184" y="95"/>
                    </a:moveTo>
                    <a:cubicBezTo>
                      <a:pt x="81" y="95"/>
                      <a:pt x="0" y="57"/>
                      <a:pt x="0" y="9"/>
                    </a:cubicBezTo>
                    <a:lnTo>
                      <a:pt x="0" y="0"/>
                    </a:lnTo>
                    <a:lnTo>
                      <a:pt x="16" y="0"/>
                    </a:lnTo>
                    <a:lnTo>
                      <a:pt x="16" y="9"/>
                    </a:lnTo>
                    <a:cubicBezTo>
                      <a:pt x="16" y="42"/>
                      <a:pt x="84" y="78"/>
                      <a:pt x="184" y="78"/>
                    </a:cubicBezTo>
                    <a:cubicBezTo>
                      <a:pt x="284" y="78"/>
                      <a:pt x="351" y="42"/>
                      <a:pt x="351" y="9"/>
                    </a:cubicBezTo>
                    <a:lnTo>
                      <a:pt x="351" y="0"/>
                    </a:lnTo>
                    <a:lnTo>
                      <a:pt x="368" y="0"/>
                    </a:lnTo>
                    <a:lnTo>
                      <a:pt x="368" y="9"/>
                    </a:lnTo>
                    <a:cubicBezTo>
                      <a:pt x="368" y="57"/>
                      <a:pt x="287" y="95"/>
                      <a:pt x="184" y="9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4" name="Freeform 496">
                <a:extLst>
                  <a:ext uri="{FF2B5EF4-FFF2-40B4-BE49-F238E27FC236}">
                    <a16:creationId xmlns:a16="http://schemas.microsoft.com/office/drawing/2014/main" id="{13C810E0-FBD3-862B-76F2-A10B7263A793}"/>
                  </a:ext>
                </a:extLst>
              </p:cNvPr>
              <p:cNvSpPr>
                <a:spLocks/>
              </p:cNvSpPr>
              <p:nvPr/>
            </p:nvSpPr>
            <p:spPr bwMode="auto">
              <a:xfrm>
                <a:off x="3905251" y="5857876"/>
                <a:ext cx="80963" cy="15875"/>
              </a:xfrm>
              <a:custGeom>
                <a:avLst/>
                <a:gdLst>
                  <a:gd name="T0" fmla="*/ 87 w 106"/>
                  <a:gd name="T1" fmla="*/ 2 h 21"/>
                  <a:gd name="T2" fmla="*/ 95 w 106"/>
                  <a:gd name="T3" fmla="*/ 1 h 21"/>
                  <a:gd name="T4" fmla="*/ 95 w 106"/>
                  <a:gd name="T5" fmla="*/ 1 h 21"/>
                  <a:gd name="T6" fmla="*/ 103 w 106"/>
                  <a:gd name="T7" fmla="*/ 0 h 21"/>
                  <a:gd name="T8" fmla="*/ 106 w 106"/>
                  <a:gd name="T9" fmla="*/ 16 h 21"/>
                  <a:gd name="T10" fmla="*/ 89 w 106"/>
                  <a:gd name="T11" fmla="*/ 19 h 21"/>
                  <a:gd name="T12" fmla="*/ 87 w 106"/>
                  <a:gd name="T13" fmla="*/ 2 h 21"/>
                  <a:gd name="T14" fmla="*/ 8 w 106"/>
                  <a:gd name="T15" fmla="*/ 17 h 21"/>
                  <a:gd name="T16" fmla="*/ 0 w 106"/>
                  <a:gd name="T17" fmla="*/ 16 h 21"/>
                  <a:gd name="T18" fmla="*/ 3 w 106"/>
                  <a:gd name="T19" fmla="*/ 0 h 21"/>
                  <a:gd name="T20" fmla="*/ 19 w 106"/>
                  <a:gd name="T21" fmla="*/ 2 h 21"/>
                  <a:gd name="T22" fmla="*/ 17 w 106"/>
                  <a:gd name="T23" fmla="*/ 19 h 21"/>
                  <a:gd name="T24" fmla="*/ 8 w 106"/>
                  <a:gd name="T25" fmla="*/ 17 h 21"/>
                  <a:gd name="T26" fmla="*/ 45 w 106"/>
                  <a:gd name="T27" fmla="*/ 21 h 21"/>
                  <a:gd name="T28" fmla="*/ 45 w 106"/>
                  <a:gd name="T29" fmla="*/ 4 h 21"/>
                  <a:gd name="T30" fmla="*/ 61 w 106"/>
                  <a:gd name="T31" fmla="*/ 4 h 21"/>
                  <a:gd name="T32" fmla="*/ 61 w 106"/>
                  <a:gd name="T33" fmla="*/ 21 h 21"/>
                  <a:gd name="T34" fmla="*/ 53 w 106"/>
                  <a:gd name="T35" fmla="*/ 21 h 21"/>
                  <a:gd name="T36" fmla="*/ 45 w 106"/>
                  <a:gd name="T3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1">
                    <a:moveTo>
                      <a:pt x="87" y="2"/>
                    </a:moveTo>
                    <a:lnTo>
                      <a:pt x="95" y="1"/>
                    </a:lnTo>
                    <a:lnTo>
                      <a:pt x="95" y="1"/>
                    </a:lnTo>
                    <a:lnTo>
                      <a:pt x="103" y="0"/>
                    </a:lnTo>
                    <a:lnTo>
                      <a:pt x="106" y="16"/>
                    </a:lnTo>
                    <a:lnTo>
                      <a:pt x="89" y="19"/>
                    </a:lnTo>
                    <a:lnTo>
                      <a:pt x="87" y="2"/>
                    </a:lnTo>
                    <a:close/>
                    <a:moveTo>
                      <a:pt x="8" y="17"/>
                    </a:moveTo>
                    <a:lnTo>
                      <a:pt x="0" y="16"/>
                    </a:lnTo>
                    <a:lnTo>
                      <a:pt x="3" y="0"/>
                    </a:lnTo>
                    <a:lnTo>
                      <a:pt x="19" y="2"/>
                    </a:lnTo>
                    <a:lnTo>
                      <a:pt x="17" y="19"/>
                    </a:lnTo>
                    <a:lnTo>
                      <a:pt x="8" y="17"/>
                    </a:lnTo>
                    <a:close/>
                    <a:moveTo>
                      <a:pt x="45" y="21"/>
                    </a:moveTo>
                    <a:lnTo>
                      <a:pt x="45" y="4"/>
                    </a:lnTo>
                    <a:lnTo>
                      <a:pt x="61" y="4"/>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3" name="Freeform 497">
                <a:extLst>
                  <a:ext uri="{FF2B5EF4-FFF2-40B4-BE49-F238E27FC236}">
                    <a16:creationId xmlns:a16="http://schemas.microsoft.com/office/drawing/2014/main" id="{76183D73-5FA2-DD7A-5E72-ABEB250D9749}"/>
                  </a:ext>
                </a:extLst>
              </p:cNvPr>
              <p:cNvSpPr>
                <a:spLocks/>
              </p:cNvSpPr>
              <p:nvPr/>
            </p:nvSpPr>
            <p:spPr bwMode="auto">
              <a:xfrm>
                <a:off x="3905251" y="5937251"/>
                <a:ext cx="80963" cy="15875"/>
              </a:xfrm>
              <a:custGeom>
                <a:avLst/>
                <a:gdLst>
                  <a:gd name="T0" fmla="*/ 87 w 106"/>
                  <a:gd name="T1" fmla="*/ 3 h 21"/>
                  <a:gd name="T2" fmla="*/ 103 w 106"/>
                  <a:gd name="T3" fmla="*/ 0 h 21"/>
                  <a:gd name="T4" fmla="*/ 106 w 106"/>
                  <a:gd name="T5" fmla="*/ 16 h 21"/>
                  <a:gd name="T6" fmla="*/ 89 w 106"/>
                  <a:gd name="T7" fmla="*/ 19 h 21"/>
                  <a:gd name="T8" fmla="*/ 87 w 106"/>
                  <a:gd name="T9" fmla="*/ 3 h 21"/>
                  <a:gd name="T10" fmla="*/ 8 w 106"/>
                  <a:gd name="T11" fmla="*/ 18 h 21"/>
                  <a:gd name="T12" fmla="*/ 0 w 106"/>
                  <a:gd name="T13" fmla="*/ 16 h 21"/>
                  <a:gd name="T14" fmla="*/ 3 w 106"/>
                  <a:gd name="T15" fmla="*/ 0 h 21"/>
                  <a:gd name="T16" fmla="*/ 19 w 106"/>
                  <a:gd name="T17" fmla="*/ 3 h 21"/>
                  <a:gd name="T18" fmla="*/ 17 w 106"/>
                  <a:gd name="T19" fmla="*/ 19 h 21"/>
                  <a:gd name="T20" fmla="*/ 8 w 106"/>
                  <a:gd name="T21" fmla="*/ 18 h 21"/>
                  <a:gd name="T22" fmla="*/ 45 w 106"/>
                  <a:gd name="T23" fmla="*/ 21 h 21"/>
                  <a:gd name="T24" fmla="*/ 45 w 106"/>
                  <a:gd name="T25" fmla="*/ 5 h 21"/>
                  <a:gd name="T26" fmla="*/ 61 w 106"/>
                  <a:gd name="T27" fmla="*/ 5 h 21"/>
                  <a:gd name="T28" fmla="*/ 61 w 106"/>
                  <a:gd name="T29" fmla="*/ 21 h 21"/>
                  <a:gd name="T30" fmla="*/ 53 w 106"/>
                  <a:gd name="T31" fmla="*/ 21 h 21"/>
                  <a:gd name="T32" fmla="*/ 45 w 106"/>
                  <a:gd name="T3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1">
                    <a:moveTo>
                      <a:pt x="87" y="3"/>
                    </a:moveTo>
                    <a:lnTo>
                      <a:pt x="103" y="0"/>
                    </a:lnTo>
                    <a:lnTo>
                      <a:pt x="106" y="16"/>
                    </a:lnTo>
                    <a:lnTo>
                      <a:pt x="89" y="19"/>
                    </a:lnTo>
                    <a:lnTo>
                      <a:pt x="87" y="3"/>
                    </a:lnTo>
                    <a:close/>
                    <a:moveTo>
                      <a:pt x="8" y="18"/>
                    </a:moveTo>
                    <a:lnTo>
                      <a:pt x="0" y="16"/>
                    </a:lnTo>
                    <a:lnTo>
                      <a:pt x="3" y="0"/>
                    </a:lnTo>
                    <a:lnTo>
                      <a:pt x="19" y="3"/>
                    </a:lnTo>
                    <a:lnTo>
                      <a:pt x="17" y="19"/>
                    </a:lnTo>
                    <a:lnTo>
                      <a:pt x="8" y="18"/>
                    </a:lnTo>
                    <a:close/>
                    <a:moveTo>
                      <a:pt x="45" y="21"/>
                    </a:moveTo>
                    <a:lnTo>
                      <a:pt x="45" y="5"/>
                    </a:lnTo>
                    <a:lnTo>
                      <a:pt x="61" y="5"/>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4" name="Rectangle 498">
                <a:extLst>
                  <a:ext uri="{FF2B5EF4-FFF2-40B4-BE49-F238E27FC236}">
                    <a16:creationId xmlns:a16="http://schemas.microsoft.com/office/drawing/2014/main" id="{B6EDE014-A233-0675-23DE-E55B4C2594FC}"/>
                  </a:ext>
                </a:extLst>
              </p:cNvPr>
              <p:cNvSpPr>
                <a:spLocks/>
              </p:cNvSpPr>
              <p:nvPr/>
            </p:nvSpPr>
            <p:spPr bwMode="auto">
              <a:xfrm>
                <a:off x="3938589" y="5980114"/>
                <a:ext cx="12700"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5" name="Rectangle 499">
                <a:extLst>
                  <a:ext uri="{FF2B5EF4-FFF2-40B4-BE49-F238E27FC236}">
                    <a16:creationId xmlns:a16="http://schemas.microsoft.com/office/drawing/2014/main" id="{0C46F347-B71E-38AA-48E0-CABF2D9A5E77}"/>
                  </a:ext>
                </a:extLst>
              </p:cNvPr>
              <p:cNvSpPr>
                <a:spLocks/>
              </p:cNvSpPr>
              <p:nvPr/>
            </p:nvSpPr>
            <p:spPr bwMode="auto">
              <a:xfrm>
                <a:off x="38052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6" name="Freeform 500">
                <a:extLst>
                  <a:ext uri="{FF2B5EF4-FFF2-40B4-BE49-F238E27FC236}">
                    <a16:creationId xmlns:a16="http://schemas.microsoft.com/office/drawing/2014/main" id="{D5854FC5-1B4B-DBDB-EC96-9161BD0A543B}"/>
                  </a:ext>
                </a:extLst>
              </p:cNvPr>
              <p:cNvSpPr>
                <a:spLocks/>
              </p:cNvSpPr>
              <p:nvPr/>
            </p:nvSpPr>
            <p:spPr bwMode="auto">
              <a:xfrm>
                <a:off x="3919539" y="6018214"/>
                <a:ext cx="50800" cy="52388"/>
              </a:xfrm>
              <a:custGeom>
                <a:avLst/>
                <a:gdLst>
                  <a:gd name="T0" fmla="*/ 34 w 68"/>
                  <a:gd name="T1" fmla="*/ 16 h 68"/>
                  <a:gd name="T2" fmla="*/ 16 w 68"/>
                  <a:gd name="T3" fmla="*/ 34 h 68"/>
                  <a:gd name="T4" fmla="*/ 34 w 68"/>
                  <a:gd name="T5" fmla="*/ 51 h 68"/>
                  <a:gd name="T6" fmla="*/ 51 w 68"/>
                  <a:gd name="T7" fmla="*/ 34 h 68"/>
                  <a:gd name="T8" fmla="*/ 34 w 68"/>
                  <a:gd name="T9" fmla="*/ 16 h 68"/>
                  <a:gd name="T10" fmla="*/ 34 w 68"/>
                  <a:gd name="T11" fmla="*/ 68 h 68"/>
                  <a:gd name="T12" fmla="*/ 0 w 68"/>
                  <a:gd name="T13" fmla="*/ 34 h 68"/>
                  <a:gd name="T14" fmla="*/ 34 w 68"/>
                  <a:gd name="T15" fmla="*/ 0 h 68"/>
                  <a:gd name="T16" fmla="*/ 68 w 68"/>
                  <a:gd name="T17" fmla="*/ 34 h 68"/>
                  <a:gd name="T18" fmla="*/ 34 w 68"/>
                  <a:gd name="T1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16"/>
                    </a:moveTo>
                    <a:cubicBezTo>
                      <a:pt x="24" y="16"/>
                      <a:pt x="16" y="24"/>
                      <a:pt x="16" y="34"/>
                    </a:cubicBezTo>
                    <a:cubicBezTo>
                      <a:pt x="16" y="43"/>
                      <a:pt x="24" y="51"/>
                      <a:pt x="34" y="51"/>
                    </a:cubicBezTo>
                    <a:cubicBezTo>
                      <a:pt x="43" y="51"/>
                      <a:pt x="51" y="43"/>
                      <a:pt x="51" y="34"/>
                    </a:cubicBezTo>
                    <a:cubicBezTo>
                      <a:pt x="51" y="24"/>
                      <a:pt x="43" y="16"/>
                      <a:pt x="34" y="16"/>
                    </a:cubicBezTo>
                    <a:close/>
                    <a:moveTo>
                      <a:pt x="34" y="68"/>
                    </a:moveTo>
                    <a:cubicBezTo>
                      <a:pt x="15" y="68"/>
                      <a:pt x="0" y="52"/>
                      <a:pt x="0" y="34"/>
                    </a:cubicBezTo>
                    <a:cubicBezTo>
                      <a:pt x="0" y="15"/>
                      <a:pt x="15" y="0"/>
                      <a:pt x="34" y="0"/>
                    </a:cubicBezTo>
                    <a:cubicBezTo>
                      <a:pt x="53" y="0"/>
                      <a:pt x="68" y="15"/>
                      <a:pt x="68" y="34"/>
                    </a:cubicBezTo>
                    <a:cubicBezTo>
                      <a:pt x="68" y="52"/>
                      <a:pt x="53" y="68"/>
                      <a:pt x="34" y="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7" name="Rectangle 501">
                <a:extLst>
                  <a:ext uri="{FF2B5EF4-FFF2-40B4-BE49-F238E27FC236}">
                    <a16:creationId xmlns:a16="http://schemas.microsoft.com/office/drawing/2014/main" id="{85185B3E-AA9C-2593-B2A9-C3E61D542911}"/>
                  </a:ext>
                </a:extLst>
              </p:cNvPr>
              <p:cNvSpPr>
                <a:spLocks/>
              </p:cNvSpPr>
              <p:nvPr/>
            </p:nvSpPr>
            <p:spPr bwMode="auto">
              <a:xfrm>
                <a:off x="39576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noProof="0"/>
              </a:p>
            </p:txBody>
          </p:sp>
        </p:grpSp>
      </p:grpSp>
      <p:sp>
        <p:nvSpPr>
          <p:cNvPr id="118" name="Rectangle: Rounded Corners 1218">
            <a:extLst>
              <a:ext uri="{FF2B5EF4-FFF2-40B4-BE49-F238E27FC236}">
                <a16:creationId xmlns:a16="http://schemas.microsoft.com/office/drawing/2014/main" id="{8DB58876-0EC3-E5E7-B983-C1FBB933EE25}"/>
              </a:ext>
            </a:extLst>
          </p:cNvPr>
          <p:cNvSpPr>
            <a:spLocks/>
          </p:cNvSpPr>
          <p:nvPr/>
        </p:nvSpPr>
        <p:spPr>
          <a:xfrm>
            <a:off x="10495522" y="3266262"/>
            <a:ext cx="945822" cy="660468"/>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t"/>
          <a:lstStyle/>
          <a:p>
            <a:pPr algn="ctr"/>
            <a:r>
              <a:rPr lang="en-GB" sz="900" b="1" noProof="0"/>
              <a:t>Decision </a:t>
            </a:r>
          </a:p>
          <a:p>
            <a:pPr algn="ctr"/>
            <a:r>
              <a:rPr lang="en-GB" sz="900" b="1" noProof="0"/>
              <a:t>tree</a:t>
            </a:r>
          </a:p>
        </p:txBody>
      </p:sp>
      <p:pic>
        <p:nvPicPr>
          <p:cNvPr id="119" name="Gráfico 158" descr="Jerarquía contorno">
            <a:extLst>
              <a:ext uri="{FF2B5EF4-FFF2-40B4-BE49-F238E27FC236}">
                <a16:creationId xmlns:a16="http://schemas.microsoft.com/office/drawing/2014/main" id="{2756CFDB-436C-21F2-B563-DFCC7D83BFA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773632" y="3535185"/>
            <a:ext cx="389602" cy="412934"/>
          </a:xfrm>
          <a:prstGeom prst="rect">
            <a:avLst/>
          </a:prstGeom>
        </p:spPr>
      </p:pic>
      <p:sp>
        <p:nvSpPr>
          <p:cNvPr id="23" name="Bocadillo: rectángulo 428">
            <a:extLst>
              <a:ext uri="{FF2B5EF4-FFF2-40B4-BE49-F238E27FC236}">
                <a16:creationId xmlns:a16="http://schemas.microsoft.com/office/drawing/2014/main" id="{0724B291-25D0-FF48-0A33-472E0002A8BF}"/>
              </a:ext>
            </a:extLst>
          </p:cNvPr>
          <p:cNvSpPr/>
          <p:nvPr/>
        </p:nvSpPr>
        <p:spPr>
          <a:xfrm>
            <a:off x="233520" y="3968476"/>
            <a:ext cx="3749475" cy="1265995"/>
          </a:xfrm>
          <a:prstGeom prst="wedgeRectCallout">
            <a:avLst>
              <a:gd name="adj1" fmla="val -20343"/>
              <a:gd name="adj2" fmla="val -84216"/>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900" noProof="0">
                <a:solidFill>
                  <a:schemeClr val="tx1"/>
                </a:solidFill>
              </a:rPr>
              <a:t>Does it explain the change in customer TTIs that have changed by more than 1 percentage point?</a:t>
            </a:r>
          </a:p>
          <a:p>
            <a:pPr marL="171450" indent="-171450">
              <a:buFont typeface="Arial" panose="020B0604020202020204" pitchFamily="34" charset="0"/>
              <a:buChar char="•"/>
            </a:pPr>
            <a:r>
              <a:rPr lang="en-GB" sz="900" noProof="0">
                <a:solidFill>
                  <a:schemeClr val="tx1"/>
                </a:solidFill>
              </a:rPr>
              <a:t>Why has the TTI changed compared to yesterday's calculation? -Why has this curve been used?</a:t>
            </a:r>
          </a:p>
          <a:p>
            <a:pPr marL="171450" indent="-171450">
              <a:buFont typeface="Arial" panose="020B0604020202020204" pitchFamily="34" charset="0"/>
              <a:buChar char="•"/>
            </a:pPr>
            <a:r>
              <a:rPr lang="en-GB" sz="900" noProof="0">
                <a:solidFill>
                  <a:schemeClr val="tx1"/>
                </a:solidFill>
              </a:rPr>
              <a:t>Identify which interest curve this customer's TTI was calculated with</a:t>
            </a:r>
          </a:p>
          <a:p>
            <a:pPr marL="171450" indent="-171450">
              <a:buFont typeface="Arial" panose="020B0604020202020204" pitchFamily="34" charset="0"/>
              <a:buChar char="•"/>
            </a:pPr>
            <a:r>
              <a:rPr lang="en-GB" sz="900" noProof="0">
                <a:solidFill>
                  <a:schemeClr val="tx1"/>
                </a:solidFill>
              </a:rPr>
              <a:t>Give me this client's TTIs</a:t>
            </a:r>
          </a:p>
        </p:txBody>
      </p:sp>
      <p:sp>
        <p:nvSpPr>
          <p:cNvPr id="29" name="Rectangle: Rounded Corners 1218">
            <a:extLst>
              <a:ext uri="{FF2B5EF4-FFF2-40B4-BE49-F238E27FC236}">
                <a16:creationId xmlns:a16="http://schemas.microsoft.com/office/drawing/2014/main" id="{4124C3C8-AB88-9844-FB49-BA4F0D24D624}"/>
              </a:ext>
            </a:extLst>
          </p:cNvPr>
          <p:cNvSpPr>
            <a:spLocks/>
          </p:cNvSpPr>
          <p:nvPr/>
        </p:nvSpPr>
        <p:spPr>
          <a:xfrm>
            <a:off x="10506557" y="4473501"/>
            <a:ext cx="945822" cy="212552"/>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t"/>
          <a:lstStyle/>
          <a:p>
            <a:pPr algn="ctr"/>
            <a:r>
              <a:rPr lang="en-GB" sz="900" b="1" noProof="0"/>
              <a:t>Batch</a:t>
            </a:r>
          </a:p>
        </p:txBody>
      </p:sp>
      <p:grpSp>
        <p:nvGrpSpPr>
          <p:cNvPr id="35" name="Grupo 77">
            <a:extLst>
              <a:ext uri="{FF2B5EF4-FFF2-40B4-BE49-F238E27FC236}">
                <a16:creationId xmlns:a16="http://schemas.microsoft.com/office/drawing/2014/main" id="{19C5F127-5ED6-D2E5-5087-21C617BAB507}"/>
              </a:ext>
            </a:extLst>
          </p:cNvPr>
          <p:cNvGrpSpPr>
            <a:grpSpLocks/>
          </p:cNvGrpSpPr>
          <p:nvPr/>
        </p:nvGrpSpPr>
        <p:grpSpPr>
          <a:xfrm>
            <a:off x="10506557" y="4749210"/>
            <a:ext cx="945822" cy="660468"/>
            <a:chOff x="2737330" y="3574391"/>
            <a:chExt cx="1119787" cy="717107"/>
          </a:xfrm>
          <a:effectLst>
            <a:outerShdw blurRad="50800" dist="38100" dir="2700000" algn="tl" rotWithShape="0">
              <a:prstClr val="black">
                <a:alpha val="40000"/>
              </a:prstClr>
            </a:outerShdw>
          </a:effectLst>
        </p:grpSpPr>
        <p:sp>
          <p:nvSpPr>
            <p:cNvPr id="37" name="Rectangle: Rounded Corners 1218">
              <a:extLst>
                <a:ext uri="{FF2B5EF4-FFF2-40B4-BE49-F238E27FC236}">
                  <a16:creationId xmlns:a16="http://schemas.microsoft.com/office/drawing/2014/main" id="{84AD5B0C-2F99-B53C-A1CD-02A3081A7F69}"/>
                </a:ext>
              </a:extLst>
            </p:cNvPr>
            <p:cNvSpPr>
              <a:spLocks/>
            </p:cNvSpPr>
            <p:nvPr/>
          </p:nvSpPr>
          <p:spPr>
            <a:xfrm>
              <a:off x="2737330" y="3574391"/>
              <a:ext cx="1119787" cy="717107"/>
            </a:xfrm>
            <a:prstGeom prst="roundRect">
              <a:avLst>
                <a:gd name="adj" fmla="val 5394"/>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rtlCol="0" anchor="t"/>
            <a:lstStyle/>
            <a:p>
              <a:pPr algn="ctr"/>
              <a:r>
                <a:rPr lang="en-GB" sz="800" b="1" noProof="0"/>
                <a:t>Params DDBB</a:t>
              </a:r>
            </a:p>
          </p:txBody>
        </p:sp>
        <p:grpSp>
          <p:nvGrpSpPr>
            <p:cNvPr id="38" name="Database3" descr="{&quot;Key&quot;:&quot;POWER_USER_SHAPE_ICON&quot;,&quot;Value&quot;:&quot;POWER_USER_SHAPE_ICON_STYLE_1&quot;}">
              <a:extLst>
                <a:ext uri="{FF2B5EF4-FFF2-40B4-BE49-F238E27FC236}">
                  <a16:creationId xmlns:a16="http://schemas.microsoft.com/office/drawing/2014/main" id="{2DD0688A-9BD8-A50C-A579-66BE24ED2882}"/>
                </a:ext>
              </a:extLst>
            </p:cNvPr>
            <p:cNvGrpSpPr>
              <a:grpSpLocks noChangeAspect="1"/>
            </p:cNvGrpSpPr>
            <p:nvPr/>
          </p:nvGrpSpPr>
          <p:grpSpPr>
            <a:xfrm>
              <a:off x="3155825" y="3798331"/>
              <a:ext cx="264993" cy="424592"/>
              <a:chOff x="3805239" y="5622926"/>
              <a:chExt cx="279400" cy="447676"/>
            </a:xfrm>
            <a:solidFill>
              <a:schemeClr val="dk1"/>
            </a:solidFill>
          </p:grpSpPr>
          <p:sp>
            <p:nvSpPr>
              <p:cNvPr id="39" name="Freeform 490">
                <a:extLst>
                  <a:ext uri="{FF2B5EF4-FFF2-40B4-BE49-F238E27FC236}">
                    <a16:creationId xmlns:a16="http://schemas.microsoft.com/office/drawing/2014/main" id="{3C67DF08-3C7C-9563-BF7D-980B708D9E18}"/>
                  </a:ext>
                </a:extLst>
              </p:cNvPr>
              <p:cNvSpPr>
                <a:spLocks/>
              </p:cNvSpPr>
              <p:nvPr/>
            </p:nvSpPr>
            <p:spPr bwMode="auto">
              <a:xfrm>
                <a:off x="3805239" y="5622926"/>
                <a:ext cx="279400" cy="131763"/>
              </a:xfrm>
              <a:custGeom>
                <a:avLst/>
                <a:gdLst>
                  <a:gd name="T0" fmla="*/ 184 w 368"/>
                  <a:gd name="T1" fmla="*/ 17 h 173"/>
                  <a:gd name="T2" fmla="*/ 16 w 368"/>
                  <a:gd name="T3" fmla="*/ 86 h 173"/>
                  <a:gd name="T4" fmla="*/ 184 w 368"/>
                  <a:gd name="T5" fmla="*/ 156 h 173"/>
                  <a:gd name="T6" fmla="*/ 351 w 368"/>
                  <a:gd name="T7" fmla="*/ 86 h 173"/>
                  <a:gd name="T8" fmla="*/ 184 w 368"/>
                  <a:gd name="T9" fmla="*/ 17 h 173"/>
                  <a:gd name="T10" fmla="*/ 184 w 368"/>
                  <a:gd name="T11" fmla="*/ 173 h 173"/>
                  <a:gd name="T12" fmla="*/ 0 w 368"/>
                  <a:gd name="T13" fmla="*/ 86 h 173"/>
                  <a:gd name="T14" fmla="*/ 184 w 368"/>
                  <a:gd name="T15" fmla="*/ 0 h 173"/>
                  <a:gd name="T16" fmla="*/ 368 w 368"/>
                  <a:gd name="T17" fmla="*/ 86 h 173"/>
                  <a:gd name="T18" fmla="*/ 184 w 368"/>
                  <a:gd name="T1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8" h="173">
                    <a:moveTo>
                      <a:pt x="184" y="17"/>
                    </a:moveTo>
                    <a:cubicBezTo>
                      <a:pt x="84" y="17"/>
                      <a:pt x="16" y="53"/>
                      <a:pt x="16" y="86"/>
                    </a:cubicBezTo>
                    <a:cubicBezTo>
                      <a:pt x="16" y="120"/>
                      <a:pt x="84" y="156"/>
                      <a:pt x="184" y="156"/>
                    </a:cubicBezTo>
                    <a:cubicBezTo>
                      <a:pt x="284" y="156"/>
                      <a:pt x="351" y="120"/>
                      <a:pt x="351" y="86"/>
                    </a:cubicBezTo>
                    <a:cubicBezTo>
                      <a:pt x="351" y="53"/>
                      <a:pt x="284" y="17"/>
                      <a:pt x="184" y="17"/>
                    </a:cubicBezTo>
                    <a:close/>
                    <a:moveTo>
                      <a:pt x="184" y="173"/>
                    </a:moveTo>
                    <a:cubicBezTo>
                      <a:pt x="81" y="173"/>
                      <a:pt x="0" y="135"/>
                      <a:pt x="0" y="86"/>
                    </a:cubicBezTo>
                    <a:cubicBezTo>
                      <a:pt x="0" y="38"/>
                      <a:pt x="81" y="0"/>
                      <a:pt x="184" y="0"/>
                    </a:cubicBezTo>
                    <a:cubicBezTo>
                      <a:pt x="287" y="0"/>
                      <a:pt x="368" y="38"/>
                      <a:pt x="368" y="86"/>
                    </a:cubicBezTo>
                    <a:cubicBezTo>
                      <a:pt x="368" y="135"/>
                      <a:pt x="287" y="173"/>
                      <a:pt x="184" y="17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40" name="Freeform 491">
                <a:extLst>
                  <a:ext uri="{FF2B5EF4-FFF2-40B4-BE49-F238E27FC236}">
                    <a16:creationId xmlns:a16="http://schemas.microsoft.com/office/drawing/2014/main" id="{C1BB02F9-1756-6DA2-F90D-AF6D1CABAC48}"/>
                  </a:ext>
                </a:extLst>
              </p:cNvPr>
              <p:cNvSpPr>
                <a:spLocks/>
              </p:cNvSpPr>
              <p:nvPr/>
            </p:nvSpPr>
            <p:spPr bwMode="auto">
              <a:xfrm>
                <a:off x="3805239" y="5768976"/>
                <a:ext cx="279400" cy="65088"/>
              </a:xfrm>
              <a:custGeom>
                <a:avLst/>
                <a:gdLst>
                  <a:gd name="T0" fmla="*/ 184 w 368"/>
                  <a:gd name="T1" fmla="*/ 86 h 86"/>
                  <a:gd name="T2" fmla="*/ 0 w 368"/>
                  <a:gd name="T3" fmla="*/ 0 h 86"/>
                  <a:gd name="T4" fmla="*/ 16 w 368"/>
                  <a:gd name="T5" fmla="*/ 0 h 86"/>
                  <a:gd name="T6" fmla="*/ 184 w 368"/>
                  <a:gd name="T7" fmla="*/ 69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3"/>
                      <a:pt x="84" y="69"/>
                      <a:pt x="184" y="69"/>
                    </a:cubicBezTo>
                    <a:cubicBezTo>
                      <a:pt x="284" y="69"/>
                      <a:pt x="351" y="33"/>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41" name="Freeform 492">
                <a:extLst>
                  <a:ext uri="{FF2B5EF4-FFF2-40B4-BE49-F238E27FC236}">
                    <a16:creationId xmlns:a16="http://schemas.microsoft.com/office/drawing/2014/main" id="{B8829A7F-8209-0C0D-CE1C-707D0716D018}"/>
                  </a:ext>
                </a:extLst>
              </p:cNvPr>
              <p:cNvSpPr>
                <a:spLocks/>
              </p:cNvSpPr>
              <p:nvPr/>
            </p:nvSpPr>
            <p:spPr bwMode="auto">
              <a:xfrm>
                <a:off x="3805239" y="5848351"/>
                <a:ext cx="279400" cy="65088"/>
              </a:xfrm>
              <a:custGeom>
                <a:avLst/>
                <a:gdLst>
                  <a:gd name="T0" fmla="*/ 184 w 368"/>
                  <a:gd name="T1" fmla="*/ 86 h 86"/>
                  <a:gd name="T2" fmla="*/ 0 w 368"/>
                  <a:gd name="T3" fmla="*/ 0 h 86"/>
                  <a:gd name="T4" fmla="*/ 16 w 368"/>
                  <a:gd name="T5" fmla="*/ 0 h 86"/>
                  <a:gd name="T6" fmla="*/ 184 w 368"/>
                  <a:gd name="T7" fmla="*/ 70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4"/>
                      <a:pt x="84" y="70"/>
                      <a:pt x="184" y="70"/>
                    </a:cubicBezTo>
                    <a:cubicBezTo>
                      <a:pt x="284" y="70"/>
                      <a:pt x="351" y="34"/>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48" name="Freeform 493">
                <a:extLst>
                  <a:ext uri="{FF2B5EF4-FFF2-40B4-BE49-F238E27FC236}">
                    <a16:creationId xmlns:a16="http://schemas.microsoft.com/office/drawing/2014/main" id="{E8313E70-9062-2B35-5A08-EEB6F3030729}"/>
                  </a:ext>
                </a:extLst>
              </p:cNvPr>
              <p:cNvSpPr>
                <a:spLocks/>
              </p:cNvSpPr>
              <p:nvPr/>
            </p:nvSpPr>
            <p:spPr bwMode="auto">
              <a:xfrm>
                <a:off x="3805239" y="5689601"/>
                <a:ext cx="279400" cy="304800"/>
              </a:xfrm>
              <a:custGeom>
                <a:avLst/>
                <a:gdLst>
                  <a:gd name="T0" fmla="*/ 184 w 368"/>
                  <a:gd name="T1" fmla="*/ 400 h 400"/>
                  <a:gd name="T2" fmla="*/ 0 w 368"/>
                  <a:gd name="T3" fmla="*/ 314 h 400"/>
                  <a:gd name="T4" fmla="*/ 0 w 368"/>
                  <a:gd name="T5" fmla="*/ 0 h 400"/>
                  <a:gd name="T6" fmla="*/ 16 w 368"/>
                  <a:gd name="T7" fmla="*/ 0 h 400"/>
                  <a:gd name="T8" fmla="*/ 16 w 368"/>
                  <a:gd name="T9" fmla="*/ 314 h 400"/>
                  <a:gd name="T10" fmla="*/ 184 w 368"/>
                  <a:gd name="T11" fmla="*/ 383 h 400"/>
                  <a:gd name="T12" fmla="*/ 351 w 368"/>
                  <a:gd name="T13" fmla="*/ 314 h 400"/>
                  <a:gd name="T14" fmla="*/ 351 w 368"/>
                  <a:gd name="T15" fmla="*/ 0 h 400"/>
                  <a:gd name="T16" fmla="*/ 368 w 368"/>
                  <a:gd name="T17" fmla="*/ 0 h 400"/>
                  <a:gd name="T18" fmla="*/ 368 w 368"/>
                  <a:gd name="T19" fmla="*/ 314 h 400"/>
                  <a:gd name="T20" fmla="*/ 184 w 368"/>
                  <a:gd name="T21" fmla="*/ 4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400">
                    <a:moveTo>
                      <a:pt x="184" y="400"/>
                    </a:moveTo>
                    <a:cubicBezTo>
                      <a:pt x="81" y="400"/>
                      <a:pt x="0" y="362"/>
                      <a:pt x="0" y="314"/>
                    </a:cubicBezTo>
                    <a:lnTo>
                      <a:pt x="0" y="0"/>
                    </a:lnTo>
                    <a:lnTo>
                      <a:pt x="16" y="0"/>
                    </a:lnTo>
                    <a:lnTo>
                      <a:pt x="16" y="314"/>
                    </a:lnTo>
                    <a:cubicBezTo>
                      <a:pt x="16" y="347"/>
                      <a:pt x="84" y="383"/>
                      <a:pt x="184" y="383"/>
                    </a:cubicBezTo>
                    <a:cubicBezTo>
                      <a:pt x="284" y="383"/>
                      <a:pt x="351" y="347"/>
                      <a:pt x="351" y="314"/>
                    </a:cubicBezTo>
                    <a:lnTo>
                      <a:pt x="351" y="0"/>
                    </a:lnTo>
                    <a:lnTo>
                      <a:pt x="368" y="0"/>
                    </a:lnTo>
                    <a:lnTo>
                      <a:pt x="368" y="314"/>
                    </a:lnTo>
                    <a:cubicBezTo>
                      <a:pt x="368" y="362"/>
                      <a:pt x="287" y="400"/>
                      <a:pt x="184"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51" name="Freeform 494">
                <a:extLst>
                  <a:ext uri="{FF2B5EF4-FFF2-40B4-BE49-F238E27FC236}">
                    <a16:creationId xmlns:a16="http://schemas.microsoft.com/office/drawing/2014/main" id="{C6C76F5A-D3FB-0024-428F-F9BBE2EE9764}"/>
                  </a:ext>
                </a:extLst>
              </p:cNvPr>
              <p:cNvSpPr>
                <a:spLocks/>
              </p:cNvSpPr>
              <p:nvPr/>
            </p:nvSpPr>
            <p:spPr bwMode="auto">
              <a:xfrm>
                <a:off x="3905251" y="5778501"/>
                <a:ext cx="80963" cy="15875"/>
              </a:xfrm>
              <a:custGeom>
                <a:avLst/>
                <a:gdLst>
                  <a:gd name="T0" fmla="*/ 87 w 106"/>
                  <a:gd name="T1" fmla="*/ 3 h 22"/>
                  <a:gd name="T2" fmla="*/ 103 w 106"/>
                  <a:gd name="T3" fmla="*/ 0 h 22"/>
                  <a:gd name="T4" fmla="*/ 106 w 106"/>
                  <a:gd name="T5" fmla="*/ 17 h 22"/>
                  <a:gd name="T6" fmla="*/ 89 w 106"/>
                  <a:gd name="T7" fmla="*/ 20 h 22"/>
                  <a:gd name="T8" fmla="*/ 87 w 106"/>
                  <a:gd name="T9" fmla="*/ 3 h 22"/>
                  <a:gd name="T10" fmla="*/ 8 w 106"/>
                  <a:gd name="T11" fmla="*/ 18 h 22"/>
                  <a:gd name="T12" fmla="*/ 0 w 106"/>
                  <a:gd name="T13" fmla="*/ 17 h 22"/>
                  <a:gd name="T14" fmla="*/ 3 w 106"/>
                  <a:gd name="T15" fmla="*/ 0 h 22"/>
                  <a:gd name="T16" fmla="*/ 19 w 106"/>
                  <a:gd name="T17" fmla="*/ 3 h 22"/>
                  <a:gd name="T18" fmla="*/ 17 w 106"/>
                  <a:gd name="T19" fmla="*/ 20 h 22"/>
                  <a:gd name="T20" fmla="*/ 8 w 106"/>
                  <a:gd name="T21" fmla="*/ 18 h 22"/>
                  <a:gd name="T22" fmla="*/ 45 w 106"/>
                  <a:gd name="T23" fmla="*/ 22 h 22"/>
                  <a:gd name="T24" fmla="*/ 45 w 106"/>
                  <a:gd name="T25" fmla="*/ 5 h 22"/>
                  <a:gd name="T26" fmla="*/ 61 w 106"/>
                  <a:gd name="T27" fmla="*/ 5 h 22"/>
                  <a:gd name="T28" fmla="*/ 61 w 106"/>
                  <a:gd name="T29" fmla="*/ 22 h 22"/>
                  <a:gd name="T30" fmla="*/ 53 w 106"/>
                  <a:gd name="T31" fmla="*/ 22 h 22"/>
                  <a:gd name="T32" fmla="*/ 45 w 106"/>
                  <a:gd name="T3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2">
                    <a:moveTo>
                      <a:pt x="87" y="3"/>
                    </a:moveTo>
                    <a:lnTo>
                      <a:pt x="103" y="0"/>
                    </a:lnTo>
                    <a:lnTo>
                      <a:pt x="106" y="17"/>
                    </a:lnTo>
                    <a:lnTo>
                      <a:pt x="89" y="20"/>
                    </a:lnTo>
                    <a:lnTo>
                      <a:pt x="87" y="3"/>
                    </a:lnTo>
                    <a:close/>
                    <a:moveTo>
                      <a:pt x="8" y="18"/>
                    </a:moveTo>
                    <a:lnTo>
                      <a:pt x="0" y="17"/>
                    </a:lnTo>
                    <a:lnTo>
                      <a:pt x="3" y="0"/>
                    </a:lnTo>
                    <a:lnTo>
                      <a:pt x="19" y="3"/>
                    </a:lnTo>
                    <a:lnTo>
                      <a:pt x="17" y="20"/>
                    </a:lnTo>
                    <a:lnTo>
                      <a:pt x="8" y="18"/>
                    </a:lnTo>
                    <a:close/>
                    <a:moveTo>
                      <a:pt x="45" y="22"/>
                    </a:moveTo>
                    <a:lnTo>
                      <a:pt x="45" y="5"/>
                    </a:lnTo>
                    <a:lnTo>
                      <a:pt x="61" y="5"/>
                    </a:lnTo>
                    <a:lnTo>
                      <a:pt x="61" y="22"/>
                    </a:lnTo>
                    <a:lnTo>
                      <a:pt x="53" y="22"/>
                    </a:lnTo>
                    <a:lnTo>
                      <a:pt x="45"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52" name="Freeform 495">
                <a:extLst>
                  <a:ext uri="{FF2B5EF4-FFF2-40B4-BE49-F238E27FC236}">
                    <a16:creationId xmlns:a16="http://schemas.microsoft.com/office/drawing/2014/main" id="{2F53B99D-4C44-51EE-2D09-35D0F0AF1558}"/>
                  </a:ext>
                </a:extLst>
              </p:cNvPr>
              <p:cNvSpPr>
                <a:spLocks/>
              </p:cNvSpPr>
              <p:nvPr/>
            </p:nvSpPr>
            <p:spPr bwMode="auto">
              <a:xfrm>
                <a:off x="3805239" y="5762626"/>
                <a:ext cx="279400" cy="71438"/>
              </a:xfrm>
              <a:custGeom>
                <a:avLst/>
                <a:gdLst>
                  <a:gd name="T0" fmla="*/ 184 w 368"/>
                  <a:gd name="T1" fmla="*/ 95 h 95"/>
                  <a:gd name="T2" fmla="*/ 0 w 368"/>
                  <a:gd name="T3" fmla="*/ 9 h 95"/>
                  <a:gd name="T4" fmla="*/ 0 w 368"/>
                  <a:gd name="T5" fmla="*/ 0 h 95"/>
                  <a:gd name="T6" fmla="*/ 16 w 368"/>
                  <a:gd name="T7" fmla="*/ 0 h 95"/>
                  <a:gd name="T8" fmla="*/ 16 w 368"/>
                  <a:gd name="T9" fmla="*/ 9 h 95"/>
                  <a:gd name="T10" fmla="*/ 184 w 368"/>
                  <a:gd name="T11" fmla="*/ 78 h 95"/>
                  <a:gd name="T12" fmla="*/ 351 w 368"/>
                  <a:gd name="T13" fmla="*/ 9 h 95"/>
                  <a:gd name="T14" fmla="*/ 351 w 368"/>
                  <a:gd name="T15" fmla="*/ 0 h 95"/>
                  <a:gd name="T16" fmla="*/ 368 w 368"/>
                  <a:gd name="T17" fmla="*/ 0 h 95"/>
                  <a:gd name="T18" fmla="*/ 368 w 368"/>
                  <a:gd name="T19" fmla="*/ 9 h 95"/>
                  <a:gd name="T20" fmla="*/ 184 w 368"/>
                  <a:gd name="T21"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95">
                    <a:moveTo>
                      <a:pt x="184" y="95"/>
                    </a:moveTo>
                    <a:cubicBezTo>
                      <a:pt x="81" y="95"/>
                      <a:pt x="0" y="57"/>
                      <a:pt x="0" y="9"/>
                    </a:cubicBezTo>
                    <a:lnTo>
                      <a:pt x="0" y="0"/>
                    </a:lnTo>
                    <a:lnTo>
                      <a:pt x="16" y="0"/>
                    </a:lnTo>
                    <a:lnTo>
                      <a:pt x="16" y="9"/>
                    </a:lnTo>
                    <a:cubicBezTo>
                      <a:pt x="16" y="42"/>
                      <a:pt x="84" y="78"/>
                      <a:pt x="184" y="78"/>
                    </a:cubicBezTo>
                    <a:cubicBezTo>
                      <a:pt x="284" y="78"/>
                      <a:pt x="351" y="42"/>
                      <a:pt x="351" y="9"/>
                    </a:cubicBezTo>
                    <a:lnTo>
                      <a:pt x="351" y="0"/>
                    </a:lnTo>
                    <a:lnTo>
                      <a:pt x="368" y="0"/>
                    </a:lnTo>
                    <a:lnTo>
                      <a:pt x="368" y="9"/>
                    </a:lnTo>
                    <a:cubicBezTo>
                      <a:pt x="368" y="57"/>
                      <a:pt x="287" y="95"/>
                      <a:pt x="184" y="9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73" name="Freeform 496">
                <a:extLst>
                  <a:ext uri="{FF2B5EF4-FFF2-40B4-BE49-F238E27FC236}">
                    <a16:creationId xmlns:a16="http://schemas.microsoft.com/office/drawing/2014/main" id="{07FA3C7B-0517-7ECC-CF49-A7DEB4A0F03A}"/>
                  </a:ext>
                </a:extLst>
              </p:cNvPr>
              <p:cNvSpPr>
                <a:spLocks/>
              </p:cNvSpPr>
              <p:nvPr/>
            </p:nvSpPr>
            <p:spPr bwMode="auto">
              <a:xfrm>
                <a:off x="3905251" y="5857876"/>
                <a:ext cx="80963" cy="15875"/>
              </a:xfrm>
              <a:custGeom>
                <a:avLst/>
                <a:gdLst>
                  <a:gd name="T0" fmla="*/ 87 w 106"/>
                  <a:gd name="T1" fmla="*/ 2 h 21"/>
                  <a:gd name="T2" fmla="*/ 95 w 106"/>
                  <a:gd name="T3" fmla="*/ 1 h 21"/>
                  <a:gd name="T4" fmla="*/ 95 w 106"/>
                  <a:gd name="T5" fmla="*/ 1 h 21"/>
                  <a:gd name="T6" fmla="*/ 103 w 106"/>
                  <a:gd name="T7" fmla="*/ 0 h 21"/>
                  <a:gd name="T8" fmla="*/ 106 w 106"/>
                  <a:gd name="T9" fmla="*/ 16 h 21"/>
                  <a:gd name="T10" fmla="*/ 89 w 106"/>
                  <a:gd name="T11" fmla="*/ 19 h 21"/>
                  <a:gd name="T12" fmla="*/ 87 w 106"/>
                  <a:gd name="T13" fmla="*/ 2 h 21"/>
                  <a:gd name="T14" fmla="*/ 8 w 106"/>
                  <a:gd name="T15" fmla="*/ 17 h 21"/>
                  <a:gd name="T16" fmla="*/ 0 w 106"/>
                  <a:gd name="T17" fmla="*/ 16 h 21"/>
                  <a:gd name="T18" fmla="*/ 3 w 106"/>
                  <a:gd name="T19" fmla="*/ 0 h 21"/>
                  <a:gd name="T20" fmla="*/ 19 w 106"/>
                  <a:gd name="T21" fmla="*/ 2 h 21"/>
                  <a:gd name="T22" fmla="*/ 17 w 106"/>
                  <a:gd name="T23" fmla="*/ 19 h 21"/>
                  <a:gd name="T24" fmla="*/ 8 w 106"/>
                  <a:gd name="T25" fmla="*/ 17 h 21"/>
                  <a:gd name="T26" fmla="*/ 45 w 106"/>
                  <a:gd name="T27" fmla="*/ 21 h 21"/>
                  <a:gd name="T28" fmla="*/ 45 w 106"/>
                  <a:gd name="T29" fmla="*/ 4 h 21"/>
                  <a:gd name="T30" fmla="*/ 61 w 106"/>
                  <a:gd name="T31" fmla="*/ 4 h 21"/>
                  <a:gd name="T32" fmla="*/ 61 w 106"/>
                  <a:gd name="T33" fmla="*/ 21 h 21"/>
                  <a:gd name="T34" fmla="*/ 53 w 106"/>
                  <a:gd name="T35" fmla="*/ 21 h 21"/>
                  <a:gd name="T36" fmla="*/ 45 w 106"/>
                  <a:gd name="T3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1">
                    <a:moveTo>
                      <a:pt x="87" y="2"/>
                    </a:moveTo>
                    <a:lnTo>
                      <a:pt x="95" y="1"/>
                    </a:lnTo>
                    <a:lnTo>
                      <a:pt x="95" y="1"/>
                    </a:lnTo>
                    <a:lnTo>
                      <a:pt x="103" y="0"/>
                    </a:lnTo>
                    <a:lnTo>
                      <a:pt x="106" y="16"/>
                    </a:lnTo>
                    <a:lnTo>
                      <a:pt x="89" y="19"/>
                    </a:lnTo>
                    <a:lnTo>
                      <a:pt x="87" y="2"/>
                    </a:lnTo>
                    <a:close/>
                    <a:moveTo>
                      <a:pt x="8" y="17"/>
                    </a:moveTo>
                    <a:lnTo>
                      <a:pt x="0" y="16"/>
                    </a:lnTo>
                    <a:lnTo>
                      <a:pt x="3" y="0"/>
                    </a:lnTo>
                    <a:lnTo>
                      <a:pt x="19" y="2"/>
                    </a:lnTo>
                    <a:lnTo>
                      <a:pt x="17" y="19"/>
                    </a:lnTo>
                    <a:lnTo>
                      <a:pt x="8" y="17"/>
                    </a:lnTo>
                    <a:close/>
                    <a:moveTo>
                      <a:pt x="45" y="21"/>
                    </a:moveTo>
                    <a:lnTo>
                      <a:pt x="45" y="4"/>
                    </a:lnTo>
                    <a:lnTo>
                      <a:pt x="61" y="4"/>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74" name="Freeform 497">
                <a:extLst>
                  <a:ext uri="{FF2B5EF4-FFF2-40B4-BE49-F238E27FC236}">
                    <a16:creationId xmlns:a16="http://schemas.microsoft.com/office/drawing/2014/main" id="{B83312AE-0D33-7E75-2F88-4EA4CEBC20CB}"/>
                  </a:ext>
                </a:extLst>
              </p:cNvPr>
              <p:cNvSpPr>
                <a:spLocks/>
              </p:cNvSpPr>
              <p:nvPr/>
            </p:nvSpPr>
            <p:spPr bwMode="auto">
              <a:xfrm>
                <a:off x="3905251" y="5937251"/>
                <a:ext cx="80963" cy="15875"/>
              </a:xfrm>
              <a:custGeom>
                <a:avLst/>
                <a:gdLst>
                  <a:gd name="T0" fmla="*/ 87 w 106"/>
                  <a:gd name="T1" fmla="*/ 3 h 21"/>
                  <a:gd name="T2" fmla="*/ 103 w 106"/>
                  <a:gd name="T3" fmla="*/ 0 h 21"/>
                  <a:gd name="T4" fmla="*/ 106 w 106"/>
                  <a:gd name="T5" fmla="*/ 16 h 21"/>
                  <a:gd name="T6" fmla="*/ 89 w 106"/>
                  <a:gd name="T7" fmla="*/ 19 h 21"/>
                  <a:gd name="T8" fmla="*/ 87 w 106"/>
                  <a:gd name="T9" fmla="*/ 3 h 21"/>
                  <a:gd name="T10" fmla="*/ 8 w 106"/>
                  <a:gd name="T11" fmla="*/ 18 h 21"/>
                  <a:gd name="T12" fmla="*/ 0 w 106"/>
                  <a:gd name="T13" fmla="*/ 16 h 21"/>
                  <a:gd name="T14" fmla="*/ 3 w 106"/>
                  <a:gd name="T15" fmla="*/ 0 h 21"/>
                  <a:gd name="T16" fmla="*/ 19 w 106"/>
                  <a:gd name="T17" fmla="*/ 3 h 21"/>
                  <a:gd name="T18" fmla="*/ 17 w 106"/>
                  <a:gd name="T19" fmla="*/ 19 h 21"/>
                  <a:gd name="T20" fmla="*/ 8 w 106"/>
                  <a:gd name="T21" fmla="*/ 18 h 21"/>
                  <a:gd name="T22" fmla="*/ 45 w 106"/>
                  <a:gd name="T23" fmla="*/ 21 h 21"/>
                  <a:gd name="T24" fmla="*/ 45 w 106"/>
                  <a:gd name="T25" fmla="*/ 5 h 21"/>
                  <a:gd name="T26" fmla="*/ 61 w 106"/>
                  <a:gd name="T27" fmla="*/ 5 h 21"/>
                  <a:gd name="T28" fmla="*/ 61 w 106"/>
                  <a:gd name="T29" fmla="*/ 21 h 21"/>
                  <a:gd name="T30" fmla="*/ 53 w 106"/>
                  <a:gd name="T31" fmla="*/ 21 h 21"/>
                  <a:gd name="T32" fmla="*/ 45 w 106"/>
                  <a:gd name="T3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1">
                    <a:moveTo>
                      <a:pt x="87" y="3"/>
                    </a:moveTo>
                    <a:lnTo>
                      <a:pt x="103" y="0"/>
                    </a:lnTo>
                    <a:lnTo>
                      <a:pt x="106" y="16"/>
                    </a:lnTo>
                    <a:lnTo>
                      <a:pt x="89" y="19"/>
                    </a:lnTo>
                    <a:lnTo>
                      <a:pt x="87" y="3"/>
                    </a:lnTo>
                    <a:close/>
                    <a:moveTo>
                      <a:pt x="8" y="18"/>
                    </a:moveTo>
                    <a:lnTo>
                      <a:pt x="0" y="16"/>
                    </a:lnTo>
                    <a:lnTo>
                      <a:pt x="3" y="0"/>
                    </a:lnTo>
                    <a:lnTo>
                      <a:pt x="19" y="3"/>
                    </a:lnTo>
                    <a:lnTo>
                      <a:pt x="17" y="19"/>
                    </a:lnTo>
                    <a:lnTo>
                      <a:pt x="8" y="18"/>
                    </a:lnTo>
                    <a:close/>
                    <a:moveTo>
                      <a:pt x="45" y="21"/>
                    </a:moveTo>
                    <a:lnTo>
                      <a:pt x="45" y="5"/>
                    </a:lnTo>
                    <a:lnTo>
                      <a:pt x="61" y="5"/>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86" name="Rectangle 498">
                <a:extLst>
                  <a:ext uri="{FF2B5EF4-FFF2-40B4-BE49-F238E27FC236}">
                    <a16:creationId xmlns:a16="http://schemas.microsoft.com/office/drawing/2014/main" id="{4BF20A2A-C904-DD69-A76F-DD6166EEED4B}"/>
                  </a:ext>
                </a:extLst>
              </p:cNvPr>
              <p:cNvSpPr>
                <a:spLocks/>
              </p:cNvSpPr>
              <p:nvPr/>
            </p:nvSpPr>
            <p:spPr bwMode="auto">
              <a:xfrm>
                <a:off x="3938589" y="5980114"/>
                <a:ext cx="12700"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0" name="Rectangle 499">
                <a:extLst>
                  <a:ext uri="{FF2B5EF4-FFF2-40B4-BE49-F238E27FC236}">
                    <a16:creationId xmlns:a16="http://schemas.microsoft.com/office/drawing/2014/main" id="{9E8AD2FF-31B3-0533-6587-95BD6B47ACC5}"/>
                  </a:ext>
                </a:extLst>
              </p:cNvPr>
              <p:cNvSpPr>
                <a:spLocks/>
              </p:cNvSpPr>
              <p:nvPr/>
            </p:nvSpPr>
            <p:spPr bwMode="auto">
              <a:xfrm>
                <a:off x="38052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0" name="Freeform 500">
                <a:extLst>
                  <a:ext uri="{FF2B5EF4-FFF2-40B4-BE49-F238E27FC236}">
                    <a16:creationId xmlns:a16="http://schemas.microsoft.com/office/drawing/2014/main" id="{77D0FEE7-A94E-B8B4-C50F-23DBDA154632}"/>
                  </a:ext>
                </a:extLst>
              </p:cNvPr>
              <p:cNvSpPr>
                <a:spLocks/>
              </p:cNvSpPr>
              <p:nvPr/>
            </p:nvSpPr>
            <p:spPr bwMode="auto">
              <a:xfrm>
                <a:off x="3919539" y="6018214"/>
                <a:ext cx="50800" cy="52388"/>
              </a:xfrm>
              <a:custGeom>
                <a:avLst/>
                <a:gdLst>
                  <a:gd name="T0" fmla="*/ 34 w 68"/>
                  <a:gd name="T1" fmla="*/ 16 h 68"/>
                  <a:gd name="T2" fmla="*/ 16 w 68"/>
                  <a:gd name="T3" fmla="*/ 34 h 68"/>
                  <a:gd name="T4" fmla="*/ 34 w 68"/>
                  <a:gd name="T5" fmla="*/ 51 h 68"/>
                  <a:gd name="T6" fmla="*/ 51 w 68"/>
                  <a:gd name="T7" fmla="*/ 34 h 68"/>
                  <a:gd name="T8" fmla="*/ 34 w 68"/>
                  <a:gd name="T9" fmla="*/ 16 h 68"/>
                  <a:gd name="T10" fmla="*/ 34 w 68"/>
                  <a:gd name="T11" fmla="*/ 68 h 68"/>
                  <a:gd name="T12" fmla="*/ 0 w 68"/>
                  <a:gd name="T13" fmla="*/ 34 h 68"/>
                  <a:gd name="T14" fmla="*/ 34 w 68"/>
                  <a:gd name="T15" fmla="*/ 0 h 68"/>
                  <a:gd name="T16" fmla="*/ 68 w 68"/>
                  <a:gd name="T17" fmla="*/ 34 h 68"/>
                  <a:gd name="T18" fmla="*/ 34 w 68"/>
                  <a:gd name="T1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16"/>
                    </a:moveTo>
                    <a:cubicBezTo>
                      <a:pt x="24" y="16"/>
                      <a:pt x="16" y="24"/>
                      <a:pt x="16" y="34"/>
                    </a:cubicBezTo>
                    <a:cubicBezTo>
                      <a:pt x="16" y="43"/>
                      <a:pt x="24" y="51"/>
                      <a:pt x="34" y="51"/>
                    </a:cubicBezTo>
                    <a:cubicBezTo>
                      <a:pt x="43" y="51"/>
                      <a:pt x="51" y="43"/>
                      <a:pt x="51" y="34"/>
                    </a:cubicBezTo>
                    <a:cubicBezTo>
                      <a:pt x="51" y="24"/>
                      <a:pt x="43" y="16"/>
                      <a:pt x="34" y="16"/>
                    </a:cubicBezTo>
                    <a:close/>
                    <a:moveTo>
                      <a:pt x="34" y="68"/>
                    </a:moveTo>
                    <a:cubicBezTo>
                      <a:pt x="15" y="68"/>
                      <a:pt x="0" y="52"/>
                      <a:pt x="0" y="34"/>
                    </a:cubicBezTo>
                    <a:cubicBezTo>
                      <a:pt x="0" y="15"/>
                      <a:pt x="15" y="0"/>
                      <a:pt x="34" y="0"/>
                    </a:cubicBezTo>
                    <a:cubicBezTo>
                      <a:pt x="53" y="0"/>
                      <a:pt x="68" y="15"/>
                      <a:pt x="68" y="34"/>
                    </a:cubicBezTo>
                    <a:cubicBezTo>
                      <a:pt x="68" y="52"/>
                      <a:pt x="53" y="68"/>
                      <a:pt x="34" y="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1" name="Rectangle 501">
                <a:extLst>
                  <a:ext uri="{FF2B5EF4-FFF2-40B4-BE49-F238E27FC236}">
                    <a16:creationId xmlns:a16="http://schemas.microsoft.com/office/drawing/2014/main" id="{93BEB627-582C-9D99-941C-003AF50226C9}"/>
                  </a:ext>
                </a:extLst>
              </p:cNvPr>
              <p:cNvSpPr>
                <a:spLocks/>
              </p:cNvSpPr>
              <p:nvPr/>
            </p:nvSpPr>
            <p:spPr bwMode="auto">
              <a:xfrm>
                <a:off x="39576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noProof="0"/>
              </a:p>
            </p:txBody>
          </p:sp>
        </p:grpSp>
      </p:grpSp>
      <p:sp>
        <p:nvSpPr>
          <p:cNvPr id="122" name="Rectangle: Rounded Corners 193">
            <a:extLst>
              <a:ext uri="{FF2B5EF4-FFF2-40B4-BE49-F238E27FC236}">
                <a16:creationId xmlns:a16="http://schemas.microsoft.com/office/drawing/2014/main" id="{9BBC8D7E-CA3A-4205-4A90-61889466ECFC}"/>
              </a:ext>
            </a:extLst>
          </p:cNvPr>
          <p:cNvSpPr>
            <a:spLocks/>
          </p:cNvSpPr>
          <p:nvPr/>
        </p:nvSpPr>
        <p:spPr>
          <a:xfrm>
            <a:off x="10460802" y="4075279"/>
            <a:ext cx="1037343" cy="1381675"/>
          </a:xfrm>
          <a:prstGeom prst="roundRect">
            <a:avLst>
              <a:gd name="adj" fmla="val 3636"/>
            </a:avLst>
          </a:prstGeom>
          <a:noFill/>
          <a:ln w="9525" cap="flat" cmpd="sng" algn="ctr">
            <a:solidFill>
              <a:schemeClr val="bg1"/>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Calibri" panose="020F0502020204030204"/>
                <a:ea typeface="+mn-ea"/>
                <a:cs typeface="+mn-cs"/>
              </a:rPr>
              <a:t>PARAMS</a:t>
            </a:r>
          </a:p>
        </p:txBody>
      </p:sp>
      <p:cxnSp>
        <p:nvCxnSpPr>
          <p:cNvPr id="3" name="Connector: Elbow 2">
            <a:extLst>
              <a:ext uri="{FF2B5EF4-FFF2-40B4-BE49-F238E27FC236}">
                <a16:creationId xmlns:a16="http://schemas.microsoft.com/office/drawing/2014/main" id="{13ACEE87-93D5-7660-6B43-84F92935525A}"/>
              </a:ext>
            </a:extLst>
          </p:cNvPr>
          <p:cNvCxnSpPr>
            <a:cxnSpLocks/>
            <a:endCxn id="75" idx="2"/>
          </p:cNvCxnSpPr>
          <p:nvPr/>
        </p:nvCxnSpPr>
        <p:spPr>
          <a:xfrm>
            <a:off x="4680206" y="3926730"/>
            <a:ext cx="6301198" cy="1654530"/>
          </a:xfrm>
          <a:prstGeom prst="bentConnector4">
            <a:avLst>
              <a:gd name="adj1" fmla="val -5284"/>
              <a:gd name="adj2" fmla="val 154403"/>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Callout: Line 71">
            <a:extLst>
              <a:ext uri="{FF2B5EF4-FFF2-40B4-BE49-F238E27FC236}">
                <a16:creationId xmlns:a16="http://schemas.microsoft.com/office/drawing/2014/main" id="{83904318-99EF-D920-69DB-26CA610C538E}"/>
              </a:ext>
            </a:extLst>
          </p:cNvPr>
          <p:cNvSpPr/>
          <p:nvPr/>
        </p:nvSpPr>
        <p:spPr>
          <a:xfrm>
            <a:off x="8200146" y="1374666"/>
            <a:ext cx="1370230" cy="731605"/>
          </a:xfrm>
          <a:prstGeom prst="borderCallout1">
            <a:avLst>
              <a:gd name="adj1" fmla="val 48768"/>
              <a:gd name="adj2" fmla="val 98"/>
              <a:gd name="adj3" fmla="val 94900"/>
              <a:gd name="adj4" fmla="val -35838"/>
            </a:avLst>
          </a:prstGeom>
          <a:solidFill>
            <a:schemeClr val="accent2">
              <a:lumMod val="60000"/>
              <a:lumOff val="40000"/>
            </a:schemeClr>
          </a:solidFill>
          <a:ln w="19050" cap="flat" cmpd="sng" algn="ctr">
            <a:solidFill>
              <a:schemeClr val="accent2">
                <a:lumMod val="60000"/>
                <a:lumOff val="40000"/>
              </a:schemeClr>
            </a:solidFill>
            <a:prstDash val="solid"/>
            <a:miter lim="800000"/>
          </a:ln>
          <a:effectLst/>
        </p:spPr>
        <p:txBody>
          <a:bodyPr lIns="36000" tIns="36000" rIns="36000" bIns="36000" rtlCol="0" anchor="ctr"/>
          <a:lstStyle/>
          <a:p>
            <a:pPr algn="just">
              <a:lnSpc>
                <a:spcPct val="110000"/>
              </a:lnSpc>
              <a:spcBef>
                <a:spcPts val="600"/>
              </a:spcBef>
            </a:pPr>
            <a:r>
              <a:rPr lang="en-GB" sz="800" kern="0" noProof="0">
                <a:solidFill>
                  <a:srgbClr val="FFFFFF"/>
                </a:solidFill>
                <a:latin typeface="Santander Text" panose="020B0504020201020104"/>
              </a:rPr>
              <a:t>This agent is responsible for receiving the question and orchestrating the rest of the agents until the desired result is achieved</a:t>
            </a:r>
          </a:p>
        </p:txBody>
      </p:sp>
      <p:sp>
        <p:nvSpPr>
          <p:cNvPr id="4" name="Callout: Line 71">
            <a:extLst>
              <a:ext uri="{FF2B5EF4-FFF2-40B4-BE49-F238E27FC236}">
                <a16:creationId xmlns:a16="http://schemas.microsoft.com/office/drawing/2014/main" id="{A835B00D-8ADB-54D5-B528-95E9F28BE6D9}"/>
              </a:ext>
            </a:extLst>
          </p:cNvPr>
          <p:cNvSpPr/>
          <p:nvPr/>
        </p:nvSpPr>
        <p:spPr>
          <a:xfrm>
            <a:off x="4767679" y="4637259"/>
            <a:ext cx="1097702" cy="1309157"/>
          </a:xfrm>
          <a:prstGeom prst="borderCallout1">
            <a:avLst>
              <a:gd name="adj1" fmla="val -54577"/>
              <a:gd name="adj2" fmla="val 53741"/>
              <a:gd name="adj3" fmla="val -82"/>
              <a:gd name="adj4" fmla="val 53428"/>
            </a:avLst>
          </a:prstGeom>
          <a:noFill/>
          <a:ln w="19050" cap="flat" cmpd="sng" algn="ctr">
            <a:solidFill>
              <a:schemeClr val="tx1">
                <a:lumMod val="50000"/>
                <a:lumOff val="50000"/>
              </a:schemeClr>
            </a:solidFill>
            <a:prstDash val="solid"/>
            <a:miter lim="800000"/>
          </a:ln>
          <a:effectLst/>
        </p:spPr>
        <p:txBody>
          <a:bodyPr lIns="108000" tIns="108000" rIns="108000" bIns="108000" rtlCol="0" anchor="ctr"/>
          <a:lstStyle/>
          <a:p>
            <a:pPr lvl="0" algn="just">
              <a:lnSpc>
                <a:spcPct val="110000"/>
              </a:lnSpc>
              <a:spcBef>
                <a:spcPts val="600"/>
              </a:spcBef>
              <a:defRPr/>
            </a:pPr>
            <a:r>
              <a:rPr lang="en-GB" sz="800" kern="0" noProof="0">
                <a:latin typeface="Santander Text" panose="020B0504020201020104"/>
              </a:rPr>
              <a:t>This agent will have a set of queries that it will use for common questions, or if it doesn't have any preconstructed, it will try to generate one on the fly</a:t>
            </a:r>
            <a:endParaRPr kumimoji="0" lang="en-GB" sz="800" b="0" i="0" u="none" strike="noStrike" kern="0" cap="none" spc="0" normalizeH="0" baseline="0" noProof="0">
              <a:ln>
                <a:noFill/>
              </a:ln>
              <a:effectLst/>
              <a:uLnTx/>
              <a:uFillTx/>
              <a:latin typeface="Santander Text" panose="020B0504020201020104"/>
            </a:endParaRPr>
          </a:p>
        </p:txBody>
      </p:sp>
      <p:sp>
        <p:nvSpPr>
          <p:cNvPr id="5" name="Callout: Line 71">
            <a:extLst>
              <a:ext uri="{FF2B5EF4-FFF2-40B4-BE49-F238E27FC236}">
                <a16:creationId xmlns:a16="http://schemas.microsoft.com/office/drawing/2014/main" id="{F5CD5B2A-9AA0-C550-A8EA-B96ACFD90E96}"/>
              </a:ext>
            </a:extLst>
          </p:cNvPr>
          <p:cNvSpPr/>
          <p:nvPr/>
        </p:nvSpPr>
        <p:spPr>
          <a:xfrm>
            <a:off x="7720547" y="4645605"/>
            <a:ext cx="1370230" cy="1300811"/>
          </a:xfrm>
          <a:prstGeom prst="borderCallout1">
            <a:avLst>
              <a:gd name="adj1" fmla="val -13352"/>
              <a:gd name="adj2" fmla="val 47571"/>
              <a:gd name="adj3" fmla="val -2251"/>
              <a:gd name="adj4" fmla="val 46999"/>
            </a:avLst>
          </a:prstGeom>
          <a:noFill/>
          <a:ln w="19050" cap="flat" cmpd="sng" algn="ctr">
            <a:solidFill>
              <a:schemeClr val="tx1">
                <a:lumMod val="50000"/>
                <a:lumOff val="50000"/>
              </a:schemeClr>
            </a:solidFill>
            <a:prstDash val="solid"/>
            <a:miter lim="800000"/>
          </a:ln>
          <a:effectLst/>
        </p:spPr>
        <p:txBody>
          <a:bodyPr lIns="108000" tIns="108000" rIns="108000" bIns="108000" rtlCol="0" anchor="ctr"/>
          <a:lstStyle/>
          <a:p>
            <a:pPr lvl="0" algn="just">
              <a:lnSpc>
                <a:spcPct val="110000"/>
              </a:lnSpc>
              <a:spcBef>
                <a:spcPts val="600"/>
              </a:spcBef>
              <a:defRPr/>
            </a:pPr>
            <a:r>
              <a:rPr lang="en-GB" sz="800" kern="0" noProof="0">
                <a:latin typeface="Santander Text" panose="020B0504020201020104"/>
              </a:rPr>
              <a:t>This agent validates from the information retrieved, the initial premises, and the analysis carried out, if everything is correct, or if there is any element or analysis that must be repeated and is returned to a previous phase</a:t>
            </a:r>
            <a:endParaRPr kumimoji="0" lang="en-GB" sz="800" b="0" i="0" u="none" strike="noStrike" kern="0" cap="none" spc="0" normalizeH="0" baseline="0" noProof="0">
              <a:ln>
                <a:noFill/>
              </a:ln>
              <a:effectLst/>
              <a:uLnTx/>
              <a:uFillTx/>
              <a:latin typeface="Santander Text" panose="020B0504020201020104"/>
            </a:endParaRPr>
          </a:p>
        </p:txBody>
      </p:sp>
      <p:sp>
        <p:nvSpPr>
          <p:cNvPr id="10" name="Callout: Line 71">
            <a:extLst>
              <a:ext uri="{FF2B5EF4-FFF2-40B4-BE49-F238E27FC236}">
                <a16:creationId xmlns:a16="http://schemas.microsoft.com/office/drawing/2014/main" id="{04E1CB44-646F-6222-EF5D-CC2B0F9C3086}"/>
              </a:ext>
            </a:extLst>
          </p:cNvPr>
          <p:cNvSpPr/>
          <p:nvPr/>
        </p:nvSpPr>
        <p:spPr>
          <a:xfrm>
            <a:off x="6140934" y="4666656"/>
            <a:ext cx="1376792" cy="1279760"/>
          </a:xfrm>
          <a:prstGeom prst="borderCallout1">
            <a:avLst>
              <a:gd name="adj1" fmla="val -25414"/>
              <a:gd name="adj2" fmla="val 52810"/>
              <a:gd name="adj3" fmla="val -225"/>
              <a:gd name="adj4" fmla="val 52110"/>
            </a:avLst>
          </a:prstGeom>
          <a:noFill/>
          <a:ln w="19050" cap="flat" cmpd="sng" algn="ctr">
            <a:solidFill>
              <a:schemeClr val="tx1">
                <a:lumMod val="50000"/>
                <a:lumOff val="50000"/>
              </a:schemeClr>
            </a:solidFill>
            <a:prstDash val="solid"/>
            <a:miter lim="800000"/>
          </a:ln>
          <a:effectLst/>
        </p:spPr>
        <p:txBody>
          <a:bodyPr lIns="108000" tIns="108000" rIns="108000" bIns="108000" rtlCol="0" anchor="ctr"/>
          <a:lstStyle/>
          <a:p>
            <a:pPr lvl="0" algn="just">
              <a:lnSpc>
                <a:spcPct val="110000"/>
              </a:lnSpc>
              <a:spcBef>
                <a:spcPts val="600"/>
              </a:spcBef>
              <a:defRPr/>
            </a:pPr>
            <a:r>
              <a:rPr lang="en-GB" sz="800" kern="0" noProof="0">
                <a:latin typeface="Santander Text" panose="020B0504020201020104"/>
              </a:rPr>
              <a:t>It is responsible for consolidating all the information received to analyse it and try to locate a reason for the change in the TTI</a:t>
            </a:r>
            <a:endParaRPr kumimoji="0" lang="en-GB" sz="800" b="0" i="0" u="none" strike="noStrike" kern="0" cap="none" spc="0" normalizeH="0" baseline="0" noProof="0">
              <a:ln>
                <a:noFill/>
              </a:ln>
              <a:effectLst/>
              <a:uLnTx/>
              <a:uFillTx/>
              <a:latin typeface="Santander Text" panose="020B0504020201020104"/>
            </a:endParaRPr>
          </a:p>
        </p:txBody>
      </p:sp>
      <p:sp>
        <p:nvSpPr>
          <p:cNvPr id="11" name="Freeform: Shape 49">
            <a:extLst>
              <a:ext uri="{FF2B5EF4-FFF2-40B4-BE49-F238E27FC236}">
                <a16:creationId xmlns:a16="http://schemas.microsoft.com/office/drawing/2014/main" id="{638A4DFF-BF79-7ACA-CB65-761B3CED3EAA}"/>
              </a:ext>
            </a:extLst>
          </p:cNvPr>
          <p:cNvSpPr>
            <a:spLocks/>
          </p:cNvSpPr>
          <p:nvPr/>
        </p:nvSpPr>
        <p:spPr>
          <a:xfrm>
            <a:off x="6047509" y="1276274"/>
            <a:ext cx="1650602" cy="1440931"/>
          </a:xfrm>
          <a:custGeom>
            <a:avLst/>
            <a:gdLst>
              <a:gd name="connsiteX0" fmla="*/ 0 w 1927423"/>
              <a:gd name="connsiteY0" fmla="*/ 0 h 1581120"/>
              <a:gd name="connsiteX1" fmla="*/ 1927423 w 1927423"/>
              <a:gd name="connsiteY1" fmla="*/ 0 h 1581120"/>
              <a:gd name="connsiteX2" fmla="*/ 1927423 w 1927423"/>
              <a:gd name="connsiteY2" fmla="*/ 1581120 h 1581120"/>
              <a:gd name="connsiteX3" fmla="*/ 0 w 1927423"/>
              <a:gd name="connsiteY3" fmla="*/ 1581120 h 1581120"/>
              <a:gd name="connsiteX4" fmla="*/ 0 w 1927423"/>
              <a:gd name="connsiteY4" fmla="*/ 0 h 158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423" h="1581120">
                <a:moveTo>
                  <a:pt x="0" y="0"/>
                </a:moveTo>
                <a:lnTo>
                  <a:pt x="1927423" y="0"/>
                </a:lnTo>
                <a:lnTo>
                  <a:pt x="1927423" y="1581120"/>
                </a:lnTo>
                <a:lnTo>
                  <a:pt x="0" y="1581120"/>
                </a:lnTo>
                <a:lnTo>
                  <a:pt x="0" y="0"/>
                </a:lnTo>
                <a:close/>
              </a:path>
            </a:pathLst>
          </a:custGeom>
          <a:solidFill>
            <a:schemeClr val="bg1">
              <a:lumMod val="95000"/>
            </a:schemeClr>
          </a:solidFill>
          <a:ln w="12700" cap="flat" cmpd="sng" algn="ctr">
            <a:solidFill>
              <a:srgbClr val="070F26">
                <a:alpha val="90000"/>
                <a:tint val="40000"/>
                <a:hueOff val="0"/>
                <a:satOff val="0"/>
                <a:lumOff val="0"/>
                <a:alphaOff val="0"/>
              </a:srgbClr>
            </a:solidFill>
            <a:prstDash val="solid"/>
            <a:miter lim="800000"/>
          </a:ln>
          <a:effectLst/>
        </p:spPr>
        <p:txBody>
          <a:bodyPr spcFirstLastPara="0" vert="horz" wrap="square" lIns="192024" tIns="192024" rIns="256032" bIns="288036" numCol="1" spcCol="1270" anchor="t" anchorCtr="0">
            <a:noAutofit/>
          </a:bodyPr>
          <a:lstStyle/>
          <a:p>
            <a:pPr marL="0" marR="0" lvl="1" indent="0" defTabSz="1600200" eaLnBrk="1" fontAlgn="auto" latinLnBrk="0" hangingPunct="1">
              <a:lnSpc>
                <a:spcPct val="90000"/>
              </a:lnSpc>
              <a:spcBef>
                <a:spcPct val="0"/>
              </a:spcBef>
              <a:spcAft>
                <a:spcPct val="15000"/>
              </a:spcAft>
              <a:buClrTx/>
              <a:buSzTx/>
              <a:buFontTx/>
              <a:buNone/>
              <a:tabLst/>
              <a:defRPr/>
            </a:pPr>
            <a:endParaRPr kumimoji="0" lang="en-GB" sz="800" b="0" i="0" u="none" strike="noStrike" kern="0" cap="none" spc="0" normalizeH="0" baseline="0" noProof="0">
              <a:ln>
                <a:noFill/>
              </a:ln>
              <a:solidFill>
                <a:srgbClr val="000000"/>
              </a:solidFill>
              <a:effectLst/>
              <a:uLnTx/>
              <a:uFillTx/>
              <a:latin typeface="Santander Text" panose="020B0504020201020104"/>
            </a:endParaRPr>
          </a:p>
        </p:txBody>
      </p:sp>
      <p:sp>
        <p:nvSpPr>
          <p:cNvPr id="13" name="TextBox 30">
            <a:extLst>
              <a:ext uri="{FF2B5EF4-FFF2-40B4-BE49-F238E27FC236}">
                <a16:creationId xmlns:a16="http://schemas.microsoft.com/office/drawing/2014/main" id="{9D941678-9F02-1AB3-B89A-7E4280AC0067}"/>
              </a:ext>
            </a:extLst>
          </p:cNvPr>
          <p:cNvSpPr txBox="1"/>
          <p:nvPr/>
        </p:nvSpPr>
        <p:spPr>
          <a:xfrm>
            <a:off x="6230649" y="1349219"/>
            <a:ext cx="1275682" cy="221853"/>
          </a:xfrm>
          <a:prstGeom prst="rect">
            <a:avLst/>
          </a:prstGeom>
        </p:spPr>
        <p:txBody>
          <a:bodyPr vert="horz" wrap="square" lIns="0" tIns="0" rIns="0" bIns="0" rtlCol="0">
            <a:noAutofit/>
          </a:bodyPr>
          <a:lstStyle/>
          <a:p>
            <a:pPr lvl="0" algn="ctr">
              <a:defRPr/>
            </a:pPr>
            <a:r>
              <a:rPr lang="en-GB" sz="1400" b="1" i="1" kern="0" noProof="0">
                <a:solidFill>
                  <a:srgbClr val="070F26"/>
                </a:solidFill>
                <a:latin typeface="Santander Text" panose="020B0504020201020104"/>
              </a:rPr>
              <a:t>Orchestration</a:t>
            </a:r>
            <a:endParaRPr kumimoji="0" lang="en-GB" sz="1400" b="1" i="1" u="none" strike="noStrike" kern="0" cap="none" spc="0" normalizeH="0" baseline="0" noProof="0">
              <a:ln>
                <a:noFill/>
              </a:ln>
              <a:solidFill>
                <a:srgbClr val="070F26"/>
              </a:solidFill>
              <a:effectLst/>
              <a:uLnTx/>
              <a:uFillTx/>
              <a:latin typeface="Santander Text" panose="020B0504020201020104"/>
            </a:endParaRPr>
          </a:p>
        </p:txBody>
      </p:sp>
      <p:sp>
        <p:nvSpPr>
          <p:cNvPr id="14" name="Freeform: Shape 49">
            <a:extLst>
              <a:ext uri="{FF2B5EF4-FFF2-40B4-BE49-F238E27FC236}">
                <a16:creationId xmlns:a16="http://schemas.microsoft.com/office/drawing/2014/main" id="{3968306F-B076-2680-1D0C-A641D5AF5433}"/>
              </a:ext>
            </a:extLst>
          </p:cNvPr>
          <p:cNvSpPr>
            <a:spLocks/>
          </p:cNvSpPr>
          <p:nvPr/>
        </p:nvSpPr>
        <p:spPr>
          <a:xfrm>
            <a:off x="4680206" y="3404054"/>
            <a:ext cx="1185175" cy="1058528"/>
          </a:xfrm>
          <a:custGeom>
            <a:avLst/>
            <a:gdLst>
              <a:gd name="connsiteX0" fmla="*/ 0 w 1927423"/>
              <a:gd name="connsiteY0" fmla="*/ 0 h 1581120"/>
              <a:gd name="connsiteX1" fmla="*/ 1927423 w 1927423"/>
              <a:gd name="connsiteY1" fmla="*/ 0 h 1581120"/>
              <a:gd name="connsiteX2" fmla="*/ 1927423 w 1927423"/>
              <a:gd name="connsiteY2" fmla="*/ 1581120 h 1581120"/>
              <a:gd name="connsiteX3" fmla="*/ 0 w 1927423"/>
              <a:gd name="connsiteY3" fmla="*/ 1581120 h 1581120"/>
              <a:gd name="connsiteX4" fmla="*/ 0 w 1927423"/>
              <a:gd name="connsiteY4" fmla="*/ 0 h 158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423" h="1581120">
                <a:moveTo>
                  <a:pt x="0" y="0"/>
                </a:moveTo>
                <a:lnTo>
                  <a:pt x="1927423" y="0"/>
                </a:lnTo>
                <a:lnTo>
                  <a:pt x="1927423" y="1581120"/>
                </a:lnTo>
                <a:lnTo>
                  <a:pt x="0" y="1581120"/>
                </a:lnTo>
                <a:lnTo>
                  <a:pt x="0" y="0"/>
                </a:lnTo>
                <a:close/>
              </a:path>
            </a:pathLst>
          </a:custGeom>
          <a:solidFill>
            <a:schemeClr val="accent2">
              <a:lumMod val="60000"/>
              <a:lumOff val="40000"/>
            </a:schemeClr>
          </a:solidFill>
          <a:ln w="12700" cap="flat" cmpd="sng" algn="ctr">
            <a:solidFill>
              <a:srgbClr val="070F26">
                <a:alpha val="90000"/>
                <a:tint val="40000"/>
                <a:hueOff val="0"/>
                <a:satOff val="0"/>
                <a:lumOff val="0"/>
                <a:alphaOff val="0"/>
              </a:srgbClr>
            </a:solidFill>
            <a:prstDash val="solid"/>
            <a:miter lim="800000"/>
          </a:ln>
          <a:effectLst/>
        </p:spPr>
        <p:txBody>
          <a:bodyPr spcFirstLastPara="0" vert="horz" wrap="square" lIns="192024" tIns="192024" rIns="256032" bIns="288036" numCol="1" spcCol="1270" anchor="t" anchorCtr="0">
            <a:noAutofit/>
          </a:bodyPr>
          <a:lstStyle/>
          <a:p>
            <a:pPr marL="0" lvl="1" defTabSz="1600200">
              <a:lnSpc>
                <a:spcPct val="90000"/>
              </a:lnSpc>
              <a:spcBef>
                <a:spcPct val="0"/>
              </a:spcBef>
              <a:spcAft>
                <a:spcPct val="15000"/>
              </a:spcAft>
            </a:pPr>
            <a:endParaRPr lang="en-GB" sz="800" kern="0" noProof="0">
              <a:solidFill>
                <a:srgbClr val="000000"/>
              </a:solidFill>
              <a:latin typeface="Santander Text" panose="020B0504020201020104"/>
            </a:endParaRPr>
          </a:p>
        </p:txBody>
      </p:sp>
      <p:sp>
        <p:nvSpPr>
          <p:cNvPr id="15" name="TextBox 30">
            <a:extLst>
              <a:ext uri="{FF2B5EF4-FFF2-40B4-BE49-F238E27FC236}">
                <a16:creationId xmlns:a16="http://schemas.microsoft.com/office/drawing/2014/main" id="{A7834CCB-608B-D458-DA11-CE1EBEF3BAC1}"/>
              </a:ext>
            </a:extLst>
          </p:cNvPr>
          <p:cNvSpPr txBox="1"/>
          <p:nvPr/>
        </p:nvSpPr>
        <p:spPr>
          <a:xfrm>
            <a:off x="4746101" y="3485669"/>
            <a:ext cx="1066013" cy="221853"/>
          </a:xfrm>
          <a:prstGeom prst="rect">
            <a:avLst/>
          </a:prstGeom>
        </p:spPr>
        <p:txBody>
          <a:bodyPr vert="horz" wrap="square" lIns="0" tIns="0" rIns="0" bIns="0" rtlCol="0">
            <a:noAutofit/>
          </a:bodyPr>
          <a:lstStyle/>
          <a:p>
            <a:pPr lvl="0" algn="ctr">
              <a:defRPr/>
            </a:pPr>
            <a:r>
              <a:rPr lang="en-GB" sz="1000" b="1" i="1" kern="0" noProof="0">
                <a:solidFill>
                  <a:srgbClr val="070F26"/>
                </a:solidFill>
                <a:latin typeface="Santander Text" panose="020B0504020201020104"/>
              </a:rPr>
              <a:t>Information retrieval</a:t>
            </a:r>
            <a:endParaRPr kumimoji="0" lang="en-GB" sz="1000" b="1" i="1" u="none" strike="noStrike" kern="0" cap="none" spc="0" normalizeH="0" baseline="0" noProof="0">
              <a:ln>
                <a:noFill/>
              </a:ln>
              <a:solidFill>
                <a:srgbClr val="070F26"/>
              </a:solidFill>
              <a:effectLst/>
              <a:uLnTx/>
              <a:uFillTx/>
              <a:latin typeface="Santander Text" panose="020B0504020201020104"/>
            </a:endParaRPr>
          </a:p>
        </p:txBody>
      </p:sp>
      <p:sp>
        <p:nvSpPr>
          <p:cNvPr id="16" name="Rectangle 53">
            <a:extLst>
              <a:ext uri="{FF2B5EF4-FFF2-40B4-BE49-F238E27FC236}">
                <a16:creationId xmlns:a16="http://schemas.microsoft.com/office/drawing/2014/main" id="{357C3067-1E6F-9EBE-F452-1850A73A981A}"/>
              </a:ext>
            </a:extLst>
          </p:cNvPr>
          <p:cNvSpPr>
            <a:spLocks/>
          </p:cNvSpPr>
          <p:nvPr/>
        </p:nvSpPr>
        <p:spPr>
          <a:xfrm>
            <a:off x="7720547" y="3404055"/>
            <a:ext cx="1370230" cy="1058526"/>
          </a:xfrm>
          <a:prstGeom prst="rect">
            <a:avLst/>
          </a:prstGeom>
          <a:solidFill>
            <a:schemeClr val="accent1">
              <a:lumMod val="40000"/>
              <a:lumOff val="60000"/>
            </a:schemeClr>
          </a:solidFill>
          <a:ln w="12700" cap="flat" cmpd="sng" algn="ctr">
            <a:solidFill>
              <a:srgbClr val="070F26">
                <a:alpha val="90000"/>
                <a:tint val="40000"/>
                <a:hueOff val="0"/>
                <a:satOff val="0"/>
                <a:lumOff val="0"/>
                <a:alphaOff val="0"/>
              </a:srgbClr>
            </a:solidFill>
            <a:prstDash val="solid"/>
            <a:miter lim="800000"/>
          </a:ln>
          <a:effectLst/>
        </p:spPr>
        <p:txBody>
          <a:bodyPr/>
          <a:lstStyle/>
          <a:p>
            <a:endParaRPr lang="en-GB" sz="800" kern="0" noProof="0">
              <a:solidFill>
                <a:srgbClr val="000000"/>
              </a:solidFill>
              <a:latin typeface="Santander Text" panose="020B0504020201020104"/>
            </a:endParaRPr>
          </a:p>
        </p:txBody>
      </p:sp>
      <p:sp>
        <p:nvSpPr>
          <p:cNvPr id="22" name="TextBox 30">
            <a:extLst>
              <a:ext uri="{FF2B5EF4-FFF2-40B4-BE49-F238E27FC236}">
                <a16:creationId xmlns:a16="http://schemas.microsoft.com/office/drawing/2014/main" id="{D18491EE-CF01-915F-C57A-4EA0AA01F7D8}"/>
              </a:ext>
            </a:extLst>
          </p:cNvPr>
          <p:cNvSpPr txBox="1"/>
          <p:nvPr/>
        </p:nvSpPr>
        <p:spPr>
          <a:xfrm>
            <a:off x="7874702" y="3434493"/>
            <a:ext cx="1061919" cy="174277"/>
          </a:xfrm>
          <a:prstGeom prst="rect">
            <a:avLst/>
          </a:prstGeom>
        </p:spPr>
        <p:txBody>
          <a:bodyPr vert="horz" wrap="square" lIns="0" tIns="0" rIns="0" bIns="0" rtlCol="0">
            <a:noAutofit/>
          </a:bodyPr>
          <a:lstStyle/>
          <a:p>
            <a:pPr lvl="0" algn="ctr">
              <a:defRPr/>
            </a:pPr>
            <a:r>
              <a:rPr lang="en-GB" sz="1000" b="1" i="1" kern="0" noProof="0">
                <a:solidFill>
                  <a:srgbClr val="070F26"/>
                </a:solidFill>
                <a:latin typeface="Santander Text" panose="020B0504020201020104"/>
              </a:rPr>
              <a:t>Validation</a:t>
            </a:r>
            <a:endParaRPr kumimoji="0" lang="en-GB" sz="1000" b="1" i="1" u="none" strike="noStrike" kern="0" cap="none" spc="0" normalizeH="0" baseline="0" noProof="0">
              <a:ln>
                <a:noFill/>
              </a:ln>
              <a:solidFill>
                <a:srgbClr val="070F26"/>
              </a:solidFill>
              <a:effectLst/>
              <a:uLnTx/>
              <a:uFillTx/>
              <a:latin typeface="Santander Text" panose="020B0504020201020104"/>
            </a:endParaRPr>
          </a:p>
        </p:txBody>
      </p:sp>
      <p:sp>
        <p:nvSpPr>
          <p:cNvPr id="24" name="Freeform: Shape 49">
            <a:extLst>
              <a:ext uri="{FF2B5EF4-FFF2-40B4-BE49-F238E27FC236}">
                <a16:creationId xmlns:a16="http://schemas.microsoft.com/office/drawing/2014/main" id="{714FC7CE-599F-697D-B4D2-92803BE3095D}"/>
              </a:ext>
            </a:extLst>
          </p:cNvPr>
          <p:cNvSpPr>
            <a:spLocks/>
          </p:cNvSpPr>
          <p:nvPr/>
        </p:nvSpPr>
        <p:spPr>
          <a:xfrm>
            <a:off x="6140934" y="3404054"/>
            <a:ext cx="1376792" cy="1058526"/>
          </a:xfrm>
          <a:custGeom>
            <a:avLst/>
            <a:gdLst>
              <a:gd name="connsiteX0" fmla="*/ 0 w 1927423"/>
              <a:gd name="connsiteY0" fmla="*/ 0 h 1581120"/>
              <a:gd name="connsiteX1" fmla="*/ 1927423 w 1927423"/>
              <a:gd name="connsiteY1" fmla="*/ 0 h 1581120"/>
              <a:gd name="connsiteX2" fmla="*/ 1927423 w 1927423"/>
              <a:gd name="connsiteY2" fmla="*/ 1581120 h 1581120"/>
              <a:gd name="connsiteX3" fmla="*/ 0 w 1927423"/>
              <a:gd name="connsiteY3" fmla="*/ 1581120 h 1581120"/>
              <a:gd name="connsiteX4" fmla="*/ 0 w 1927423"/>
              <a:gd name="connsiteY4" fmla="*/ 0 h 158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423" h="1581120">
                <a:moveTo>
                  <a:pt x="0" y="0"/>
                </a:moveTo>
                <a:lnTo>
                  <a:pt x="1927423" y="0"/>
                </a:lnTo>
                <a:lnTo>
                  <a:pt x="1927423" y="1581120"/>
                </a:lnTo>
                <a:lnTo>
                  <a:pt x="0" y="1581120"/>
                </a:lnTo>
                <a:lnTo>
                  <a:pt x="0" y="0"/>
                </a:lnTo>
                <a:close/>
              </a:path>
            </a:pathLst>
          </a:custGeom>
          <a:solidFill>
            <a:schemeClr val="accent2">
              <a:lumMod val="40000"/>
              <a:lumOff val="60000"/>
            </a:schemeClr>
          </a:solidFill>
          <a:ln w="12700" cap="flat" cmpd="sng" algn="ctr">
            <a:solidFill>
              <a:srgbClr val="070F26">
                <a:alpha val="90000"/>
                <a:tint val="40000"/>
                <a:hueOff val="0"/>
                <a:satOff val="0"/>
                <a:lumOff val="0"/>
                <a:alphaOff val="0"/>
              </a:srgbClr>
            </a:solidFill>
            <a:prstDash val="solid"/>
            <a:miter lim="800000"/>
          </a:ln>
          <a:effectLst/>
        </p:spPr>
        <p:txBody>
          <a:bodyPr spcFirstLastPara="0" vert="horz" wrap="square" lIns="192024" tIns="192024" rIns="256032" bIns="288036" numCol="1" spcCol="1270" anchor="t" anchorCtr="0">
            <a:noAutofit/>
          </a:bodyPr>
          <a:lstStyle/>
          <a:p>
            <a:pPr marL="0" lvl="1" defTabSz="1600200">
              <a:lnSpc>
                <a:spcPct val="90000"/>
              </a:lnSpc>
              <a:spcBef>
                <a:spcPct val="0"/>
              </a:spcBef>
              <a:spcAft>
                <a:spcPct val="15000"/>
              </a:spcAft>
            </a:pPr>
            <a:endParaRPr lang="en-GB" sz="800" kern="0" noProof="0">
              <a:solidFill>
                <a:srgbClr val="000000"/>
              </a:solidFill>
              <a:latin typeface="Santander Text" panose="020B0504020201020104"/>
            </a:endParaRPr>
          </a:p>
        </p:txBody>
      </p:sp>
      <p:sp>
        <p:nvSpPr>
          <p:cNvPr id="25" name="TextBox 30">
            <a:extLst>
              <a:ext uri="{FF2B5EF4-FFF2-40B4-BE49-F238E27FC236}">
                <a16:creationId xmlns:a16="http://schemas.microsoft.com/office/drawing/2014/main" id="{D0F99EDA-7ABF-8CEC-D757-7EFC06E3334D}"/>
              </a:ext>
            </a:extLst>
          </p:cNvPr>
          <p:cNvSpPr txBox="1"/>
          <p:nvPr/>
        </p:nvSpPr>
        <p:spPr>
          <a:xfrm>
            <a:off x="6306956" y="3434493"/>
            <a:ext cx="1109503" cy="187131"/>
          </a:xfrm>
          <a:prstGeom prst="rect">
            <a:avLst/>
          </a:prstGeom>
        </p:spPr>
        <p:txBody>
          <a:bodyPr vert="horz" wrap="square" lIns="0" tIns="0" rIns="0" bIns="0" rtlCol="0">
            <a:noAutofit/>
          </a:bodyPr>
          <a:lstStyle/>
          <a:p>
            <a:pPr lvl="0" algn="ctr">
              <a:defRPr/>
            </a:pPr>
            <a:r>
              <a:rPr lang="en-GB" sz="1000" b="1" i="1" kern="0" noProof="0">
                <a:solidFill>
                  <a:srgbClr val="070F26"/>
                </a:solidFill>
                <a:latin typeface="Santander Text" panose="020B0504020201020104"/>
              </a:rPr>
              <a:t>Consolidation and analysis</a:t>
            </a:r>
            <a:endParaRPr kumimoji="0" lang="en-GB" sz="1000" b="1" i="1" u="none" strike="noStrike" kern="0" cap="none" spc="0" normalizeH="0" baseline="0" noProof="0">
              <a:ln>
                <a:noFill/>
              </a:ln>
              <a:solidFill>
                <a:srgbClr val="070F26"/>
              </a:solidFill>
              <a:effectLst/>
              <a:uLnTx/>
              <a:uFillTx/>
              <a:latin typeface="Santander Text" panose="020B0504020201020104"/>
            </a:endParaRPr>
          </a:p>
        </p:txBody>
      </p:sp>
      <p:sp>
        <p:nvSpPr>
          <p:cNvPr id="26" name="Rectangle 205">
            <a:extLst>
              <a:ext uri="{FF2B5EF4-FFF2-40B4-BE49-F238E27FC236}">
                <a16:creationId xmlns:a16="http://schemas.microsoft.com/office/drawing/2014/main" id="{45955808-6FDD-D2CB-EDBB-2EA5189B70C8}"/>
              </a:ext>
            </a:extLst>
          </p:cNvPr>
          <p:cNvSpPr>
            <a:spLocks/>
          </p:cNvSpPr>
          <p:nvPr/>
        </p:nvSpPr>
        <p:spPr>
          <a:xfrm>
            <a:off x="4767679" y="4098941"/>
            <a:ext cx="1044435" cy="321897"/>
          </a:xfrm>
          <a:prstGeom prst="rect">
            <a:avLst/>
          </a:prstGeom>
          <a:solidFill>
            <a:srgbClr val="C00000"/>
          </a:solidFill>
          <a:ln w="12700" cap="flat" cmpd="sng" algn="ctr">
            <a:solidFill>
              <a:srgbClr val="C00000"/>
            </a:solidFill>
            <a:prstDash val="solid"/>
            <a:miter lim="800000"/>
          </a:ln>
          <a:effectLst/>
        </p:spPr>
        <p:txBody>
          <a:bodyPr lIns="36000" tIns="36000" rIns="36000" bIns="36000" rtlCol="0" anchor="ctr"/>
          <a:lstStyle/>
          <a:p>
            <a:pPr algn="just">
              <a:lnSpc>
                <a:spcPct val="110000"/>
              </a:lnSpc>
              <a:spcBef>
                <a:spcPts val="600"/>
              </a:spcBef>
            </a:pPr>
            <a:r>
              <a:rPr lang="en-GB" sz="700" noProof="0">
                <a:solidFill>
                  <a:schemeClr val="bg1"/>
                </a:solidFill>
                <a:latin typeface="Santander Text" panose="020B0504020201020104"/>
              </a:rPr>
              <a:t>Retrieve the query to execute or generate a query</a:t>
            </a:r>
          </a:p>
        </p:txBody>
      </p:sp>
      <p:sp>
        <p:nvSpPr>
          <p:cNvPr id="27" name="Rectangle 205">
            <a:extLst>
              <a:ext uri="{FF2B5EF4-FFF2-40B4-BE49-F238E27FC236}">
                <a16:creationId xmlns:a16="http://schemas.microsoft.com/office/drawing/2014/main" id="{0310B486-B2D3-C998-F33D-BD27B919B206}"/>
              </a:ext>
            </a:extLst>
          </p:cNvPr>
          <p:cNvSpPr>
            <a:spLocks/>
          </p:cNvSpPr>
          <p:nvPr/>
        </p:nvSpPr>
        <p:spPr>
          <a:xfrm>
            <a:off x="6267284" y="4098941"/>
            <a:ext cx="1149175" cy="315311"/>
          </a:xfrm>
          <a:prstGeom prst="rect">
            <a:avLst/>
          </a:prstGeom>
          <a:solidFill>
            <a:srgbClr val="C00000"/>
          </a:solidFill>
          <a:ln w="12700" cap="flat" cmpd="sng" algn="ctr">
            <a:solidFill>
              <a:srgbClr val="C00000"/>
            </a:solidFill>
            <a:prstDash val="solid"/>
            <a:miter lim="800000"/>
          </a:ln>
          <a:effectLst/>
        </p:spPr>
        <p:txBody>
          <a:bodyPr lIns="36000" tIns="36000" rIns="36000" bIns="36000" rtlCol="0" anchor="ctr"/>
          <a:lstStyle/>
          <a:p>
            <a:pPr algn="ctr">
              <a:lnSpc>
                <a:spcPct val="110000"/>
              </a:lnSpc>
              <a:spcBef>
                <a:spcPts val="600"/>
              </a:spcBef>
            </a:pPr>
            <a:r>
              <a:rPr lang="en-GB" sz="700" noProof="0">
                <a:solidFill>
                  <a:schemeClr val="bg1"/>
                </a:solidFill>
                <a:latin typeface="Santander Text" panose="020B0504020201020104"/>
              </a:rPr>
              <a:t>Information consolidation and data analysis</a:t>
            </a:r>
          </a:p>
        </p:txBody>
      </p:sp>
      <p:sp>
        <p:nvSpPr>
          <p:cNvPr id="28" name="Rectangle 205">
            <a:extLst>
              <a:ext uri="{FF2B5EF4-FFF2-40B4-BE49-F238E27FC236}">
                <a16:creationId xmlns:a16="http://schemas.microsoft.com/office/drawing/2014/main" id="{B75D78EE-C611-AB85-67E3-6B69C4BB39BE}"/>
              </a:ext>
            </a:extLst>
          </p:cNvPr>
          <p:cNvSpPr>
            <a:spLocks/>
          </p:cNvSpPr>
          <p:nvPr/>
        </p:nvSpPr>
        <p:spPr>
          <a:xfrm>
            <a:off x="7916064" y="4098941"/>
            <a:ext cx="1020557" cy="320791"/>
          </a:xfrm>
          <a:prstGeom prst="rect">
            <a:avLst/>
          </a:prstGeom>
          <a:solidFill>
            <a:srgbClr val="C00000"/>
          </a:solidFill>
          <a:ln w="12700" cap="flat" cmpd="sng" algn="ctr">
            <a:solidFill>
              <a:srgbClr val="C00000"/>
            </a:solidFill>
            <a:prstDash val="solid"/>
            <a:miter lim="800000"/>
          </a:ln>
          <a:effectLst/>
        </p:spPr>
        <p:txBody>
          <a:bodyPr lIns="36000" tIns="36000" rIns="36000" bIns="36000" rtlCol="0" anchor="ctr"/>
          <a:lstStyle/>
          <a:p>
            <a:pPr algn="ctr">
              <a:lnSpc>
                <a:spcPct val="110000"/>
              </a:lnSpc>
              <a:spcBef>
                <a:spcPts val="600"/>
              </a:spcBef>
            </a:pPr>
            <a:r>
              <a:rPr lang="en-GB" sz="700" noProof="0">
                <a:solidFill>
                  <a:schemeClr val="bg1"/>
                </a:solidFill>
                <a:latin typeface="Santander Text" panose="020B0504020201020104"/>
              </a:rPr>
              <a:t>Verification of Criteria, Data, and Conclusions</a:t>
            </a:r>
          </a:p>
        </p:txBody>
      </p:sp>
      <p:sp>
        <p:nvSpPr>
          <p:cNvPr id="42" name="Rectangle 205">
            <a:extLst>
              <a:ext uri="{FF2B5EF4-FFF2-40B4-BE49-F238E27FC236}">
                <a16:creationId xmlns:a16="http://schemas.microsoft.com/office/drawing/2014/main" id="{6BD6856E-EAE5-A8C5-6A6A-16EC5992FB10}"/>
              </a:ext>
            </a:extLst>
          </p:cNvPr>
          <p:cNvSpPr>
            <a:spLocks/>
          </p:cNvSpPr>
          <p:nvPr/>
        </p:nvSpPr>
        <p:spPr>
          <a:xfrm>
            <a:off x="6169741" y="2133237"/>
            <a:ext cx="1380182" cy="444644"/>
          </a:xfrm>
          <a:prstGeom prst="rect">
            <a:avLst/>
          </a:prstGeom>
          <a:solidFill>
            <a:srgbClr val="C00000"/>
          </a:solidFill>
          <a:ln w="12700" cap="flat" cmpd="sng" algn="ctr">
            <a:solidFill>
              <a:srgbClr val="C00000"/>
            </a:solidFill>
            <a:prstDash val="solid"/>
            <a:miter lim="800000"/>
          </a:ln>
          <a:effectLst/>
        </p:spPr>
        <p:txBody>
          <a:bodyPr lIns="36000" tIns="36000" rIns="36000" bIns="36000" rtlCol="0" anchor="ctr"/>
          <a:lstStyle/>
          <a:p>
            <a:pPr algn="just">
              <a:lnSpc>
                <a:spcPct val="110000"/>
              </a:lnSpc>
              <a:spcBef>
                <a:spcPts val="600"/>
              </a:spcBef>
            </a:pPr>
            <a:r>
              <a:rPr lang="en-GB" sz="700" noProof="0">
                <a:solidFill>
                  <a:schemeClr val="bg1"/>
                </a:solidFill>
                <a:latin typeface="Santander Text" panose="020B0504020201020104"/>
              </a:rPr>
              <a:t>Planning Pre-analysis, task orchestration, recovery of previous data</a:t>
            </a:r>
          </a:p>
        </p:txBody>
      </p:sp>
      <p:sp>
        <p:nvSpPr>
          <p:cNvPr id="43" name="Flecha: a la derecha 32">
            <a:extLst>
              <a:ext uri="{FF2B5EF4-FFF2-40B4-BE49-F238E27FC236}">
                <a16:creationId xmlns:a16="http://schemas.microsoft.com/office/drawing/2014/main" id="{AFE0A80E-045B-13E1-71EC-FF8FB9E91DD7}"/>
              </a:ext>
            </a:extLst>
          </p:cNvPr>
          <p:cNvSpPr/>
          <p:nvPr/>
        </p:nvSpPr>
        <p:spPr>
          <a:xfrm rot="7774381">
            <a:off x="5456226" y="2917985"/>
            <a:ext cx="664702" cy="187983"/>
          </a:xfrm>
          <a:prstGeom prst="rightArrow">
            <a:avLst/>
          </a:prstGeom>
          <a:solidFill>
            <a:srgbClr val="D6DCE5"/>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lang="en-GB" sz="1600" b="1" noProof="0">
              <a:solidFill>
                <a:srgbClr val="C00000"/>
              </a:solidFill>
              <a:latin typeface="Santander Text" panose="020B0504020201020104"/>
            </a:endParaRPr>
          </a:p>
        </p:txBody>
      </p:sp>
      <p:sp>
        <p:nvSpPr>
          <p:cNvPr id="44" name="Flecha: a la derecha 34">
            <a:extLst>
              <a:ext uri="{FF2B5EF4-FFF2-40B4-BE49-F238E27FC236}">
                <a16:creationId xmlns:a16="http://schemas.microsoft.com/office/drawing/2014/main" id="{BC5C994A-7101-540F-BE9E-E4B68C6A670A}"/>
              </a:ext>
            </a:extLst>
          </p:cNvPr>
          <p:cNvSpPr/>
          <p:nvPr/>
        </p:nvSpPr>
        <p:spPr>
          <a:xfrm rot="3164274">
            <a:off x="7659835" y="2917874"/>
            <a:ext cx="643981" cy="202258"/>
          </a:xfrm>
          <a:prstGeom prst="rightArrow">
            <a:avLst/>
          </a:prstGeom>
          <a:solidFill>
            <a:srgbClr val="D6DCE5"/>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lang="en-GB" sz="1600" b="1" noProof="0">
              <a:solidFill>
                <a:srgbClr val="C00000"/>
              </a:solidFill>
              <a:latin typeface="Santander Text" panose="020B0504020201020104"/>
            </a:endParaRPr>
          </a:p>
        </p:txBody>
      </p:sp>
      <p:sp>
        <p:nvSpPr>
          <p:cNvPr id="45" name="Flecha: a la derecha 35">
            <a:extLst>
              <a:ext uri="{FF2B5EF4-FFF2-40B4-BE49-F238E27FC236}">
                <a16:creationId xmlns:a16="http://schemas.microsoft.com/office/drawing/2014/main" id="{DA3C34CA-6004-0046-2425-3A304962CAAB}"/>
              </a:ext>
            </a:extLst>
          </p:cNvPr>
          <p:cNvSpPr/>
          <p:nvPr/>
        </p:nvSpPr>
        <p:spPr>
          <a:xfrm rot="5400000">
            <a:off x="6568215" y="2962563"/>
            <a:ext cx="568677" cy="191190"/>
          </a:xfrm>
          <a:prstGeom prst="rightArrow">
            <a:avLst/>
          </a:prstGeom>
          <a:solidFill>
            <a:srgbClr val="D6DCE5"/>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lang="en-GB" sz="1600" b="1" noProof="0">
              <a:solidFill>
                <a:srgbClr val="C00000"/>
              </a:solidFill>
              <a:latin typeface="Santander Text" panose="020B0504020201020104"/>
            </a:endParaRPr>
          </a:p>
        </p:txBody>
      </p:sp>
      <p:pic>
        <p:nvPicPr>
          <p:cNvPr id="46" name="Imagem 12" descr="Ícone&#10;&#10;Descrição gerada automaticamente">
            <a:extLst>
              <a:ext uri="{FF2B5EF4-FFF2-40B4-BE49-F238E27FC236}">
                <a16:creationId xmlns:a16="http://schemas.microsoft.com/office/drawing/2014/main" id="{EC879777-A040-69C9-C574-EA889D48A7FE}"/>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6641861" y="1606370"/>
            <a:ext cx="435941" cy="491874"/>
          </a:xfrm>
          <a:prstGeom prst="rect">
            <a:avLst/>
          </a:prstGeom>
        </p:spPr>
      </p:pic>
      <p:pic>
        <p:nvPicPr>
          <p:cNvPr id="47" name="Imagem 12" descr="Ícone&#10;&#10;Descrição gerada automaticamente">
            <a:extLst>
              <a:ext uri="{FF2B5EF4-FFF2-40B4-BE49-F238E27FC236}">
                <a16:creationId xmlns:a16="http://schemas.microsoft.com/office/drawing/2014/main" id="{3E2F4864-E93E-961A-1B8C-144358BCF706}"/>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5147945" y="3761217"/>
            <a:ext cx="262324" cy="295981"/>
          </a:xfrm>
          <a:prstGeom prst="rect">
            <a:avLst/>
          </a:prstGeom>
        </p:spPr>
      </p:pic>
      <p:pic>
        <p:nvPicPr>
          <p:cNvPr id="53" name="Imagem 12" descr="Ícone&#10;&#10;Descrição gerada automaticamente">
            <a:extLst>
              <a:ext uri="{FF2B5EF4-FFF2-40B4-BE49-F238E27FC236}">
                <a16:creationId xmlns:a16="http://schemas.microsoft.com/office/drawing/2014/main" id="{3369FAD3-C2C4-CEE0-5465-935B4F4DC576}"/>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6685825" y="3761217"/>
            <a:ext cx="262324" cy="295981"/>
          </a:xfrm>
          <a:prstGeom prst="rect">
            <a:avLst/>
          </a:prstGeom>
        </p:spPr>
      </p:pic>
      <p:pic>
        <p:nvPicPr>
          <p:cNvPr id="54" name="Imagem 12" descr="Ícone&#10;&#10;Descrição gerada automaticamente">
            <a:extLst>
              <a:ext uri="{FF2B5EF4-FFF2-40B4-BE49-F238E27FC236}">
                <a16:creationId xmlns:a16="http://schemas.microsoft.com/office/drawing/2014/main" id="{0C79F934-6E1A-1F6E-684D-4CCCA8EEEF64}"/>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8274298" y="3761217"/>
            <a:ext cx="262324" cy="295981"/>
          </a:xfrm>
          <a:prstGeom prst="rect">
            <a:avLst/>
          </a:prstGeom>
        </p:spPr>
      </p:pic>
      <p:sp>
        <p:nvSpPr>
          <p:cNvPr id="55" name="Rectangle: Rounded Corners 193">
            <a:extLst>
              <a:ext uri="{FF2B5EF4-FFF2-40B4-BE49-F238E27FC236}">
                <a16:creationId xmlns:a16="http://schemas.microsoft.com/office/drawing/2014/main" id="{92FC51AC-D4C6-829C-7BF9-62BF35096B7B}"/>
              </a:ext>
            </a:extLst>
          </p:cNvPr>
          <p:cNvSpPr>
            <a:spLocks/>
          </p:cNvSpPr>
          <p:nvPr/>
        </p:nvSpPr>
        <p:spPr>
          <a:xfrm>
            <a:off x="4577035" y="1084444"/>
            <a:ext cx="5127766" cy="5074359"/>
          </a:xfrm>
          <a:prstGeom prst="roundRect">
            <a:avLst>
              <a:gd name="adj" fmla="val 3636"/>
            </a:avLst>
          </a:prstGeom>
          <a:noFill/>
          <a:ln w="6350" cap="flat" cmpd="sng" algn="ctr">
            <a:solidFill>
              <a:srgbClr val="002060"/>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a:ln>
                <a:noFill/>
              </a:ln>
              <a:effectLst/>
              <a:uLnTx/>
              <a:uFillTx/>
              <a:latin typeface="Santander Text" panose="020B0504020201020104"/>
            </a:endParaRPr>
          </a:p>
        </p:txBody>
      </p:sp>
      <p:sp>
        <p:nvSpPr>
          <p:cNvPr id="56" name="Rectángulo: esquinas redondeadas 103">
            <a:extLst>
              <a:ext uri="{FF2B5EF4-FFF2-40B4-BE49-F238E27FC236}">
                <a16:creationId xmlns:a16="http://schemas.microsoft.com/office/drawing/2014/main" id="{423EE43A-FC25-39D6-D92B-3109A3EF4CDB}"/>
              </a:ext>
            </a:extLst>
          </p:cNvPr>
          <p:cNvSpPr/>
          <p:nvPr/>
        </p:nvSpPr>
        <p:spPr>
          <a:xfrm>
            <a:off x="4698153" y="871902"/>
            <a:ext cx="1741178" cy="331474"/>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50" b="1" noProof="0">
                <a:solidFill>
                  <a:prstClr val="white"/>
                </a:solidFill>
                <a:latin typeface="Santander Text" panose="020B0504020201020104"/>
              </a:rPr>
              <a:t>Agentic Platform</a:t>
            </a:r>
          </a:p>
        </p:txBody>
      </p:sp>
      <p:sp>
        <p:nvSpPr>
          <p:cNvPr id="62" name="TextBox 61">
            <a:extLst>
              <a:ext uri="{FF2B5EF4-FFF2-40B4-BE49-F238E27FC236}">
                <a16:creationId xmlns:a16="http://schemas.microsoft.com/office/drawing/2014/main" id="{2EE2E611-5F61-CDBD-F5C8-C20ACC81DE0E}"/>
              </a:ext>
            </a:extLst>
          </p:cNvPr>
          <p:cNvSpPr txBox="1"/>
          <p:nvPr/>
        </p:nvSpPr>
        <p:spPr>
          <a:xfrm rot="1149828">
            <a:off x="10766862" y="575933"/>
            <a:ext cx="1395901" cy="276999"/>
          </a:xfrm>
          <a:prstGeom prst="rect">
            <a:avLst/>
          </a:prstGeom>
          <a:solidFill>
            <a:srgbClr val="FFFF00"/>
          </a:solidFill>
        </p:spPr>
        <p:txBody>
          <a:bodyPr wrap="square">
            <a:spAutoFit/>
          </a:bodyPr>
          <a:lstStyle/>
          <a:p>
            <a:r>
              <a:rPr lang="es-ES" sz="1200" b="1" dirty="0"/>
              <a:t>WORKING DRAFT</a:t>
            </a:r>
          </a:p>
        </p:txBody>
      </p:sp>
    </p:spTree>
    <p:extLst>
      <p:ext uri="{BB962C8B-B14F-4D97-AF65-F5344CB8AC3E}">
        <p14:creationId xmlns:p14="http://schemas.microsoft.com/office/powerpoint/2010/main" val="39884817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35231-C709-AB63-9C2A-6AF34884775A}"/>
            </a:ext>
          </a:extLst>
        </p:cNvPr>
        <p:cNvGrpSpPr/>
        <p:nvPr/>
      </p:nvGrpSpPr>
      <p:grpSpPr>
        <a:xfrm>
          <a:off x="0" y="0"/>
          <a:ext cx="0" cy="0"/>
          <a:chOff x="0" y="0"/>
          <a:chExt cx="0" cy="0"/>
        </a:xfrm>
      </p:grpSpPr>
      <p:pic>
        <p:nvPicPr>
          <p:cNvPr id="11" name="Imagen 2" descr="NTT Data - Red Seguridad">
            <a:extLst>
              <a:ext uri="{FF2B5EF4-FFF2-40B4-BE49-F238E27FC236}">
                <a16:creationId xmlns:a16="http://schemas.microsoft.com/office/drawing/2014/main" id="{951283AE-B53E-072E-F638-55155F1C0FC9}"/>
              </a:ext>
            </a:extLst>
          </p:cNvPr>
          <p:cNvPicPr>
            <a:picLocks noChangeAspect="1"/>
          </p:cNvPicPr>
          <p:nvPr/>
        </p:nvPicPr>
        <p:blipFill>
          <a:blip r:embed="rId2"/>
          <a:stretch>
            <a:fillRect/>
          </a:stretch>
        </p:blipFill>
        <p:spPr>
          <a:xfrm>
            <a:off x="10881313" y="-202669"/>
            <a:ext cx="1166998" cy="847775"/>
          </a:xfrm>
          <a:prstGeom prst="rect">
            <a:avLst/>
          </a:prstGeom>
        </p:spPr>
      </p:pic>
      <p:pic>
        <p:nvPicPr>
          <p:cNvPr id="12" name="Picture 11">
            <a:extLst>
              <a:ext uri="{FF2B5EF4-FFF2-40B4-BE49-F238E27FC236}">
                <a16:creationId xmlns:a16="http://schemas.microsoft.com/office/drawing/2014/main" id="{44AE99BE-C6AD-A16D-EBF0-8C1053F857E6}"/>
              </a:ext>
            </a:extLst>
          </p:cNvPr>
          <p:cNvPicPr>
            <a:picLocks noChangeAspect="1"/>
          </p:cNvPicPr>
          <p:nvPr/>
        </p:nvPicPr>
        <p:blipFill>
          <a:blip r:embed="rId3"/>
          <a:srcRect r="22480"/>
          <a:stretch>
            <a:fillRect/>
          </a:stretch>
        </p:blipFill>
        <p:spPr>
          <a:xfrm>
            <a:off x="9081410" y="32335"/>
            <a:ext cx="1610515" cy="388493"/>
          </a:xfrm>
          <a:prstGeom prst="rect">
            <a:avLst/>
          </a:prstGeom>
        </p:spPr>
      </p:pic>
      <p:sp>
        <p:nvSpPr>
          <p:cNvPr id="17" name="Text Placeholder 3">
            <a:extLst>
              <a:ext uri="{FF2B5EF4-FFF2-40B4-BE49-F238E27FC236}">
                <a16:creationId xmlns:a16="http://schemas.microsoft.com/office/drawing/2014/main" id="{257B30A9-A553-FFFA-20F3-D77DAA69BCC6}"/>
              </a:ext>
            </a:extLst>
          </p:cNvPr>
          <p:cNvSpPr txBox="1">
            <a:spLocks/>
          </p:cNvSpPr>
          <p:nvPr/>
        </p:nvSpPr>
        <p:spPr>
          <a:xfrm>
            <a:off x="354840" y="201563"/>
            <a:ext cx="6522555" cy="276999"/>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defRPr/>
            </a:pPr>
            <a:r>
              <a:rPr lang="en-GB" b="0" dirty="0">
                <a:solidFill>
                  <a:srgbClr val="F14949"/>
                </a:solidFill>
                <a:latin typeface="Santander Headline" panose="020B0504020201020104"/>
              </a:rPr>
              <a:t>Check TTI FMIS Multi-Agent System— </a:t>
            </a:r>
            <a:r>
              <a:rPr lang="en-GB" b="0" dirty="0" err="1">
                <a:solidFill>
                  <a:srgbClr val="F14949"/>
                </a:solidFill>
                <a:latin typeface="Santander Headline" panose="020B0504020201020104"/>
              </a:rPr>
              <a:t>LangGraph</a:t>
            </a:r>
            <a:r>
              <a:rPr lang="en-GB" b="0" dirty="0">
                <a:solidFill>
                  <a:srgbClr val="F14949"/>
                </a:solidFill>
                <a:latin typeface="Santander Headline" panose="020B0504020201020104"/>
              </a:rPr>
              <a:t> Architecture.</a:t>
            </a:r>
            <a:endParaRPr lang="en-GB" b="0" noProof="0" dirty="0">
              <a:solidFill>
                <a:srgbClr val="F14949"/>
              </a:solidFill>
              <a:latin typeface="Santander Headline" panose="020B0504020201020104"/>
            </a:endParaRPr>
          </a:p>
        </p:txBody>
      </p:sp>
      <p:pic>
        <p:nvPicPr>
          <p:cNvPr id="19" name="Picture 18" descr="A screenshot of a computer&#10;&#10;AI-generated content may be incorrect.">
            <a:extLst>
              <a:ext uri="{FF2B5EF4-FFF2-40B4-BE49-F238E27FC236}">
                <a16:creationId xmlns:a16="http://schemas.microsoft.com/office/drawing/2014/main" id="{C56FE3D9-F560-28C6-715C-0028A126BC99}"/>
              </a:ext>
            </a:extLst>
          </p:cNvPr>
          <p:cNvPicPr>
            <a:picLocks noChangeAspect="1"/>
          </p:cNvPicPr>
          <p:nvPr/>
        </p:nvPicPr>
        <p:blipFill>
          <a:blip r:embed="rId4">
            <a:extLst>
              <a:ext uri="{28A0092B-C50C-407E-A947-70E740481C1C}">
                <a14:useLocalDpi xmlns:a14="http://schemas.microsoft.com/office/drawing/2010/main" val="0"/>
              </a:ext>
            </a:extLst>
          </a:blip>
          <a:srcRect t="6556"/>
          <a:stretch>
            <a:fillRect/>
          </a:stretch>
        </p:blipFill>
        <p:spPr>
          <a:xfrm>
            <a:off x="0" y="541606"/>
            <a:ext cx="12192000" cy="6210575"/>
          </a:xfrm>
          <a:prstGeom prst="rect">
            <a:avLst/>
          </a:prstGeom>
        </p:spPr>
      </p:pic>
      <p:sp>
        <p:nvSpPr>
          <p:cNvPr id="3" name="TextBox 2">
            <a:extLst>
              <a:ext uri="{FF2B5EF4-FFF2-40B4-BE49-F238E27FC236}">
                <a16:creationId xmlns:a16="http://schemas.microsoft.com/office/drawing/2014/main" id="{FD606989-5826-A79A-35A0-0ED51A3FBD08}"/>
              </a:ext>
            </a:extLst>
          </p:cNvPr>
          <p:cNvSpPr txBox="1"/>
          <p:nvPr/>
        </p:nvSpPr>
        <p:spPr>
          <a:xfrm rot="1149828">
            <a:off x="10766862" y="575933"/>
            <a:ext cx="1395901" cy="276999"/>
          </a:xfrm>
          <a:prstGeom prst="rect">
            <a:avLst/>
          </a:prstGeom>
          <a:solidFill>
            <a:srgbClr val="FFFF00"/>
          </a:solidFill>
        </p:spPr>
        <p:txBody>
          <a:bodyPr wrap="square">
            <a:spAutoFit/>
          </a:bodyPr>
          <a:lstStyle/>
          <a:p>
            <a:r>
              <a:rPr lang="es-ES" sz="1200" b="1" dirty="0"/>
              <a:t>WORKING DRAFT</a:t>
            </a:r>
          </a:p>
        </p:txBody>
      </p:sp>
    </p:spTree>
    <p:extLst>
      <p:ext uri="{BB962C8B-B14F-4D97-AF65-F5344CB8AC3E}">
        <p14:creationId xmlns:p14="http://schemas.microsoft.com/office/powerpoint/2010/main" val="17952464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45944E-1C54-5EA1-128C-78F138137480}"/>
            </a:ext>
          </a:extLst>
        </p:cNvPr>
        <p:cNvGrpSpPr/>
        <p:nvPr/>
      </p:nvGrpSpPr>
      <p:grpSpPr>
        <a:xfrm>
          <a:off x="0" y="0"/>
          <a:ext cx="0" cy="0"/>
          <a:chOff x="0" y="0"/>
          <a:chExt cx="0" cy="0"/>
        </a:xfrm>
      </p:grpSpPr>
      <p:pic>
        <p:nvPicPr>
          <p:cNvPr id="4" name="Imagen 2" descr="NTT Data - Red Seguridad">
            <a:extLst>
              <a:ext uri="{FF2B5EF4-FFF2-40B4-BE49-F238E27FC236}">
                <a16:creationId xmlns:a16="http://schemas.microsoft.com/office/drawing/2014/main" id="{2B88B52F-D4B0-FEE3-920E-06469EAB977D}"/>
              </a:ext>
            </a:extLst>
          </p:cNvPr>
          <p:cNvPicPr>
            <a:picLocks noChangeAspect="1"/>
          </p:cNvPicPr>
          <p:nvPr/>
        </p:nvPicPr>
        <p:blipFill>
          <a:blip r:embed="rId2"/>
          <a:stretch>
            <a:fillRect/>
          </a:stretch>
        </p:blipFill>
        <p:spPr>
          <a:xfrm>
            <a:off x="10881313" y="-202669"/>
            <a:ext cx="1166998" cy="847775"/>
          </a:xfrm>
          <a:prstGeom prst="rect">
            <a:avLst/>
          </a:prstGeom>
        </p:spPr>
      </p:pic>
      <p:pic>
        <p:nvPicPr>
          <p:cNvPr id="6" name="Picture 5">
            <a:extLst>
              <a:ext uri="{FF2B5EF4-FFF2-40B4-BE49-F238E27FC236}">
                <a16:creationId xmlns:a16="http://schemas.microsoft.com/office/drawing/2014/main" id="{1F7D791D-84E5-3DF9-CC06-4C8AD4B55245}"/>
              </a:ext>
            </a:extLst>
          </p:cNvPr>
          <p:cNvPicPr>
            <a:picLocks noChangeAspect="1"/>
          </p:cNvPicPr>
          <p:nvPr/>
        </p:nvPicPr>
        <p:blipFill>
          <a:blip r:embed="rId3"/>
          <a:srcRect r="22480"/>
          <a:stretch>
            <a:fillRect/>
          </a:stretch>
        </p:blipFill>
        <p:spPr>
          <a:xfrm>
            <a:off x="9081410" y="32335"/>
            <a:ext cx="1610515" cy="388493"/>
          </a:xfrm>
          <a:prstGeom prst="rect">
            <a:avLst/>
          </a:prstGeom>
        </p:spPr>
      </p:pic>
      <p:sp>
        <p:nvSpPr>
          <p:cNvPr id="11" name="Text Placeholder 3">
            <a:extLst>
              <a:ext uri="{FF2B5EF4-FFF2-40B4-BE49-F238E27FC236}">
                <a16:creationId xmlns:a16="http://schemas.microsoft.com/office/drawing/2014/main" id="{405A00A2-0CD5-C9F0-ADF5-F182A5766B78}"/>
              </a:ext>
            </a:extLst>
          </p:cNvPr>
          <p:cNvSpPr txBox="1">
            <a:spLocks/>
          </p:cNvSpPr>
          <p:nvPr/>
        </p:nvSpPr>
        <p:spPr>
          <a:xfrm>
            <a:off x="354840" y="201563"/>
            <a:ext cx="7168437" cy="276999"/>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defRPr/>
            </a:pPr>
            <a:r>
              <a:rPr lang="en-GB" b="0" dirty="0">
                <a:solidFill>
                  <a:srgbClr val="F14949"/>
                </a:solidFill>
                <a:latin typeface="Santander Headline" panose="020B0504020201020104"/>
              </a:rPr>
              <a:t>Check TTI FMIS Multi-Agent System — </a:t>
            </a:r>
            <a:r>
              <a:rPr lang="en-GB" b="0" dirty="0" err="1">
                <a:solidFill>
                  <a:srgbClr val="F14949"/>
                </a:solidFill>
                <a:latin typeface="Santander Headline" panose="020B0504020201020104"/>
              </a:rPr>
              <a:t>LangGraph</a:t>
            </a:r>
            <a:r>
              <a:rPr lang="en-GB" b="0" dirty="0">
                <a:solidFill>
                  <a:srgbClr val="F14949"/>
                </a:solidFill>
                <a:latin typeface="Santander Headline" panose="020B0504020201020104"/>
              </a:rPr>
              <a:t> Sequence Diagram.</a:t>
            </a:r>
            <a:endParaRPr lang="en-GB" b="0" noProof="0" dirty="0">
              <a:solidFill>
                <a:srgbClr val="F14949"/>
              </a:solidFill>
              <a:latin typeface="Santander Headline" panose="020B0504020201020104"/>
            </a:endParaRPr>
          </a:p>
        </p:txBody>
      </p:sp>
      <p:pic>
        <p:nvPicPr>
          <p:cNvPr id="15" name="Picture 14" descr="A screenshot of a diagram&#10;&#10;AI-generated content may be incorrect.">
            <a:extLst>
              <a:ext uri="{FF2B5EF4-FFF2-40B4-BE49-F238E27FC236}">
                <a16:creationId xmlns:a16="http://schemas.microsoft.com/office/drawing/2014/main" id="{7A5C9433-1C23-7F26-C6B2-9CC07C14C57B}"/>
              </a:ext>
            </a:extLst>
          </p:cNvPr>
          <p:cNvPicPr>
            <a:picLocks noChangeAspect="1"/>
          </p:cNvPicPr>
          <p:nvPr/>
        </p:nvPicPr>
        <p:blipFill>
          <a:blip r:embed="rId4">
            <a:extLst>
              <a:ext uri="{28A0092B-C50C-407E-A947-70E740481C1C}">
                <a14:useLocalDpi xmlns:a14="http://schemas.microsoft.com/office/drawing/2010/main" val="0"/>
              </a:ext>
            </a:extLst>
          </a:blip>
          <a:srcRect t="4102"/>
          <a:stretch>
            <a:fillRect/>
          </a:stretch>
        </p:blipFill>
        <p:spPr>
          <a:xfrm>
            <a:off x="1406768" y="547888"/>
            <a:ext cx="9792071" cy="6310112"/>
          </a:xfrm>
          <a:prstGeom prst="rect">
            <a:avLst/>
          </a:prstGeom>
        </p:spPr>
      </p:pic>
      <p:sp>
        <p:nvSpPr>
          <p:cNvPr id="3" name="TextBox 2">
            <a:extLst>
              <a:ext uri="{FF2B5EF4-FFF2-40B4-BE49-F238E27FC236}">
                <a16:creationId xmlns:a16="http://schemas.microsoft.com/office/drawing/2014/main" id="{DA0697AD-E692-2A9B-EDAA-AB3370AB163B}"/>
              </a:ext>
            </a:extLst>
          </p:cNvPr>
          <p:cNvSpPr txBox="1"/>
          <p:nvPr/>
        </p:nvSpPr>
        <p:spPr>
          <a:xfrm rot="1149828">
            <a:off x="10766862" y="575933"/>
            <a:ext cx="1395901" cy="276999"/>
          </a:xfrm>
          <a:prstGeom prst="rect">
            <a:avLst/>
          </a:prstGeom>
          <a:solidFill>
            <a:srgbClr val="FFFF00"/>
          </a:solidFill>
        </p:spPr>
        <p:txBody>
          <a:bodyPr wrap="square">
            <a:spAutoFit/>
          </a:bodyPr>
          <a:lstStyle/>
          <a:p>
            <a:r>
              <a:rPr lang="es-ES" sz="1200" b="1" dirty="0"/>
              <a:t>WORKING DRAFT</a:t>
            </a:r>
          </a:p>
        </p:txBody>
      </p:sp>
    </p:spTree>
    <p:extLst>
      <p:ext uri="{BB962C8B-B14F-4D97-AF65-F5344CB8AC3E}">
        <p14:creationId xmlns:p14="http://schemas.microsoft.com/office/powerpoint/2010/main" val="2755025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uadroTexto 11">
            <a:extLst>
              <a:ext uri="{FF2B5EF4-FFF2-40B4-BE49-F238E27FC236}">
                <a16:creationId xmlns:a16="http://schemas.microsoft.com/office/drawing/2014/main" id="{0CEE5EA9-B56B-8AE3-412D-8B1716DEBD43}"/>
              </a:ext>
            </a:extLst>
          </p:cNvPr>
          <p:cNvSpPr txBox="1"/>
          <p:nvPr/>
        </p:nvSpPr>
        <p:spPr>
          <a:xfrm>
            <a:off x="5816601" y="1661823"/>
            <a:ext cx="5756910" cy="4063116"/>
          </a:xfrm>
          <a:prstGeom prst="rect">
            <a:avLst/>
          </a:prstGeom>
          <a:solidFill>
            <a:srgbClr val="F2F2F2"/>
          </a:solidFill>
          <a:ln w="9525" cap="flat" cmpd="sng" algn="ctr">
            <a:noFill/>
            <a:prstDash val="dash"/>
          </a:ln>
          <a:effectLst/>
        </p:spPr>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28600" marR="0" lvl="0" indent="-228600" algn="just" defTabSz="914400" rtl="0" eaLnBrk="1" fontAlgn="auto" latinLnBrk="0" hangingPunct="1">
              <a:lnSpc>
                <a:spcPct val="150000"/>
              </a:lnSpc>
              <a:spcBef>
                <a:spcPts val="0"/>
              </a:spcBef>
              <a:spcAft>
                <a:spcPts val="0"/>
              </a:spcAft>
              <a:buClrTx/>
              <a:buSzTx/>
              <a:buFontTx/>
              <a:buAutoNum type="arabicPeriod"/>
              <a:tabLst/>
              <a:defRPr/>
            </a:pPr>
            <a:endParaRPr kumimoji="0" lang="en-GB" sz="800" b="0" i="0" u="none" strike="noStrike" kern="0" cap="none" spc="0" normalizeH="0" baseline="0" noProof="0" dirty="0">
              <a:ln>
                <a:noFill/>
              </a:ln>
              <a:solidFill>
                <a:prstClr val="black"/>
              </a:solidFill>
              <a:effectLst/>
              <a:uLnTx/>
              <a:uFillTx/>
              <a:latin typeface="Aptos" panose="02110004020202020204"/>
              <a:ea typeface="+mn-ea"/>
              <a:cs typeface="+mn-cs"/>
            </a:endParaRPr>
          </a:p>
        </p:txBody>
      </p:sp>
      <p:pic>
        <p:nvPicPr>
          <p:cNvPr id="5" name="Imagen 4">
            <a:extLst>
              <a:ext uri="{FF2B5EF4-FFF2-40B4-BE49-F238E27FC236}">
                <a16:creationId xmlns:a16="http://schemas.microsoft.com/office/drawing/2014/main" id="{4BD6ACAE-E82E-10AC-4871-4C3E0FF30F88}"/>
              </a:ext>
            </a:extLst>
          </p:cNvPr>
          <p:cNvPicPr>
            <a:picLocks noChangeAspect="1"/>
          </p:cNvPicPr>
          <p:nvPr/>
        </p:nvPicPr>
        <p:blipFill>
          <a:blip r:embed="rId2"/>
          <a:srcRect l="970" r="884"/>
          <a:stretch>
            <a:fillRect/>
          </a:stretch>
        </p:blipFill>
        <p:spPr>
          <a:xfrm>
            <a:off x="173640" y="1822447"/>
            <a:ext cx="5350860" cy="3213105"/>
          </a:xfrm>
          <a:prstGeom prst="roundRect">
            <a:avLst/>
          </a:prstGeom>
        </p:spPr>
      </p:pic>
      <p:sp>
        <p:nvSpPr>
          <p:cNvPr id="7" name="CuadroTexto 6">
            <a:extLst>
              <a:ext uri="{FF2B5EF4-FFF2-40B4-BE49-F238E27FC236}">
                <a16:creationId xmlns:a16="http://schemas.microsoft.com/office/drawing/2014/main" id="{5F911800-1C67-B915-9B5C-B6B2F1A5ECC0}"/>
              </a:ext>
            </a:extLst>
          </p:cNvPr>
          <p:cNvSpPr txBox="1"/>
          <p:nvPr/>
        </p:nvSpPr>
        <p:spPr>
          <a:xfrm>
            <a:off x="5816600" y="1325314"/>
            <a:ext cx="5593522" cy="4260077"/>
          </a:xfrm>
          <a:prstGeom prst="rect">
            <a:avLst/>
          </a:prstGeom>
          <a:noFill/>
        </p:spPr>
        <p:txBody>
          <a:bodyPr wrap="square">
            <a:spAutoFit/>
          </a:bodyPr>
          <a:lstStyle/>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endParaRPr kumimoji="0" lang="en-US" sz="1400" b="0" i="0" u="none" strike="noStrike" kern="1200" cap="none" spc="0" normalizeH="0" baseline="0" noProof="0" dirty="0">
              <a:ln>
                <a:noFill/>
              </a:ln>
              <a:solidFill>
                <a:srgbClr val="000000"/>
              </a:solidFill>
              <a:effectLst/>
              <a:uLnTx/>
              <a:uFillTx/>
              <a:latin typeface="Santander Text" panose="020B0504020201020104"/>
              <a:ea typeface="+mn-ea"/>
              <a:cs typeface="+mn-cs"/>
            </a:endParaRPr>
          </a:p>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Santander Text" panose="020B0504020201020104"/>
                <a:ea typeface="+mn-ea"/>
                <a:cs typeface="+mn-cs"/>
              </a:rPr>
              <a:t>Receive initial notifications or triggers related to the </a:t>
            </a:r>
            <a:r>
              <a:rPr kumimoji="0" lang="en-US" sz="1400" b="1" i="0" u="none" strike="noStrike" kern="1200" cap="none" spc="0" normalizeH="0" baseline="0" noProof="0" dirty="0">
                <a:ln>
                  <a:noFill/>
                </a:ln>
                <a:solidFill>
                  <a:srgbClr val="000000"/>
                </a:solidFill>
                <a:effectLst/>
                <a:uLnTx/>
                <a:uFillTx/>
                <a:latin typeface="Santander Text" panose="020B0504020201020104"/>
                <a:ea typeface="+mn-ea"/>
                <a:cs typeface="+mn-cs"/>
              </a:rPr>
              <a:t>TTI calculation</a:t>
            </a:r>
            <a:r>
              <a:rPr kumimoji="0" lang="en-US" sz="1400" b="0" i="0" u="none" strike="noStrike" kern="1200" cap="none" spc="0" normalizeH="0" baseline="0" noProof="0" dirty="0">
                <a:ln>
                  <a:noFill/>
                </a:ln>
                <a:solidFill>
                  <a:srgbClr val="000000"/>
                </a:solidFill>
                <a:effectLst/>
                <a:uLnTx/>
                <a:uFillTx/>
                <a:latin typeface="Santander Text" panose="020B0504020201020104"/>
                <a:ea typeface="+mn-ea"/>
                <a:cs typeface="+mn-cs"/>
              </a:rPr>
              <a:t>.</a:t>
            </a:r>
          </a:p>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Santander Text" panose="020B0504020201020104"/>
                <a:ea typeface="+mn-ea"/>
                <a:cs typeface="+mn-cs"/>
              </a:rPr>
              <a:t>Request information from the </a:t>
            </a:r>
            <a:r>
              <a:rPr kumimoji="0" lang="en-US" sz="1400" b="1" i="0" u="none" strike="noStrike" kern="1200" cap="none" spc="0" normalizeH="0" baseline="0" noProof="0" dirty="0">
                <a:ln>
                  <a:noFill/>
                </a:ln>
                <a:solidFill>
                  <a:srgbClr val="000000"/>
                </a:solidFill>
                <a:effectLst/>
                <a:uLnTx/>
                <a:uFillTx/>
                <a:latin typeface="Santander Text" panose="020B0504020201020104"/>
                <a:ea typeface="+mn-ea"/>
                <a:cs typeface="+mn-cs"/>
              </a:rPr>
              <a:t>INFORMATION RETRIEVAL AGENT </a:t>
            </a:r>
            <a:r>
              <a:rPr kumimoji="0" lang="en-US" sz="1400" b="0" i="0" u="none" strike="noStrike" kern="1200" cap="none" spc="0" normalizeH="0" baseline="0" noProof="0" dirty="0">
                <a:ln>
                  <a:noFill/>
                </a:ln>
                <a:solidFill>
                  <a:srgbClr val="000000"/>
                </a:solidFill>
                <a:effectLst/>
                <a:uLnTx/>
                <a:uFillTx/>
                <a:latin typeface="Santander Text" panose="020B0504020201020104"/>
                <a:ea typeface="+mn-ea"/>
                <a:cs typeface="+mn-cs"/>
              </a:rPr>
              <a:t>when data is required.</a:t>
            </a:r>
          </a:p>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Santander Text" panose="020B0504020201020104"/>
                <a:ea typeface="+mn-ea"/>
                <a:cs typeface="+mn-cs"/>
              </a:rPr>
              <a:t>Send collected data to the </a:t>
            </a:r>
            <a:r>
              <a:rPr kumimoji="0" lang="en-US" sz="1400" b="1" i="0" u="none" strike="noStrike" kern="1200" cap="none" spc="0" normalizeH="0" baseline="0" noProof="0" dirty="0">
                <a:ln>
                  <a:noFill/>
                </a:ln>
                <a:solidFill>
                  <a:srgbClr val="000000"/>
                </a:solidFill>
                <a:effectLst/>
                <a:uLnTx/>
                <a:uFillTx/>
                <a:latin typeface="Santander Text" panose="020B0504020201020104"/>
                <a:ea typeface="+mn-ea"/>
                <a:cs typeface="+mn-cs"/>
              </a:rPr>
              <a:t>CONSOLIDATION AND ANALYSIS AGENT</a:t>
            </a:r>
            <a:r>
              <a:rPr kumimoji="0" lang="en-US" sz="1400" b="0" i="0" u="none" strike="noStrike" kern="1200" cap="none" spc="0" normalizeH="0" baseline="0" noProof="0" dirty="0">
                <a:ln>
                  <a:noFill/>
                </a:ln>
                <a:solidFill>
                  <a:srgbClr val="000000"/>
                </a:solidFill>
                <a:effectLst/>
                <a:uLnTx/>
                <a:uFillTx/>
                <a:latin typeface="Santander Text" panose="020B0504020201020104"/>
                <a:ea typeface="+mn-ea"/>
                <a:cs typeface="+mn-cs"/>
              </a:rPr>
              <a:t>.</a:t>
            </a:r>
          </a:p>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Santander Text" panose="020B0504020201020104"/>
                <a:ea typeface="+mn-ea"/>
                <a:cs typeface="+mn-cs"/>
              </a:rPr>
              <a:t>Send consolidated insights to the </a:t>
            </a:r>
            <a:r>
              <a:rPr kumimoji="0" lang="en-US" sz="1400" b="1" i="0" u="none" strike="noStrike" kern="1200" cap="none" spc="0" normalizeH="0" baseline="0" noProof="0" dirty="0">
                <a:ln>
                  <a:noFill/>
                </a:ln>
                <a:solidFill>
                  <a:srgbClr val="000000"/>
                </a:solidFill>
                <a:effectLst/>
                <a:uLnTx/>
                <a:uFillTx/>
                <a:latin typeface="Santander Text" panose="020B0504020201020104"/>
                <a:ea typeface="+mn-ea"/>
                <a:cs typeface="+mn-cs"/>
              </a:rPr>
              <a:t>VALIDATION AGENT </a:t>
            </a:r>
            <a:r>
              <a:rPr kumimoji="0" lang="en-US" sz="1400" b="0" i="0" u="none" strike="noStrike" kern="1200" cap="none" spc="0" normalizeH="0" baseline="0" noProof="0" dirty="0">
                <a:ln>
                  <a:noFill/>
                </a:ln>
                <a:solidFill>
                  <a:srgbClr val="000000"/>
                </a:solidFill>
                <a:effectLst/>
                <a:uLnTx/>
                <a:uFillTx/>
                <a:latin typeface="Santander Text" panose="020B0504020201020104"/>
                <a:ea typeface="+mn-ea"/>
                <a:cs typeface="+mn-cs"/>
              </a:rPr>
              <a:t>for consistency evaluation.</a:t>
            </a:r>
          </a:p>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Santander Text" panose="020B0504020201020104"/>
                <a:ea typeface="+mn-ea"/>
                <a:cs typeface="+mn-cs"/>
              </a:rPr>
              <a:t>If the validation agent detects inconsistencies, decide which step to repeat (data retrieval, consolidation, or full cycle).</a:t>
            </a:r>
          </a:p>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Santander Text" panose="020B0504020201020104"/>
                <a:ea typeface="+mn-ea"/>
                <a:cs typeface="+mn-cs"/>
              </a:rPr>
              <a:t>Once the result is validated, instruct the </a:t>
            </a:r>
            <a:r>
              <a:rPr kumimoji="0" lang="en-US" sz="1400" b="1" i="0" u="none" strike="noStrike" kern="1200" cap="none" spc="0" normalizeH="0" baseline="0" noProof="0" dirty="0">
                <a:ln>
                  <a:noFill/>
                </a:ln>
                <a:solidFill>
                  <a:srgbClr val="000000"/>
                </a:solidFill>
                <a:effectLst/>
                <a:uLnTx/>
                <a:uFillTx/>
                <a:latin typeface="Santander Text" panose="020B0504020201020104"/>
                <a:ea typeface="+mn-ea"/>
                <a:cs typeface="+mn-cs"/>
              </a:rPr>
              <a:t>STORE RESULTS AGENT </a:t>
            </a:r>
            <a:r>
              <a:rPr kumimoji="0" lang="en-US" sz="1400" b="0" i="0" u="none" strike="noStrike" kern="1200" cap="none" spc="0" normalizeH="0" baseline="0" noProof="0" dirty="0">
                <a:ln>
                  <a:noFill/>
                </a:ln>
                <a:solidFill>
                  <a:srgbClr val="000000"/>
                </a:solidFill>
                <a:effectLst/>
                <a:uLnTx/>
                <a:uFillTx/>
                <a:latin typeface="Santander Text" panose="020B0504020201020104"/>
                <a:ea typeface="+mn-ea"/>
                <a:cs typeface="+mn-cs"/>
              </a:rPr>
              <a:t>to persist the outcome.</a:t>
            </a:r>
          </a:p>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Santander Text" panose="020B0504020201020104"/>
                <a:ea typeface="+mn-ea"/>
                <a:cs typeface="+mn-cs"/>
              </a:rPr>
              <a:t>Guarantee orderly execution, including cyclical loops when needed.</a:t>
            </a:r>
          </a:p>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Santander Text" panose="020B0504020201020104"/>
                <a:ea typeface="+mn-ea"/>
                <a:cs typeface="+mn-cs"/>
              </a:rPr>
              <a:t>Maintain a detailed log of decisions, steps, and final outputs.</a:t>
            </a:r>
          </a:p>
        </p:txBody>
      </p:sp>
      <p:sp>
        <p:nvSpPr>
          <p:cNvPr id="11" name="Rectángulo 3">
            <a:extLst>
              <a:ext uri="{FF2B5EF4-FFF2-40B4-BE49-F238E27FC236}">
                <a16:creationId xmlns:a16="http://schemas.microsoft.com/office/drawing/2014/main" id="{00D4D060-89F0-FDBB-FF32-6638AE8B50FF}"/>
              </a:ext>
            </a:extLst>
          </p:cNvPr>
          <p:cNvSpPr/>
          <p:nvPr/>
        </p:nvSpPr>
        <p:spPr>
          <a:xfrm>
            <a:off x="5816600" y="1325314"/>
            <a:ext cx="5756910" cy="311793"/>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SUPERVISOR AGENT TASKS</a:t>
            </a:r>
          </a:p>
        </p:txBody>
      </p:sp>
      <p:sp>
        <p:nvSpPr>
          <p:cNvPr id="13" name="Text Placeholder 3">
            <a:extLst>
              <a:ext uri="{FF2B5EF4-FFF2-40B4-BE49-F238E27FC236}">
                <a16:creationId xmlns:a16="http://schemas.microsoft.com/office/drawing/2014/main" id="{2278561D-FF40-6935-7CD1-BF3C38321E7F}"/>
              </a:ext>
            </a:extLst>
          </p:cNvPr>
          <p:cNvSpPr txBox="1">
            <a:spLocks/>
          </p:cNvSpPr>
          <p:nvPr/>
        </p:nvSpPr>
        <p:spPr>
          <a:xfrm>
            <a:off x="354840" y="201563"/>
            <a:ext cx="3153427" cy="276999"/>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000" b="0" i="0" u="none" strike="noStrike" kern="1200" cap="none" spc="0" normalizeH="0" baseline="0" noProof="0" dirty="0">
                <a:ln>
                  <a:noFill/>
                </a:ln>
                <a:solidFill>
                  <a:srgbClr val="F14949"/>
                </a:solidFill>
                <a:effectLst/>
                <a:uLnTx/>
                <a:uFillTx/>
                <a:latin typeface="Santander Headline" panose="020B0504020201020104"/>
                <a:ea typeface="+mn-ea"/>
                <a:cs typeface="+mn-cs"/>
              </a:rPr>
              <a:t>Agent Flow to check FMIS TTIs</a:t>
            </a:r>
          </a:p>
        </p:txBody>
      </p:sp>
      <p:sp>
        <p:nvSpPr>
          <p:cNvPr id="20" name="CuadroTexto 2">
            <a:extLst>
              <a:ext uri="{FF2B5EF4-FFF2-40B4-BE49-F238E27FC236}">
                <a16:creationId xmlns:a16="http://schemas.microsoft.com/office/drawing/2014/main" id="{E7C27AA5-3B98-98CA-7149-53031E66D629}"/>
              </a:ext>
            </a:extLst>
          </p:cNvPr>
          <p:cNvSpPr txBox="1"/>
          <p:nvPr/>
        </p:nvSpPr>
        <p:spPr>
          <a:xfrm>
            <a:off x="292879" y="424191"/>
            <a:ext cx="535086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14949"/>
                </a:solidFill>
                <a:effectLst/>
                <a:uLnTx/>
                <a:uFillTx/>
                <a:latin typeface="Santander Headline" panose="020B0504020201020104"/>
                <a:ea typeface="+mn-ea"/>
                <a:cs typeface="Arial"/>
              </a:rPr>
              <a:t>Supervisor Agent</a:t>
            </a:r>
            <a:endParaRPr kumimoji="0" lang="en-GB" sz="1200" b="0" i="0" u="none" strike="noStrike" kern="1200" cap="none" spc="0" normalizeH="0" baseline="0" noProof="0" dirty="0">
              <a:ln>
                <a:noFill/>
              </a:ln>
              <a:solidFill>
                <a:srgbClr val="F14949"/>
              </a:solidFill>
              <a:effectLst/>
              <a:uLnTx/>
              <a:uFillTx/>
              <a:latin typeface="Santander Headline" panose="020B0504020201020104"/>
              <a:ea typeface="+mn-ea"/>
              <a:cs typeface="+mn-cs"/>
            </a:endParaRPr>
          </a:p>
        </p:txBody>
      </p:sp>
      <p:pic>
        <p:nvPicPr>
          <p:cNvPr id="2" name="Imagen 2" descr="NTT Data - Red Seguridad">
            <a:extLst>
              <a:ext uri="{FF2B5EF4-FFF2-40B4-BE49-F238E27FC236}">
                <a16:creationId xmlns:a16="http://schemas.microsoft.com/office/drawing/2014/main" id="{77C51C0E-4F21-83F7-0C15-B05C88D385F6}"/>
              </a:ext>
            </a:extLst>
          </p:cNvPr>
          <p:cNvPicPr>
            <a:picLocks noChangeAspect="1"/>
          </p:cNvPicPr>
          <p:nvPr/>
        </p:nvPicPr>
        <p:blipFill>
          <a:blip r:embed="rId3"/>
          <a:stretch>
            <a:fillRect/>
          </a:stretch>
        </p:blipFill>
        <p:spPr>
          <a:xfrm>
            <a:off x="10881313" y="-202669"/>
            <a:ext cx="1166998" cy="847775"/>
          </a:xfrm>
          <a:prstGeom prst="rect">
            <a:avLst/>
          </a:prstGeom>
        </p:spPr>
      </p:pic>
      <p:pic>
        <p:nvPicPr>
          <p:cNvPr id="3" name="Picture 2">
            <a:extLst>
              <a:ext uri="{FF2B5EF4-FFF2-40B4-BE49-F238E27FC236}">
                <a16:creationId xmlns:a16="http://schemas.microsoft.com/office/drawing/2014/main" id="{21484D51-5DED-7325-6D55-2F61CDDA7C7A}"/>
              </a:ext>
            </a:extLst>
          </p:cNvPr>
          <p:cNvPicPr>
            <a:picLocks noChangeAspect="1"/>
          </p:cNvPicPr>
          <p:nvPr/>
        </p:nvPicPr>
        <p:blipFill>
          <a:blip r:embed="rId4"/>
          <a:srcRect r="22480"/>
          <a:stretch>
            <a:fillRect/>
          </a:stretch>
        </p:blipFill>
        <p:spPr>
          <a:xfrm>
            <a:off x="9081410" y="32335"/>
            <a:ext cx="1610515" cy="388493"/>
          </a:xfrm>
          <a:prstGeom prst="rect">
            <a:avLst/>
          </a:prstGeom>
        </p:spPr>
      </p:pic>
      <p:sp>
        <p:nvSpPr>
          <p:cNvPr id="4" name="TextBox 3">
            <a:extLst>
              <a:ext uri="{FF2B5EF4-FFF2-40B4-BE49-F238E27FC236}">
                <a16:creationId xmlns:a16="http://schemas.microsoft.com/office/drawing/2014/main" id="{1EAD244B-C1DF-862A-463D-99D6000F7D80}"/>
              </a:ext>
            </a:extLst>
          </p:cNvPr>
          <p:cNvSpPr txBox="1"/>
          <p:nvPr/>
        </p:nvSpPr>
        <p:spPr>
          <a:xfrm rot="1149828">
            <a:off x="10766862" y="575933"/>
            <a:ext cx="1395901" cy="276999"/>
          </a:xfrm>
          <a:prstGeom prst="rect">
            <a:avLst/>
          </a:prstGeom>
          <a:solidFill>
            <a:srgbClr val="FFFF00"/>
          </a:solidFill>
        </p:spPr>
        <p:txBody>
          <a:bodyPr wrap="square">
            <a:spAutoFit/>
          </a:bodyPr>
          <a:lstStyle/>
          <a:p>
            <a:r>
              <a:rPr lang="es-ES" sz="1200" b="1" dirty="0"/>
              <a:t>WORKING DRAFT</a:t>
            </a:r>
          </a:p>
        </p:txBody>
      </p:sp>
    </p:spTree>
    <p:extLst>
      <p:ext uri="{BB962C8B-B14F-4D97-AF65-F5344CB8AC3E}">
        <p14:creationId xmlns:p14="http://schemas.microsoft.com/office/powerpoint/2010/main" val="24276885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a:extLst>
              <a:ext uri="{FF2B5EF4-FFF2-40B4-BE49-F238E27FC236}">
                <a16:creationId xmlns:a16="http://schemas.microsoft.com/office/drawing/2014/main" id="{1A9A925F-381A-19FC-1B8B-C83366DF655F}"/>
              </a:ext>
            </a:extLst>
          </p:cNvPr>
          <p:cNvSpPr>
            <a:spLocks noGrp="1"/>
          </p:cNvSpPr>
          <p:nvPr>
            <p:ph type="body" sz="quarter" idx="13"/>
          </p:nvPr>
        </p:nvSpPr>
        <p:spPr/>
        <p:txBody>
          <a:bodyPr>
            <a:normAutofit/>
          </a:bodyPr>
          <a:lstStyle/>
          <a:p>
            <a:r>
              <a:rPr lang="en-GB" noProof="0" dirty="0"/>
              <a:t>Context</a:t>
            </a:r>
          </a:p>
          <a:p>
            <a:r>
              <a:rPr lang="en-GB" noProof="0" dirty="0"/>
              <a:t>Status </a:t>
            </a:r>
          </a:p>
          <a:p>
            <a:r>
              <a:rPr lang="en-GB" dirty="0"/>
              <a:t>Architecture</a:t>
            </a:r>
            <a:endParaRPr lang="en-GB" noProof="0" dirty="0"/>
          </a:p>
          <a:p>
            <a:r>
              <a:rPr lang="en-GB" noProof="0" dirty="0"/>
              <a:t>Annex</a:t>
            </a:r>
          </a:p>
          <a:p>
            <a:pPr marL="800100" lvl="1" indent="-342900">
              <a:buFont typeface="Arial" panose="020B0604020202020204" pitchFamily="34" charset="0"/>
              <a:buChar char="•"/>
            </a:pPr>
            <a:r>
              <a:rPr lang="en-GB" sz="1400" dirty="0">
                <a:solidFill>
                  <a:srgbClr val="3C3C3B"/>
                </a:solidFill>
                <a:latin typeface="Santander Headline" panose="020B0504020201020104" pitchFamily="34" charset="0"/>
              </a:rPr>
              <a:t>FMIS Use Case</a:t>
            </a:r>
          </a:p>
          <a:p>
            <a:pPr marL="800100" lvl="1" indent="-342900">
              <a:buFont typeface="Arial" panose="020B0604020202020204" pitchFamily="34" charset="0"/>
              <a:buChar char="•"/>
            </a:pPr>
            <a:r>
              <a:rPr lang="en-GB" sz="1400" dirty="0">
                <a:solidFill>
                  <a:srgbClr val="3C3C3B"/>
                </a:solidFill>
                <a:latin typeface="Santander Headline" panose="020B0504020201020104" pitchFamily="34" charset="0"/>
              </a:rPr>
              <a:t>SANART Use Case</a:t>
            </a:r>
          </a:p>
          <a:p>
            <a:pPr marL="800100" lvl="1" indent="-342900">
              <a:buFont typeface="Arial" panose="020B0604020202020204" pitchFamily="34" charset="0"/>
              <a:buChar char="•"/>
            </a:pPr>
            <a:r>
              <a:rPr lang="en-GB" sz="1400">
                <a:solidFill>
                  <a:srgbClr val="3C3C3B"/>
                </a:solidFill>
                <a:latin typeface="Santander Headline" panose="020B0504020201020104" pitchFamily="34" charset="0"/>
              </a:rPr>
              <a:t>Agentic Architect Overview</a:t>
            </a:r>
            <a:endParaRPr lang="en-GB" sz="1400" dirty="0">
              <a:solidFill>
                <a:srgbClr val="3C3C3B"/>
              </a:solidFill>
              <a:latin typeface="Santander Headline" panose="020B0504020201020104" pitchFamily="34" charset="0"/>
            </a:endParaRPr>
          </a:p>
          <a:p>
            <a:pPr lvl="1"/>
            <a:r>
              <a:rPr lang="en-GB" noProof="0" dirty="0"/>
              <a:t>	</a:t>
            </a:r>
          </a:p>
          <a:p>
            <a:pPr lvl="1"/>
            <a:r>
              <a:rPr lang="en-GB" dirty="0"/>
              <a:t>	</a:t>
            </a:r>
            <a:endParaRPr lang="en-GB" noProof="0" dirty="0"/>
          </a:p>
        </p:txBody>
      </p:sp>
      <p:sp>
        <p:nvSpPr>
          <p:cNvPr id="4" name="Marcador de texto 3">
            <a:extLst>
              <a:ext uri="{FF2B5EF4-FFF2-40B4-BE49-F238E27FC236}">
                <a16:creationId xmlns:a16="http://schemas.microsoft.com/office/drawing/2014/main" id="{5772FA39-F029-7E89-E70E-01BEC9F9A119}"/>
              </a:ext>
            </a:extLst>
          </p:cNvPr>
          <p:cNvSpPr>
            <a:spLocks noGrp="1"/>
          </p:cNvSpPr>
          <p:nvPr>
            <p:ph type="body" sz="quarter" idx="15"/>
          </p:nvPr>
        </p:nvSpPr>
        <p:spPr/>
        <p:txBody>
          <a:bodyPr/>
          <a:lstStyle/>
          <a:p>
            <a:r>
              <a:rPr lang="en-GB" noProof="0"/>
              <a:t>Index</a:t>
            </a:r>
          </a:p>
        </p:txBody>
      </p:sp>
      <p:pic>
        <p:nvPicPr>
          <p:cNvPr id="5" name="Marcador de posición de imagen 4">
            <a:extLst>
              <a:ext uri="{FF2B5EF4-FFF2-40B4-BE49-F238E27FC236}">
                <a16:creationId xmlns:a16="http://schemas.microsoft.com/office/drawing/2014/main" id="{1E43707A-7C95-EF92-A254-2146708BC8E2}"/>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27592" r="27592"/>
          <a:stretch/>
        </p:blipFill>
        <p:spPr/>
      </p:pic>
      <p:sp>
        <p:nvSpPr>
          <p:cNvPr id="2" name="Text Placeholder 1">
            <a:extLst>
              <a:ext uri="{FF2B5EF4-FFF2-40B4-BE49-F238E27FC236}">
                <a16:creationId xmlns:a16="http://schemas.microsoft.com/office/drawing/2014/main" id="{BB5D9D02-2A09-1EB6-55C7-4A91870ADEFA}"/>
              </a:ext>
            </a:extLst>
          </p:cNvPr>
          <p:cNvSpPr>
            <a:spLocks noGrp="1"/>
          </p:cNvSpPr>
          <p:nvPr>
            <p:ph type="body" sz="quarter" idx="16"/>
          </p:nvPr>
        </p:nvSpPr>
        <p:spPr>
          <a:blipFill>
            <a:blip r:embed="rId3">
              <a:extLst>
                <a:ext uri="{96DAC541-7B7A-43D3-8B79-37D633B846F1}">
                  <asvg:svgBlip xmlns:asvg="http://schemas.microsoft.com/office/drawing/2016/SVG/main" r:embed="rId4"/>
                </a:ext>
              </a:extLst>
            </a:blip>
            <a:stretch>
              <a:fillRect/>
            </a:stretch>
          </a:blipFill>
        </p:spPr>
        <p:txBody>
          <a:bodyPr/>
          <a:lstStyle/>
          <a:p>
            <a:endParaRPr lang="en-GB" noProof="0" dirty="0"/>
          </a:p>
        </p:txBody>
      </p:sp>
      <p:pic>
        <p:nvPicPr>
          <p:cNvPr id="10" name="Imagen 2" descr="NTT Data - Red Seguridad">
            <a:extLst>
              <a:ext uri="{FF2B5EF4-FFF2-40B4-BE49-F238E27FC236}">
                <a16:creationId xmlns:a16="http://schemas.microsoft.com/office/drawing/2014/main" id="{4461C7E8-1B98-08A1-2013-D0E5EA922755}"/>
              </a:ext>
            </a:extLst>
          </p:cNvPr>
          <p:cNvPicPr>
            <a:picLocks noGrp="1" noRot="1" noMove="1" noResize="1" noEditPoints="1" noAdjustHandles="1" noChangeArrowheads="1" noChangeShapeType="1" noCrop="1"/>
          </p:cNvPicPr>
          <p:nvPr/>
        </p:nvPicPr>
        <p:blipFill>
          <a:blip r:embed="rId5"/>
          <a:stretch>
            <a:fillRect/>
          </a:stretch>
        </p:blipFill>
        <p:spPr>
          <a:xfrm>
            <a:off x="3162521" y="5641830"/>
            <a:ext cx="1166998" cy="847775"/>
          </a:xfrm>
          <a:prstGeom prst="rect">
            <a:avLst/>
          </a:prstGeom>
        </p:spPr>
      </p:pic>
      <p:pic>
        <p:nvPicPr>
          <p:cNvPr id="7" name="Picture 6">
            <a:extLst>
              <a:ext uri="{FF2B5EF4-FFF2-40B4-BE49-F238E27FC236}">
                <a16:creationId xmlns:a16="http://schemas.microsoft.com/office/drawing/2014/main" id="{19D859CA-3136-F58A-284B-E8DC72651796}"/>
              </a:ext>
            </a:extLst>
          </p:cNvPr>
          <p:cNvPicPr>
            <a:picLocks noChangeAspect="1"/>
          </p:cNvPicPr>
          <p:nvPr/>
        </p:nvPicPr>
        <p:blipFill>
          <a:blip r:embed="rId6"/>
          <a:srcRect r="22480"/>
          <a:stretch>
            <a:fillRect/>
          </a:stretch>
        </p:blipFill>
        <p:spPr>
          <a:xfrm>
            <a:off x="1298729" y="5871470"/>
            <a:ext cx="1610515" cy="388493"/>
          </a:xfrm>
          <a:prstGeom prst="rect">
            <a:avLst/>
          </a:prstGeom>
        </p:spPr>
      </p:pic>
    </p:spTree>
    <p:extLst>
      <p:ext uri="{BB962C8B-B14F-4D97-AF65-F5344CB8AC3E}">
        <p14:creationId xmlns:p14="http://schemas.microsoft.com/office/powerpoint/2010/main" val="25669423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A81B3806-7BA3-38B6-B1C4-F93A9E903DFB}"/>
              </a:ext>
            </a:extLst>
          </p:cNvPr>
          <p:cNvPicPr>
            <a:picLocks noChangeAspect="1"/>
          </p:cNvPicPr>
          <p:nvPr/>
        </p:nvPicPr>
        <p:blipFill>
          <a:blip r:embed="rId2"/>
          <a:srcRect l="351" t="3470" r="1256" b="1643"/>
          <a:stretch>
            <a:fillRect/>
          </a:stretch>
        </p:blipFill>
        <p:spPr>
          <a:xfrm>
            <a:off x="828675" y="771525"/>
            <a:ext cx="4667250" cy="2612230"/>
          </a:xfrm>
          <a:prstGeom prst="roundRect">
            <a:avLst/>
          </a:prstGeom>
        </p:spPr>
      </p:pic>
      <p:sp>
        <p:nvSpPr>
          <p:cNvPr id="11" name="CuadroTexto 11">
            <a:extLst>
              <a:ext uri="{FF2B5EF4-FFF2-40B4-BE49-F238E27FC236}">
                <a16:creationId xmlns:a16="http://schemas.microsoft.com/office/drawing/2014/main" id="{CAFC02AF-53A2-8FD2-D7C5-C792925EDFB0}"/>
              </a:ext>
            </a:extLst>
          </p:cNvPr>
          <p:cNvSpPr txBox="1"/>
          <p:nvPr/>
        </p:nvSpPr>
        <p:spPr>
          <a:xfrm>
            <a:off x="7181105" y="3765509"/>
            <a:ext cx="4477495" cy="2969832"/>
          </a:xfrm>
          <a:prstGeom prst="rect">
            <a:avLst/>
          </a:prstGeom>
          <a:solidFill>
            <a:srgbClr val="F2F2F2"/>
          </a:solidFill>
          <a:ln w="9525" cap="flat" cmpd="sng" algn="ctr">
            <a:noFill/>
            <a:prstDash val="dash"/>
          </a:ln>
          <a:effectLst/>
        </p:spPr>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Santander Text" panose="020B0504020201020104"/>
                <a:ea typeface="+mn-ea"/>
                <a:cs typeface="+mn-cs"/>
              </a:rPr>
              <a:t>Consolidate data received from the </a:t>
            </a:r>
            <a:r>
              <a:rPr kumimoji="0" lang="en-US" sz="1400" b="1" i="0" u="none" strike="noStrike" kern="1200" cap="none" spc="0" normalizeH="0" baseline="0" noProof="0">
                <a:ln>
                  <a:noFill/>
                </a:ln>
                <a:solidFill>
                  <a:srgbClr val="000000"/>
                </a:solidFill>
                <a:effectLst/>
                <a:uLnTx/>
                <a:uFillTx/>
                <a:latin typeface="Santander Text" panose="020B0504020201020104"/>
                <a:ea typeface="+mn-ea"/>
                <a:cs typeface="+mn-cs"/>
              </a:rPr>
              <a:t>INFORMATION RETRIEVAL AGENT.</a:t>
            </a:r>
          </a:p>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Santander Text" panose="020B0504020201020104"/>
                <a:ea typeface="+mn-ea"/>
                <a:cs typeface="+mn-cs"/>
              </a:rPr>
              <a:t>Compare current TTI results against historical trends or expected patterns.</a:t>
            </a:r>
          </a:p>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Santander Text" panose="020B0504020201020104"/>
                <a:ea typeface="+mn-ea"/>
                <a:cs typeface="+mn-cs"/>
              </a:rPr>
              <a:t>Identify deviations, anomalies, or irregular variations.</a:t>
            </a:r>
          </a:p>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Santander Text" panose="020B0504020201020104"/>
                <a:ea typeface="+mn-ea"/>
                <a:cs typeface="+mn-cs"/>
              </a:rPr>
              <a:t>Produce a clear explanation of potential root causes.</a:t>
            </a:r>
          </a:p>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Santander Text" panose="020B0504020201020104"/>
                <a:ea typeface="+mn-ea"/>
                <a:cs typeface="+mn-cs"/>
              </a:rPr>
              <a:t>Structure the analysis so it can be consumed by the </a:t>
            </a:r>
            <a:r>
              <a:rPr kumimoji="0" lang="en-US" sz="1400" b="1" i="0" u="none" strike="noStrike" kern="1200" cap="none" spc="0" normalizeH="0" baseline="0" noProof="0">
                <a:ln>
                  <a:noFill/>
                </a:ln>
                <a:solidFill>
                  <a:srgbClr val="000000"/>
                </a:solidFill>
                <a:effectLst/>
                <a:uLnTx/>
                <a:uFillTx/>
                <a:latin typeface="Santander Text" panose="020B0504020201020104"/>
                <a:ea typeface="+mn-ea"/>
                <a:cs typeface="+mn-cs"/>
              </a:rPr>
              <a:t>VALIDATION AGENT</a:t>
            </a:r>
            <a:r>
              <a:rPr kumimoji="0" lang="en-US" sz="800" b="1" i="0" u="none" strike="noStrike" kern="1200" cap="none" spc="0" normalizeH="0" baseline="0" noProof="0">
                <a:ln>
                  <a:noFill/>
                </a:ln>
                <a:solidFill>
                  <a:srgbClr val="000000"/>
                </a:solidFill>
                <a:effectLst/>
                <a:uLnTx/>
                <a:uFillTx/>
                <a:latin typeface="Santander Text" panose="020B0504020201020104"/>
                <a:ea typeface="+mn-ea"/>
                <a:cs typeface="+mn-cs"/>
              </a:rPr>
              <a:t>.</a:t>
            </a:r>
          </a:p>
        </p:txBody>
      </p:sp>
      <p:sp>
        <p:nvSpPr>
          <p:cNvPr id="13" name="Rectángulo 3">
            <a:extLst>
              <a:ext uri="{FF2B5EF4-FFF2-40B4-BE49-F238E27FC236}">
                <a16:creationId xmlns:a16="http://schemas.microsoft.com/office/drawing/2014/main" id="{DE926E31-A54D-70AA-93AB-DF5217061565}"/>
              </a:ext>
            </a:extLst>
          </p:cNvPr>
          <p:cNvSpPr/>
          <p:nvPr/>
        </p:nvSpPr>
        <p:spPr>
          <a:xfrm>
            <a:off x="7181105" y="3537611"/>
            <a:ext cx="4477495" cy="22789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ANALYSIS AGENT TASKS</a:t>
            </a:r>
          </a:p>
        </p:txBody>
      </p:sp>
      <p:sp>
        <p:nvSpPr>
          <p:cNvPr id="14" name="CuadroTexto 11">
            <a:extLst>
              <a:ext uri="{FF2B5EF4-FFF2-40B4-BE49-F238E27FC236}">
                <a16:creationId xmlns:a16="http://schemas.microsoft.com/office/drawing/2014/main" id="{7907E189-06F2-0169-1738-CD20F50FD3C1}"/>
              </a:ext>
            </a:extLst>
          </p:cNvPr>
          <p:cNvSpPr txBox="1"/>
          <p:nvPr/>
        </p:nvSpPr>
        <p:spPr>
          <a:xfrm>
            <a:off x="925605" y="3765509"/>
            <a:ext cx="4477495" cy="2969832"/>
          </a:xfrm>
          <a:prstGeom prst="rect">
            <a:avLst/>
          </a:prstGeom>
          <a:solidFill>
            <a:srgbClr val="F2F2F2"/>
          </a:solidFill>
          <a:ln w="9525" cap="flat" cmpd="sng" algn="ctr">
            <a:noFill/>
            <a:prstDash val="dash"/>
          </a:ln>
          <a:effectLst/>
        </p:spPr>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Santander Text" panose="020B0504020201020104"/>
                <a:ea typeface="+mn-ea"/>
                <a:cs typeface="+mn-cs"/>
              </a:rPr>
              <a:t>Connect to designated FMIS data sources.</a:t>
            </a:r>
          </a:p>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Santander Text" panose="020B0504020201020104"/>
                <a:ea typeface="+mn-ea"/>
                <a:cs typeface="+mn-cs"/>
              </a:rPr>
              <a:t>Retrieve the current TTI results associated with the incoming notification.</a:t>
            </a:r>
          </a:p>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Santander Text" panose="020B0504020201020104"/>
                <a:ea typeface="+mn-ea"/>
                <a:cs typeface="+mn-cs"/>
              </a:rPr>
              <a:t>Retrieve historical TTI data needed for comparative analysis.</a:t>
            </a:r>
          </a:p>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Santander Text" panose="020B0504020201020104"/>
                <a:ea typeface="+mn-ea"/>
                <a:cs typeface="+mn-cs"/>
              </a:rPr>
              <a:t>Return all collected data in a structured format ready for downstream processing.</a:t>
            </a:r>
          </a:p>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Santander Text" panose="020B0504020201020104"/>
                <a:ea typeface="+mn-ea"/>
                <a:cs typeface="+mn-cs"/>
              </a:rPr>
              <a:t>Identify missing or inconsistent data and flag it when necessary.</a:t>
            </a:r>
            <a:endParaRPr kumimoji="0" lang="en-GB" sz="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15" name="Rectángulo 3">
            <a:extLst>
              <a:ext uri="{FF2B5EF4-FFF2-40B4-BE49-F238E27FC236}">
                <a16:creationId xmlns:a16="http://schemas.microsoft.com/office/drawing/2014/main" id="{1C2172F5-7FEE-8AD2-9350-C7395415A557}"/>
              </a:ext>
            </a:extLst>
          </p:cNvPr>
          <p:cNvSpPr/>
          <p:nvPr/>
        </p:nvSpPr>
        <p:spPr>
          <a:xfrm>
            <a:off x="923552" y="3537612"/>
            <a:ext cx="4477495" cy="22789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RETRIEVAL AGENT TASKS</a:t>
            </a:r>
          </a:p>
        </p:txBody>
      </p:sp>
      <p:sp>
        <p:nvSpPr>
          <p:cNvPr id="16" name="Text Placeholder 3">
            <a:extLst>
              <a:ext uri="{FF2B5EF4-FFF2-40B4-BE49-F238E27FC236}">
                <a16:creationId xmlns:a16="http://schemas.microsoft.com/office/drawing/2014/main" id="{976F29AE-1FE5-4AAE-58D4-EF47F625D242}"/>
              </a:ext>
            </a:extLst>
          </p:cNvPr>
          <p:cNvSpPr txBox="1">
            <a:spLocks/>
          </p:cNvSpPr>
          <p:nvPr/>
        </p:nvSpPr>
        <p:spPr>
          <a:xfrm>
            <a:off x="354840" y="201563"/>
            <a:ext cx="3153427" cy="276999"/>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000" b="0" i="0" u="none" strike="noStrike" kern="1200" cap="none" spc="0" normalizeH="0" baseline="0" noProof="0">
                <a:ln>
                  <a:noFill/>
                </a:ln>
                <a:solidFill>
                  <a:srgbClr val="F14949"/>
                </a:solidFill>
                <a:effectLst/>
                <a:uLnTx/>
                <a:uFillTx/>
                <a:latin typeface="Santander Headline" panose="020B0504020201020104"/>
                <a:ea typeface="+mn-ea"/>
                <a:cs typeface="+mn-cs"/>
              </a:rPr>
              <a:t>Agent Flow to check FMIS TTIs</a:t>
            </a:r>
          </a:p>
        </p:txBody>
      </p:sp>
      <p:sp>
        <p:nvSpPr>
          <p:cNvPr id="17" name="CuadroTexto 2">
            <a:extLst>
              <a:ext uri="{FF2B5EF4-FFF2-40B4-BE49-F238E27FC236}">
                <a16:creationId xmlns:a16="http://schemas.microsoft.com/office/drawing/2014/main" id="{114DCB8D-533F-A9EC-C4BC-79DDBF899BF4}"/>
              </a:ext>
            </a:extLst>
          </p:cNvPr>
          <p:cNvSpPr txBox="1"/>
          <p:nvPr/>
        </p:nvSpPr>
        <p:spPr>
          <a:xfrm>
            <a:off x="292879" y="424191"/>
            <a:ext cx="535086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14949"/>
                </a:solidFill>
                <a:effectLst/>
                <a:uLnTx/>
                <a:uFillTx/>
                <a:latin typeface="Santander Headline" panose="020B0504020201020104"/>
                <a:ea typeface="+mn-ea"/>
                <a:cs typeface="Arial"/>
              </a:rPr>
              <a:t>Retrieval Agent and Analysis Agent</a:t>
            </a:r>
            <a:endParaRPr kumimoji="0" lang="en-GB" sz="1200" b="0" i="0" u="none" strike="noStrike" kern="1200" cap="none" spc="0" normalizeH="0" baseline="0" noProof="0">
              <a:ln>
                <a:noFill/>
              </a:ln>
              <a:solidFill>
                <a:srgbClr val="F14949"/>
              </a:solidFill>
              <a:effectLst/>
              <a:uLnTx/>
              <a:uFillTx/>
              <a:latin typeface="Santander Headline" panose="020B0504020201020104"/>
              <a:ea typeface="+mn-ea"/>
              <a:cs typeface="+mn-cs"/>
            </a:endParaRPr>
          </a:p>
        </p:txBody>
      </p:sp>
      <p:pic>
        <p:nvPicPr>
          <p:cNvPr id="19" name="Imagen 18">
            <a:extLst>
              <a:ext uri="{FF2B5EF4-FFF2-40B4-BE49-F238E27FC236}">
                <a16:creationId xmlns:a16="http://schemas.microsoft.com/office/drawing/2014/main" id="{0CD76B4F-656B-66AD-7FE0-9168C3FFF2EE}"/>
              </a:ext>
            </a:extLst>
          </p:cNvPr>
          <p:cNvPicPr>
            <a:picLocks noChangeAspect="1"/>
          </p:cNvPicPr>
          <p:nvPr/>
        </p:nvPicPr>
        <p:blipFill>
          <a:blip r:embed="rId3"/>
          <a:srcRect l="1154" t="619" b="1"/>
          <a:stretch>
            <a:fillRect/>
          </a:stretch>
        </p:blipFill>
        <p:spPr>
          <a:xfrm>
            <a:off x="7310063" y="859631"/>
            <a:ext cx="4219576" cy="2462212"/>
          </a:xfrm>
          <a:prstGeom prst="roundRect">
            <a:avLst/>
          </a:prstGeom>
        </p:spPr>
      </p:pic>
      <p:pic>
        <p:nvPicPr>
          <p:cNvPr id="2" name="Imagen 2" descr="NTT Data - Red Seguridad">
            <a:extLst>
              <a:ext uri="{FF2B5EF4-FFF2-40B4-BE49-F238E27FC236}">
                <a16:creationId xmlns:a16="http://schemas.microsoft.com/office/drawing/2014/main" id="{D5D2975D-02BE-799B-7707-B27C8F7F2E25}"/>
              </a:ext>
            </a:extLst>
          </p:cNvPr>
          <p:cNvPicPr>
            <a:picLocks noChangeAspect="1"/>
          </p:cNvPicPr>
          <p:nvPr/>
        </p:nvPicPr>
        <p:blipFill>
          <a:blip r:embed="rId4"/>
          <a:stretch>
            <a:fillRect/>
          </a:stretch>
        </p:blipFill>
        <p:spPr>
          <a:xfrm>
            <a:off x="10881313" y="-202669"/>
            <a:ext cx="1166998" cy="847775"/>
          </a:xfrm>
          <a:prstGeom prst="rect">
            <a:avLst/>
          </a:prstGeom>
        </p:spPr>
      </p:pic>
      <p:pic>
        <p:nvPicPr>
          <p:cNvPr id="4" name="Picture 3">
            <a:extLst>
              <a:ext uri="{FF2B5EF4-FFF2-40B4-BE49-F238E27FC236}">
                <a16:creationId xmlns:a16="http://schemas.microsoft.com/office/drawing/2014/main" id="{763EF063-A304-BC93-E4DD-442BB1B21334}"/>
              </a:ext>
            </a:extLst>
          </p:cNvPr>
          <p:cNvPicPr>
            <a:picLocks noChangeAspect="1"/>
          </p:cNvPicPr>
          <p:nvPr/>
        </p:nvPicPr>
        <p:blipFill>
          <a:blip r:embed="rId5"/>
          <a:srcRect r="22480"/>
          <a:stretch>
            <a:fillRect/>
          </a:stretch>
        </p:blipFill>
        <p:spPr>
          <a:xfrm>
            <a:off x="9081410" y="32335"/>
            <a:ext cx="1610515" cy="388493"/>
          </a:xfrm>
          <a:prstGeom prst="rect">
            <a:avLst/>
          </a:prstGeom>
        </p:spPr>
      </p:pic>
      <p:sp>
        <p:nvSpPr>
          <p:cNvPr id="5" name="TextBox 4">
            <a:extLst>
              <a:ext uri="{FF2B5EF4-FFF2-40B4-BE49-F238E27FC236}">
                <a16:creationId xmlns:a16="http://schemas.microsoft.com/office/drawing/2014/main" id="{AA79663D-1034-4024-24D8-D1B4A077507D}"/>
              </a:ext>
            </a:extLst>
          </p:cNvPr>
          <p:cNvSpPr txBox="1"/>
          <p:nvPr/>
        </p:nvSpPr>
        <p:spPr>
          <a:xfrm rot="1149828">
            <a:off x="10766862" y="575933"/>
            <a:ext cx="1395901" cy="276999"/>
          </a:xfrm>
          <a:prstGeom prst="rect">
            <a:avLst/>
          </a:prstGeom>
          <a:solidFill>
            <a:srgbClr val="FFFF00"/>
          </a:solidFill>
        </p:spPr>
        <p:txBody>
          <a:bodyPr wrap="square">
            <a:spAutoFit/>
          </a:bodyPr>
          <a:lstStyle/>
          <a:p>
            <a:r>
              <a:rPr lang="es-ES" sz="1200" b="1" dirty="0"/>
              <a:t>WORKING DRAFT</a:t>
            </a:r>
          </a:p>
        </p:txBody>
      </p:sp>
    </p:spTree>
    <p:extLst>
      <p:ext uri="{BB962C8B-B14F-4D97-AF65-F5344CB8AC3E}">
        <p14:creationId xmlns:p14="http://schemas.microsoft.com/office/powerpoint/2010/main" val="27266404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168FF-0D4F-8E0C-4F1D-8F27B3AC292C}"/>
            </a:ext>
          </a:extLst>
        </p:cNvPr>
        <p:cNvGrpSpPr/>
        <p:nvPr/>
      </p:nvGrpSpPr>
      <p:grpSpPr>
        <a:xfrm>
          <a:off x="0" y="0"/>
          <a:ext cx="0" cy="0"/>
          <a:chOff x="0" y="0"/>
          <a:chExt cx="0" cy="0"/>
        </a:xfrm>
      </p:grpSpPr>
      <p:sp>
        <p:nvSpPr>
          <p:cNvPr id="11" name="CuadroTexto 11">
            <a:extLst>
              <a:ext uri="{FF2B5EF4-FFF2-40B4-BE49-F238E27FC236}">
                <a16:creationId xmlns:a16="http://schemas.microsoft.com/office/drawing/2014/main" id="{2AE2F5D0-FBA3-44EF-7F71-ACACACEE5F45}"/>
              </a:ext>
            </a:extLst>
          </p:cNvPr>
          <p:cNvSpPr txBox="1"/>
          <p:nvPr/>
        </p:nvSpPr>
        <p:spPr>
          <a:xfrm>
            <a:off x="7181105" y="3765509"/>
            <a:ext cx="4477495" cy="2969832"/>
          </a:xfrm>
          <a:prstGeom prst="rect">
            <a:avLst/>
          </a:prstGeom>
          <a:solidFill>
            <a:srgbClr val="F2F2F2"/>
          </a:solidFill>
          <a:ln w="9525" cap="flat" cmpd="sng" algn="ctr">
            <a:noFill/>
            <a:prstDash val="dash"/>
          </a:ln>
          <a:effectLst/>
        </p:spPr>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Santander Text" panose="020B0504020201020104"/>
                <a:ea typeface="+mn-ea"/>
                <a:cs typeface="+mn-cs"/>
              </a:rPr>
              <a:t>Receive validated results, analysis, and contextual metadata.</a:t>
            </a:r>
          </a:p>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Santander Text" panose="020B0504020201020104"/>
                <a:ea typeface="+mn-ea"/>
                <a:cs typeface="+mn-cs"/>
              </a:rPr>
              <a:t>Store the information in the designated FMIS storage layer.</a:t>
            </a:r>
          </a:p>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Santander Text" panose="020B0504020201020104"/>
                <a:ea typeface="+mn-ea"/>
                <a:cs typeface="+mn-cs"/>
              </a:rPr>
              <a:t>Ensure traceability for audit and reporting.</a:t>
            </a:r>
          </a:p>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Santander Text" panose="020B0504020201020104"/>
                <a:ea typeface="+mn-ea"/>
                <a:cs typeface="+mn-cs"/>
              </a:rPr>
              <a:t>Confirm successful persistence.</a:t>
            </a:r>
          </a:p>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endParaRPr kumimoji="0" lang="en-US" sz="800" b="0" i="0" u="none" strike="noStrike" kern="1200" cap="none" spc="0" normalizeH="0" baseline="0" noProof="0">
              <a:ln>
                <a:noFill/>
              </a:ln>
              <a:solidFill>
                <a:srgbClr val="000000"/>
              </a:solidFill>
              <a:effectLst/>
              <a:uLnTx/>
              <a:uFillTx/>
              <a:latin typeface="Santander Text" panose="020B0504020201020104"/>
              <a:ea typeface="+mn-ea"/>
              <a:cs typeface="+mn-cs"/>
            </a:endParaRPr>
          </a:p>
        </p:txBody>
      </p:sp>
      <p:sp>
        <p:nvSpPr>
          <p:cNvPr id="13" name="Rectángulo 3">
            <a:extLst>
              <a:ext uri="{FF2B5EF4-FFF2-40B4-BE49-F238E27FC236}">
                <a16:creationId xmlns:a16="http://schemas.microsoft.com/office/drawing/2014/main" id="{3089973C-4CE5-6263-AE31-F95B1BAEF3FE}"/>
              </a:ext>
            </a:extLst>
          </p:cNvPr>
          <p:cNvSpPr/>
          <p:nvPr/>
        </p:nvSpPr>
        <p:spPr>
          <a:xfrm>
            <a:off x="7181104" y="3537612"/>
            <a:ext cx="4477495" cy="22789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RESPONSE AGENT TASKS</a:t>
            </a:r>
          </a:p>
        </p:txBody>
      </p:sp>
      <p:sp>
        <p:nvSpPr>
          <p:cNvPr id="14" name="CuadroTexto 11">
            <a:extLst>
              <a:ext uri="{FF2B5EF4-FFF2-40B4-BE49-F238E27FC236}">
                <a16:creationId xmlns:a16="http://schemas.microsoft.com/office/drawing/2014/main" id="{6C8ABDFE-5633-8230-E356-5EE55058F1AA}"/>
              </a:ext>
            </a:extLst>
          </p:cNvPr>
          <p:cNvSpPr txBox="1"/>
          <p:nvPr/>
        </p:nvSpPr>
        <p:spPr>
          <a:xfrm>
            <a:off x="925605" y="3765509"/>
            <a:ext cx="4477495" cy="2969832"/>
          </a:xfrm>
          <a:prstGeom prst="rect">
            <a:avLst/>
          </a:prstGeom>
          <a:solidFill>
            <a:srgbClr val="F2F2F2"/>
          </a:solidFill>
          <a:ln w="9525" cap="flat" cmpd="sng" algn="ctr">
            <a:noFill/>
            <a:prstDash val="dash"/>
          </a:ln>
          <a:effectLst/>
        </p:spPr>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Santander Text" panose="020B0504020201020104"/>
                <a:ea typeface="+mn-ea"/>
                <a:cs typeface="+mn-cs"/>
              </a:rPr>
              <a:t>Evaluate the consolidated data and root-cause analysis.</a:t>
            </a:r>
          </a:p>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Santander Text" panose="020B0504020201020104"/>
                <a:ea typeface="+mn-ea"/>
                <a:cs typeface="+mn-cs"/>
              </a:rPr>
              <a:t>Determine if results are consistent with FMIS rules, decision trees, and  historical behavior.</a:t>
            </a:r>
          </a:p>
          <a:p>
            <a:pPr marL="342900" marR="0" lvl="0" indent="-342900" algn="just" defTabSz="914400" rtl="0" eaLnBrk="1" fontAlgn="auto" latinLnBrk="0" hangingPunct="1">
              <a:lnSpc>
                <a:spcPct val="15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Santander Text" panose="020B0504020201020104"/>
                <a:ea typeface="+mn-ea"/>
                <a:cs typeface="+mn-cs"/>
              </a:rPr>
              <a:t>If inconsistent, determine which step must be repeated:</a:t>
            </a:r>
          </a:p>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antander Text" panose="020B0504020201020104"/>
                <a:ea typeface="+mn-ea"/>
                <a:cs typeface="+mn-cs"/>
              </a:rPr>
              <a:t>   - Data retrieval</a:t>
            </a:r>
          </a:p>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antander Text" panose="020B0504020201020104"/>
                <a:ea typeface="+mn-ea"/>
                <a:cs typeface="+mn-cs"/>
              </a:rPr>
              <a:t>   - Consolidation and analysis</a:t>
            </a:r>
          </a:p>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antander Text" panose="020B0504020201020104"/>
                <a:ea typeface="+mn-ea"/>
                <a:cs typeface="+mn-cs"/>
              </a:rPr>
              <a:t>   - Full cycle restart</a:t>
            </a:r>
          </a:p>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antander Text" panose="020B0504020201020104"/>
                <a:ea typeface="+mn-ea"/>
                <a:cs typeface="+mn-cs"/>
              </a:rPr>
              <a:t>4. If consistent, return a “Validation Passed” signal.</a:t>
            </a:r>
            <a:endParaRPr kumimoji="0" lang="en-GB" sz="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15" name="Rectángulo 3">
            <a:extLst>
              <a:ext uri="{FF2B5EF4-FFF2-40B4-BE49-F238E27FC236}">
                <a16:creationId xmlns:a16="http://schemas.microsoft.com/office/drawing/2014/main" id="{0AA61E4A-C910-31E0-CA90-9AEDD8E6C064}"/>
              </a:ext>
            </a:extLst>
          </p:cNvPr>
          <p:cNvSpPr/>
          <p:nvPr/>
        </p:nvSpPr>
        <p:spPr>
          <a:xfrm>
            <a:off x="925604" y="3537612"/>
            <a:ext cx="4477495" cy="22789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VALIDATION AGENT TASKS</a:t>
            </a:r>
          </a:p>
        </p:txBody>
      </p:sp>
      <p:sp>
        <p:nvSpPr>
          <p:cNvPr id="16" name="Text Placeholder 3">
            <a:extLst>
              <a:ext uri="{FF2B5EF4-FFF2-40B4-BE49-F238E27FC236}">
                <a16:creationId xmlns:a16="http://schemas.microsoft.com/office/drawing/2014/main" id="{0D92DF99-2192-CBC2-544A-B0C5C0DD2073}"/>
              </a:ext>
            </a:extLst>
          </p:cNvPr>
          <p:cNvSpPr txBox="1">
            <a:spLocks/>
          </p:cNvSpPr>
          <p:nvPr/>
        </p:nvSpPr>
        <p:spPr>
          <a:xfrm>
            <a:off x="354840" y="201563"/>
            <a:ext cx="3153427" cy="276999"/>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000" b="0" i="0" u="none" strike="noStrike" kern="1200" cap="none" spc="0" normalizeH="0" baseline="0" noProof="0" dirty="0">
                <a:ln>
                  <a:noFill/>
                </a:ln>
                <a:solidFill>
                  <a:srgbClr val="F14949"/>
                </a:solidFill>
                <a:effectLst/>
                <a:uLnTx/>
                <a:uFillTx/>
                <a:latin typeface="Santander Headline" panose="020B0504020201020104"/>
                <a:ea typeface="+mn-ea"/>
                <a:cs typeface="+mn-cs"/>
              </a:rPr>
              <a:t>Agent Flow to check FMIS TTIs</a:t>
            </a:r>
          </a:p>
        </p:txBody>
      </p:sp>
      <p:sp>
        <p:nvSpPr>
          <p:cNvPr id="17" name="CuadroTexto 2">
            <a:extLst>
              <a:ext uri="{FF2B5EF4-FFF2-40B4-BE49-F238E27FC236}">
                <a16:creationId xmlns:a16="http://schemas.microsoft.com/office/drawing/2014/main" id="{A1DA03C9-9250-0926-969D-CB34AB1346B3}"/>
              </a:ext>
            </a:extLst>
          </p:cNvPr>
          <p:cNvSpPr txBox="1"/>
          <p:nvPr/>
        </p:nvSpPr>
        <p:spPr>
          <a:xfrm>
            <a:off x="292879" y="424191"/>
            <a:ext cx="535086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14949"/>
                </a:solidFill>
                <a:effectLst/>
                <a:uLnTx/>
                <a:uFillTx/>
                <a:latin typeface="Santander Headline" panose="020B0504020201020104"/>
                <a:ea typeface="+mn-ea"/>
                <a:cs typeface="Arial"/>
              </a:rPr>
              <a:t>Validation Agent and Analysis Agent</a:t>
            </a:r>
            <a:endParaRPr kumimoji="0" lang="en-GB" sz="1200" b="0" i="0" u="none" strike="noStrike" kern="1200" cap="none" spc="0" normalizeH="0" baseline="0" noProof="0">
              <a:ln>
                <a:noFill/>
              </a:ln>
              <a:solidFill>
                <a:srgbClr val="F14949"/>
              </a:solidFill>
              <a:effectLst/>
              <a:uLnTx/>
              <a:uFillTx/>
              <a:latin typeface="Santander Headline" panose="020B0504020201020104"/>
              <a:ea typeface="+mn-ea"/>
              <a:cs typeface="+mn-cs"/>
            </a:endParaRPr>
          </a:p>
        </p:txBody>
      </p:sp>
      <p:pic>
        <p:nvPicPr>
          <p:cNvPr id="2" name="Imagen 1">
            <a:extLst>
              <a:ext uri="{FF2B5EF4-FFF2-40B4-BE49-F238E27FC236}">
                <a16:creationId xmlns:a16="http://schemas.microsoft.com/office/drawing/2014/main" id="{0FACC2D1-B803-853F-9E8F-16C581CEE02F}"/>
              </a:ext>
            </a:extLst>
          </p:cNvPr>
          <p:cNvPicPr>
            <a:picLocks noChangeAspect="1"/>
          </p:cNvPicPr>
          <p:nvPr/>
        </p:nvPicPr>
        <p:blipFill>
          <a:blip r:embed="rId2"/>
          <a:srcRect l="5438" t="5217" r="1451" b="2346"/>
          <a:stretch>
            <a:fillRect/>
          </a:stretch>
        </p:blipFill>
        <p:spPr>
          <a:xfrm>
            <a:off x="1215276" y="859631"/>
            <a:ext cx="3794345" cy="2460757"/>
          </a:xfrm>
          <a:prstGeom prst="roundRect">
            <a:avLst/>
          </a:prstGeom>
        </p:spPr>
      </p:pic>
      <p:pic>
        <p:nvPicPr>
          <p:cNvPr id="18" name="Imagen 17">
            <a:extLst>
              <a:ext uri="{FF2B5EF4-FFF2-40B4-BE49-F238E27FC236}">
                <a16:creationId xmlns:a16="http://schemas.microsoft.com/office/drawing/2014/main" id="{04F8546D-B074-E44F-04AA-99C7E82B654E}"/>
              </a:ext>
            </a:extLst>
          </p:cNvPr>
          <p:cNvPicPr>
            <a:picLocks noChangeAspect="1"/>
          </p:cNvPicPr>
          <p:nvPr/>
        </p:nvPicPr>
        <p:blipFill>
          <a:blip r:embed="rId3"/>
          <a:srcRect l="1760" t="3143" r="2778" b="2465"/>
          <a:stretch>
            <a:fillRect/>
          </a:stretch>
        </p:blipFill>
        <p:spPr>
          <a:xfrm>
            <a:off x="7568056" y="736732"/>
            <a:ext cx="3683350" cy="2583656"/>
          </a:xfrm>
          <a:prstGeom prst="roundRect">
            <a:avLst/>
          </a:prstGeom>
        </p:spPr>
      </p:pic>
      <p:pic>
        <p:nvPicPr>
          <p:cNvPr id="3" name="Imagen 2" descr="NTT Data - Red Seguridad">
            <a:extLst>
              <a:ext uri="{FF2B5EF4-FFF2-40B4-BE49-F238E27FC236}">
                <a16:creationId xmlns:a16="http://schemas.microsoft.com/office/drawing/2014/main" id="{E0D81AA6-4CD8-9F25-A73F-7F9612EB35B5}"/>
              </a:ext>
            </a:extLst>
          </p:cNvPr>
          <p:cNvPicPr>
            <a:picLocks noChangeAspect="1"/>
          </p:cNvPicPr>
          <p:nvPr/>
        </p:nvPicPr>
        <p:blipFill>
          <a:blip r:embed="rId4"/>
          <a:stretch>
            <a:fillRect/>
          </a:stretch>
        </p:blipFill>
        <p:spPr>
          <a:xfrm>
            <a:off x="10881313" y="-202669"/>
            <a:ext cx="1166998" cy="847775"/>
          </a:xfrm>
          <a:prstGeom prst="rect">
            <a:avLst/>
          </a:prstGeom>
        </p:spPr>
      </p:pic>
      <p:pic>
        <p:nvPicPr>
          <p:cNvPr id="4" name="Picture 3">
            <a:extLst>
              <a:ext uri="{FF2B5EF4-FFF2-40B4-BE49-F238E27FC236}">
                <a16:creationId xmlns:a16="http://schemas.microsoft.com/office/drawing/2014/main" id="{4D1738E1-5846-4113-85C7-5C82534FA361}"/>
              </a:ext>
            </a:extLst>
          </p:cNvPr>
          <p:cNvPicPr>
            <a:picLocks noChangeAspect="1"/>
          </p:cNvPicPr>
          <p:nvPr/>
        </p:nvPicPr>
        <p:blipFill>
          <a:blip r:embed="rId5"/>
          <a:srcRect r="22480"/>
          <a:stretch>
            <a:fillRect/>
          </a:stretch>
        </p:blipFill>
        <p:spPr>
          <a:xfrm>
            <a:off x="9081410" y="32335"/>
            <a:ext cx="1610515" cy="388493"/>
          </a:xfrm>
          <a:prstGeom prst="rect">
            <a:avLst/>
          </a:prstGeom>
        </p:spPr>
      </p:pic>
      <p:sp>
        <p:nvSpPr>
          <p:cNvPr id="5" name="TextBox 4">
            <a:extLst>
              <a:ext uri="{FF2B5EF4-FFF2-40B4-BE49-F238E27FC236}">
                <a16:creationId xmlns:a16="http://schemas.microsoft.com/office/drawing/2014/main" id="{B63AE21C-2556-AA73-6D06-5D76E2EECD13}"/>
              </a:ext>
            </a:extLst>
          </p:cNvPr>
          <p:cNvSpPr txBox="1"/>
          <p:nvPr/>
        </p:nvSpPr>
        <p:spPr>
          <a:xfrm rot="1149828">
            <a:off x="10766862" y="575933"/>
            <a:ext cx="1395901" cy="276999"/>
          </a:xfrm>
          <a:prstGeom prst="rect">
            <a:avLst/>
          </a:prstGeom>
          <a:solidFill>
            <a:srgbClr val="FFFF00"/>
          </a:solidFill>
        </p:spPr>
        <p:txBody>
          <a:bodyPr wrap="square">
            <a:spAutoFit/>
          </a:bodyPr>
          <a:lstStyle/>
          <a:p>
            <a:r>
              <a:rPr lang="es-ES" sz="1200" b="1" dirty="0"/>
              <a:t>WORKING DRAFT</a:t>
            </a:r>
          </a:p>
        </p:txBody>
      </p:sp>
    </p:spTree>
    <p:extLst>
      <p:ext uri="{BB962C8B-B14F-4D97-AF65-F5344CB8AC3E}">
        <p14:creationId xmlns:p14="http://schemas.microsoft.com/office/powerpoint/2010/main" val="3007186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o 3">
            <a:extLst>
              <a:ext uri="{FF2B5EF4-FFF2-40B4-BE49-F238E27FC236}">
                <a16:creationId xmlns:a16="http://schemas.microsoft.com/office/drawing/2014/main" id="{361B8C67-DD91-89CC-97B4-1901B557EF27}"/>
              </a:ext>
            </a:extLst>
          </p:cNvPr>
          <p:cNvGrpSpPr/>
          <p:nvPr/>
        </p:nvGrpSpPr>
        <p:grpSpPr>
          <a:xfrm>
            <a:off x="129601" y="2264102"/>
            <a:ext cx="3085984" cy="2215799"/>
            <a:chOff x="1242434" y="2321719"/>
            <a:chExt cx="3554022" cy="2486025"/>
          </a:xfrm>
        </p:grpSpPr>
        <p:pic>
          <p:nvPicPr>
            <p:cNvPr id="2" name="Imagen 1" descr="Diagrama&#10;&#10;El contenido generado por IA puede ser incorrecto.">
              <a:extLst>
                <a:ext uri="{FF2B5EF4-FFF2-40B4-BE49-F238E27FC236}">
                  <a16:creationId xmlns:a16="http://schemas.microsoft.com/office/drawing/2014/main" id="{EE96CAD6-E393-AC3C-3AB2-52A37784E739}"/>
                </a:ext>
              </a:extLst>
            </p:cNvPr>
            <p:cNvPicPr>
              <a:picLocks noChangeAspect="1"/>
            </p:cNvPicPr>
            <p:nvPr/>
          </p:nvPicPr>
          <p:blipFill>
            <a:blip r:embed="rId2">
              <a:extLst>
                <a:ext uri="{28A0092B-C50C-407E-A947-70E740481C1C}">
                  <a14:useLocalDpi xmlns:a14="http://schemas.microsoft.com/office/drawing/2010/main" val="0"/>
                </a:ext>
              </a:extLst>
            </a:blip>
            <a:srcRect l="14551" t="63750" r="70001"/>
            <a:stretch>
              <a:fillRect/>
            </a:stretch>
          </p:blipFill>
          <p:spPr>
            <a:xfrm>
              <a:off x="2979321" y="2321719"/>
              <a:ext cx="1817135" cy="2486025"/>
            </a:xfrm>
            <a:prstGeom prst="rect">
              <a:avLst/>
            </a:prstGeom>
          </p:spPr>
        </p:pic>
        <p:pic>
          <p:nvPicPr>
            <p:cNvPr id="3" name="Imagen 2" descr="Diagrama&#10;&#10;El contenido generado por IA puede ser incorrecto.">
              <a:extLst>
                <a:ext uri="{FF2B5EF4-FFF2-40B4-BE49-F238E27FC236}">
                  <a16:creationId xmlns:a16="http://schemas.microsoft.com/office/drawing/2014/main" id="{3910385A-C584-1290-2D3A-34D506EBDA87}"/>
                </a:ext>
              </a:extLst>
            </p:cNvPr>
            <p:cNvPicPr>
              <a:picLocks noChangeAspect="1"/>
            </p:cNvPicPr>
            <p:nvPr/>
          </p:nvPicPr>
          <p:blipFill>
            <a:blip r:embed="rId2">
              <a:extLst>
                <a:ext uri="{28A0092B-C50C-407E-A947-70E740481C1C}">
                  <a14:useLocalDpi xmlns:a14="http://schemas.microsoft.com/office/drawing/2010/main" val="0"/>
                </a:ext>
              </a:extLst>
            </a:blip>
            <a:srcRect t="70729" r="82048"/>
            <a:stretch>
              <a:fillRect/>
            </a:stretch>
          </p:blipFill>
          <p:spPr>
            <a:xfrm>
              <a:off x="1242434" y="2800351"/>
              <a:ext cx="2136560" cy="2007393"/>
            </a:xfrm>
            <a:prstGeom prst="rect">
              <a:avLst/>
            </a:prstGeom>
          </p:spPr>
        </p:pic>
      </p:grpSp>
      <p:sp>
        <p:nvSpPr>
          <p:cNvPr id="5" name="CuadroTexto 4">
            <a:extLst>
              <a:ext uri="{FF2B5EF4-FFF2-40B4-BE49-F238E27FC236}">
                <a16:creationId xmlns:a16="http://schemas.microsoft.com/office/drawing/2014/main" id="{439C5EC5-2626-F4DA-44EF-6BB7B513908D}"/>
              </a:ext>
            </a:extLst>
          </p:cNvPr>
          <p:cNvSpPr txBox="1"/>
          <p:nvPr/>
        </p:nvSpPr>
        <p:spPr>
          <a:xfrm>
            <a:off x="20473643" y="759619"/>
            <a:ext cx="7937323" cy="5224764"/>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antander Text" panose="020B0504020201020104"/>
                <a:ea typeface="+mn-ea"/>
                <a:cs typeface="+mn-cs"/>
              </a:rPr>
              <a:t>TOOL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antander Text" panose="020B0504020201020104"/>
                <a:ea typeface="+mn-ea"/>
                <a:cs typeface="+mn-cs"/>
              </a:rPr>
              <a:t>The concept of Tools is becoming increasingly important in the world of agents, as they are capable of transforming unpredictable operations such as LLMs into predictable operations through various operations such as queries to BB.DD., calculation engines, access to APIs, etc.</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antander Text" panose="020B0504020201020104"/>
                <a:ea typeface="+mn-ea"/>
                <a:cs typeface="+mn-cs"/>
              </a:rPr>
              <a:t>We can have two approaches</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antander Text" panose="020B0504020201020104"/>
              <a:ea typeface="+mn-ea"/>
              <a:cs typeface="+mn-cs"/>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antander Text" panose="020B0504020201020104"/>
                <a:ea typeface="+mn-ea"/>
                <a:cs typeface="+mn-cs"/>
              </a:rPr>
              <a:t>MCP Gateway: It is responsible for concentrating and routing requests to different MCP servers to cover functionalities, in a managed and secure way. Here one of the most critical functionalities is access control, since it is not only important to know which agents have permission for which functionalities, but also in the name of which user they are performing the task, and what data that user has access to.</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antander Text" panose="020B0504020201020104"/>
                <a:ea typeface="+mn-ea"/>
                <a:cs typeface="+mn-cs"/>
              </a:rPr>
              <a:t>Atomic functionalities included within the architecture that solves the use case, such as executing code, performing validations or formatting specific outputs for the use case, i.e. functions that are little or not at all reusable</a:t>
            </a:r>
          </a:p>
        </p:txBody>
      </p:sp>
      <p:sp>
        <p:nvSpPr>
          <p:cNvPr id="7" name="CuadroTexto 11">
            <a:extLst>
              <a:ext uri="{FF2B5EF4-FFF2-40B4-BE49-F238E27FC236}">
                <a16:creationId xmlns:a16="http://schemas.microsoft.com/office/drawing/2014/main" id="{76B8364A-F598-7CFE-8E58-5B8FE49ECFBC}"/>
              </a:ext>
            </a:extLst>
          </p:cNvPr>
          <p:cNvSpPr txBox="1"/>
          <p:nvPr/>
        </p:nvSpPr>
        <p:spPr>
          <a:xfrm>
            <a:off x="3697681" y="1724024"/>
            <a:ext cx="8199144" cy="4984783"/>
          </a:xfrm>
          <a:prstGeom prst="rect">
            <a:avLst/>
          </a:prstGeom>
          <a:solidFill>
            <a:srgbClr val="F2F2F2"/>
          </a:solidFill>
          <a:ln w="9525" cap="flat" cmpd="sng" algn="ctr">
            <a:noFill/>
            <a:prstDash val="dash"/>
          </a:ln>
          <a:effectLst/>
        </p:spPr>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antander Text" panose="020B0504020201020104"/>
                <a:ea typeface="+mn-ea"/>
                <a:cs typeface="+mn-cs"/>
              </a:rPr>
              <a:t>The concept of Tools is becoming increasingly important in the world of agents, as they are capable of transforming unpredictable operations such as LLMs into predictable operations through various operations such as queries to BB.DD., calculation engines, access to APIs, etc.</a:t>
            </a:r>
          </a:p>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antander Text" panose="020B0504020201020104"/>
                <a:ea typeface="+mn-ea"/>
                <a:cs typeface="+mn-cs"/>
              </a:rPr>
              <a:t>We can have two approaches</a:t>
            </a: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antander Text" panose="020B0504020201020104"/>
              <a:ea typeface="+mn-ea"/>
              <a:cs typeface="+mn-cs"/>
            </a:endParaRP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Santander Text" panose="020B0504020201020104"/>
                <a:ea typeface="+mn-ea"/>
                <a:cs typeface="+mn-cs"/>
              </a:rPr>
              <a:t>MCP Gateway: It is responsible for concentrating and routing requests to different MCP servers to cover functionalities, in a managed and secure way. Here one of the most critical functionalities is access control, since it is not only important to know which agents have permission for which functionalities, but also in the name of which user they are performing the task, and what data that user has access to.</a:t>
            </a: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Santander Text" panose="020B0504020201020104"/>
                <a:ea typeface="+mn-ea"/>
                <a:cs typeface="+mn-cs"/>
              </a:rPr>
              <a:t>Atomic functionalities included within the architecture that solves the use case, such as executing code, performing validations or formatting specific outputs for the use case, i.e. functions that are little or not at all reusable</a:t>
            </a: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ptos" panose="02110004020202020204"/>
              <a:ea typeface="+mn-ea"/>
              <a:cs typeface="+mn-cs"/>
            </a:endParaRPr>
          </a:p>
        </p:txBody>
      </p:sp>
      <p:sp>
        <p:nvSpPr>
          <p:cNvPr id="8" name="Rectángulo 3">
            <a:extLst>
              <a:ext uri="{FF2B5EF4-FFF2-40B4-BE49-F238E27FC236}">
                <a16:creationId xmlns:a16="http://schemas.microsoft.com/office/drawing/2014/main" id="{5090AF21-24B0-1296-D859-3627BD5F9437}"/>
              </a:ext>
            </a:extLst>
          </p:cNvPr>
          <p:cNvSpPr/>
          <p:nvPr/>
        </p:nvSpPr>
        <p:spPr>
          <a:xfrm>
            <a:off x="3697680" y="1455094"/>
            <a:ext cx="8199144" cy="22789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TOOLS</a:t>
            </a:r>
          </a:p>
        </p:txBody>
      </p:sp>
      <p:sp>
        <p:nvSpPr>
          <p:cNvPr id="9" name="Text Placeholder 3">
            <a:extLst>
              <a:ext uri="{FF2B5EF4-FFF2-40B4-BE49-F238E27FC236}">
                <a16:creationId xmlns:a16="http://schemas.microsoft.com/office/drawing/2014/main" id="{567E7D06-8D9B-78E1-579F-D3A26B3C5E25}"/>
              </a:ext>
            </a:extLst>
          </p:cNvPr>
          <p:cNvSpPr txBox="1">
            <a:spLocks/>
          </p:cNvSpPr>
          <p:nvPr/>
        </p:nvSpPr>
        <p:spPr>
          <a:xfrm>
            <a:off x="354840" y="369094"/>
            <a:ext cx="531877" cy="276999"/>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000" b="0" i="0" u="none" strike="noStrike" kern="1200" cap="none" spc="0" normalizeH="0" baseline="0" noProof="0" dirty="0">
                <a:ln>
                  <a:noFill/>
                </a:ln>
                <a:solidFill>
                  <a:srgbClr val="F14949"/>
                </a:solidFill>
                <a:effectLst/>
                <a:uLnTx/>
                <a:uFillTx/>
                <a:latin typeface="Santander Headline" panose="020B0504020201020104"/>
                <a:ea typeface="+mn-ea"/>
                <a:cs typeface="+mn-cs"/>
              </a:rPr>
              <a:t>Tools</a:t>
            </a:r>
          </a:p>
        </p:txBody>
      </p:sp>
      <p:sp>
        <p:nvSpPr>
          <p:cNvPr id="11" name="Text Placeholder 3">
            <a:extLst>
              <a:ext uri="{FF2B5EF4-FFF2-40B4-BE49-F238E27FC236}">
                <a16:creationId xmlns:a16="http://schemas.microsoft.com/office/drawing/2014/main" id="{93BD2E00-5906-D034-7276-C65765C1C18F}"/>
              </a:ext>
            </a:extLst>
          </p:cNvPr>
          <p:cNvSpPr txBox="1">
            <a:spLocks/>
          </p:cNvSpPr>
          <p:nvPr/>
        </p:nvSpPr>
        <p:spPr>
          <a:xfrm>
            <a:off x="354840" y="122982"/>
            <a:ext cx="3153427" cy="276999"/>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000" b="0" i="0" u="none" strike="noStrike" kern="1200" cap="none" spc="0" normalizeH="0" baseline="0" noProof="0" dirty="0">
                <a:ln>
                  <a:noFill/>
                </a:ln>
                <a:solidFill>
                  <a:srgbClr val="F14949"/>
                </a:solidFill>
                <a:effectLst/>
                <a:uLnTx/>
                <a:uFillTx/>
                <a:latin typeface="Santander Headline" panose="020B0504020201020104"/>
                <a:ea typeface="+mn-ea"/>
                <a:cs typeface="+mn-cs"/>
              </a:rPr>
              <a:t>Agent Flow to check FMIS TTIs</a:t>
            </a:r>
          </a:p>
        </p:txBody>
      </p:sp>
      <p:pic>
        <p:nvPicPr>
          <p:cNvPr id="10" name="Imagen 2" descr="NTT Data - Red Seguridad">
            <a:extLst>
              <a:ext uri="{FF2B5EF4-FFF2-40B4-BE49-F238E27FC236}">
                <a16:creationId xmlns:a16="http://schemas.microsoft.com/office/drawing/2014/main" id="{871DA922-E9F6-9D20-F4B5-C3C6F26C5DCB}"/>
              </a:ext>
            </a:extLst>
          </p:cNvPr>
          <p:cNvPicPr>
            <a:picLocks noChangeAspect="1"/>
          </p:cNvPicPr>
          <p:nvPr/>
        </p:nvPicPr>
        <p:blipFill>
          <a:blip r:embed="rId3"/>
          <a:stretch>
            <a:fillRect/>
          </a:stretch>
        </p:blipFill>
        <p:spPr>
          <a:xfrm>
            <a:off x="10881313" y="-202669"/>
            <a:ext cx="1166998" cy="847775"/>
          </a:xfrm>
          <a:prstGeom prst="rect">
            <a:avLst/>
          </a:prstGeom>
        </p:spPr>
      </p:pic>
      <p:pic>
        <p:nvPicPr>
          <p:cNvPr id="12" name="Picture 11">
            <a:extLst>
              <a:ext uri="{FF2B5EF4-FFF2-40B4-BE49-F238E27FC236}">
                <a16:creationId xmlns:a16="http://schemas.microsoft.com/office/drawing/2014/main" id="{90591A75-342D-D39C-2083-A12374BE7803}"/>
              </a:ext>
            </a:extLst>
          </p:cNvPr>
          <p:cNvPicPr>
            <a:picLocks noChangeAspect="1"/>
          </p:cNvPicPr>
          <p:nvPr/>
        </p:nvPicPr>
        <p:blipFill>
          <a:blip r:embed="rId4"/>
          <a:srcRect r="22480"/>
          <a:stretch>
            <a:fillRect/>
          </a:stretch>
        </p:blipFill>
        <p:spPr>
          <a:xfrm>
            <a:off x="9081410" y="32335"/>
            <a:ext cx="1610515" cy="388493"/>
          </a:xfrm>
          <a:prstGeom prst="rect">
            <a:avLst/>
          </a:prstGeom>
        </p:spPr>
      </p:pic>
      <p:sp>
        <p:nvSpPr>
          <p:cNvPr id="6" name="TextBox 5">
            <a:extLst>
              <a:ext uri="{FF2B5EF4-FFF2-40B4-BE49-F238E27FC236}">
                <a16:creationId xmlns:a16="http://schemas.microsoft.com/office/drawing/2014/main" id="{0A381EFC-A60A-1036-FE41-40DC340AABC0}"/>
              </a:ext>
            </a:extLst>
          </p:cNvPr>
          <p:cNvSpPr txBox="1"/>
          <p:nvPr/>
        </p:nvSpPr>
        <p:spPr>
          <a:xfrm rot="1149828">
            <a:off x="10766862" y="575933"/>
            <a:ext cx="1395901" cy="276999"/>
          </a:xfrm>
          <a:prstGeom prst="rect">
            <a:avLst/>
          </a:prstGeom>
          <a:solidFill>
            <a:srgbClr val="FFFF00"/>
          </a:solidFill>
        </p:spPr>
        <p:txBody>
          <a:bodyPr wrap="square">
            <a:spAutoFit/>
          </a:bodyPr>
          <a:lstStyle/>
          <a:p>
            <a:r>
              <a:rPr lang="es-ES" sz="1200" b="1" dirty="0"/>
              <a:t>WORKING DRAFT</a:t>
            </a:r>
          </a:p>
        </p:txBody>
      </p:sp>
    </p:spTree>
    <p:extLst>
      <p:ext uri="{BB962C8B-B14F-4D97-AF65-F5344CB8AC3E}">
        <p14:creationId xmlns:p14="http://schemas.microsoft.com/office/powerpoint/2010/main" val="14510832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descr="Diagrama&#10;&#10;El contenido generado por IA puede ser incorrecto.">
            <a:extLst>
              <a:ext uri="{FF2B5EF4-FFF2-40B4-BE49-F238E27FC236}">
                <a16:creationId xmlns:a16="http://schemas.microsoft.com/office/drawing/2014/main" id="{713D1A79-8721-7C9E-F489-276C8506F80D}"/>
              </a:ext>
            </a:extLst>
          </p:cNvPr>
          <p:cNvPicPr>
            <a:picLocks noChangeAspect="1"/>
          </p:cNvPicPr>
          <p:nvPr/>
        </p:nvPicPr>
        <p:blipFill>
          <a:blip r:embed="rId2">
            <a:extLst>
              <a:ext uri="{28A0092B-C50C-407E-A947-70E740481C1C}">
                <a14:useLocalDpi xmlns:a14="http://schemas.microsoft.com/office/drawing/2010/main" val="0"/>
              </a:ext>
            </a:extLst>
          </a:blip>
          <a:srcRect t="70729" r="85612"/>
          <a:stretch>
            <a:fillRect/>
          </a:stretch>
        </p:blipFill>
        <p:spPr>
          <a:xfrm>
            <a:off x="432000" y="2290731"/>
            <a:ext cx="1869837" cy="2276537"/>
          </a:xfrm>
          <a:prstGeom prst="rect">
            <a:avLst/>
          </a:prstGeom>
        </p:spPr>
      </p:pic>
      <p:sp>
        <p:nvSpPr>
          <p:cNvPr id="4" name="CuadroTexto 11">
            <a:extLst>
              <a:ext uri="{FF2B5EF4-FFF2-40B4-BE49-F238E27FC236}">
                <a16:creationId xmlns:a16="http://schemas.microsoft.com/office/drawing/2014/main" id="{4392DAA6-8734-1754-EE97-3F556E65B884}"/>
              </a:ext>
            </a:extLst>
          </p:cNvPr>
          <p:cNvSpPr txBox="1"/>
          <p:nvPr/>
        </p:nvSpPr>
        <p:spPr>
          <a:xfrm>
            <a:off x="3697681" y="1463916"/>
            <a:ext cx="8199144" cy="3822459"/>
          </a:xfrm>
          <a:prstGeom prst="rect">
            <a:avLst/>
          </a:prstGeom>
          <a:solidFill>
            <a:srgbClr val="F2F2F2"/>
          </a:solidFill>
          <a:ln w="9525" cap="flat" cmpd="sng" algn="ctr">
            <a:noFill/>
            <a:prstDash val="dash"/>
          </a:ln>
          <a:effectLst/>
        </p:spPr>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antander Text" panose="020B0504020201020104"/>
                <a:ea typeface="+mn-ea"/>
                <a:cs typeface="+mn-cs"/>
              </a:rPr>
              <a:t>For the use case at hand, the query data will reside in databases, which must be easily accessible, but when it comes to being able to access the data, we must keep several things in mind:</a:t>
            </a: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Santander Text" panose="020B0504020201020104"/>
                <a:ea typeface="+mn-ea"/>
                <a:cs typeface="+mn-cs"/>
              </a:rPr>
              <a:t>It is preferable and safer to have queries prepared, and not to generate queries on the fly, since they are more prone to errors, in case queries have to be created on the fly, queries should be made on very simple data models in such a way that the needs of making joins between tables are reduced or disappear,  type of data models in star or snowflake or that by default only works on a bounded subset of the model.
You must have control over what data both the agent and the user can access, both at the column level and at the record level, which is known as row-level security.</a:t>
            </a: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ptos" panose="02110004020202020204"/>
              <a:ea typeface="+mn-ea"/>
              <a:cs typeface="+mn-cs"/>
            </a:endParaRPr>
          </a:p>
        </p:txBody>
      </p:sp>
      <p:sp>
        <p:nvSpPr>
          <p:cNvPr id="5" name="Rectángulo 3">
            <a:extLst>
              <a:ext uri="{FF2B5EF4-FFF2-40B4-BE49-F238E27FC236}">
                <a16:creationId xmlns:a16="http://schemas.microsoft.com/office/drawing/2014/main" id="{3C4D4963-83D5-5619-EC54-AF60FEF9487A}"/>
              </a:ext>
            </a:extLst>
          </p:cNvPr>
          <p:cNvSpPr/>
          <p:nvPr/>
        </p:nvSpPr>
        <p:spPr>
          <a:xfrm>
            <a:off x="3697680" y="1236019"/>
            <a:ext cx="8199144" cy="22789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Santander Text" panose="020B0504020201020104"/>
                <a:ea typeface="+mn-ea"/>
                <a:cs typeface="+mn-cs"/>
              </a:rPr>
              <a:t>Data Base Access through MCP</a:t>
            </a:r>
          </a:p>
        </p:txBody>
      </p:sp>
      <p:sp>
        <p:nvSpPr>
          <p:cNvPr id="6" name="Text Placeholder 3">
            <a:extLst>
              <a:ext uri="{FF2B5EF4-FFF2-40B4-BE49-F238E27FC236}">
                <a16:creationId xmlns:a16="http://schemas.microsoft.com/office/drawing/2014/main" id="{786D521F-DAE9-7665-EE5C-B6B5829C43A3}"/>
              </a:ext>
            </a:extLst>
          </p:cNvPr>
          <p:cNvSpPr txBox="1">
            <a:spLocks/>
          </p:cNvSpPr>
          <p:nvPr/>
        </p:nvSpPr>
        <p:spPr>
          <a:xfrm>
            <a:off x="354840" y="434488"/>
            <a:ext cx="1422249" cy="249299"/>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solidFill>
                  <a:srgbClr val="F14949"/>
                </a:solidFill>
                <a:effectLst/>
                <a:uLnTx/>
                <a:uFillTx/>
                <a:latin typeface="Santander Headline" panose="020B0504020201020104"/>
                <a:ea typeface="+mn-ea"/>
                <a:cs typeface="+mn-cs"/>
              </a:rPr>
              <a:t>Legacy systems</a:t>
            </a:r>
          </a:p>
        </p:txBody>
      </p:sp>
      <p:sp>
        <p:nvSpPr>
          <p:cNvPr id="8" name="Text Placeholder 3">
            <a:extLst>
              <a:ext uri="{FF2B5EF4-FFF2-40B4-BE49-F238E27FC236}">
                <a16:creationId xmlns:a16="http://schemas.microsoft.com/office/drawing/2014/main" id="{7F214961-92C0-4B0A-95B5-A1C26E791961}"/>
              </a:ext>
            </a:extLst>
          </p:cNvPr>
          <p:cNvSpPr txBox="1">
            <a:spLocks/>
          </p:cNvSpPr>
          <p:nvPr/>
        </p:nvSpPr>
        <p:spPr>
          <a:xfrm>
            <a:off x="354840" y="122982"/>
            <a:ext cx="3153427" cy="276999"/>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000" b="0" i="0" u="none" strike="noStrike" kern="1200" cap="none" spc="0" normalizeH="0" baseline="0" noProof="0" dirty="0">
                <a:ln>
                  <a:noFill/>
                </a:ln>
                <a:solidFill>
                  <a:srgbClr val="F14949"/>
                </a:solidFill>
                <a:effectLst/>
                <a:uLnTx/>
                <a:uFillTx/>
                <a:latin typeface="Santander Headline" panose="020B0504020201020104"/>
                <a:ea typeface="+mn-ea"/>
                <a:cs typeface="+mn-cs"/>
              </a:rPr>
              <a:t>Agent Flow to check FMIS TTIs</a:t>
            </a:r>
          </a:p>
        </p:txBody>
      </p:sp>
      <p:pic>
        <p:nvPicPr>
          <p:cNvPr id="7" name="Imagen 2" descr="NTT Data - Red Seguridad">
            <a:extLst>
              <a:ext uri="{FF2B5EF4-FFF2-40B4-BE49-F238E27FC236}">
                <a16:creationId xmlns:a16="http://schemas.microsoft.com/office/drawing/2014/main" id="{345A6909-39D0-357F-5E1E-F48C9CFB4FCD}"/>
              </a:ext>
            </a:extLst>
          </p:cNvPr>
          <p:cNvPicPr>
            <a:picLocks noChangeAspect="1"/>
          </p:cNvPicPr>
          <p:nvPr/>
        </p:nvPicPr>
        <p:blipFill>
          <a:blip r:embed="rId3"/>
          <a:stretch>
            <a:fillRect/>
          </a:stretch>
        </p:blipFill>
        <p:spPr>
          <a:xfrm>
            <a:off x="10881313" y="-202669"/>
            <a:ext cx="1166998" cy="847775"/>
          </a:xfrm>
          <a:prstGeom prst="rect">
            <a:avLst/>
          </a:prstGeom>
        </p:spPr>
      </p:pic>
      <p:pic>
        <p:nvPicPr>
          <p:cNvPr id="9" name="Picture 8">
            <a:extLst>
              <a:ext uri="{FF2B5EF4-FFF2-40B4-BE49-F238E27FC236}">
                <a16:creationId xmlns:a16="http://schemas.microsoft.com/office/drawing/2014/main" id="{7E351ADC-1DB7-64C8-4511-5FE352329C95}"/>
              </a:ext>
            </a:extLst>
          </p:cNvPr>
          <p:cNvPicPr>
            <a:picLocks noChangeAspect="1"/>
          </p:cNvPicPr>
          <p:nvPr/>
        </p:nvPicPr>
        <p:blipFill>
          <a:blip r:embed="rId4"/>
          <a:srcRect r="22480"/>
          <a:stretch>
            <a:fillRect/>
          </a:stretch>
        </p:blipFill>
        <p:spPr>
          <a:xfrm>
            <a:off x="9081410" y="32335"/>
            <a:ext cx="1610515" cy="388493"/>
          </a:xfrm>
          <a:prstGeom prst="rect">
            <a:avLst/>
          </a:prstGeom>
        </p:spPr>
      </p:pic>
      <p:sp>
        <p:nvSpPr>
          <p:cNvPr id="3" name="TextBox 2">
            <a:extLst>
              <a:ext uri="{FF2B5EF4-FFF2-40B4-BE49-F238E27FC236}">
                <a16:creationId xmlns:a16="http://schemas.microsoft.com/office/drawing/2014/main" id="{B2B42F48-F85B-E3E5-99EC-81041C0C7548}"/>
              </a:ext>
            </a:extLst>
          </p:cNvPr>
          <p:cNvSpPr txBox="1"/>
          <p:nvPr/>
        </p:nvSpPr>
        <p:spPr>
          <a:xfrm rot="1149828">
            <a:off x="10766862" y="575933"/>
            <a:ext cx="1395901" cy="276999"/>
          </a:xfrm>
          <a:prstGeom prst="rect">
            <a:avLst/>
          </a:prstGeom>
          <a:solidFill>
            <a:srgbClr val="FFFF00"/>
          </a:solidFill>
        </p:spPr>
        <p:txBody>
          <a:bodyPr wrap="square">
            <a:spAutoFit/>
          </a:bodyPr>
          <a:lstStyle/>
          <a:p>
            <a:r>
              <a:rPr lang="es-ES" sz="1200" b="1" dirty="0"/>
              <a:t>WORKING DRAFT</a:t>
            </a:r>
          </a:p>
        </p:txBody>
      </p:sp>
    </p:spTree>
    <p:extLst>
      <p:ext uri="{BB962C8B-B14F-4D97-AF65-F5344CB8AC3E}">
        <p14:creationId xmlns:p14="http://schemas.microsoft.com/office/powerpoint/2010/main" val="13693944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B68CF9-3B47-FFCE-AC84-10B3582C7722}"/>
            </a:ext>
          </a:extLst>
        </p:cNvPr>
        <p:cNvGrpSpPr/>
        <p:nvPr/>
      </p:nvGrpSpPr>
      <p:grpSpPr>
        <a:xfrm>
          <a:off x="0" y="0"/>
          <a:ext cx="0" cy="0"/>
          <a:chOff x="0" y="0"/>
          <a:chExt cx="0" cy="0"/>
        </a:xfrm>
      </p:grpSpPr>
      <p:sp>
        <p:nvSpPr>
          <p:cNvPr id="5" name="Text Placeholder 3">
            <a:extLst>
              <a:ext uri="{FF2B5EF4-FFF2-40B4-BE49-F238E27FC236}">
                <a16:creationId xmlns:a16="http://schemas.microsoft.com/office/drawing/2014/main" id="{9986B3B9-9000-853E-B32B-34589D2D82E0}"/>
              </a:ext>
            </a:extLst>
          </p:cNvPr>
          <p:cNvSpPr txBox="1">
            <a:spLocks/>
          </p:cNvSpPr>
          <p:nvPr/>
        </p:nvSpPr>
        <p:spPr>
          <a:xfrm>
            <a:off x="371475" y="277461"/>
            <a:ext cx="2609565" cy="307777"/>
          </a:xfrm>
          <a:prstGeom prst="rect">
            <a:avLst/>
          </a:prstGeom>
          <a:noFill/>
        </p:spPr>
        <p:txBody>
          <a:bodyPr vert="horz" wrap="squar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0" noProof="0">
                <a:solidFill>
                  <a:srgbClr val="F14949"/>
                </a:solidFill>
              </a:rPr>
              <a:t>RPA Solution vs Agentic</a:t>
            </a:r>
          </a:p>
        </p:txBody>
      </p:sp>
      <p:sp>
        <p:nvSpPr>
          <p:cNvPr id="28" name="Rectángulo: esquinas redondeadas 27">
            <a:extLst>
              <a:ext uri="{FF2B5EF4-FFF2-40B4-BE49-F238E27FC236}">
                <a16:creationId xmlns:a16="http://schemas.microsoft.com/office/drawing/2014/main" id="{FB6D92E7-619A-BF5C-244C-67392073F7E1}"/>
              </a:ext>
            </a:extLst>
          </p:cNvPr>
          <p:cNvSpPr>
            <a:spLocks/>
          </p:cNvSpPr>
          <p:nvPr/>
        </p:nvSpPr>
        <p:spPr>
          <a:xfrm>
            <a:off x="371475" y="1126000"/>
            <a:ext cx="11477625" cy="5136687"/>
          </a:xfrm>
          <a:prstGeom prst="roundRect">
            <a:avLst>
              <a:gd name="adj" fmla="val 994"/>
            </a:avLst>
          </a:prstGeom>
          <a:solidFill>
            <a:schemeClr val="bg1"/>
          </a:solidFill>
          <a:ln w="9525">
            <a:solidFill>
              <a:srgbClr val="C00000"/>
            </a:solidFill>
            <a:prstDash val="soli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30" name="Tabla 29">
            <a:extLst>
              <a:ext uri="{FF2B5EF4-FFF2-40B4-BE49-F238E27FC236}">
                <a16:creationId xmlns:a16="http://schemas.microsoft.com/office/drawing/2014/main" id="{5D70D3C9-3DA4-5A1C-C5A9-442036F48535}"/>
              </a:ext>
            </a:extLst>
          </p:cNvPr>
          <p:cNvGraphicFramePr>
            <a:graphicFrameLocks/>
          </p:cNvGraphicFramePr>
          <p:nvPr/>
        </p:nvGraphicFramePr>
        <p:xfrm>
          <a:off x="1750379" y="1247600"/>
          <a:ext cx="9285150" cy="4651513"/>
        </p:xfrm>
        <a:graphic>
          <a:graphicData uri="http://schemas.openxmlformats.org/drawingml/2006/table">
            <a:tbl>
              <a:tblPr bandRow="1">
                <a:tableStyleId>{5940675A-B579-460E-94D1-54222C63F5DA}</a:tableStyleId>
              </a:tblPr>
              <a:tblGrid>
                <a:gridCol w="2020272">
                  <a:extLst>
                    <a:ext uri="{9D8B030D-6E8A-4147-A177-3AD203B41FA5}">
                      <a16:colId xmlns:a16="http://schemas.microsoft.com/office/drawing/2014/main" val="4048629754"/>
                    </a:ext>
                  </a:extLst>
                </a:gridCol>
                <a:gridCol w="4196615">
                  <a:extLst>
                    <a:ext uri="{9D8B030D-6E8A-4147-A177-3AD203B41FA5}">
                      <a16:colId xmlns:a16="http://schemas.microsoft.com/office/drawing/2014/main" val="3158258784"/>
                    </a:ext>
                  </a:extLst>
                </a:gridCol>
                <a:gridCol w="3068263">
                  <a:extLst>
                    <a:ext uri="{9D8B030D-6E8A-4147-A177-3AD203B41FA5}">
                      <a16:colId xmlns:a16="http://schemas.microsoft.com/office/drawing/2014/main" val="1874508370"/>
                    </a:ext>
                  </a:extLst>
                </a:gridCol>
              </a:tblGrid>
              <a:tr h="2345782">
                <a:tc>
                  <a:txBody>
                    <a:bodyPr/>
                    <a:lstStyle/>
                    <a:p>
                      <a:endParaRPr lang="en-GB" noProof="0"/>
                    </a:p>
                  </a:txBody>
                  <a:tcPr>
                    <a:lnL w="12700" cap="flat" cmpd="sng" algn="ctr">
                      <a:noFill/>
                      <a:prstDash val="solid"/>
                      <a:round/>
                      <a:headEnd type="none" w="med" len="med"/>
                      <a:tailEnd type="none" w="med" len="med"/>
                    </a:lnL>
                    <a:lnR w="12700" cap="flat" cmpd="sng" algn="ctr">
                      <a:solidFill>
                        <a:schemeClr val="tx2"/>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noProof="0"/>
                    </a:p>
                  </a:txBody>
                  <a:tcPr>
                    <a:lnL w="12700" cap="flat" cmpd="sng" algn="ctr">
                      <a:solidFill>
                        <a:schemeClr val="tx2"/>
                      </a:solidFill>
                      <a:prstDash val="lgDash"/>
                      <a:round/>
                      <a:headEnd type="none" w="med" len="med"/>
                      <a:tailEnd type="none" w="med" len="med"/>
                    </a:lnL>
                    <a:lnR w="12700" cap="flat" cmpd="sng" algn="ctr">
                      <a:solidFill>
                        <a:schemeClr val="tx2"/>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noProof="0"/>
                    </a:p>
                  </a:txBody>
                  <a:tcPr>
                    <a:lnL w="12700" cap="flat" cmpd="sng" algn="ctr">
                      <a:solidFill>
                        <a:schemeClr val="tx2"/>
                      </a:solidFill>
                      <a:prstDash val="lg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5850623"/>
                  </a:ext>
                </a:extLst>
              </a:tr>
              <a:tr h="2305731">
                <a:tc>
                  <a:txBody>
                    <a:bodyPr/>
                    <a:lstStyle/>
                    <a:p>
                      <a:endParaRPr lang="en-GB" noProof="0"/>
                    </a:p>
                  </a:txBody>
                  <a:tcPr>
                    <a:lnL w="12700" cap="flat" cmpd="sng" algn="ctr">
                      <a:noFill/>
                      <a:prstDash val="solid"/>
                      <a:round/>
                      <a:headEnd type="none" w="med" len="med"/>
                      <a:tailEnd type="none" w="med" len="med"/>
                    </a:lnL>
                    <a:lnR w="12700" cap="flat" cmpd="sng" algn="ctr">
                      <a:solidFill>
                        <a:schemeClr val="tx2"/>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noProof="0"/>
                    </a:p>
                  </a:txBody>
                  <a:tcPr>
                    <a:lnL w="12700" cap="flat" cmpd="sng" algn="ctr">
                      <a:solidFill>
                        <a:schemeClr val="tx2"/>
                      </a:solidFill>
                      <a:prstDash val="lgDash"/>
                      <a:round/>
                      <a:headEnd type="none" w="med" len="med"/>
                      <a:tailEnd type="none" w="med" len="med"/>
                    </a:lnL>
                    <a:lnR w="12700" cap="flat" cmpd="sng" algn="ctr">
                      <a:solidFill>
                        <a:schemeClr val="tx2"/>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noProof="0"/>
                    </a:p>
                  </a:txBody>
                  <a:tcPr>
                    <a:lnL w="12700" cap="flat" cmpd="sng" algn="ctr">
                      <a:solidFill>
                        <a:schemeClr val="tx2"/>
                      </a:solidFill>
                      <a:prstDash val="lg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0199585"/>
                  </a:ext>
                </a:extLst>
              </a:tr>
            </a:tbl>
          </a:graphicData>
        </a:graphic>
      </p:graphicFrame>
      <p:sp>
        <p:nvSpPr>
          <p:cNvPr id="1031" name="Rectangle 1">
            <a:extLst>
              <a:ext uri="{FF2B5EF4-FFF2-40B4-BE49-F238E27FC236}">
                <a16:creationId xmlns:a16="http://schemas.microsoft.com/office/drawing/2014/main" id="{D89EBF2C-F8C7-B8E2-6E57-47CA3C46CB1B}"/>
              </a:ext>
            </a:extLst>
          </p:cNvPr>
          <p:cNvSpPr/>
          <p:nvPr/>
        </p:nvSpPr>
        <p:spPr>
          <a:xfrm>
            <a:off x="856358" y="1291360"/>
            <a:ext cx="1511111" cy="478388"/>
          </a:xfrm>
          <a:prstGeom prst="roundRect">
            <a:avLst/>
          </a:prstGeom>
          <a:solidFill>
            <a:schemeClr val="bg1">
              <a:lumMod val="95000"/>
            </a:schemeClr>
          </a:solidFill>
          <a:ln w="6350" cap="flat" cmpd="sng" algn="ctr">
            <a:solidFill>
              <a:schemeClr val="tx2"/>
            </a:solidFill>
            <a:prstDash val="solid"/>
            <a:miter lim="800000"/>
            <a:headEnd type="none" w="med" len="med"/>
            <a:tailEnd type="none" w="med" len="med"/>
          </a:ln>
          <a:effectLst/>
        </p:spPr>
        <p:txBody>
          <a:bodyPr vert="horz" rtlCol="0" anchor="t"/>
          <a:lstStyle/>
          <a:p>
            <a:pPr algn="ctr"/>
            <a:r>
              <a:rPr lang="en-GB" sz="1200" b="1" kern="0" noProof="0">
                <a:latin typeface="Calibri" panose="020F0502020204030204"/>
              </a:rPr>
              <a:t>Robotic Process Automation</a:t>
            </a:r>
          </a:p>
        </p:txBody>
      </p:sp>
      <p:grpSp>
        <p:nvGrpSpPr>
          <p:cNvPr id="1033" name="Robotics" descr="{&quot;Key&quot;:&quot;POWER_USER_SHAPE_ICON&quot;,&quot;Value&quot;:&quot;POWER_USER_SHAPE_ICON_STYLE_1&quot;}">
            <a:extLst>
              <a:ext uri="{FF2B5EF4-FFF2-40B4-BE49-F238E27FC236}">
                <a16:creationId xmlns:a16="http://schemas.microsoft.com/office/drawing/2014/main" id="{40216BD1-449F-E796-0336-B7A3CD959D3B}"/>
              </a:ext>
            </a:extLst>
          </p:cNvPr>
          <p:cNvGrpSpPr>
            <a:grpSpLocks noChangeAspect="1"/>
          </p:cNvGrpSpPr>
          <p:nvPr/>
        </p:nvGrpSpPr>
        <p:grpSpPr>
          <a:xfrm>
            <a:off x="1406183" y="1887641"/>
            <a:ext cx="305911" cy="466765"/>
            <a:chOff x="5006245" y="3515287"/>
            <a:chExt cx="1089450" cy="1662303"/>
          </a:xfrm>
          <a:solidFill>
            <a:schemeClr val="tx2"/>
          </a:solidFill>
        </p:grpSpPr>
        <p:sp>
          <p:nvSpPr>
            <p:cNvPr id="1034" name="Free-form: Shape 32">
              <a:extLst>
                <a:ext uri="{FF2B5EF4-FFF2-40B4-BE49-F238E27FC236}">
                  <a16:creationId xmlns:a16="http://schemas.microsoft.com/office/drawing/2014/main" id="{80A9ADF9-CC8B-ED0B-73B2-228C4EFCA76D}"/>
                </a:ext>
              </a:extLst>
            </p:cNvPr>
            <p:cNvSpPr/>
            <p:nvPr/>
          </p:nvSpPr>
          <p:spPr>
            <a:xfrm>
              <a:off x="5006245" y="3515287"/>
              <a:ext cx="1089450" cy="1662303"/>
            </a:xfrm>
            <a:custGeom>
              <a:avLst/>
              <a:gdLst>
                <a:gd name="connsiteX0" fmla="*/ 487135 w 1089450"/>
                <a:gd name="connsiteY0" fmla="*/ 1107768 h 1662303"/>
                <a:gd name="connsiteX1" fmla="*/ 486933 w 1089450"/>
                <a:gd name="connsiteY1" fmla="*/ 1628213 h 1662303"/>
                <a:gd name="connsiteX2" fmla="*/ 444272 w 1089450"/>
                <a:gd name="connsiteY2" fmla="*/ 1661900 h 1662303"/>
                <a:gd name="connsiteX3" fmla="*/ 215092 w 1089450"/>
                <a:gd name="connsiteY3" fmla="*/ 1660963 h 1662303"/>
                <a:gd name="connsiteX4" fmla="*/ 199822 w 1089450"/>
                <a:gd name="connsiteY4" fmla="*/ 1647769 h 1662303"/>
                <a:gd name="connsiteX5" fmla="*/ 266058 w 1089450"/>
                <a:gd name="connsiteY5" fmla="*/ 1492794 h 1662303"/>
                <a:gd name="connsiteX6" fmla="*/ 274095 w 1089450"/>
                <a:gd name="connsiteY6" fmla="*/ 1478931 h 1662303"/>
                <a:gd name="connsiteX7" fmla="*/ 274027 w 1089450"/>
                <a:gd name="connsiteY7" fmla="*/ 1008783 h 1662303"/>
                <a:gd name="connsiteX8" fmla="*/ 260901 w 1089450"/>
                <a:gd name="connsiteY8" fmla="*/ 938127 h 1662303"/>
                <a:gd name="connsiteX9" fmla="*/ 234179 w 1089450"/>
                <a:gd name="connsiteY9" fmla="*/ 771030 h 1662303"/>
                <a:gd name="connsiteX10" fmla="*/ 230770 w 1089450"/>
                <a:gd name="connsiteY10" fmla="*/ 767085 h 1662303"/>
                <a:gd name="connsiteX11" fmla="*/ 230495 w 1089450"/>
                <a:gd name="connsiteY11" fmla="*/ 767078 h 1662303"/>
                <a:gd name="connsiteX12" fmla="*/ 99764 w 1089450"/>
                <a:gd name="connsiteY12" fmla="*/ 767078 h 1662303"/>
                <a:gd name="connsiteX13" fmla="*/ 97688 w 1089450"/>
                <a:gd name="connsiteY13" fmla="*/ 769155 h 1662303"/>
                <a:gd name="connsiteX14" fmla="*/ 97688 w 1089450"/>
                <a:gd name="connsiteY14" fmla="*/ 930894 h 1662303"/>
                <a:gd name="connsiteX15" fmla="*/ 101104 w 1089450"/>
                <a:gd name="connsiteY15" fmla="*/ 936051 h 1662303"/>
                <a:gd name="connsiteX16" fmla="*/ 165264 w 1089450"/>
                <a:gd name="connsiteY16" fmla="*/ 1007243 h 1662303"/>
                <a:gd name="connsiteX17" fmla="*/ 148521 w 1089450"/>
                <a:gd name="connsiteY17" fmla="*/ 1105893 h 1662303"/>
                <a:gd name="connsiteX18" fmla="*/ 64336 w 1089450"/>
                <a:gd name="connsiteY18" fmla="*/ 1132950 h 1662303"/>
                <a:gd name="connsiteX19" fmla="*/ 980 w 1089450"/>
                <a:gd name="connsiteY19" fmla="*/ 1054324 h 1662303"/>
                <a:gd name="connsiteX20" fmla="*/ 48531 w 1089450"/>
                <a:gd name="connsiteY20" fmla="*/ 942815 h 1662303"/>
                <a:gd name="connsiteX21" fmla="*/ 52013 w 1089450"/>
                <a:gd name="connsiteY21" fmla="*/ 936586 h 1662303"/>
                <a:gd name="connsiteX22" fmla="*/ 50740 w 1089450"/>
                <a:gd name="connsiteY22" fmla="*/ 715978 h 1662303"/>
                <a:gd name="connsiteX23" fmla="*/ 55362 w 1089450"/>
                <a:gd name="connsiteY23" fmla="*/ 609291 h 1662303"/>
                <a:gd name="connsiteX24" fmla="*/ 206586 w 1089450"/>
                <a:gd name="connsiteY24" fmla="*/ 493830 h 1662303"/>
                <a:gd name="connsiteX25" fmla="*/ 445143 w 1089450"/>
                <a:gd name="connsiteY25" fmla="*/ 492959 h 1662303"/>
                <a:gd name="connsiteX26" fmla="*/ 449563 w 1089450"/>
                <a:gd name="connsiteY26" fmla="*/ 491821 h 1662303"/>
                <a:gd name="connsiteX27" fmla="*/ 450273 w 1089450"/>
                <a:gd name="connsiteY27" fmla="*/ 487809 h 1662303"/>
                <a:gd name="connsiteX28" fmla="*/ 449295 w 1089450"/>
                <a:gd name="connsiteY28" fmla="*/ 486932 h 1662303"/>
                <a:gd name="connsiteX29" fmla="*/ 345889 w 1089450"/>
                <a:gd name="connsiteY29" fmla="*/ 365778 h 1662303"/>
                <a:gd name="connsiteX30" fmla="*/ 334571 w 1089450"/>
                <a:gd name="connsiteY30" fmla="*/ 356603 h 1662303"/>
                <a:gd name="connsiteX31" fmla="*/ 272219 w 1089450"/>
                <a:gd name="connsiteY31" fmla="*/ 292845 h 1662303"/>
                <a:gd name="connsiteX32" fmla="*/ 272018 w 1089450"/>
                <a:gd name="connsiteY32" fmla="*/ 225002 h 1662303"/>
                <a:gd name="connsiteX33" fmla="*/ 336714 w 1089450"/>
                <a:gd name="connsiteY33" fmla="*/ 144300 h 1662303"/>
                <a:gd name="connsiteX34" fmla="*/ 346291 w 1089450"/>
                <a:gd name="connsiteY34" fmla="*/ 135928 h 1662303"/>
                <a:gd name="connsiteX35" fmla="*/ 527653 w 1089450"/>
                <a:gd name="connsiteY35" fmla="*/ 242 h 1662303"/>
                <a:gd name="connsiteX36" fmla="*/ 726227 w 1089450"/>
                <a:gd name="connsiteY36" fmla="*/ 102777 h 1662303"/>
                <a:gd name="connsiteX37" fmla="*/ 744443 w 1089450"/>
                <a:gd name="connsiteY37" fmla="*/ 136799 h 1662303"/>
                <a:gd name="connsiteX38" fmla="*/ 757034 w 1089450"/>
                <a:gd name="connsiteY38" fmla="*/ 147381 h 1662303"/>
                <a:gd name="connsiteX39" fmla="*/ 820055 w 1089450"/>
                <a:gd name="connsiteY39" fmla="*/ 235383 h 1662303"/>
                <a:gd name="connsiteX40" fmla="*/ 819520 w 1089450"/>
                <a:gd name="connsiteY40" fmla="*/ 293649 h 1662303"/>
                <a:gd name="connsiteX41" fmla="*/ 754422 w 1089450"/>
                <a:gd name="connsiteY41" fmla="*/ 356335 h 1662303"/>
                <a:gd name="connsiteX42" fmla="*/ 745180 w 1089450"/>
                <a:gd name="connsiteY42" fmla="*/ 363435 h 1662303"/>
                <a:gd name="connsiteX43" fmla="*/ 634541 w 1089450"/>
                <a:gd name="connsiteY43" fmla="*/ 486999 h 1662303"/>
                <a:gd name="connsiteX44" fmla="*/ 633356 w 1089450"/>
                <a:gd name="connsiteY44" fmla="*/ 490401 h 1662303"/>
                <a:gd name="connsiteX45" fmla="*/ 635546 w 1089450"/>
                <a:gd name="connsiteY45" fmla="*/ 491888 h 1662303"/>
                <a:gd name="connsiteX46" fmla="*/ 819788 w 1089450"/>
                <a:gd name="connsiteY46" fmla="*/ 493629 h 1662303"/>
                <a:gd name="connsiteX47" fmla="*/ 924064 w 1089450"/>
                <a:gd name="connsiteY47" fmla="*/ 497982 h 1662303"/>
                <a:gd name="connsiteX48" fmla="*/ 1041936 w 1089450"/>
                <a:gd name="connsiteY48" fmla="*/ 648738 h 1662303"/>
                <a:gd name="connsiteX49" fmla="*/ 1041668 w 1089450"/>
                <a:gd name="connsiteY49" fmla="*/ 935515 h 1662303"/>
                <a:gd name="connsiteX50" fmla="*/ 1044213 w 1089450"/>
                <a:gd name="connsiteY50" fmla="*/ 941341 h 1662303"/>
                <a:gd name="connsiteX51" fmla="*/ 1063903 w 1089450"/>
                <a:gd name="connsiteY51" fmla="*/ 959491 h 1662303"/>
                <a:gd name="connsiteX52" fmla="*/ 1088214 w 1089450"/>
                <a:gd name="connsiteY52" fmla="*/ 1057137 h 1662303"/>
                <a:gd name="connsiteX53" fmla="*/ 921519 w 1089450"/>
                <a:gd name="connsiteY53" fmla="*/ 1049703 h 1662303"/>
                <a:gd name="connsiteX54" fmla="*/ 991304 w 1089450"/>
                <a:gd name="connsiteY54" fmla="*/ 938194 h 1662303"/>
                <a:gd name="connsiteX55" fmla="*/ 995926 w 1089450"/>
                <a:gd name="connsiteY55" fmla="*/ 932568 h 1662303"/>
                <a:gd name="connsiteX56" fmla="*/ 995926 w 1089450"/>
                <a:gd name="connsiteY56" fmla="*/ 770963 h 1662303"/>
                <a:gd name="connsiteX57" fmla="*/ 991840 w 1089450"/>
                <a:gd name="connsiteY57" fmla="*/ 766878 h 1662303"/>
                <a:gd name="connsiteX58" fmla="*/ 862851 w 1089450"/>
                <a:gd name="connsiteY58" fmla="*/ 766878 h 1662303"/>
                <a:gd name="connsiteX59" fmla="*/ 859235 w 1089450"/>
                <a:gd name="connsiteY59" fmla="*/ 770427 h 1662303"/>
                <a:gd name="connsiteX60" fmla="*/ 858833 w 1089450"/>
                <a:gd name="connsiteY60" fmla="*/ 812821 h 1662303"/>
                <a:gd name="connsiteX61" fmla="*/ 821797 w 1089450"/>
                <a:gd name="connsiteY61" fmla="*/ 969671 h 1662303"/>
                <a:gd name="connsiteX62" fmla="*/ 818582 w 1089450"/>
                <a:gd name="connsiteY62" fmla="*/ 982061 h 1662303"/>
                <a:gd name="connsiteX63" fmla="*/ 818582 w 1089450"/>
                <a:gd name="connsiteY63" fmla="*/ 1495272 h 1662303"/>
                <a:gd name="connsiteX64" fmla="*/ 821797 w 1089450"/>
                <a:gd name="connsiteY64" fmla="*/ 1500563 h 1662303"/>
                <a:gd name="connsiteX65" fmla="*/ 902566 w 1089450"/>
                <a:gd name="connsiteY65" fmla="*/ 1646429 h 1662303"/>
                <a:gd name="connsiteX66" fmla="*/ 887296 w 1089450"/>
                <a:gd name="connsiteY66" fmla="*/ 1662302 h 1662303"/>
                <a:gd name="connsiteX67" fmla="*/ 637823 w 1089450"/>
                <a:gd name="connsiteY67" fmla="*/ 1661565 h 1662303"/>
                <a:gd name="connsiteX68" fmla="*/ 607819 w 1089450"/>
                <a:gd name="connsiteY68" fmla="*/ 1633236 h 1662303"/>
                <a:gd name="connsiteX69" fmla="*/ 606948 w 1089450"/>
                <a:gd name="connsiteY69" fmla="*/ 1598075 h 1662303"/>
                <a:gd name="connsiteX70" fmla="*/ 606948 w 1089450"/>
                <a:gd name="connsiteY70" fmla="*/ 1110246 h 1662303"/>
                <a:gd name="connsiteX71" fmla="*/ 602394 w 1089450"/>
                <a:gd name="connsiteY71" fmla="*/ 1105692 h 1662303"/>
                <a:gd name="connsiteX72" fmla="*/ 489211 w 1089450"/>
                <a:gd name="connsiteY72" fmla="*/ 1105692 h 1662303"/>
                <a:gd name="connsiteX73" fmla="*/ 487135 w 1089450"/>
                <a:gd name="connsiteY73" fmla="*/ 1107768 h 1662303"/>
                <a:gd name="connsiteX74" fmla="*/ 1003359 w 1089450"/>
                <a:gd name="connsiteY74" fmla="*/ 931161 h 1662303"/>
                <a:gd name="connsiteX75" fmla="*/ 993782 w 1089450"/>
                <a:gd name="connsiteY75" fmla="*/ 945494 h 1662303"/>
                <a:gd name="connsiteX76" fmla="*/ 964582 w 1089450"/>
                <a:gd name="connsiteY76" fmla="*/ 957013 h 1662303"/>
                <a:gd name="connsiteX77" fmla="*/ 960229 w 1089450"/>
                <a:gd name="connsiteY77" fmla="*/ 959625 h 1662303"/>
                <a:gd name="connsiteX78" fmla="*/ 933574 w 1089450"/>
                <a:gd name="connsiteY78" fmla="*/ 1061156 h 1662303"/>
                <a:gd name="connsiteX79" fmla="*/ 1019098 w 1089450"/>
                <a:gd name="connsiteY79" fmla="*/ 1124980 h 1662303"/>
                <a:gd name="connsiteX80" fmla="*/ 1074016 w 1089450"/>
                <a:gd name="connsiteY80" fmla="*/ 1084261 h 1662303"/>
                <a:gd name="connsiteX81" fmla="*/ 1076360 w 1089450"/>
                <a:gd name="connsiteY81" fmla="*/ 1075756 h 1662303"/>
                <a:gd name="connsiteX82" fmla="*/ 1039525 w 1089450"/>
                <a:gd name="connsiteY82" fmla="*/ 952124 h 1662303"/>
                <a:gd name="connsiteX83" fmla="*/ 1032024 w 1089450"/>
                <a:gd name="connsiteY83" fmla="*/ 940672 h 1662303"/>
                <a:gd name="connsiteX84" fmla="*/ 1029546 w 1089450"/>
                <a:gd name="connsiteY84" fmla="*/ 764065 h 1662303"/>
                <a:gd name="connsiteX85" fmla="*/ 1032024 w 1089450"/>
                <a:gd name="connsiteY85" fmla="*/ 657645 h 1662303"/>
                <a:gd name="connsiteX86" fmla="*/ 940004 w 1089450"/>
                <a:gd name="connsiteY86" fmla="*/ 512984 h 1662303"/>
                <a:gd name="connsiteX87" fmla="*/ 852001 w 1089450"/>
                <a:gd name="connsiteY87" fmla="*/ 502135 h 1662303"/>
                <a:gd name="connsiteX88" fmla="*/ 629786 w 1089450"/>
                <a:gd name="connsiteY88" fmla="*/ 499590 h 1662303"/>
                <a:gd name="connsiteX89" fmla="*/ 625031 w 1089450"/>
                <a:gd name="connsiteY89" fmla="*/ 494440 h 1662303"/>
                <a:gd name="connsiteX90" fmla="*/ 625232 w 1089450"/>
                <a:gd name="connsiteY90" fmla="*/ 493228 h 1662303"/>
                <a:gd name="connsiteX91" fmla="*/ 628179 w 1089450"/>
                <a:gd name="connsiteY91" fmla="*/ 483382 h 1662303"/>
                <a:gd name="connsiteX92" fmla="*/ 632331 w 1089450"/>
                <a:gd name="connsiteY92" fmla="*/ 478694 h 1662303"/>
                <a:gd name="connsiteX93" fmla="*/ 736875 w 1089450"/>
                <a:gd name="connsiteY93" fmla="*/ 357742 h 1662303"/>
                <a:gd name="connsiteX94" fmla="*/ 750270 w 1089450"/>
                <a:gd name="connsiteY94" fmla="*/ 348366 h 1662303"/>
                <a:gd name="connsiteX95" fmla="*/ 802107 w 1089450"/>
                <a:gd name="connsiteY95" fmla="*/ 324657 h 1662303"/>
                <a:gd name="connsiteX96" fmla="*/ 806125 w 1089450"/>
                <a:gd name="connsiteY96" fmla="*/ 315817 h 1662303"/>
                <a:gd name="connsiteX97" fmla="*/ 805790 w 1089450"/>
                <a:gd name="connsiteY97" fmla="*/ 195534 h 1662303"/>
                <a:gd name="connsiteX98" fmla="*/ 803312 w 1089450"/>
                <a:gd name="connsiteY98" fmla="*/ 187564 h 1662303"/>
                <a:gd name="connsiteX99" fmla="*/ 751744 w 1089450"/>
                <a:gd name="connsiteY99" fmla="*/ 156422 h 1662303"/>
                <a:gd name="connsiteX100" fmla="*/ 734665 w 1089450"/>
                <a:gd name="connsiteY100" fmla="*/ 143496 h 1662303"/>
                <a:gd name="connsiteX101" fmla="*/ 686981 w 1089450"/>
                <a:gd name="connsiteY101" fmla="*/ 73644 h 1662303"/>
                <a:gd name="connsiteX102" fmla="*/ 659321 w 1089450"/>
                <a:gd name="connsiteY102" fmla="*/ 47122 h 1662303"/>
                <a:gd name="connsiteX103" fmla="*/ 651887 w 1089450"/>
                <a:gd name="connsiteY103" fmla="*/ 41296 h 1662303"/>
                <a:gd name="connsiteX104" fmla="*/ 591009 w 1089450"/>
                <a:gd name="connsiteY104" fmla="*/ 16114 h 1662303"/>
                <a:gd name="connsiteX105" fmla="*/ 483049 w 1089450"/>
                <a:gd name="connsiteY105" fmla="*/ 18324 h 1662303"/>
                <a:gd name="connsiteX106" fmla="*/ 433020 w 1089450"/>
                <a:gd name="connsiteY106" fmla="*/ 41966 h 1662303"/>
                <a:gd name="connsiteX107" fmla="*/ 379442 w 1089450"/>
                <a:gd name="connsiteY107" fmla="*/ 94070 h 1662303"/>
                <a:gd name="connsiteX108" fmla="*/ 357743 w 1089450"/>
                <a:gd name="connsiteY108" fmla="*/ 133852 h 1662303"/>
                <a:gd name="connsiteX109" fmla="*/ 339259 w 1089450"/>
                <a:gd name="connsiteY109" fmla="*/ 152537 h 1662303"/>
                <a:gd name="connsiteX110" fmla="*/ 284475 w 1089450"/>
                <a:gd name="connsiteY110" fmla="*/ 192654 h 1662303"/>
                <a:gd name="connsiteX111" fmla="*/ 281127 w 1089450"/>
                <a:gd name="connsiteY111" fmla="*/ 237861 h 1662303"/>
                <a:gd name="connsiteX112" fmla="*/ 293516 w 1089450"/>
                <a:gd name="connsiteY112" fmla="*/ 329211 h 1662303"/>
                <a:gd name="connsiteX113" fmla="*/ 321444 w 1089450"/>
                <a:gd name="connsiteY113" fmla="*/ 346222 h 1662303"/>
                <a:gd name="connsiteX114" fmla="*/ 345286 w 1089450"/>
                <a:gd name="connsiteY114" fmla="*/ 350107 h 1662303"/>
                <a:gd name="connsiteX115" fmla="*/ 350644 w 1089450"/>
                <a:gd name="connsiteY115" fmla="*/ 353924 h 1662303"/>
                <a:gd name="connsiteX116" fmla="*/ 370468 w 1089450"/>
                <a:gd name="connsiteY116" fmla="*/ 398260 h 1662303"/>
                <a:gd name="connsiteX117" fmla="*/ 371874 w 1089450"/>
                <a:gd name="connsiteY117" fmla="*/ 400671 h 1662303"/>
                <a:gd name="connsiteX118" fmla="*/ 397324 w 1089450"/>
                <a:gd name="connsiteY118" fmla="*/ 435296 h 1662303"/>
                <a:gd name="connsiteX119" fmla="*/ 453179 w 1089450"/>
                <a:gd name="connsiteY119" fmla="*/ 479833 h 1662303"/>
                <a:gd name="connsiteX120" fmla="*/ 456260 w 1089450"/>
                <a:gd name="connsiteY120" fmla="*/ 485191 h 1662303"/>
                <a:gd name="connsiteX121" fmla="*/ 455590 w 1089450"/>
                <a:gd name="connsiteY121" fmla="*/ 498719 h 1662303"/>
                <a:gd name="connsiteX122" fmla="*/ 437374 w 1089450"/>
                <a:gd name="connsiteY122" fmla="*/ 502403 h 1662303"/>
                <a:gd name="connsiteX123" fmla="*/ 232504 w 1089450"/>
                <a:gd name="connsiteY123" fmla="*/ 502068 h 1662303"/>
                <a:gd name="connsiteX124" fmla="*/ 163054 w 1089450"/>
                <a:gd name="connsiteY124" fmla="*/ 508698 h 1662303"/>
                <a:gd name="connsiteX125" fmla="*/ 59514 w 1089450"/>
                <a:gd name="connsiteY125" fmla="*/ 656708 h 1662303"/>
                <a:gd name="connsiteX126" fmla="*/ 57371 w 1089450"/>
                <a:gd name="connsiteY126" fmla="*/ 909931 h 1662303"/>
                <a:gd name="connsiteX127" fmla="*/ 57438 w 1089450"/>
                <a:gd name="connsiteY127" fmla="*/ 910199 h 1662303"/>
                <a:gd name="connsiteX128" fmla="*/ 59447 w 1089450"/>
                <a:gd name="connsiteY128" fmla="*/ 941944 h 1662303"/>
                <a:gd name="connsiteX129" fmla="*/ 54424 w 1089450"/>
                <a:gd name="connsiteY129" fmla="*/ 949512 h 1662303"/>
                <a:gd name="connsiteX130" fmla="*/ 10691 w 1089450"/>
                <a:gd name="connsiteY130" fmla="*/ 1016619 h 1662303"/>
                <a:gd name="connsiteX131" fmla="*/ 59179 w 1089450"/>
                <a:gd name="connsiteY131" fmla="*/ 1122168 h 1662303"/>
                <a:gd name="connsiteX132" fmla="*/ 156825 w 1089450"/>
                <a:gd name="connsiteY132" fmla="*/ 1060218 h 1662303"/>
                <a:gd name="connsiteX133" fmla="*/ 117847 w 1089450"/>
                <a:gd name="connsiteY133" fmla="*/ 952459 h 1662303"/>
                <a:gd name="connsiteX134" fmla="*/ 97019 w 1089450"/>
                <a:gd name="connsiteY134" fmla="*/ 944556 h 1662303"/>
                <a:gd name="connsiteX135" fmla="*/ 89786 w 1089450"/>
                <a:gd name="connsiteY135" fmla="*/ 935113 h 1662303"/>
                <a:gd name="connsiteX136" fmla="*/ 87642 w 1089450"/>
                <a:gd name="connsiteY136" fmla="*/ 769356 h 1662303"/>
                <a:gd name="connsiteX137" fmla="*/ 98090 w 1089450"/>
                <a:gd name="connsiteY137" fmla="*/ 759645 h 1662303"/>
                <a:gd name="connsiteX138" fmla="*/ 232370 w 1089450"/>
                <a:gd name="connsiteY138" fmla="*/ 759578 h 1662303"/>
                <a:gd name="connsiteX139" fmla="*/ 240876 w 1089450"/>
                <a:gd name="connsiteY139" fmla="*/ 768016 h 1662303"/>
                <a:gd name="connsiteX140" fmla="*/ 247439 w 1089450"/>
                <a:gd name="connsiteY140" fmla="*/ 859501 h 1662303"/>
                <a:gd name="connsiteX141" fmla="*/ 263178 w 1089450"/>
                <a:gd name="connsiteY141" fmla="*/ 919575 h 1662303"/>
                <a:gd name="connsiteX142" fmla="*/ 263312 w 1089450"/>
                <a:gd name="connsiteY142" fmla="*/ 919843 h 1662303"/>
                <a:gd name="connsiteX143" fmla="*/ 282600 w 1089450"/>
                <a:gd name="connsiteY143" fmla="*/ 963242 h 1662303"/>
                <a:gd name="connsiteX144" fmla="*/ 284408 w 1089450"/>
                <a:gd name="connsiteY144" fmla="*/ 971680 h 1662303"/>
                <a:gd name="connsiteX145" fmla="*/ 285480 w 1089450"/>
                <a:gd name="connsiteY145" fmla="*/ 1268302 h 1662303"/>
                <a:gd name="connsiteX146" fmla="*/ 282399 w 1089450"/>
                <a:gd name="connsiteY146" fmla="*/ 1475649 h 1662303"/>
                <a:gd name="connsiteX147" fmla="*/ 241881 w 1089450"/>
                <a:gd name="connsiteY147" fmla="*/ 1520588 h 1662303"/>
                <a:gd name="connsiteX148" fmla="*/ 205179 w 1089450"/>
                <a:gd name="connsiteY148" fmla="*/ 1619707 h 1662303"/>
                <a:gd name="connsiteX149" fmla="*/ 210470 w 1089450"/>
                <a:gd name="connsiteY149" fmla="*/ 1647568 h 1662303"/>
                <a:gd name="connsiteX150" fmla="*/ 215493 w 1089450"/>
                <a:gd name="connsiteY150" fmla="*/ 1650984 h 1662303"/>
                <a:gd name="connsiteX151" fmla="*/ 237527 w 1089450"/>
                <a:gd name="connsiteY151" fmla="*/ 1653997 h 1662303"/>
                <a:gd name="connsiteX152" fmla="*/ 451706 w 1089450"/>
                <a:gd name="connsiteY152" fmla="*/ 1653797 h 1662303"/>
                <a:gd name="connsiteX153" fmla="*/ 475883 w 1089450"/>
                <a:gd name="connsiteY153" fmla="*/ 1635982 h 1662303"/>
                <a:gd name="connsiteX154" fmla="*/ 475079 w 1089450"/>
                <a:gd name="connsiteY154" fmla="*/ 1452410 h 1662303"/>
                <a:gd name="connsiteX155" fmla="*/ 477289 w 1089450"/>
                <a:gd name="connsiteY155" fmla="*/ 1351951 h 1662303"/>
                <a:gd name="connsiteX156" fmla="*/ 479634 w 1089450"/>
                <a:gd name="connsiteY156" fmla="*/ 1127994 h 1662303"/>
                <a:gd name="connsiteX157" fmla="*/ 479098 w 1089450"/>
                <a:gd name="connsiteY157" fmla="*/ 1121096 h 1662303"/>
                <a:gd name="connsiteX158" fmla="*/ 477490 w 1089450"/>
                <a:gd name="connsiteY158" fmla="*/ 1104755 h 1662303"/>
                <a:gd name="connsiteX159" fmla="*/ 487945 w 1089450"/>
                <a:gd name="connsiteY159" fmla="*/ 1094783 h 1662303"/>
                <a:gd name="connsiteX160" fmla="*/ 488809 w 1089450"/>
                <a:gd name="connsiteY160" fmla="*/ 1094843 h 1662303"/>
                <a:gd name="connsiteX161" fmla="*/ 605676 w 1089450"/>
                <a:gd name="connsiteY161" fmla="*/ 1096383 h 1662303"/>
                <a:gd name="connsiteX162" fmla="*/ 612688 w 1089450"/>
                <a:gd name="connsiteY162" fmla="*/ 1102324 h 1662303"/>
                <a:gd name="connsiteX163" fmla="*/ 612708 w 1089450"/>
                <a:gd name="connsiteY163" fmla="*/ 1102812 h 1662303"/>
                <a:gd name="connsiteX164" fmla="*/ 615588 w 1089450"/>
                <a:gd name="connsiteY164" fmla="*/ 1633839 h 1662303"/>
                <a:gd name="connsiteX165" fmla="*/ 617932 w 1089450"/>
                <a:gd name="connsiteY165" fmla="*/ 1640938 h 1662303"/>
                <a:gd name="connsiteX166" fmla="*/ 644118 w 1089450"/>
                <a:gd name="connsiteY166" fmla="*/ 1653261 h 1662303"/>
                <a:gd name="connsiteX167" fmla="*/ 887631 w 1089450"/>
                <a:gd name="connsiteY167" fmla="*/ 1653194 h 1662303"/>
                <a:gd name="connsiteX168" fmla="*/ 895132 w 1089450"/>
                <a:gd name="connsiteY168" fmla="*/ 1646028 h 1662303"/>
                <a:gd name="connsiteX169" fmla="*/ 895132 w 1089450"/>
                <a:gd name="connsiteY169" fmla="*/ 1645693 h 1662303"/>
                <a:gd name="connsiteX170" fmla="*/ 820323 w 1089450"/>
                <a:gd name="connsiteY170" fmla="*/ 1509872 h 1662303"/>
                <a:gd name="connsiteX171" fmla="*/ 810880 w 1089450"/>
                <a:gd name="connsiteY171" fmla="*/ 1495473 h 1662303"/>
                <a:gd name="connsiteX172" fmla="*/ 807866 w 1089450"/>
                <a:gd name="connsiteY172" fmla="*/ 1281630 h 1662303"/>
                <a:gd name="connsiteX173" fmla="*/ 809742 w 1089450"/>
                <a:gd name="connsiteY173" fmla="*/ 980587 h 1662303"/>
                <a:gd name="connsiteX174" fmla="*/ 818917 w 1089450"/>
                <a:gd name="connsiteY174" fmla="*/ 955874 h 1662303"/>
                <a:gd name="connsiteX175" fmla="*/ 849658 w 1089450"/>
                <a:gd name="connsiteY175" fmla="*/ 792662 h 1662303"/>
                <a:gd name="connsiteX176" fmla="*/ 851064 w 1089450"/>
                <a:gd name="connsiteY176" fmla="*/ 768753 h 1662303"/>
                <a:gd name="connsiteX177" fmla="*/ 862650 w 1089450"/>
                <a:gd name="connsiteY177" fmla="*/ 758506 h 1662303"/>
                <a:gd name="connsiteX178" fmla="*/ 992108 w 1089450"/>
                <a:gd name="connsiteY178" fmla="*/ 758506 h 1662303"/>
                <a:gd name="connsiteX179" fmla="*/ 997332 w 1089450"/>
                <a:gd name="connsiteY179" fmla="*/ 760716 h 1662303"/>
                <a:gd name="connsiteX180" fmla="*/ 1003895 w 1089450"/>
                <a:gd name="connsiteY180" fmla="*/ 781009 h 1662303"/>
                <a:gd name="connsiteX181" fmla="*/ 1003359 w 1089450"/>
                <a:gd name="connsiteY181" fmla="*/ 931161 h 1662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1089450" h="1662303">
                  <a:moveTo>
                    <a:pt x="487135" y="1107768"/>
                  </a:moveTo>
                  <a:cubicBezTo>
                    <a:pt x="486953" y="1400486"/>
                    <a:pt x="486886" y="1573965"/>
                    <a:pt x="486933" y="1628213"/>
                  </a:cubicBezTo>
                  <a:cubicBezTo>
                    <a:pt x="486933" y="1656810"/>
                    <a:pt x="470391" y="1661900"/>
                    <a:pt x="444272" y="1661900"/>
                  </a:cubicBezTo>
                  <a:cubicBezTo>
                    <a:pt x="322603" y="1661947"/>
                    <a:pt x="246214" y="1661632"/>
                    <a:pt x="215092" y="1660963"/>
                  </a:cubicBezTo>
                  <a:cubicBezTo>
                    <a:pt x="207490" y="1660755"/>
                    <a:pt x="201101" y="1655230"/>
                    <a:pt x="199822" y="1647769"/>
                  </a:cubicBezTo>
                  <a:cubicBezTo>
                    <a:pt x="189374" y="1586087"/>
                    <a:pt x="209667" y="1524405"/>
                    <a:pt x="266058" y="1492794"/>
                  </a:cubicBezTo>
                  <a:cubicBezTo>
                    <a:pt x="271054" y="1489988"/>
                    <a:pt x="274135" y="1484684"/>
                    <a:pt x="274095" y="1478931"/>
                  </a:cubicBezTo>
                  <a:cubicBezTo>
                    <a:pt x="273693" y="1350391"/>
                    <a:pt x="273672" y="1193674"/>
                    <a:pt x="274027" y="1008783"/>
                  </a:cubicBezTo>
                  <a:cubicBezTo>
                    <a:pt x="274095" y="983802"/>
                    <a:pt x="272487" y="963442"/>
                    <a:pt x="260901" y="938127"/>
                  </a:cubicBezTo>
                  <a:cubicBezTo>
                    <a:pt x="238130" y="888078"/>
                    <a:pt x="229223" y="832377"/>
                    <a:pt x="234179" y="771030"/>
                  </a:cubicBezTo>
                  <a:cubicBezTo>
                    <a:pt x="234326" y="769000"/>
                    <a:pt x="232799" y="767239"/>
                    <a:pt x="230770" y="767085"/>
                  </a:cubicBezTo>
                  <a:cubicBezTo>
                    <a:pt x="230683" y="767078"/>
                    <a:pt x="230589" y="767078"/>
                    <a:pt x="230495" y="767078"/>
                  </a:cubicBezTo>
                  <a:lnTo>
                    <a:pt x="99764" y="767078"/>
                  </a:lnTo>
                  <a:cubicBezTo>
                    <a:pt x="98619" y="767078"/>
                    <a:pt x="97688" y="768010"/>
                    <a:pt x="97688" y="769155"/>
                  </a:cubicBezTo>
                  <a:lnTo>
                    <a:pt x="97688" y="930894"/>
                  </a:lnTo>
                  <a:cubicBezTo>
                    <a:pt x="97695" y="933144"/>
                    <a:pt x="99034" y="935167"/>
                    <a:pt x="101104" y="936051"/>
                  </a:cubicBezTo>
                  <a:cubicBezTo>
                    <a:pt x="136332" y="950784"/>
                    <a:pt x="161178" y="964983"/>
                    <a:pt x="165264" y="1007243"/>
                  </a:cubicBezTo>
                  <a:cubicBezTo>
                    <a:pt x="168144" y="1037179"/>
                    <a:pt x="169617" y="1082319"/>
                    <a:pt x="148521" y="1105893"/>
                  </a:cubicBezTo>
                  <a:cubicBezTo>
                    <a:pt x="126908" y="1130050"/>
                    <a:pt x="98847" y="1139065"/>
                    <a:pt x="64336" y="1132950"/>
                  </a:cubicBezTo>
                  <a:cubicBezTo>
                    <a:pt x="27166" y="1126387"/>
                    <a:pt x="3726" y="1093437"/>
                    <a:pt x="980" y="1054324"/>
                  </a:cubicBezTo>
                  <a:cubicBezTo>
                    <a:pt x="-2570" y="1003492"/>
                    <a:pt x="1449" y="967260"/>
                    <a:pt x="48531" y="942815"/>
                  </a:cubicBezTo>
                  <a:cubicBezTo>
                    <a:pt x="50821" y="941589"/>
                    <a:pt x="52181" y="939151"/>
                    <a:pt x="52013" y="936586"/>
                  </a:cubicBezTo>
                  <a:cubicBezTo>
                    <a:pt x="51343" y="926186"/>
                    <a:pt x="50922" y="852650"/>
                    <a:pt x="50740" y="715978"/>
                  </a:cubicBezTo>
                  <a:cubicBezTo>
                    <a:pt x="50694" y="655703"/>
                    <a:pt x="52234" y="620140"/>
                    <a:pt x="55362" y="609291"/>
                  </a:cubicBezTo>
                  <a:cubicBezTo>
                    <a:pt x="75520" y="539104"/>
                    <a:pt x="132715" y="493897"/>
                    <a:pt x="206586" y="493830"/>
                  </a:cubicBezTo>
                  <a:cubicBezTo>
                    <a:pt x="325215" y="493783"/>
                    <a:pt x="404738" y="493495"/>
                    <a:pt x="445143" y="492959"/>
                  </a:cubicBezTo>
                  <a:cubicBezTo>
                    <a:pt x="447018" y="492912"/>
                    <a:pt x="448491" y="492538"/>
                    <a:pt x="449563" y="491821"/>
                  </a:cubicBezTo>
                  <a:cubicBezTo>
                    <a:pt x="450869" y="490910"/>
                    <a:pt x="451183" y="489115"/>
                    <a:pt x="450273" y="487809"/>
                  </a:cubicBezTo>
                  <a:cubicBezTo>
                    <a:pt x="450018" y="487448"/>
                    <a:pt x="449683" y="487146"/>
                    <a:pt x="449295" y="486932"/>
                  </a:cubicBezTo>
                  <a:cubicBezTo>
                    <a:pt x="397056" y="458891"/>
                    <a:pt x="362585" y="418506"/>
                    <a:pt x="345889" y="365778"/>
                  </a:cubicBezTo>
                  <a:cubicBezTo>
                    <a:pt x="344302" y="360742"/>
                    <a:pt x="339848" y="357132"/>
                    <a:pt x="334571" y="356603"/>
                  </a:cubicBezTo>
                  <a:cubicBezTo>
                    <a:pt x="295994" y="352853"/>
                    <a:pt x="274027" y="331957"/>
                    <a:pt x="272219" y="292845"/>
                  </a:cubicBezTo>
                  <a:cubicBezTo>
                    <a:pt x="271415" y="275519"/>
                    <a:pt x="271348" y="252909"/>
                    <a:pt x="272018" y="225002"/>
                  </a:cubicBezTo>
                  <a:cubicBezTo>
                    <a:pt x="273224" y="175241"/>
                    <a:pt x="289766" y="154949"/>
                    <a:pt x="336714" y="144300"/>
                  </a:cubicBezTo>
                  <a:cubicBezTo>
                    <a:pt x="341147" y="143295"/>
                    <a:pt x="344751" y="140141"/>
                    <a:pt x="346291" y="135928"/>
                  </a:cubicBezTo>
                  <a:cubicBezTo>
                    <a:pt x="374218" y="59513"/>
                    <a:pt x="446013" y="3523"/>
                    <a:pt x="527653" y="242"/>
                  </a:cubicBezTo>
                  <a:cubicBezTo>
                    <a:pt x="613558" y="-3241"/>
                    <a:pt x="679748" y="30935"/>
                    <a:pt x="726227" y="102777"/>
                  </a:cubicBezTo>
                  <a:cubicBezTo>
                    <a:pt x="736541" y="118716"/>
                    <a:pt x="742615" y="130055"/>
                    <a:pt x="744443" y="136799"/>
                  </a:cubicBezTo>
                  <a:cubicBezTo>
                    <a:pt x="746051" y="142605"/>
                    <a:pt x="751060" y="146818"/>
                    <a:pt x="757034" y="147381"/>
                  </a:cubicBezTo>
                  <a:cubicBezTo>
                    <a:pt x="805054" y="151935"/>
                    <a:pt x="822266" y="187899"/>
                    <a:pt x="820055" y="235383"/>
                  </a:cubicBezTo>
                  <a:cubicBezTo>
                    <a:pt x="820009" y="236454"/>
                    <a:pt x="819835" y="255876"/>
                    <a:pt x="819520" y="293649"/>
                  </a:cubicBezTo>
                  <a:cubicBezTo>
                    <a:pt x="819118" y="331890"/>
                    <a:pt x="789382" y="351982"/>
                    <a:pt x="754422" y="356335"/>
                  </a:cubicBezTo>
                  <a:cubicBezTo>
                    <a:pt x="750317" y="356878"/>
                    <a:pt x="746801" y="359584"/>
                    <a:pt x="745180" y="363435"/>
                  </a:cubicBezTo>
                  <a:cubicBezTo>
                    <a:pt x="721740" y="418955"/>
                    <a:pt x="690396" y="461416"/>
                    <a:pt x="634541" y="486999"/>
                  </a:cubicBezTo>
                  <a:cubicBezTo>
                    <a:pt x="633255" y="487588"/>
                    <a:pt x="632726" y="489115"/>
                    <a:pt x="633356" y="490401"/>
                  </a:cubicBezTo>
                  <a:cubicBezTo>
                    <a:pt x="633764" y="491245"/>
                    <a:pt x="634608" y="491814"/>
                    <a:pt x="635546" y="491888"/>
                  </a:cubicBezTo>
                  <a:cubicBezTo>
                    <a:pt x="679835" y="493676"/>
                    <a:pt x="741249" y="494252"/>
                    <a:pt x="819788" y="493629"/>
                  </a:cubicBezTo>
                  <a:cubicBezTo>
                    <a:pt x="876534" y="493228"/>
                    <a:pt x="911292" y="494681"/>
                    <a:pt x="924064" y="497982"/>
                  </a:cubicBezTo>
                  <a:cubicBezTo>
                    <a:pt x="994452" y="516266"/>
                    <a:pt x="1042137" y="575202"/>
                    <a:pt x="1041936" y="648738"/>
                  </a:cubicBezTo>
                  <a:cubicBezTo>
                    <a:pt x="1041581" y="779958"/>
                    <a:pt x="1041487" y="875554"/>
                    <a:pt x="1041668" y="935515"/>
                  </a:cubicBezTo>
                  <a:cubicBezTo>
                    <a:pt x="1041668" y="937732"/>
                    <a:pt x="1042592" y="939848"/>
                    <a:pt x="1044213" y="941341"/>
                  </a:cubicBezTo>
                  <a:cubicBezTo>
                    <a:pt x="1049524" y="946344"/>
                    <a:pt x="1056087" y="952392"/>
                    <a:pt x="1063903" y="959491"/>
                  </a:cubicBezTo>
                  <a:cubicBezTo>
                    <a:pt x="1092433" y="985477"/>
                    <a:pt x="1090625" y="1020570"/>
                    <a:pt x="1088214" y="1057137"/>
                  </a:cubicBezTo>
                  <a:cubicBezTo>
                    <a:pt x="1081182" y="1163758"/>
                    <a:pt x="925202" y="1161079"/>
                    <a:pt x="921519" y="1049703"/>
                  </a:cubicBezTo>
                  <a:cubicBezTo>
                    <a:pt x="919778" y="996393"/>
                    <a:pt x="930360" y="949579"/>
                    <a:pt x="991304" y="938194"/>
                  </a:cubicBezTo>
                  <a:cubicBezTo>
                    <a:pt x="993977" y="937678"/>
                    <a:pt x="995919" y="935321"/>
                    <a:pt x="995926" y="932568"/>
                  </a:cubicBezTo>
                  <a:lnTo>
                    <a:pt x="995926" y="770963"/>
                  </a:lnTo>
                  <a:cubicBezTo>
                    <a:pt x="995926" y="768706"/>
                    <a:pt x="994097" y="766878"/>
                    <a:pt x="991840" y="766878"/>
                  </a:cubicBezTo>
                  <a:lnTo>
                    <a:pt x="862851" y="766878"/>
                  </a:lnTo>
                  <a:cubicBezTo>
                    <a:pt x="860882" y="766878"/>
                    <a:pt x="859268" y="768458"/>
                    <a:pt x="859235" y="770427"/>
                  </a:cubicBezTo>
                  <a:cubicBezTo>
                    <a:pt x="858786" y="793017"/>
                    <a:pt x="858652" y="807148"/>
                    <a:pt x="858833" y="812821"/>
                  </a:cubicBezTo>
                  <a:cubicBezTo>
                    <a:pt x="860755" y="869433"/>
                    <a:pt x="848405" y="921718"/>
                    <a:pt x="821797" y="969671"/>
                  </a:cubicBezTo>
                  <a:cubicBezTo>
                    <a:pt x="819687" y="973448"/>
                    <a:pt x="818582" y="977708"/>
                    <a:pt x="818582" y="982061"/>
                  </a:cubicBezTo>
                  <a:lnTo>
                    <a:pt x="818582" y="1495272"/>
                  </a:lnTo>
                  <a:cubicBezTo>
                    <a:pt x="818582" y="1497496"/>
                    <a:pt x="819821" y="1499538"/>
                    <a:pt x="821797" y="1500563"/>
                  </a:cubicBezTo>
                  <a:cubicBezTo>
                    <a:pt x="879440" y="1531324"/>
                    <a:pt x="906363" y="1579946"/>
                    <a:pt x="902566" y="1646429"/>
                  </a:cubicBezTo>
                  <a:cubicBezTo>
                    <a:pt x="901943" y="1657098"/>
                    <a:pt x="896853" y="1662389"/>
                    <a:pt x="887296" y="1662302"/>
                  </a:cubicBezTo>
                  <a:cubicBezTo>
                    <a:pt x="803761" y="1661719"/>
                    <a:pt x="720601" y="1661478"/>
                    <a:pt x="637823" y="1661565"/>
                  </a:cubicBezTo>
                  <a:cubicBezTo>
                    <a:pt x="618581" y="1661612"/>
                    <a:pt x="608576" y="1652169"/>
                    <a:pt x="607819" y="1633236"/>
                  </a:cubicBezTo>
                  <a:cubicBezTo>
                    <a:pt x="607196" y="1617249"/>
                    <a:pt x="606902" y="1605529"/>
                    <a:pt x="606948" y="1598075"/>
                  </a:cubicBezTo>
                  <a:cubicBezTo>
                    <a:pt x="607082" y="1426538"/>
                    <a:pt x="607082" y="1263929"/>
                    <a:pt x="606948" y="1110246"/>
                  </a:cubicBezTo>
                  <a:cubicBezTo>
                    <a:pt x="606948" y="1107728"/>
                    <a:pt x="604913" y="1105692"/>
                    <a:pt x="602394" y="1105692"/>
                  </a:cubicBezTo>
                  <a:lnTo>
                    <a:pt x="489211" y="1105692"/>
                  </a:lnTo>
                  <a:cubicBezTo>
                    <a:pt x="488065" y="1105692"/>
                    <a:pt x="487135" y="1106623"/>
                    <a:pt x="487135" y="1107768"/>
                  </a:cubicBezTo>
                  <a:close/>
                  <a:moveTo>
                    <a:pt x="1003359" y="931161"/>
                  </a:moveTo>
                  <a:cubicBezTo>
                    <a:pt x="1003487" y="937470"/>
                    <a:pt x="999663" y="943196"/>
                    <a:pt x="993782" y="945494"/>
                  </a:cubicBezTo>
                  <a:lnTo>
                    <a:pt x="964582" y="957013"/>
                  </a:lnTo>
                  <a:cubicBezTo>
                    <a:pt x="962989" y="957636"/>
                    <a:pt x="961515" y="958520"/>
                    <a:pt x="960229" y="959625"/>
                  </a:cubicBezTo>
                  <a:cubicBezTo>
                    <a:pt x="930627" y="984070"/>
                    <a:pt x="928752" y="1023249"/>
                    <a:pt x="933574" y="1061156"/>
                  </a:cubicBezTo>
                  <a:cubicBezTo>
                    <a:pt x="939468" y="1108104"/>
                    <a:pt x="974025" y="1131879"/>
                    <a:pt x="1019098" y="1124980"/>
                  </a:cubicBezTo>
                  <a:cubicBezTo>
                    <a:pt x="1044501" y="1121143"/>
                    <a:pt x="1062811" y="1107568"/>
                    <a:pt x="1074016" y="1084261"/>
                  </a:cubicBezTo>
                  <a:cubicBezTo>
                    <a:pt x="1075302" y="1081555"/>
                    <a:pt x="1076092" y="1078675"/>
                    <a:pt x="1076360" y="1075756"/>
                  </a:cubicBezTo>
                  <a:cubicBezTo>
                    <a:pt x="1080981" y="1023651"/>
                    <a:pt x="1089286" y="974493"/>
                    <a:pt x="1039525" y="952124"/>
                  </a:cubicBezTo>
                  <a:cubicBezTo>
                    <a:pt x="1035018" y="950081"/>
                    <a:pt x="1032098" y="945621"/>
                    <a:pt x="1032024" y="940672"/>
                  </a:cubicBezTo>
                  <a:cubicBezTo>
                    <a:pt x="1030597" y="836550"/>
                    <a:pt x="1029767" y="777680"/>
                    <a:pt x="1029546" y="764065"/>
                  </a:cubicBezTo>
                  <a:cubicBezTo>
                    <a:pt x="1028943" y="728100"/>
                    <a:pt x="1032225" y="689993"/>
                    <a:pt x="1032024" y="657645"/>
                  </a:cubicBezTo>
                  <a:cubicBezTo>
                    <a:pt x="1031555" y="589735"/>
                    <a:pt x="1001953" y="539304"/>
                    <a:pt x="940004" y="512984"/>
                  </a:cubicBezTo>
                  <a:cubicBezTo>
                    <a:pt x="915760" y="502603"/>
                    <a:pt x="875375" y="501867"/>
                    <a:pt x="852001" y="502135"/>
                  </a:cubicBezTo>
                  <a:cubicBezTo>
                    <a:pt x="773329" y="503072"/>
                    <a:pt x="699257" y="502222"/>
                    <a:pt x="629786" y="499590"/>
                  </a:cubicBezTo>
                  <a:cubicBezTo>
                    <a:pt x="627054" y="499483"/>
                    <a:pt x="624924" y="497179"/>
                    <a:pt x="625031" y="494440"/>
                  </a:cubicBezTo>
                  <a:cubicBezTo>
                    <a:pt x="625044" y="494031"/>
                    <a:pt x="625112" y="493622"/>
                    <a:pt x="625232" y="493228"/>
                  </a:cubicBezTo>
                  <a:lnTo>
                    <a:pt x="628179" y="483382"/>
                  </a:lnTo>
                  <a:cubicBezTo>
                    <a:pt x="628815" y="481266"/>
                    <a:pt x="630335" y="479545"/>
                    <a:pt x="632331" y="478694"/>
                  </a:cubicBezTo>
                  <a:cubicBezTo>
                    <a:pt x="688722" y="454785"/>
                    <a:pt x="714038" y="412190"/>
                    <a:pt x="736875" y="357742"/>
                  </a:cubicBezTo>
                  <a:cubicBezTo>
                    <a:pt x="739166" y="352297"/>
                    <a:pt x="744370" y="348653"/>
                    <a:pt x="750270" y="348366"/>
                  </a:cubicBezTo>
                  <a:cubicBezTo>
                    <a:pt x="772458" y="347247"/>
                    <a:pt x="789737" y="339344"/>
                    <a:pt x="802107" y="324657"/>
                  </a:cubicBezTo>
                  <a:cubicBezTo>
                    <a:pt x="804210" y="322112"/>
                    <a:pt x="805603" y="319058"/>
                    <a:pt x="806125" y="315817"/>
                  </a:cubicBezTo>
                  <a:cubicBezTo>
                    <a:pt x="811684" y="279919"/>
                    <a:pt x="808335" y="250719"/>
                    <a:pt x="805790" y="195534"/>
                  </a:cubicBezTo>
                  <a:cubicBezTo>
                    <a:pt x="805656" y="192721"/>
                    <a:pt x="804806" y="189982"/>
                    <a:pt x="803312" y="187564"/>
                  </a:cubicBezTo>
                  <a:cubicBezTo>
                    <a:pt x="791974" y="169569"/>
                    <a:pt x="774782" y="159188"/>
                    <a:pt x="751744" y="156422"/>
                  </a:cubicBezTo>
                  <a:cubicBezTo>
                    <a:pt x="744095" y="155511"/>
                    <a:pt x="737558" y="150562"/>
                    <a:pt x="734665" y="143496"/>
                  </a:cubicBezTo>
                  <a:cubicBezTo>
                    <a:pt x="723012" y="115300"/>
                    <a:pt x="709283" y="93534"/>
                    <a:pt x="686981" y="73644"/>
                  </a:cubicBezTo>
                  <a:cubicBezTo>
                    <a:pt x="681844" y="69090"/>
                    <a:pt x="672628" y="60249"/>
                    <a:pt x="659321" y="47122"/>
                  </a:cubicBezTo>
                  <a:cubicBezTo>
                    <a:pt x="657098" y="44899"/>
                    <a:pt x="654600" y="42944"/>
                    <a:pt x="651887" y="41296"/>
                  </a:cubicBezTo>
                  <a:cubicBezTo>
                    <a:pt x="635995" y="31605"/>
                    <a:pt x="615702" y="23213"/>
                    <a:pt x="591009" y="16114"/>
                  </a:cubicBezTo>
                  <a:cubicBezTo>
                    <a:pt x="553685" y="5399"/>
                    <a:pt x="517694" y="6135"/>
                    <a:pt x="483049" y="18324"/>
                  </a:cubicBezTo>
                  <a:cubicBezTo>
                    <a:pt x="459475" y="26629"/>
                    <a:pt x="442799" y="34511"/>
                    <a:pt x="433020" y="41966"/>
                  </a:cubicBezTo>
                  <a:cubicBezTo>
                    <a:pt x="418822" y="52862"/>
                    <a:pt x="400961" y="70228"/>
                    <a:pt x="379442" y="94070"/>
                  </a:cubicBezTo>
                  <a:cubicBezTo>
                    <a:pt x="368861" y="105770"/>
                    <a:pt x="361628" y="119031"/>
                    <a:pt x="357743" y="133852"/>
                  </a:cubicBezTo>
                  <a:cubicBezTo>
                    <a:pt x="355339" y="142934"/>
                    <a:pt x="348300" y="150053"/>
                    <a:pt x="339259" y="152537"/>
                  </a:cubicBezTo>
                  <a:cubicBezTo>
                    <a:pt x="313809" y="159436"/>
                    <a:pt x="293650" y="165530"/>
                    <a:pt x="284475" y="192654"/>
                  </a:cubicBezTo>
                  <a:cubicBezTo>
                    <a:pt x="283270" y="196137"/>
                    <a:pt x="282151" y="211205"/>
                    <a:pt x="281127" y="237861"/>
                  </a:cubicBezTo>
                  <a:cubicBezTo>
                    <a:pt x="280256" y="259962"/>
                    <a:pt x="278716" y="313071"/>
                    <a:pt x="293516" y="329211"/>
                  </a:cubicBezTo>
                  <a:cubicBezTo>
                    <a:pt x="301238" y="337650"/>
                    <a:pt x="310548" y="343322"/>
                    <a:pt x="321444" y="346222"/>
                  </a:cubicBezTo>
                  <a:cubicBezTo>
                    <a:pt x="328858" y="348185"/>
                    <a:pt x="336801" y="349484"/>
                    <a:pt x="345286" y="350107"/>
                  </a:cubicBezTo>
                  <a:cubicBezTo>
                    <a:pt x="347644" y="350314"/>
                    <a:pt x="349700" y="351774"/>
                    <a:pt x="350644" y="353924"/>
                  </a:cubicBezTo>
                  <a:lnTo>
                    <a:pt x="370468" y="398260"/>
                  </a:lnTo>
                  <a:cubicBezTo>
                    <a:pt x="370823" y="399104"/>
                    <a:pt x="371298" y="399914"/>
                    <a:pt x="371874" y="400671"/>
                  </a:cubicBezTo>
                  <a:cubicBezTo>
                    <a:pt x="382992" y="415137"/>
                    <a:pt x="391477" y="426677"/>
                    <a:pt x="397324" y="435296"/>
                  </a:cubicBezTo>
                  <a:cubicBezTo>
                    <a:pt x="405628" y="447438"/>
                    <a:pt x="424247" y="462286"/>
                    <a:pt x="453179" y="479833"/>
                  </a:cubicBezTo>
                  <a:cubicBezTo>
                    <a:pt x="455054" y="480964"/>
                    <a:pt x="456213" y="482987"/>
                    <a:pt x="456260" y="485191"/>
                  </a:cubicBezTo>
                  <a:cubicBezTo>
                    <a:pt x="456347" y="493046"/>
                    <a:pt x="456126" y="497561"/>
                    <a:pt x="455590" y="498719"/>
                  </a:cubicBezTo>
                  <a:cubicBezTo>
                    <a:pt x="454432" y="501217"/>
                    <a:pt x="448357" y="502449"/>
                    <a:pt x="437374" y="502403"/>
                  </a:cubicBezTo>
                  <a:cubicBezTo>
                    <a:pt x="375980" y="502316"/>
                    <a:pt x="307694" y="502202"/>
                    <a:pt x="232504" y="502068"/>
                  </a:cubicBezTo>
                  <a:cubicBezTo>
                    <a:pt x="200846" y="502021"/>
                    <a:pt x="177701" y="504231"/>
                    <a:pt x="163054" y="508698"/>
                  </a:cubicBezTo>
                  <a:cubicBezTo>
                    <a:pt x="97287" y="528589"/>
                    <a:pt x="60050" y="588730"/>
                    <a:pt x="59514" y="656708"/>
                  </a:cubicBezTo>
                  <a:cubicBezTo>
                    <a:pt x="58710" y="770916"/>
                    <a:pt x="57994" y="855328"/>
                    <a:pt x="57371" y="909931"/>
                  </a:cubicBezTo>
                  <a:cubicBezTo>
                    <a:pt x="57371" y="910018"/>
                    <a:pt x="57398" y="910112"/>
                    <a:pt x="57438" y="910199"/>
                  </a:cubicBezTo>
                  <a:cubicBezTo>
                    <a:pt x="59447" y="920064"/>
                    <a:pt x="60117" y="930646"/>
                    <a:pt x="59447" y="941944"/>
                  </a:cubicBezTo>
                  <a:cubicBezTo>
                    <a:pt x="59240" y="945179"/>
                    <a:pt x="57324" y="948065"/>
                    <a:pt x="54424" y="949512"/>
                  </a:cubicBezTo>
                  <a:cubicBezTo>
                    <a:pt x="28305" y="962639"/>
                    <a:pt x="11026" y="985141"/>
                    <a:pt x="10691" y="1016619"/>
                  </a:cubicBezTo>
                  <a:cubicBezTo>
                    <a:pt x="10222" y="1061423"/>
                    <a:pt x="7075" y="1105223"/>
                    <a:pt x="59179" y="1122168"/>
                  </a:cubicBezTo>
                  <a:cubicBezTo>
                    <a:pt x="107534" y="1137973"/>
                    <a:pt x="151802" y="1111854"/>
                    <a:pt x="156825" y="1060218"/>
                  </a:cubicBezTo>
                  <a:cubicBezTo>
                    <a:pt x="160308" y="1024187"/>
                    <a:pt x="159839" y="967528"/>
                    <a:pt x="117847" y="952459"/>
                  </a:cubicBezTo>
                  <a:cubicBezTo>
                    <a:pt x="116997" y="952191"/>
                    <a:pt x="110058" y="949559"/>
                    <a:pt x="97019" y="944556"/>
                  </a:cubicBezTo>
                  <a:cubicBezTo>
                    <a:pt x="93027" y="943036"/>
                    <a:pt x="90227" y="939386"/>
                    <a:pt x="89786" y="935113"/>
                  </a:cubicBezTo>
                  <a:cubicBezTo>
                    <a:pt x="84341" y="884528"/>
                    <a:pt x="83624" y="829276"/>
                    <a:pt x="87642" y="769356"/>
                  </a:cubicBezTo>
                  <a:cubicBezTo>
                    <a:pt x="88031" y="763877"/>
                    <a:pt x="92598" y="759631"/>
                    <a:pt x="98090" y="759645"/>
                  </a:cubicBezTo>
                  <a:lnTo>
                    <a:pt x="232370" y="759578"/>
                  </a:lnTo>
                  <a:cubicBezTo>
                    <a:pt x="237038" y="759578"/>
                    <a:pt x="240842" y="763341"/>
                    <a:pt x="240876" y="768016"/>
                  </a:cubicBezTo>
                  <a:cubicBezTo>
                    <a:pt x="241278" y="795877"/>
                    <a:pt x="243468" y="826370"/>
                    <a:pt x="247439" y="859501"/>
                  </a:cubicBezTo>
                  <a:cubicBezTo>
                    <a:pt x="250051" y="881133"/>
                    <a:pt x="256146" y="895331"/>
                    <a:pt x="263178" y="919575"/>
                  </a:cubicBezTo>
                  <a:cubicBezTo>
                    <a:pt x="263225" y="919662"/>
                    <a:pt x="263265" y="919756"/>
                    <a:pt x="263312" y="919843"/>
                  </a:cubicBezTo>
                  <a:lnTo>
                    <a:pt x="282600" y="963242"/>
                  </a:lnTo>
                  <a:cubicBezTo>
                    <a:pt x="283792" y="965894"/>
                    <a:pt x="284408" y="968767"/>
                    <a:pt x="284408" y="971680"/>
                  </a:cubicBezTo>
                  <a:cubicBezTo>
                    <a:pt x="284361" y="1061022"/>
                    <a:pt x="284723" y="1159893"/>
                    <a:pt x="285480" y="1268302"/>
                  </a:cubicBezTo>
                  <a:cubicBezTo>
                    <a:pt x="285968" y="1344965"/>
                    <a:pt x="284944" y="1414081"/>
                    <a:pt x="282399" y="1475649"/>
                  </a:cubicBezTo>
                  <a:cubicBezTo>
                    <a:pt x="281261" y="1502103"/>
                    <a:pt x="252596" y="1507997"/>
                    <a:pt x="241881" y="1520588"/>
                  </a:cubicBezTo>
                  <a:cubicBezTo>
                    <a:pt x="218440" y="1548134"/>
                    <a:pt x="206204" y="1581178"/>
                    <a:pt x="205179" y="1619707"/>
                  </a:cubicBezTo>
                  <a:cubicBezTo>
                    <a:pt x="204865" y="1631361"/>
                    <a:pt x="206633" y="1640650"/>
                    <a:pt x="210470" y="1647568"/>
                  </a:cubicBezTo>
                  <a:cubicBezTo>
                    <a:pt x="211528" y="1649423"/>
                    <a:pt x="213384" y="1650682"/>
                    <a:pt x="215493" y="1650984"/>
                  </a:cubicBezTo>
                  <a:cubicBezTo>
                    <a:pt x="228935" y="1652993"/>
                    <a:pt x="236275" y="1653997"/>
                    <a:pt x="237527" y="1653997"/>
                  </a:cubicBezTo>
                  <a:cubicBezTo>
                    <a:pt x="357361" y="1653817"/>
                    <a:pt x="428754" y="1653750"/>
                    <a:pt x="451706" y="1653797"/>
                  </a:cubicBezTo>
                  <a:cubicBezTo>
                    <a:pt x="467290" y="1653844"/>
                    <a:pt x="475347" y="1647903"/>
                    <a:pt x="475883" y="1635982"/>
                  </a:cubicBezTo>
                  <a:cubicBezTo>
                    <a:pt x="478113" y="1587273"/>
                    <a:pt x="477845" y="1526080"/>
                    <a:pt x="475079" y="1452410"/>
                  </a:cubicBezTo>
                  <a:cubicBezTo>
                    <a:pt x="473874" y="1420129"/>
                    <a:pt x="477222" y="1386576"/>
                    <a:pt x="477289" y="1351951"/>
                  </a:cubicBezTo>
                  <a:cubicBezTo>
                    <a:pt x="477557" y="1264397"/>
                    <a:pt x="478341" y="1189743"/>
                    <a:pt x="479634" y="1127994"/>
                  </a:cubicBezTo>
                  <a:cubicBezTo>
                    <a:pt x="479680" y="1125677"/>
                    <a:pt x="479500" y="1123367"/>
                    <a:pt x="479098" y="1121096"/>
                  </a:cubicBezTo>
                  <a:cubicBezTo>
                    <a:pt x="477939" y="1114754"/>
                    <a:pt x="477403" y="1109309"/>
                    <a:pt x="477490" y="1104755"/>
                  </a:cubicBezTo>
                  <a:cubicBezTo>
                    <a:pt x="477645" y="1099096"/>
                    <a:pt x="482326" y="1094635"/>
                    <a:pt x="487945" y="1094783"/>
                  </a:cubicBezTo>
                  <a:cubicBezTo>
                    <a:pt x="488233" y="1094789"/>
                    <a:pt x="488521" y="1094809"/>
                    <a:pt x="488809" y="1094843"/>
                  </a:cubicBezTo>
                  <a:cubicBezTo>
                    <a:pt x="527606" y="1099216"/>
                    <a:pt x="566564" y="1099732"/>
                    <a:pt x="605676" y="1096383"/>
                  </a:cubicBezTo>
                  <a:cubicBezTo>
                    <a:pt x="609253" y="1096089"/>
                    <a:pt x="612387" y="1098747"/>
                    <a:pt x="612688" y="1102324"/>
                  </a:cubicBezTo>
                  <a:cubicBezTo>
                    <a:pt x="612701" y="1102484"/>
                    <a:pt x="612708" y="1102652"/>
                    <a:pt x="612708" y="1102812"/>
                  </a:cubicBezTo>
                  <a:lnTo>
                    <a:pt x="615588" y="1633839"/>
                  </a:lnTo>
                  <a:cubicBezTo>
                    <a:pt x="615635" y="1636410"/>
                    <a:pt x="616452" y="1638888"/>
                    <a:pt x="617932" y="1640938"/>
                  </a:cubicBezTo>
                  <a:cubicBezTo>
                    <a:pt x="624006" y="1649289"/>
                    <a:pt x="632733" y="1653395"/>
                    <a:pt x="644118" y="1653261"/>
                  </a:cubicBezTo>
                  <a:cubicBezTo>
                    <a:pt x="734083" y="1652276"/>
                    <a:pt x="815254" y="1652256"/>
                    <a:pt x="887631" y="1653194"/>
                  </a:cubicBezTo>
                  <a:cubicBezTo>
                    <a:pt x="891696" y="1653268"/>
                    <a:pt x="895058" y="1650060"/>
                    <a:pt x="895132" y="1646028"/>
                  </a:cubicBezTo>
                  <a:cubicBezTo>
                    <a:pt x="895138" y="1645920"/>
                    <a:pt x="895132" y="1645807"/>
                    <a:pt x="895132" y="1645693"/>
                  </a:cubicBezTo>
                  <a:cubicBezTo>
                    <a:pt x="893792" y="1588967"/>
                    <a:pt x="874236" y="1535657"/>
                    <a:pt x="820323" y="1509872"/>
                  </a:cubicBezTo>
                  <a:cubicBezTo>
                    <a:pt x="814725" y="1507200"/>
                    <a:pt x="811088" y="1501648"/>
                    <a:pt x="810880" y="1495473"/>
                  </a:cubicBezTo>
                  <a:cubicBezTo>
                    <a:pt x="808871" y="1442076"/>
                    <a:pt x="807866" y="1370790"/>
                    <a:pt x="807866" y="1281630"/>
                  </a:cubicBezTo>
                  <a:cubicBezTo>
                    <a:pt x="807913" y="1184566"/>
                    <a:pt x="808536" y="1084214"/>
                    <a:pt x="809742" y="980587"/>
                  </a:cubicBezTo>
                  <a:cubicBezTo>
                    <a:pt x="809789" y="975899"/>
                    <a:pt x="812843" y="967662"/>
                    <a:pt x="818917" y="955874"/>
                  </a:cubicBezTo>
                  <a:cubicBezTo>
                    <a:pt x="844186" y="906630"/>
                    <a:pt x="854432" y="852221"/>
                    <a:pt x="849658" y="792662"/>
                  </a:cubicBezTo>
                  <a:cubicBezTo>
                    <a:pt x="849256" y="787525"/>
                    <a:pt x="849724" y="779556"/>
                    <a:pt x="851064" y="768753"/>
                  </a:cubicBezTo>
                  <a:cubicBezTo>
                    <a:pt x="851807" y="762886"/>
                    <a:pt x="856777" y="758499"/>
                    <a:pt x="862650" y="758506"/>
                  </a:cubicBezTo>
                  <a:lnTo>
                    <a:pt x="992108" y="758506"/>
                  </a:lnTo>
                  <a:cubicBezTo>
                    <a:pt x="994077" y="758506"/>
                    <a:pt x="995959" y="759303"/>
                    <a:pt x="997332" y="760716"/>
                  </a:cubicBezTo>
                  <a:cubicBezTo>
                    <a:pt x="1001799" y="765317"/>
                    <a:pt x="1003982" y="772081"/>
                    <a:pt x="1003895" y="781009"/>
                  </a:cubicBezTo>
                  <a:cubicBezTo>
                    <a:pt x="1002958" y="857445"/>
                    <a:pt x="1002777" y="907500"/>
                    <a:pt x="1003359" y="931161"/>
                  </a:cubicBezTo>
                  <a:close/>
                </a:path>
              </a:pathLst>
            </a:custGeom>
            <a:grpFill/>
            <a:ln w="6697" cap="flat">
              <a:noFill/>
              <a:prstDash val="solid"/>
              <a:miter/>
            </a:ln>
          </p:spPr>
          <p:txBody>
            <a:bodyPr rtlCol="0" anchor="ctr"/>
            <a:lstStyle/>
            <a:p>
              <a:endParaRPr lang="en-GB" noProof="0"/>
            </a:p>
          </p:txBody>
        </p:sp>
        <p:sp>
          <p:nvSpPr>
            <p:cNvPr id="1035" name="Free-form: Shape 33">
              <a:extLst>
                <a:ext uri="{FF2B5EF4-FFF2-40B4-BE49-F238E27FC236}">
                  <a16:creationId xmlns:a16="http://schemas.microsoft.com/office/drawing/2014/main" id="{53086659-01A8-E043-0B86-E5F1C2A6E4C6}"/>
                </a:ext>
              </a:extLst>
            </p:cNvPr>
            <p:cNvSpPr/>
            <p:nvPr/>
          </p:nvSpPr>
          <p:spPr>
            <a:xfrm>
              <a:off x="5016740" y="3523881"/>
              <a:ext cx="1069429" cy="1645402"/>
            </a:xfrm>
            <a:custGeom>
              <a:avLst/>
              <a:gdLst>
                <a:gd name="connsiteX0" fmla="*/ 992865 w 1069429"/>
                <a:gd name="connsiteY0" fmla="*/ 922567 h 1645402"/>
                <a:gd name="connsiteX1" fmla="*/ 993401 w 1069429"/>
                <a:gd name="connsiteY1" fmla="*/ 772415 h 1645402"/>
                <a:gd name="connsiteX2" fmla="*/ 986838 w 1069429"/>
                <a:gd name="connsiteY2" fmla="*/ 752122 h 1645402"/>
                <a:gd name="connsiteX3" fmla="*/ 981614 w 1069429"/>
                <a:gd name="connsiteY3" fmla="*/ 749912 h 1645402"/>
                <a:gd name="connsiteX4" fmla="*/ 852156 w 1069429"/>
                <a:gd name="connsiteY4" fmla="*/ 749912 h 1645402"/>
                <a:gd name="connsiteX5" fmla="*/ 840569 w 1069429"/>
                <a:gd name="connsiteY5" fmla="*/ 760158 h 1645402"/>
                <a:gd name="connsiteX6" fmla="*/ 839163 w 1069429"/>
                <a:gd name="connsiteY6" fmla="*/ 784068 h 1645402"/>
                <a:gd name="connsiteX7" fmla="*/ 808422 w 1069429"/>
                <a:gd name="connsiteY7" fmla="*/ 947280 h 1645402"/>
                <a:gd name="connsiteX8" fmla="*/ 799247 w 1069429"/>
                <a:gd name="connsiteY8" fmla="*/ 971993 h 1645402"/>
                <a:gd name="connsiteX9" fmla="*/ 797372 w 1069429"/>
                <a:gd name="connsiteY9" fmla="*/ 1273035 h 1645402"/>
                <a:gd name="connsiteX10" fmla="*/ 800386 w 1069429"/>
                <a:gd name="connsiteY10" fmla="*/ 1486879 h 1645402"/>
                <a:gd name="connsiteX11" fmla="*/ 809829 w 1069429"/>
                <a:gd name="connsiteY11" fmla="*/ 1501278 h 1645402"/>
                <a:gd name="connsiteX12" fmla="*/ 884637 w 1069429"/>
                <a:gd name="connsiteY12" fmla="*/ 1637098 h 1645402"/>
                <a:gd name="connsiteX13" fmla="*/ 877478 w 1069429"/>
                <a:gd name="connsiteY13" fmla="*/ 1644599 h 1645402"/>
                <a:gd name="connsiteX14" fmla="*/ 877136 w 1069429"/>
                <a:gd name="connsiteY14" fmla="*/ 1644599 h 1645402"/>
                <a:gd name="connsiteX15" fmla="*/ 633624 w 1069429"/>
                <a:gd name="connsiteY15" fmla="*/ 1644666 h 1645402"/>
                <a:gd name="connsiteX16" fmla="*/ 607437 w 1069429"/>
                <a:gd name="connsiteY16" fmla="*/ 1632344 h 1645402"/>
                <a:gd name="connsiteX17" fmla="*/ 605094 w 1069429"/>
                <a:gd name="connsiteY17" fmla="*/ 1625245 h 1645402"/>
                <a:gd name="connsiteX18" fmla="*/ 602214 w 1069429"/>
                <a:gd name="connsiteY18" fmla="*/ 1094218 h 1645402"/>
                <a:gd name="connsiteX19" fmla="*/ 595671 w 1069429"/>
                <a:gd name="connsiteY19" fmla="*/ 1087769 h 1645402"/>
                <a:gd name="connsiteX20" fmla="*/ 595181 w 1069429"/>
                <a:gd name="connsiteY20" fmla="*/ 1087789 h 1645402"/>
                <a:gd name="connsiteX21" fmla="*/ 478314 w 1069429"/>
                <a:gd name="connsiteY21" fmla="*/ 1086248 h 1645402"/>
                <a:gd name="connsiteX22" fmla="*/ 467056 w 1069429"/>
                <a:gd name="connsiteY22" fmla="*/ 1095290 h 1645402"/>
                <a:gd name="connsiteX23" fmla="*/ 466996 w 1069429"/>
                <a:gd name="connsiteY23" fmla="*/ 1096161 h 1645402"/>
                <a:gd name="connsiteX24" fmla="*/ 468603 w 1069429"/>
                <a:gd name="connsiteY24" fmla="*/ 1112502 h 1645402"/>
                <a:gd name="connsiteX25" fmla="*/ 469139 w 1069429"/>
                <a:gd name="connsiteY25" fmla="*/ 1119400 h 1645402"/>
                <a:gd name="connsiteX26" fmla="*/ 466795 w 1069429"/>
                <a:gd name="connsiteY26" fmla="*/ 1343356 h 1645402"/>
                <a:gd name="connsiteX27" fmla="*/ 464585 w 1069429"/>
                <a:gd name="connsiteY27" fmla="*/ 1443815 h 1645402"/>
                <a:gd name="connsiteX28" fmla="*/ 465389 w 1069429"/>
                <a:gd name="connsiteY28" fmla="*/ 1627387 h 1645402"/>
                <a:gd name="connsiteX29" fmla="*/ 441211 w 1069429"/>
                <a:gd name="connsiteY29" fmla="*/ 1645202 h 1645402"/>
                <a:gd name="connsiteX30" fmla="*/ 227033 w 1069429"/>
                <a:gd name="connsiteY30" fmla="*/ 1645403 h 1645402"/>
                <a:gd name="connsiteX31" fmla="*/ 204999 w 1069429"/>
                <a:gd name="connsiteY31" fmla="*/ 1642390 h 1645402"/>
                <a:gd name="connsiteX32" fmla="*/ 199976 w 1069429"/>
                <a:gd name="connsiteY32" fmla="*/ 1638974 h 1645402"/>
                <a:gd name="connsiteX33" fmla="*/ 194685 w 1069429"/>
                <a:gd name="connsiteY33" fmla="*/ 1611113 h 1645402"/>
                <a:gd name="connsiteX34" fmla="*/ 231386 w 1069429"/>
                <a:gd name="connsiteY34" fmla="*/ 1511994 h 1645402"/>
                <a:gd name="connsiteX35" fmla="*/ 271905 w 1069429"/>
                <a:gd name="connsiteY35" fmla="*/ 1467055 h 1645402"/>
                <a:gd name="connsiteX36" fmla="*/ 274985 w 1069429"/>
                <a:gd name="connsiteY36" fmla="*/ 1259708 h 1645402"/>
                <a:gd name="connsiteX37" fmla="*/ 273914 w 1069429"/>
                <a:gd name="connsiteY37" fmla="*/ 963085 h 1645402"/>
                <a:gd name="connsiteX38" fmla="*/ 272105 w 1069429"/>
                <a:gd name="connsiteY38" fmla="*/ 954647 h 1645402"/>
                <a:gd name="connsiteX39" fmla="*/ 252817 w 1069429"/>
                <a:gd name="connsiteY39" fmla="*/ 911249 h 1645402"/>
                <a:gd name="connsiteX40" fmla="*/ 252683 w 1069429"/>
                <a:gd name="connsiteY40" fmla="*/ 910981 h 1645402"/>
                <a:gd name="connsiteX41" fmla="*/ 236945 w 1069429"/>
                <a:gd name="connsiteY41" fmla="*/ 850906 h 1645402"/>
                <a:gd name="connsiteX42" fmla="*/ 230381 w 1069429"/>
                <a:gd name="connsiteY42" fmla="*/ 759422 h 1645402"/>
                <a:gd name="connsiteX43" fmla="*/ 221876 w 1069429"/>
                <a:gd name="connsiteY43" fmla="*/ 750983 h 1645402"/>
                <a:gd name="connsiteX44" fmla="*/ 87596 w 1069429"/>
                <a:gd name="connsiteY44" fmla="*/ 751050 h 1645402"/>
                <a:gd name="connsiteX45" fmla="*/ 77148 w 1069429"/>
                <a:gd name="connsiteY45" fmla="*/ 760761 h 1645402"/>
                <a:gd name="connsiteX46" fmla="*/ 79291 w 1069429"/>
                <a:gd name="connsiteY46" fmla="*/ 926519 h 1645402"/>
                <a:gd name="connsiteX47" fmla="*/ 86524 w 1069429"/>
                <a:gd name="connsiteY47" fmla="*/ 935962 h 1645402"/>
                <a:gd name="connsiteX48" fmla="*/ 107353 w 1069429"/>
                <a:gd name="connsiteY48" fmla="*/ 943864 h 1645402"/>
                <a:gd name="connsiteX49" fmla="*/ 146331 w 1069429"/>
                <a:gd name="connsiteY49" fmla="*/ 1051624 h 1645402"/>
                <a:gd name="connsiteX50" fmla="*/ 48685 w 1069429"/>
                <a:gd name="connsiteY50" fmla="*/ 1113573 h 1645402"/>
                <a:gd name="connsiteX51" fmla="*/ 196 w 1069429"/>
                <a:gd name="connsiteY51" fmla="*/ 1008024 h 1645402"/>
                <a:gd name="connsiteX52" fmla="*/ 43929 w 1069429"/>
                <a:gd name="connsiteY52" fmla="*/ 940918 h 1645402"/>
                <a:gd name="connsiteX53" fmla="*/ 48952 w 1069429"/>
                <a:gd name="connsiteY53" fmla="*/ 933350 h 1645402"/>
                <a:gd name="connsiteX54" fmla="*/ 46943 w 1069429"/>
                <a:gd name="connsiteY54" fmla="*/ 901605 h 1645402"/>
                <a:gd name="connsiteX55" fmla="*/ 46876 w 1069429"/>
                <a:gd name="connsiteY55" fmla="*/ 901337 h 1645402"/>
                <a:gd name="connsiteX56" fmla="*/ 49019 w 1069429"/>
                <a:gd name="connsiteY56" fmla="*/ 648113 h 1645402"/>
                <a:gd name="connsiteX57" fmla="*/ 152559 w 1069429"/>
                <a:gd name="connsiteY57" fmla="*/ 500104 h 1645402"/>
                <a:gd name="connsiteX58" fmla="*/ 222010 w 1069429"/>
                <a:gd name="connsiteY58" fmla="*/ 493473 h 1645402"/>
                <a:gd name="connsiteX59" fmla="*/ 426879 w 1069429"/>
                <a:gd name="connsiteY59" fmla="*/ 493808 h 1645402"/>
                <a:gd name="connsiteX60" fmla="*/ 445096 w 1069429"/>
                <a:gd name="connsiteY60" fmla="*/ 490125 h 1645402"/>
                <a:gd name="connsiteX61" fmla="*/ 445765 w 1069429"/>
                <a:gd name="connsiteY61" fmla="*/ 476596 h 1645402"/>
                <a:gd name="connsiteX62" fmla="*/ 442685 w 1069429"/>
                <a:gd name="connsiteY62" fmla="*/ 471239 h 1645402"/>
                <a:gd name="connsiteX63" fmla="*/ 386829 w 1069429"/>
                <a:gd name="connsiteY63" fmla="*/ 426702 h 1645402"/>
                <a:gd name="connsiteX64" fmla="*/ 361380 w 1069429"/>
                <a:gd name="connsiteY64" fmla="*/ 392077 h 1645402"/>
                <a:gd name="connsiteX65" fmla="*/ 359973 w 1069429"/>
                <a:gd name="connsiteY65" fmla="*/ 389666 h 1645402"/>
                <a:gd name="connsiteX66" fmla="*/ 340150 w 1069429"/>
                <a:gd name="connsiteY66" fmla="*/ 345330 h 1645402"/>
                <a:gd name="connsiteX67" fmla="*/ 334792 w 1069429"/>
                <a:gd name="connsiteY67" fmla="*/ 341512 h 1645402"/>
                <a:gd name="connsiteX68" fmla="*/ 310950 w 1069429"/>
                <a:gd name="connsiteY68" fmla="*/ 337628 h 1645402"/>
                <a:gd name="connsiteX69" fmla="*/ 283022 w 1069429"/>
                <a:gd name="connsiteY69" fmla="*/ 320617 h 1645402"/>
                <a:gd name="connsiteX70" fmla="*/ 270632 w 1069429"/>
                <a:gd name="connsiteY70" fmla="*/ 229266 h 1645402"/>
                <a:gd name="connsiteX71" fmla="*/ 273981 w 1069429"/>
                <a:gd name="connsiteY71" fmla="*/ 184060 h 1645402"/>
                <a:gd name="connsiteX72" fmla="*/ 328764 w 1069429"/>
                <a:gd name="connsiteY72" fmla="*/ 143943 h 1645402"/>
                <a:gd name="connsiteX73" fmla="*/ 347249 w 1069429"/>
                <a:gd name="connsiteY73" fmla="*/ 125258 h 1645402"/>
                <a:gd name="connsiteX74" fmla="*/ 368948 w 1069429"/>
                <a:gd name="connsiteY74" fmla="*/ 85476 h 1645402"/>
                <a:gd name="connsiteX75" fmla="*/ 422526 w 1069429"/>
                <a:gd name="connsiteY75" fmla="*/ 33371 h 1645402"/>
                <a:gd name="connsiteX76" fmla="*/ 472554 w 1069429"/>
                <a:gd name="connsiteY76" fmla="*/ 9730 h 1645402"/>
                <a:gd name="connsiteX77" fmla="*/ 580515 w 1069429"/>
                <a:gd name="connsiteY77" fmla="*/ 7520 h 1645402"/>
                <a:gd name="connsiteX78" fmla="*/ 641393 w 1069429"/>
                <a:gd name="connsiteY78" fmla="*/ 32701 h 1645402"/>
                <a:gd name="connsiteX79" fmla="*/ 648826 w 1069429"/>
                <a:gd name="connsiteY79" fmla="*/ 38528 h 1645402"/>
                <a:gd name="connsiteX80" fmla="*/ 676486 w 1069429"/>
                <a:gd name="connsiteY80" fmla="*/ 65049 h 1645402"/>
                <a:gd name="connsiteX81" fmla="*/ 724171 w 1069429"/>
                <a:gd name="connsiteY81" fmla="*/ 134902 h 1645402"/>
                <a:gd name="connsiteX82" fmla="*/ 741249 w 1069429"/>
                <a:gd name="connsiteY82" fmla="*/ 147827 h 1645402"/>
                <a:gd name="connsiteX83" fmla="*/ 792818 w 1069429"/>
                <a:gd name="connsiteY83" fmla="*/ 178970 h 1645402"/>
                <a:gd name="connsiteX84" fmla="*/ 795296 w 1069429"/>
                <a:gd name="connsiteY84" fmla="*/ 186940 h 1645402"/>
                <a:gd name="connsiteX85" fmla="*/ 795631 w 1069429"/>
                <a:gd name="connsiteY85" fmla="*/ 307222 h 1645402"/>
                <a:gd name="connsiteX86" fmla="*/ 791612 w 1069429"/>
                <a:gd name="connsiteY86" fmla="*/ 316063 h 1645402"/>
                <a:gd name="connsiteX87" fmla="*/ 739775 w 1069429"/>
                <a:gd name="connsiteY87" fmla="*/ 339771 h 1645402"/>
                <a:gd name="connsiteX88" fmla="*/ 726381 w 1069429"/>
                <a:gd name="connsiteY88" fmla="*/ 349147 h 1645402"/>
                <a:gd name="connsiteX89" fmla="*/ 621837 w 1069429"/>
                <a:gd name="connsiteY89" fmla="*/ 470100 h 1645402"/>
                <a:gd name="connsiteX90" fmla="*/ 617684 w 1069429"/>
                <a:gd name="connsiteY90" fmla="*/ 474788 h 1645402"/>
                <a:gd name="connsiteX91" fmla="*/ 614738 w 1069429"/>
                <a:gd name="connsiteY91" fmla="*/ 484633 h 1645402"/>
                <a:gd name="connsiteX92" fmla="*/ 618079 w 1069429"/>
                <a:gd name="connsiteY92" fmla="*/ 490795 h 1645402"/>
                <a:gd name="connsiteX93" fmla="*/ 619292 w 1069429"/>
                <a:gd name="connsiteY93" fmla="*/ 490995 h 1645402"/>
                <a:gd name="connsiteX94" fmla="*/ 841507 w 1069429"/>
                <a:gd name="connsiteY94" fmla="*/ 493540 h 1645402"/>
                <a:gd name="connsiteX95" fmla="*/ 929509 w 1069429"/>
                <a:gd name="connsiteY95" fmla="*/ 504390 h 1645402"/>
                <a:gd name="connsiteX96" fmla="*/ 1021529 w 1069429"/>
                <a:gd name="connsiteY96" fmla="*/ 649051 h 1645402"/>
                <a:gd name="connsiteX97" fmla="*/ 1019051 w 1069429"/>
                <a:gd name="connsiteY97" fmla="*/ 755470 h 1645402"/>
                <a:gd name="connsiteX98" fmla="*/ 1021529 w 1069429"/>
                <a:gd name="connsiteY98" fmla="*/ 932078 h 1645402"/>
                <a:gd name="connsiteX99" fmla="*/ 1029030 w 1069429"/>
                <a:gd name="connsiteY99" fmla="*/ 943530 h 1645402"/>
                <a:gd name="connsiteX100" fmla="*/ 1065865 w 1069429"/>
                <a:gd name="connsiteY100" fmla="*/ 1067161 h 1645402"/>
                <a:gd name="connsiteX101" fmla="*/ 1063521 w 1069429"/>
                <a:gd name="connsiteY101" fmla="*/ 1075667 h 1645402"/>
                <a:gd name="connsiteX102" fmla="*/ 1008604 w 1069429"/>
                <a:gd name="connsiteY102" fmla="*/ 1116386 h 1645402"/>
                <a:gd name="connsiteX103" fmla="*/ 923080 w 1069429"/>
                <a:gd name="connsiteY103" fmla="*/ 1052561 h 1645402"/>
                <a:gd name="connsiteX104" fmla="*/ 949735 w 1069429"/>
                <a:gd name="connsiteY104" fmla="*/ 951030 h 1645402"/>
                <a:gd name="connsiteX105" fmla="*/ 954088 w 1069429"/>
                <a:gd name="connsiteY105" fmla="*/ 948419 h 1645402"/>
                <a:gd name="connsiteX106" fmla="*/ 983288 w 1069429"/>
                <a:gd name="connsiteY106" fmla="*/ 936899 h 1645402"/>
                <a:gd name="connsiteX107" fmla="*/ 992865 w 1069429"/>
                <a:gd name="connsiteY107" fmla="*/ 922567 h 1645402"/>
                <a:gd name="connsiteX108" fmla="*/ 371359 w 1069429"/>
                <a:gd name="connsiteY108" fmla="*/ 244603 h 1645402"/>
                <a:gd name="connsiteX109" fmla="*/ 373703 w 1069429"/>
                <a:gd name="connsiteY109" fmla="*/ 313652 h 1645402"/>
                <a:gd name="connsiteX110" fmla="*/ 535040 w 1069429"/>
                <a:gd name="connsiteY110" fmla="*/ 450276 h 1645402"/>
                <a:gd name="connsiteX111" fmla="*/ 695507 w 1069429"/>
                <a:gd name="connsiteY111" fmla="*/ 312714 h 1645402"/>
                <a:gd name="connsiteX112" fmla="*/ 697449 w 1069429"/>
                <a:gd name="connsiteY112" fmla="*/ 243665 h 1645402"/>
                <a:gd name="connsiteX113" fmla="*/ 695105 w 1069429"/>
                <a:gd name="connsiteY113" fmla="*/ 174617 h 1645402"/>
                <a:gd name="connsiteX114" fmla="*/ 533835 w 1069429"/>
                <a:gd name="connsiteY114" fmla="*/ 37993 h 1645402"/>
                <a:gd name="connsiteX115" fmla="*/ 373301 w 1069429"/>
                <a:gd name="connsiteY115" fmla="*/ 175554 h 1645402"/>
                <a:gd name="connsiteX116" fmla="*/ 371359 w 1069429"/>
                <a:gd name="connsiteY116" fmla="*/ 244603 h 1645402"/>
                <a:gd name="connsiteX117" fmla="*/ 323842 w 1069429"/>
                <a:gd name="connsiteY117" fmla="*/ 196155 h 1645402"/>
                <a:gd name="connsiteX118" fmla="*/ 316850 w 1069429"/>
                <a:gd name="connsiteY118" fmla="*/ 189216 h 1645402"/>
                <a:gd name="connsiteX119" fmla="*/ 316850 w 1069429"/>
                <a:gd name="connsiteY119" fmla="*/ 189216 h 1645402"/>
                <a:gd name="connsiteX120" fmla="*/ 316448 w 1069429"/>
                <a:gd name="connsiteY120" fmla="*/ 189216 h 1645402"/>
                <a:gd name="connsiteX121" fmla="*/ 309510 w 1069429"/>
                <a:gd name="connsiteY121" fmla="*/ 196208 h 1645402"/>
                <a:gd name="connsiteX122" fmla="*/ 309510 w 1069429"/>
                <a:gd name="connsiteY122" fmla="*/ 196208 h 1645402"/>
                <a:gd name="connsiteX123" fmla="*/ 309844 w 1069429"/>
                <a:gd name="connsiteY123" fmla="*/ 292113 h 1645402"/>
                <a:gd name="connsiteX124" fmla="*/ 316836 w 1069429"/>
                <a:gd name="connsiteY124" fmla="*/ 299052 h 1645402"/>
                <a:gd name="connsiteX125" fmla="*/ 316836 w 1069429"/>
                <a:gd name="connsiteY125" fmla="*/ 299052 h 1645402"/>
                <a:gd name="connsiteX126" fmla="*/ 317238 w 1069429"/>
                <a:gd name="connsiteY126" fmla="*/ 299052 h 1645402"/>
                <a:gd name="connsiteX127" fmla="*/ 324177 w 1069429"/>
                <a:gd name="connsiteY127" fmla="*/ 292060 h 1645402"/>
                <a:gd name="connsiteX128" fmla="*/ 324177 w 1069429"/>
                <a:gd name="connsiteY128" fmla="*/ 292060 h 1645402"/>
                <a:gd name="connsiteX129" fmla="*/ 323842 w 1069429"/>
                <a:gd name="connsiteY129" fmla="*/ 196155 h 1645402"/>
                <a:gd name="connsiteX130" fmla="*/ 745200 w 1069429"/>
                <a:gd name="connsiteY130" fmla="*/ 191092 h 1645402"/>
                <a:gd name="connsiteX131" fmla="*/ 744397 w 1069429"/>
                <a:gd name="connsiteY131" fmla="*/ 297846 h 1645402"/>
                <a:gd name="connsiteX132" fmla="*/ 745133 w 1069429"/>
                <a:gd name="connsiteY132" fmla="*/ 298583 h 1645402"/>
                <a:gd name="connsiteX133" fmla="*/ 745334 w 1069429"/>
                <a:gd name="connsiteY133" fmla="*/ 298583 h 1645402"/>
                <a:gd name="connsiteX134" fmla="*/ 763618 w 1069429"/>
                <a:gd name="connsiteY134" fmla="*/ 274439 h 1645402"/>
                <a:gd name="connsiteX135" fmla="*/ 763618 w 1069429"/>
                <a:gd name="connsiteY135" fmla="*/ 274406 h 1645402"/>
                <a:gd name="connsiteX136" fmla="*/ 764019 w 1069429"/>
                <a:gd name="connsiteY136" fmla="*/ 214800 h 1645402"/>
                <a:gd name="connsiteX137" fmla="*/ 746138 w 1069429"/>
                <a:gd name="connsiteY137" fmla="*/ 190355 h 1645402"/>
                <a:gd name="connsiteX138" fmla="*/ 745937 w 1069429"/>
                <a:gd name="connsiteY138" fmla="*/ 190355 h 1645402"/>
                <a:gd name="connsiteX139" fmla="*/ 745200 w 1069429"/>
                <a:gd name="connsiteY139" fmla="*/ 191092 h 1645402"/>
                <a:gd name="connsiteX140" fmla="*/ 464652 w 1069429"/>
                <a:gd name="connsiteY140" fmla="*/ 497224 h 1645402"/>
                <a:gd name="connsiteX141" fmla="*/ 464987 w 1069429"/>
                <a:gd name="connsiteY141" fmla="*/ 506332 h 1645402"/>
                <a:gd name="connsiteX142" fmla="*/ 452094 w 1069429"/>
                <a:gd name="connsiteY142" fmla="*/ 523270 h 1645402"/>
                <a:gd name="connsiteX143" fmla="*/ 450788 w 1069429"/>
                <a:gd name="connsiteY143" fmla="*/ 523343 h 1645402"/>
                <a:gd name="connsiteX144" fmla="*/ 270297 w 1069429"/>
                <a:gd name="connsiteY144" fmla="*/ 522071 h 1645402"/>
                <a:gd name="connsiteX145" fmla="*/ 261859 w 1069429"/>
                <a:gd name="connsiteY145" fmla="*/ 529505 h 1645402"/>
                <a:gd name="connsiteX146" fmla="*/ 260318 w 1069429"/>
                <a:gd name="connsiteY146" fmla="*/ 570090 h 1645402"/>
                <a:gd name="connsiteX147" fmla="*/ 261189 w 1069429"/>
                <a:gd name="connsiteY147" fmla="*/ 775294 h 1645402"/>
                <a:gd name="connsiteX148" fmla="*/ 295144 w 1069429"/>
                <a:gd name="connsiteY148" fmla="*/ 932278 h 1645402"/>
                <a:gd name="connsiteX149" fmla="*/ 449449 w 1069429"/>
                <a:gd name="connsiteY149" fmla="*/ 1049079 h 1645402"/>
                <a:gd name="connsiteX150" fmla="*/ 578572 w 1069429"/>
                <a:gd name="connsiteY150" fmla="*/ 1058924 h 1645402"/>
                <a:gd name="connsiteX151" fmla="*/ 712383 w 1069429"/>
                <a:gd name="connsiteY151" fmla="*/ 1010703 h 1645402"/>
                <a:gd name="connsiteX152" fmla="*/ 799113 w 1069429"/>
                <a:gd name="connsiteY152" fmla="*/ 897185 h 1645402"/>
                <a:gd name="connsiteX153" fmla="*/ 809829 w 1069429"/>
                <a:gd name="connsiteY153" fmla="*/ 814272 h 1645402"/>
                <a:gd name="connsiteX154" fmla="*/ 810566 w 1069429"/>
                <a:gd name="connsiteY154" fmla="*/ 575984 h 1645402"/>
                <a:gd name="connsiteX155" fmla="*/ 809494 w 1069429"/>
                <a:gd name="connsiteY155" fmla="*/ 527161 h 1645402"/>
                <a:gd name="connsiteX156" fmla="*/ 803534 w 1069429"/>
                <a:gd name="connsiteY156" fmla="*/ 522807 h 1645402"/>
                <a:gd name="connsiteX157" fmla="*/ 622439 w 1069429"/>
                <a:gd name="connsiteY157" fmla="*/ 522740 h 1645402"/>
                <a:gd name="connsiteX158" fmla="*/ 604089 w 1069429"/>
                <a:gd name="connsiteY158" fmla="*/ 514838 h 1645402"/>
                <a:gd name="connsiteX159" fmla="*/ 601477 w 1069429"/>
                <a:gd name="connsiteY159" fmla="*/ 509145 h 1645402"/>
                <a:gd name="connsiteX160" fmla="*/ 600472 w 1069429"/>
                <a:gd name="connsiteY160" fmla="*/ 495616 h 1645402"/>
                <a:gd name="connsiteX161" fmla="*/ 589395 w 1069429"/>
                <a:gd name="connsiteY161" fmla="*/ 486126 h 1645402"/>
                <a:gd name="connsiteX162" fmla="*/ 587814 w 1069429"/>
                <a:gd name="connsiteY162" fmla="*/ 486374 h 1645402"/>
                <a:gd name="connsiteX163" fmla="*/ 481127 w 1069429"/>
                <a:gd name="connsiteY163" fmla="*/ 487245 h 1645402"/>
                <a:gd name="connsiteX164" fmla="*/ 464665 w 1069429"/>
                <a:gd name="connsiteY164" fmla="*/ 497177 h 1645402"/>
                <a:gd name="connsiteX165" fmla="*/ 464652 w 1069429"/>
                <a:gd name="connsiteY165" fmla="*/ 497224 h 1645402"/>
                <a:gd name="connsiteX166" fmla="*/ 222010 w 1069429"/>
                <a:gd name="connsiteY166" fmla="*/ 536135 h 1645402"/>
                <a:gd name="connsiteX167" fmla="*/ 217255 w 1069429"/>
                <a:gd name="connsiteY167" fmla="*/ 531380 h 1645402"/>
                <a:gd name="connsiteX168" fmla="*/ 100388 w 1069429"/>
                <a:gd name="connsiteY168" fmla="*/ 588642 h 1645402"/>
                <a:gd name="connsiteX169" fmla="*/ 86926 w 1069429"/>
                <a:gd name="connsiteY169" fmla="*/ 715354 h 1645402"/>
                <a:gd name="connsiteX170" fmla="*/ 89404 w 1069429"/>
                <a:gd name="connsiteY170" fmla="*/ 717832 h 1645402"/>
                <a:gd name="connsiteX171" fmla="*/ 218929 w 1069429"/>
                <a:gd name="connsiteY171" fmla="*/ 717229 h 1645402"/>
                <a:gd name="connsiteX172" fmla="*/ 222746 w 1069429"/>
                <a:gd name="connsiteY172" fmla="*/ 713345 h 1645402"/>
                <a:gd name="connsiteX173" fmla="*/ 222010 w 1069429"/>
                <a:gd name="connsiteY173" fmla="*/ 536135 h 1645402"/>
                <a:gd name="connsiteX174" fmla="*/ 848874 w 1069429"/>
                <a:gd name="connsiteY174" fmla="*/ 536269 h 1645402"/>
                <a:gd name="connsiteX175" fmla="*/ 848874 w 1069429"/>
                <a:gd name="connsiteY175" fmla="*/ 714148 h 1645402"/>
                <a:gd name="connsiteX176" fmla="*/ 852758 w 1069429"/>
                <a:gd name="connsiteY176" fmla="*/ 718033 h 1645402"/>
                <a:gd name="connsiteX177" fmla="*/ 982752 w 1069429"/>
                <a:gd name="connsiteY177" fmla="*/ 718033 h 1645402"/>
                <a:gd name="connsiteX178" fmla="*/ 985230 w 1069429"/>
                <a:gd name="connsiteY178" fmla="*/ 715555 h 1645402"/>
                <a:gd name="connsiteX179" fmla="*/ 971099 w 1069429"/>
                <a:gd name="connsiteY179" fmla="*/ 588441 h 1645402"/>
                <a:gd name="connsiteX180" fmla="*/ 853629 w 1069429"/>
                <a:gd name="connsiteY180" fmla="*/ 531514 h 1645402"/>
                <a:gd name="connsiteX181" fmla="*/ 848874 w 1069429"/>
                <a:gd name="connsiteY181" fmla="*/ 536269 h 1645402"/>
                <a:gd name="connsiteX182" fmla="*/ 109536 w 1069429"/>
                <a:gd name="connsiteY182" fmla="*/ 1010020 h 1645402"/>
                <a:gd name="connsiteX183" fmla="*/ 75474 w 1069429"/>
                <a:gd name="connsiteY183" fmla="*/ 975241 h 1645402"/>
                <a:gd name="connsiteX184" fmla="*/ 70116 w 1069429"/>
                <a:gd name="connsiteY184" fmla="*/ 975181 h 1645402"/>
                <a:gd name="connsiteX185" fmla="*/ 35330 w 1069429"/>
                <a:gd name="connsiteY185" fmla="*/ 1009243 h 1645402"/>
                <a:gd name="connsiteX186" fmla="*/ 34989 w 1069429"/>
                <a:gd name="connsiteY186" fmla="*/ 1042194 h 1645402"/>
                <a:gd name="connsiteX187" fmla="*/ 69044 w 1069429"/>
                <a:gd name="connsiteY187" fmla="*/ 1076973 h 1645402"/>
                <a:gd name="connsiteX188" fmla="*/ 74402 w 1069429"/>
                <a:gd name="connsiteY188" fmla="*/ 1077033 h 1645402"/>
                <a:gd name="connsiteX189" fmla="*/ 109188 w 1069429"/>
                <a:gd name="connsiteY189" fmla="*/ 1042971 h 1645402"/>
                <a:gd name="connsiteX190" fmla="*/ 109536 w 1069429"/>
                <a:gd name="connsiteY190" fmla="*/ 1010020 h 1645402"/>
                <a:gd name="connsiteX191" fmla="*/ 1032104 w 1069429"/>
                <a:gd name="connsiteY191" fmla="*/ 1009109 h 1645402"/>
                <a:gd name="connsiteX192" fmla="*/ 997058 w 1069429"/>
                <a:gd name="connsiteY192" fmla="*/ 974913 h 1645402"/>
                <a:gd name="connsiteX193" fmla="*/ 997058 w 1069429"/>
                <a:gd name="connsiteY193" fmla="*/ 974913 h 1645402"/>
                <a:gd name="connsiteX194" fmla="*/ 991834 w 1069429"/>
                <a:gd name="connsiteY194" fmla="*/ 974973 h 1645402"/>
                <a:gd name="connsiteX195" fmla="*/ 957638 w 1069429"/>
                <a:gd name="connsiteY195" fmla="*/ 1010020 h 1645402"/>
                <a:gd name="connsiteX196" fmla="*/ 958046 w 1069429"/>
                <a:gd name="connsiteY196" fmla="*/ 1043640 h 1645402"/>
                <a:gd name="connsiteX197" fmla="*/ 993093 w 1069429"/>
                <a:gd name="connsiteY197" fmla="*/ 1077837 h 1645402"/>
                <a:gd name="connsiteX198" fmla="*/ 993093 w 1069429"/>
                <a:gd name="connsiteY198" fmla="*/ 1077837 h 1645402"/>
                <a:gd name="connsiteX199" fmla="*/ 998317 w 1069429"/>
                <a:gd name="connsiteY199" fmla="*/ 1077776 h 1645402"/>
                <a:gd name="connsiteX200" fmla="*/ 1032513 w 1069429"/>
                <a:gd name="connsiteY200" fmla="*/ 1042730 h 1645402"/>
                <a:gd name="connsiteX201" fmla="*/ 1032104 w 1069429"/>
                <a:gd name="connsiteY201" fmla="*/ 1009109 h 1645402"/>
                <a:gd name="connsiteX202" fmla="*/ 309275 w 1069429"/>
                <a:gd name="connsiteY202" fmla="*/ 1015793 h 1645402"/>
                <a:gd name="connsiteX203" fmla="*/ 309275 w 1069429"/>
                <a:gd name="connsiteY203" fmla="*/ 1096964 h 1645402"/>
                <a:gd name="connsiteX204" fmla="*/ 314365 w 1069429"/>
                <a:gd name="connsiteY204" fmla="*/ 1102054 h 1645402"/>
                <a:gd name="connsiteX205" fmla="*/ 426276 w 1069429"/>
                <a:gd name="connsiteY205" fmla="*/ 1102054 h 1645402"/>
                <a:gd name="connsiteX206" fmla="*/ 431165 w 1069429"/>
                <a:gd name="connsiteY206" fmla="*/ 1097701 h 1645402"/>
                <a:gd name="connsiteX207" fmla="*/ 421521 w 1069429"/>
                <a:gd name="connsiteY207" fmla="*/ 1081828 h 1645402"/>
                <a:gd name="connsiteX208" fmla="*/ 311150 w 1069429"/>
                <a:gd name="connsiteY208" fmla="*/ 1014923 h 1645402"/>
                <a:gd name="connsiteX209" fmla="*/ 309543 w 1069429"/>
                <a:gd name="connsiteY209" fmla="*/ 1015056 h 1645402"/>
                <a:gd name="connsiteX210" fmla="*/ 309275 w 1069429"/>
                <a:gd name="connsiteY210" fmla="*/ 1015793 h 1645402"/>
                <a:gd name="connsiteX211" fmla="*/ 764689 w 1069429"/>
                <a:gd name="connsiteY211" fmla="*/ 1024299 h 1645402"/>
                <a:gd name="connsiteX212" fmla="*/ 762566 w 1069429"/>
                <a:gd name="connsiteY212" fmla="*/ 1022269 h 1645402"/>
                <a:gd name="connsiteX213" fmla="*/ 761274 w 1069429"/>
                <a:gd name="connsiteY213" fmla="*/ 1022758 h 1645402"/>
                <a:gd name="connsiteX214" fmla="*/ 679701 w 1069429"/>
                <a:gd name="connsiteY214" fmla="*/ 1072519 h 1645402"/>
                <a:gd name="connsiteX215" fmla="*/ 644339 w 1069429"/>
                <a:gd name="connsiteY215" fmla="*/ 1086516 h 1645402"/>
                <a:gd name="connsiteX216" fmla="*/ 639779 w 1069429"/>
                <a:gd name="connsiteY216" fmla="*/ 1096824 h 1645402"/>
                <a:gd name="connsiteX217" fmla="*/ 647286 w 1069429"/>
                <a:gd name="connsiteY217" fmla="*/ 1101920 h 1645402"/>
                <a:gd name="connsiteX218" fmla="*/ 760671 w 1069429"/>
                <a:gd name="connsiteY218" fmla="*/ 1101920 h 1645402"/>
                <a:gd name="connsiteX219" fmla="*/ 764689 w 1069429"/>
                <a:gd name="connsiteY219" fmla="*/ 1097901 h 1645402"/>
                <a:gd name="connsiteX220" fmla="*/ 764689 w 1069429"/>
                <a:gd name="connsiteY220" fmla="*/ 1024299 h 1645402"/>
                <a:gd name="connsiteX221" fmla="*/ 430054 w 1069429"/>
                <a:gd name="connsiteY221" fmla="*/ 1151507 h 1645402"/>
                <a:gd name="connsiteX222" fmla="*/ 426906 w 1069429"/>
                <a:gd name="connsiteY222" fmla="*/ 1148366 h 1645402"/>
                <a:gd name="connsiteX223" fmla="*/ 312249 w 1069429"/>
                <a:gd name="connsiteY223" fmla="*/ 1148566 h 1645402"/>
                <a:gd name="connsiteX224" fmla="*/ 309101 w 1069429"/>
                <a:gd name="connsiteY224" fmla="*/ 1151721 h 1645402"/>
                <a:gd name="connsiteX225" fmla="*/ 309450 w 1069429"/>
                <a:gd name="connsiteY225" fmla="*/ 1348085 h 1645402"/>
                <a:gd name="connsiteX226" fmla="*/ 312597 w 1069429"/>
                <a:gd name="connsiteY226" fmla="*/ 1351226 h 1645402"/>
                <a:gd name="connsiteX227" fmla="*/ 427254 w 1069429"/>
                <a:gd name="connsiteY227" fmla="*/ 1351025 h 1645402"/>
                <a:gd name="connsiteX228" fmla="*/ 430402 w 1069429"/>
                <a:gd name="connsiteY228" fmla="*/ 1347870 h 1645402"/>
                <a:gd name="connsiteX229" fmla="*/ 430054 w 1069429"/>
                <a:gd name="connsiteY229" fmla="*/ 1151507 h 1645402"/>
                <a:gd name="connsiteX230" fmla="*/ 764488 w 1069429"/>
                <a:gd name="connsiteY230" fmla="*/ 1150475 h 1645402"/>
                <a:gd name="connsiteX231" fmla="*/ 762546 w 1069429"/>
                <a:gd name="connsiteY231" fmla="*/ 1148533 h 1645402"/>
                <a:gd name="connsiteX232" fmla="*/ 643736 w 1069429"/>
                <a:gd name="connsiteY232" fmla="*/ 1148533 h 1645402"/>
                <a:gd name="connsiteX233" fmla="*/ 641794 w 1069429"/>
                <a:gd name="connsiteY233" fmla="*/ 1150475 h 1645402"/>
                <a:gd name="connsiteX234" fmla="*/ 641794 w 1069429"/>
                <a:gd name="connsiteY234" fmla="*/ 1349384 h 1645402"/>
                <a:gd name="connsiteX235" fmla="*/ 643736 w 1069429"/>
                <a:gd name="connsiteY235" fmla="*/ 1351326 h 1645402"/>
                <a:gd name="connsiteX236" fmla="*/ 762546 w 1069429"/>
                <a:gd name="connsiteY236" fmla="*/ 1351326 h 1645402"/>
                <a:gd name="connsiteX237" fmla="*/ 764488 w 1069429"/>
                <a:gd name="connsiteY237" fmla="*/ 1349384 h 1645402"/>
                <a:gd name="connsiteX238" fmla="*/ 764488 w 1069429"/>
                <a:gd name="connsiteY238" fmla="*/ 1150475 h 1645402"/>
                <a:gd name="connsiteX239" fmla="*/ 430630 w 1069429"/>
                <a:gd name="connsiteY239" fmla="*/ 1404570 h 1645402"/>
                <a:gd name="connsiteX240" fmla="*/ 424468 w 1069429"/>
                <a:gd name="connsiteY240" fmla="*/ 1398408 h 1645402"/>
                <a:gd name="connsiteX241" fmla="*/ 315705 w 1069429"/>
                <a:gd name="connsiteY241" fmla="*/ 1398408 h 1645402"/>
                <a:gd name="connsiteX242" fmla="*/ 309543 w 1069429"/>
                <a:gd name="connsiteY242" fmla="*/ 1404570 h 1645402"/>
                <a:gd name="connsiteX243" fmla="*/ 309543 w 1069429"/>
                <a:gd name="connsiteY243" fmla="*/ 1472480 h 1645402"/>
                <a:gd name="connsiteX244" fmla="*/ 315705 w 1069429"/>
                <a:gd name="connsiteY244" fmla="*/ 1478641 h 1645402"/>
                <a:gd name="connsiteX245" fmla="*/ 424468 w 1069429"/>
                <a:gd name="connsiteY245" fmla="*/ 1478641 h 1645402"/>
                <a:gd name="connsiteX246" fmla="*/ 430630 w 1069429"/>
                <a:gd name="connsiteY246" fmla="*/ 1472480 h 1645402"/>
                <a:gd name="connsiteX247" fmla="*/ 430630 w 1069429"/>
                <a:gd name="connsiteY247" fmla="*/ 1404570 h 1645402"/>
                <a:gd name="connsiteX248" fmla="*/ 764495 w 1069429"/>
                <a:gd name="connsiteY248" fmla="*/ 1403190 h 1645402"/>
                <a:gd name="connsiteX249" fmla="*/ 759800 w 1069429"/>
                <a:gd name="connsiteY249" fmla="*/ 1398508 h 1645402"/>
                <a:gd name="connsiteX250" fmla="*/ 646215 w 1069429"/>
                <a:gd name="connsiteY250" fmla="*/ 1398709 h 1645402"/>
                <a:gd name="connsiteX251" fmla="*/ 641533 w 1069429"/>
                <a:gd name="connsiteY251" fmla="*/ 1403404 h 1645402"/>
                <a:gd name="connsiteX252" fmla="*/ 641654 w 1069429"/>
                <a:gd name="connsiteY252" fmla="*/ 1473993 h 1645402"/>
                <a:gd name="connsiteX253" fmla="*/ 646348 w 1069429"/>
                <a:gd name="connsiteY253" fmla="*/ 1478675 h 1645402"/>
                <a:gd name="connsiteX254" fmla="*/ 759934 w 1069429"/>
                <a:gd name="connsiteY254" fmla="*/ 1478474 h 1645402"/>
                <a:gd name="connsiteX255" fmla="*/ 764615 w 1069429"/>
                <a:gd name="connsiteY255" fmla="*/ 1473779 h 1645402"/>
                <a:gd name="connsiteX256" fmla="*/ 764495 w 1069429"/>
                <a:gd name="connsiteY256" fmla="*/ 1403190 h 1645402"/>
                <a:gd name="connsiteX257" fmla="*/ 230180 w 1069429"/>
                <a:gd name="connsiteY257" fmla="*/ 1608367 h 1645402"/>
                <a:gd name="connsiteX258" fmla="*/ 426812 w 1069429"/>
                <a:gd name="connsiteY258" fmla="*/ 1608367 h 1645402"/>
                <a:gd name="connsiteX259" fmla="*/ 430228 w 1069429"/>
                <a:gd name="connsiteY259" fmla="*/ 1604952 h 1645402"/>
                <a:gd name="connsiteX260" fmla="*/ 430228 w 1069429"/>
                <a:gd name="connsiteY260" fmla="*/ 1524786 h 1645402"/>
                <a:gd name="connsiteX261" fmla="*/ 425205 w 1069429"/>
                <a:gd name="connsiteY261" fmla="*/ 1519696 h 1645402"/>
                <a:gd name="connsiteX262" fmla="*/ 302176 w 1069429"/>
                <a:gd name="connsiteY262" fmla="*/ 1518557 h 1645402"/>
                <a:gd name="connsiteX263" fmla="*/ 226296 w 1069429"/>
                <a:gd name="connsiteY263" fmla="*/ 1604148 h 1645402"/>
                <a:gd name="connsiteX264" fmla="*/ 229832 w 1069429"/>
                <a:gd name="connsiteY264" fmla="*/ 1608354 h 1645402"/>
                <a:gd name="connsiteX265" fmla="*/ 230180 w 1069429"/>
                <a:gd name="connsiteY265" fmla="*/ 1608367 h 1645402"/>
                <a:gd name="connsiteX266" fmla="*/ 845324 w 1069429"/>
                <a:gd name="connsiteY266" fmla="*/ 1605219 h 1645402"/>
                <a:gd name="connsiteX267" fmla="*/ 734217 w 1069429"/>
                <a:gd name="connsiteY267" fmla="*/ 1518825 h 1645402"/>
                <a:gd name="connsiteX268" fmla="*/ 645143 w 1069429"/>
                <a:gd name="connsiteY268" fmla="*/ 1519829 h 1645402"/>
                <a:gd name="connsiteX269" fmla="*/ 641861 w 1069429"/>
                <a:gd name="connsiteY269" fmla="*/ 1523178 h 1645402"/>
                <a:gd name="connsiteX270" fmla="*/ 641861 w 1069429"/>
                <a:gd name="connsiteY270" fmla="*/ 1606090 h 1645402"/>
                <a:gd name="connsiteX271" fmla="*/ 644072 w 1069429"/>
                <a:gd name="connsiteY271" fmla="*/ 1608300 h 1645402"/>
                <a:gd name="connsiteX272" fmla="*/ 842846 w 1069429"/>
                <a:gd name="connsiteY272" fmla="*/ 1608300 h 1645402"/>
                <a:gd name="connsiteX273" fmla="*/ 845384 w 1069429"/>
                <a:gd name="connsiteY273" fmla="*/ 1605749 h 1645402"/>
                <a:gd name="connsiteX274" fmla="*/ 845324 w 1069429"/>
                <a:gd name="connsiteY274" fmla="*/ 1605219 h 1645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69429" h="1645402">
                  <a:moveTo>
                    <a:pt x="992865" y="922567"/>
                  </a:moveTo>
                  <a:cubicBezTo>
                    <a:pt x="992282" y="898906"/>
                    <a:pt x="992463" y="848851"/>
                    <a:pt x="993401" y="772415"/>
                  </a:cubicBezTo>
                  <a:cubicBezTo>
                    <a:pt x="993488" y="763487"/>
                    <a:pt x="991305" y="756723"/>
                    <a:pt x="986838" y="752122"/>
                  </a:cubicBezTo>
                  <a:cubicBezTo>
                    <a:pt x="985465" y="750708"/>
                    <a:pt x="983583" y="749912"/>
                    <a:pt x="981614" y="749912"/>
                  </a:cubicBezTo>
                  <a:lnTo>
                    <a:pt x="852156" y="749912"/>
                  </a:lnTo>
                  <a:cubicBezTo>
                    <a:pt x="846282" y="749905"/>
                    <a:pt x="841313" y="754298"/>
                    <a:pt x="840569" y="760158"/>
                  </a:cubicBezTo>
                  <a:cubicBezTo>
                    <a:pt x="839230" y="770961"/>
                    <a:pt x="838761" y="778931"/>
                    <a:pt x="839163" y="784068"/>
                  </a:cubicBezTo>
                  <a:cubicBezTo>
                    <a:pt x="843938" y="843627"/>
                    <a:pt x="833691" y="898035"/>
                    <a:pt x="808422" y="947280"/>
                  </a:cubicBezTo>
                  <a:cubicBezTo>
                    <a:pt x="802348" y="959067"/>
                    <a:pt x="799294" y="967305"/>
                    <a:pt x="799247" y="971993"/>
                  </a:cubicBezTo>
                  <a:cubicBezTo>
                    <a:pt x="798042" y="1075620"/>
                    <a:pt x="797419" y="1175972"/>
                    <a:pt x="797372" y="1273035"/>
                  </a:cubicBezTo>
                  <a:cubicBezTo>
                    <a:pt x="797372" y="1362196"/>
                    <a:pt x="798376" y="1433481"/>
                    <a:pt x="800386" y="1486879"/>
                  </a:cubicBezTo>
                  <a:cubicBezTo>
                    <a:pt x="800593" y="1493054"/>
                    <a:pt x="804230" y="1498606"/>
                    <a:pt x="809829" y="1501278"/>
                  </a:cubicBezTo>
                  <a:cubicBezTo>
                    <a:pt x="863742" y="1527062"/>
                    <a:pt x="883298" y="1580373"/>
                    <a:pt x="884637" y="1637098"/>
                  </a:cubicBezTo>
                  <a:cubicBezTo>
                    <a:pt x="884751" y="1641130"/>
                    <a:pt x="881543" y="1644486"/>
                    <a:pt x="877478" y="1644599"/>
                  </a:cubicBezTo>
                  <a:cubicBezTo>
                    <a:pt x="877364" y="1644599"/>
                    <a:pt x="877250" y="1644599"/>
                    <a:pt x="877136" y="1644599"/>
                  </a:cubicBezTo>
                  <a:cubicBezTo>
                    <a:pt x="804759" y="1643662"/>
                    <a:pt x="723588" y="1643682"/>
                    <a:pt x="633624" y="1644666"/>
                  </a:cubicBezTo>
                  <a:cubicBezTo>
                    <a:pt x="622238" y="1644800"/>
                    <a:pt x="613512" y="1640695"/>
                    <a:pt x="607437" y="1632344"/>
                  </a:cubicBezTo>
                  <a:cubicBezTo>
                    <a:pt x="605957" y="1630294"/>
                    <a:pt x="605140" y="1627816"/>
                    <a:pt x="605094" y="1625245"/>
                  </a:cubicBezTo>
                  <a:lnTo>
                    <a:pt x="602214" y="1094218"/>
                  </a:lnTo>
                  <a:cubicBezTo>
                    <a:pt x="602187" y="1090628"/>
                    <a:pt x="599260" y="1087742"/>
                    <a:pt x="595671" y="1087769"/>
                  </a:cubicBezTo>
                  <a:cubicBezTo>
                    <a:pt x="595510" y="1087769"/>
                    <a:pt x="595342" y="1087775"/>
                    <a:pt x="595181" y="1087789"/>
                  </a:cubicBezTo>
                  <a:cubicBezTo>
                    <a:pt x="556069" y="1091138"/>
                    <a:pt x="517111" y="1090622"/>
                    <a:pt x="478314" y="1086248"/>
                  </a:cubicBezTo>
                  <a:cubicBezTo>
                    <a:pt x="472728" y="1085619"/>
                    <a:pt x="467686" y="1089664"/>
                    <a:pt x="467056" y="1095290"/>
                  </a:cubicBezTo>
                  <a:cubicBezTo>
                    <a:pt x="467022" y="1095578"/>
                    <a:pt x="467002" y="1095872"/>
                    <a:pt x="466996" y="1096161"/>
                  </a:cubicBezTo>
                  <a:cubicBezTo>
                    <a:pt x="466909" y="1100715"/>
                    <a:pt x="467444" y="1106159"/>
                    <a:pt x="468603" y="1112502"/>
                  </a:cubicBezTo>
                  <a:cubicBezTo>
                    <a:pt x="469005" y="1114772"/>
                    <a:pt x="469186" y="1117083"/>
                    <a:pt x="469139" y="1119400"/>
                  </a:cubicBezTo>
                  <a:cubicBezTo>
                    <a:pt x="467846" y="1181149"/>
                    <a:pt x="467063" y="1255803"/>
                    <a:pt x="466795" y="1343356"/>
                  </a:cubicBezTo>
                  <a:cubicBezTo>
                    <a:pt x="466728" y="1377981"/>
                    <a:pt x="463379" y="1411535"/>
                    <a:pt x="464585" y="1443815"/>
                  </a:cubicBezTo>
                  <a:cubicBezTo>
                    <a:pt x="467351" y="1517485"/>
                    <a:pt x="467618" y="1578678"/>
                    <a:pt x="465389" y="1627387"/>
                  </a:cubicBezTo>
                  <a:cubicBezTo>
                    <a:pt x="464853" y="1639309"/>
                    <a:pt x="456796" y="1645249"/>
                    <a:pt x="441211" y="1645202"/>
                  </a:cubicBezTo>
                  <a:cubicBezTo>
                    <a:pt x="418260" y="1645155"/>
                    <a:pt x="346867" y="1645222"/>
                    <a:pt x="227033" y="1645403"/>
                  </a:cubicBezTo>
                  <a:cubicBezTo>
                    <a:pt x="225780" y="1645403"/>
                    <a:pt x="218440" y="1644399"/>
                    <a:pt x="204999" y="1642390"/>
                  </a:cubicBezTo>
                  <a:cubicBezTo>
                    <a:pt x="202889" y="1642088"/>
                    <a:pt x="201034" y="1640829"/>
                    <a:pt x="199976" y="1638974"/>
                  </a:cubicBezTo>
                  <a:cubicBezTo>
                    <a:pt x="196138" y="1632055"/>
                    <a:pt x="194370" y="1622766"/>
                    <a:pt x="194685" y="1611113"/>
                  </a:cubicBezTo>
                  <a:cubicBezTo>
                    <a:pt x="195710" y="1572584"/>
                    <a:pt x="207946" y="1539540"/>
                    <a:pt x="231386" y="1511994"/>
                  </a:cubicBezTo>
                  <a:cubicBezTo>
                    <a:pt x="242102" y="1499403"/>
                    <a:pt x="270766" y="1493509"/>
                    <a:pt x="271905" y="1467055"/>
                  </a:cubicBezTo>
                  <a:cubicBezTo>
                    <a:pt x="274450" y="1405487"/>
                    <a:pt x="275474" y="1336371"/>
                    <a:pt x="274985" y="1259708"/>
                  </a:cubicBezTo>
                  <a:cubicBezTo>
                    <a:pt x="274228" y="1151299"/>
                    <a:pt x="273867" y="1052427"/>
                    <a:pt x="273914" y="963085"/>
                  </a:cubicBezTo>
                  <a:cubicBezTo>
                    <a:pt x="273914" y="960172"/>
                    <a:pt x="273298" y="957299"/>
                    <a:pt x="272105" y="954647"/>
                  </a:cubicBezTo>
                  <a:lnTo>
                    <a:pt x="252817" y="911249"/>
                  </a:lnTo>
                  <a:cubicBezTo>
                    <a:pt x="252770" y="911162"/>
                    <a:pt x="252730" y="911068"/>
                    <a:pt x="252683" y="910981"/>
                  </a:cubicBezTo>
                  <a:cubicBezTo>
                    <a:pt x="245651" y="886737"/>
                    <a:pt x="239557" y="872539"/>
                    <a:pt x="236945" y="850906"/>
                  </a:cubicBezTo>
                  <a:cubicBezTo>
                    <a:pt x="232973" y="817775"/>
                    <a:pt x="230783" y="787282"/>
                    <a:pt x="230381" y="759422"/>
                  </a:cubicBezTo>
                  <a:cubicBezTo>
                    <a:pt x="230348" y="754747"/>
                    <a:pt x="226544" y="750983"/>
                    <a:pt x="221876" y="750983"/>
                  </a:cubicBezTo>
                  <a:lnTo>
                    <a:pt x="87596" y="751050"/>
                  </a:lnTo>
                  <a:cubicBezTo>
                    <a:pt x="82104" y="751037"/>
                    <a:pt x="77536" y="755283"/>
                    <a:pt x="77148" y="760761"/>
                  </a:cubicBezTo>
                  <a:cubicBezTo>
                    <a:pt x="73130" y="820682"/>
                    <a:pt x="73846" y="875934"/>
                    <a:pt x="79291" y="926519"/>
                  </a:cubicBezTo>
                  <a:cubicBezTo>
                    <a:pt x="79733" y="930792"/>
                    <a:pt x="82533" y="934441"/>
                    <a:pt x="86524" y="935962"/>
                  </a:cubicBezTo>
                  <a:cubicBezTo>
                    <a:pt x="99564" y="940965"/>
                    <a:pt x="106502" y="943597"/>
                    <a:pt x="107353" y="943864"/>
                  </a:cubicBezTo>
                  <a:cubicBezTo>
                    <a:pt x="149345" y="958933"/>
                    <a:pt x="149813" y="1015592"/>
                    <a:pt x="146331" y="1051624"/>
                  </a:cubicBezTo>
                  <a:cubicBezTo>
                    <a:pt x="141308" y="1103260"/>
                    <a:pt x="97039" y="1129379"/>
                    <a:pt x="48685" y="1113573"/>
                  </a:cubicBezTo>
                  <a:cubicBezTo>
                    <a:pt x="-3420" y="1096629"/>
                    <a:pt x="-272" y="1052829"/>
                    <a:pt x="196" y="1008024"/>
                  </a:cubicBezTo>
                  <a:cubicBezTo>
                    <a:pt x="531" y="976547"/>
                    <a:pt x="17810" y="954044"/>
                    <a:pt x="43929" y="940918"/>
                  </a:cubicBezTo>
                  <a:cubicBezTo>
                    <a:pt x="46830" y="939471"/>
                    <a:pt x="48745" y="936585"/>
                    <a:pt x="48952" y="933350"/>
                  </a:cubicBezTo>
                  <a:cubicBezTo>
                    <a:pt x="49622" y="922052"/>
                    <a:pt x="48952" y="911470"/>
                    <a:pt x="46943" y="901605"/>
                  </a:cubicBezTo>
                  <a:cubicBezTo>
                    <a:pt x="46903" y="901518"/>
                    <a:pt x="46876" y="901424"/>
                    <a:pt x="46876" y="901337"/>
                  </a:cubicBezTo>
                  <a:cubicBezTo>
                    <a:pt x="47499" y="846734"/>
                    <a:pt x="48216" y="762322"/>
                    <a:pt x="49019" y="648113"/>
                  </a:cubicBezTo>
                  <a:cubicBezTo>
                    <a:pt x="49555" y="580136"/>
                    <a:pt x="86792" y="519995"/>
                    <a:pt x="152559" y="500104"/>
                  </a:cubicBezTo>
                  <a:cubicBezTo>
                    <a:pt x="167206" y="495636"/>
                    <a:pt x="190352" y="493427"/>
                    <a:pt x="222010" y="493473"/>
                  </a:cubicBezTo>
                  <a:cubicBezTo>
                    <a:pt x="297200" y="493607"/>
                    <a:pt x="365485" y="493721"/>
                    <a:pt x="426879" y="493808"/>
                  </a:cubicBezTo>
                  <a:cubicBezTo>
                    <a:pt x="437863" y="493855"/>
                    <a:pt x="443937" y="492623"/>
                    <a:pt x="445096" y="490125"/>
                  </a:cubicBezTo>
                  <a:cubicBezTo>
                    <a:pt x="445632" y="488966"/>
                    <a:pt x="445852" y="484452"/>
                    <a:pt x="445765" y="476596"/>
                  </a:cubicBezTo>
                  <a:cubicBezTo>
                    <a:pt x="445719" y="474393"/>
                    <a:pt x="444560" y="472370"/>
                    <a:pt x="442685" y="471239"/>
                  </a:cubicBezTo>
                  <a:cubicBezTo>
                    <a:pt x="413753" y="453691"/>
                    <a:pt x="395134" y="438844"/>
                    <a:pt x="386829" y="426702"/>
                  </a:cubicBezTo>
                  <a:cubicBezTo>
                    <a:pt x="380983" y="418082"/>
                    <a:pt x="372497" y="406543"/>
                    <a:pt x="361380" y="392077"/>
                  </a:cubicBezTo>
                  <a:cubicBezTo>
                    <a:pt x="360804" y="391320"/>
                    <a:pt x="360329" y="390510"/>
                    <a:pt x="359973" y="389666"/>
                  </a:cubicBezTo>
                  <a:lnTo>
                    <a:pt x="340150" y="345330"/>
                  </a:lnTo>
                  <a:cubicBezTo>
                    <a:pt x="339205" y="343180"/>
                    <a:pt x="337149" y="341720"/>
                    <a:pt x="334792" y="341512"/>
                  </a:cubicBezTo>
                  <a:cubicBezTo>
                    <a:pt x="326306" y="340890"/>
                    <a:pt x="318364" y="339590"/>
                    <a:pt x="310950" y="337628"/>
                  </a:cubicBezTo>
                  <a:cubicBezTo>
                    <a:pt x="300053" y="334728"/>
                    <a:pt x="290744" y="329055"/>
                    <a:pt x="283022" y="320617"/>
                  </a:cubicBezTo>
                  <a:cubicBezTo>
                    <a:pt x="268221" y="304477"/>
                    <a:pt x="269761" y="251367"/>
                    <a:pt x="270632" y="229266"/>
                  </a:cubicBezTo>
                  <a:cubicBezTo>
                    <a:pt x="271657" y="202611"/>
                    <a:pt x="272775" y="187542"/>
                    <a:pt x="273981" y="184060"/>
                  </a:cubicBezTo>
                  <a:cubicBezTo>
                    <a:pt x="283156" y="156936"/>
                    <a:pt x="303315" y="150841"/>
                    <a:pt x="328764" y="143943"/>
                  </a:cubicBezTo>
                  <a:cubicBezTo>
                    <a:pt x="337805" y="141458"/>
                    <a:pt x="344844" y="134339"/>
                    <a:pt x="347249" y="125258"/>
                  </a:cubicBezTo>
                  <a:cubicBezTo>
                    <a:pt x="351133" y="110437"/>
                    <a:pt x="358366" y="97176"/>
                    <a:pt x="368948" y="85476"/>
                  </a:cubicBezTo>
                  <a:cubicBezTo>
                    <a:pt x="390466" y="61634"/>
                    <a:pt x="408328" y="44268"/>
                    <a:pt x="422526" y="33371"/>
                  </a:cubicBezTo>
                  <a:cubicBezTo>
                    <a:pt x="432304" y="25917"/>
                    <a:pt x="448980" y="18034"/>
                    <a:pt x="472554" y="9730"/>
                  </a:cubicBezTo>
                  <a:cubicBezTo>
                    <a:pt x="507200" y="-2459"/>
                    <a:pt x="543190" y="-3196"/>
                    <a:pt x="580515" y="7520"/>
                  </a:cubicBezTo>
                  <a:cubicBezTo>
                    <a:pt x="605207" y="14619"/>
                    <a:pt x="625500" y="23011"/>
                    <a:pt x="641393" y="32701"/>
                  </a:cubicBezTo>
                  <a:cubicBezTo>
                    <a:pt x="644105" y="34349"/>
                    <a:pt x="646603" y="36305"/>
                    <a:pt x="648826" y="38528"/>
                  </a:cubicBezTo>
                  <a:cubicBezTo>
                    <a:pt x="662134" y="51655"/>
                    <a:pt x="671350" y="60495"/>
                    <a:pt x="676486" y="65049"/>
                  </a:cubicBezTo>
                  <a:cubicBezTo>
                    <a:pt x="698788" y="84940"/>
                    <a:pt x="712518" y="106706"/>
                    <a:pt x="724171" y="134902"/>
                  </a:cubicBezTo>
                  <a:cubicBezTo>
                    <a:pt x="727064" y="141967"/>
                    <a:pt x="733601" y="146917"/>
                    <a:pt x="741249" y="147827"/>
                  </a:cubicBezTo>
                  <a:cubicBezTo>
                    <a:pt x="764287" y="150594"/>
                    <a:pt x="781479" y="160974"/>
                    <a:pt x="792818" y="178970"/>
                  </a:cubicBezTo>
                  <a:cubicBezTo>
                    <a:pt x="794311" y="181387"/>
                    <a:pt x="795162" y="184127"/>
                    <a:pt x="795296" y="186940"/>
                  </a:cubicBezTo>
                  <a:cubicBezTo>
                    <a:pt x="797841" y="242125"/>
                    <a:pt x="801189" y="271325"/>
                    <a:pt x="795631" y="307222"/>
                  </a:cubicBezTo>
                  <a:cubicBezTo>
                    <a:pt x="795108" y="310464"/>
                    <a:pt x="793715" y="313518"/>
                    <a:pt x="791612" y="316063"/>
                  </a:cubicBezTo>
                  <a:cubicBezTo>
                    <a:pt x="779242" y="330750"/>
                    <a:pt x="761963" y="338653"/>
                    <a:pt x="739775" y="339771"/>
                  </a:cubicBezTo>
                  <a:cubicBezTo>
                    <a:pt x="733875" y="340059"/>
                    <a:pt x="728671" y="343702"/>
                    <a:pt x="726381" y="349147"/>
                  </a:cubicBezTo>
                  <a:cubicBezTo>
                    <a:pt x="703543" y="403596"/>
                    <a:pt x="678228" y="446191"/>
                    <a:pt x="621837" y="470100"/>
                  </a:cubicBezTo>
                  <a:cubicBezTo>
                    <a:pt x="619841" y="470950"/>
                    <a:pt x="618320" y="472672"/>
                    <a:pt x="617684" y="474788"/>
                  </a:cubicBezTo>
                  <a:lnTo>
                    <a:pt x="614738" y="484633"/>
                  </a:lnTo>
                  <a:cubicBezTo>
                    <a:pt x="613961" y="487258"/>
                    <a:pt x="615454" y="490018"/>
                    <a:pt x="618079" y="490795"/>
                  </a:cubicBezTo>
                  <a:cubicBezTo>
                    <a:pt x="618475" y="490915"/>
                    <a:pt x="618883" y="490982"/>
                    <a:pt x="619292" y="490995"/>
                  </a:cubicBezTo>
                  <a:cubicBezTo>
                    <a:pt x="688762" y="493627"/>
                    <a:pt x="762834" y="494478"/>
                    <a:pt x="841507" y="493540"/>
                  </a:cubicBezTo>
                  <a:cubicBezTo>
                    <a:pt x="864880" y="493273"/>
                    <a:pt x="905265" y="494009"/>
                    <a:pt x="929509" y="504390"/>
                  </a:cubicBezTo>
                  <a:cubicBezTo>
                    <a:pt x="991459" y="530710"/>
                    <a:pt x="1021061" y="581141"/>
                    <a:pt x="1021529" y="649051"/>
                  </a:cubicBezTo>
                  <a:cubicBezTo>
                    <a:pt x="1021730" y="681399"/>
                    <a:pt x="1018449" y="719506"/>
                    <a:pt x="1019051" y="755470"/>
                  </a:cubicBezTo>
                  <a:cubicBezTo>
                    <a:pt x="1019273" y="769086"/>
                    <a:pt x="1020103" y="827955"/>
                    <a:pt x="1021529" y="932078"/>
                  </a:cubicBezTo>
                  <a:cubicBezTo>
                    <a:pt x="1021603" y="937026"/>
                    <a:pt x="1024523" y="941487"/>
                    <a:pt x="1029030" y="943530"/>
                  </a:cubicBezTo>
                  <a:cubicBezTo>
                    <a:pt x="1078791" y="965899"/>
                    <a:pt x="1070486" y="1015056"/>
                    <a:pt x="1065865" y="1067161"/>
                  </a:cubicBezTo>
                  <a:cubicBezTo>
                    <a:pt x="1065598" y="1070081"/>
                    <a:pt x="1064807" y="1072961"/>
                    <a:pt x="1063521" y="1075667"/>
                  </a:cubicBezTo>
                  <a:cubicBezTo>
                    <a:pt x="1052317" y="1098973"/>
                    <a:pt x="1034006" y="1112548"/>
                    <a:pt x="1008604" y="1116386"/>
                  </a:cubicBezTo>
                  <a:cubicBezTo>
                    <a:pt x="963531" y="1123284"/>
                    <a:pt x="928973" y="1099509"/>
                    <a:pt x="923080" y="1052561"/>
                  </a:cubicBezTo>
                  <a:cubicBezTo>
                    <a:pt x="918258" y="1014655"/>
                    <a:pt x="920133" y="975476"/>
                    <a:pt x="949735" y="951030"/>
                  </a:cubicBezTo>
                  <a:cubicBezTo>
                    <a:pt x="951021" y="949926"/>
                    <a:pt x="952494" y="949041"/>
                    <a:pt x="954088" y="948419"/>
                  </a:cubicBezTo>
                  <a:lnTo>
                    <a:pt x="983288" y="936899"/>
                  </a:lnTo>
                  <a:cubicBezTo>
                    <a:pt x="989168" y="934602"/>
                    <a:pt x="992992" y="928876"/>
                    <a:pt x="992865" y="922567"/>
                  </a:cubicBezTo>
                  <a:close/>
                  <a:moveTo>
                    <a:pt x="371359" y="244603"/>
                  </a:moveTo>
                  <a:cubicBezTo>
                    <a:pt x="371493" y="279342"/>
                    <a:pt x="372276" y="302353"/>
                    <a:pt x="373703" y="313652"/>
                  </a:cubicBezTo>
                  <a:cubicBezTo>
                    <a:pt x="383749" y="391742"/>
                    <a:pt x="456615" y="450477"/>
                    <a:pt x="535040" y="450276"/>
                  </a:cubicBezTo>
                  <a:cubicBezTo>
                    <a:pt x="613398" y="450008"/>
                    <a:pt x="685997" y="390871"/>
                    <a:pt x="695507" y="312714"/>
                  </a:cubicBezTo>
                  <a:cubicBezTo>
                    <a:pt x="696893" y="301416"/>
                    <a:pt x="697536" y="278404"/>
                    <a:pt x="697449" y="243665"/>
                  </a:cubicBezTo>
                  <a:cubicBezTo>
                    <a:pt x="697362" y="208886"/>
                    <a:pt x="696578" y="185868"/>
                    <a:pt x="695105" y="174617"/>
                  </a:cubicBezTo>
                  <a:cubicBezTo>
                    <a:pt x="685126" y="96460"/>
                    <a:pt x="612193" y="37724"/>
                    <a:pt x="533835" y="37993"/>
                  </a:cubicBezTo>
                  <a:cubicBezTo>
                    <a:pt x="455409" y="38193"/>
                    <a:pt x="382878" y="97397"/>
                    <a:pt x="373301" y="175554"/>
                  </a:cubicBezTo>
                  <a:cubicBezTo>
                    <a:pt x="371915" y="186853"/>
                    <a:pt x="371272" y="209864"/>
                    <a:pt x="371359" y="244603"/>
                  </a:cubicBezTo>
                  <a:close/>
                  <a:moveTo>
                    <a:pt x="323842" y="196155"/>
                  </a:moveTo>
                  <a:cubicBezTo>
                    <a:pt x="323828" y="192311"/>
                    <a:pt x="320701" y="189203"/>
                    <a:pt x="316850" y="189216"/>
                  </a:cubicBezTo>
                  <a:cubicBezTo>
                    <a:pt x="316850" y="189216"/>
                    <a:pt x="316850" y="189216"/>
                    <a:pt x="316850" y="189216"/>
                  </a:cubicBezTo>
                  <a:lnTo>
                    <a:pt x="316448" y="189216"/>
                  </a:lnTo>
                  <a:cubicBezTo>
                    <a:pt x="312604" y="189230"/>
                    <a:pt x="309496" y="192357"/>
                    <a:pt x="309510" y="196208"/>
                  </a:cubicBezTo>
                  <a:cubicBezTo>
                    <a:pt x="309510" y="196208"/>
                    <a:pt x="309510" y="196208"/>
                    <a:pt x="309510" y="196208"/>
                  </a:cubicBezTo>
                  <a:lnTo>
                    <a:pt x="309844" y="292113"/>
                  </a:lnTo>
                  <a:cubicBezTo>
                    <a:pt x="309858" y="295957"/>
                    <a:pt x="312985" y="299065"/>
                    <a:pt x="316836" y="299052"/>
                  </a:cubicBezTo>
                  <a:cubicBezTo>
                    <a:pt x="316836" y="299052"/>
                    <a:pt x="316836" y="299052"/>
                    <a:pt x="316836" y="299052"/>
                  </a:cubicBezTo>
                  <a:lnTo>
                    <a:pt x="317238" y="299052"/>
                  </a:lnTo>
                  <a:cubicBezTo>
                    <a:pt x="321083" y="299038"/>
                    <a:pt x="324190" y="295911"/>
                    <a:pt x="324177" y="292060"/>
                  </a:cubicBezTo>
                  <a:cubicBezTo>
                    <a:pt x="324177" y="292060"/>
                    <a:pt x="324177" y="292060"/>
                    <a:pt x="324177" y="292060"/>
                  </a:cubicBezTo>
                  <a:lnTo>
                    <a:pt x="323842" y="196155"/>
                  </a:lnTo>
                  <a:close/>
                  <a:moveTo>
                    <a:pt x="745200" y="191092"/>
                  </a:moveTo>
                  <a:lnTo>
                    <a:pt x="744397" y="297846"/>
                  </a:lnTo>
                  <a:cubicBezTo>
                    <a:pt x="744397" y="298255"/>
                    <a:pt x="744725" y="298583"/>
                    <a:pt x="745133" y="298583"/>
                  </a:cubicBezTo>
                  <a:lnTo>
                    <a:pt x="745334" y="298583"/>
                  </a:lnTo>
                  <a:cubicBezTo>
                    <a:pt x="755320" y="298677"/>
                    <a:pt x="763504" y="287868"/>
                    <a:pt x="763618" y="274439"/>
                  </a:cubicBezTo>
                  <a:cubicBezTo>
                    <a:pt x="763618" y="274433"/>
                    <a:pt x="763618" y="274419"/>
                    <a:pt x="763618" y="274406"/>
                  </a:cubicBezTo>
                  <a:lnTo>
                    <a:pt x="764019" y="214800"/>
                  </a:lnTo>
                  <a:cubicBezTo>
                    <a:pt x="764120" y="201386"/>
                    <a:pt x="756117" y="190449"/>
                    <a:pt x="746138" y="190355"/>
                  </a:cubicBezTo>
                  <a:lnTo>
                    <a:pt x="745937" y="190355"/>
                  </a:lnTo>
                  <a:cubicBezTo>
                    <a:pt x="745528" y="190355"/>
                    <a:pt x="745200" y="190683"/>
                    <a:pt x="745200" y="191092"/>
                  </a:cubicBezTo>
                  <a:close/>
                  <a:moveTo>
                    <a:pt x="464652" y="497224"/>
                  </a:moveTo>
                  <a:cubicBezTo>
                    <a:pt x="464384" y="498248"/>
                    <a:pt x="464498" y="501289"/>
                    <a:pt x="464987" y="506332"/>
                  </a:cubicBezTo>
                  <a:cubicBezTo>
                    <a:pt x="465851" y="514831"/>
                    <a:pt x="460078" y="522412"/>
                    <a:pt x="452094" y="523270"/>
                  </a:cubicBezTo>
                  <a:cubicBezTo>
                    <a:pt x="451659" y="523310"/>
                    <a:pt x="451224" y="523337"/>
                    <a:pt x="450788" y="523343"/>
                  </a:cubicBezTo>
                  <a:cubicBezTo>
                    <a:pt x="392877" y="524147"/>
                    <a:pt x="332716" y="523725"/>
                    <a:pt x="270297" y="522071"/>
                  </a:cubicBezTo>
                  <a:cubicBezTo>
                    <a:pt x="265964" y="521944"/>
                    <a:pt x="262280" y="525192"/>
                    <a:pt x="261859" y="529505"/>
                  </a:cubicBezTo>
                  <a:cubicBezTo>
                    <a:pt x="260385" y="544152"/>
                    <a:pt x="259870" y="557680"/>
                    <a:pt x="260318" y="570090"/>
                  </a:cubicBezTo>
                  <a:cubicBezTo>
                    <a:pt x="261303" y="596122"/>
                    <a:pt x="261590" y="664522"/>
                    <a:pt x="261189" y="775294"/>
                  </a:cubicBezTo>
                  <a:cubicBezTo>
                    <a:pt x="260921" y="838517"/>
                    <a:pt x="266547" y="886268"/>
                    <a:pt x="295144" y="932278"/>
                  </a:cubicBezTo>
                  <a:cubicBezTo>
                    <a:pt x="330284" y="988803"/>
                    <a:pt x="381719" y="1027734"/>
                    <a:pt x="449449" y="1049079"/>
                  </a:cubicBezTo>
                  <a:cubicBezTo>
                    <a:pt x="489499" y="1061737"/>
                    <a:pt x="539192" y="1062942"/>
                    <a:pt x="578572" y="1058924"/>
                  </a:cubicBezTo>
                  <a:cubicBezTo>
                    <a:pt x="627911" y="1053834"/>
                    <a:pt x="672515" y="1037760"/>
                    <a:pt x="712383" y="1010703"/>
                  </a:cubicBezTo>
                  <a:cubicBezTo>
                    <a:pt x="755648" y="981369"/>
                    <a:pt x="781834" y="942793"/>
                    <a:pt x="799113" y="897185"/>
                  </a:cubicBezTo>
                  <a:cubicBezTo>
                    <a:pt x="805723" y="879685"/>
                    <a:pt x="809293" y="852045"/>
                    <a:pt x="809829" y="814272"/>
                  </a:cubicBezTo>
                  <a:cubicBezTo>
                    <a:pt x="810947" y="727965"/>
                    <a:pt x="811189" y="648535"/>
                    <a:pt x="810566" y="575984"/>
                  </a:cubicBezTo>
                  <a:cubicBezTo>
                    <a:pt x="810431" y="560647"/>
                    <a:pt x="814450" y="543435"/>
                    <a:pt x="809494" y="527161"/>
                  </a:cubicBezTo>
                  <a:cubicBezTo>
                    <a:pt x="808690" y="524549"/>
                    <a:pt x="806266" y="522774"/>
                    <a:pt x="803534" y="522807"/>
                  </a:cubicBezTo>
                  <a:cubicBezTo>
                    <a:pt x="735174" y="524060"/>
                    <a:pt x="674812" y="524033"/>
                    <a:pt x="622439" y="522740"/>
                  </a:cubicBezTo>
                  <a:cubicBezTo>
                    <a:pt x="615159" y="522560"/>
                    <a:pt x="609045" y="519928"/>
                    <a:pt x="604089" y="514838"/>
                  </a:cubicBezTo>
                  <a:cubicBezTo>
                    <a:pt x="602575" y="513324"/>
                    <a:pt x="601651" y="511308"/>
                    <a:pt x="601477" y="509145"/>
                  </a:cubicBezTo>
                  <a:lnTo>
                    <a:pt x="600472" y="495616"/>
                  </a:lnTo>
                  <a:cubicBezTo>
                    <a:pt x="600037" y="489937"/>
                    <a:pt x="595074" y="485691"/>
                    <a:pt x="589395" y="486126"/>
                  </a:cubicBezTo>
                  <a:cubicBezTo>
                    <a:pt x="588859" y="486166"/>
                    <a:pt x="588337" y="486254"/>
                    <a:pt x="587814" y="486374"/>
                  </a:cubicBezTo>
                  <a:cubicBezTo>
                    <a:pt x="550397" y="495215"/>
                    <a:pt x="514835" y="495503"/>
                    <a:pt x="481127" y="487245"/>
                  </a:cubicBezTo>
                  <a:cubicBezTo>
                    <a:pt x="473840" y="485443"/>
                    <a:pt x="466467" y="489890"/>
                    <a:pt x="464665" y="497177"/>
                  </a:cubicBezTo>
                  <a:cubicBezTo>
                    <a:pt x="464659" y="497191"/>
                    <a:pt x="464659" y="497211"/>
                    <a:pt x="464652" y="497224"/>
                  </a:cubicBezTo>
                  <a:close/>
                  <a:moveTo>
                    <a:pt x="222010" y="536135"/>
                  </a:moveTo>
                  <a:cubicBezTo>
                    <a:pt x="222010" y="533536"/>
                    <a:pt x="219894" y="531414"/>
                    <a:pt x="217255" y="531380"/>
                  </a:cubicBezTo>
                  <a:cubicBezTo>
                    <a:pt x="164279" y="531045"/>
                    <a:pt x="127579" y="544105"/>
                    <a:pt x="100388" y="588642"/>
                  </a:cubicBezTo>
                  <a:cubicBezTo>
                    <a:pt x="81300" y="619985"/>
                    <a:pt x="86457" y="676376"/>
                    <a:pt x="86926" y="715354"/>
                  </a:cubicBezTo>
                  <a:cubicBezTo>
                    <a:pt x="86926" y="716720"/>
                    <a:pt x="88038" y="717832"/>
                    <a:pt x="89404" y="717832"/>
                  </a:cubicBezTo>
                  <a:lnTo>
                    <a:pt x="218929" y="717229"/>
                  </a:lnTo>
                  <a:cubicBezTo>
                    <a:pt x="221046" y="717196"/>
                    <a:pt x="222746" y="715461"/>
                    <a:pt x="222746" y="713345"/>
                  </a:cubicBezTo>
                  <a:lnTo>
                    <a:pt x="222010" y="536135"/>
                  </a:lnTo>
                  <a:close/>
                  <a:moveTo>
                    <a:pt x="848874" y="536269"/>
                  </a:moveTo>
                  <a:lnTo>
                    <a:pt x="848874" y="714148"/>
                  </a:lnTo>
                  <a:cubicBezTo>
                    <a:pt x="848874" y="716291"/>
                    <a:pt x="850615" y="718033"/>
                    <a:pt x="852758" y="718033"/>
                  </a:cubicBezTo>
                  <a:lnTo>
                    <a:pt x="982752" y="718033"/>
                  </a:lnTo>
                  <a:cubicBezTo>
                    <a:pt x="984119" y="718033"/>
                    <a:pt x="985230" y="716921"/>
                    <a:pt x="985230" y="715555"/>
                  </a:cubicBezTo>
                  <a:cubicBezTo>
                    <a:pt x="985498" y="676443"/>
                    <a:pt x="990454" y="619784"/>
                    <a:pt x="971099" y="588441"/>
                  </a:cubicBezTo>
                  <a:cubicBezTo>
                    <a:pt x="943640" y="543904"/>
                    <a:pt x="906738" y="530911"/>
                    <a:pt x="853629" y="531514"/>
                  </a:cubicBezTo>
                  <a:cubicBezTo>
                    <a:pt x="850990" y="531554"/>
                    <a:pt x="848874" y="533670"/>
                    <a:pt x="848874" y="536269"/>
                  </a:cubicBezTo>
                  <a:close/>
                  <a:moveTo>
                    <a:pt x="109536" y="1010020"/>
                  </a:moveTo>
                  <a:cubicBezTo>
                    <a:pt x="109730" y="991013"/>
                    <a:pt x="94481" y="975436"/>
                    <a:pt x="75474" y="975241"/>
                  </a:cubicBezTo>
                  <a:lnTo>
                    <a:pt x="70116" y="975181"/>
                  </a:lnTo>
                  <a:cubicBezTo>
                    <a:pt x="51102" y="974980"/>
                    <a:pt x="35531" y="990230"/>
                    <a:pt x="35330" y="1009243"/>
                  </a:cubicBezTo>
                  <a:lnTo>
                    <a:pt x="34989" y="1042194"/>
                  </a:lnTo>
                  <a:cubicBezTo>
                    <a:pt x="34788" y="1061201"/>
                    <a:pt x="50038" y="1076778"/>
                    <a:pt x="69044" y="1076973"/>
                  </a:cubicBezTo>
                  <a:lnTo>
                    <a:pt x="74402" y="1077033"/>
                  </a:lnTo>
                  <a:cubicBezTo>
                    <a:pt x="93416" y="1077234"/>
                    <a:pt x="108987" y="1061984"/>
                    <a:pt x="109188" y="1042971"/>
                  </a:cubicBezTo>
                  <a:lnTo>
                    <a:pt x="109536" y="1010020"/>
                  </a:lnTo>
                  <a:close/>
                  <a:moveTo>
                    <a:pt x="1032104" y="1009109"/>
                  </a:moveTo>
                  <a:cubicBezTo>
                    <a:pt x="1031870" y="989989"/>
                    <a:pt x="1016178" y="974679"/>
                    <a:pt x="997058" y="974913"/>
                  </a:cubicBezTo>
                  <a:cubicBezTo>
                    <a:pt x="997058" y="974913"/>
                    <a:pt x="997058" y="974913"/>
                    <a:pt x="997058" y="974913"/>
                  </a:cubicBezTo>
                  <a:lnTo>
                    <a:pt x="991834" y="974973"/>
                  </a:lnTo>
                  <a:cubicBezTo>
                    <a:pt x="972713" y="975208"/>
                    <a:pt x="957403" y="990899"/>
                    <a:pt x="957638" y="1010020"/>
                  </a:cubicBezTo>
                  <a:lnTo>
                    <a:pt x="958046" y="1043640"/>
                  </a:lnTo>
                  <a:cubicBezTo>
                    <a:pt x="958280" y="1062761"/>
                    <a:pt x="973972" y="1078071"/>
                    <a:pt x="993093" y="1077837"/>
                  </a:cubicBezTo>
                  <a:cubicBezTo>
                    <a:pt x="993093" y="1077837"/>
                    <a:pt x="993093" y="1077837"/>
                    <a:pt x="993093" y="1077837"/>
                  </a:cubicBezTo>
                  <a:lnTo>
                    <a:pt x="998317" y="1077776"/>
                  </a:lnTo>
                  <a:cubicBezTo>
                    <a:pt x="1017437" y="1077542"/>
                    <a:pt x="1032747" y="1061850"/>
                    <a:pt x="1032513" y="1042730"/>
                  </a:cubicBezTo>
                  <a:lnTo>
                    <a:pt x="1032104" y="1009109"/>
                  </a:lnTo>
                  <a:close/>
                  <a:moveTo>
                    <a:pt x="309275" y="1015793"/>
                  </a:moveTo>
                  <a:lnTo>
                    <a:pt x="309275" y="1096964"/>
                  </a:lnTo>
                  <a:cubicBezTo>
                    <a:pt x="309275" y="1099777"/>
                    <a:pt x="311552" y="1102054"/>
                    <a:pt x="314365" y="1102054"/>
                  </a:cubicBezTo>
                  <a:lnTo>
                    <a:pt x="426276" y="1102054"/>
                  </a:lnTo>
                  <a:cubicBezTo>
                    <a:pt x="428781" y="1102067"/>
                    <a:pt x="430891" y="1100192"/>
                    <a:pt x="431165" y="1097701"/>
                  </a:cubicBezTo>
                  <a:cubicBezTo>
                    <a:pt x="432056" y="1089979"/>
                    <a:pt x="428841" y="1084688"/>
                    <a:pt x="421521" y="1081828"/>
                  </a:cubicBezTo>
                  <a:cubicBezTo>
                    <a:pt x="379777" y="1065574"/>
                    <a:pt x="342982" y="1043272"/>
                    <a:pt x="311150" y="1014923"/>
                  </a:cubicBezTo>
                  <a:cubicBezTo>
                    <a:pt x="310668" y="1014514"/>
                    <a:pt x="309951" y="1014574"/>
                    <a:pt x="309543" y="1015056"/>
                  </a:cubicBezTo>
                  <a:cubicBezTo>
                    <a:pt x="309369" y="1015257"/>
                    <a:pt x="309275" y="1015525"/>
                    <a:pt x="309275" y="1015793"/>
                  </a:cubicBezTo>
                  <a:close/>
                  <a:moveTo>
                    <a:pt x="764689" y="1024299"/>
                  </a:moveTo>
                  <a:cubicBezTo>
                    <a:pt x="764662" y="1023154"/>
                    <a:pt x="763711" y="1022242"/>
                    <a:pt x="762566" y="1022269"/>
                  </a:cubicBezTo>
                  <a:cubicBezTo>
                    <a:pt x="762091" y="1022276"/>
                    <a:pt x="761635" y="1022450"/>
                    <a:pt x="761274" y="1022758"/>
                  </a:cubicBezTo>
                  <a:cubicBezTo>
                    <a:pt x="737432" y="1044009"/>
                    <a:pt x="710241" y="1060598"/>
                    <a:pt x="679701" y="1072519"/>
                  </a:cubicBezTo>
                  <a:cubicBezTo>
                    <a:pt x="667157" y="1077388"/>
                    <a:pt x="655370" y="1082049"/>
                    <a:pt x="644339" y="1086516"/>
                  </a:cubicBezTo>
                  <a:cubicBezTo>
                    <a:pt x="640234" y="1088104"/>
                    <a:pt x="638192" y="1092718"/>
                    <a:pt x="639779" y="1096824"/>
                  </a:cubicBezTo>
                  <a:cubicBezTo>
                    <a:pt x="640971" y="1099918"/>
                    <a:pt x="643965" y="1101954"/>
                    <a:pt x="647286" y="1101920"/>
                  </a:cubicBezTo>
                  <a:lnTo>
                    <a:pt x="760671" y="1101920"/>
                  </a:lnTo>
                  <a:cubicBezTo>
                    <a:pt x="762888" y="1101920"/>
                    <a:pt x="764689" y="1100119"/>
                    <a:pt x="764689" y="1097901"/>
                  </a:cubicBezTo>
                  <a:lnTo>
                    <a:pt x="764689" y="1024299"/>
                  </a:lnTo>
                  <a:close/>
                  <a:moveTo>
                    <a:pt x="430054" y="1151507"/>
                  </a:moveTo>
                  <a:cubicBezTo>
                    <a:pt x="430054" y="1149772"/>
                    <a:pt x="428641" y="1148366"/>
                    <a:pt x="426906" y="1148366"/>
                  </a:cubicBezTo>
                  <a:lnTo>
                    <a:pt x="312249" y="1148566"/>
                  </a:lnTo>
                  <a:cubicBezTo>
                    <a:pt x="310507" y="1148566"/>
                    <a:pt x="309101" y="1149979"/>
                    <a:pt x="309101" y="1151721"/>
                  </a:cubicBezTo>
                  <a:lnTo>
                    <a:pt x="309450" y="1348085"/>
                  </a:lnTo>
                  <a:cubicBezTo>
                    <a:pt x="309450" y="1349819"/>
                    <a:pt x="310863" y="1351226"/>
                    <a:pt x="312597" y="1351226"/>
                  </a:cubicBezTo>
                  <a:lnTo>
                    <a:pt x="427254" y="1351025"/>
                  </a:lnTo>
                  <a:cubicBezTo>
                    <a:pt x="428996" y="1351025"/>
                    <a:pt x="430402" y="1349612"/>
                    <a:pt x="430402" y="1347870"/>
                  </a:cubicBezTo>
                  <a:lnTo>
                    <a:pt x="430054" y="1151507"/>
                  </a:lnTo>
                  <a:close/>
                  <a:moveTo>
                    <a:pt x="764488" y="1150475"/>
                  </a:moveTo>
                  <a:cubicBezTo>
                    <a:pt x="764488" y="1149403"/>
                    <a:pt x="763618" y="1148533"/>
                    <a:pt x="762546" y="1148533"/>
                  </a:cubicBezTo>
                  <a:lnTo>
                    <a:pt x="643736" y="1148533"/>
                  </a:lnTo>
                  <a:cubicBezTo>
                    <a:pt x="642665" y="1148533"/>
                    <a:pt x="641794" y="1149403"/>
                    <a:pt x="641794" y="1150475"/>
                  </a:cubicBezTo>
                  <a:lnTo>
                    <a:pt x="641794" y="1349384"/>
                  </a:lnTo>
                  <a:cubicBezTo>
                    <a:pt x="641794" y="1350456"/>
                    <a:pt x="642665" y="1351326"/>
                    <a:pt x="643736" y="1351326"/>
                  </a:cubicBezTo>
                  <a:lnTo>
                    <a:pt x="762546" y="1351326"/>
                  </a:lnTo>
                  <a:cubicBezTo>
                    <a:pt x="763618" y="1351326"/>
                    <a:pt x="764488" y="1350456"/>
                    <a:pt x="764488" y="1349384"/>
                  </a:cubicBezTo>
                  <a:lnTo>
                    <a:pt x="764488" y="1150475"/>
                  </a:lnTo>
                  <a:close/>
                  <a:moveTo>
                    <a:pt x="430630" y="1404570"/>
                  </a:moveTo>
                  <a:cubicBezTo>
                    <a:pt x="430630" y="1401167"/>
                    <a:pt x="427870" y="1398408"/>
                    <a:pt x="424468" y="1398408"/>
                  </a:cubicBezTo>
                  <a:lnTo>
                    <a:pt x="315705" y="1398408"/>
                  </a:lnTo>
                  <a:cubicBezTo>
                    <a:pt x="312302" y="1398408"/>
                    <a:pt x="309543" y="1401167"/>
                    <a:pt x="309543" y="1404570"/>
                  </a:cubicBezTo>
                  <a:lnTo>
                    <a:pt x="309543" y="1472480"/>
                  </a:lnTo>
                  <a:cubicBezTo>
                    <a:pt x="309543" y="1475882"/>
                    <a:pt x="312302" y="1478641"/>
                    <a:pt x="315705" y="1478641"/>
                  </a:cubicBezTo>
                  <a:lnTo>
                    <a:pt x="424468" y="1478641"/>
                  </a:lnTo>
                  <a:cubicBezTo>
                    <a:pt x="427870" y="1478641"/>
                    <a:pt x="430630" y="1475882"/>
                    <a:pt x="430630" y="1472480"/>
                  </a:cubicBezTo>
                  <a:lnTo>
                    <a:pt x="430630" y="1404570"/>
                  </a:lnTo>
                  <a:close/>
                  <a:moveTo>
                    <a:pt x="764495" y="1403190"/>
                  </a:moveTo>
                  <a:cubicBezTo>
                    <a:pt x="764488" y="1400598"/>
                    <a:pt x="762385" y="1398508"/>
                    <a:pt x="759800" y="1398508"/>
                  </a:cubicBezTo>
                  <a:lnTo>
                    <a:pt x="646215" y="1398709"/>
                  </a:lnTo>
                  <a:cubicBezTo>
                    <a:pt x="643623" y="1398709"/>
                    <a:pt x="641527" y="1400812"/>
                    <a:pt x="641533" y="1403404"/>
                  </a:cubicBezTo>
                  <a:lnTo>
                    <a:pt x="641654" y="1473993"/>
                  </a:lnTo>
                  <a:cubicBezTo>
                    <a:pt x="641660" y="1476585"/>
                    <a:pt x="643763" y="1478675"/>
                    <a:pt x="646348" y="1478675"/>
                  </a:cubicBezTo>
                  <a:lnTo>
                    <a:pt x="759934" y="1478474"/>
                  </a:lnTo>
                  <a:cubicBezTo>
                    <a:pt x="762526" y="1478467"/>
                    <a:pt x="764622" y="1476371"/>
                    <a:pt x="764615" y="1473779"/>
                  </a:cubicBezTo>
                  <a:lnTo>
                    <a:pt x="764495" y="1403190"/>
                  </a:lnTo>
                  <a:close/>
                  <a:moveTo>
                    <a:pt x="230180" y="1608367"/>
                  </a:moveTo>
                  <a:lnTo>
                    <a:pt x="426812" y="1608367"/>
                  </a:lnTo>
                  <a:cubicBezTo>
                    <a:pt x="428701" y="1608367"/>
                    <a:pt x="430228" y="1606840"/>
                    <a:pt x="430228" y="1604952"/>
                  </a:cubicBezTo>
                  <a:lnTo>
                    <a:pt x="430228" y="1524786"/>
                  </a:lnTo>
                  <a:cubicBezTo>
                    <a:pt x="430228" y="1521972"/>
                    <a:pt x="427978" y="1519696"/>
                    <a:pt x="425205" y="1519696"/>
                  </a:cubicBezTo>
                  <a:cubicBezTo>
                    <a:pt x="388818" y="1519474"/>
                    <a:pt x="347805" y="1519093"/>
                    <a:pt x="302176" y="1518557"/>
                  </a:cubicBezTo>
                  <a:cubicBezTo>
                    <a:pt x="252750" y="1517954"/>
                    <a:pt x="230314" y="1560348"/>
                    <a:pt x="226296" y="1604148"/>
                  </a:cubicBezTo>
                  <a:cubicBezTo>
                    <a:pt x="226109" y="1606284"/>
                    <a:pt x="227696" y="1608166"/>
                    <a:pt x="229832" y="1608354"/>
                  </a:cubicBezTo>
                  <a:cubicBezTo>
                    <a:pt x="229946" y="1608360"/>
                    <a:pt x="230067" y="1608367"/>
                    <a:pt x="230180" y="1608367"/>
                  </a:cubicBezTo>
                  <a:close/>
                  <a:moveTo>
                    <a:pt x="845324" y="1605219"/>
                  </a:moveTo>
                  <a:cubicBezTo>
                    <a:pt x="833537" y="1546866"/>
                    <a:pt x="796501" y="1518068"/>
                    <a:pt x="734217" y="1518825"/>
                  </a:cubicBezTo>
                  <a:cubicBezTo>
                    <a:pt x="732965" y="1518871"/>
                    <a:pt x="703275" y="1519207"/>
                    <a:pt x="645143" y="1519829"/>
                  </a:cubicBezTo>
                  <a:cubicBezTo>
                    <a:pt x="643322" y="1519863"/>
                    <a:pt x="641861" y="1521356"/>
                    <a:pt x="641861" y="1523178"/>
                  </a:cubicBezTo>
                  <a:lnTo>
                    <a:pt x="641861" y="1606090"/>
                  </a:lnTo>
                  <a:cubicBezTo>
                    <a:pt x="641861" y="1607309"/>
                    <a:pt x="642853" y="1608300"/>
                    <a:pt x="644072" y="1608300"/>
                  </a:cubicBezTo>
                  <a:lnTo>
                    <a:pt x="842846" y="1608300"/>
                  </a:lnTo>
                  <a:cubicBezTo>
                    <a:pt x="844253" y="1608294"/>
                    <a:pt x="845384" y="1607148"/>
                    <a:pt x="845384" y="1605749"/>
                  </a:cubicBezTo>
                  <a:cubicBezTo>
                    <a:pt x="845378" y="1605568"/>
                    <a:pt x="845364" y="1605394"/>
                    <a:pt x="845324" y="1605219"/>
                  </a:cubicBezTo>
                  <a:close/>
                </a:path>
              </a:pathLst>
            </a:custGeom>
            <a:grpFill/>
            <a:ln w="6697" cap="flat">
              <a:noFill/>
              <a:prstDash val="solid"/>
              <a:miter/>
            </a:ln>
          </p:spPr>
          <p:txBody>
            <a:bodyPr rtlCol="0" anchor="ctr"/>
            <a:lstStyle/>
            <a:p>
              <a:endParaRPr lang="en-GB" noProof="0"/>
            </a:p>
          </p:txBody>
        </p:sp>
        <p:sp>
          <p:nvSpPr>
            <p:cNvPr id="1037" name="Free-form: Shape 34">
              <a:extLst>
                <a:ext uri="{FF2B5EF4-FFF2-40B4-BE49-F238E27FC236}">
                  <a16:creationId xmlns:a16="http://schemas.microsoft.com/office/drawing/2014/main" id="{AAD93640-6EC8-7A8B-EB6B-D09F18CA3EE0}"/>
                </a:ext>
              </a:extLst>
            </p:cNvPr>
            <p:cNvSpPr/>
            <p:nvPr/>
          </p:nvSpPr>
          <p:spPr>
            <a:xfrm>
              <a:off x="5448508" y="3708008"/>
              <a:ext cx="68580" cy="68580"/>
            </a:xfrm>
            <a:custGeom>
              <a:avLst/>
              <a:gdLst>
                <a:gd name="connsiteX0" fmla="*/ 68580 w 68580"/>
                <a:gd name="connsiteY0" fmla="*/ 34290 h 68580"/>
                <a:gd name="connsiteX1" fmla="*/ 34290 w 68580"/>
                <a:gd name="connsiteY1" fmla="*/ 68580 h 68580"/>
                <a:gd name="connsiteX2" fmla="*/ 0 w 68580"/>
                <a:gd name="connsiteY2" fmla="*/ 34290 h 68580"/>
                <a:gd name="connsiteX3" fmla="*/ 34290 w 68580"/>
                <a:gd name="connsiteY3" fmla="*/ 0 h 68580"/>
                <a:gd name="connsiteX4" fmla="*/ 68580 w 68580"/>
                <a:gd name="connsiteY4" fmla="*/ 34290 h 68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 h="68580">
                  <a:moveTo>
                    <a:pt x="68580" y="34290"/>
                  </a:moveTo>
                  <a:cubicBezTo>
                    <a:pt x="68580" y="53228"/>
                    <a:pt x="53228" y="68580"/>
                    <a:pt x="34290" y="68580"/>
                  </a:cubicBezTo>
                  <a:cubicBezTo>
                    <a:pt x="15352" y="68580"/>
                    <a:pt x="0" y="53228"/>
                    <a:pt x="0" y="34290"/>
                  </a:cubicBezTo>
                  <a:cubicBezTo>
                    <a:pt x="0" y="15352"/>
                    <a:pt x="15352" y="0"/>
                    <a:pt x="34290" y="0"/>
                  </a:cubicBezTo>
                  <a:cubicBezTo>
                    <a:pt x="53228" y="0"/>
                    <a:pt x="68580" y="15352"/>
                    <a:pt x="68580" y="34290"/>
                  </a:cubicBezTo>
                  <a:close/>
                </a:path>
              </a:pathLst>
            </a:custGeom>
            <a:grpFill/>
            <a:ln w="6697" cap="flat">
              <a:noFill/>
              <a:prstDash val="solid"/>
              <a:miter/>
            </a:ln>
          </p:spPr>
          <p:txBody>
            <a:bodyPr rtlCol="0" anchor="ctr"/>
            <a:lstStyle/>
            <a:p>
              <a:endParaRPr lang="en-GB" noProof="0"/>
            </a:p>
          </p:txBody>
        </p:sp>
        <p:sp>
          <p:nvSpPr>
            <p:cNvPr id="1038" name="Free-form: Shape 35">
              <a:extLst>
                <a:ext uri="{FF2B5EF4-FFF2-40B4-BE49-F238E27FC236}">
                  <a16:creationId xmlns:a16="http://schemas.microsoft.com/office/drawing/2014/main" id="{E2DBABF6-7340-06F8-DAEC-A4E593F9AD40}"/>
                </a:ext>
              </a:extLst>
            </p:cNvPr>
            <p:cNvSpPr/>
            <p:nvPr/>
          </p:nvSpPr>
          <p:spPr>
            <a:xfrm>
              <a:off x="5586070" y="3707807"/>
              <a:ext cx="68178" cy="68178"/>
            </a:xfrm>
            <a:custGeom>
              <a:avLst/>
              <a:gdLst>
                <a:gd name="connsiteX0" fmla="*/ 68178 w 68178"/>
                <a:gd name="connsiteY0" fmla="*/ 34089 h 68178"/>
                <a:gd name="connsiteX1" fmla="*/ 34089 w 68178"/>
                <a:gd name="connsiteY1" fmla="*/ 68178 h 68178"/>
                <a:gd name="connsiteX2" fmla="*/ -1 w 68178"/>
                <a:gd name="connsiteY2" fmla="*/ 34089 h 68178"/>
                <a:gd name="connsiteX3" fmla="*/ 34089 w 68178"/>
                <a:gd name="connsiteY3" fmla="*/ 0 h 68178"/>
                <a:gd name="connsiteX4" fmla="*/ 68178 w 68178"/>
                <a:gd name="connsiteY4" fmla="*/ 34089 h 68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78" h="68178">
                  <a:moveTo>
                    <a:pt x="68178" y="34089"/>
                  </a:moveTo>
                  <a:cubicBezTo>
                    <a:pt x="68178" y="52916"/>
                    <a:pt x="52916" y="68178"/>
                    <a:pt x="34089" y="68178"/>
                  </a:cubicBezTo>
                  <a:cubicBezTo>
                    <a:pt x="15262" y="68178"/>
                    <a:pt x="-1" y="52916"/>
                    <a:pt x="-1" y="34089"/>
                  </a:cubicBezTo>
                  <a:cubicBezTo>
                    <a:pt x="-1" y="15262"/>
                    <a:pt x="15262" y="0"/>
                    <a:pt x="34089" y="0"/>
                  </a:cubicBezTo>
                  <a:cubicBezTo>
                    <a:pt x="52916" y="0"/>
                    <a:pt x="68178" y="15262"/>
                    <a:pt x="68178" y="34089"/>
                  </a:cubicBezTo>
                  <a:close/>
                </a:path>
              </a:pathLst>
            </a:custGeom>
            <a:grpFill/>
            <a:ln w="6697" cap="flat">
              <a:noFill/>
              <a:prstDash val="solid"/>
              <a:miter/>
            </a:ln>
          </p:spPr>
          <p:txBody>
            <a:bodyPr rtlCol="0" anchor="ctr"/>
            <a:lstStyle/>
            <a:p>
              <a:endParaRPr lang="en-GB" noProof="0"/>
            </a:p>
          </p:txBody>
        </p:sp>
        <p:sp>
          <p:nvSpPr>
            <p:cNvPr id="1039" name="Free-form: Shape 459">
              <a:extLst>
                <a:ext uri="{FF2B5EF4-FFF2-40B4-BE49-F238E27FC236}">
                  <a16:creationId xmlns:a16="http://schemas.microsoft.com/office/drawing/2014/main" id="{428959BE-0221-7992-A764-09F14B9D2CB4}"/>
                </a:ext>
              </a:extLst>
            </p:cNvPr>
            <p:cNvSpPr/>
            <p:nvPr/>
          </p:nvSpPr>
          <p:spPr>
            <a:xfrm>
              <a:off x="5276901" y="4009975"/>
              <a:ext cx="551815" cy="574878"/>
            </a:xfrm>
            <a:custGeom>
              <a:avLst/>
              <a:gdLst>
                <a:gd name="connsiteX0" fmla="*/ 204490 w 551815"/>
                <a:gd name="connsiteY0" fmla="*/ 11129 h 574878"/>
                <a:gd name="connsiteX1" fmla="*/ 220919 w 551815"/>
                <a:gd name="connsiteY1" fmla="*/ 1137 h 574878"/>
                <a:gd name="connsiteX2" fmla="*/ 220966 w 551815"/>
                <a:gd name="connsiteY2" fmla="*/ 1151 h 574878"/>
                <a:gd name="connsiteX3" fmla="*/ 327653 w 551815"/>
                <a:gd name="connsiteY3" fmla="*/ 280 h 574878"/>
                <a:gd name="connsiteX4" fmla="*/ 340063 w 551815"/>
                <a:gd name="connsiteY4" fmla="*/ 7942 h 574878"/>
                <a:gd name="connsiteX5" fmla="*/ 340311 w 551815"/>
                <a:gd name="connsiteY5" fmla="*/ 9522 h 574878"/>
                <a:gd name="connsiteX6" fmla="*/ 341315 w 551815"/>
                <a:gd name="connsiteY6" fmla="*/ 23051 h 574878"/>
                <a:gd name="connsiteX7" fmla="*/ 343927 w 551815"/>
                <a:gd name="connsiteY7" fmla="*/ 28743 h 574878"/>
                <a:gd name="connsiteX8" fmla="*/ 362278 w 551815"/>
                <a:gd name="connsiteY8" fmla="*/ 36646 h 574878"/>
                <a:gd name="connsiteX9" fmla="*/ 543372 w 551815"/>
                <a:gd name="connsiteY9" fmla="*/ 36713 h 574878"/>
                <a:gd name="connsiteX10" fmla="*/ 549332 w 551815"/>
                <a:gd name="connsiteY10" fmla="*/ 41066 h 574878"/>
                <a:gd name="connsiteX11" fmla="*/ 550404 w 551815"/>
                <a:gd name="connsiteY11" fmla="*/ 89889 h 574878"/>
                <a:gd name="connsiteX12" fmla="*/ 549668 w 551815"/>
                <a:gd name="connsiteY12" fmla="*/ 328178 h 574878"/>
                <a:gd name="connsiteX13" fmla="*/ 538952 w 551815"/>
                <a:gd name="connsiteY13" fmla="*/ 411090 h 574878"/>
                <a:gd name="connsiteX14" fmla="*/ 452222 w 551815"/>
                <a:gd name="connsiteY14" fmla="*/ 524609 h 574878"/>
                <a:gd name="connsiteX15" fmla="*/ 318411 w 551815"/>
                <a:gd name="connsiteY15" fmla="*/ 572830 h 574878"/>
                <a:gd name="connsiteX16" fmla="*/ 189288 w 551815"/>
                <a:gd name="connsiteY16" fmla="*/ 562984 h 574878"/>
                <a:gd name="connsiteX17" fmla="*/ 34982 w 551815"/>
                <a:gd name="connsiteY17" fmla="*/ 446184 h 574878"/>
                <a:gd name="connsiteX18" fmla="*/ 1027 w 551815"/>
                <a:gd name="connsiteY18" fmla="*/ 289200 h 574878"/>
                <a:gd name="connsiteX19" fmla="*/ 157 w 551815"/>
                <a:gd name="connsiteY19" fmla="*/ 83996 h 574878"/>
                <a:gd name="connsiteX20" fmla="*/ 1697 w 551815"/>
                <a:gd name="connsiteY20" fmla="*/ 43410 h 574878"/>
                <a:gd name="connsiteX21" fmla="*/ 10136 w 551815"/>
                <a:gd name="connsiteY21" fmla="*/ 35976 h 574878"/>
                <a:gd name="connsiteX22" fmla="*/ 190627 w 551815"/>
                <a:gd name="connsiteY22" fmla="*/ 37249 h 574878"/>
                <a:gd name="connsiteX23" fmla="*/ 204905 w 551815"/>
                <a:gd name="connsiteY23" fmla="*/ 21624 h 574878"/>
                <a:gd name="connsiteX24" fmla="*/ 204825 w 551815"/>
                <a:gd name="connsiteY24" fmla="*/ 20238 h 574878"/>
                <a:gd name="connsiteX25" fmla="*/ 204490 w 551815"/>
                <a:gd name="connsiteY25" fmla="*/ 11129 h 574878"/>
                <a:gd name="connsiteX26" fmla="*/ 213465 w 551815"/>
                <a:gd name="connsiteY26" fmla="*/ 13005 h 574878"/>
                <a:gd name="connsiteX27" fmla="*/ 175357 w 551815"/>
                <a:gd name="connsiteY27" fmla="*/ 45688 h 574878"/>
                <a:gd name="connsiteX28" fmla="*/ 12279 w 551815"/>
                <a:gd name="connsiteY28" fmla="*/ 44750 h 574878"/>
                <a:gd name="connsiteX29" fmla="*/ 8528 w 551815"/>
                <a:gd name="connsiteY29" fmla="*/ 48500 h 574878"/>
                <a:gd name="connsiteX30" fmla="*/ 8796 w 551815"/>
                <a:gd name="connsiteY30" fmla="*/ 251628 h 574878"/>
                <a:gd name="connsiteX31" fmla="*/ 18641 w 551815"/>
                <a:gd name="connsiteY31" fmla="*/ 387114 h 574878"/>
                <a:gd name="connsiteX32" fmla="*/ 108050 w 551815"/>
                <a:gd name="connsiteY32" fmla="*/ 514094 h 574878"/>
                <a:gd name="connsiteX33" fmla="*/ 288541 w 551815"/>
                <a:gd name="connsiteY33" fmla="*/ 564525 h 574878"/>
                <a:gd name="connsiteX34" fmla="*/ 541765 w 551815"/>
                <a:gd name="connsiteY34" fmla="*/ 329585 h 574878"/>
                <a:gd name="connsiteX35" fmla="*/ 542702 w 551815"/>
                <a:gd name="connsiteY35" fmla="*/ 47027 h 574878"/>
                <a:gd name="connsiteX36" fmla="*/ 540224 w 551815"/>
                <a:gd name="connsiteY36" fmla="*/ 44549 h 574878"/>
                <a:gd name="connsiteX37" fmla="*/ 540157 w 551815"/>
                <a:gd name="connsiteY37" fmla="*/ 44549 h 574878"/>
                <a:gd name="connsiteX38" fmla="*/ 358594 w 551815"/>
                <a:gd name="connsiteY38" fmla="*/ 44616 h 574878"/>
                <a:gd name="connsiteX39" fmla="*/ 331872 w 551815"/>
                <a:gd name="connsiteY39" fmla="*/ 12134 h 574878"/>
                <a:gd name="connsiteX40" fmla="*/ 328591 w 551815"/>
                <a:gd name="connsiteY40" fmla="*/ 7968 h 574878"/>
                <a:gd name="connsiteX41" fmla="*/ 327251 w 551815"/>
                <a:gd name="connsiteY41" fmla="*/ 8049 h 574878"/>
                <a:gd name="connsiteX42" fmla="*/ 218086 w 551815"/>
                <a:gd name="connsiteY42" fmla="*/ 9187 h 574878"/>
                <a:gd name="connsiteX43" fmla="*/ 213565 w 551815"/>
                <a:gd name="connsiteY43" fmla="*/ 11960 h 574878"/>
                <a:gd name="connsiteX44" fmla="*/ 213465 w 551815"/>
                <a:gd name="connsiteY44" fmla="*/ 13005 h 574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51815" h="574878">
                  <a:moveTo>
                    <a:pt x="204490" y="11129"/>
                  </a:moveTo>
                  <a:cubicBezTo>
                    <a:pt x="206265" y="3836"/>
                    <a:pt x="213625" y="-637"/>
                    <a:pt x="220919" y="1137"/>
                  </a:cubicBezTo>
                  <a:cubicBezTo>
                    <a:pt x="220932" y="1144"/>
                    <a:pt x="220952" y="1144"/>
                    <a:pt x="220966" y="1151"/>
                  </a:cubicBezTo>
                  <a:cubicBezTo>
                    <a:pt x="254673" y="9409"/>
                    <a:pt x="290236" y="9120"/>
                    <a:pt x="327653" y="280"/>
                  </a:cubicBezTo>
                  <a:cubicBezTo>
                    <a:pt x="333198" y="-1033"/>
                    <a:pt x="338750" y="2396"/>
                    <a:pt x="340063" y="7942"/>
                  </a:cubicBezTo>
                  <a:cubicBezTo>
                    <a:pt x="340190" y="8464"/>
                    <a:pt x="340271" y="8993"/>
                    <a:pt x="340311" y="9522"/>
                  </a:cubicBezTo>
                  <a:lnTo>
                    <a:pt x="341315" y="23051"/>
                  </a:lnTo>
                  <a:cubicBezTo>
                    <a:pt x="341489" y="25214"/>
                    <a:pt x="342414" y="27230"/>
                    <a:pt x="343927" y="28743"/>
                  </a:cubicBezTo>
                  <a:cubicBezTo>
                    <a:pt x="348883" y="33833"/>
                    <a:pt x="354998" y="36465"/>
                    <a:pt x="362278" y="36646"/>
                  </a:cubicBezTo>
                  <a:cubicBezTo>
                    <a:pt x="414650" y="37939"/>
                    <a:pt x="475013" y="37966"/>
                    <a:pt x="543372" y="36713"/>
                  </a:cubicBezTo>
                  <a:cubicBezTo>
                    <a:pt x="546104" y="36680"/>
                    <a:pt x="548529" y="38454"/>
                    <a:pt x="549332" y="41066"/>
                  </a:cubicBezTo>
                  <a:cubicBezTo>
                    <a:pt x="554289" y="57341"/>
                    <a:pt x="550270" y="74553"/>
                    <a:pt x="550404" y="89889"/>
                  </a:cubicBezTo>
                  <a:cubicBezTo>
                    <a:pt x="551027" y="162441"/>
                    <a:pt x="550786" y="241870"/>
                    <a:pt x="549668" y="328178"/>
                  </a:cubicBezTo>
                  <a:cubicBezTo>
                    <a:pt x="549132" y="365951"/>
                    <a:pt x="545562" y="393591"/>
                    <a:pt x="538952" y="411090"/>
                  </a:cubicBezTo>
                  <a:cubicBezTo>
                    <a:pt x="521673" y="456699"/>
                    <a:pt x="495486" y="495275"/>
                    <a:pt x="452222" y="524609"/>
                  </a:cubicBezTo>
                  <a:cubicBezTo>
                    <a:pt x="412354" y="551666"/>
                    <a:pt x="367750" y="567740"/>
                    <a:pt x="318411" y="572830"/>
                  </a:cubicBezTo>
                  <a:cubicBezTo>
                    <a:pt x="279031" y="576848"/>
                    <a:pt x="229337" y="575642"/>
                    <a:pt x="189288" y="562984"/>
                  </a:cubicBezTo>
                  <a:cubicBezTo>
                    <a:pt x="121558" y="541640"/>
                    <a:pt x="70123" y="502709"/>
                    <a:pt x="34982" y="446184"/>
                  </a:cubicBezTo>
                  <a:cubicBezTo>
                    <a:pt x="6385" y="400174"/>
                    <a:pt x="759" y="352422"/>
                    <a:pt x="1027" y="289200"/>
                  </a:cubicBezTo>
                  <a:cubicBezTo>
                    <a:pt x="1429" y="178427"/>
                    <a:pt x="1141" y="110028"/>
                    <a:pt x="157" y="83996"/>
                  </a:cubicBezTo>
                  <a:cubicBezTo>
                    <a:pt x="-292" y="71586"/>
                    <a:pt x="224" y="58057"/>
                    <a:pt x="1697" y="43410"/>
                  </a:cubicBezTo>
                  <a:cubicBezTo>
                    <a:pt x="2119" y="39097"/>
                    <a:pt x="5802" y="35849"/>
                    <a:pt x="10136" y="35976"/>
                  </a:cubicBezTo>
                  <a:cubicBezTo>
                    <a:pt x="72554" y="37631"/>
                    <a:pt x="132716" y="38053"/>
                    <a:pt x="190627" y="37249"/>
                  </a:cubicBezTo>
                  <a:cubicBezTo>
                    <a:pt x="198657" y="37162"/>
                    <a:pt x="205046" y="30170"/>
                    <a:pt x="204905" y="21624"/>
                  </a:cubicBezTo>
                  <a:cubicBezTo>
                    <a:pt x="204899" y="21162"/>
                    <a:pt x="204872" y="20700"/>
                    <a:pt x="204825" y="20238"/>
                  </a:cubicBezTo>
                  <a:cubicBezTo>
                    <a:pt x="204336" y="15195"/>
                    <a:pt x="204222" y="12154"/>
                    <a:pt x="204490" y="11129"/>
                  </a:cubicBezTo>
                  <a:close/>
                  <a:moveTo>
                    <a:pt x="213465" y="13005"/>
                  </a:moveTo>
                  <a:cubicBezTo>
                    <a:pt x="214804" y="41401"/>
                    <a:pt x="202280" y="45955"/>
                    <a:pt x="175357" y="45688"/>
                  </a:cubicBezTo>
                  <a:cubicBezTo>
                    <a:pt x="148347" y="45466"/>
                    <a:pt x="93985" y="45152"/>
                    <a:pt x="12279" y="44750"/>
                  </a:cubicBezTo>
                  <a:cubicBezTo>
                    <a:pt x="10209" y="44750"/>
                    <a:pt x="8528" y="46431"/>
                    <a:pt x="8528" y="48500"/>
                  </a:cubicBezTo>
                  <a:cubicBezTo>
                    <a:pt x="9151" y="160566"/>
                    <a:pt x="9245" y="228275"/>
                    <a:pt x="8796" y="251628"/>
                  </a:cubicBezTo>
                  <a:cubicBezTo>
                    <a:pt x="7637" y="316143"/>
                    <a:pt x="10919" y="361310"/>
                    <a:pt x="18641" y="387114"/>
                  </a:cubicBezTo>
                  <a:cubicBezTo>
                    <a:pt x="34226" y="439172"/>
                    <a:pt x="64029" y="481499"/>
                    <a:pt x="108050" y="514094"/>
                  </a:cubicBezTo>
                  <a:cubicBezTo>
                    <a:pt x="159685" y="552335"/>
                    <a:pt x="220363" y="565462"/>
                    <a:pt x="288541" y="564525"/>
                  </a:cubicBezTo>
                  <a:cubicBezTo>
                    <a:pt x="430054" y="562515"/>
                    <a:pt x="539086" y="479134"/>
                    <a:pt x="541765" y="329585"/>
                  </a:cubicBezTo>
                  <a:cubicBezTo>
                    <a:pt x="542789" y="272477"/>
                    <a:pt x="543104" y="178293"/>
                    <a:pt x="542702" y="47027"/>
                  </a:cubicBezTo>
                  <a:cubicBezTo>
                    <a:pt x="542702" y="45661"/>
                    <a:pt x="541591" y="44549"/>
                    <a:pt x="540224" y="44549"/>
                  </a:cubicBezTo>
                  <a:cubicBezTo>
                    <a:pt x="540204" y="44549"/>
                    <a:pt x="540178" y="44549"/>
                    <a:pt x="540157" y="44549"/>
                  </a:cubicBezTo>
                  <a:cubicBezTo>
                    <a:pt x="499974" y="45668"/>
                    <a:pt x="439450" y="45688"/>
                    <a:pt x="358594" y="44616"/>
                  </a:cubicBezTo>
                  <a:cubicBezTo>
                    <a:pt x="338456" y="44348"/>
                    <a:pt x="329548" y="33519"/>
                    <a:pt x="331872" y="12134"/>
                  </a:cubicBezTo>
                  <a:cubicBezTo>
                    <a:pt x="332120" y="10078"/>
                    <a:pt x="330647" y="8210"/>
                    <a:pt x="328591" y="7968"/>
                  </a:cubicBezTo>
                  <a:cubicBezTo>
                    <a:pt x="328142" y="7915"/>
                    <a:pt x="327687" y="7942"/>
                    <a:pt x="327251" y="8049"/>
                  </a:cubicBezTo>
                  <a:cubicBezTo>
                    <a:pt x="290236" y="17425"/>
                    <a:pt x="253849" y="17807"/>
                    <a:pt x="218086" y="9187"/>
                  </a:cubicBezTo>
                  <a:cubicBezTo>
                    <a:pt x="216070" y="8705"/>
                    <a:pt x="214047" y="9944"/>
                    <a:pt x="213565" y="11960"/>
                  </a:cubicBezTo>
                  <a:cubicBezTo>
                    <a:pt x="213485" y="12302"/>
                    <a:pt x="213451" y="12657"/>
                    <a:pt x="213465" y="13005"/>
                  </a:cubicBezTo>
                  <a:close/>
                </a:path>
              </a:pathLst>
            </a:custGeom>
            <a:grpFill/>
            <a:ln w="6697" cap="flat">
              <a:noFill/>
              <a:prstDash val="solid"/>
              <a:miter/>
            </a:ln>
          </p:spPr>
          <p:txBody>
            <a:bodyPr rtlCol="0" anchor="ctr"/>
            <a:lstStyle/>
            <a:p>
              <a:endParaRPr lang="en-GB" noProof="0"/>
            </a:p>
          </p:txBody>
        </p:sp>
        <p:sp>
          <p:nvSpPr>
            <p:cNvPr id="1040" name="Free-form: Shape 469">
              <a:extLst>
                <a:ext uri="{FF2B5EF4-FFF2-40B4-BE49-F238E27FC236}">
                  <a16:creationId xmlns:a16="http://schemas.microsoft.com/office/drawing/2014/main" id="{0BD1736B-EDA6-D6EF-521B-07C4047B8F85}"/>
                </a:ext>
              </a:extLst>
            </p:cNvPr>
            <p:cNvSpPr/>
            <p:nvPr/>
          </p:nvSpPr>
          <p:spPr>
            <a:xfrm>
              <a:off x="5398588" y="4205145"/>
              <a:ext cx="309468" cy="262801"/>
            </a:xfrm>
            <a:custGeom>
              <a:avLst/>
              <a:gdLst>
                <a:gd name="connsiteX0" fmla="*/ 309467 w 309467"/>
                <a:gd name="connsiteY0" fmla="*/ 222081 h 262800"/>
                <a:gd name="connsiteX1" fmla="*/ 269283 w 309467"/>
                <a:gd name="connsiteY1" fmla="*/ 262399 h 262800"/>
                <a:gd name="connsiteX2" fmla="*/ 40639 w 309467"/>
                <a:gd name="connsiteY2" fmla="*/ 262801 h 262800"/>
                <a:gd name="connsiteX3" fmla="*/ 321 w 309467"/>
                <a:gd name="connsiteY3" fmla="*/ 222617 h 262800"/>
                <a:gd name="connsiteX4" fmla="*/ 0 w 309467"/>
                <a:gd name="connsiteY4" fmla="*/ 40719 h 262800"/>
                <a:gd name="connsiteX5" fmla="*/ 40184 w 309467"/>
                <a:gd name="connsiteY5" fmla="*/ 402 h 262800"/>
                <a:gd name="connsiteX6" fmla="*/ 268828 w 309467"/>
                <a:gd name="connsiteY6" fmla="*/ 0 h 262800"/>
                <a:gd name="connsiteX7" fmla="*/ 309146 w 309467"/>
                <a:gd name="connsiteY7" fmla="*/ 40184 h 262800"/>
                <a:gd name="connsiteX8" fmla="*/ 309467 w 309467"/>
                <a:gd name="connsiteY8" fmla="*/ 222081 h 262800"/>
                <a:gd name="connsiteX9" fmla="*/ 262225 w 309467"/>
                <a:gd name="connsiteY9" fmla="*/ 52520 h 262800"/>
                <a:gd name="connsiteX10" fmla="*/ 256519 w 309467"/>
                <a:gd name="connsiteY10" fmla="*/ 46834 h 262800"/>
                <a:gd name="connsiteX11" fmla="*/ 52922 w 309467"/>
                <a:gd name="connsiteY11" fmla="*/ 47196 h 262800"/>
                <a:gd name="connsiteX12" fmla="*/ 47242 w 309467"/>
                <a:gd name="connsiteY12" fmla="*/ 52895 h 262800"/>
                <a:gd name="connsiteX13" fmla="*/ 47242 w 309467"/>
                <a:gd name="connsiteY13" fmla="*/ 52895 h 262800"/>
                <a:gd name="connsiteX14" fmla="*/ 47510 w 309467"/>
                <a:gd name="connsiteY14" fmla="*/ 209343 h 262800"/>
                <a:gd name="connsiteX15" fmla="*/ 53216 w 309467"/>
                <a:gd name="connsiteY15" fmla="*/ 215029 h 262800"/>
                <a:gd name="connsiteX16" fmla="*/ 256813 w 309467"/>
                <a:gd name="connsiteY16" fmla="*/ 214667 h 262800"/>
                <a:gd name="connsiteX17" fmla="*/ 262493 w 309467"/>
                <a:gd name="connsiteY17" fmla="*/ 208968 h 262800"/>
                <a:gd name="connsiteX18" fmla="*/ 262493 w 309467"/>
                <a:gd name="connsiteY18" fmla="*/ 208968 h 262800"/>
                <a:gd name="connsiteX19" fmla="*/ 262225 w 309467"/>
                <a:gd name="connsiteY19" fmla="*/ 52520 h 26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9467" h="262800">
                  <a:moveTo>
                    <a:pt x="309467" y="222081"/>
                  </a:moveTo>
                  <a:cubicBezTo>
                    <a:pt x="309507" y="244310"/>
                    <a:pt x="291512" y="262359"/>
                    <a:pt x="269283" y="262399"/>
                  </a:cubicBezTo>
                  <a:lnTo>
                    <a:pt x="40639" y="262801"/>
                  </a:lnTo>
                  <a:cubicBezTo>
                    <a:pt x="18411" y="262841"/>
                    <a:pt x="355" y="244852"/>
                    <a:pt x="321" y="222617"/>
                  </a:cubicBezTo>
                  <a:lnTo>
                    <a:pt x="0" y="40719"/>
                  </a:lnTo>
                  <a:cubicBezTo>
                    <a:pt x="-40" y="18491"/>
                    <a:pt x="17955" y="442"/>
                    <a:pt x="40184" y="402"/>
                  </a:cubicBezTo>
                  <a:lnTo>
                    <a:pt x="268828" y="0"/>
                  </a:lnTo>
                  <a:cubicBezTo>
                    <a:pt x="291056" y="-40"/>
                    <a:pt x="309112" y="17949"/>
                    <a:pt x="309146" y="40184"/>
                  </a:cubicBezTo>
                  <a:lnTo>
                    <a:pt x="309467" y="222081"/>
                  </a:lnTo>
                  <a:close/>
                  <a:moveTo>
                    <a:pt x="262225" y="52520"/>
                  </a:moveTo>
                  <a:cubicBezTo>
                    <a:pt x="262218" y="49379"/>
                    <a:pt x="259666" y="46834"/>
                    <a:pt x="256519" y="46834"/>
                  </a:cubicBezTo>
                  <a:lnTo>
                    <a:pt x="52922" y="47196"/>
                  </a:lnTo>
                  <a:cubicBezTo>
                    <a:pt x="49781" y="47196"/>
                    <a:pt x="47236" y="49747"/>
                    <a:pt x="47242" y="52895"/>
                  </a:cubicBezTo>
                  <a:cubicBezTo>
                    <a:pt x="47242" y="52895"/>
                    <a:pt x="47242" y="52895"/>
                    <a:pt x="47242" y="52895"/>
                  </a:cubicBezTo>
                  <a:lnTo>
                    <a:pt x="47510" y="209343"/>
                  </a:lnTo>
                  <a:cubicBezTo>
                    <a:pt x="47517" y="212484"/>
                    <a:pt x="50069" y="215029"/>
                    <a:pt x="53216" y="215029"/>
                  </a:cubicBezTo>
                  <a:lnTo>
                    <a:pt x="256813" y="214667"/>
                  </a:lnTo>
                  <a:cubicBezTo>
                    <a:pt x="259954" y="214667"/>
                    <a:pt x="262499" y="212116"/>
                    <a:pt x="262493" y="208968"/>
                  </a:cubicBezTo>
                  <a:cubicBezTo>
                    <a:pt x="262493" y="208968"/>
                    <a:pt x="262493" y="208968"/>
                    <a:pt x="262493" y="208968"/>
                  </a:cubicBezTo>
                  <a:lnTo>
                    <a:pt x="262225" y="52520"/>
                  </a:lnTo>
                  <a:close/>
                </a:path>
              </a:pathLst>
            </a:custGeom>
            <a:grpFill/>
            <a:ln w="6697" cap="flat">
              <a:noFill/>
              <a:prstDash val="solid"/>
              <a:miter/>
            </a:ln>
          </p:spPr>
          <p:txBody>
            <a:bodyPr rtlCol="0" anchor="ctr"/>
            <a:lstStyle/>
            <a:p>
              <a:endParaRPr lang="en-GB" noProof="0"/>
            </a:p>
          </p:txBody>
        </p:sp>
      </p:grpSp>
      <p:grpSp>
        <p:nvGrpSpPr>
          <p:cNvPr id="1042" name="Computer9" descr="{&quot;Key&quot;:&quot;POWER_USER_SHAPE_ICON&quot;,&quot;Value&quot;:&quot;POWER_USER_SHAPE_ICON_STYLE_1&quot;}">
            <a:extLst>
              <a:ext uri="{FF2B5EF4-FFF2-40B4-BE49-F238E27FC236}">
                <a16:creationId xmlns:a16="http://schemas.microsoft.com/office/drawing/2014/main" id="{7A858494-6519-B71F-7B8E-E7351A20DCF5}"/>
              </a:ext>
            </a:extLst>
          </p:cNvPr>
          <p:cNvGrpSpPr>
            <a:grpSpLocks noChangeAspect="1"/>
          </p:cNvGrpSpPr>
          <p:nvPr/>
        </p:nvGrpSpPr>
        <p:grpSpPr>
          <a:xfrm>
            <a:off x="545185" y="3239933"/>
            <a:ext cx="577686" cy="589412"/>
            <a:chOff x="2325688" y="5576888"/>
            <a:chExt cx="625475" cy="638175"/>
          </a:xfrm>
          <a:solidFill>
            <a:schemeClr val="tx1"/>
          </a:solidFill>
        </p:grpSpPr>
        <p:sp>
          <p:nvSpPr>
            <p:cNvPr id="1043" name="Freeform 85">
              <a:extLst>
                <a:ext uri="{FF2B5EF4-FFF2-40B4-BE49-F238E27FC236}">
                  <a16:creationId xmlns:a16="http://schemas.microsoft.com/office/drawing/2014/main" id="{434C5978-EFDB-9554-C2BD-EBA98B0B7482}"/>
                </a:ext>
              </a:extLst>
            </p:cNvPr>
            <p:cNvSpPr>
              <a:spLocks noEditPoints="1"/>
            </p:cNvSpPr>
            <p:nvPr/>
          </p:nvSpPr>
          <p:spPr bwMode="auto">
            <a:xfrm>
              <a:off x="2387600" y="5641976"/>
              <a:ext cx="130175" cy="142875"/>
            </a:xfrm>
            <a:custGeom>
              <a:avLst/>
              <a:gdLst>
                <a:gd name="T0" fmla="*/ 109 w 219"/>
                <a:gd name="T1" fmla="*/ 33 h 241"/>
                <a:gd name="T2" fmla="*/ 185 w 219"/>
                <a:gd name="T3" fmla="*/ 120 h 241"/>
                <a:gd name="T4" fmla="*/ 109 w 219"/>
                <a:gd name="T5" fmla="*/ 207 h 241"/>
                <a:gd name="T6" fmla="*/ 33 w 219"/>
                <a:gd name="T7" fmla="*/ 120 h 241"/>
                <a:gd name="T8" fmla="*/ 109 w 219"/>
                <a:gd name="T9" fmla="*/ 33 h 241"/>
                <a:gd name="T10" fmla="*/ 109 w 219"/>
                <a:gd name="T11" fmla="*/ 241 h 241"/>
                <a:gd name="T12" fmla="*/ 219 w 219"/>
                <a:gd name="T13" fmla="*/ 120 h 241"/>
                <a:gd name="T14" fmla="*/ 109 w 219"/>
                <a:gd name="T15" fmla="*/ 0 h 241"/>
                <a:gd name="T16" fmla="*/ 0 w 219"/>
                <a:gd name="T17" fmla="*/ 120 h 241"/>
                <a:gd name="T18" fmla="*/ 109 w 219"/>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9" h="241">
                  <a:moveTo>
                    <a:pt x="109" y="33"/>
                  </a:moveTo>
                  <a:cubicBezTo>
                    <a:pt x="151" y="33"/>
                    <a:pt x="185" y="72"/>
                    <a:pt x="185" y="120"/>
                  </a:cubicBezTo>
                  <a:cubicBezTo>
                    <a:pt x="185" y="168"/>
                    <a:pt x="151" y="207"/>
                    <a:pt x="109" y="207"/>
                  </a:cubicBezTo>
                  <a:cubicBezTo>
                    <a:pt x="67" y="207"/>
                    <a:pt x="33" y="168"/>
                    <a:pt x="33" y="120"/>
                  </a:cubicBezTo>
                  <a:cubicBezTo>
                    <a:pt x="33" y="72"/>
                    <a:pt x="67" y="33"/>
                    <a:pt x="109" y="33"/>
                  </a:cubicBezTo>
                  <a:close/>
                  <a:moveTo>
                    <a:pt x="109" y="241"/>
                  </a:moveTo>
                  <a:cubicBezTo>
                    <a:pt x="170" y="241"/>
                    <a:pt x="219" y="187"/>
                    <a:pt x="219" y="120"/>
                  </a:cubicBezTo>
                  <a:cubicBezTo>
                    <a:pt x="219" y="54"/>
                    <a:pt x="170" y="0"/>
                    <a:pt x="109" y="0"/>
                  </a:cubicBezTo>
                  <a:cubicBezTo>
                    <a:pt x="49" y="0"/>
                    <a:pt x="0" y="54"/>
                    <a:pt x="0" y="120"/>
                  </a:cubicBezTo>
                  <a:cubicBezTo>
                    <a:pt x="0" y="187"/>
                    <a:pt x="49" y="241"/>
                    <a:pt x="109" y="2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b="1" noProof="0"/>
            </a:p>
          </p:txBody>
        </p:sp>
        <p:sp>
          <p:nvSpPr>
            <p:cNvPr id="1044" name="Freeform 86">
              <a:extLst>
                <a:ext uri="{FF2B5EF4-FFF2-40B4-BE49-F238E27FC236}">
                  <a16:creationId xmlns:a16="http://schemas.microsoft.com/office/drawing/2014/main" id="{9C850465-4BF1-345D-954E-31A050CE3ABB}"/>
                </a:ext>
              </a:extLst>
            </p:cNvPr>
            <p:cNvSpPr>
              <a:spLocks noEditPoints="1"/>
            </p:cNvSpPr>
            <p:nvPr/>
          </p:nvSpPr>
          <p:spPr bwMode="auto">
            <a:xfrm>
              <a:off x="2325688" y="5576888"/>
              <a:ext cx="625475" cy="638175"/>
            </a:xfrm>
            <a:custGeom>
              <a:avLst/>
              <a:gdLst>
                <a:gd name="T0" fmla="*/ 312 w 1045"/>
                <a:gd name="T1" fmla="*/ 575 h 1067"/>
                <a:gd name="T2" fmla="*/ 276 w 1045"/>
                <a:gd name="T3" fmla="*/ 539 h 1067"/>
                <a:gd name="T4" fmla="*/ 226 w 1045"/>
                <a:gd name="T5" fmla="*/ 513 h 1067"/>
                <a:gd name="T6" fmla="*/ 247 w 1045"/>
                <a:gd name="T7" fmla="*/ 557 h 1067"/>
                <a:gd name="T8" fmla="*/ 247 w 1045"/>
                <a:gd name="T9" fmla="*/ 687 h 1067"/>
                <a:gd name="T10" fmla="*/ 387 w 1045"/>
                <a:gd name="T11" fmla="*/ 704 h 1067"/>
                <a:gd name="T12" fmla="*/ 514 w 1045"/>
                <a:gd name="T13" fmla="*/ 1034 h 1067"/>
                <a:gd name="T14" fmla="*/ 379 w 1045"/>
                <a:gd name="T15" fmla="*/ 825 h 1067"/>
                <a:gd name="T16" fmla="*/ 185 w 1045"/>
                <a:gd name="T17" fmla="*/ 813 h 1067"/>
                <a:gd name="T18" fmla="*/ 115 w 1045"/>
                <a:gd name="T19" fmla="*/ 532 h 1067"/>
                <a:gd name="T20" fmla="*/ 131 w 1045"/>
                <a:gd name="T21" fmla="*/ 424 h 1067"/>
                <a:gd name="T22" fmla="*/ 243 w 1045"/>
                <a:gd name="T23" fmla="*/ 407 h 1067"/>
                <a:gd name="T24" fmla="*/ 370 w 1045"/>
                <a:gd name="T25" fmla="*/ 526 h 1067"/>
                <a:gd name="T26" fmla="*/ 497 w 1045"/>
                <a:gd name="T27" fmla="*/ 530 h 1067"/>
                <a:gd name="T28" fmla="*/ 488 w 1045"/>
                <a:gd name="T29" fmla="*/ 564 h 1067"/>
                <a:gd name="T30" fmla="*/ 442 w 1045"/>
                <a:gd name="T31" fmla="*/ 575 h 1067"/>
                <a:gd name="T32" fmla="*/ 53 w 1045"/>
                <a:gd name="T33" fmla="*/ 888 h 1067"/>
                <a:gd name="T34" fmla="*/ 33 w 1045"/>
                <a:gd name="T35" fmla="*/ 427 h 1067"/>
                <a:gd name="T36" fmla="*/ 61 w 1045"/>
                <a:gd name="T37" fmla="*/ 407 h 1067"/>
                <a:gd name="T38" fmla="*/ 81 w 1045"/>
                <a:gd name="T39" fmla="*/ 464 h 1067"/>
                <a:gd name="T40" fmla="*/ 81 w 1045"/>
                <a:gd name="T41" fmla="*/ 532 h 1067"/>
                <a:gd name="T42" fmla="*/ 100 w 1045"/>
                <a:gd name="T43" fmla="*/ 848 h 1067"/>
                <a:gd name="T44" fmla="*/ 280 w 1045"/>
                <a:gd name="T45" fmla="*/ 868 h 1067"/>
                <a:gd name="T46" fmla="*/ 787 w 1045"/>
                <a:gd name="T47" fmla="*/ 347 h 1067"/>
                <a:gd name="T48" fmla="*/ 690 w 1045"/>
                <a:gd name="T49" fmla="*/ 406 h 1067"/>
                <a:gd name="T50" fmla="*/ 727 w 1045"/>
                <a:gd name="T51" fmla="*/ 34 h 1067"/>
                <a:gd name="T52" fmla="*/ 787 w 1045"/>
                <a:gd name="T53" fmla="*/ 347 h 1067"/>
                <a:gd name="T54" fmla="*/ 785 w 1045"/>
                <a:gd name="T55" fmla="*/ 575 h 1067"/>
                <a:gd name="T56" fmla="*/ 932 w 1045"/>
                <a:gd name="T57" fmla="*/ 535 h 1067"/>
                <a:gd name="T58" fmla="*/ 949 w 1045"/>
                <a:gd name="T59" fmla="*/ 220 h 1067"/>
                <a:gd name="T60" fmla="*/ 820 w 1045"/>
                <a:gd name="T61" fmla="*/ 203 h 1067"/>
                <a:gd name="T62" fmla="*/ 727 w 1045"/>
                <a:gd name="T63" fmla="*/ 0 h 1067"/>
                <a:gd name="T64" fmla="*/ 657 w 1045"/>
                <a:gd name="T65" fmla="*/ 17 h 1067"/>
                <a:gd name="T66" fmla="*/ 674 w 1045"/>
                <a:gd name="T67" fmla="*/ 440 h 1067"/>
                <a:gd name="T68" fmla="*/ 820 w 1045"/>
                <a:gd name="T69" fmla="*/ 347 h 1067"/>
                <a:gd name="T70" fmla="*/ 916 w 1045"/>
                <a:gd name="T71" fmla="*/ 237 h 1067"/>
                <a:gd name="T72" fmla="*/ 769 w 1045"/>
                <a:gd name="T73" fmla="*/ 501 h 1067"/>
                <a:gd name="T74" fmla="*/ 752 w 1045"/>
                <a:gd name="T75" fmla="*/ 575 h 1067"/>
                <a:gd name="T76" fmla="*/ 531 w 1045"/>
                <a:gd name="T77" fmla="*/ 536 h 1067"/>
                <a:gd name="T78" fmla="*/ 513 w 1045"/>
                <a:gd name="T79" fmla="*/ 497 h 1067"/>
                <a:gd name="T80" fmla="*/ 281 w 1045"/>
                <a:gd name="T81" fmla="*/ 389 h 1067"/>
                <a:gd name="T82" fmla="*/ 172 w 1045"/>
                <a:gd name="T83" fmla="*/ 374 h 1067"/>
                <a:gd name="T84" fmla="*/ 107 w 1045"/>
                <a:gd name="T85" fmla="*/ 401 h 1067"/>
                <a:gd name="T86" fmla="*/ 53 w 1045"/>
                <a:gd name="T87" fmla="*/ 374 h 1067"/>
                <a:gd name="T88" fmla="*/ 0 w 1045"/>
                <a:gd name="T89" fmla="*/ 868 h 1067"/>
                <a:gd name="T90" fmla="*/ 166 w 1045"/>
                <a:gd name="T91" fmla="*/ 922 h 1067"/>
                <a:gd name="T92" fmla="*/ 95 w 1045"/>
                <a:gd name="T93" fmla="*/ 1013 h 1067"/>
                <a:gd name="T94" fmla="*/ 105 w 1045"/>
                <a:gd name="T95" fmla="*/ 1044 h 1067"/>
                <a:gd name="T96" fmla="*/ 166 w 1045"/>
                <a:gd name="T97" fmla="*/ 1006 h 1067"/>
                <a:gd name="T98" fmla="*/ 183 w 1045"/>
                <a:gd name="T99" fmla="*/ 1067 h 1067"/>
                <a:gd name="T100" fmla="*/ 199 w 1045"/>
                <a:gd name="T101" fmla="*/ 1006 h 1067"/>
                <a:gd name="T102" fmla="*/ 276 w 1045"/>
                <a:gd name="T103" fmla="*/ 1038 h 1067"/>
                <a:gd name="T104" fmla="*/ 199 w 1045"/>
                <a:gd name="T105" fmla="*/ 965 h 1067"/>
                <a:gd name="T106" fmla="*/ 260 w 1045"/>
                <a:gd name="T107" fmla="*/ 922 h 1067"/>
                <a:gd name="T108" fmla="*/ 308 w 1045"/>
                <a:gd name="T109" fmla="*/ 847 h 1067"/>
                <a:gd name="T110" fmla="*/ 419 w 1045"/>
                <a:gd name="T111" fmla="*/ 1056 h 1067"/>
                <a:gd name="T112" fmla="*/ 535 w 1045"/>
                <a:gd name="T113" fmla="*/ 1067 h 1067"/>
                <a:gd name="T114" fmla="*/ 551 w 1045"/>
                <a:gd name="T115" fmla="*/ 1047 h 1067"/>
                <a:gd name="T116" fmla="*/ 387 w 1045"/>
                <a:gd name="T117" fmla="*/ 671 h 1067"/>
                <a:gd name="T118" fmla="*/ 281 w 1045"/>
                <a:gd name="T119" fmla="*/ 608 h 1067"/>
                <a:gd name="T120" fmla="*/ 462 w 1045"/>
                <a:gd name="T121" fmla="*/ 608 h 1067"/>
                <a:gd name="T122" fmla="*/ 1045 w 1045"/>
                <a:gd name="T123" fmla="*/ 591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5" h="1067">
                  <a:moveTo>
                    <a:pt x="442" y="575"/>
                  </a:moveTo>
                  <a:lnTo>
                    <a:pt x="312" y="575"/>
                  </a:lnTo>
                  <a:lnTo>
                    <a:pt x="276" y="539"/>
                  </a:lnTo>
                  <a:lnTo>
                    <a:pt x="276" y="539"/>
                  </a:lnTo>
                  <a:lnTo>
                    <a:pt x="250" y="513"/>
                  </a:lnTo>
                  <a:cubicBezTo>
                    <a:pt x="243" y="506"/>
                    <a:pt x="233" y="506"/>
                    <a:pt x="226" y="513"/>
                  </a:cubicBezTo>
                  <a:cubicBezTo>
                    <a:pt x="220" y="519"/>
                    <a:pt x="220" y="530"/>
                    <a:pt x="226" y="536"/>
                  </a:cubicBezTo>
                  <a:lnTo>
                    <a:pt x="247" y="557"/>
                  </a:lnTo>
                  <a:lnTo>
                    <a:pt x="247" y="591"/>
                  </a:lnTo>
                  <a:lnTo>
                    <a:pt x="247" y="687"/>
                  </a:lnTo>
                  <a:cubicBezTo>
                    <a:pt x="247" y="697"/>
                    <a:pt x="255" y="704"/>
                    <a:pt x="264" y="704"/>
                  </a:cubicBezTo>
                  <a:lnTo>
                    <a:pt x="387" y="704"/>
                  </a:lnTo>
                  <a:cubicBezTo>
                    <a:pt x="416" y="704"/>
                    <a:pt x="441" y="724"/>
                    <a:pt x="448" y="752"/>
                  </a:cubicBezTo>
                  <a:lnTo>
                    <a:pt x="514" y="1034"/>
                  </a:lnTo>
                  <a:lnTo>
                    <a:pt x="447" y="1034"/>
                  </a:lnTo>
                  <a:lnTo>
                    <a:pt x="379" y="825"/>
                  </a:lnTo>
                  <a:cubicBezTo>
                    <a:pt x="377" y="818"/>
                    <a:pt x="371" y="813"/>
                    <a:pt x="363" y="813"/>
                  </a:cubicBezTo>
                  <a:lnTo>
                    <a:pt x="185" y="813"/>
                  </a:lnTo>
                  <a:cubicBezTo>
                    <a:pt x="147" y="813"/>
                    <a:pt x="117" y="782"/>
                    <a:pt x="117" y="744"/>
                  </a:cubicBezTo>
                  <a:lnTo>
                    <a:pt x="115" y="532"/>
                  </a:lnTo>
                  <a:lnTo>
                    <a:pt x="114" y="463"/>
                  </a:lnTo>
                  <a:cubicBezTo>
                    <a:pt x="115" y="449"/>
                    <a:pt x="120" y="435"/>
                    <a:pt x="131" y="424"/>
                  </a:cubicBezTo>
                  <a:cubicBezTo>
                    <a:pt x="142" y="413"/>
                    <a:pt x="157" y="407"/>
                    <a:pt x="172" y="407"/>
                  </a:cubicBezTo>
                  <a:lnTo>
                    <a:pt x="243" y="407"/>
                  </a:lnTo>
                  <a:cubicBezTo>
                    <a:pt x="248" y="407"/>
                    <a:pt x="254" y="409"/>
                    <a:pt x="257" y="413"/>
                  </a:cubicBezTo>
                  <a:lnTo>
                    <a:pt x="370" y="526"/>
                  </a:lnTo>
                  <a:cubicBezTo>
                    <a:pt x="373" y="529"/>
                    <a:pt x="377" y="530"/>
                    <a:pt x="382" y="530"/>
                  </a:cubicBezTo>
                  <a:lnTo>
                    <a:pt x="497" y="530"/>
                  </a:lnTo>
                  <a:lnTo>
                    <a:pt x="498" y="537"/>
                  </a:lnTo>
                  <a:cubicBezTo>
                    <a:pt x="498" y="547"/>
                    <a:pt x="495" y="556"/>
                    <a:pt x="488" y="564"/>
                  </a:cubicBezTo>
                  <a:cubicBezTo>
                    <a:pt x="481" y="571"/>
                    <a:pt x="472" y="575"/>
                    <a:pt x="462" y="575"/>
                  </a:cubicBezTo>
                  <a:lnTo>
                    <a:pt x="442" y="575"/>
                  </a:lnTo>
                  <a:close/>
                  <a:moveTo>
                    <a:pt x="260" y="888"/>
                  </a:moveTo>
                  <a:lnTo>
                    <a:pt x="53" y="888"/>
                  </a:lnTo>
                  <a:cubicBezTo>
                    <a:pt x="42" y="888"/>
                    <a:pt x="33" y="879"/>
                    <a:pt x="33" y="868"/>
                  </a:cubicBezTo>
                  <a:lnTo>
                    <a:pt x="33" y="427"/>
                  </a:lnTo>
                  <a:cubicBezTo>
                    <a:pt x="33" y="416"/>
                    <a:pt x="42" y="407"/>
                    <a:pt x="53" y="407"/>
                  </a:cubicBezTo>
                  <a:lnTo>
                    <a:pt x="61" y="407"/>
                  </a:lnTo>
                  <a:cubicBezTo>
                    <a:pt x="72" y="407"/>
                    <a:pt x="81" y="416"/>
                    <a:pt x="81" y="427"/>
                  </a:cubicBezTo>
                  <a:lnTo>
                    <a:pt x="81" y="464"/>
                  </a:lnTo>
                  <a:cubicBezTo>
                    <a:pt x="81" y="465"/>
                    <a:pt x="81" y="465"/>
                    <a:pt x="81" y="466"/>
                  </a:cubicBezTo>
                  <a:lnTo>
                    <a:pt x="81" y="532"/>
                  </a:lnTo>
                  <a:lnTo>
                    <a:pt x="83" y="832"/>
                  </a:lnTo>
                  <a:cubicBezTo>
                    <a:pt x="83" y="841"/>
                    <a:pt x="90" y="848"/>
                    <a:pt x="100" y="848"/>
                  </a:cubicBezTo>
                  <a:lnTo>
                    <a:pt x="260" y="848"/>
                  </a:lnTo>
                  <a:cubicBezTo>
                    <a:pt x="271" y="848"/>
                    <a:pt x="280" y="857"/>
                    <a:pt x="280" y="868"/>
                  </a:cubicBezTo>
                  <a:cubicBezTo>
                    <a:pt x="280" y="879"/>
                    <a:pt x="271" y="888"/>
                    <a:pt x="260" y="888"/>
                  </a:cubicBezTo>
                  <a:close/>
                  <a:moveTo>
                    <a:pt x="787" y="347"/>
                  </a:moveTo>
                  <a:cubicBezTo>
                    <a:pt x="787" y="380"/>
                    <a:pt x="760" y="406"/>
                    <a:pt x="727" y="406"/>
                  </a:cubicBezTo>
                  <a:lnTo>
                    <a:pt x="690" y="406"/>
                  </a:lnTo>
                  <a:lnTo>
                    <a:pt x="690" y="34"/>
                  </a:lnTo>
                  <a:lnTo>
                    <a:pt x="727" y="34"/>
                  </a:lnTo>
                  <a:cubicBezTo>
                    <a:pt x="760" y="34"/>
                    <a:pt x="787" y="60"/>
                    <a:pt x="787" y="93"/>
                  </a:cubicBezTo>
                  <a:lnTo>
                    <a:pt x="787" y="347"/>
                  </a:lnTo>
                  <a:close/>
                  <a:moveTo>
                    <a:pt x="1029" y="575"/>
                  </a:moveTo>
                  <a:lnTo>
                    <a:pt x="785" y="575"/>
                  </a:lnTo>
                  <a:lnTo>
                    <a:pt x="785" y="535"/>
                  </a:lnTo>
                  <a:lnTo>
                    <a:pt x="932" y="535"/>
                  </a:lnTo>
                  <a:cubicBezTo>
                    <a:pt x="942" y="535"/>
                    <a:pt x="949" y="527"/>
                    <a:pt x="949" y="518"/>
                  </a:cubicBezTo>
                  <a:lnTo>
                    <a:pt x="949" y="220"/>
                  </a:lnTo>
                  <a:cubicBezTo>
                    <a:pt x="949" y="211"/>
                    <a:pt x="942" y="203"/>
                    <a:pt x="932" y="203"/>
                  </a:cubicBezTo>
                  <a:lnTo>
                    <a:pt x="820" y="203"/>
                  </a:lnTo>
                  <a:lnTo>
                    <a:pt x="820" y="93"/>
                  </a:lnTo>
                  <a:cubicBezTo>
                    <a:pt x="820" y="42"/>
                    <a:pt x="778" y="0"/>
                    <a:pt x="727" y="0"/>
                  </a:cubicBezTo>
                  <a:lnTo>
                    <a:pt x="674" y="0"/>
                  </a:lnTo>
                  <a:cubicBezTo>
                    <a:pt x="665" y="0"/>
                    <a:pt x="657" y="8"/>
                    <a:pt x="657" y="17"/>
                  </a:cubicBezTo>
                  <a:lnTo>
                    <a:pt x="657" y="423"/>
                  </a:lnTo>
                  <a:cubicBezTo>
                    <a:pt x="657" y="432"/>
                    <a:pt x="665" y="440"/>
                    <a:pt x="674" y="440"/>
                  </a:cubicBezTo>
                  <a:lnTo>
                    <a:pt x="727" y="440"/>
                  </a:lnTo>
                  <a:cubicBezTo>
                    <a:pt x="778" y="440"/>
                    <a:pt x="820" y="398"/>
                    <a:pt x="820" y="347"/>
                  </a:cubicBezTo>
                  <a:lnTo>
                    <a:pt x="820" y="237"/>
                  </a:lnTo>
                  <a:lnTo>
                    <a:pt x="916" y="237"/>
                  </a:lnTo>
                  <a:lnTo>
                    <a:pt x="916" y="501"/>
                  </a:lnTo>
                  <a:lnTo>
                    <a:pt x="769" y="501"/>
                  </a:lnTo>
                  <a:cubicBezTo>
                    <a:pt x="759" y="501"/>
                    <a:pt x="752" y="509"/>
                    <a:pt x="752" y="518"/>
                  </a:cubicBezTo>
                  <a:lnTo>
                    <a:pt x="752" y="575"/>
                  </a:lnTo>
                  <a:lnTo>
                    <a:pt x="521" y="575"/>
                  </a:lnTo>
                  <a:cubicBezTo>
                    <a:pt x="528" y="563"/>
                    <a:pt x="532" y="550"/>
                    <a:pt x="531" y="536"/>
                  </a:cubicBezTo>
                  <a:lnTo>
                    <a:pt x="530" y="513"/>
                  </a:lnTo>
                  <a:cubicBezTo>
                    <a:pt x="530" y="504"/>
                    <a:pt x="522" y="497"/>
                    <a:pt x="513" y="497"/>
                  </a:cubicBezTo>
                  <a:lnTo>
                    <a:pt x="389" y="497"/>
                  </a:lnTo>
                  <a:lnTo>
                    <a:pt x="281" y="389"/>
                  </a:lnTo>
                  <a:cubicBezTo>
                    <a:pt x="271" y="379"/>
                    <a:pt x="257" y="374"/>
                    <a:pt x="243" y="374"/>
                  </a:cubicBezTo>
                  <a:lnTo>
                    <a:pt x="172" y="374"/>
                  </a:lnTo>
                  <a:cubicBezTo>
                    <a:pt x="148" y="374"/>
                    <a:pt x="125" y="383"/>
                    <a:pt x="107" y="401"/>
                  </a:cubicBezTo>
                  <a:cubicBezTo>
                    <a:pt x="107" y="401"/>
                    <a:pt x="107" y="401"/>
                    <a:pt x="107" y="401"/>
                  </a:cubicBezTo>
                  <a:cubicBezTo>
                    <a:pt x="98" y="385"/>
                    <a:pt x="81" y="374"/>
                    <a:pt x="61" y="374"/>
                  </a:cubicBezTo>
                  <a:lnTo>
                    <a:pt x="53" y="374"/>
                  </a:lnTo>
                  <a:cubicBezTo>
                    <a:pt x="24" y="374"/>
                    <a:pt x="0" y="398"/>
                    <a:pt x="0" y="427"/>
                  </a:cubicBezTo>
                  <a:lnTo>
                    <a:pt x="0" y="868"/>
                  </a:lnTo>
                  <a:cubicBezTo>
                    <a:pt x="0" y="898"/>
                    <a:pt x="24" y="922"/>
                    <a:pt x="53" y="922"/>
                  </a:cubicBezTo>
                  <a:lnTo>
                    <a:pt x="166" y="922"/>
                  </a:lnTo>
                  <a:lnTo>
                    <a:pt x="166" y="965"/>
                  </a:lnTo>
                  <a:lnTo>
                    <a:pt x="95" y="1013"/>
                  </a:lnTo>
                  <a:cubicBezTo>
                    <a:pt x="88" y="1018"/>
                    <a:pt x="86" y="1029"/>
                    <a:pt x="91" y="1036"/>
                  </a:cubicBezTo>
                  <a:cubicBezTo>
                    <a:pt x="94" y="1041"/>
                    <a:pt x="99" y="1044"/>
                    <a:pt x="105" y="1044"/>
                  </a:cubicBezTo>
                  <a:cubicBezTo>
                    <a:pt x="108" y="1044"/>
                    <a:pt x="111" y="1043"/>
                    <a:pt x="114" y="1041"/>
                  </a:cubicBezTo>
                  <a:lnTo>
                    <a:pt x="166" y="1006"/>
                  </a:lnTo>
                  <a:lnTo>
                    <a:pt x="166" y="1050"/>
                  </a:lnTo>
                  <a:cubicBezTo>
                    <a:pt x="166" y="1060"/>
                    <a:pt x="173" y="1067"/>
                    <a:pt x="183" y="1067"/>
                  </a:cubicBezTo>
                  <a:cubicBezTo>
                    <a:pt x="192" y="1067"/>
                    <a:pt x="199" y="1060"/>
                    <a:pt x="199" y="1050"/>
                  </a:cubicBezTo>
                  <a:lnTo>
                    <a:pt x="199" y="1006"/>
                  </a:lnTo>
                  <a:lnTo>
                    <a:pt x="253" y="1043"/>
                  </a:lnTo>
                  <a:cubicBezTo>
                    <a:pt x="261" y="1048"/>
                    <a:pt x="271" y="1046"/>
                    <a:pt x="276" y="1038"/>
                  </a:cubicBezTo>
                  <a:cubicBezTo>
                    <a:pt x="281" y="1031"/>
                    <a:pt x="279" y="1020"/>
                    <a:pt x="272" y="1015"/>
                  </a:cubicBezTo>
                  <a:lnTo>
                    <a:pt x="199" y="965"/>
                  </a:lnTo>
                  <a:lnTo>
                    <a:pt x="199" y="922"/>
                  </a:lnTo>
                  <a:lnTo>
                    <a:pt x="260" y="922"/>
                  </a:lnTo>
                  <a:cubicBezTo>
                    <a:pt x="289" y="922"/>
                    <a:pt x="313" y="898"/>
                    <a:pt x="313" y="868"/>
                  </a:cubicBezTo>
                  <a:cubicBezTo>
                    <a:pt x="313" y="861"/>
                    <a:pt x="311" y="853"/>
                    <a:pt x="308" y="847"/>
                  </a:cubicBezTo>
                  <a:lnTo>
                    <a:pt x="351" y="847"/>
                  </a:lnTo>
                  <a:lnTo>
                    <a:pt x="419" y="1056"/>
                  </a:lnTo>
                  <a:cubicBezTo>
                    <a:pt x="422" y="1062"/>
                    <a:pt x="428" y="1067"/>
                    <a:pt x="435" y="1067"/>
                  </a:cubicBezTo>
                  <a:lnTo>
                    <a:pt x="535" y="1067"/>
                  </a:lnTo>
                  <a:cubicBezTo>
                    <a:pt x="540" y="1067"/>
                    <a:pt x="545" y="1065"/>
                    <a:pt x="548" y="1061"/>
                  </a:cubicBezTo>
                  <a:cubicBezTo>
                    <a:pt x="551" y="1057"/>
                    <a:pt x="552" y="1051"/>
                    <a:pt x="551" y="1047"/>
                  </a:cubicBezTo>
                  <a:lnTo>
                    <a:pt x="480" y="744"/>
                  </a:lnTo>
                  <a:cubicBezTo>
                    <a:pt x="470" y="701"/>
                    <a:pt x="432" y="671"/>
                    <a:pt x="387" y="671"/>
                  </a:cubicBezTo>
                  <a:lnTo>
                    <a:pt x="281" y="671"/>
                  </a:lnTo>
                  <a:lnTo>
                    <a:pt x="281" y="608"/>
                  </a:lnTo>
                  <a:lnTo>
                    <a:pt x="442" y="608"/>
                  </a:lnTo>
                  <a:lnTo>
                    <a:pt x="462" y="608"/>
                  </a:lnTo>
                  <a:lnTo>
                    <a:pt x="1029" y="608"/>
                  </a:lnTo>
                  <a:cubicBezTo>
                    <a:pt x="1038" y="608"/>
                    <a:pt x="1045" y="601"/>
                    <a:pt x="1045" y="591"/>
                  </a:cubicBezTo>
                  <a:cubicBezTo>
                    <a:pt x="1045" y="582"/>
                    <a:pt x="1038" y="575"/>
                    <a:pt x="1029" y="57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b="1" noProof="0"/>
            </a:p>
          </p:txBody>
        </p:sp>
      </p:grpSp>
      <p:sp>
        <p:nvSpPr>
          <p:cNvPr id="1045" name="Bocadillo: rectángulo con esquinas redondeadas 1044">
            <a:extLst>
              <a:ext uri="{FF2B5EF4-FFF2-40B4-BE49-F238E27FC236}">
                <a16:creationId xmlns:a16="http://schemas.microsoft.com/office/drawing/2014/main" id="{E519505E-AEE6-EF85-81E5-201303C91BB0}"/>
              </a:ext>
            </a:extLst>
          </p:cNvPr>
          <p:cNvSpPr/>
          <p:nvPr/>
        </p:nvSpPr>
        <p:spPr>
          <a:xfrm>
            <a:off x="813544" y="2699682"/>
            <a:ext cx="898851" cy="426667"/>
          </a:xfrm>
          <a:prstGeom prst="wedgeRoundRectCallout">
            <a:avLst>
              <a:gd name="adj1" fmla="val -40180"/>
              <a:gd name="adj2" fmla="val 69665"/>
              <a:gd name="adj3" fmla="val 16667"/>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b="1" noProof="0">
                <a:solidFill>
                  <a:schemeClr val="tx1"/>
                </a:solidFill>
              </a:rPr>
              <a:t>Remediation of errors</a:t>
            </a:r>
          </a:p>
        </p:txBody>
      </p:sp>
      <p:sp>
        <p:nvSpPr>
          <p:cNvPr id="1047" name="Rectángulo: esquinas redondeadas 1046">
            <a:extLst>
              <a:ext uri="{FF2B5EF4-FFF2-40B4-BE49-F238E27FC236}">
                <a16:creationId xmlns:a16="http://schemas.microsoft.com/office/drawing/2014/main" id="{8ECE46D8-201D-E4D7-C6C9-62D9D26191AC}"/>
              </a:ext>
            </a:extLst>
          </p:cNvPr>
          <p:cNvSpPr/>
          <p:nvPr/>
        </p:nvSpPr>
        <p:spPr>
          <a:xfrm>
            <a:off x="4168235" y="2706625"/>
            <a:ext cx="346877" cy="331722"/>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1048" name="Conector recto de flecha 1047">
            <a:extLst>
              <a:ext uri="{FF2B5EF4-FFF2-40B4-BE49-F238E27FC236}">
                <a16:creationId xmlns:a16="http://schemas.microsoft.com/office/drawing/2014/main" id="{4DFB7703-D817-AAFC-9C3E-DDB142329FE4}"/>
              </a:ext>
            </a:extLst>
          </p:cNvPr>
          <p:cNvCxnSpPr>
            <a:cxnSpLocks/>
            <a:stCxn id="1047" idx="3"/>
          </p:cNvCxnSpPr>
          <p:nvPr/>
        </p:nvCxnSpPr>
        <p:spPr>
          <a:xfrm flipV="1">
            <a:off x="4515112" y="2870174"/>
            <a:ext cx="220589" cy="231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50" name="Conector recto de flecha 1049">
            <a:extLst>
              <a:ext uri="{FF2B5EF4-FFF2-40B4-BE49-F238E27FC236}">
                <a16:creationId xmlns:a16="http://schemas.microsoft.com/office/drawing/2014/main" id="{D4E96A83-4017-DA38-C86A-73EEDAA33A52}"/>
              </a:ext>
            </a:extLst>
          </p:cNvPr>
          <p:cNvCxnSpPr>
            <a:cxnSpLocks/>
            <a:stCxn id="380" idx="3"/>
            <a:endCxn id="389" idx="1"/>
          </p:cNvCxnSpPr>
          <p:nvPr/>
        </p:nvCxnSpPr>
        <p:spPr>
          <a:xfrm flipV="1">
            <a:off x="5082578" y="2865543"/>
            <a:ext cx="215643" cy="463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52" name="Conector: curvado 1051">
            <a:extLst>
              <a:ext uri="{FF2B5EF4-FFF2-40B4-BE49-F238E27FC236}">
                <a16:creationId xmlns:a16="http://schemas.microsoft.com/office/drawing/2014/main" id="{6F56DC06-F92F-966A-F1C8-F35C90E1ABA1}"/>
              </a:ext>
            </a:extLst>
          </p:cNvPr>
          <p:cNvCxnSpPr>
            <a:cxnSpLocks/>
          </p:cNvCxnSpPr>
          <p:nvPr/>
        </p:nvCxnSpPr>
        <p:spPr>
          <a:xfrm flipV="1">
            <a:off x="5639279" y="2472349"/>
            <a:ext cx="358258" cy="287461"/>
          </a:xfrm>
          <a:prstGeom prst="curvedConnector3">
            <a:avLst>
              <a:gd name="adj1" fmla="val 50000"/>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55" name="Conector: curvado 1054">
            <a:extLst>
              <a:ext uri="{FF2B5EF4-FFF2-40B4-BE49-F238E27FC236}">
                <a16:creationId xmlns:a16="http://schemas.microsoft.com/office/drawing/2014/main" id="{693B5F82-559A-74A6-3410-5FB6D910D41B}"/>
              </a:ext>
            </a:extLst>
          </p:cNvPr>
          <p:cNvCxnSpPr>
            <a:cxnSpLocks/>
          </p:cNvCxnSpPr>
          <p:nvPr/>
        </p:nvCxnSpPr>
        <p:spPr>
          <a:xfrm>
            <a:off x="5638424" y="2978869"/>
            <a:ext cx="384291" cy="213419"/>
          </a:xfrm>
          <a:prstGeom prst="curvedConnector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56" name="Conector recto de flecha 1055">
            <a:extLst>
              <a:ext uri="{FF2B5EF4-FFF2-40B4-BE49-F238E27FC236}">
                <a16:creationId xmlns:a16="http://schemas.microsoft.com/office/drawing/2014/main" id="{EA911219-569D-04F7-8EFD-35844A36531E}"/>
              </a:ext>
            </a:extLst>
          </p:cNvPr>
          <p:cNvCxnSpPr>
            <a:cxnSpLocks/>
            <a:stCxn id="394" idx="3"/>
            <a:endCxn id="405" idx="1"/>
          </p:cNvCxnSpPr>
          <p:nvPr/>
        </p:nvCxnSpPr>
        <p:spPr>
          <a:xfrm>
            <a:off x="6351088" y="2472349"/>
            <a:ext cx="304482"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58" name="Conector recto de flecha 1057">
            <a:extLst>
              <a:ext uri="{FF2B5EF4-FFF2-40B4-BE49-F238E27FC236}">
                <a16:creationId xmlns:a16="http://schemas.microsoft.com/office/drawing/2014/main" id="{6B45681D-ABEA-272B-5EB6-67E2735806FD}"/>
              </a:ext>
            </a:extLst>
          </p:cNvPr>
          <p:cNvCxnSpPr>
            <a:cxnSpLocks/>
            <a:stCxn id="405" idx="3"/>
            <a:endCxn id="425" idx="1"/>
          </p:cNvCxnSpPr>
          <p:nvPr/>
        </p:nvCxnSpPr>
        <p:spPr>
          <a:xfrm>
            <a:off x="7002447" y="2472349"/>
            <a:ext cx="258992"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060" name="Rectángulo: esquinas redondeadas 1059">
            <a:extLst>
              <a:ext uri="{FF2B5EF4-FFF2-40B4-BE49-F238E27FC236}">
                <a16:creationId xmlns:a16="http://schemas.microsoft.com/office/drawing/2014/main" id="{92DCF018-DB68-DA5E-CCFB-421D9D7FBFD2}"/>
              </a:ext>
            </a:extLst>
          </p:cNvPr>
          <p:cNvSpPr/>
          <p:nvPr/>
        </p:nvSpPr>
        <p:spPr>
          <a:xfrm>
            <a:off x="4042854" y="1965829"/>
            <a:ext cx="3783840" cy="1508759"/>
          </a:xfrm>
          <a:prstGeom prst="roundRect">
            <a:avLst/>
          </a:prstGeom>
          <a:noFill/>
          <a:ln w="19050">
            <a:solidFill>
              <a:schemeClr val="tx2">
                <a:lumMod val="60000"/>
                <a:lumOff val="4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nvGrpSpPr>
          <p:cNvPr id="346" name="Grupo 345">
            <a:extLst>
              <a:ext uri="{FF2B5EF4-FFF2-40B4-BE49-F238E27FC236}">
                <a16:creationId xmlns:a16="http://schemas.microsoft.com/office/drawing/2014/main" id="{D13F960A-F607-C682-2DCF-C01D2436C36F}"/>
              </a:ext>
            </a:extLst>
          </p:cNvPr>
          <p:cNvGrpSpPr/>
          <p:nvPr/>
        </p:nvGrpSpPr>
        <p:grpSpPr>
          <a:xfrm>
            <a:off x="8361557" y="1706967"/>
            <a:ext cx="1611962" cy="765424"/>
            <a:chOff x="8921882" y="1921098"/>
            <a:chExt cx="1611962" cy="765424"/>
          </a:xfrm>
        </p:grpSpPr>
        <p:sp>
          <p:nvSpPr>
            <p:cNvPr id="1194" name="Rectángulo: esquinas redondeadas 1193">
              <a:extLst>
                <a:ext uri="{FF2B5EF4-FFF2-40B4-BE49-F238E27FC236}">
                  <a16:creationId xmlns:a16="http://schemas.microsoft.com/office/drawing/2014/main" id="{25B80049-46EB-48EF-3C59-C2F2CD9BC789}"/>
                </a:ext>
              </a:extLst>
            </p:cNvPr>
            <p:cNvSpPr/>
            <p:nvPr/>
          </p:nvSpPr>
          <p:spPr>
            <a:xfrm>
              <a:off x="9137221" y="1921098"/>
              <a:ext cx="1396623" cy="616387"/>
            </a:xfrm>
            <a:prstGeom prst="roundRect">
              <a:avLst/>
            </a:prstGeom>
            <a:solidFill>
              <a:schemeClr val="bg1">
                <a:lumMod val="9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195" name="Rectángulo: esquinas redondeadas 1194">
              <a:extLst>
                <a:ext uri="{FF2B5EF4-FFF2-40B4-BE49-F238E27FC236}">
                  <a16:creationId xmlns:a16="http://schemas.microsoft.com/office/drawing/2014/main" id="{B3ACFF3B-46B4-053C-404F-5CE8EA69F0C9}"/>
                </a:ext>
              </a:extLst>
            </p:cNvPr>
            <p:cNvSpPr/>
            <p:nvPr/>
          </p:nvSpPr>
          <p:spPr>
            <a:xfrm>
              <a:off x="9012579" y="1979330"/>
              <a:ext cx="1441797" cy="616387"/>
            </a:xfrm>
            <a:prstGeom prst="roundRect">
              <a:avLst/>
            </a:prstGeom>
            <a:solidFill>
              <a:schemeClr val="bg1">
                <a:lumMod val="9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198" name="Rectángulo: esquinas redondeadas 1197">
              <a:extLst>
                <a:ext uri="{FF2B5EF4-FFF2-40B4-BE49-F238E27FC236}">
                  <a16:creationId xmlns:a16="http://schemas.microsoft.com/office/drawing/2014/main" id="{91DB95E6-7FF3-E95D-A1FE-DF28A9C52FB7}"/>
                </a:ext>
              </a:extLst>
            </p:cNvPr>
            <p:cNvSpPr/>
            <p:nvPr/>
          </p:nvSpPr>
          <p:spPr>
            <a:xfrm>
              <a:off x="8921882" y="2054367"/>
              <a:ext cx="1464422" cy="632155"/>
            </a:xfrm>
            <a:prstGeom prst="roundRect">
              <a:avLst/>
            </a:prstGeom>
            <a:solidFill>
              <a:schemeClr val="bg1">
                <a:lumMod val="9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199" name="Rectángulo: esquinas redondeadas 1198">
              <a:extLst>
                <a:ext uri="{FF2B5EF4-FFF2-40B4-BE49-F238E27FC236}">
                  <a16:creationId xmlns:a16="http://schemas.microsoft.com/office/drawing/2014/main" id="{2213EDBE-F771-B642-3F5C-EC8142E34184}"/>
                </a:ext>
              </a:extLst>
            </p:cNvPr>
            <p:cNvSpPr/>
            <p:nvPr/>
          </p:nvSpPr>
          <p:spPr>
            <a:xfrm>
              <a:off x="8967905" y="2346439"/>
              <a:ext cx="101244" cy="77046"/>
            </a:xfrm>
            <a:prstGeom prst="roundRect">
              <a:avLst/>
            </a:prstGeom>
            <a:solidFill>
              <a:schemeClr val="tx2"/>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1200" name="Conector recto de flecha 1199">
              <a:extLst>
                <a:ext uri="{FF2B5EF4-FFF2-40B4-BE49-F238E27FC236}">
                  <a16:creationId xmlns:a16="http://schemas.microsoft.com/office/drawing/2014/main" id="{EB0FF3A0-455D-6285-73C7-4E185A22FFA2}"/>
                </a:ext>
              </a:extLst>
            </p:cNvPr>
            <p:cNvCxnSpPr>
              <a:cxnSpLocks/>
              <a:stCxn id="1199" idx="3"/>
              <a:endCxn id="1212" idx="1"/>
            </p:cNvCxnSpPr>
            <p:nvPr/>
          </p:nvCxnSpPr>
          <p:spPr>
            <a:xfrm flipV="1">
              <a:off x="9069149" y="2384961"/>
              <a:ext cx="152054"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02" name="Conector recto de flecha 1201">
              <a:extLst>
                <a:ext uri="{FF2B5EF4-FFF2-40B4-BE49-F238E27FC236}">
                  <a16:creationId xmlns:a16="http://schemas.microsoft.com/office/drawing/2014/main" id="{AFE123B9-3C4D-056C-617D-71646EFE36EE}"/>
                </a:ext>
              </a:extLst>
            </p:cNvPr>
            <p:cNvCxnSpPr>
              <a:cxnSpLocks/>
              <a:endCxn id="1203" idx="1"/>
            </p:cNvCxnSpPr>
            <p:nvPr/>
          </p:nvCxnSpPr>
          <p:spPr>
            <a:xfrm flipV="1">
              <a:off x="9322047" y="2384960"/>
              <a:ext cx="152054" cy="185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203" name="Rectángulo: esquinas redondeadas 1202">
              <a:extLst>
                <a:ext uri="{FF2B5EF4-FFF2-40B4-BE49-F238E27FC236}">
                  <a16:creationId xmlns:a16="http://schemas.microsoft.com/office/drawing/2014/main" id="{51A9D046-9112-FE15-BFDB-7084F893E0FA}"/>
                </a:ext>
              </a:extLst>
            </p:cNvPr>
            <p:cNvSpPr/>
            <p:nvPr/>
          </p:nvSpPr>
          <p:spPr>
            <a:xfrm>
              <a:off x="9474101" y="2346437"/>
              <a:ext cx="101244" cy="77046"/>
            </a:xfrm>
            <a:prstGeom prst="roundRect">
              <a:avLst/>
            </a:prstGeom>
            <a:solidFill>
              <a:schemeClr val="tx2"/>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00" b="1" i="1" noProof="0">
                <a:solidFill>
                  <a:schemeClr val="tx1"/>
                </a:solidFill>
                <a:latin typeface="Dubai Medium" panose="020B0603030403030204" pitchFamily="34" charset="-78"/>
                <a:cs typeface="Dubai Medium" panose="020B0603030403030204" pitchFamily="34" charset="-78"/>
              </a:endParaRPr>
            </a:p>
          </p:txBody>
        </p:sp>
        <p:cxnSp>
          <p:nvCxnSpPr>
            <p:cNvPr id="1204" name="Conector: curvado 1203">
              <a:extLst>
                <a:ext uri="{FF2B5EF4-FFF2-40B4-BE49-F238E27FC236}">
                  <a16:creationId xmlns:a16="http://schemas.microsoft.com/office/drawing/2014/main" id="{0ED671A7-14D9-D6F1-FC8D-C97E85EDD842}"/>
                </a:ext>
              </a:extLst>
            </p:cNvPr>
            <p:cNvCxnSpPr>
              <a:cxnSpLocks/>
              <a:stCxn id="1203" idx="3"/>
              <a:endCxn id="1205" idx="1"/>
            </p:cNvCxnSpPr>
            <p:nvPr/>
          </p:nvCxnSpPr>
          <p:spPr>
            <a:xfrm flipV="1">
              <a:off x="9575345" y="2180776"/>
              <a:ext cx="153016" cy="204184"/>
            </a:xfrm>
            <a:prstGeom prst="curvedConnector3">
              <a:avLst>
                <a:gd name="adj1" fmla="val 50000"/>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205" name="Rectángulo: esquinas redondeadas 1204">
              <a:extLst>
                <a:ext uri="{FF2B5EF4-FFF2-40B4-BE49-F238E27FC236}">
                  <a16:creationId xmlns:a16="http://schemas.microsoft.com/office/drawing/2014/main" id="{DFB6C1EE-FF0E-EFEF-3355-AF9FE3085904}"/>
                </a:ext>
              </a:extLst>
            </p:cNvPr>
            <p:cNvSpPr/>
            <p:nvPr/>
          </p:nvSpPr>
          <p:spPr>
            <a:xfrm>
              <a:off x="9728361" y="2142253"/>
              <a:ext cx="101244" cy="77046"/>
            </a:xfrm>
            <a:prstGeom prst="roundRect">
              <a:avLst/>
            </a:prstGeom>
            <a:solidFill>
              <a:schemeClr val="tx2"/>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206" name="Rectángulo: esquinas redondeadas 1205">
              <a:extLst>
                <a:ext uri="{FF2B5EF4-FFF2-40B4-BE49-F238E27FC236}">
                  <a16:creationId xmlns:a16="http://schemas.microsoft.com/office/drawing/2014/main" id="{1188CFF3-14CC-0837-E979-B15E101EC156}"/>
                </a:ext>
              </a:extLst>
            </p:cNvPr>
            <p:cNvSpPr/>
            <p:nvPr/>
          </p:nvSpPr>
          <p:spPr>
            <a:xfrm>
              <a:off x="9719492" y="2554130"/>
              <a:ext cx="101244" cy="77046"/>
            </a:xfrm>
            <a:prstGeom prst="roundRect">
              <a:avLst/>
            </a:prstGeom>
            <a:solidFill>
              <a:schemeClr val="tx2"/>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1207" name="Conector: curvado 1206">
              <a:extLst>
                <a:ext uri="{FF2B5EF4-FFF2-40B4-BE49-F238E27FC236}">
                  <a16:creationId xmlns:a16="http://schemas.microsoft.com/office/drawing/2014/main" id="{01D7542A-4C8A-B658-7CC5-17D2F9135867}"/>
                </a:ext>
              </a:extLst>
            </p:cNvPr>
            <p:cNvCxnSpPr>
              <a:cxnSpLocks/>
              <a:stCxn id="1203" idx="3"/>
              <a:endCxn id="1206" idx="1"/>
            </p:cNvCxnSpPr>
            <p:nvPr/>
          </p:nvCxnSpPr>
          <p:spPr>
            <a:xfrm>
              <a:off x="9575345" y="2384960"/>
              <a:ext cx="144147" cy="207693"/>
            </a:xfrm>
            <a:prstGeom prst="curvedConnector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08" name="Conector recto de flecha 1207">
              <a:extLst>
                <a:ext uri="{FF2B5EF4-FFF2-40B4-BE49-F238E27FC236}">
                  <a16:creationId xmlns:a16="http://schemas.microsoft.com/office/drawing/2014/main" id="{30367F74-7D9A-C7E2-16E4-64FEFC664D1B}"/>
                </a:ext>
              </a:extLst>
            </p:cNvPr>
            <p:cNvCxnSpPr>
              <a:cxnSpLocks/>
              <a:stCxn id="1205" idx="3"/>
              <a:endCxn id="1209" idx="1"/>
            </p:cNvCxnSpPr>
            <p:nvPr/>
          </p:nvCxnSpPr>
          <p:spPr>
            <a:xfrm>
              <a:off x="9829605" y="2180776"/>
              <a:ext cx="155134" cy="460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209" name="Rectángulo: esquinas redondeadas 1208">
              <a:extLst>
                <a:ext uri="{FF2B5EF4-FFF2-40B4-BE49-F238E27FC236}">
                  <a16:creationId xmlns:a16="http://schemas.microsoft.com/office/drawing/2014/main" id="{0F62645B-C67C-52D4-5EB5-4EFE061C9CF4}"/>
                </a:ext>
              </a:extLst>
            </p:cNvPr>
            <p:cNvSpPr/>
            <p:nvPr/>
          </p:nvSpPr>
          <p:spPr>
            <a:xfrm>
              <a:off x="9984739" y="2146857"/>
              <a:ext cx="101244" cy="77046"/>
            </a:xfrm>
            <a:prstGeom prst="roundRect">
              <a:avLst/>
            </a:prstGeom>
            <a:solidFill>
              <a:schemeClr val="tx2"/>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1210" name="Conector recto de flecha 1209">
              <a:extLst>
                <a:ext uri="{FF2B5EF4-FFF2-40B4-BE49-F238E27FC236}">
                  <a16:creationId xmlns:a16="http://schemas.microsoft.com/office/drawing/2014/main" id="{914D7EAA-3353-ED1B-EF32-C3D08D6F66F6}"/>
                </a:ext>
              </a:extLst>
            </p:cNvPr>
            <p:cNvCxnSpPr>
              <a:cxnSpLocks/>
              <a:stCxn id="1209" idx="3"/>
              <a:endCxn id="1211" idx="1"/>
            </p:cNvCxnSpPr>
            <p:nvPr/>
          </p:nvCxnSpPr>
          <p:spPr>
            <a:xfrm flipV="1">
              <a:off x="10085983" y="2182205"/>
              <a:ext cx="158388" cy="317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211" name="Rectángulo: esquinas redondeadas 1210">
              <a:extLst>
                <a:ext uri="{FF2B5EF4-FFF2-40B4-BE49-F238E27FC236}">
                  <a16:creationId xmlns:a16="http://schemas.microsoft.com/office/drawing/2014/main" id="{A6524CD7-1CD6-B74E-7492-050BE777A3B7}"/>
                </a:ext>
              </a:extLst>
            </p:cNvPr>
            <p:cNvSpPr/>
            <p:nvPr/>
          </p:nvSpPr>
          <p:spPr>
            <a:xfrm>
              <a:off x="10244371" y="2143682"/>
              <a:ext cx="101244" cy="77046"/>
            </a:xfrm>
            <a:prstGeom prst="roundRect">
              <a:avLst/>
            </a:prstGeom>
            <a:solidFill>
              <a:schemeClr val="tx2"/>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212" name="Rectángulo: esquinas redondeadas 1211">
              <a:extLst>
                <a:ext uri="{FF2B5EF4-FFF2-40B4-BE49-F238E27FC236}">
                  <a16:creationId xmlns:a16="http://schemas.microsoft.com/office/drawing/2014/main" id="{DE59AAC1-FE0F-6AA5-9026-F6972B58AA1B}"/>
                </a:ext>
              </a:extLst>
            </p:cNvPr>
            <p:cNvSpPr/>
            <p:nvPr/>
          </p:nvSpPr>
          <p:spPr>
            <a:xfrm>
              <a:off x="9221203" y="2346438"/>
              <a:ext cx="101244" cy="77046"/>
            </a:xfrm>
            <a:prstGeom prst="roundRect">
              <a:avLst/>
            </a:prstGeom>
            <a:solidFill>
              <a:schemeClr val="tx2"/>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pic>
        <p:nvPicPr>
          <p:cNvPr id="1214" name="Gráfico 1213" descr="Tableta contorno">
            <a:extLst>
              <a:ext uri="{FF2B5EF4-FFF2-40B4-BE49-F238E27FC236}">
                <a16:creationId xmlns:a16="http://schemas.microsoft.com/office/drawing/2014/main" id="{DAFF716F-AB1D-8AA4-E9EA-2F3F966B184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158812" y="2550490"/>
            <a:ext cx="738978" cy="632155"/>
          </a:xfrm>
          <a:prstGeom prst="rect">
            <a:avLst/>
          </a:prstGeom>
        </p:spPr>
      </p:pic>
      <p:grpSp>
        <p:nvGrpSpPr>
          <p:cNvPr id="366" name="Grupo 365">
            <a:extLst>
              <a:ext uri="{FF2B5EF4-FFF2-40B4-BE49-F238E27FC236}">
                <a16:creationId xmlns:a16="http://schemas.microsoft.com/office/drawing/2014/main" id="{233E6E15-556E-5CA4-9F06-20B13DF9993E}"/>
              </a:ext>
            </a:extLst>
          </p:cNvPr>
          <p:cNvGrpSpPr/>
          <p:nvPr/>
        </p:nvGrpSpPr>
        <p:grpSpPr>
          <a:xfrm>
            <a:off x="9158812" y="2700589"/>
            <a:ext cx="718633" cy="819326"/>
            <a:chOff x="9982396" y="3038560"/>
            <a:chExt cx="718633" cy="819326"/>
          </a:xfrm>
        </p:grpSpPr>
        <p:sp>
          <p:nvSpPr>
            <p:cNvPr id="1215" name="CuadroTexto 1214">
              <a:extLst>
                <a:ext uri="{FF2B5EF4-FFF2-40B4-BE49-F238E27FC236}">
                  <a16:creationId xmlns:a16="http://schemas.microsoft.com/office/drawing/2014/main" id="{B327491C-260D-BC07-1DD4-6AC35F9563A7}"/>
                </a:ext>
              </a:extLst>
            </p:cNvPr>
            <p:cNvSpPr txBox="1"/>
            <p:nvPr/>
          </p:nvSpPr>
          <p:spPr>
            <a:xfrm>
              <a:off x="10042735" y="3038560"/>
              <a:ext cx="571284" cy="215444"/>
            </a:xfrm>
            <a:prstGeom prst="rect">
              <a:avLst/>
            </a:prstGeom>
            <a:noFill/>
          </p:spPr>
          <p:txBody>
            <a:bodyPr wrap="square">
              <a:spAutoFit/>
            </a:bodyPr>
            <a:lstStyle/>
            <a:p>
              <a:pPr algn="ctr"/>
              <a:r>
                <a:rPr lang="en-GB" sz="800" b="1" i="1" noProof="0">
                  <a:solidFill>
                    <a:schemeClr val="tx1"/>
                  </a:solidFill>
                  <a:latin typeface="Dubai Medium" panose="020B0603030403030204" pitchFamily="34" charset="-78"/>
                  <a:cs typeface="Dubai Medium" panose="020B0603030403030204" pitchFamily="34" charset="-78"/>
                </a:rPr>
                <a:t>If</a:t>
              </a:r>
              <a:endParaRPr lang="en-GB" sz="1050" b="1" i="1" noProof="0">
                <a:solidFill>
                  <a:schemeClr val="tx1"/>
                </a:solidFill>
                <a:latin typeface="Dubai Medium" panose="020B0603030403030204" pitchFamily="34" charset="-78"/>
                <a:cs typeface="Dubai Medium" panose="020B0603030403030204" pitchFamily="34" charset="-78"/>
              </a:endParaRPr>
            </a:p>
          </p:txBody>
        </p:sp>
        <p:cxnSp>
          <p:nvCxnSpPr>
            <p:cNvPr id="320" name="Conector recto 319">
              <a:extLst>
                <a:ext uri="{FF2B5EF4-FFF2-40B4-BE49-F238E27FC236}">
                  <a16:creationId xmlns:a16="http://schemas.microsoft.com/office/drawing/2014/main" id="{2B3CA147-B85A-AB99-AD3E-C6E443A99872}"/>
                </a:ext>
              </a:extLst>
            </p:cNvPr>
            <p:cNvCxnSpPr>
              <a:cxnSpLocks/>
            </p:cNvCxnSpPr>
            <p:nvPr/>
          </p:nvCxnSpPr>
          <p:spPr>
            <a:xfrm flipV="1">
              <a:off x="10091750" y="3187597"/>
              <a:ext cx="521835" cy="392"/>
            </a:xfrm>
            <a:prstGeom prst="line">
              <a:avLst/>
            </a:prstGeom>
          </p:spPr>
          <p:style>
            <a:lnRef idx="2">
              <a:schemeClr val="dk1"/>
            </a:lnRef>
            <a:fillRef idx="0">
              <a:schemeClr val="dk1"/>
            </a:fillRef>
            <a:effectRef idx="1">
              <a:schemeClr val="dk1"/>
            </a:effectRef>
            <a:fontRef idx="minor">
              <a:schemeClr val="tx1"/>
            </a:fontRef>
          </p:style>
        </p:cxnSp>
        <p:sp>
          <p:nvSpPr>
            <p:cNvPr id="321" name="CuadroTexto 320">
              <a:extLst>
                <a:ext uri="{FF2B5EF4-FFF2-40B4-BE49-F238E27FC236}">
                  <a16:creationId xmlns:a16="http://schemas.microsoft.com/office/drawing/2014/main" id="{D31C613A-FA04-871A-2EA9-7DFAAACDFC6B}"/>
                </a:ext>
              </a:extLst>
            </p:cNvPr>
            <p:cNvSpPr txBox="1"/>
            <p:nvPr/>
          </p:nvSpPr>
          <p:spPr>
            <a:xfrm>
              <a:off x="10050956" y="3187597"/>
              <a:ext cx="571284" cy="215444"/>
            </a:xfrm>
            <a:prstGeom prst="rect">
              <a:avLst/>
            </a:prstGeom>
            <a:noFill/>
          </p:spPr>
          <p:txBody>
            <a:bodyPr wrap="square">
              <a:spAutoFit/>
            </a:bodyPr>
            <a:lstStyle/>
            <a:p>
              <a:pPr algn="ctr"/>
              <a:r>
                <a:rPr lang="en-GB" sz="800" b="1" i="1" noProof="0">
                  <a:solidFill>
                    <a:schemeClr val="tx1"/>
                  </a:solidFill>
                  <a:latin typeface="Dubai Medium" panose="020B0603030403030204" pitchFamily="34" charset="-78"/>
                  <a:cs typeface="Dubai Medium" panose="020B0603030403030204" pitchFamily="34" charset="-78"/>
                </a:rPr>
                <a:t>else</a:t>
              </a:r>
              <a:endParaRPr lang="en-GB" sz="1050" b="1" i="1" noProof="0">
                <a:solidFill>
                  <a:schemeClr val="tx1"/>
                </a:solidFill>
                <a:latin typeface="Dubai Medium" panose="020B0603030403030204" pitchFamily="34" charset="-78"/>
                <a:cs typeface="Dubai Medium" panose="020B0603030403030204" pitchFamily="34" charset="-78"/>
              </a:endParaRPr>
            </a:p>
          </p:txBody>
        </p:sp>
        <p:cxnSp>
          <p:nvCxnSpPr>
            <p:cNvPr id="322" name="Conector: angular 321">
              <a:extLst>
                <a:ext uri="{FF2B5EF4-FFF2-40B4-BE49-F238E27FC236}">
                  <a16:creationId xmlns:a16="http://schemas.microsoft.com/office/drawing/2014/main" id="{4E1C69CC-D927-2177-71A0-A3A0899E1F3A}"/>
                </a:ext>
              </a:extLst>
            </p:cNvPr>
            <p:cNvCxnSpPr>
              <a:cxnSpLocks/>
              <a:stCxn id="321" idx="2"/>
              <a:endCxn id="323" idx="0"/>
            </p:cNvCxnSpPr>
            <p:nvPr/>
          </p:nvCxnSpPr>
          <p:spPr>
            <a:xfrm rot="5400000">
              <a:off x="10041125" y="3416948"/>
              <a:ext cx="309381" cy="281566"/>
            </a:xfrm>
            <a:prstGeom prst="bentConnector3">
              <a:avLst>
                <a:gd name="adj1" fmla="val 50000"/>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323" name="Gráfico 322" descr="Cerrar con relleno sólido">
              <a:extLst>
                <a:ext uri="{FF2B5EF4-FFF2-40B4-BE49-F238E27FC236}">
                  <a16:creationId xmlns:a16="http://schemas.microsoft.com/office/drawing/2014/main" id="{E72F2D52-6C3E-2DF8-2CA4-605F5C40C022}"/>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982396" y="3712422"/>
              <a:ext cx="145271" cy="124271"/>
            </a:xfrm>
            <a:prstGeom prst="rect">
              <a:avLst/>
            </a:prstGeom>
          </p:spPr>
        </p:pic>
        <p:cxnSp>
          <p:nvCxnSpPr>
            <p:cNvPr id="324" name="Conector: angular 323">
              <a:extLst>
                <a:ext uri="{FF2B5EF4-FFF2-40B4-BE49-F238E27FC236}">
                  <a16:creationId xmlns:a16="http://schemas.microsoft.com/office/drawing/2014/main" id="{F9A6D378-E7C9-E20C-14C7-B1778F158F6F}"/>
                </a:ext>
              </a:extLst>
            </p:cNvPr>
            <p:cNvCxnSpPr>
              <a:cxnSpLocks/>
              <a:stCxn id="321" idx="2"/>
              <a:endCxn id="325" idx="0"/>
            </p:cNvCxnSpPr>
            <p:nvPr/>
          </p:nvCxnSpPr>
          <p:spPr>
            <a:xfrm rot="16200000" flipH="1">
              <a:off x="10318526" y="3421113"/>
              <a:ext cx="324237" cy="288092"/>
            </a:xfrm>
            <a:prstGeom prst="bentConnector3">
              <a:avLst>
                <a:gd name="adj1" fmla="val 47630"/>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325" name="Gráfico 324" descr="Marca de verificación con relleno sólido">
              <a:extLst>
                <a:ext uri="{FF2B5EF4-FFF2-40B4-BE49-F238E27FC236}">
                  <a16:creationId xmlns:a16="http://schemas.microsoft.com/office/drawing/2014/main" id="{F02955AA-623C-FC49-3A05-D2B9F15175F8}"/>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548350" y="3727278"/>
              <a:ext cx="152679" cy="130608"/>
            </a:xfrm>
            <a:prstGeom prst="rect">
              <a:avLst/>
            </a:prstGeom>
          </p:spPr>
        </p:pic>
      </p:grpSp>
      <p:cxnSp>
        <p:nvCxnSpPr>
          <p:cNvPr id="326" name="Conector recto de flecha 325">
            <a:extLst>
              <a:ext uri="{FF2B5EF4-FFF2-40B4-BE49-F238E27FC236}">
                <a16:creationId xmlns:a16="http://schemas.microsoft.com/office/drawing/2014/main" id="{6FF7D291-A7FB-0518-5BEF-A1F0D4215DBA}"/>
              </a:ext>
            </a:extLst>
          </p:cNvPr>
          <p:cNvCxnSpPr>
            <a:cxnSpLocks/>
          </p:cNvCxnSpPr>
          <p:nvPr/>
        </p:nvCxnSpPr>
        <p:spPr>
          <a:xfrm>
            <a:off x="10037809" y="1917995"/>
            <a:ext cx="231489"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27" name="Conector recto de flecha 326">
            <a:extLst>
              <a:ext uri="{FF2B5EF4-FFF2-40B4-BE49-F238E27FC236}">
                <a16:creationId xmlns:a16="http://schemas.microsoft.com/office/drawing/2014/main" id="{8C862AB6-8C47-BF06-D903-F27360FEDE46}"/>
              </a:ext>
            </a:extLst>
          </p:cNvPr>
          <p:cNvCxnSpPr>
            <a:cxnSpLocks/>
          </p:cNvCxnSpPr>
          <p:nvPr/>
        </p:nvCxnSpPr>
        <p:spPr>
          <a:xfrm>
            <a:off x="10037809" y="2070429"/>
            <a:ext cx="234055"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28" name="Conector recto de flecha 327">
            <a:extLst>
              <a:ext uri="{FF2B5EF4-FFF2-40B4-BE49-F238E27FC236}">
                <a16:creationId xmlns:a16="http://schemas.microsoft.com/office/drawing/2014/main" id="{CC4545AF-294E-D907-D05E-88486D4FBD15}"/>
              </a:ext>
            </a:extLst>
          </p:cNvPr>
          <p:cNvCxnSpPr>
            <a:cxnSpLocks/>
          </p:cNvCxnSpPr>
          <p:nvPr/>
        </p:nvCxnSpPr>
        <p:spPr>
          <a:xfrm>
            <a:off x="10037809" y="2226510"/>
            <a:ext cx="234697"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80" name="Rectángulo: esquinas redondeadas 379">
            <a:extLst>
              <a:ext uri="{FF2B5EF4-FFF2-40B4-BE49-F238E27FC236}">
                <a16:creationId xmlns:a16="http://schemas.microsoft.com/office/drawing/2014/main" id="{9873E041-ADD0-E88D-1285-FB89E2563FA7}"/>
              </a:ext>
            </a:extLst>
          </p:cNvPr>
          <p:cNvSpPr/>
          <p:nvPr/>
        </p:nvSpPr>
        <p:spPr>
          <a:xfrm>
            <a:off x="4735701" y="2704313"/>
            <a:ext cx="346877" cy="331722"/>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nvGrpSpPr>
          <p:cNvPr id="1077" name="Document2" descr="{&quot;Key&quot;:&quot;POWER_USER_SHAPE_ICON&quot;,&quot;Value&quot;:&quot;POWER_USER_SHAPE_ICON_STYLE_1&quot;}">
            <a:extLst>
              <a:ext uri="{FF2B5EF4-FFF2-40B4-BE49-F238E27FC236}">
                <a16:creationId xmlns:a16="http://schemas.microsoft.com/office/drawing/2014/main" id="{61D1C3FE-2BBD-E3D5-3BC1-918D2728586A}"/>
              </a:ext>
            </a:extLst>
          </p:cNvPr>
          <p:cNvGrpSpPr>
            <a:grpSpLocks noChangeAspect="1"/>
          </p:cNvGrpSpPr>
          <p:nvPr>
            <p:custDataLst>
              <p:tags r:id="rId1"/>
            </p:custDataLst>
          </p:nvPr>
        </p:nvGrpSpPr>
        <p:grpSpPr bwMode="auto">
          <a:xfrm>
            <a:off x="4805384" y="2739369"/>
            <a:ext cx="199511" cy="261610"/>
            <a:chOff x="176" y="141"/>
            <a:chExt cx="151" cy="198"/>
          </a:xfrm>
          <a:solidFill>
            <a:schemeClr val="bg1"/>
          </a:solidFill>
        </p:grpSpPr>
        <p:sp>
          <p:nvSpPr>
            <p:cNvPr id="1078" name="Document2">
              <a:extLst>
                <a:ext uri="{FF2B5EF4-FFF2-40B4-BE49-F238E27FC236}">
                  <a16:creationId xmlns:a16="http://schemas.microsoft.com/office/drawing/2014/main" id="{97B9E738-9FB0-DBB4-0BA5-59F43FA098B7}"/>
                </a:ext>
              </a:extLst>
            </p:cNvPr>
            <p:cNvSpPr>
              <a:spLocks noEditPoints="1"/>
            </p:cNvSpPr>
            <p:nvPr>
              <p:custDataLst>
                <p:tags r:id="rId12"/>
              </p:custDataLst>
            </p:nvPr>
          </p:nvSpPr>
          <p:spPr bwMode="auto">
            <a:xfrm>
              <a:off x="176" y="141"/>
              <a:ext cx="151" cy="198"/>
            </a:xfrm>
            <a:custGeom>
              <a:avLst/>
              <a:gdLst>
                <a:gd name="T0" fmla="*/ 388 w 401"/>
                <a:gd name="T1" fmla="*/ 525 h 525"/>
                <a:gd name="T2" fmla="*/ 13 w 401"/>
                <a:gd name="T3" fmla="*/ 525 h 525"/>
                <a:gd name="T4" fmla="*/ 0 w 401"/>
                <a:gd name="T5" fmla="*/ 512 h 525"/>
                <a:gd name="T6" fmla="*/ 0 w 401"/>
                <a:gd name="T7" fmla="*/ 12 h 525"/>
                <a:gd name="T8" fmla="*/ 13 w 401"/>
                <a:gd name="T9" fmla="*/ 0 h 525"/>
                <a:gd name="T10" fmla="*/ 388 w 401"/>
                <a:gd name="T11" fmla="*/ 0 h 525"/>
                <a:gd name="T12" fmla="*/ 401 w 401"/>
                <a:gd name="T13" fmla="*/ 12 h 525"/>
                <a:gd name="T14" fmla="*/ 401 w 401"/>
                <a:gd name="T15" fmla="*/ 512 h 525"/>
                <a:gd name="T16" fmla="*/ 388 w 401"/>
                <a:gd name="T17" fmla="*/ 525 h 525"/>
                <a:gd name="T18" fmla="*/ 25 w 401"/>
                <a:gd name="T19" fmla="*/ 500 h 525"/>
                <a:gd name="T20" fmla="*/ 376 w 401"/>
                <a:gd name="T21" fmla="*/ 500 h 525"/>
                <a:gd name="T22" fmla="*/ 376 w 401"/>
                <a:gd name="T23" fmla="*/ 25 h 525"/>
                <a:gd name="T24" fmla="*/ 25 w 401"/>
                <a:gd name="T25" fmla="*/ 25 h 525"/>
                <a:gd name="T26" fmla="*/ 25 w 401"/>
                <a:gd name="T27" fmla="*/ 50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1" h="525">
                  <a:moveTo>
                    <a:pt x="388" y="525"/>
                  </a:moveTo>
                  <a:lnTo>
                    <a:pt x="13" y="525"/>
                  </a:lnTo>
                  <a:cubicBezTo>
                    <a:pt x="5" y="525"/>
                    <a:pt x="0" y="520"/>
                    <a:pt x="0" y="512"/>
                  </a:cubicBezTo>
                  <a:lnTo>
                    <a:pt x="0" y="12"/>
                  </a:lnTo>
                  <a:cubicBezTo>
                    <a:pt x="0" y="5"/>
                    <a:pt x="5" y="0"/>
                    <a:pt x="13" y="0"/>
                  </a:cubicBezTo>
                  <a:lnTo>
                    <a:pt x="388" y="0"/>
                  </a:lnTo>
                  <a:cubicBezTo>
                    <a:pt x="395" y="0"/>
                    <a:pt x="401" y="5"/>
                    <a:pt x="401" y="12"/>
                  </a:cubicBezTo>
                  <a:lnTo>
                    <a:pt x="401" y="512"/>
                  </a:lnTo>
                  <a:cubicBezTo>
                    <a:pt x="401" y="520"/>
                    <a:pt x="394" y="525"/>
                    <a:pt x="388" y="525"/>
                  </a:cubicBezTo>
                  <a:close/>
                  <a:moveTo>
                    <a:pt x="25" y="500"/>
                  </a:moveTo>
                  <a:lnTo>
                    <a:pt x="376" y="500"/>
                  </a:lnTo>
                  <a:lnTo>
                    <a:pt x="376" y="25"/>
                  </a:lnTo>
                  <a:lnTo>
                    <a:pt x="25" y="25"/>
                  </a:lnTo>
                  <a:lnTo>
                    <a:pt x="25" y="50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79" name="Document2">
              <a:extLst>
                <a:ext uri="{FF2B5EF4-FFF2-40B4-BE49-F238E27FC236}">
                  <a16:creationId xmlns:a16="http://schemas.microsoft.com/office/drawing/2014/main" id="{A5558BA6-1B4A-518B-D6BD-7834137E2F5B}"/>
                </a:ext>
              </a:extLst>
            </p:cNvPr>
            <p:cNvSpPr>
              <a:spLocks noChangeArrowheads="1"/>
            </p:cNvSpPr>
            <p:nvPr>
              <p:custDataLst>
                <p:tags r:id="rId13"/>
              </p:custDataLst>
            </p:nvPr>
          </p:nvSpPr>
          <p:spPr bwMode="auto">
            <a:xfrm>
              <a:off x="205" y="239"/>
              <a:ext cx="94" cy="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80" name="Document2">
              <a:extLst>
                <a:ext uri="{FF2B5EF4-FFF2-40B4-BE49-F238E27FC236}">
                  <a16:creationId xmlns:a16="http://schemas.microsoft.com/office/drawing/2014/main" id="{AFFC4D0A-B520-6DB9-9D2B-5640C23AF79F}"/>
                </a:ext>
              </a:extLst>
            </p:cNvPr>
            <p:cNvSpPr>
              <a:spLocks noChangeArrowheads="1"/>
            </p:cNvSpPr>
            <p:nvPr>
              <p:custDataLst>
                <p:tags r:id="rId14"/>
              </p:custDataLst>
            </p:nvPr>
          </p:nvSpPr>
          <p:spPr bwMode="auto">
            <a:xfrm>
              <a:off x="205" y="267"/>
              <a:ext cx="94" cy="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83" name="Document2">
              <a:extLst>
                <a:ext uri="{FF2B5EF4-FFF2-40B4-BE49-F238E27FC236}">
                  <a16:creationId xmlns:a16="http://schemas.microsoft.com/office/drawing/2014/main" id="{9C22F92C-54EB-5F13-DBD9-2DFFC5362DC6}"/>
                </a:ext>
              </a:extLst>
            </p:cNvPr>
            <p:cNvSpPr>
              <a:spLocks noChangeArrowheads="1"/>
            </p:cNvSpPr>
            <p:nvPr>
              <p:custDataLst>
                <p:tags r:id="rId15"/>
              </p:custDataLst>
            </p:nvPr>
          </p:nvSpPr>
          <p:spPr bwMode="auto">
            <a:xfrm>
              <a:off x="205" y="295"/>
              <a:ext cx="94" cy="1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84" name="Document2">
              <a:extLst>
                <a:ext uri="{FF2B5EF4-FFF2-40B4-BE49-F238E27FC236}">
                  <a16:creationId xmlns:a16="http://schemas.microsoft.com/office/drawing/2014/main" id="{EBDAFF89-B4D8-6146-06E7-18892A2731D4}"/>
                </a:ext>
              </a:extLst>
            </p:cNvPr>
            <p:cNvSpPr>
              <a:spLocks noChangeArrowheads="1"/>
            </p:cNvSpPr>
            <p:nvPr>
              <p:custDataLst>
                <p:tags r:id="rId16"/>
              </p:custDataLst>
            </p:nvPr>
          </p:nvSpPr>
          <p:spPr bwMode="auto">
            <a:xfrm>
              <a:off x="252" y="182"/>
              <a:ext cx="47" cy="1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85" name="Document2">
              <a:extLst>
                <a:ext uri="{FF2B5EF4-FFF2-40B4-BE49-F238E27FC236}">
                  <a16:creationId xmlns:a16="http://schemas.microsoft.com/office/drawing/2014/main" id="{1F8DABD7-176A-AE83-5C33-14CF8FA88066}"/>
                </a:ext>
              </a:extLst>
            </p:cNvPr>
            <p:cNvSpPr>
              <a:spLocks noChangeArrowheads="1"/>
            </p:cNvSpPr>
            <p:nvPr>
              <p:custDataLst>
                <p:tags r:id="rId17"/>
              </p:custDataLst>
            </p:nvPr>
          </p:nvSpPr>
          <p:spPr bwMode="auto">
            <a:xfrm>
              <a:off x="252" y="211"/>
              <a:ext cx="47" cy="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86" name="Document2">
              <a:extLst>
                <a:ext uri="{FF2B5EF4-FFF2-40B4-BE49-F238E27FC236}">
                  <a16:creationId xmlns:a16="http://schemas.microsoft.com/office/drawing/2014/main" id="{AC6F4D72-3CF8-F10B-C145-09E108E63830}"/>
                </a:ext>
              </a:extLst>
            </p:cNvPr>
            <p:cNvSpPr>
              <a:spLocks/>
            </p:cNvSpPr>
            <p:nvPr>
              <p:custDataLst>
                <p:tags r:id="rId18"/>
              </p:custDataLst>
            </p:nvPr>
          </p:nvSpPr>
          <p:spPr bwMode="auto">
            <a:xfrm>
              <a:off x="206" y="182"/>
              <a:ext cx="36" cy="37"/>
            </a:xfrm>
            <a:custGeom>
              <a:avLst/>
              <a:gdLst>
                <a:gd name="T0" fmla="*/ 49 w 98"/>
                <a:gd name="T1" fmla="*/ 97 h 97"/>
                <a:gd name="T2" fmla="*/ 49 w 98"/>
                <a:gd name="T3" fmla="*/ 97 h 97"/>
                <a:gd name="T4" fmla="*/ 0 w 98"/>
                <a:gd name="T5" fmla="*/ 48 h 97"/>
                <a:gd name="T6" fmla="*/ 0 w 98"/>
                <a:gd name="T7" fmla="*/ 48 h 97"/>
                <a:gd name="T8" fmla="*/ 49 w 98"/>
                <a:gd name="T9" fmla="*/ 0 h 97"/>
                <a:gd name="T10" fmla="*/ 49 w 98"/>
                <a:gd name="T11" fmla="*/ 0 h 97"/>
                <a:gd name="T12" fmla="*/ 98 w 98"/>
                <a:gd name="T13" fmla="*/ 48 h 97"/>
                <a:gd name="T14" fmla="*/ 98 w 98"/>
                <a:gd name="T15" fmla="*/ 48 h 97"/>
                <a:gd name="T16" fmla="*/ 49 w 98"/>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97">
                  <a:moveTo>
                    <a:pt x="49" y="97"/>
                  </a:moveTo>
                  <a:lnTo>
                    <a:pt x="49" y="97"/>
                  </a:lnTo>
                  <a:cubicBezTo>
                    <a:pt x="22" y="97"/>
                    <a:pt x="0" y="75"/>
                    <a:pt x="0" y="48"/>
                  </a:cubicBezTo>
                  <a:lnTo>
                    <a:pt x="0" y="48"/>
                  </a:lnTo>
                  <a:cubicBezTo>
                    <a:pt x="0" y="21"/>
                    <a:pt x="23" y="0"/>
                    <a:pt x="49" y="0"/>
                  </a:cubicBezTo>
                  <a:lnTo>
                    <a:pt x="49" y="0"/>
                  </a:lnTo>
                  <a:cubicBezTo>
                    <a:pt x="77" y="0"/>
                    <a:pt x="98" y="22"/>
                    <a:pt x="98" y="48"/>
                  </a:cubicBezTo>
                  <a:lnTo>
                    <a:pt x="98" y="48"/>
                  </a:lnTo>
                  <a:cubicBezTo>
                    <a:pt x="98" y="76"/>
                    <a:pt x="77" y="97"/>
                    <a:pt x="49" y="9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grpSp>
      <p:sp>
        <p:nvSpPr>
          <p:cNvPr id="389" name="Rectángulo: esquinas redondeadas 388">
            <a:extLst>
              <a:ext uri="{FF2B5EF4-FFF2-40B4-BE49-F238E27FC236}">
                <a16:creationId xmlns:a16="http://schemas.microsoft.com/office/drawing/2014/main" id="{8C432FE6-2D84-544B-D275-85F70815C162}"/>
              </a:ext>
            </a:extLst>
          </p:cNvPr>
          <p:cNvSpPr/>
          <p:nvPr/>
        </p:nvSpPr>
        <p:spPr>
          <a:xfrm>
            <a:off x="5298221" y="2699682"/>
            <a:ext cx="346877" cy="331722"/>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b="1" i="1" noProof="0">
                <a:solidFill>
                  <a:schemeClr val="bg1"/>
                </a:solidFill>
                <a:latin typeface="Dubai Medium" panose="020B0603030403030204" pitchFamily="34" charset="-78"/>
                <a:cs typeface="Dubai Medium" panose="020B0603030403030204" pitchFamily="34" charset="-78"/>
              </a:rPr>
              <a:t>If </a:t>
            </a:r>
            <a:br>
              <a:rPr lang="en-GB" sz="900" b="1" i="1" noProof="0">
                <a:solidFill>
                  <a:schemeClr val="bg1"/>
                </a:solidFill>
                <a:latin typeface="Dubai Medium" panose="020B0603030403030204" pitchFamily="34" charset="-78"/>
                <a:cs typeface="Dubai Medium" panose="020B0603030403030204" pitchFamily="34" charset="-78"/>
              </a:rPr>
            </a:br>
            <a:r>
              <a:rPr lang="en-GB" sz="900" b="1" i="1" noProof="0">
                <a:solidFill>
                  <a:schemeClr val="bg1"/>
                </a:solidFill>
                <a:latin typeface="Dubai Medium" panose="020B0603030403030204" pitchFamily="34" charset="-78"/>
                <a:cs typeface="Dubai Medium" panose="020B0603030403030204" pitchFamily="34" charset="-78"/>
              </a:rPr>
              <a:t>( )</a:t>
            </a:r>
            <a:endParaRPr lang="en-GB" sz="1000" b="1" i="1" noProof="0">
              <a:solidFill>
                <a:schemeClr val="bg1"/>
              </a:solidFill>
              <a:latin typeface="Dubai Medium" panose="020B0603030403030204" pitchFamily="34" charset="-78"/>
              <a:cs typeface="Dubai Medium" panose="020B0603030403030204" pitchFamily="34" charset="-78"/>
            </a:endParaRPr>
          </a:p>
        </p:txBody>
      </p:sp>
      <p:sp>
        <p:nvSpPr>
          <p:cNvPr id="394" name="Rectángulo: esquinas redondeadas 393">
            <a:extLst>
              <a:ext uri="{FF2B5EF4-FFF2-40B4-BE49-F238E27FC236}">
                <a16:creationId xmlns:a16="http://schemas.microsoft.com/office/drawing/2014/main" id="{C35E6729-2698-AE60-A47F-C31CA054228E}"/>
              </a:ext>
            </a:extLst>
          </p:cNvPr>
          <p:cNvSpPr/>
          <p:nvPr/>
        </p:nvSpPr>
        <p:spPr>
          <a:xfrm>
            <a:off x="6004211" y="2306488"/>
            <a:ext cx="346877" cy="331722"/>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93" name="Rectángulo: esquinas redondeadas 392">
            <a:extLst>
              <a:ext uri="{FF2B5EF4-FFF2-40B4-BE49-F238E27FC236}">
                <a16:creationId xmlns:a16="http://schemas.microsoft.com/office/drawing/2014/main" id="{B303891C-604F-755F-E252-02678D6C7A7B}"/>
              </a:ext>
            </a:extLst>
          </p:cNvPr>
          <p:cNvSpPr/>
          <p:nvPr/>
        </p:nvSpPr>
        <p:spPr>
          <a:xfrm>
            <a:off x="6020596" y="3035688"/>
            <a:ext cx="346877" cy="331722"/>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03" name="Picture 6" descr="Microsoft Teams Logo y símbolo, significado, historia, PNG, marca">
            <a:extLst>
              <a:ext uri="{FF2B5EF4-FFF2-40B4-BE49-F238E27FC236}">
                <a16:creationId xmlns:a16="http://schemas.microsoft.com/office/drawing/2014/main" id="{A5DBC296-10F6-56AC-46B6-2C13D414F4A6}"/>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foregroundMark x1="76705" y1="26591" x2="76705" y2="26591"/>
                        <a14:foregroundMark x1="30909" y1="43750" x2="30909" y2="43750"/>
                        <a14:foregroundMark x1="24091" y1="42273" x2="28750" y2="56705"/>
                        <a14:foregroundMark x1="28409" y1="58182" x2="36364" y2="41932"/>
                        <a14:foregroundMark x1="33864" y1="41932" x2="33864" y2="44432"/>
                        <a14:foregroundMark x1="30568" y1="45227" x2="30227" y2="48068"/>
                        <a14:foregroundMark x1="30568" y1="43750" x2="30909" y2="50909"/>
                        <a14:foregroundMark x1="81136" y1="26364" x2="81136" y2="26364"/>
                        <a14:foregroundMark x1="76818" y1="26023" x2="76818" y2="26023"/>
                        <a14:foregroundMark x1="78636" y1="28523" x2="78636" y2="28523"/>
                        <a14:foregroundMark x1="76477" y1="24205" x2="80455" y2="25682"/>
                      </a14:backgroundRemoval>
                    </a14:imgEffect>
                  </a14:imgLayer>
                </a14:imgProps>
              </a:ext>
              <a:ext uri="{28A0092B-C50C-407E-A947-70E740481C1C}">
                <a14:useLocalDpi xmlns:a14="http://schemas.microsoft.com/office/drawing/2010/main" val="0"/>
              </a:ext>
            </a:extLst>
          </a:blip>
          <a:srcRect/>
          <a:stretch>
            <a:fillRect/>
          </a:stretch>
        </p:blipFill>
        <p:spPr bwMode="auto">
          <a:xfrm>
            <a:off x="6029389" y="3031404"/>
            <a:ext cx="321768" cy="321768"/>
          </a:xfrm>
          <a:prstGeom prst="rect">
            <a:avLst/>
          </a:prstGeom>
          <a:noFill/>
          <a:extLst>
            <a:ext uri="{909E8E84-426E-40DD-AFC4-6F175D3DCCD1}">
              <a14:hiddenFill xmlns:a14="http://schemas.microsoft.com/office/drawing/2010/main">
                <a:solidFill>
                  <a:srgbClr val="FFFFFF"/>
                </a:solidFill>
              </a14:hiddenFill>
            </a:ext>
          </a:extLst>
        </p:spPr>
      </p:pic>
      <p:grpSp>
        <p:nvGrpSpPr>
          <p:cNvPr id="1087" name="Refresh" descr="{&quot;Key&quot;:&quot;POWER_USER_SHAPE_ICON&quot;,&quot;Value&quot;:&quot;POWER_USER_SHAPE_ICON_STYLE_1&quot;}">
            <a:extLst>
              <a:ext uri="{FF2B5EF4-FFF2-40B4-BE49-F238E27FC236}">
                <a16:creationId xmlns:a16="http://schemas.microsoft.com/office/drawing/2014/main" id="{2FAD2FAF-CEF0-C81E-9424-1C94AD784F4C}"/>
              </a:ext>
            </a:extLst>
          </p:cNvPr>
          <p:cNvGrpSpPr>
            <a:grpSpLocks noChangeAspect="1"/>
          </p:cNvGrpSpPr>
          <p:nvPr/>
        </p:nvGrpSpPr>
        <p:grpSpPr>
          <a:xfrm>
            <a:off x="6062155" y="2327163"/>
            <a:ext cx="260713" cy="282772"/>
            <a:chOff x="3005139" y="6103938"/>
            <a:chExt cx="412750" cy="447675"/>
          </a:xfrm>
          <a:solidFill>
            <a:schemeClr val="bg1"/>
          </a:solidFill>
        </p:grpSpPr>
        <p:sp>
          <p:nvSpPr>
            <p:cNvPr id="193" name="Freeform 473">
              <a:extLst>
                <a:ext uri="{FF2B5EF4-FFF2-40B4-BE49-F238E27FC236}">
                  <a16:creationId xmlns:a16="http://schemas.microsoft.com/office/drawing/2014/main" id="{925D6BCC-1BAD-88CE-04A6-5DFE1689AA1D}"/>
                </a:ext>
              </a:extLst>
            </p:cNvPr>
            <p:cNvSpPr>
              <a:spLocks/>
            </p:cNvSpPr>
            <p:nvPr/>
          </p:nvSpPr>
          <p:spPr bwMode="auto">
            <a:xfrm>
              <a:off x="3005139" y="6119813"/>
              <a:ext cx="284163" cy="312738"/>
            </a:xfrm>
            <a:custGeom>
              <a:avLst/>
              <a:gdLst>
                <a:gd name="T0" fmla="*/ 54 w 312"/>
                <a:gd name="T1" fmla="*/ 344 h 344"/>
                <a:gd name="T2" fmla="*/ 48 w 312"/>
                <a:gd name="T3" fmla="*/ 341 h 344"/>
                <a:gd name="T4" fmla="*/ 66 w 312"/>
                <a:gd name="T5" fmla="*/ 94 h 344"/>
                <a:gd name="T6" fmla="*/ 306 w 312"/>
                <a:gd name="T7" fmla="*/ 35 h 344"/>
                <a:gd name="T8" fmla="*/ 310 w 312"/>
                <a:gd name="T9" fmla="*/ 45 h 344"/>
                <a:gd name="T10" fmla="*/ 301 w 312"/>
                <a:gd name="T11" fmla="*/ 49 h 344"/>
                <a:gd name="T12" fmla="*/ 77 w 312"/>
                <a:gd name="T13" fmla="*/ 103 h 344"/>
                <a:gd name="T14" fmla="*/ 61 w 312"/>
                <a:gd name="T15" fmla="*/ 333 h 344"/>
                <a:gd name="T16" fmla="*/ 58 w 312"/>
                <a:gd name="T17" fmla="*/ 343 h 344"/>
                <a:gd name="T18" fmla="*/ 54 w 312"/>
                <a:gd name="T19" fmla="*/ 34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44">
                  <a:moveTo>
                    <a:pt x="54" y="344"/>
                  </a:moveTo>
                  <a:cubicBezTo>
                    <a:pt x="52" y="344"/>
                    <a:pt x="50" y="343"/>
                    <a:pt x="48" y="341"/>
                  </a:cubicBezTo>
                  <a:cubicBezTo>
                    <a:pt x="0" y="263"/>
                    <a:pt x="7" y="164"/>
                    <a:pt x="66" y="94"/>
                  </a:cubicBezTo>
                  <a:cubicBezTo>
                    <a:pt x="125" y="24"/>
                    <a:pt x="221" y="0"/>
                    <a:pt x="306" y="35"/>
                  </a:cubicBezTo>
                  <a:cubicBezTo>
                    <a:pt x="310" y="37"/>
                    <a:pt x="312" y="41"/>
                    <a:pt x="310" y="45"/>
                  </a:cubicBezTo>
                  <a:cubicBezTo>
                    <a:pt x="308" y="48"/>
                    <a:pt x="304" y="50"/>
                    <a:pt x="301" y="49"/>
                  </a:cubicBezTo>
                  <a:cubicBezTo>
                    <a:pt x="222" y="16"/>
                    <a:pt x="132" y="38"/>
                    <a:pt x="77" y="103"/>
                  </a:cubicBezTo>
                  <a:cubicBezTo>
                    <a:pt x="22" y="168"/>
                    <a:pt x="15" y="261"/>
                    <a:pt x="61" y="333"/>
                  </a:cubicBezTo>
                  <a:cubicBezTo>
                    <a:pt x="63" y="336"/>
                    <a:pt x="62" y="341"/>
                    <a:pt x="58" y="343"/>
                  </a:cubicBezTo>
                  <a:cubicBezTo>
                    <a:pt x="57" y="344"/>
                    <a:pt x="56" y="344"/>
                    <a:pt x="54" y="344"/>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200" name="Freeform 474">
              <a:extLst>
                <a:ext uri="{FF2B5EF4-FFF2-40B4-BE49-F238E27FC236}">
                  <a16:creationId xmlns:a16="http://schemas.microsoft.com/office/drawing/2014/main" id="{F8634FDF-F14F-CA5A-7FE5-FFBCD3DB57A9}"/>
                </a:ext>
              </a:extLst>
            </p:cNvPr>
            <p:cNvSpPr>
              <a:spLocks/>
            </p:cNvSpPr>
            <p:nvPr/>
          </p:nvSpPr>
          <p:spPr bwMode="auto">
            <a:xfrm>
              <a:off x="3133726" y="6223000"/>
              <a:ext cx="284163" cy="300038"/>
            </a:xfrm>
            <a:custGeom>
              <a:avLst/>
              <a:gdLst>
                <a:gd name="T0" fmla="*/ 85 w 312"/>
                <a:gd name="T1" fmla="*/ 325 h 328"/>
                <a:gd name="T2" fmla="*/ 5 w 312"/>
                <a:gd name="T3" fmla="*/ 309 h 328"/>
                <a:gd name="T4" fmla="*/ 1 w 312"/>
                <a:gd name="T5" fmla="*/ 300 h 328"/>
                <a:gd name="T6" fmla="*/ 11 w 312"/>
                <a:gd name="T7" fmla="*/ 296 h 328"/>
                <a:gd name="T8" fmla="*/ 234 w 312"/>
                <a:gd name="T9" fmla="*/ 241 h 328"/>
                <a:gd name="T10" fmla="*/ 251 w 312"/>
                <a:gd name="T11" fmla="*/ 12 h 328"/>
                <a:gd name="T12" fmla="*/ 253 w 312"/>
                <a:gd name="T13" fmla="*/ 2 h 328"/>
                <a:gd name="T14" fmla="*/ 263 w 312"/>
                <a:gd name="T15" fmla="*/ 4 h 328"/>
                <a:gd name="T16" fmla="*/ 246 w 312"/>
                <a:gd name="T17" fmla="*/ 251 h 328"/>
                <a:gd name="T18" fmla="*/ 85 w 312"/>
                <a:gd name="T19" fmla="*/ 32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28">
                  <a:moveTo>
                    <a:pt x="85" y="325"/>
                  </a:moveTo>
                  <a:cubicBezTo>
                    <a:pt x="59" y="325"/>
                    <a:pt x="31" y="320"/>
                    <a:pt x="5" y="309"/>
                  </a:cubicBezTo>
                  <a:cubicBezTo>
                    <a:pt x="2" y="308"/>
                    <a:pt x="0" y="304"/>
                    <a:pt x="1" y="300"/>
                  </a:cubicBezTo>
                  <a:cubicBezTo>
                    <a:pt x="3" y="296"/>
                    <a:pt x="7" y="294"/>
                    <a:pt x="11" y="296"/>
                  </a:cubicBezTo>
                  <a:cubicBezTo>
                    <a:pt x="90" y="328"/>
                    <a:pt x="179" y="306"/>
                    <a:pt x="234" y="241"/>
                  </a:cubicBezTo>
                  <a:cubicBezTo>
                    <a:pt x="289" y="176"/>
                    <a:pt x="296" y="84"/>
                    <a:pt x="251" y="12"/>
                  </a:cubicBezTo>
                  <a:cubicBezTo>
                    <a:pt x="249" y="8"/>
                    <a:pt x="250" y="4"/>
                    <a:pt x="253" y="2"/>
                  </a:cubicBezTo>
                  <a:cubicBezTo>
                    <a:pt x="257" y="0"/>
                    <a:pt x="261" y="1"/>
                    <a:pt x="263" y="4"/>
                  </a:cubicBezTo>
                  <a:cubicBezTo>
                    <a:pt x="312" y="82"/>
                    <a:pt x="305" y="181"/>
                    <a:pt x="246" y="251"/>
                  </a:cubicBezTo>
                  <a:cubicBezTo>
                    <a:pt x="205" y="299"/>
                    <a:pt x="146" y="325"/>
                    <a:pt x="85" y="325"/>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201" name="Freeform 475">
              <a:extLst>
                <a:ext uri="{FF2B5EF4-FFF2-40B4-BE49-F238E27FC236}">
                  <a16:creationId xmlns:a16="http://schemas.microsoft.com/office/drawing/2014/main" id="{4C6CDAA4-1739-AD5C-7042-5D88B251C6EE}"/>
                </a:ext>
              </a:extLst>
            </p:cNvPr>
            <p:cNvSpPr>
              <a:spLocks/>
            </p:cNvSpPr>
            <p:nvPr/>
          </p:nvSpPr>
          <p:spPr bwMode="auto">
            <a:xfrm>
              <a:off x="3228976" y="6103938"/>
              <a:ext cx="60325" cy="79375"/>
            </a:xfrm>
            <a:custGeom>
              <a:avLst/>
              <a:gdLst>
                <a:gd name="T0" fmla="*/ 8 w 67"/>
                <a:gd name="T1" fmla="*/ 86 h 86"/>
                <a:gd name="T2" fmla="*/ 2 w 67"/>
                <a:gd name="T3" fmla="*/ 82 h 86"/>
                <a:gd name="T4" fmla="*/ 5 w 67"/>
                <a:gd name="T5" fmla="*/ 72 h 86"/>
                <a:gd name="T6" fmla="*/ 49 w 67"/>
                <a:gd name="T7" fmla="*/ 54 h 86"/>
                <a:gd name="T8" fmla="*/ 31 w 67"/>
                <a:gd name="T9" fmla="*/ 11 h 86"/>
                <a:gd name="T10" fmla="*/ 35 w 67"/>
                <a:gd name="T11" fmla="*/ 1 h 86"/>
                <a:gd name="T12" fmla="*/ 44 w 67"/>
                <a:gd name="T13" fmla="*/ 5 h 86"/>
                <a:gd name="T14" fmla="*/ 65 w 67"/>
                <a:gd name="T15" fmla="*/ 55 h 86"/>
                <a:gd name="T16" fmla="*/ 61 w 67"/>
                <a:gd name="T17" fmla="*/ 65 h 86"/>
                <a:gd name="T18" fmla="*/ 11 w 67"/>
                <a:gd name="T19" fmla="*/ 85 h 86"/>
                <a:gd name="T20" fmla="*/ 8 w 67"/>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6">
                  <a:moveTo>
                    <a:pt x="8" y="86"/>
                  </a:moveTo>
                  <a:cubicBezTo>
                    <a:pt x="5" y="86"/>
                    <a:pt x="3" y="84"/>
                    <a:pt x="2" y="82"/>
                  </a:cubicBezTo>
                  <a:cubicBezTo>
                    <a:pt x="0" y="78"/>
                    <a:pt x="2" y="74"/>
                    <a:pt x="5" y="72"/>
                  </a:cubicBezTo>
                  <a:lnTo>
                    <a:pt x="49" y="54"/>
                  </a:lnTo>
                  <a:lnTo>
                    <a:pt x="31" y="11"/>
                  </a:lnTo>
                  <a:cubicBezTo>
                    <a:pt x="29" y="7"/>
                    <a:pt x="31" y="3"/>
                    <a:pt x="35" y="1"/>
                  </a:cubicBezTo>
                  <a:cubicBezTo>
                    <a:pt x="38" y="0"/>
                    <a:pt x="43" y="1"/>
                    <a:pt x="44" y="5"/>
                  </a:cubicBezTo>
                  <a:lnTo>
                    <a:pt x="65" y="55"/>
                  </a:lnTo>
                  <a:cubicBezTo>
                    <a:pt x="67" y="59"/>
                    <a:pt x="65" y="63"/>
                    <a:pt x="61" y="65"/>
                  </a:cubicBezTo>
                  <a:lnTo>
                    <a:pt x="11" y="85"/>
                  </a:lnTo>
                  <a:cubicBezTo>
                    <a:pt x="10" y="86"/>
                    <a:pt x="9" y="86"/>
                    <a:pt x="8" y="86"/>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202" name="Freeform 476">
              <a:extLst>
                <a:ext uri="{FF2B5EF4-FFF2-40B4-BE49-F238E27FC236}">
                  <a16:creationId xmlns:a16="http://schemas.microsoft.com/office/drawing/2014/main" id="{14E33B36-7B0B-D882-F2D1-05F3026663DE}"/>
                </a:ext>
              </a:extLst>
            </p:cNvPr>
            <p:cNvSpPr>
              <a:spLocks/>
            </p:cNvSpPr>
            <p:nvPr/>
          </p:nvSpPr>
          <p:spPr bwMode="auto">
            <a:xfrm>
              <a:off x="3133726" y="6473825"/>
              <a:ext cx="60325" cy="77788"/>
            </a:xfrm>
            <a:custGeom>
              <a:avLst/>
              <a:gdLst>
                <a:gd name="T0" fmla="*/ 29 w 66"/>
                <a:gd name="T1" fmla="*/ 86 h 86"/>
                <a:gd name="T2" fmla="*/ 22 w 66"/>
                <a:gd name="T3" fmla="*/ 82 h 86"/>
                <a:gd name="T4" fmla="*/ 1 w 66"/>
                <a:gd name="T5" fmla="*/ 31 h 86"/>
                <a:gd name="T6" fmla="*/ 5 w 66"/>
                <a:gd name="T7" fmla="*/ 22 h 86"/>
                <a:gd name="T8" fmla="*/ 55 w 66"/>
                <a:gd name="T9" fmla="*/ 1 h 86"/>
                <a:gd name="T10" fmla="*/ 65 w 66"/>
                <a:gd name="T11" fmla="*/ 5 h 86"/>
                <a:gd name="T12" fmla="*/ 61 w 66"/>
                <a:gd name="T13" fmla="*/ 15 h 86"/>
                <a:gd name="T14" fmla="*/ 18 w 66"/>
                <a:gd name="T15" fmla="*/ 33 h 86"/>
                <a:gd name="T16" fmla="*/ 36 w 66"/>
                <a:gd name="T17" fmla="*/ 76 h 86"/>
                <a:gd name="T18" fmla="*/ 32 w 66"/>
                <a:gd name="T19" fmla="*/ 85 h 86"/>
                <a:gd name="T20" fmla="*/ 29 w 66"/>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6">
                  <a:moveTo>
                    <a:pt x="29" y="86"/>
                  </a:moveTo>
                  <a:cubicBezTo>
                    <a:pt x="26" y="86"/>
                    <a:pt x="23" y="84"/>
                    <a:pt x="22" y="82"/>
                  </a:cubicBezTo>
                  <a:lnTo>
                    <a:pt x="1" y="31"/>
                  </a:lnTo>
                  <a:cubicBezTo>
                    <a:pt x="0" y="28"/>
                    <a:pt x="2" y="24"/>
                    <a:pt x="5" y="22"/>
                  </a:cubicBezTo>
                  <a:lnTo>
                    <a:pt x="55" y="1"/>
                  </a:lnTo>
                  <a:cubicBezTo>
                    <a:pt x="59" y="0"/>
                    <a:pt x="63" y="1"/>
                    <a:pt x="65" y="5"/>
                  </a:cubicBezTo>
                  <a:cubicBezTo>
                    <a:pt x="66" y="9"/>
                    <a:pt x="65" y="13"/>
                    <a:pt x="61" y="15"/>
                  </a:cubicBezTo>
                  <a:lnTo>
                    <a:pt x="18" y="33"/>
                  </a:lnTo>
                  <a:lnTo>
                    <a:pt x="36" y="76"/>
                  </a:lnTo>
                  <a:cubicBezTo>
                    <a:pt x="37" y="80"/>
                    <a:pt x="35" y="84"/>
                    <a:pt x="32" y="85"/>
                  </a:cubicBezTo>
                  <a:cubicBezTo>
                    <a:pt x="31" y="86"/>
                    <a:pt x="30" y="86"/>
                    <a:pt x="29" y="8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noProof="0"/>
            </a:p>
          </p:txBody>
        </p:sp>
      </p:grpSp>
      <p:sp>
        <p:nvSpPr>
          <p:cNvPr id="405" name="Rectángulo: esquinas redondeadas 404">
            <a:extLst>
              <a:ext uri="{FF2B5EF4-FFF2-40B4-BE49-F238E27FC236}">
                <a16:creationId xmlns:a16="http://schemas.microsoft.com/office/drawing/2014/main" id="{C45E9920-B161-37CC-CA15-68E5AF548A94}"/>
              </a:ext>
            </a:extLst>
          </p:cNvPr>
          <p:cNvSpPr/>
          <p:nvPr/>
        </p:nvSpPr>
        <p:spPr>
          <a:xfrm>
            <a:off x="6655570" y="2306488"/>
            <a:ext cx="346877" cy="331722"/>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nvGrpSpPr>
          <p:cNvPr id="406" name="Document2" descr="{&quot;Key&quot;:&quot;POWER_USER_SHAPE_ICON&quot;,&quot;Value&quot;:&quot;POWER_USER_SHAPE_ICON_STYLE_1&quot;}">
            <a:extLst>
              <a:ext uri="{FF2B5EF4-FFF2-40B4-BE49-F238E27FC236}">
                <a16:creationId xmlns:a16="http://schemas.microsoft.com/office/drawing/2014/main" id="{494C9DF2-83FD-717C-2131-08AD4F0DFD50}"/>
              </a:ext>
            </a:extLst>
          </p:cNvPr>
          <p:cNvGrpSpPr>
            <a:grpSpLocks noChangeAspect="1"/>
          </p:cNvGrpSpPr>
          <p:nvPr>
            <p:custDataLst>
              <p:tags r:id="rId2"/>
            </p:custDataLst>
          </p:nvPr>
        </p:nvGrpSpPr>
        <p:grpSpPr bwMode="auto">
          <a:xfrm>
            <a:off x="6725253" y="2341544"/>
            <a:ext cx="199511" cy="261610"/>
            <a:chOff x="176" y="141"/>
            <a:chExt cx="151" cy="198"/>
          </a:xfrm>
          <a:solidFill>
            <a:schemeClr val="bg1"/>
          </a:solidFill>
        </p:grpSpPr>
        <p:sp>
          <p:nvSpPr>
            <p:cNvPr id="407" name="Document2">
              <a:extLst>
                <a:ext uri="{FF2B5EF4-FFF2-40B4-BE49-F238E27FC236}">
                  <a16:creationId xmlns:a16="http://schemas.microsoft.com/office/drawing/2014/main" id="{CD42BA07-CA00-1592-3822-22D32C8C6E7D}"/>
                </a:ext>
              </a:extLst>
            </p:cNvPr>
            <p:cNvSpPr>
              <a:spLocks noEditPoints="1"/>
            </p:cNvSpPr>
            <p:nvPr>
              <p:custDataLst>
                <p:tags r:id="rId5"/>
              </p:custDataLst>
            </p:nvPr>
          </p:nvSpPr>
          <p:spPr bwMode="auto">
            <a:xfrm>
              <a:off x="176" y="141"/>
              <a:ext cx="151" cy="198"/>
            </a:xfrm>
            <a:custGeom>
              <a:avLst/>
              <a:gdLst>
                <a:gd name="T0" fmla="*/ 388 w 401"/>
                <a:gd name="T1" fmla="*/ 525 h 525"/>
                <a:gd name="T2" fmla="*/ 13 w 401"/>
                <a:gd name="T3" fmla="*/ 525 h 525"/>
                <a:gd name="T4" fmla="*/ 0 w 401"/>
                <a:gd name="T5" fmla="*/ 512 h 525"/>
                <a:gd name="T6" fmla="*/ 0 w 401"/>
                <a:gd name="T7" fmla="*/ 12 h 525"/>
                <a:gd name="T8" fmla="*/ 13 w 401"/>
                <a:gd name="T9" fmla="*/ 0 h 525"/>
                <a:gd name="T10" fmla="*/ 388 w 401"/>
                <a:gd name="T11" fmla="*/ 0 h 525"/>
                <a:gd name="T12" fmla="*/ 401 w 401"/>
                <a:gd name="T13" fmla="*/ 12 h 525"/>
                <a:gd name="T14" fmla="*/ 401 w 401"/>
                <a:gd name="T15" fmla="*/ 512 h 525"/>
                <a:gd name="T16" fmla="*/ 388 w 401"/>
                <a:gd name="T17" fmla="*/ 525 h 525"/>
                <a:gd name="T18" fmla="*/ 25 w 401"/>
                <a:gd name="T19" fmla="*/ 500 h 525"/>
                <a:gd name="T20" fmla="*/ 376 w 401"/>
                <a:gd name="T21" fmla="*/ 500 h 525"/>
                <a:gd name="T22" fmla="*/ 376 w 401"/>
                <a:gd name="T23" fmla="*/ 25 h 525"/>
                <a:gd name="T24" fmla="*/ 25 w 401"/>
                <a:gd name="T25" fmla="*/ 25 h 525"/>
                <a:gd name="T26" fmla="*/ 25 w 401"/>
                <a:gd name="T27" fmla="*/ 50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1" h="525">
                  <a:moveTo>
                    <a:pt x="388" y="525"/>
                  </a:moveTo>
                  <a:lnTo>
                    <a:pt x="13" y="525"/>
                  </a:lnTo>
                  <a:cubicBezTo>
                    <a:pt x="5" y="525"/>
                    <a:pt x="0" y="520"/>
                    <a:pt x="0" y="512"/>
                  </a:cubicBezTo>
                  <a:lnTo>
                    <a:pt x="0" y="12"/>
                  </a:lnTo>
                  <a:cubicBezTo>
                    <a:pt x="0" y="5"/>
                    <a:pt x="5" y="0"/>
                    <a:pt x="13" y="0"/>
                  </a:cubicBezTo>
                  <a:lnTo>
                    <a:pt x="388" y="0"/>
                  </a:lnTo>
                  <a:cubicBezTo>
                    <a:pt x="395" y="0"/>
                    <a:pt x="401" y="5"/>
                    <a:pt x="401" y="12"/>
                  </a:cubicBezTo>
                  <a:lnTo>
                    <a:pt x="401" y="512"/>
                  </a:lnTo>
                  <a:cubicBezTo>
                    <a:pt x="401" y="520"/>
                    <a:pt x="394" y="525"/>
                    <a:pt x="388" y="525"/>
                  </a:cubicBezTo>
                  <a:close/>
                  <a:moveTo>
                    <a:pt x="25" y="500"/>
                  </a:moveTo>
                  <a:lnTo>
                    <a:pt x="376" y="500"/>
                  </a:lnTo>
                  <a:lnTo>
                    <a:pt x="376" y="25"/>
                  </a:lnTo>
                  <a:lnTo>
                    <a:pt x="25" y="25"/>
                  </a:lnTo>
                  <a:lnTo>
                    <a:pt x="25" y="50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408" name="Document2">
              <a:extLst>
                <a:ext uri="{FF2B5EF4-FFF2-40B4-BE49-F238E27FC236}">
                  <a16:creationId xmlns:a16="http://schemas.microsoft.com/office/drawing/2014/main" id="{29F51F0E-A332-7083-BF0A-EB8872B491D4}"/>
                </a:ext>
              </a:extLst>
            </p:cNvPr>
            <p:cNvSpPr>
              <a:spLocks noChangeArrowheads="1"/>
            </p:cNvSpPr>
            <p:nvPr>
              <p:custDataLst>
                <p:tags r:id="rId6"/>
              </p:custDataLst>
            </p:nvPr>
          </p:nvSpPr>
          <p:spPr bwMode="auto">
            <a:xfrm>
              <a:off x="205" y="239"/>
              <a:ext cx="94" cy="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409" name="Document2">
              <a:extLst>
                <a:ext uri="{FF2B5EF4-FFF2-40B4-BE49-F238E27FC236}">
                  <a16:creationId xmlns:a16="http://schemas.microsoft.com/office/drawing/2014/main" id="{52CD7E61-739A-06C3-0B56-783EB0F0F2BB}"/>
                </a:ext>
              </a:extLst>
            </p:cNvPr>
            <p:cNvSpPr>
              <a:spLocks noChangeArrowheads="1"/>
            </p:cNvSpPr>
            <p:nvPr>
              <p:custDataLst>
                <p:tags r:id="rId7"/>
              </p:custDataLst>
            </p:nvPr>
          </p:nvSpPr>
          <p:spPr bwMode="auto">
            <a:xfrm>
              <a:off x="205" y="267"/>
              <a:ext cx="94" cy="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410" name="Document2">
              <a:extLst>
                <a:ext uri="{FF2B5EF4-FFF2-40B4-BE49-F238E27FC236}">
                  <a16:creationId xmlns:a16="http://schemas.microsoft.com/office/drawing/2014/main" id="{CF3CD32A-D5BE-52DC-D908-71EC9F14CB09}"/>
                </a:ext>
              </a:extLst>
            </p:cNvPr>
            <p:cNvSpPr>
              <a:spLocks noChangeArrowheads="1"/>
            </p:cNvSpPr>
            <p:nvPr>
              <p:custDataLst>
                <p:tags r:id="rId8"/>
              </p:custDataLst>
            </p:nvPr>
          </p:nvSpPr>
          <p:spPr bwMode="auto">
            <a:xfrm>
              <a:off x="205" y="295"/>
              <a:ext cx="94" cy="1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411" name="Document2">
              <a:extLst>
                <a:ext uri="{FF2B5EF4-FFF2-40B4-BE49-F238E27FC236}">
                  <a16:creationId xmlns:a16="http://schemas.microsoft.com/office/drawing/2014/main" id="{85646CA3-83B1-EB09-91CF-0E63EFF0D9EC}"/>
                </a:ext>
              </a:extLst>
            </p:cNvPr>
            <p:cNvSpPr>
              <a:spLocks noChangeArrowheads="1"/>
            </p:cNvSpPr>
            <p:nvPr>
              <p:custDataLst>
                <p:tags r:id="rId9"/>
              </p:custDataLst>
            </p:nvPr>
          </p:nvSpPr>
          <p:spPr bwMode="auto">
            <a:xfrm>
              <a:off x="252" y="182"/>
              <a:ext cx="47" cy="1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412" name="Document2">
              <a:extLst>
                <a:ext uri="{FF2B5EF4-FFF2-40B4-BE49-F238E27FC236}">
                  <a16:creationId xmlns:a16="http://schemas.microsoft.com/office/drawing/2014/main" id="{006034CC-A993-FBD0-694A-F406416250EA}"/>
                </a:ext>
              </a:extLst>
            </p:cNvPr>
            <p:cNvSpPr>
              <a:spLocks noChangeArrowheads="1"/>
            </p:cNvSpPr>
            <p:nvPr>
              <p:custDataLst>
                <p:tags r:id="rId10"/>
              </p:custDataLst>
            </p:nvPr>
          </p:nvSpPr>
          <p:spPr bwMode="auto">
            <a:xfrm>
              <a:off x="252" y="211"/>
              <a:ext cx="47" cy="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413" name="Document2">
              <a:extLst>
                <a:ext uri="{FF2B5EF4-FFF2-40B4-BE49-F238E27FC236}">
                  <a16:creationId xmlns:a16="http://schemas.microsoft.com/office/drawing/2014/main" id="{A1DD02E8-8F8F-149A-18D1-41BE1FA31EA2}"/>
                </a:ext>
              </a:extLst>
            </p:cNvPr>
            <p:cNvSpPr>
              <a:spLocks/>
            </p:cNvSpPr>
            <p:nvPr>
              <p:custDataLst>
                <p:tags r:id="rId11"/>
              </p:custDataLst>
            </p:nvPr>
          </p:nvSpPr>
          <p:spPr bwMode="auto">
            <a:xfrm>
              <a:off x="206" y="182"/>
              <a:ext cx="36" cy="37"/>
            </a:xfrm>
            <a:custGeom>
              <a:avLst/>
              <a:gdLst>
                <a:gd name="T0" fmla="*/ 49 w 98"/>
                <a:gd name="T1" fmla="*/ 97 h 97"/>
                <a:gd name="T2" fmla="*/ 49 w 98"/>
                <a:gd name="T3" fmla="*/ 97 h 97"/>
                <a:gd name="T4" fmla="*/ 0 w 98"/>
                <a:gd name="T5" fmla="*/ 48 h 97"/>
                <a:gd name="T6" fmla="*/ 0 w 98"/>
                <a:gd name="T7" fmla="*/ 48 h 97"/>
                <a:gd name="T8" fmla="*/ 49 w 98"/>
                <a:gd name="T9" fmla="*/ 0 h 97"/>
                <a:gd name="T10" fmla="*/ 49 w 98"/>
                <a:gd name="T11" fmla="*/ 0 h 97"/>
                <a:gd name="T12" fmla="*/ 98 w 98"/>
                <a:gd name="T13" fmla="*/ 48 h 97"/>
                <a:gd name="T14" fmla="*/ 98 w 98"/>
                <a:gd name="T15" fmla="*/ 48 h 97"/>
                <a:gd name="T16" fmla="*/ 49 w 98"/>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97">
                  <a:moveTo>
                    <a:pt x="49" y="97"/>
                  </a:moveTo>
                  <a:lnTo>
                    <a:pt x="49" y="97"/>
                  </a:lnTo>
                  <a:cubicBezTo>
                    <a:pt x="22" y="97"/>
                    <a:pt x="0" y="75"/>
                    <a:pt x="0" y="48"/>
                  </a:cubicBezTo>
                  <a:lnTo>
                    <a:pt x="0" y="48"/>
                  </a:lnTo>
                  <a:cubicBezTo>
                    <a:pt x="0" y="21"/>
                    <a:pt x="23" y="0"/>
                    <a:pt x="49" y="0"/>
                  </a:cubicBezTo>
                  <a:lnTo>
                    <a:pt x="49" y="0"/>
                  </a:lnTo>
                  <a:cubicBezTo>
                    <a:pt x="77" y="0"/>
                    <a:pt x="98" y="22"/>
                    <a:pt x="98" y="48"/>
                  </a:cubicBezTo>
                  <a:lnTo>
                    <a:pt x="98" y="48"/>
                  </a:lnTo>
                  <a:cubicBezTo>
                    <a:pt x="98" y="76"/>
                    <a:pt x="77" y="97"/>
                    <a:pt x="49" y="9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grpSp>
      <p:sp>
        <p:nvSpPr>
          <p:cNvPr id="425" name="Rectángulo: esquinas redondeadas 424">
            <a:extLst>
              <a:ext uri="{FF2B5EF4-FFF2-40B4-BE49-F238E27FC236}">
                <a16:creationId xmlns:a16="http://schemas.microsoft.com/office/drawing/2014/main" id="{506E86BA-93DC-D857-8363-A4C50BD1D0D5}"/>
              </a:ext>
            </a:extLst>
          </p:cNvPr>
          <p:cNvSpPr/>
          <p:nvPr/>
        </p:nvSpPr>
        <p:spPr>
          <a:xfrm>
            <a:off x="7261439" y="2306488"/>
            <a:ext cx="346877" cy="331722"/>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nvGrpSpPr>
          <p:cNvPr id="1061" name="Mail2" descr="{&quot;Key&quot;:&quot;POWER_USER_SHAPE_ICON&quot;,&quot;Value&quot;:&quot;POWER_USER_SHAPE_ICON_STYLE_1&quot;}">
            <a:extLst>
              <a:ext uri="{FF2B5EF4-FFF2-40B4-BE49-F238E27FC236}">
                <a16:creationId xmlns:a16="http://schemas.microsoft.com/office/drawing/2014/main" id="{0D4A5ABE-5E9E-6036-9DF2-BA9D18978C17}"/>
              </a:ext>
            </a:extLst>
          </p:cNvPr>
          <p:cNvGrpSpPr>
            <a:grpSpLocks noChangeAspect="1"/>
          </p:cNvGrpSpPr>
          <p:nvPr/>
        </p:nvGrpSpPr>
        <p:grpSpPr>
          <a:xfrm>
            <a:off x="7327177" y="2365070"/>
            <a:ext cx="225274" cy="202859"/>
            <a:chOff x="347663" y="3633781"/>
            <a:chExt cx="638174" cy="574674"/>
          </a:xfrm>
          <a:solidFill>
            <a:schemeClr val="bg1"/>
          </a:solidFill>
        </p:grpSpPr>
        <p:sp>
          <p:nvSpPr>
            <p:cNvPr id="1062" name="Freeform 209">
              <a:extLst>
                <a:ext uri="{FF2B5EF4-FFF2-40B4-BE49-F238E27FC236}">
                  <a16:creationId xmlns:a16="http://schemas.microsoft.com/office/drawing/2014/main" id="{2A4BE640-F205-6F81-853D-E237BCBD3472}"/>
                </a:ext>
              </a:extLst>
            </p:cNvPr>
            <p:cNvSpPr>
              <a:spLocks noEditPoints="1"/>
            </p:cNvSpPr>
            <p:nvPr/>
          </p:nvSpPr>
          <p:spPr bwMode="auto">
            <a:xfrm>
              <a:off x="347663" y="3633781"/>
              <a:ext cx="638174" cy="574674"/>
            </a:xfrm>
            <a:custGeom>
              <a:avLst/>
              <a:gdLst>
                <a:gd name="T0" fmla="*/ 45 w 1067"/>
                <a:gd name="T1" fmla="*/ 469 h 962"/>
                <a:gd name="T2" fmla="*/ 107 w 1067"/>
                <a:gd name="T3" fmla="*/ 504 h 962"/>
                <a:gd name="T4" fmla="*/ 384 w 1067"/>
                <a:gd name="T5" fmla="*/ 167 h 962"/>
                <a:gd name="T6" fmla="*/ 684 w 1067"/>
                <a:gd name="T7" fmla="*/ 166 h 962"/>
                <a:gd name="T8" fmla="*/ 927 w 1067"/>
                <a:gd name="T9" fmla="*/ 166 h 962"/>
                <a:gd name="T10" fmla="*/ 927 w 1067"/>
                <a:gd name="T11" fmla="*/ 379 h 962"/>
                <a:gd name="T12" fmla="*/ 823 w 1067"/>
                <a:gd name="T13" fmla="*/ 583 h 962"/>
                <a:gd name="T14" fmla="*/ 807 w 1067"/>
                <a:gd name="T15" fmla="*/ 478 h 962"/>
                <a:gd name="T16" fmla="*/ 588 w 1067"/>
                <a:gd name="T17" fmla="*/ 495 h 962"/>
                <a:gd name="T18" fmla="*/ 541 w 1067"/>
                <a:gd name="T19" fmla="*/ 661 h 962"/>
                <a:gd name="T20" fmla="*/ 449 w 1067"/>
                <a:gd name="T21" fmla="*/ 701 h 962"/>
                <a:gd name="T22" fmla="*/ 140 w 1067"/>
                <a:gd name="T23" fmla="*/ 379 h 962"/>
                <a:gd name="T24" fmla="*/ 140 w 1067"/>
                <a:gd name="T25" fmla="*/ 166 h 962"/>
                <a:gd name="T26" fmla="*/ 534 w 1067"/>
                <a:gd name="T27" fmla="*/ 41 h 962"/>
                <a:gd name="T28" fmla="*/ 428 w 1067"/>
                <a:gd name="T29" fmla="*/ 133 h 962"/>
                <a:gd name="T30" fmla="*/ 1022 w 1067"/>
                <a:gd name="T31" fmla="*/ 469 h 962"/>
                <a:gd name="T32" fmla="*/ 961 w 1067"/>
                <a:gd name="T33" fmla="*/ 415 h 962"/>
                <a:gd name="T34" fmla="*/ 654 w 1067"/>
                <a:gd name="T35" fmla="*/ 720 h 962"/>
                <a:gd name="T36" fmla="*/ 1034 w 1067"/>
                <a:gd name="T37" fmla="*/ 917 h 962"/>
                <a:gd name="T38" fmla="*/ 790 w 1067"/>
                <a:gd name="T39" fmla="*/ 603 h 962"/>
                <a:gd name="T40" fmla="*/ 622 w 1067"/>
                <a:gd name="T41" fmla="*/ 511 h 962"/>
                <a:gd name="T42" fmla="*/ 790 w 1067"/>
                <a:gd name="T43" fmla="*/ 603 h 962"/>
                <a:gd name="T44" fmla="*/ 982 w 1067"/>
                <a:gd name="T45" fmla="*/ 928 h 962"/>
                <a:gd name="T46" fmla="*/ 534 w 1067"/>
                <a:gd name="T47" fmla="*/ 695 h 962"/>
                <a:gd name="T48" fmla="*/ 414 w 1067"/>
                <a:gd name="T49" fmla="*/ 720 h 962"/>
                <a:gd name="T50" fmla="*/ 34 w 1067"/>
                <a:gd name="T51" fmla="*/ 500 h 962"/>
                <a:gd name="T52" fmla="*/ 1067 w 1067"/>
                <a:gd name="T53" fmla="*/ 471 h 962"/>
                <a:gd name="T54" fmla="*/ 1065 w 1067"/>
                <a:gd name="T55" fmla="*/ 465 h 962"/>
                <a:gd name="T56" fmla="*/ 1062 w 1067"/>
                <a:gd name="T57" fmla="*/ 459 h 962"/>
                <a:gd name="T58" fmla="*/ 961 w 1067"/>
                <a:gd name="T59" fmla="*/ 371 h 962"/>
                <a:gd name="T60" fmla="*/ 944 w 1067"/>
                <a:gd name="T61" fmla="*/ 133 h 962"/>
                <a:gd name="T62" fmla="*/ 545 w 1067"/>
                <a:gd name="T63" fmla="*/ 6 h 962"/>
                <a:gd name="T64" fmla="*/ 378 w 1067"/>
                <a:gd name="T65" fmla="*/ 133 h 962"/>
                <a:gd name="T66" fmla="*/ 107 w 1067"/>
                <a:gd name="T67" fmla="*/ 150 h 962"/>
                <a:gd name="T68" fmla="*/ 6 w 1067"/>
                <a:gd name="T69" fmla="*/ 459 h 962"/>
                <a:gd name="T70" fmla="*/ 2 w 1067"/>
                <a:gd name="T71" fmla="*/ 464 h 962"/>
                <a:gd name="T72" fmla="*/ 1 w 1067"/>
                <a:gd name="T73" fmla="*/ 469 h 962"/>
                <a:gd name="T74" fmla="*/ 0 w 1067"/>
                <a:gd name="T75" fmla="*/ 472 h 962"/>
                <a:gd name="T76" fmla="*/ 1 w 1067"/>
                <a:gd name="T77" fmla="*/ 945 h 962"/>
                <a:gd name="T78" fmla="*/ 2 w 1067"/>
                <a:gd name="T79" fmla="*/ 952 h 962"/>
                <a:gd name="T80" fmla="*/ 4 w 1067"/>
                <a:gd name="T81" fmla="*/ 954 h 962"/>
                <a:gd name="T82" fmla="*/ 9 w 1067"/>
                <a:gd name="T83" fmla="*/ 959 h 962"/>
                <a:gd name="T84" fmla="*/ 15 w 1067"/>
                <a:gd name="T85" fmla="*/ 961 h 962"/>
                <a:gd name="T86" fmla="*/ 1050 w 1067"/>
                <a:gd name="T87" fmla="*/ 962 h 962"/>
                <a:gd name="T88" fmla="*/ 1056 w 1067"/>
                <a:gd name="T89" fmla="*/ 960 h 962"/>
                <a:gd name="T90" fmla="*/ 1062 w 1067"/>
                <a:gd name="T91" fmla="*/ 957 h 962"/>
                <a:gd name="T92" fmla="*/ 1065 w 1067"/>
                <a:gd name="T93" fmla="*/ 953 h 962"/>
                <a:gd name="T94" fmla="*/ 1066 w 1067"/>
                <a:gd name="T95" fmla="*/ 949 h 962"/>
                <a:gd name="T96" fmla="*/ 1067 w 1067"/>
                <a:gd name="T97" fmla="*/ 945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7" h="962">
                  <a:moveTo>
                    <a:pt x="107" y="504"/>
                  </a:moveTo>
                  <a:lnTo>
                    <a:pt x="45" y="469"/>
                  </a:lnTo>
                  <a:lnTo>
                    <a:pt x="107" y="415"/>
                  </a:lnTo>
                  <a:lnTo>
                    <a:pt x="107" y="504"/>
                  </a:lnTo>
                  <a:close/>
                  <a:moveTo>
                    <a:pt x="383" y="166"/>
                  </a:moveTo>
                  <a:cubicBezTo>
                    <a:pt x="384" y="166"/>
                    <a:pt x="384" y="167"/>
                    <a:pt x="384" y="167"/>
                  </a:cubicBezTo>
                  <a:cubicBezTo>
                    <a:pt x="384" y="167"/>
                    <a:pt x="384" y="166"/>
                    <a:pt x="384" y="166"/>
                  </a:cubicBezTo>
                  <a:lnTo>
                    <a:pt x="684" y="166"/>
                  </a:lnTo>
                  <a:cubicBezTo>
                    <a:pt x="684" y="166"/>
                    <a:pt x="685" y="166"/>
                    <a:pt x="685" y="166"/>
                  </a:cubicBezTo>
                  <a:lnTo>
                    <a:pt x="927" y="166"/>
                  </a:lnTo>
                  <a:lnTo>
                    <a:pt x="927" y="379"/>
                  </a:lnTo>
                  <a:lnTo>
                    <a:pt x="927" y="379"/>
                  </a:lnTo>
                  <a:lnTo>
                    <a:pt x="927" y="523"/>
                  </a:lnTo>
                  <a:lnTo>
                    <a:pt x="823" y="583"/>
                  </a:lnTo>
                  <a:lnTo>
                    <a:pt x="823" y="495"/>
                  </a:lnTo>
                  <a:cubicBezTo>
                    <a:pt x="823" y="486"/>
                    <a:pt x="816" y="478"/>
                    <a:pt x="807" y="478"/>
                  </a:cubicBezTo>
                  <a:lnTo>
                    <a:pt x="605" y="478"/>
                  </a:lnTo>
                  <a:cubicBezTo>
                    <a:pt x="596" y="478"/>
                    <a:pt x="588" y="486"/>
                    <a:pt x="588" y="495"/>
                  </a:cubicBezTo>
                  <a:lnTo>
                    <a:pt x="588" y="686"/>
                  </a:lnTo>
                  <a:lnTo>
                    <a:pt x="541" y="661"/>
                  </a:lnTo>
                  <a:cubicBezTo>
                    <a:pt x="537" y="659"/>
                    <a:pt x="531" y="659"/>
                    <a:pt x="526" y="661"/>
                  </a:cubicBezTo>
                  <a:lnTo>
                    <a:pt x="449" y="701"/>
                  </a:lnTo>
                  <a:lnTo>
                    <a:pt x="140" y="523"/>
                  </a:lnTo>
                  <a:lnTo>
                    <a:pt x="140" y="379"/>
                  </a:lnTo>
                  <a:cubicBezTo>
                    <a:pt x="140" y="379"/>
                    <a:pt x="140" y="379"/>
                    <a:pt x="140" y="379"/>
                  </a:cubicBezTo>
                  <a:lnTo>
                    <a:pt x="140" y="166"/>
                  </a:lnTo>
                  <a:lnTo>
                    <a:pt x="383" y="166"/>
                  </a:lnTo>
                  <a:close/>
                  <a:moveTo>
                    <a:pt x="534" y="41"/>
                  </a:moveTo>
                  <a:lnTo>
                    <a:pt x="639" y="133"/>
                  </a:lnTo>
                  <a:lnTo>
                    <a:pt x="428" y="133"/>
                  </a:lnTo>
                  <a:lnTo>
                    <a:pt x="534" y="41"/>
                  </a:lnTo>
                  <a:close/>
                  <a:moveTo>
                    <a:pt x="1022" y="469"/>
                  </a:moveTo>
                  <a:lnTo>
                    <a:pt x="961" y="504"/>
                  </a:lnTo>
                  <a:lnTo>
                    <a:pt x="961" y="415"/>
                  </a:lnTo>
                  <a:lnTo>
                    <a:pt x="1022" y="469"/>
                  </a:lnTo>
                  <a:close/>
                  <a:moveTo>
                    <a:pt x="654" y="720"/>
                  </a:moveTo>
                  <a:lnTo>
                    <a:pt x="1034" y="500"/>
                  </a:lnTo>
                  <a:lnTo>
                    <a:pt x="1034" y="917"/>
                  </a:lnTo>
                  <a:lnTo>
                    <a:pt x="654" y="720"/>
                  </a:lnTo>
                  <a:close/>
                  <a:moveTo>
                    <a:pt x="790" y="603"/>
                  </a:moveTo>
                  <a:lnTo>
                    <a:pt x="622" y="700"/>
                  </a:lnTo>
                  <a:lnTo>
                    <a:pt x="622" y="511"/>
                  </a:lnTo>
                  <a:lnTo>
                    <a:pt x="790" y="511"/>
                  </a:lnTo>
                  <a:lnTo>
                    <a:pt x="790" y="603"/>
                  </a:lnTo>
                  <a:close/>
                  <a:moveTo>
                    <a:pt x="534" y="695"/>
                  </a:moveTo>
                  <a:lnTo>
                    <a:pt x="982" y="928"/>
                  </a:lnTo>
                  <a:lnTo>
                    <a:pt x="85" y="928"/>
                  </a:lnTo>
                  <a:lnTo>
                    <a:pt x="534" y="695"/>
                  </a:lnTo>
                  <a:close/>
                  <a:moveTo>
                    <a:pt x="34" y="500"/>
                  </a:moveTo>
                  <a:lnTo>
                    <a:pt x="414" y="720"/>
                  </a:lnTo>
                  <a:lnTo>
                    <a:pt x="34" y="917"/>
                  </a:lnTo>
                  <a:lnTo>
                    <a:pt x="34" y="500"/>
                  </a:lnTo>
                  <a:close/>
                  <a:moveTo>
                    <a:pt x="1067" y="472"/>
                  </a:moveTo>
                  <a:cubicBezTo>
                    <a:pt x="1067" y="471"/>
                    <a:pt x="1067" y="471"/>
                    <a:pt x="1067" y="471"/>
                  </a:cubicBezTo>
                  <a:cubicBezTo>
                    <a:pt x="1067" y="470"/>
                    <a:pt x="1067" y="470"/>
                    <a:pt x="1067" y="470"/>
                  </a:cubicBezTo>
                  <a:cubicBezTo>
                    <a:pt x="1067" y="468"/>
                    <a:pt x="1066" y="466"/>
                    <a:pt x="1065" y="465"/>
                  </a:cubicBezTo>
                  <a:cubicBezTo>
                    <a:pt x="1065" y="464"/>
                    <a:pt x="1065" y="464"/>
                    <a:pt x="1065" y="464"/>
                  </a:cubicBezTo>
                  <a:cubicBezTo>
                    <a:pt x="1064" y="462"/>
                    <a:pt x="1063" y="461"/>
                    <a:pt x="1062" y="459"/>
                  </a:cubicBezTo>
                  <a:cubicBezTo>
                    <a:pt x="1061" y="459"/>
                    <a:pt x="1061" y="459"/>
                    <a:pt x="1061" y="459"/>
                  </a:cubicBezTo>
                  <a:lnTo>
                    <a:pt x="961" y="371"/>
                  </a:lnTo>
                  <a:lnTo>
                    <a:pt x="961" y="150"/>
                  </a:lnTo>
                  <a:cubicBezTo>
                    <a:pt x="961" y="141"/>
                    <a:pt x="953" y="133"/>
                    <a:pt x="944" y="133"/>
                  </a:cubicBezTo>
                  <a:lnTo>
                    <a:pt x="690" y="133"/>
                  </a:lnTo>
                  <a:lnTo>
                    <a:pt x="545" y="6"/>
                  </a:lnTo>
                  <a:cubicBezTo>
                    <a:pt x="538" y="0"/>
                    <a:pt x="529" y="0"/>
                    <a:pt x="523" y="6"/>
                  </a:cubicBezTo>
                  <a:lnTo>
                    <a:pt x="378" y="133"/>
                  </a:lnTo>
                  <a:lnTo>
                    <a:pt x="124" y="133"/>
                  </a:lnTo>
                  <a:cubicBezTo>
                    <a:pt x="114" y="133"/>
                    <a:pt x="107" y="141"/>
                    <a:pt x="107" y="150"/>
                  </a:cubicBezTo>
                  <a:lnTo>
                    <a:pt x="107" y="371"/>
                  </a:lnTo>
                  <a:lnTo>
                    <a:pt x="6" y="459"/>
                  </a:lnTo>
                  <a:cubicBezTo>
                    <a:pt x="6" y="459"/>
                    <a:pt x="6" y="459"/>
                    <a:pt x="6" y="460"/>
                  </a:cubicBezTo>
                  <a:cubicBezTo>
                    <a:pt x="4" y="461"/>
                    <a:pt x="3" y="462"/>
                    <a:pt x="2" y="464"/>
                  </a:cubicBezTo>
                  <a:cubicBezTo>
                    <a:pt x="2" y="464"/>
                    <a:pt x="2" y="465"/>
                    <a:pt x="2" y="466"/>
                  </a:cubicBezTo>
                  <a:cubicBezTo>
                    <a:pt x="1" y="467"/>
                    <a:pt x="1" y="468"/>
                    <a:pt x="1" y="469"/>
                  </a:cubicBezTo>
                  <a:cubicBezTo>
                    <a:pt x="1" y="470"/>
                    <a:pt x="0" y="470"/>
                    <a:pt x="0" y="471"/>
                  </a:cubicBezTo>
                  <a:cubicBezTo>
                    <a:pt x="0" y="471"/>
                    <a:pt x="0" y="471"/>
                    <a:pt x="0" y="472"/>
                  </a:cubicBezTo>
                  <a:lnTo>
                    <a:pt x="0" y="945"/>
                  </a:lnTo>
                  <a:cubicBezTo>
                    <a:pt x="0" y="945"/>
                    <a:pt x="1" y="945"/>
                    <a:pt x="1" y="945"/>
                  </a:cubicBezTo>
                  <a:cubicBezTo>
                    <a:pt x="1" y="947"/>
                    <a:pt x="1" y="948"/>
                    <a:pt x="1" y="949"/>
                  </a:cubicBezTo>
                  <a:cubicBezTo>
                    <a:pt x="1" y="950"/>
                    <a:pt x="2" y="951"/>
                    <a:pt x="2" y="952"/>
                  </a:cubicBezTo>
                  <a:cubicBezTo>
                    <a:pt x="2" y="952"/>
                    <a:pt x="2" y="952"/>
                    <a:pt x="2" y="953"/>
                  </a:cubicBezTo>
                  <a:cubicBezTo>
                    <a:pt x="3" y="953"/>
                    <a:pt x="3" y="954"/>
                    <a:pt x="4" y="954"/>
                  </a:cubicBezTo>
                  <a:cubicBezTo>
                    <a:pt x="4" y="955"/>
                    <a:pt x="5" y="956"/>
                    <a:pt x="6" y="957"/>
                  </a:cubicBezTo>
                  <a:cubicBezTo>
                    <a:pt x="7" y="958"/>
                    <a:pt x="8" y="958"/>
                    <a:pt x="9" y="959"/>
                  </a:cubicBezTo>
                  <a:cubicBezTo>
                    <a:pt x="9" y="959"/>
                    <a:pt x="10" y="960"/>
                    <a:pt x="11" y="960"/>
                  </a:cubicBezTo>
                  <a:cubicBezTo>
                    <a:pt x="12" y="961"/>
                    <a:pt x="14" y="961"/>
                    <a:pt x="15" y="961"/>
                  </a:cubicBezTo>
                  <a:cubicBezTo>
                    <a:pt x="16" y="961"/>
                    <a:pt x="16" y="962"/>
                    <a:pt x="17" y="962"/>
                  </a:cubicBezTo>
                  <a:lnTo>
                    <a:pt x="1050" y="962"/>
                  </a:lnTo>
                  <a:lnTo>
                    <a:pt x="1050" y="962"/>
                  </a:lnTo>
                  <a:cubicBezTo>
                    <a:pt x="1052" y="961"/>
                    <a:pt x="1054" y="961"/>
                    <a:pt x="1056" y="960"/>
                  </a:cubicBezTo>
                  <a:cubicBezTo>
                    <a:pt x="1057" y="960"/>
                    <a:pt x="1057" y="960"/>
                    <a:pt x="1058" y="960"/>
                  </a:cubicBezTo>
                  <a:cubicBezTo>
                    <a:pt x="1059" y="959"/>
                    <a:pt x="1060" y="958"/>
                    <a:pt x="1062" y="957"/>
                  </a:cubicBezTo>
                  <a:cubicBezTo>
                    <a:pt x="1062" y="957"/>
                    <a:pt x="1062" y="957"/>
                    <a:pt x="1062" y="956"/>
                  </a:cubicBezTo>
                  <a:cubicBezTo>
                    <a:pt x="1063" y="955"/>
                    <a:pt x="1064" y="954"/>
                    <a:pt x="1065" y="953"/>
                  </a:cubicBezTo>
                  <a:cubicBezTo>
                    <a:pt x="1065" y="952"/>
                    <a:pt x="1065" y="952"/>
                    <a:pt x="1065" y="952"/>
                  </a:cubicBezTo>
                  <a:cubicBezTo>
                    <a:pt x="1066" y="951"/>
                    <a:pt x="1066" y="950"/>
                    <a:pt x="1066" y="949"/>
                  </a:cubicBezTo>
                  <a:cubicBezTo>
                    <a:pt x="1067" y="948"/>
                    <a:pt x="1067" y="947"/>
                    <a:pt x="1067" y="945"/>
                  </a:cubicBezTo>
                  <a:cubicBezTo>
                    <a:pt x="1067" y="945"/>
                    <a:pt x="1067" y="945"/>
                    <a:pt x="1067" y="945"/>
                  </a:cubicBezTo>
                  <a:lnTo>
                    <a:pt x="1067" y="47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63" name="Freeform 210">
              <a:extLst>
                <a:ext uri="{FF2B5EF4-FFF2-40B4-BE49-F238E27FC236}">
                  <a16:creationId xmlns:a16="http://schemas.microsoft.com/office/drawing/2014/main" id="{FBEB7CC2-12F4-3F10-AAAF-E5B0387C14B4}"/>
                </a:ext>
              </a:extLst>
            </p:cNvPr>
            <p:cNvSpPr>
              <a:spLocks noEditPoints="1"/>
            </p:cNvSpPr>
            <p:nvPr/>
          </p:nvSpPr>
          <p:spPr bwMode="auto">
            <a:xfrm>
              <a:off x="493713" y="3756019"/>
              <a:ext cx="141288" cy="130174"/>
            </a:xfrm>
            <a:custGeom>
              <a:avLst/>
              <a:gdLst>
                <a:gd name="T0" fmla="*/ 34 w 235"/>
                <a:gd name="T1" fmla="*/ 33 h 216"/>
                <a:gd name="T2" fmla="*/ 202 w 235"/>
                <a:gd name="T3" fmla="*/ 33 h 216"/>
                <a:gd name="T4" fmla="*/ 202 w 235"/>
                <a:gd name="T5" fmla="*/ 183 h 216"/>
                <a:gd name="T6" fmla="*/ 34 w 235"/>
                <a:gd name="T7" fmla="*/ 183 h 216"/>
                <a:gd name="T8" fmla="*/ 34 w 235"/>
                <a:gd name="T9" fmla="*/ 33 h 216"/>
                <a:gd name="T10" fmla="*/ 17 w 235"/>
                <a:gd name="T11" fmla="*/ 216 h 216"/>
                <a:gd name="T12" fmla="*/ 218 w 235"/>
                <a:gd name="T13" fmla="*/ 216 h 216"/>
                <a:gd name="T14" fmla="*/ 235 w 235"/>
                <a:gd name="T15" fmla="*/ 200 h 216"/>
                <a:gd name="T16" fmla="*/ 235 w 235"/>
                <a:gd name="T17" fmla="*/ 16 h 216"/>
                <a:gd name="T18" fmla="*/ 218 w 235"/>
                <a:gd name="T19" fmla="*/ 0 h 216"/>
                <a:gd name="T20" fmla="*/ 17 w 235"/>
                <a:gd name="T21" fmla="*/ 0 h 216"/>
                <a:gd name="T22" fmla="*/ 0 w 235"/>
                <a:gd name="T23" fmla="*/ 16 h 216"/>
                <a:gd name="T24" fmla="*/ 0 w 235"/>
                <a:gd name="T25" fmla="*/ 200 h 216"/>
                <a:gd name="T26" fmla="*/ 17 w 235"/>
                <a:gd name="T27"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 h="216">
                  <a:moveTo>
                    <a:pt x="34" y="33"/>
                  </a:moveTo>
                  <a:lnTo>
                    <a:pt x="202" y="33"/>
                  </a:lnTo>
                  <a:lnTo>
                    <a:pt x="202" y="183"/>
                  </a:lnTo>
                  <a:lnTo>
                    <a:pt x="34" y="183"/>
                  </a:lnTo>
                  <a:lnTo>
                    <a:pt x="34" y="33"/>
                  </a:lnTo>
                  <a:close/>
                  <a:moveTo>
                    <a:pt x="17" y="216"/>
                  </a:moveTo>
                  <a:lnTo>
                    <a:pt x="218" y="216"/>
                  </a:lnTo>
                  <a:cubicBezTo>
                    <a:pt x="228" y="216"/>
                    <a:pt x="235" y="209"/>
                    <a:pt x="235" y="200"/>
                  </a:cubicBezTo>
                  <a:lnTo>
                    <a:pt x="235" y="16"/>
                  </a:lnTo>
                  <a:cubicBezTo>
                    <a:pt x="235" y="7"/>
                    <a:pt x="228" y="0"/>
                    <a:pt x="218" y="0"/>
                  </a:cubicBezTo>
                  <a:lnTo>
                    <a:pt x="17" y="0"/>
                  </a:lnTo>
                  <a:cubicBezTo>
                    <a:pt x="8" y="0"/>
                    <a:pt x="0" y="7"/>
                    <a:pt x="0" y="16"/>
                  </a:cubicBezTo>
                  <a:lnTo>
                    <a:pt x="0" y="200"/>
                  </a:lnTo>
                  <a:cubicBezTo>
                    <a:pt x="0" y="209"/>
                    <a:pt x="8" y="216"/>
                    <a:pt x="17" y="2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64" name="Freeform 211">
              <a:extLst>
                <a:ext uri="{FF2B5EF4-FFF2-40B4-BE49-F238E27FC236}">
                  <a16:creationId xmlns:a16="http://schemas.microsoft.com/office/drawing/2014/main" id="{FD99F3E2-1604-CB29-9F3B-C86CD1E0B526}"/>
                </a:ext>
              </a:extLst>
            </p:cNvPr>
            <p:cNvSpPr>
              <a:spLocks/>
            </p:cNvSpPr>
            <p:nvPr/>
          </p:nvSpPr>
          <p:spPr bwMode="auto">
            <a:xfrm>
              <a:off x="663575" y="3756019"/>
              <a:ext cx="176212" cy="20638"/>
            </a:xfrm>
            <a:custGeom>
              <a:avLst/>
              <a:gdLst>
                <a:gd name="T0" fmla="*/ 17 w 295"/>
                <a:gd name="T1" fmla="*/ 33 h 33"/>
                <a:gd name="T2" fmla="*/ 279 w 295"/>
                <a:gd name="T3" fmla="*/ 33 h 33"/>
                <a:gd name="T4" fmla="*/ 295 w 295"/>
                <a:gd name="T5" fmla="*/ 16 h 33"/>
                <a:gd name="T6" fmla="*/ 279 w 295"/>
                <a:gd name="T7" fmla="*/ 0 h 33"/>
                <a:gd name="T8" fmla="*/ 17 w 295"/>
                <a:gd name="T9" fmla="*/ 0 h 33"/>
                <a:gd name="T10" fmla="*/ 0 w 295"/>
                <a:gd name="T11" fmla="*/ 16 h 33"/>
                <a:gd name="T12" fmla="*/ 17 w 29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295" h="33">
                  <a:moveTo>
                    <a:pt x="17" y="33"/>
                  </a:moveTo>
                  <a:lnTo>
                    <a:pt x="279" y="33"/>
                  </a:lnTo>
                  <a:cubicBezTo>
                    <a:pt x="288" y="33"/>
                    <a:pt x="295" y="25"/>
                    <a:pt x="295" y="16"/>
                  </a:cubicBezTo>
                  <a:cubicBezTo>
                    <a:pt x="295" y="7"/>
                    <a:pt x="288" y="0"/>
                    <a:pt x="279" y="0"/>
                  </a:cubicBezTo>
                  <a:lnTo>
                    <a:pt x="17" y="0"/>
                  </a:lnTo>
                  <a:cubicBezTo>
                    <a:pt x="7" y="0"/>
                    <a:pt x="0" y="7"/>
                    <a:pt x="0" y="16"/>
                  </a:cubicBezTo>
                  <a:cubicBezTo>
                    <a:pt x="0" y="25"/>
                    <a:pt x="7" y="33"/>
                    <a:pt x="17"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65" name="Freeform 212">
              <a:extLst>
                <a:ext uri="{FF2B5EF4-FFF2-40B4-BE49-F238E27FC236}">
                  <a16:creationId xmlns:a16="http://schemas.microsoft.com/office/drawing/2014/main" id="{8FD48DE9-7984-D44C-F9C9-231D99107D9C}"/>
                </a:ext>
              </a:extLst>
            </p:cNvPr>
            <p:cNvSpPr>
              <a:spLocks/>
            </p:cNvSpPr>
            <p:nvPr/>
          </p:nvSpPr>
          <p:spPr bwMode="auto">
            <a:xfrm>
              <a:off x="663575" y="3813169"/>
              <a:ext cx="176212" cy="20638"/>
            </a:xfrm>
            <a:custGeom>
              <a:avLst/>
              <a:gdLst>
                <a:gd name="T0" fmla="*/ 17 w 295"/>
                <a:gd name="T1" fmla="*/ 34 h 34"/>
                <a:gd name="T2" fmla="*/ 279 w 295"/>
                <a:gd name="T3" fmla="*/ 34 h 34"/>
                <a:gd name="T4" fmla="*/ 295 w 295"/>
                <a:gd name="T5" fmla="*/ 17 h 34"/>
                <a:gd name="T6" fmla="*/ 279 w 295"/>
                <a:gd name="T7" fmla="*/ 0 h 34"/>
                <a:gd name="T8" fmla="*/ 17 w 295"/>
                <a:gd name="T9" fmla="*/ 0 h 34"/>
                <a:gd name="T10" fmla="*/ 0 w 295"/>
                <a:gd name="T11" fmla="*/ 17 h 34"/>
                <a:gd name="T12" fmla="*/ 17 w 29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295" h="34">
                  <a:moveTo>
                    <a:pt x="17" y="34"/>
                  </a:moveTo>
                  <a:lnTo>
                    <a:pt x="279" y="34"/>
                  </a:lnTo>
                  <a:cubicBezTo>
                    <a:pt x="288" y="34"/>
                    <a:pt x="295" y="26"/>
                    <a:pt x="295" y="17"/>
                  </a:cubicBezTo>
                  <a:cubicBezTo>
                    <a:pt x="295" y="8"/>
                    <a:pt x="288" y="0"/>
                    <a:pt x="279" y="0"/>
                  </a:cubicBezTo>
                  <a:lnTo>
                    <a:pt x="17" y="0"/>
                  </a:lnTo>
                  <a:cubicBezTo>
                    <a:pt x="7" y="0"/>
                    <a:pt x="0" y="8"/>
                    <a:pt x="0" y="17"/>
                  </a:cubicBezTo>
                  <a:cubicBezTo>
                    <a:pt x="0" y="26"/>
                    <a:pt x="7" y="34"/>
                    <a:pt x="17" y="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66" name="Freeform 213">
              <a:extLst>
                <a:ext uri="{FF2B5EF4-FFF2-40B4-BE49-F238E27FC236}">
                  <a16:creationId xmlns:a16="http://schemas.microsoft.com/office/drawing/2014/main" id="{AABAFF38-CEF5-EFCE-13D1-A9FDDF580087}"/>
                </a:ext>
              </a:extLst>
            </p:cNvPr>
            <p:cNvSpPr>
              <a:spLocks/>
            </p:cNvSpPr>
            <p:nvPr/>
          </p:nvSpPr>
          <p:spPr bwMode="auto">
            <a:xfrm>
              <a:off x="663575" y="3865555"/>
              <a:ext cx="176212" cy="20638"/>
            </a:xfrm>
            <a:custGeom>
              <a:avLst/>
              <a:gdLst>
                <a:gd name="T0" fmla="*/ 17 w 295"/>
                <a:gd name="T1" fmla="*/ 33 h 33"/>
                <a:gd name="T2" fmla="*/ 279 w 295"/>
                <a:gd name="T3" fmla="*/ 33 h 33"/>
                <a:gd name="T4" fmla="*/ 295 w 295"/>
                <a:gd name="T5" fmla="*/ 17 h 33"/>
                <a:gd name="T6" fmla="*/ 279 w 295"/>
                <a:gd name="T7" fmla="*/ 0 h 33"/>
                <a:gd name="T8" fmla="*/ 17 w 295"/>
                <a:gd name="T9" fmla="*/ 0 h 33"/>
                <a:gd name="T10" fmla="*/ 0 w 295"/>
                <a:gd name="T11" fmla="*/ 17 h 33"/>
                <a:gd name="T12" fmla="*/ 17 w 29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295" h="33">
                  <a:moveTo>
                    <a:pt x="17" y="33"/>
                  </a:moveTo>
                  <a:lnTo>
                    <a:pt x="279" y="33"/>
                  </a:lnTo>
                  <a:cubicBezTo>
                    <a:pt x="288" y="33"/>
                    <a:pt x="295" y="26"/>
                    <a:pt x="295" y="17"/>
                  </a:cubicBezTo>
                  <a:cubicBezTo>
                    <a:pt x="295" y="7"/>
                    <a:pt x="288" y="0"/>
                    <a:pt x="279" y="0"/>
                  </a:cubicBezTo>
                  <a:lnTo>
                    <a:pt x="17" y="0"/>
                  </a:lnTo>
                  <a:cubicBezTo>
                    <a:pt x="7" y="0"/>
                    <a:pt x="0" y="7"/>
                    <a:pt x="0" y="17"/>
                  </a:cubicBezTo>
                  <a:cubicBezTo>
                    <a:pt x="0" y="26"/>
                    <a:pt x="7" y="33"/>
                    <a:pt x="17"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67" name="Freeform 214">
              <a:extLst>
                <a:ext uri="{FF2B5EF4-FFF2-40B4-BE49-F238E27FC236}">
                  <a16:creationId xmlns:a16="http://schemas.microsoft.com/office/drawing/2014/main" id="{DDF69B41-499C-91E7-096B-B70F07E29EA1}"/>
                </a:ext>
              </a:extLst>
            </p:cNvPr>
            <p:cNvSpPr>
              <a:spLocks/>
            </p:cNvSpPr>
            <p:nvPr/>
          </p:nvSpPr>
          <p:spPr bwMode="auto">
            <a:xfrm>
              <a:off x="493713" y="3919531"/>
              <a:ext cx="176212" cy="19050"/>
            </a:xfrm>
            <a:custGeom>
              <a:avLst/>
              <a:gdLst>
                <a:gd name="T0" fmla="*/ 17 w 295"/>
                <a:gd name="T1" fmla="*/ 33 h 33"/>
                <a:gd name="T2" fmla="*/ 279 w 295"/>
                <a:gd name="T3" fmla="*/ 33 h 33"/>
                <a:gd name="T4" fmla="*/ 295 w 295"/>
                <a:gd name="T5" fmla="*/ 17 h 33"/>
                <a:gd name="T6" fmla="*/ 279 w 295"/>
                <a:gd name="T7" fmla="*/ 0 h 33"/>
                <a:gd name="T8" fmla="*/ 17 w 295"/>
                <a:gd name="T9" fmla="*/ 0 h 33"/>
                <a:gd name="T10" fmla="*/ 0 w 295"/>
                <a:gd name="T11" fmla="*/ 17 h 33"/>
                <a:gd name="T12" fmla="*/ 17 w 29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295" h="33">
                  <a:moveTo>
                    <a:pt x="17" y="33"/>
                  </a:moveTo>
                  <a:lnTo>
                    <a:pt x="279" y="33"/>
                  </a:lnTo>
                  <a:cubicBezTo>
                    <a:pt x="288" y="33"/>
                    <a:pt x="295" y="26"/>
                    <a:pt x="295" y="17"/>
                  </a:cubicBezTo>
                  <a:cubicBezTo>
                    <a:pt x="295" y="8"/>
                    <a:pt x="288" y="0"/>
                    <a:pt x="279" y="0"/>
                  </a:cubicBezTo>
                  <a:lnTo>
                    <a:pt x="17" y="0"/>
                  </a:lnTo>
                  <a:cubicBezTo>
                    <a:pt x="8" y="0"/>
                    <a:pt x="0" y="8"/>
                    <a:pt x="0" y="17"/>
                  </a:cubicBezTo>
                  <a:cubicBezTo>
                    <a:pt x="0" y="26"/>
                    <a:pt x="8" y="33"/>
                    <a:pt x="17"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68" name="Freeform 215">
              <a:extLst>
                <a:ext uri="{FF2B5EF4-FFF2-40B4-BE49-F238E27FC236}">
                  <a16:creationId xmlns:a16="http://schemas.microsoft.com/office/drawing/2014/main" id="{41B6A7E9-13EA-A8D3-C8EB-2DE777318EF5}"/>
                </a:ext>
              </a:extLst>
            </p:cNvPr>
            <p:cNvSpPr>
              <a:spLocks/>
            </p:cNvSpPr>
            <p:nvPr/>
          </p:nvSpPr>
          <p:spPr bwMode="auto">
            <a:xfrm>
              <a:off x="528637" y="3976689"/>
              <a:ext cx="141288" cy="20638"/>
            </a:xfrm>
            <a:custGeom>
              <a:avLst/>
              <a:gdLst>
                <a:gd name="T0" fmla="*/ 221 w 237"/>
                <a:gd name="T1" fmla="*/ 0 h 33"/>
                <a:gd name="T2" fmla="*/ 16 w 237"/>
                <a:gd name="T3" fmla="*/ 0 h 33"/>
                <a:gd name="T4" fmla="*/ 0 w 237"/>
                <a:gd name="T5" fmla="*/ 17 h 33"/>
                <a:gd name="T6" fmla="*/ 16 w 237"/>
                <a:gd name="T7" fmla="*/ 33 h 33"/>
                <a:gd name="T8" fmla="*/ 221 w 237"/>
                <a:gd name="T9" fmla="*/ 33 h 33"/>
                <a:gd name="T10" fmla="*/ 237 w 237"/>
                <a:gd name="T11" fmla="*/ 17 h 33"/>
                <a:gd name="T12" fmla="*/ 221 w 237"/>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237" h="33">
                  <a:moveTo>
                    <a:pt x="221" y="0"/>
                  </a:moveTo>
                  <a:lnTo>
                    <a:pt x="16" y="0"/>
                  </a:lnTo>
                  <a:cubicBezTo>
                    <a:pt x="7" y="0"/>
                    <a:pt x="0" y="7"/>
                    <a:pt x="0" y="17"/>
                  </a:cubicBezTo>
                  <a:cubicBezTo>
                    <a:pt x="0" y="26"/>
                    <a:pt x="7" y="33"/>
                    <a:pt x="16" y="33"/>
                  </a:cubicBezTo>
                  <a:lnTo>
                    <a:pt x="221" y="33"/>
                  </a:lnTo>
                  <a:cubicBezTo>
                    <a:pt x="230" y="33"/>
                    <a:pt x="237" y="26"/>
                    <a:pt x="237" y="17"/>
                  </a:cubicBezTo>
                  <a:cubicBezTo>
                    <a:pt x="237" y="7"/>
                    <a:pt x="230" y="0"/>
                    <a:pt x="22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grpSp>
      <p:cxnSp>
        <p:nvCxnSpPr>
          <p:cNvPr id="445" name="Conector: angular 444">
            <a:extLst>
              <a:ext uri="{FF2B5EF4-FFF2-40B4-BE49-F238E27FC236}">
                <a16:creationId xmlns:a16="http://schemas.microsoft.com/office/drawing/2014/main" id="{3E401106-F9A5-BA0D-0D66-36B4048B232D}"/>
              </a:ext>
            </a:extLst>
          </p:cNvPr>
          <p:cNvCxnSpPr>
            <a:endCxn id="394" idx="0"/>
          </p:cNvCxnSpPr>
          <p:nvPr/>
        </p:nvCxnSpPr>
        <p:spPr>
          <a:xfrm rot="10800000">
            <a:off x="6177650" y="2306489"/>
            <a:ext cx="1410644" cy="165861"/>
          </a:xfrm>
          <a:prstGeom prst="bentConnector4">
            <a:avLst>
              <a:gd name="adj1" fmla="val -6639"/>
              <a:gd name="adj2" fmla="val 237826"/>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224" name="Rectangle 1">
            <a:extLst>
              <a:ext uri="{FF2B5EF4-FFF2-40B4-BE49-F238E27FC236}">
                <a16:creationId xmlns:a16="http://schemas.microsoft.com/office/drawing/2014/main" id="{EE5B27C7-9C63-8CBE-0435-E68CA6F802AD}"/>
              </a:ext>
            </a:extLst>
          </p:cNvPr>
          <p:cNvSpPr/>
          <p:nvPr/>
        </p:nvSpPr>
        <p:spPr>
          <a:xfrm>
            <a:off x="856358" y="4534671"/>
            <a:ext cx="1511111" cy="478388"/>
          </a:xfrm>
          <a:prstGeom prst="roundRect">
            <a:avLst/>
          </a:prstGeom>
          <a:solidFill>
            <a:schemeClr val="accent2">
              <a:lumMod val="20000"/>
              <a:lumOff val="80000"/>
            </a:schemeClr>
          </a:solidFill>
          <a:ln w="6350" cap="flat" cmpd="sng" algn="ctr">
            <a:solidFill>
              <a:schemeClr val="accent2">
                <a:lumMod val="60000"/>
                <a:lumOff val="40000"/>
              </a:schemeClr>
            </a:solidFill>
            <a:prstDash val="solid"/>
            <a:miter lim="800000"/>
            <a:headEnd type="none" w="med" len="med"/>
            <a:tailEnd type="none" w="med" len="med"/>
          </a:ln>
          <a:effectLst/>
        </p:spPr>
        <p:txBody>
          <a:bodyPr vert="horz" rtlCol="0" anchor="t"/>
          <a:lstStyle/>
          <a:p>
            <a:pPr algn="ctr"/>
            <a:r>
              <a:rPr lang="en-GB" sz="1200" b="1" kern="0" noProof="0">
                <a:latin typeface="Calibri" panose="020F0502020204030204"/>
              </a:rPr>
              <a:t>Agentic Process Automation</a:t>
            </a:r>
          </a:p>
        </p:txBody>
      </p:sp>
      <p:grpSp>
        <p:nvGrpSpPr>
          <p:cNvPr id="1232" name="Grupo 47">
            <a:extLst>
              <a:ext uri="{FF2B5EF4-FFF2-40B4-BE49-F238E27FC236}">
                <a16:creationId xmlns:a16="http://schemas.microsoft.com/office/drawing/2014/main" id="{AC5379BE-AADF-D0D7-53DC-4B0558CA62DB}"/>
              </a:ext>
            </a:extLst>
          </p:cNvPr>
          <p:cNvGrpSpPr/>
          <p:nvPr/>
        </p:nvGrpSpPr>
        <p:grpSpPr>
          <a:xfrm>
            <a:off x="926843" y="5085966"/>
            <a:ext cx="1310651" cy="542133"/>
            <a:chOff x="6506289" y="1661460"/>
            <a:chExt cx="1310651" cy="542133"/>
          </a:xfrm>
        </p:grpSpPr>
        <p:grpSp>
          <p:nvGrpSpPr>
            <p:cNvPr id="1233" name="Grupo 49">
              <a:extLst>
                <a:ext uri="{FF2B5EF4-FFF2-40B4-BE49-F238E27FC236}">
                  <a16:creationId xmlns:a16="http://schemas.microsoft.com/office/drawing/2014/main" id="{E966DA25-4F6C-E555-C4A4-0D8B17690030}"/>
                </a:ext>
              </a:extLst>
            </p:cNvPr>
            <p:cNvGrpSpPr/>
            <p:nvPr/>
          </p:nvGrpSpPr>
          <p:grpSpPr>
            <a:xfrm>
              <a:off x="6506289" y="1661460"/>
              <a:ext cx="447834" cy="542133"/>
              <a:chOff x="6314271" y="2697954"/>
              <a:chExt cx="447834" cy="542133"/>
            </a:xfrm>
          </p:grpSpPr>
          <p:sp>
            <p:nvSpPr>
              <p:cNvPr id="1239" name="Elipse 102">
                <a:extLst>
                  <a:ext uri="{FF2B5EF4-FFF2-40B4-BE49-F238E27FC236}">
                    <a16:creationId xmlns:a16="http://schemas.microsoft.com/office/drawing/2014/main" id="{ECB30817-7476-EEA3-B9CD-E54A4A0FD2BE}"/>
                  </a:ext>
                </a:extLst>
              </p:cNvPr>
              <p:cNvSpPr/>
              <p:nvPr/>
            </p:nvSpPr>
            <p:spPr>
              <a:xfrm>
                <a:off x="6314271" y="2706688"/>
                <a:ext cx="447834" cy="533399"/>
              </a:xfrm>
              <a:prstGeom prst="ellipse">
                <a:avLst/>
              </a:prstGeom>
              <a:solidFill>
                <a:srgbClr val="E6F4FA"/>
              </a:solidFill>
              <a:ln w="19050" cap="flat" cmpd="sng" algn="ctr">
                <a:noFill/>
                <a:prstDash val="solid"/>
                <a:miter lim="800000"/>
              </a:ln>
              <a:effectLst>
                <a:glow rad="12700">
                  <a:srgbClr val="156082">
                    <a:alpha val="97000"/>
                  </a:srgbClr>
                </a:glow>
                <a:outerShdw blurRad="50800" dir="7800000" algn="ctr" rotWithShape="0">
                  <a:srgbClr val="000000">
                    <a:alpha val="43137"/>
                  </a:srgbClr>
                </a:outerShdw>
                <a:softEdge rad="0"/>
              </a:effectLst>
              <a:scene3d>
                <a:camera prst="isometricOffAxis1Top"/>
                <a:lightRig rig="chilly" dir="t"/>
              </a:scene3d>
              <a:sp3d extrusionH="82550" contourW="12700" prstMaterial="metal">
                <a:extrusionClr>
                  <a:srgbClr val="FCFDFE"/>
                </a:extrusionClr>
                <a:contourClr>
                  <a:schemeClr val="bg1">
                    <a:lumMod val="75000"/>
                  </a:schemeClr>
                </a:contourClr>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1240" name="Imagem 9" descr="Ícone&#10;&#10;Descrição gerada automaticamente">
                <a:extLst>
                  <a:ext uri="{FF2B5EF4-FFF2-40B4-BE49-F238E27FC236}">
                    <a16:creationId xmlns:a16="http://schemas.microsoft.com/office/drawing/2014/main" id="{621F8398-CF81-38A4-A9E9-A1E5F298E743}"/>
                  </a:ext>
                </a:extLst>
              </p:cNvPr>
              <p:cNvPicPr>
                <a:picLocks noChangeAspect="1"/>
              </p:cNvPicPr>
              <p:nvPr/>
            </p:nvPicPr>
            <p:blipFill>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6397824" y="2697954"/>
                <a:ext cx="280728" cy="309521"/>
              </a:xfrm>
              <a:prstGeom prst="rect">
                <a:avLst/>
              </a:prstGeom>
            </p:spPr>
          </p:pic>
        </p:grpSp>
        <p:grpSp>
          <p:nvGrpSpPr>
            <p:cNvPr id="1234" name="Grupo 50">
              <a:extLst>
                <a:ext uri="{FF2B5EF4-FFF2-40B4-BE49-F238E27FC236}">
                  <a16:creationId xmlns:a16="http://schemas.microsoft.com/office/drawing/2014/main" id="{A0423238-FA4B-98F7-A274-949506FA12AA}"/>
                </a:ext>
              </a:extLst>
            </p:cNvPr>
            <p:cNvGrpSpPr/>
            <p:nvPr/>
          </p:nvGrpSpPr>
          <p:grpSpPr>
            <a:xfrm>
              <a:off x="7420621" y="1731594"/>
              <a:ext cx="396319" cy="388622"/>
              <a:chOff x="5725562" y="3167579"/>
              <a:chExt cx="396319" cy="388622"/>
            </a:xfrm>
          </p:grpSpPr>
          <p:sp>
            <p:nvSpPr>
              <p:cNvPr id="1236" name="Rectángulo: esquinas redondeadas 91">
                <a:extLst>
                  <a:ext uri="{FF2B5EF4-FFF2-40B4-BE49-F238E27FC236}">
                    <a16:creationId xmlns:a16="http://schemas.microsoft.com/office/drawing/2014/main" id="{F6FE4B43-36AF-7ADE-43D4-8CC83E972EEC}"/>
                  </a:ext>
                </a:extLst>
              </p:cNvPr>
              <p:cNvSpPr/>
              <p:nvPr/>
            </p:nvSpPr>
            <p:spPr>
              <a:xfrm>
                <a:off x="5725562" y="3180824"/>
                <a:ext cx="396319" cy="375377"/>
              </a:xfrm>
              <a:prstGeom prst="roundRect">
                <a:avLst/>
              </a:prstGeom>
              <a:solidFill>
                <a:srgbClr val="C4E5F2">
                  <a:alpha val="20000"/>
                </a:srgbClr>
              </a:solidFill>
              <a:ln>
                <a:noFill/>
              </a:ln>
              <a:effectLst/>
              <a:scene3d>
                <a:camera prst="isometricTopUp"/>
                <a:lightRig rig="chilly" dir="t"/>
              </a:scene3d>
              <a:sp3d extrusionH="95250" contourW="12700" prstMaterial="metal">
                <a:extrusionClr>
                  <a:srgbClr val="FCFDFE"/>
                </a:extrusionClr>
                <a:contourClr>
                  <a:schemeClr val="bg1">
                    <a:lumMod val="75000"/>
                  </a:schemeClr>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237" name="Elipse 53">
                <a:extLst>
                  <a:ext uri="{FF2B5EF4-FFF2-40B4-BE49-F238E27FC236}">
                    <a16:creationId xmlns:a16="http://schemas.microsoft.com/office/drawing/2014/main" id="{5FA889E6-196B-DA92-7855-849366880C70}"/>
                  </a:ext>
                </a:extLst>
              </p:cNvPr>
              <p:cNvSpPr/>
              <p:nvPr/>
            </p:nvSpPr>
            <p:spPr>
              <a:xfrm>
                <a:off x="5782274" y="3167579"/>
                <a:ext cx="282894" cy="282894"/>
              </a:xfrm>
              <a:prstGeom prst="ellipse">
                <a:avLst/>
              </a:prstGeom>
              <a:solidFill>
                <a:srgbClr val="FCFD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238" name="Gráfico 54" descr="Inteligencia artificial con relleno sólido">
                <a:extLst>
                  <a:ext uri="{FF2B5EF4-FFF2-40B4-BE49-F238E27FC236}">
                    <a16:creationId xmlns:a16="http://schemas.microsoft.com/office/drawing/2014/main" id="{3BDCD7D0-1D81-108B-C621-4CAD111B7F6C}"/>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5820435" y="3180824"/>
                <a:ext cx="218810" cy="229567"/>
              </a:xfrm>
              <a:prstGeom prst="rect">
                <a:avLst/>
              </a:prstGeom>
            </p:spPr>
          </p:pic>
        </p:grpSp>
        <p:sp>
          <p:nvSpPr>
            <p:cNvPr id="1235" name="Flecha: a la izquierda y derecha 1">
              <a:extLst>
                <a:ext uri="{FF2B5EF4-FFF2-40B4-BE49-F238E27FC236}">
                  <a16:creationId xmlns:a16="http://schemas.microsoft.com/office/drawing/2014/main" id="{3CB15720-3E04-4AEA-0E1C-B6F233774D3F}"/>
                </a:ext>
              </a:extLst>
            </p:cNvPr>
            <p:cNvSpPr/>
            <p:nvPr/>
          </p:nvSpPr>
          <p:spPr>
            <a:xfrm>
              <a:off x="7002902" y="1917622"/>
              <a:ext cx="315200" cy="114249"/>
            </a:xfrm>
            <a:prstGeom prst="leftRightArrow">
              <a:avLst/>
            </a:prstGeom>
            <a:solidFill>
              <a:srgbClr val="7599CF">
                <a:alpha val="50196"/>
              </a:srgbClr>
            </a:solidFill>
            <a:ln w="3175"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mn-cs"/>
              </a:endParaRPr>
            </a:p>
          </p:txBody>
        </p:sp>
      </p:grpSp>
      <p:grpSp>
        <p:nvGrpSpPr>
          <p:cNvPr id="1244" name="Computer9" descr="{&quot;Key&quot;:&quot;POWER_USER_SHAPE_ICON&quot;,&quot;Value&quot;:&quot;POWER_USER_SHAPE_ICON_STYLE_1&quot;}">
            <a:extLst>
              <a:ext uri="{FF2B5EF4-FFF2-40B4-BE49-F238E27FC236}">
                <a16:creationId xmlns:a16="http://schemas.microsoft.com/office/drawing/2014/main" id="{E682965D-1529-D0A9-BB47-025E353B642A}"/>
              </a:ext>
            </a:extLst>
          </p:cNvPr>
          <p:cNvGrpSpPr>
            <a:grpSpLocks noChangeAspect="1"/>
          </p:cNvGrpSpPr>
          <p:nvPr/>
        </p:nvGrpSpPr>
        <p:grpSpPr>
          <a:xfrm flipH="1">
            <a:off x="10731268" y="3257973"/>
            <a:ext cx="676882" cy="589412"/>
            <a:chOff x="2325688" y="5576888"/>
            <a:chExt cx="625475" cy="638175"/>
          </a:xfrm>
          <a:solidFill>
            <a:schemeClr val="tx1"/>
          </a:solidFill>
        </p:grpSpPr>
        <p:sp>
          <p:nvSpPr>
            <p:cNvPr id="1245" name="Freeform 85">
              <a:extLst>
                <a:ext uri="{FF2B5EF4-FFF2-40B4-BE49-F238E27FC236}">
                  <a16:creationId xmlns:a16="http://schemas.microsoft.com/office/drawing/2014/main" id="{DE69BD8F-B79F-D409-1473-598DF74B9497}"/>
                </a:ext>
              </a:extLst>
            </p:cNvPr>
            <p:cNvSpPr>
              <a:spLocks noEditPoints="1"/>
            </p:cNvSpPr>
            <p:nvPr/>
          </p:nvSpPr>
          <p:spPr bwMode="auto">
            <a:xfrm>
              <a:off x="2387600" y="5641976"/>
              <a:ext cx="130175" cy="142875"/>
            </a:xfrm>
            <a:custGeom>
              <a:avLst/>
              <a:gdLst>
                <a:gd name="T0" fmla="*/ 109 w 219"/>
                <a:gd name="T1" fmla="*/ 33 h 241"/>
                <a:gd name="T2" fmla="*/ 185 w 219"/>
                <a:gd name="T3" fmla="*/ 120 h 241"/>
                <a:gd name="T4" fmla="*/ 109 w 219"/>
                <a:gd name="T5" fmla="*/ 207 h 241"/>
                <a:gd name="T6" fmla="*/ 33 w 219"/>
                <a:gd name="T7" fmla="*/ 120 h 241"/>
                <a:gd name="T8" fmla="*/ 109 w 219"/>
                <a:gd name="T9" fmla="*/ 33 h 241"/>
                <a:gd name="T10" fmla="*/ 109 w 219"/>
                <a:gd name="T11" fmla="*/ 241 h 241"/>
                <a:gd name="T12" fmla="*/ 219 w 219"/>
                <a:gd name="T13" fmla="*/ 120 h 241"/>
                <a:gd name="T14" fmla="*/ 109 w 219"/>
                <a:gd name="T15" fmla="*/ 0 h 241"/>
                <a:gd name="T16" fmla="*/ 0 w 219"/>
                <a:gd name="T17" fmla="*/ 120 h 241"/>
                <a:gd name="T18" fmla="*/ 109 w 219"/>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9" h="241">
                  <a:moveTo>
                    <a:pt x="109" y="33"/>
                  </a:moveTo>
                  <a:cubicBezTo>
                    <a:pt x="151" y="33"/>
                    <a:pt x="185" y="72"/>
                    <a:pt x="185" y="120"/>
                  </a:cubicBezTo>
                  <a:cubicBezTo>
                    <a:pt x="185" y="168"/>
                    <a:pt x="151" y="207"/>
                    <a:pt x="109" y="207"/>
                  </a:cubicBezTo>
                  <a:cubicBezTo>
                    <a:pt x="67" y="207"/>
                    <a:pt x="33" y="168"/>
                    <a:pt x="33" y="120"/>
                  </a:cubicBezTo>
                  <a:cubicBezTo>
                    <a:pt x="33" y="72"/>
                    <a:pt x="67" y="33"/>
                    <a:pt x="109" y="33"/>
                  </a:cubicBezTo>
                  <a:close/>
                  <a:moveTo>
                    <a:pt x="109" y="241"/>
                  </a:moveTo>
                  <a:cubicBezTo>
                    <a:pt x="170" y="241"/>
                    <a:pt x="219" y="187"/>
                    <a:pt x="219" y="120"/>
                  </a:cubicBezTo>
                  <a:cubicBezTo>
                    <a:pt x="219" y="54"/>
                    <a:pt x="170" y="0"/>
                    <a:pt x="109" y="0"/>
                  </a:cubicBezTo>
                  <a:cubicBezTo>
                    <a:pt x="49" y="0"/>
                    <a:pt x="0" y="54"/>
                    <a:pt x="0" y="120"/>
                  </a:cubicBezTo>
                  <a:cubicBezTo>
                    <a:pt x="0" y="187"/>
                    <a:pt x="49" y="241"/>
                    <a:pt x="109" y="2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b="1" noProof="0"/>
            </a:p>
          </p:txBody>
        </p:sp>
        <p:sp>
          <p:nvSpPr>
            <p:cNvPr id="1246" name="Freeform 86">
              <a:extLst>
                <a:ext uri="{FF2B5EF4-FFF2-40B4-BE49-F238E27FC236}">
                  <a16:creationId xmlns:a16="http://schemas.microsoft.com/office/drawing/2014/main" id="{BCD41400-2F29-78E8-341F-03EC8B0C8307}"/>
                </a:ext>
              </a:extLst>
            </p:cNvPr>
            <p:cNvSpPr>
              <a:spLocks noEditPoints="1"/>
            </p:cNvSpPr>
            <p:nvPr/>
          </p:nvSpPr>
          <p:spPr bwMode="auto">
            <a:xfrm>
              <a:off x="2325688" y="5576888"/>
              <a:ext cx="625475" cy="638175"/>
            </a:xfrm>
            <a:custGeom>
              <a:avLst/>
              <a:gdLst>
                <a:gd name="T0" fmla="*/ 312 w 1045"/>
                <a:gd name="T1" fmla="*/ 575 h 1067"/>
                <a:gd name="T2" fmla="*/ 276 w 1045"/>
                <a:gd name="T3" fmla="*/ 539 h 1067"/>
                <a:gd name="T4" fmla="*/ 226 w 1045"/>
                <a:gd name="T5" fmla="*/ 513 h 1067"/>
                <a:gd name="T6" fmla="*/ 247 w 1045"/>
                <a:gd name="T7" fmla="*/ 557 h 1067"/>
                <a:gd name="T8" fmla="*/ 247 w 1045"/>
                <a:gd name="T9" fmla="*/ 687 h 1067"/>
                <a:gd name="T10" fmla="*/ 387 w 1045"/>
                <a:gd name="T11" fmla="*/ 704 h 1067"/>
                <a:gd name="T12" fmla="*/ 514 w 1045"/>
                <a:gd name="T13" fmla="*/ 1034 h 1067"/>
                <a:gd name="T14" fmla="*/ 379 w 1045"/>
                <a:gd name="T15" fmla="*/ 825 h 1067"/>
                <a:gd name="T16" fmla="*/ 185 w 1045"/>
                <a:gd name="T17" fmla="*/ 813 h 1067"/>
                <a:gd name="T18" fmla="*/ 115 w 1045"/>
                <a:gd name="T19" fmla="*/ 532 h 1067"/>
                <a:gd name="T20" fmla="*/ 131 w 1045"/>
                <a:gd name="T21" fmla="*/ 424 h 1067"/>
                <a:gd name="T22" fmla="*/ 243 w 1045"/>
                <a:gd name="T23" fmla="*/ 407 h 1067"/>
                <a:gd name="T24" fmla="*/ 370 w 1045"/>
                <a:gd name="T25" fmla="*/ 526 h 1067"/>
                <a:gd name="T26" fmla="*/ 497 w 1045"/>
                <a:gd name="T27" fmla="*/ 530 h 1067"/>
                <a:gd name="T28" fmla="*/ 488 w 1045"/>
                <a:gd name="T29" fmla="*/ 564 h 1067"/>
                <a:gd name="T30" fmla="*/ 442 w 1045"/>
                <a:gd name="T31" fmla="*/ 575 h 1067"/>
                <a:gd name="T32" fmla="*/ 53 w 1045"/>
                <a:gd name="T33" fmla="*/ 888 h 1067"/>
                <a:gd name="T34" fmla="*/ 33 w 1045"/>
                <a:gd name="T35" fmla="*/ 427 h 1067"/>
                <a:gd name="T36" fmla="*/ 61 w 1045"/>
                <a:gd name="T37" fmla="*/ 407 h 1067"/>
                <a:gd name="T38" fmla="*/ 81 w 1045"/>
                <a:gd name="T39" fmla="*/ 464 h 1067"/>
                <a:gd name="T40" fmla="*/ 81 w 1045"/>
                <a:gd name="T41" fmla="*/ 532 h 1067"/>
                <a:gd name="T42" fmla="*/ 100 w 1045"/>
                <a:gd name="T43" fmla="*/ 848 h 1067"/>
                <a:gd name="T44" fmla="*/ 280 w 1045"/>
                <a:gd name="T45" fmla="*/ 868 h 1067"/>
                <a:gd name="T46" fmla="*/ 787 w 1045"/>
                <a:gd name="T47" fmla="*/ 347 h 1067"/>
                <a:gd name="T48" fmla="*/ 690 w 1045"/>
                <a:gd name="T49" fmla="*/ 406 h 1067"/>
                <a:gd name="T50" fmla="*/ 727 w 1045"/>
                <a:gd name="T51" fmla="*/ 34 h 1067"/>
                <a:gd name="T52" fmla="*/ 787 w 1045"/>
                <a:gd name="T53" fmla="*/ 347 h 1067"/>
                <a:gd name="T54" fmla="*/ 785 w 1045"/>
                <a:gd name="T55" fmla="*/ 575 h 1067"/>
                <a:gd name="T56" fmla="*/ 932 w 1045"/>
                <a:gd name="T57" fmla="*/ 535 h 1067"/>
                <a:gd name="T58" fmla="*/ 949 w 1045"/>
                <a:gd name="T59" fmla="*/ 220 h 1067"/>
                <a:gd name="T60" fmla="*/ 820 w 1045"/>
                <a:gd name="T61" fmla="*/ 203 h 1067"/>
                <a:gd name="T62" fmla="*/ 727 w 1045"/>
                <a:gd name="T63" fmla="*/ 0 h 1067"/>
                <a:gd name="T64" fmla="*/ 657 w 1045"/>
                <a:gd name="T65" fmla="*/ 17 h 1067"/>
                <a:gd name="T66" fmla="*/ 674 w 1045"/>
                <a:gd name="T67" fmla="*/ 440 h 1067"/>
                <a:gd name="T68" fmla="*/ 820 w 1045"/>
                <a:gd name="T69" fmla="*/ 347 h 1067"/>
                <a:gd name="T70" fmla="*/ 916 w 1045"/>
                <a:gd name="T71" fmla="*/ 237 h 1067"/>
                <a:gd name="T72" fmla="*/ 769 w 1045"/>
                <a:gd name="T73" fmla="*/ 501 h 1067"/>
                <a:gd name="T74" fmla="*/ 752 w 1045"/>
                <a:gd name="T75" fmla="*/ 575 h 1067"/>
                <a:gd name="T76" fmla="*/ 531 w 1045"/>
                <a:gd name="T77" fmla="*/ 536 h 1067"/>
                <a:gd name="T78" fmla="*/ 513 w 1045"/>
                <a:gd name="T79" fmla="*/ 497 h 1067"/>
                <a:gd name="T80" fmla="*/ 281 w 1045"/>
                <a:gd name="T81" fmla="*/ 389 h 1067"/>
                <a:gd name="T82" fmla="*/ 172 w 1045"/>
                <a:gd name="T83" fmla="*/ 374 h 1067"/>
                <a:gd name="T84" fmla="*/ 107 w 1045"/>
                <a:gd name="T85" fmla="*/ 401 h 1067"/>
                <a:gd name="T86" fmla="*/ 53 w 1045"/>
                <a:gd name="T87" fmla="*/ 374 h 1067"/>
                <a:gd name="T88" fmla="*/ 0 w 1045"/>
                <a:gd name="T89" fmla="*/ 868 h 1067"/>
                <a:gd name="T90" fmla="*/ 166 w 1045"/>
                <a:gd name="T91" fmla="*/ 922 h 1067"/>
                <a:gd name="T92" fmla="*/ 95 w 1045"/>
                <a:gd name="T93" fmla="*/ 1013 h 1067"/>
                <a:gd name="T94" fmla="*/ 105 w 1045"/>
                <a:gd name="T95" fmla="*/ 1044 h 1067"/>
                <a:gd name="T96" fmla="*/ 166 w 1045"/>
                <a:gd name="T97" fmla="*/ 1006 h 1067"/>
                <a:gd name="T98" fmla="*/ 183 w 1045"/>
                <a:gd name="T99" fmla="*/ 1067 h 1067"/>
                <a:gd name="T100" fmla="*/ 199 w 1045"/>
                <a:gd name="T101" fmla="*/ 1006 h 1067"/>
                <a:gd name="T102" fmla="*/ 276 w 1045"/>
                <a:gd name="T103" fmla="*/ 1038 h 1067"/>
                <a:gd name="T104" fmla="*/ 199 w 1045"/>
                <a:gd name="T105" fmla="*/ 965 h 1067"/>
                <a:gd name="T106" fmla="*/ 260 w 1045"/>
                <a:gd name="T107" fmla="*/ 922 h 1067"/>
                <a:gd name="T108" fmla="*/ 308 w 1045"/>
                <a:gd name="T109" fmla="*/ 847 h 1067"/>
                <a:gd name="T110" fmla="*/ 419 w 1045"/>
                <a:gd name="T111" fmla="*/ 1056 h 1067"/>
                <a:gd name="T112" fmla="*/ 535 w 1045"/>
                <a:gd name="T113" fmla="*/ 1067 h 1067"/>
                <a:gd name="T114" fmla="*/ 551 w 1045"/>
                <a:gd name="T115" fmla="*/ 1047 h 1067"/>
                <a:gd name="T116" fmla="*/ 387 w 1045"/>
                <a:gd name="T117" fmla="*/ 671 h 1067"/>
                <a:gd name="T118" fmla="*/ 281 w 1045"/>
                <a:gd name="T119" fmla="*/ 608 h 1067"/>
                <a:gd name="T120" fmla="*/ 462 w 1045"/>
                <a:gd name="T121" fmla="*/ 608 h 1067"/>
                <a:gd name="T122" fmla="*/ 1045 w 1045"/>
                <a:gd name="T123" fmla="*/ 591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5" h="1067">
                  <a:moveTo>
                    <a:pt x="442" y="575"/>
                  </a:moveTo>
                  <a:lnTo>
                    <a:pt x="312" y="575"/>
                  </a:lnTo>
                  <a:lnTo>
                    <a:pt x="276" y="539"/>
                  </a:lnTo>
                  <a:lnTo>
                    <a:pt x="276" y="539"/>
                  </a:lnTo>
                  <a:lnTo>
                    <a:pt x="250" y="513"/>
                  </a:lnTo>
                  <a:cubicBezTo>
                    <a:pt x="243" y="506"/>
                    <a:pt x="233" y="506"/>
                    <a:pt x="226" y="513"/>
                  </a:cubicBezTo>
                  <a:cubicBezTo>
                    <a:pt x="220" y="519"/>
                    <a:pt x="220" y="530"/>
                    <a:pt x="226" y="536"/>
                  </a:cubicBezTo>
                  <a:lnTo>
                    <a:pt x="247" y="557"/>
                  </a:lnTo>
                  <a:lnTo>
                    <a:pt x="247" y="591"/>
                  </a:lnTo>
                  <a:lnTo>
                    <a:pt x="247" y="687"/>
                  </a:lnTo>
                  <a:cubicBezTo>
                    <a:pt x="247" y="697"/>
                    <a:pt x="255" y="704"/>
                    <a:pt x="264" y="704"/>
                  </a:cubicBezTo>
                  <a:lnTo>
                    <a:pt x="387" y="704"/>
                  </a:lnTo>
                  <a:cubicBezTo>
                    <a:pt x="416" y="704"/>
                    <a:pt x="441" y="724"/>
                    <a:pt x="448" y="752"/>
                  </a:cubicBezTo>
                  <a:lnTo>
                    <a:pt x="514" y="1034"/>
                  </a:lnTo>
                  <a:lnTo>
                    <a:pt x="447" y="1034"/>
                  </a:lnTo>
                  <a:lnTo>
                    <a:pt x="379" y="825"/>
                  </a:lnTo>
                  <a:cubicBezTo>
                    <a:pt x="377" y="818"/>
                    <a:pt x="371" y="813"/>
                    <a:pt x="363" y="813"/>
                  </a:cubicBezTo>
                  <a:lnTo>
                    <a:pt x="185" y="813"/>
                  </a:lnTo>
                  <a:cubicBezTo>
                    <a:pt x="147" y="813"/>
                    <a:pt x="117" y="782"/>
                    <a:pt x="117" y="744"/>
                  </a:cubicBezTo>
                  <a:lnTo>
                    <a:pt x="115" y="532"/>
                  </a:lnTo>
                  <a:lnTo>
                    <a:pt x="114" y="463"/>
                  </a:lnTo>
                  <a:cubicBezTo>
                    <a:pt x="115" y="449"/>
                    <a:pt x="120" y="435"/>
                    <a:pt x="131" y="424"/>
                  </a:cubicBezTo>
                  <a:cubicBezTo>
                    <a:pt x="142" y="413"/>
                    <a:pt x="157" y="407"/>
                    <a:pt x="172" y="407"/>
                  </a:cubicBezTo>
                  <a:lnTo>
                    <a:pt x="243" y="407"/>
                  </a:lnTo>
                  <a:cubicBezTo>
                    <a:pt x="248" y="407"/>
                    <a:pt x="254" y="409"/>
                    <a:pt x="257" y="413"/>
                  </a:cubicBezTo>
                  <a:lnTo>
                    <a:pt x="370" y="526"/>
                  </a:lnTo>
                  <a:cubicBezTo>
                    <a:pt x="373" y="529"/>
                    <a:pt x="377" y="530"/>
                    <a:pt x="382" y="530"/>
                  </a:cubicBezTo>
                  <a:lnTo>
                    <a:pt x="497" y="530"/>
                  </a:lnTo>
                  <a:lnTo>
                    <a:pt x="498" y="537"/>
                  </a:lnTo>
                  <a:cubicBezTo>
                    <a:pt x="498" y="547"/>
                    <a:pt x="495" y="556"/>
                    <a:pt x="488" y="564"/>
                  </a:cubicBezTo>
                  <a:cubicBezTo>
                    <a:pt x="481" y="571"/>
                    <a:pt x="472" y="575"/>
                    <a:pt x="462" y="575"/>
                  </a:cubicBezTo>
                  <a:lnTo>
                    <a:pt x="442" y="575"/>
                  </a:lnTo>
                  <a:close/>
                  <a:moveTo>
                    <a:pt x="260" y="888"/>
                  </a:moveTo>
                  <a:lnTo>
                    <a:pt x="53" y="888"/>
                  </a:lnTo>
                  <a:cubicBezTo>
                    <a:pt x="42" y="888"/>
                    <a:pt x="33" y="879"/>
                    <a:pt x="33" y="868"/>
                  </a:cubicBezTo>
                  <a:lnTo>
                    <a:pt x="33" y="427"/>
                  </a:lnTo>
                  <a:cubicBezTo>
                    <a:pt x="33" y="416"/>
                    <a:pt x="42" y="407"/>
                    <a:pt x="53" y="407"/>
                  </a:cubicBezTo>
                  <a:lnTo>
                    <a:pt x="61" y="407"/>
                  </a:lnTo>
                  <a:cubicBezTo>
                    <a:pt x="72" y="407"/>
                    <a:pt x="81" y="416"/>
                    <a:pt x="81" y="427"/>
                  </a:cubicBezTo>
                  <a:lnTo>
                    <a:pt x="81" y="464"/>
                  </a:lnTo>
                  <a:cubicBezTo>
                    <a:pt x="81" y="465"/>
                    <a:pt x="81" y="465"/>
                    <a:pt x="81" y="466"/>
                  </a:cubicBezTo>
                  <a:lnTo>
                    <a:pt x="81" y="532"/>
                  </a:lnTo>
                  <a:lnTo>
                    <a:pt x="83" y="832"/>
                  </a:lnTo>
                  <a:cubicBezTo>
                    <a:pt x="83" y="841"/>
                    <a:pt x="90" y="848"/>
                    <a:pt x="100" y="848"/>
                  </a:cubicBezTo>
                  <a:lnTo>
                    <a:pt x="260" y="848"/>
                  </a:lnTo>
                  <a:cubicBezTo>
                    <a:pt x="271" y="848"/>
                    <a:pt x="280" y="857"/>
                    <a:pt x="280" y="868"/>
                  </a:cubicBezTo>
                  <a:cubicBezTo>
                    <a:pt x="280" y="879"/>
                    <a:pt x="271" y="888"/>
                    <a:pt x="260" y="888"/>
                  </a:cubicBezTo>
                  <a:close/>
                  <a:moveTo>
                    <a:pt x="787" y="347"/>
                  </a:moveTo>
                  <a:cubicBezTo>
                    <a:pt x="787" y="380"/>
                    <a:pt x="760" y="406"/>
                    <a:pt x="727" y="406"/>
                  </a:cubicBezTo>
                  <a:lnTo>
                    <a:pt x="690" y="406"/>
                  </a:lnTo>
                  <a:lnTo>
                    <a:pt x="690" y="34"/>
                  </a:lnTo>
                  <a:lnTo>
                    <a:pt x="727" y="34"/>
                  </a:lnTo>
                  <a:cubicBezTo>
                    <a:pt x="760" y="34"/>
                    <a:pt x="787" y="60"/>
                    <a:pt x="787" y="93"/>
                  </a:cubicBezTo>
                  <a:lnTo>
                    <a:pt x="787" y="347"/>
                  </a:lnTo>
                  <a:close/>
                  <a:moveTo>
                    <a:pt x="1029" y="575"/>
                  </a:moveTo>
                  <a:lnTo>
                    <a:pt x="785" y="575"/>
                  </a:lnTo>
                  <a:lnTo>
                    <a:pt x="785" y="535"/>
                  </a:lnTo>
                  <a:lnTo>
                    <a:pt x="932" y="535"/>
                  </a:lnTo>
                  <a:cubicBezTo>
                    <a:pt x="942" y="535"/>
                    <a:pt x="949" y="527"/>
                    <a:pt x="949" y="518"/>
                  </a:cubicBezTo>
                  <a:lnTo>
                    <a:pt x="949" y="220"/>
                  </a:lnTo>
                  <a:cubicBezTo>
                    <a:pt x="949" y="211"/>
                    <a:pt x="942" y="203"/>
                    <a:pt x="932" y="203"/>
                  </a:cubicBezTo>
                  <a:lnTo>
                    <a:pt x="820" y="203"/>
                  </a:lnTo>
                  <a:lnTo>
                    <a:pt x="820" y="93"/>
                  </a:lnTo>
                  <a:cubicBezTo>
                    <a:pt x="820" y="42"/>
                    <a:pt x="778" y="0"/>
                    <a:pt x="727" y="0"/>
                  </a:cubicBezTo>
                  <a:lnTo>
                    <a:pt x="674" y="0"/>
                  </a:lnTo>
                  <a:cubicBezTo>
                    <a:pt x="665" y="0"/>
                    <a:pt x="657" y="8"/>
                    <a:pt x="657" y="17"/>
                  </a:cubicBezTo>
                  <a:lnTo>
                    <a:pt x="657" y="423"/>
                  </a:lnTo>
                  <a:cubicBezTo>
                    <a:pt x="657" y="432"/>
                    <a:pt x="665" y="440"/>
                    <a:pt x="674" y="440"/>
                  </a:cubicBezTo>
                  <a:lnTo>
                    <a:pt x="727" y="440"/>
                  </a:lnTo>
                  <a:cubicBezTo>
                    <a:pt x="778" y="440"/>
                    <a:pt x="820" y="398"/>
                    <a:pt x="820" y="347"/>
                  </a:cubicBezTo>
                  <a:lnTo>
                    <a:pt x="820" y="237"/>
                  </a:lnTo>
                  <a:lnTo>
                    <a:pt x="916" y="237"/>
                  </a:lnTo>
                  <a:lnTo>
                    <a:pt x="916" y="501"/>
                  </a:lnTo>
                  <a:lnTo>
                    <a:pt x="769" y="501"/>
                  </a:lnTo>
                  <a:cubicBezTo>
                    <a:pt x="759" y="501"/>
                    <a:pt x="752" y="509"/>
                    <a:pt x="752" y="518"/>
                  </a:cubicBezTo>
                  <a:lnTo>
                    <a:pt x="752" y="575"/>
                  </a:lnTo>
                  <a:lnTo>
                    <a:pt x="521" y="575"/>
                  </a:lnTo>
                  <a:cubicBezTo>
                    <a:pt x="528" y="563"/>
                    <a:pt x="532" y="550"/>
                    <a:pt x="531" y="536"/>
                  </a:cubicBezTo>
                  <a:lnTo>
                    <a:pt x="530" y="513"/>
                  </a:lnTo>
                  <a:cubicBezTo>
                    <a:pt x="530" y="504"/>
                    <a:pt x="522" y="497"/>
                    <a:pt x="513" y="497"/>
                  </a:cubicBezTo>
                  <a:lnTo>
                    <a:pt x="389" y="497"/>
                  </a:lnTo>
                  <a:lnTo>
                    <a:pt x="281" y="389"/>
                  </a:lnTo>
                  <a:cubicBezTo>
                    <a:pt x="271" y="379"/>
                    <a:pt x="257" y="374"/>
                    <a:pt x="243" y="374"/>
                  </a:cubicBezTo>
                  <a:lnTo>
                    <a:pt x="172" y="374"/>
                  </a:lnTo>
                  <a:cubicBezTo>
                    <a:pt x="148" y="374"/>
                    <a:pt x="125" y="383"/>
                    <a:pt x="107" y="401"/>
                  </a:cubicBezTo>
                  <a:cubicBezTo>
                    <a:pt x="107" y="401"/>
                    <a:pt x="107" y="401"/>
                    <a:pt x="107" y="401"/>
                  </a:cubicBezTo>
                  <a:cubicBezTo>
                    <a:pt x="98" y="385"/>
                    <a:pt x="81" y="374"/>
                    <a:pt x="61" y="374"/>
                  </a:cubicBezTo>
                  <a:lnTo>
                    <a:pt x="53" y="374"/>
                  </a:lnTo>
                  <a:cubicBezTo>
                    <a:pt x="24" y="374"/>
                    <a:pt x="0" y="398"/>
                    <a:pt x="0" y="427"/>
                  </a:cubicBezTo>
                  <a:lnTo>
                    <a:pt x="0" y="868"/>
                  </a:lnTo>
                  <a:cubicBezTo>
                    <a:pt x="0" y="898"/>
                    <a:pt x="24" y="922"/>
                    <a:pt x="53" y="922"/>
                  </a:cubicBezTo>
                  <a:lnTo>
                    <a:pt x="166" y="922"/>
                  </a:lnTo>
                  <a:lnTo>
                    <a:pt x="166" y="965"/>
                  </a:lnTo>
                  <a:lnTo>
                    <a:pt x="95" y="1013"/>
                  </a:lnTo>
                  <a:cubicBezTo>
                    <a:pt x="88" y="1018"/>
                    <a:pt x="86" y="1029"/>
                    <a:pt x="91" y="1036"/>
                  </a:cubicBezTo>
                  <a:cubicBezTo>
                    <a:pt x="94" y="1041"/>
                    <a:pt x="99" y="1044"/>
                    <a:pt x="105" y="1044"/>
                  </a:cubicBezTo>
                  <a:cubicBezTo>
                    <a:pt x="108" y="1044"/>
                    <a:pt x="111" y="1043"/>
                    <a:pt x="114" y="1041"/>
                  </a:cubicBezTo>
                  <a:lnTo>
                    <a:pt x="166" y="1006"/>
                  </a:lnTo>
                  <a:lnTo>
                    <a:pt x="166" y="1050"/>
                  </a:lnTo>
                  <a:cubicBezTo>
                    <a:pt x="166" y="1060"/>
                    <a:pt x="173" y="1067"/>
                    <a:pt x="183" y="1067"/>
                  </a:cubicBezTo>
                  <a:cubicBezTo>
                    <a:pt x="192" y="1067"/>
                    <a:pt x="199" y="1060"/>
                    <a:pt x="199" y="1050"/>
                  </a:cubicBezTo>
                  <a:lnTo>
                    <a:pt x="199" y="1006"/>
                  </a:lnTo>
                  <a:lnTo>
                    <a:pt x="253" y="1043"/>
                  </a:lnTo>
                  <a:cubicBezTo>
                    <a:pt x="261" y="1048"/>
                    <a:pt x="271" y="1046"/>
                    <a:pt x="276" y="1038"/>
                  </a:cubicBezTo>
                  <a:cubicBezTo>
                    <a:pt x="281" y="1031"/>
                    <a:pt x="279" y="1020"/>
                    <a:pt x="272" y="1015"/>
                  </a:cubicBezTo>
                  <a:lnTo>
                    <a:pt x="199" y="965"/>
                  </a:lnTo>
                  <a:lnTo>
                    <a:pt x="199" y="922"/>
                  </a:lnTo>
                  <a:lnTo>
                    <a:pt x="260" y="922"/>
                  </a:lnTo>
                  <a:cubicBezTo>
                    <a:pt x="289" y="922"/>
                    <a:pt x="313" y="898"/>
                    <a:pt x="313" y="868"/>
                  </a:cubicBezTo>
                  <a:cubicBezTo>
                    <a:pt x="313" y="861"/>
                    <a:pt x="311" y="853"/>
                    <a:pt x="308" y="847"/>
                  </a:cubicBezTo>
                  <a:lnTo>
                    <a:pt x="351" y="847"/>
                  </a:lnTo>
                  <a:lnTo>
                    <a:pt x="419" y="1056"/>
                  </a:lnTo>
                  <a:cubicBezTo>
                    <a:pt x="422" y="1062"/>
                    <a:pt x="428" y="1067"/>
                    <a:pt x="435" y="1067"/>
                  </a:cubicBezTo>
                  <a:lnTo>
                    <a:pt x="535" y="1067"/>
                  </a:lnTo>
                  <a:cubicBezTo>
                    <a:pt x="540" y="1067"/>
                    <a:pt x="545" y="1065"/>
                    <a:pt x="548" y="1061"/>
                  </a:cubicBezTo>
                  <a:cubicBezTo>
                    <a:pt x="551" y="1057"/>
                    <a:pt x="552" y="1051"/>
                    <a:pt x="551" y="1047"/>
                  </a:cubicBezTo>
                  <a:lnTo>
                    <a:pt x="480" y="744"/>
                  </a:lnTo>
                  <a:cubicBezTo>
                    <a:pt x="470" y="701"/>
                    <a:pt x="432" y="671"/>
                    <a:pt x="387" y="671"/>
                  </a:cubicBezTo>
                  <a:lnTo>
                    <a:pt x="281" y="671"/>
                  </a:lnTo>
                  <a:lnTo>
                    <a:pt x="281" y="608"/>
                  </a:lnTo>
                  <a:lnTo>
                    <a:pt x="442" y="608"/>
                  </a:lnTo>
                  <a:lnTo>
                    <a:pt x="462" y="608"/>
                  </a:lnTo>
                  <a:lnTo>
                    <a:pt x="1029" y="608"/>
                  </a:lnTo>
                  <a:cubicBezTo>
                    <a:pt x="1038" y="608"/>
                    <a:pt x="1045" y="601"/>
                    <a:pt x="1045" y="591"/>
                  </a:cubicBezTo>
                  <a:cubicBezTo>
                    <a:pt x="1045" y="582"/>
                    <a:pt x="1038" y="575"/>
                    <a:pt x="1029" y="57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b="1" noProof="0"/>
            </a:p>
          </p:txBody>
        </p:sp>
      </p:grpSp>
      <p:sp>
        <p:nvSpPr>
          <p:cNvPr id="1251" name="Rectángulo: esquinas redondeadas 1250">
            <a:extLst>
              <a:ext uri="{FF2B5EF4-FFF2-40B4-BE49-F238E27FC236}">
                <a16:creationId xmlns:a16="http://schemas.microsoft.com/office/drawing/2014/main" id="{0CB825C6-96DE-55FF-4860-EDAAC0377571}"/>
              </a:ext>
            </a:extLst>
          </p:cNvPr>
          <p:cNvSpPr/>
          <p:nvPr/>
        </p:nvSpPr>
        <p:spPr>
          <a:xfrm>
            <a:off x="4381229" y="4386508"/>
            <a:ext cx="346877" cy="331722"/>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1252" name="Conector recto de flecha 1251">
            <a:extLst>
              <a:ext uri="{FF2B5EF4-FFF2-40B4-BE49-F238E27FC236}">
                <a16:creationId xmlns:a16="http://schemas.microsoft.com/office/drawing/2014/main" id="{2EA0ADD6-3159-E4E9-A5B1-7EC53CA204C7}"/>
              </a:ext>
            </a:extLst>
          </p:cNvPr>
          <p:cNvCxnSpPr>
            <a:cxnSpLocks/>
            <a:stCxn id="1251" idx="3"/>
          </p:cNvCxnSpPr>
          <p:nvPr/>
        </p:nvCxnSpPr>
        <p:spPr>
          <a:xfrm flipV="1">
            <a:off x="4728106" y="4550057"/>
            <a:ext cx="220589" cy="231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54" name="Conector: curvado 1253">
            <a:extLst>
              <a:ext uri="{FF2B5EF4-FFF2-40B4-BE49-F238E27FC236}">
                <a16:creationId xmlns:a16="http://schemas.microsoft.com/office/drawing/2014/main" id="{6B346132-01FF-B1F3-F068-2C9E68D77620}"/>
              </a:ext>
            </a:extLst>
          </p:cNvPr>
          <p:cNvCxnSpPr>
            <a:cxnSpLocks/>
          </p:cNvCxnSpPr>
          <p:nvPr/>
        </p:nvCxnSpPr>
        <p:spPr>
          <a:xfrm flipV="1">
            <a:off x="5279056" y="4162836"/>
            <a:ext cx="379135" cy="393194"/>
          </a:xfrm>
          <a:prstGeom prst="curvedConnector3">
            <a:avLst>
              <a:gd name="adj1" fmla="val 50000"/>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55" name="Conector: curvado 1254">
            <a:extLst>
              <a:ext uri="{FF2B5EF4-FFF2-40B4-BE49-F238E27FC236}">
                <a16:creationId xmlns:a16="http://schemas.microsoft.com/office/drawing/2014/main" id="{5430E367-8375-D619-C37E-FB4F48621D2C}"/>
              </a:ext>
            </a:extLst>
          </p:cNvPr>
          <p:cNvCxnSpPr>
            <a:cxnSpLocks/>
          </p:cNvCxnSpPr>
          <p:nvPr/>
        </p:nvCxnSpPr>
        <p:spPr>
          <a:xfrm>
            <a:off x="5298048" y="4545426"/>
            <a:ext cx="384291" cy="326745"/>
          </a:xfrm>
          <a:prstGeom prst="curvedConnector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56" name="Conector recto de flecha 1255">
            <a:extLst>
              <a:ext uri="{FF2B5EF4-FFF2-40B4-BE49-F238E27FC236}">
                <a16:creationId xmlns:a16="http://schemas.microsoft.com/office/drawing/2014/main" id="{65F21DEF-801D-FE67-E540-F899CF7F5DA5}"/>
              </a:ext>
            </a:extLst>
          </p:cNvPr>
          <p:cNvCxnSpPr>
            <a:cxnSpLocks/>
          </p:cNvCxnSpPr>
          <p:nvPr/>
        </p:nvCxnSpPr>
        <p:spPr>
          <a:xfrm>
            <a:off x="6029639" y="4151297"/>
            <a:ext cx="284460"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57" name="Conector recto de flecha 1256">
            <a:extLst>
              <a:ext uri="{FF2B5EF4-FFF2-40B4-BE49-F238E27FC236}">
                <a16:creationId xmlns:a16="http://schemas.microsoft.com/office/drawing/2014/main" id="{D0A1163F-610E-6EE8-FBAB-4F980454F490}"/>
              </a:ext>
            </a:extLst>
          </p:cNvPr>
          <p:cNvCxnSpPr>
            <a:cxnSpLocks/>
            <a:endCxn id="1288" idx="1"/>
          </p:cNvCxnSpPr>
          <p:nvPr/>
        </p:nvCxnSpPr>
        <p:spPr>
          <a:xfrm>
            <a:off x="6916754" y="4029811"/>
            <a:ext cx="258992"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259" name="Rectángulo: esquinas redondeadas 1258">
            <a:extLst>
              <a:ext uri="{FF2B5EF4-FFF2-40B4-BE49-F238E27FC236}">
                <a16:creationId xmlns:a16="http://schemas.microsoft.com/office/drawing/2014/main" id="{A41A1B3D-30A8-41B5-7F5E-112EA98AFC3F}"/>
              </a:ext>
            </a:extLst>
          </p:cNvPr>
          <p:cNvSpPr/>
          <p:nvPr/>
        </p:nvSpPr>
        <p:spPr>
          <a:xfrm>
            <a:off x="4948695" y="4384196"/>
            <a:ext cx="346877" cy="331722"/>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269" name="Rectángulo: esquinas redondeadas 1268">
            <a:extLst>
              <a:ext uri="{FF2B5EF4-FFF2-40B4-BE49-F238E27FC236}">
                <a16:creationId xmlns:a16="http://schemas.microsoft.com/office/drawing/2014/main" id="{EB3037FB-24E9-18F1-414C-CF3BC7FF5EAA}"/>
              </a:ext>
            </a:extLst>
          </p:cNvPr>
          <p:cNvSpPr/>
          <p:nvPr/>
        </p:nvSpPr>
        <p:spPr>
          <a:xfrm>
            <a:off x="5677183" y="3986371"/>
            <a:ext cx="346877" cy="331722"/>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nvGrpSpPr>
          <p:cNvPr id="1270" name="Grupo 1269">
            <a:extLst>
              <a:ext uri="{FF2B5EF4-FFF2-40B4-BE49-F238E27FC236}">
                <a16:creationId xmlns:a16="http://schemas.microsoft.com/office/drawing/2014/main" id="{35FAD3C9-82B7-93FA-742F-7186DA9BA166}"/>
              </a:ext>
            </a:extLst>
          </p:cNvPr>
          <p:cNvGrpSpPr/>
          <p:nvPr/>
        </p:nvGrpSpPr>
        <p:grpSpPr>
          <a:xfrm>
            <a:off x="5673546" y="4711287"/>
            <a:ext cx="346877" cy="336006"/>
            <a:chOff x="6537101" y="3110342"/>
            <a:chExt cx="346877" cy="336006"/>
          </a:xfrm>
        </p:grpSpPr>
        <p:sp>
          <p:nvSpPr>
            <p:cNvPr id="1271" name="Rectángulo: esquinas redondeadas 1270">
              <a:extLst>
                <a:ext uri="{FF2B5EF4-FFF2-40B4-BE49-F238E27FC236}">
                  <a16:creationId xmlns:a16="http://schemas.microsoft.com/office/drawing/2014/main" id="{824AFA82-567B-B456-1870-D962E1534EF2}"/>
                </a:ext>
              </a:extLst>
            </p:cNvPr>
            <p:cNvSpPr/>
            <p:nvPr/>
          </p:nvSpPr>
          <p:spPr>
            <a:xfrm>
              <a:off x="6537101" y="3114626"/>
              <a:ext cx="346877" cy="331722"/>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272" name="Picture 6" descr="Microsoft Teams Logo y símbolo, significado, historia, PNG, marca">
              <a:extLst>
                <a:ext uri="{FF2B5EF4-FFF2-40B4-BE49-F238E27FC236}">
                  <a16:creationId xmlns:a16="http://schemas.microsoft.com/office/drawing/2014/main" id="{6C8EDD21-51B7-85FF-A597-FC290928575D}"/>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foregroundMark x1="76705" y1="26591" x2="76705" y2="26591"/>
                          <a14:foregroundMark x1="30909" y1="43750" x2="30909" y2="43750"/>
                          <a14:foregroundMark x1="24091" y1="42273" x2="28750" y2="56705"/>
                          <a14:foregroundMark x1="28409" y1="58182" x2="36364" y2="41932"/>
                          <a14:foregroundMark x1="33864" y1="41932" x2="33864" y2="44432"/>
                          <a14:foregroundMark x1="30568" y1="45227" x2="30227" y2="48068"/>
                          <a14:foregroundMark x1="30568" y1="43750" x2="30909" y2="50909"/>
                          <a14:foregroundMark x1="81136" y1="26364" x2="81136" y2="26364"/>
                          <a14:foregroundMark x1="76818" y1="26023" x2="76818" y2="26023"/>
                          <a14:foregroundMark x1="78636" y1="28523" x2="78636" y2="28523"/>
                          <a14:foregroundMark x1="76477" y1="24205" x2="80455" y2="25682"/>
                        </a14:backgroundRemoval>
                      </a14:imgEffect>
                    </a14:imgLayer>
                  </a14:imgProps>
                </a:ext>
                <a:ext uri="{28A0092B-C50C-407E-A947-70E740481C1C}">
                  <a14:useLocalDpi xmlns:a14="http://schemas.microsoft.com/office/drawing/2010/main" val="0"/>
                </a:ext>
              </a:extLst>
            </a:blip>
            <a:srcRect/>
            <a:stretch>
              <a:fillRect/>
            </a:stretch>
          </p:blipFill>
          <p:spPr bwMode="auto">
            <a:xfrm>
              <a:off x="6545894" y="3110342"/>
              <a:ext cx="321768" cy="3217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73" name="Refresh" descr="{&quot;Key&quot;:&quot;POWER_USER_SHAPE_ICON&quot;,&quot;Value&quot;:&quot;POWER_USER_SHAPE_ICON_STYLE_1&quot;}">
            <a:extLst>
              <a:ext uri="{FF2B5EF4-FFF2-40B4-BE49-F238E27FC236}">
                <a16:creationId xmlns:a16="http://schemas.microsoft.com/office/drawing/2014/main" id="{E6DFAF98-B70D-E7DE-2B22-342E2C253D1A}"/>
              </a:ext>
            </a:extLst>
          </p:cNvPr>
          <p:cNvGrpSpPr>
            <a:grpSpLocks noChangeAspect="1"/>
          </p:cNvGrpSpPr>
          <p:nvPr/>
        </p:nvGrpSpPr>
        <p:grpSpPr>
          <a:xfrm>
            <a:off x="5715105" y="4007046"/>
            <a:ext cx="260713" cy="282772"/>
            <a:chOff x="3005139" y="6103938"/>
            <a:chExt cx="412750" cy="447675"/>
          </a:xfrm>
          <a:solidFill>
            <a:schemeClr val="bg1"/>
          </a:solidFill>
        </p:grpSpPr>
        <p:sp>
          <p:nvSpPr>
            <p:cNvPr id="1274" name="Freeform 473">
              <a:extLst>
                <a:ext uri="{FF2B5EF4-FFF2-40B4-BE49-F238E27FC236}">
                  <a16:creationId xmlns:a16="http://schemas.microsoft.com/office/drawing/2014/main" id="{4569F784-B5AF-4121-08A4-7C42A7C84682}"/>
                </a:ext>
              </a:extLst>
            </p:cNvPr>
            <p:cNvSpPr>
              <a:spLocks/>
            </p:cNvSpPr>
            <p:nvPr/>
          </p:nvSpPr>
          <p:spPr bwMode="auto">
            <a:xfrm>
              <a:off x="3005139" y="6119813"/>
              <a:ext cx="284163" cy="312738"/>
            </a:xfrm>
            <a:custGeom>
              <a:avLst/>
              <a:gdLst>
                <a:gd name="T0" fmla="*/ 54 w 312"/>
                <a:gd name="T1" fmla="*/ 344 h 344"/>
                <a:gd name="T2" fmla="*/ 48 w 312"/>
                <a:gd name="T3" fmla="*/ 341 h 344"/>
                <a:gd name="T4" fmla="*/ 66 w 312"/>
                <a:gd name="T5" fmla="*/ 94 h 344"/>
                <a:gd name="T6" fmla="*/ 306 w 312"/>
                <a:gd name="T7" fmla="*/ 35 h 344"/>
                <a:gd name="T8" fmla="*/ 310 w 312"/>
                <a:gd name="T9" fmla="*/ 45 h 344"/>
                <a:gd name="T10" fmla="*/ 301 w 312"/>
                <a:gd name="T11" fmla="*/ 49 h 344"/>
                <a:gd name="T12" fmla="*/ 77 w 312"/>
                <a:gd name="T13" fmla="*/ 103 h 344"/>
                <a:gd name="T14" fmla="*/ 61 w 312"/>
                <a:gd name="T15" fmla="*/ 333 h 344"/>
                <a:gd name="T16" fmla="*/ 58 w 312"/>
                <a:gd name="T17" fmla="*/ 343 h 344"/>
                <a:gd name="T18" fmla="*/ 54 w 312"/>
                <a:gd name="T19" fmla="*/ 34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44">
                  <a:moveTo>
                    <a:pt x="54" y="344"/>
                  </a:moveTo>
                  <a:cubicBezTo>
                    <a:pt x="52" y="344"/>
                    <a:pt x="50" y="343"/>
                    <a:pt x="48" y="341"/>
                  </a:cubicBezTo>
                  <a:cubicBezTo>
                    <a:pt x="0" y="263"/>
                    <a:pt x="7" y="164"/>
                    <a:pt x="66" y="94"/>
                  </a:cubicBezTo>
                  <a:cubicBezTo>
                    <a:pt x="125" y="24"/>
                    <a:pt x="221" y="0"/>
                    <a:pt x="306" y="35"/>
                  </a:cubicBezTo>
                  <a:cubicBezTo>
                    <a:pt x="310" y="37"/>
                    <a:pt x="312" y="41"/>
                    <a:pt x="310" y="45"/>
                  </a:cubicBezTo>
                  <a:cubicBezTo>
                    <a:pt x="308" y="48"/>
                    <a:pt x="304" y="50"/>
                    <a:pt x="301" y="49"/>
                  </a:cubicBezTo>
                  <a:cubicBezTo>
                    <a:pt x="222" y="16"/>
                    <a:pt x="132" y="38"/>
                    <a:pt x="77" y="103"/>
                  </a:cubicBezTo>
                  <a:cubicBezTo>
                    <a:pt x="22" y="168"/>
                    <a:pt x="15" y="261"/>
                    <a:pt x="61" y="333"/>
                  </a:cubicBezTo>
                  <a:cubicBezTo>
                    <a:pt x="63" y="336"/>
                    <a:pt x="62" y="341"/>
                    <a:pt x="58" y="343"/>
                  </a:cubicBezTo>
                  <a:cubicBezTo>
                    <a:pt x="57" y="344"/>
                    <a:pt x="56" y="344"/>
                    <a:pt x="54" y="344"/>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75" name="Freeform 474">
              <a:extLst>
                <a:ext uri="{FF2B5EF4-FFF2-40B4-BE49-F238E27FC236}">
                  <a16:creationId xmlns:a16="http://schemas.microsoft.com/office/drawing/2014/main" id="{EF718341-E04B-96FE-C886-CE57E1F5C906}"/>
                </a:ext>
              </a:extLst>
            </p:cNvPr>
            <p:cNvSpPr>
              <a:spLocks/>
            </p:cNvSpPr>
            <p:nvPr/>
          </p:nvSpPr>
          <p:spPr bwMode="auto">
            <a:xfrm>
              <a:off x="3133726" y="6223000"/>
              <a:ext cx="284163" cy="300038"/>
            </a:xfrm>
            <a:custGeom>
              <a:avLst/>
              <a:gdLst>
                <a:gd name="T0" fmla="*/ 85 w 312"/>
                <a:gd name="T1" fmla="*/ 325 h 328"/>
                <a:gd name="T2" fmla="*/ 5 w 312"/>
                <a:gd name="T3" fmla="*/ 309 h 328"/>
                <a:gd name="T4" fmla="*/ 1 w 312"/>
                <a:gd name="T5" fmla="*/ 300 h 328"/>
                <a:gd name="T6" fmla="*/ 11 w 312"/>
                <a:gd name="T7" fmla="*/ 296 h 328"/>
                <a:gd name="T8" fmla="*/ 234 w 312"/>
                <a:gd name="T9" fmla="*/ 241 h 328"/>
                <a:gd name="T10" fmla="*/ 251 w 312"/>
                <a:gd name="T11" fmla="*/ 12 h 328"/>
                <a:gd name="T12" fmla="*/ 253 w 312"/>
                <a:gd name="T13" fmla="*/ 2 h 328"/>
                <a:gd name="T14" fmla="*/ 263 w 312"/>
                <a:gd name="T15" fmla="*/ 4 h 328"/>
                <a:gd name="T16" fmla="*/ 246 w 312"/>
                <a:gd name="T17" fmla="*/ 251 h 328"/>
                <a:gd name="T18" fmla="*/ 85 w 312"/>
                <a:gd name="T19" fmla="*/ 32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28">
                  <a:moveTo>
                    <a:pt x="85" y="325"/>
                  </a:moveTo>
                  <a:cubicBezTo>
                    <a:pt x="59" y="325"/>
                    <a:pt x="31" y="320"/>
                    <a:pt x="5" y="309"/>
                  </a:cubicBezTo>
                  <a:cubicBezTo>
                    <a:pt x="2" y="308"/>
                    <a:pt x="0" y="304"/>
                    <a:pt x="1" y="300"/>
                  </a:cubicBezTo>
                  <a:cubicBezTo>
                    <a:pt x="3" y="296"/>
                    <a:pt x="7" y="294"/>
                    <a:pt x="11" y="296"/>
                  </a:cubicBezTo>
                  <a:cubicBezTo>
                    <a:pt x="90" y="328"/>
                    <a:pt x="179" y="306"/>
                    <a:pt x="234" y="241"/>
                  </a:cubicBezTo>
                  <a:cubicBezTo>
                    <a:pt x="289" y="176"/>
                    <a:pt x="296" y="84"/>
                    <a:pt x="251" y="12"/>
                  </a:cubicBezTo>
                  <a:cubicBezTo>
                    <a:pt x="249" y="8"/>
                    <a:pt x="250" y="4"/>
                    <a:pt x="253" y="2"/>
                  </a:cubicBezTo>
                  <a:cubicBezTo>
                    <a:pt x="257" y="0"/>
                    <a:pt x="261" y="1"/>
                    <a:pt x="263" y="4"/>
                  </a:cubicBezTo>
                  <a:cubicBezTo>
                    <a:pt x="312" y="82"/>
                    <a:pt x="305" y="181"/>
                    <a:pt x="246" y="251"/>
                  </a:cubicBezTo>
                  <a:cubicBezTo>
                    <a:pt x="205" y="299"/>
                    <a:pt x="146" y="325"/>
                    <a:pt x="85" y="325"/>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76" name="Freeform 475">
              <a:extLst>
                <a:ext uri="{FF2B5EF4-FFF2-40B4-BE49-F238E27FC236}">
                  <a16:creationId xmlns:a16="http://schemas.microsoft.com/office/drawing/2014/main" id="{FC5400E5-D3FE-95E7-E124-DE8482C5CC66}"/>
                </a:ext>
              </a:extLst>
            </p:cNvPr>
            <p:cNvSpPr>
              <a:spLocks/>
            </p:cNvSpPr>
            <p:nvPr/>
          </p:nvSpPr>
          <p:spPr bwMode="auto">
            <a:xfrm>
              <a:off x="3228976" y="6103938"/>
              <a:ext cx="60325" cy="79375"/>
            </a:xfrm>
            <a:custGeom>
              <a:avLst/>
              <a:gdLst>
                <a:gd name="T0" fmla="*/ 8 w 67"/>
                <a:gd name="T1" fmla="*/ 86 h 86"/>
                <a:gd name="T2" fmla="*/ 2 w 67"/>
                <a:gd name="T3" fmla="*/ 82 h 86"/>
                <a:gd name="T4" fmla="*/ 5 w 67"/>
                <a:gd name="T5" fmla="*/ 72 h 86"/>
                <a:gd name="T6" fmla="*/ 49 w 67"/>
                <a:gd name="T7" fmla="*/ 54 h 86"/>
                <a:gd name="T8" fmla="*/ 31 w 67"/>
                <a:gd name="T9" fmla="*/ 11 h 86"/>
                <a:gd name="T10" fmla="*/ 35 w 67"/>
                <a:gd name="T11" fmla="*/ 1 h 86"/>
                <a:gd name="T12" fmla="*/ 44 w 67"/>
                <a:gd name="T13" fmla="*/ 5 h 86"/>
                <a:gd name="T14" fmla="*/ 65 w 67"/>
                <a:gd name="T15" fmla="*/ 55 h 86"/>
                <a:gd name="T16" fmla="*/ 61 w 67"/>
                <a:gd name="T17" fmla="*/ 65 h 86"/>
                <a:gd name="T18" fmla="*/ 11 w 67"/>
                <a:gd name="T19" fmla="*/ 85 h 86"/>
                <a:gd name="T20" fmla="*/ 8 w 67"/>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6">
                  <a:moveTo>
                    <a:pt x="8" y="86"/>
                  </a:moveTo>
                  <a:cubicBezTo>
                    <a:pt x="5" y="86"/>
                    <a:pt x="3" y="84"/>
                    <a:pt x="2" y="82"/>
                  </a:cubicBezTo>
                  <a:cubicBezTo>
                    <a:pt x="0" y="78"/>
                    <a:pt x="2" y="74"/>
                    <a:pt x="5" y="72"/>
                  </a:cubicBezTo>
                  <a:lnTo>
                    <a:pt x="49" y="54"/>
                  </a:lnTo>
                  <a:lnTo>
                    <a:pt x="31" y="11"/>
                  </a:lnTo>
                  <a:cubicBezTo>
                    <a:pt x="29" y="7"/>
                    <a:pt x="31" y="3"/>
                    <a:pt x="35" y="1"/>
                  </a:cubicBezTo>
                  <a:cubicBezTo>
                    <a:pt x="38" y="0"/>
                    <a:pt x="43" y="1"/>
                    <a:pt x="44" y="5"/>
                  </a:cubicBezTo>
                  <a:lnTo>
                    <a:pt x="65" y="55"/>
                  </a:lnTo>
                  <a:cubicBezTo>
                    <a:pt x="67" y="59"/>
                    <a:pt x="65" y="63"/>
                    <a:pt x="61" y="65"/>
                  </a:cubicBezTo>
                  <a:lnTo>
                    <a:pt x="11" y="85"/>
                  </a:lnTo>
                  <a:cubicBezTo>
                    <a:pt x="10" y="86"/>
                    <a:pt x="9" y="86"/>
                    <a:pt x="8" y="86"/>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77" name="Freeform 476">
              <a:extLst>
                <a:ext uri="{FF2B5EF4-FFF2-40B4-BE49-F238E27FC236}">
                  <a16:creationId xmlns:a16="http://schemas.microsoft.com/office/drawing/2014/main" id="{A66D2A3D-B8CA-99AA-33B6-727E17597779}"/>
                </a:ext>
              </a:extLst>
            </p:cNvPr>
            <p:cNvSpPr>
              <a:spLocks/>
            </p:cNvSpPr>
            <p:nvPr/>
          </p:nvSpPr>
          <p:spPr bwMode="auto">
            <a:xfrm>
              <a:off x="3133726" y="6473825"/>
              <a:ext cx="60325" cy="77788"/>
            </a:xfrm>
            <a:custGeom>
              <a:avLst/>
              <a:gdLst>
                <a:gd name="T0" fmla="*/ 29 w 66"/>
                <a:gd name="T1" fmla="*/ 86 h 86"/>
                <a:gd name="T2" fmla="*/ 22 w 66"/>
                <a:gd name="T3" fmla="*/ 82 h 86"/>
                <a:gd name="T4" fmla="*/ 1 w 66"/>
                <a:gd name="T5" fmla="*/ 31 h 86"/>
                <a:gd name="T6" fmla="*/ 5 w 66"/>
                <a:gd name="T7" fmla="*/ 22 h 86"/>
                <a:gd name="T8" fmla="*/ 55 w 66"/>
                <a:gd name="T9" fmla="*/ 1 h 86"/>
                <a:gd name="T10" fmla="*/ 65 w 66"/>
                <a:gd name="T11" fmla="*/ 5 h 86"/>
                <a:gd name="T12" fmla="*/ 61 w 66"/>
                <a:gd name="T13" fmla="*/ 15 h 86"/>
                <a:gd name="T14" fmla="*/ 18 w 66"/>
                <a:gd name="T15" fmla="*/ 33 h 86"/>
                <a:gd name="T16" fmla="*/ 36 w 66"/>
                <a:gd name="T17" fmla="*/ 76 h 86"/>
                <a:gd name="T18" fmla="*/ 32 w 66"/>
                <a:gd name="T19" fmla="*/ 85 h 86"/>
                <a:gd name="T20" fmla="*/ 29 w 66"/>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6">
                  <a:moveTo>
                    <a:pt x="29" y="86"/>
                  </a:moveTo>
                  <a:cubicBezTo>
                    <a:pt x="26" y="86"/>
                    <a:pt x="23" y="84"/>
                    <a:pt x="22" y="82"/>
                  </a:cubicBezTo>
                  <a:lnTo>
                    <a:pt x="1" y="31"/>
                  </a:lnTo>
                  <a:cubicBezTo>
                    <a:pt x="0" y="28"/>
                    <a:pt x="2" y="24"/>
                    <a:pt x="5" y="22"/>
                  </a:cubicBezTo>
                  <a:lnTo>
                    <a:pt x="55" y="1"/>
                  </a:lnTo>
                  <a:cubicBezTo>
                    <a:pt x="59" y="0"/>
                    <a:pt x="63" y="1"/>
                    <a:pt x="65" y="5"/>
                  </a:cubicBezTo>
                  <a:cubicBezTo>
                    <a:pt x="66" y="9"/>
                    <a:pt x="65" y="13"/>
                    <a:pt x="61" y="15"/>
                  </a:cubicBezTo>
                  <a:lnTo>
                    <a:pt x="18" y="33"/>
                  </a:lnTo>
                  <a:lnTo>
                    <a:pt x="36" y="76"/>
                  </a:lnTo>
                  <a:cubicBezTo>
                    <a:pt x="37" y="80"/>
                    <a:pt x="35" y="84"/>
                    <a:pt x="32" y="85"/>
                  </a:cubicBezTo>
                  <a:cubicBezTo>
                    <a:pt x="31" y="86"/>
                    <a:pt x="30" y="86"/>
                    <a:pt x="29" y="8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noProof="0"/>
            </a:p>
          </p:txBody>
        </p:sp>
      </p:grpSp>
      <p:sp>
        <p:nvSpPr>
          <p:cNvPr id="1288" name="Rectángulo: esquinas redondeadas 1287">
            <a:extLst>
              <a:ext uri="{FF2B5EF4-FFF2-40B4-BE49-F238E27FC236}">
                <a16:creationId xmlns:a16="http://schemas.microsoft.com/office/drawing/2014/main" id="{7DFED603-14AD-03B1-0934-EF84A563F216}"/>
              </a:ext>
            </a:extLst>
          </p:cNvPr>
          <p:cNvSpPr/>
          <p:nvPr/>
        </p:nvSpPr>
        <p:spPr>
          <a:xfrm>
            <a:off x="6914389" y="3986371"/>
            <a:ext cx="346877" cy="331722"/>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nvGrpSpPr>
          <p:cNvPr id="1289" name="Mail2" descr="{&quot;Key&quot;:&quot;POWER_USER_SHAPE_ICON&quot;,&quot;Value&quot;:&quot;POWER_USER_SHAPE_ICON_STYLE_1&quot;}">
            <a:extLst>
              <a:ext uri="{FF2B5EF4-FFF2-40B4-BE49-F238E27FC236}">
                <a16:creationId xmlns:a16="http://schemas.microsoft.com/office/drawing/2014/main" id="{4ED30BE3-6FA0-643D-DA5E-C940A64B7F2B}"/>
              </a:ext>
            </a:extLst>
          </p:cNvPr>
          <p:cNvGrpSpPr>
            <a:grpSpLocks noChangeAspect="1"/>
          </p:cNvGrpSpPr>
          <p:nvPr/>
        </p:nvGrpSpPr>
        <p:grpSpPr>
          <a:xfrm>
            <a:off x="6980127" y="4044953"/>
            <a:ext cx="225274" cy="202859"/>
            <a:chOff x="347663" y="3633781"/>
            <a:chExt cx="638174" cy="574674"/>
          </a:xfrm>
          <a:solidFill>
            <a:schemeClr val="bg1"/>
          </a:solidFill>
        </p:grpSpPr>
        <p:sp>
          <p:nvSpPr>
            <p:cNvPr id="1290" name="Freeform 209">
              <a:extLst>
                <a:ext uri="{FF2B5EF4-FFF2-40B4-BE49-F238E27FC236}">
                  <a16:creationId xmlns:a16="http://schemas.microsoft.com/office/drawing/2014/main" id="{782419DE-CADE-108E-6414-DAB1A9BF6C27}"/>
                </a:ext>
              </a:extLst>
            </p:cNvPr>
            <p:cNvSpPr>
              <a:spLocks noEditPoints="1"/>
            </p:cNvSpPr>
            <p:nvPr/>
          </p:nvSpPr>
          <p:spPr bwMode="auto">
            <a:xfrm>
              <a:off x="347663" y="3633781"/>
              <a:ext cx="638174" cy="574674"/>
            </a:xfrm>
            <a:custGeom>
              <a:avLst/>
              <a:gdLst>
                <a:gd name="T0" fmla="*/ 45 w 1067"/>
                <a:gd name="T1" fmla="*/ 469 h 962"/>
                <a:gd name="T2" fmla="*/ 107 w 1067"/>
                <a:gd name="T3" fmla="*/ 504 h 962"/>
                <a:gd name="T4" fmla="*/ 384 w 1067"/>
                <a:gd name="T5" fmla="*/ 167 h 962"/>
                <a:gd name="T6" fmla="*/ 684 w 1067"/>
                <a:gd name="T7" fmla="*/ 166 h 962"/>
                <a:gd name="T8" fmla="*/ 927 w 1067"/>
                <a:gd name="T9" fmla="*/ 166 h 962"/>
                <a:gd name="T10" fmla="*/ 927 w 1067"/>
                <a:gd name="T11" fmla="*/ 379 h 962"/>
                <a:gd name="T12" fmla="*/ 823 w 1067"/>
                <a:gd name="T13" fmla="*/ 583 h 962"/>
                <a:gd name="T14" fmla="*/ 807 w 1067"/>
                <a:gd name="T15" fmla="*/ 478 h 962"/>
                <a:gd name="T16" fmla="*/ 588 w 1067"/>
                <a:gd name="T17" fmla="*/ 495 h 962"/>
                <a:gd name="T18" fmla="*/ 541 w 1067"/>
                <a:gd name="T19" fmla="*/ 661 h 962"/>
                <a:gd name="T20" fmla="*/ 449 w 1067"/>
                <a:gd name="T21" fmla="*/ 701 h 962"/>
                <a:gd name="T22" fmla="*/ 140 w 1067"/>
                <a:gd name="T23" fmla="*/ 379 h 962"/>
                <a:gd name="T24" fmla="*/ 140 w 1067"/>
                <a:gd name="T25" fmla="*/ 166 h 962"/>
                <a:gd name="T26" fmla="*/ 534 w 1067"/>
                <a:gd name="T27" fmla="*/ 41 h 962"/>
                <a:gd name="T28" fmla="*/ 428 w 1067"/>
                <a:gd name="T29" fmla="*/ 133 h 962"/>
                <a:gd name="T30" fmla="*/ 1022 w 1067"/>
                <a:gd name="T31" fmla="*/ 469 h 962"/>
                <a:gd name="T32" fmla="*/ 961 w 1067"/>
                <a:gd name="T33" fmla="*/ 415 h 962"/>
                <a:gd name="T34" fmla="*/ 654 w 1067"/>
                <a:gd name="T35" fmla="*/ 720 h 962"/>
                <a:gd name="T36" fmla="*/ 1034 w 1067"/>
                <a:gd name="T37" fmla="*/ 917 h 962"/>
                <a:gd name="T38" fmla="*/ 790 w 1067"/>
                <a:gd name="T39" fmla="*/ 603 h 962"/>
                <a:gd name="T40" fmla="*/ 622 w 1067"/>
                <a:gd name="T41" fmla="*/ 511 h 962"/>
                <a:gd name="T42" fmla="*/ 790 w 1067"/>
                <a:gd name="T43" fmla="*/ 603 h 962"/>
                <a:gd name="T44" fmla="*/ 982 w 1067"/>
                <a:gd name="T45" fmla="*/ 928 h 962"/>
                <a:gd name="T46" fmla="*/ 534 w 1067"/>
                <a:gd name="T47" fmla="*/ 695 h 962"/>
                <a:gd name="T48" fmla="*/ 414 w 1067"/>
                <a:gd name="T49" fmla="*/ 720 h 962"/>
                <a:gd name="T50" fmla="*/ 34 w 1067"/>
                <a:gd name="T51" fmla="*/ 500 h 962"/>
                <a:gd name="T52" fmla="*/ 1067 w 1067"/>
                <a:gd name="T53" fmla="*/ 471 h 962"/>
                <a:gd name="T54" fmla="*/ 1065 w 1067"/>
                <a:gd name="T55" fmla="*/ 465 h 962"/>
                <a:gd name="T56" fmla="*/ 1062 w 1067"/>
                <a:gd name="T57" fmla="*/ 459 h 962"/>
                <a:gd name="T58" fmla="*/ 961 w 1067"/>
                <a:gd name="T59" fmla="*/ 371 h 962"/>
                <a:gd name="T60" fmla="*/ 944 w 1067"/>
                <a:gd name="T61" fmla="*/ 133 h 962"/>
                <a:gd name="T62" fmla="*/ 545 w 1067"/>
                <a:gd name="T63" fmla="*/ 6 h 962"/>
                <a:gd name="T64" fmla="*/ 378 w 1067"/>
                <a:gd name="T65" fmla="*/ 133 h 962"/>
                <a:gd name="T66" fmla="*/ 107 w 1067"/>
                <a:gd name="T67" fmla="*/ 150 h 962"/>
                <a:gd name="T68" fmla="*/ 6 w 1067"/>
                <a:gd name="T69" fmla="*/ 459 h 962"/>
                <a:gd name="T70" fmla="*/ 2 w 1067"/>
                <a:gd name="T71" fmla="*/ 464 h 962"/>
                <a:gd name="T72" fmla="*/ 1 w 1067"/>
                <a:gd name="T73" fmla="*/ 469 h 962"/>
                <a:gd name="T74" fmla="*/ 0 w 1067"/>
                <a:gd name="T75" fmla="*/ 472 h 962"/>
                <a:gd name="T76" fmla="*/ 1 w 1067"/>
                <a:gd name="T77" fmla="*/ 945 h 962"/>
                <a:gd name="T78" fmla="*/ 2 w 1067"/>
                <a:gd name="T79" fmla="*/ 952 h 962"/>
                <a:gd name="T80" fmla="*/ 4 w 1067"/>
                <a:gd name="T81" fmla="*/ 954 h 962"/>
                <a:gd name="T82" fmla="*/ 9 w 1067"/>
                <a:gd name="T83" fmla="*/ 959 h 962"/>
                <a:gd name="T84" fmla="*/ 15 w 1067"/>
                <a:gd name="T85" fmla="*/ 961 h 962"/>
                <a:gd name="T86" fmla="*/ 1050 w 1067"/>
                <a:gd name="T87" fmla="*/ 962 h 962"/>
                <a:gd name="T88" fmla="*/ 1056 w 1067"/>
                <a:gd name="T89" fmla="*/ 960 h 962"/>
                <a:gd name="T90" fmla="*/ 1062 w 1067"/>
                <a:gd name="T91" fmla="*/ 957 h 962"/>
                <a:gd name="T92" fmla="*/ 1065 w 1067"/>
                <a:gd name="T93" fmla="*/ 953 h 962"/>
                <a:gd name="T94" fmla="*/ 1066 w 1067"/>
                <a:gd name="T95" fmla="*/ 949 h 962"/>
                <a:gd name="T96" fmla="*/ 1067 w 1067"/>
                <a:gd name="T97" fmla="*/ 945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7" h="962">
                  <a:moveTo>
                    <a:pt x="107" y="504"/>
                  </a:moveTo>
                  <a:lnTo>
                    <a:pt x="45" y="469"/>
                  </a:lnTo>
                  <a:lnTo>
                    <a:pt x="107" y="415"/>
                  </a:lnTo>
                  <a:lnTo>
                    <a:pt x="107" y="504"/>
                  </a:lnTo>
                  <a:close/>
                  <a:moveTo>
                    <a:pt x="383" y="166"/>
                  </a:moveTo>
                  <a:cubicBezTo>
                    <a:pt x="384" y="166"/>
                    <a:pt x="384" y="167"/>
                    <a:pt x="384" y="167"/>
                  </a:cubicBezTo>
                  <a:cubicBezTo>
                    <a:pt x="384" y="167"/>
                    <a:pt x="384" y="166"/>
                    <a:pt x="384" y="166"/>
                  </a:cubicBezTo>
                  <a:lnTo>
                    <a:pt x="684" y="166"/>
                  </a:lnTo>
                  <a:cubicBezTo>
                    <a:pt x="684" y="166"/>
                    <a:pt x="685" y="166"/>
                    <a:pt x="685" y="166"/>
                  </a:cubicBezTo>
                  <a:lnTo>
                    <a:pt x="927" y="166"/>
                  </a:lnTo>
                  <a:lnTo>
                    <a:pt x="927" y="379"/>
                  </a:lnTo>
                  <a:lnTo>
                    <a:pt x="927" y="379"/>
                  </a:lnTo>
                  <a:lnTo>
                    <a:pt x="927" y="523"/>
                  </a:lnTo>
                  <a:lnTo>
                    <a:pt x="823" y="583"/>
                  </a:lnTo>
                  <a:lnTo>
                    <a:pt x="823" y="495"/>
                  </a:lnTo>
                  <a:cubicBezTo>
                    <a:pt x="823" y="486"/>
                    <a:pt x="816" y="478"/>
                    <a:pt x="807" y="478"/>
                  </a:cubicBezTo>
                  <a:lnTo>
                    <a:pt x="605" y="478"/>
                  </a:lnTo>
                  <a:cubicBezTo>
                    <a:pt x="596" y="478"/>
                    <a:pt x="588" y="486"/>
                    <a:pt x="588" y="495"/>
                  </a:cubicBezTo>
                  <a:lnTo>
                    <a:pt x="588" y="686"/>
                  </a:lnTo>
                  <a:lnTo>
                    <a:pt x="541" y="661"/>
                  </a:lnTo>
                  <a:cubicBezTo>
                    <a:pt x="537" y="659"/>
                    <a:pt x="531" y="659"/>
                    <a:pt x="526" y="661"/>
                  </a:cubicBezTo>
                  <a:lnTo>
                    <a:pt x="449" y="701"/>
                  </a:lnTo>
                  <a:lnTo>
                    <a:pt x="140" y="523"/>
                  </a:lnTo>
                  <a:lnTo>
                    <a:pt x="140" y="379"/>
                  </a:lnTo>
                  <a:cubicBezTo>
                    <a:pt x="140" y="379"/>
                    <a:pt x="140" y="379"/>
                    <a:pt x="140" y="379"/>
                  </a:cubicBezTo>
                  <a:lnTo>
                    <a:pt x="140" y="166"/>
                  </a:lnTo>
                  <a:lnTo>
                    <a:pt x="383" y="166"/>
                  </a:lnTo>
                  <a:close/>
                  <a:moveTo>
                    <a:pt x="534" y="41"/>
                  </a:moveTo>
                  <a:lnTo>
                    <a:pt x="639" y="133"/>
                  </a:lnTo>
                  <a:lnTo>
                    <a:pt x="428" y="133"/>
                  </a:lnTo>
                  <a:lnTo>
                    <a:pt x="534" y="41"/>
                  </a:lnTo>
                  <a:close/>
                  <a:moveTo>
                    <a:pt x="1022" y="469"/>
                  </a:moveTo>
                  <a:lnTo>
                    <a:pt x="961" y="504"/>
                  </a:lnTo>
                  <a:lnTo>
                    <a:pt x="961" y="415"/>
                  </a:lnTo>
                  <a:lnTo>
                    <a:pt x="1022" y="469"/>
                  </a:lnTo>
                  <a:close/>
                  <a:moveTo>
                    <a:pt x="654" y="720"/>
                  </a:moveTo>
                  <a:lnTo>
                    <a:pt x="1034" y="500"/>
                  </a:lnTo>
                  <a:lnTo>
                    <a:pt x="1034" y="917"/>
                  </a:lnTo>
                  <a:lnTo>
                    <a:pt x="654" y="720"/>
                  </a:lnTo>
                  <a:close/>
                  <a:moveTo>
                    <a:pt x="790" y="603"/>
                  </a:moveTo>
                  <a:lnTo>
                    <a:pt x="622" y="700"/>
                  </a:lnTo>
                  <a:lnTo>
                    <a:pt x="622" y="511"/>
                  </a:lnTo>
                  <a:lnTo>
                    <a:pt x="790" y="511"/>
                  </a:lnTo>
                  <a:lnTo>
                    <a:pt x="790" y="603"/>
                  </a:lnTo>
                  <a:close/>
                  <a:moveTo>
                    <a:pt x="534" y="695"/>
                  </a:moveTo>
                  <a:lnTo>
                    <a:pt x="982" y="928"/>
                  </a:lnTo>
                  <a:lnTo>
                    <a:pt x="85" y="928"/>
                  </a:lnTo>
                  <a:lnTo>
                    <a:pt x="534" y="695"/>
                  </a:lnTo>
                  <a:close/>
                  <a:moveTo>
                    <a:pt x="34" y="500"/>
                  </a:moveTo>
                  <a:lnTo>
                    <a:pt x="414" y="720"/>
                  </a:lnTo>
                  <a:lnTo>
                    <a:pt x="34" y="917"/>
                  </a:lnTo>
                  <a:lnTo>
                    <a:pt x="34" y="500"/>
                  </a:lnTo>
                  <a:close/>
                  <a:moveTo>
                    <a:pt x="1067" y="472"/>
                  </a:moveTo>
                  <a:cubicBezTo>
                    <a:pt x="1067" y="471"/>
                    <a:pt x="1067" y="471"/>
                    <a:pt x="1067" y="471"/>
                  </a:cubicBezTo>
                  <a:cubicBezTo>
                    <a:pt x="1067" y="470"/>
                    <a:pt x="1067" y="470"/>
                    <a:pt x="1067" y="470"/>
                  </a:cubicBezTo>
                  <a:cubicBezTo>
                    <a:pt x="1067" y="468"/>
                    <a:pt x="1066" y="466"/>
                    <a:pt x="1065" y="465"/>
                  </a:cubicBezTo>
                  <a:cubicBezTo>
                    <a:pt x="1065" y="464"/>
                    <a:pt x="1065" y="464"/>
                    <a:pt x="1065" y="464"/>
                  </a:cubicBezTo>
                  <a:cubicBezTo>
                    <a:pt x="1064" y="462"/>
                    <a:pt x="1063" y="461"/>
                    <a:pt x="1062" y="459"/>
                  </a:cubicBezTo>
                  <a:cubicBezTo>
                    <a:pt x="1061" y="459"/>
                    <a:pt x="1061" y="459"/>
                    <a:pt x="1061" y="459"/>
                  </a:cubicBezTo>
                  <a:lnTo>
                    <a:pt x="961" y="371"/>
                  </a:lnTo>
                  <a:lnTo>
                    <a:pt x="961" y="150"/>
                  </a:lnTo>
                  <a:cubicBezTo>
                    <a:pt x="961" y="141"/>
                    <a:pt x="953" y="133"/>
                    <a:pt x="944" y="133"/>
                  </a:cubicBezTo>
                  <a:lnTo>
                    <a:pt x="690" y="133"/>
                  </a:lnTo>
                  <a:lnTo>
                    <a:pt x="545" y="6"/>
                  </a:lnTo>
                  <a:cubicBezTo>
                    <a:pt x="538" y="0"/>
                    <a:pt x="529" y="0"/>
                    <a:pt x="523" y="6"/>
                  </a:cubicBezTo>
                  <a:lnTo>
                    <a:pt x="378" y="133"/>
                  </a:lnTo>
                  <a:lnTo>
                    <a:pt x="124" y="133"/>
                  </a:lnTo>
                  <a:cubicBezTo>
                    <a:pt x="114" y="133"/>
                    <a:pt x="107" y="141"/>
                    <a:pt x="107" y="150"/>
                  </a:cubicBezTo>
                  <a:lnTo>
                    <a:pt x="107" y="371"/>
                  </a:lnTo>
                  <a:lnTo>
                    <a:pt x="6" y="459"/>
                  </a:lnTo>
                  <a:cubicBezTo>
                    <a:pt x="6" y="459"/>
                    <a:pt x="6" y="459"/>
                    <a:pt x="6" y="460"/>
                  </a:cubicBezTo>
                  <a:cubicBezTo>
                    <a:pt x="4" y="461"/>
                    <a:pt x="3" y="462"/>
                    <a:pt x="2" y="464"/>
                  </a:cubicBezTo>
                  <a:cubicBezTo>
                    <a:pt x="2" y="464"/>
                    <a:pt x="2" y="465"/>
                    <a:pt x="2" y="466"/>
                  </a:cubicBezTo>
                  <a:cubicBezTo>
                    <a:pt x="1" y="467"/>
                    <a:pt x="1" y="468"/>
                    <a:pt x="1" y="469"/>
                  </a:cubicBezTo>
                  <a:cubicBezTo>
                    <a:pt x="1" y="470"/>
                    <a:pt x="0" y="470"/>
                    <a:pt x="0" y="471"/>
                  </a:cubicBezTo>
                  <a:cubicBezTo>
                    <a:pt x="0" y="471"/>
                    <a:pt x="0" y="471"/>
                    <a:pt x="0" y="472"/>
                  </a:cubicBezTo>
                  <a:lnTo>
                    <a:pt x="0" y="945"/>
                  </a:lnTo>
                  <a:cubicBezTo>
                    <a:pt x="0" y="945"/>
                    <a:pt x="1" y="945"/>
                    <a:pt x="1" y="945"/>
                  </a:cubicBezTo>
                  <a:cubicBezTo>
                    <a:pt x="1" y="947"/>
                    <a:pt x="1" y="948"/>
                    <a:pt x="1" y="949"/>
                  </a:cubicBezTo>
                  <a:cubicBezTo>
                    <a:pt x="1" y="950"/>
                    <a:pt x="2" y="951"/>
                    <a:pt x="2" y="952"/>
                  </a:cubicBezTo>
                  <a:cubicBezTo>
                    <a:pt x="2" y="952"/>
                    <a:pt x="2" y="952"/>
                    <a:pt x="2" y="953"/>
                  </a:cubicBezTo>
                  <a:cubicBezTo>
                    <a:pt x="3" y="953"/>
                    <a:pt x="3" y="954"/>
                    <a:pt x="4" y="954"/>
                  </a:cubicBezTo>
                  <a:cubicBezTo>
                    <a:pt x="4" y="955"/>
                    <a:pt x="5" y="956"/>
                    <a:pt x="6" y="957"/>
                  </a:cubicBezTo>
                  <a:cubicBezTo>
                    <a:pt x="7" y="958"/>
                    <a:pt x="8" y="958"/>
                    <a:pt x="9" y="959"/>
                  </a:cubicBezTo>
                  <a:cubicBezTo>
                    <a:pt x="9" y="959"/>
                    <a:pt x="10" y="960"/>
                    <a:pt x="11" y="960"/>
                  </a:cubicBezTo>
                  <a:cubicBezTo>
                    <a:pt x="12" y="961"/>
                    <a:pt x="14" y="961"/>
                    <a:pt x="15" y="961"/>
                  </a:cubicBezTo>
                  <a:cubicBezTo>
                    <a:pt x="16" y="961"/>
                    <a:pt x="16" y="962"/>
                    <a:pt x="17" y="962"/>
                  </a:cubicBezTo>
                  <a:lnTo>
                    <a:pt x="1050" y="962"/>
                  </a:lnTo>
                  <a:lnTo>
                    <a:pt x="1050" y="962"/>
                  </a:lnTo>
                  <a:cubicBezTo>
                    <a:pt x="1052" y="961"/>
                    <a:pt x="1054" y="961"/>
                    <a:pt x="1056" y="960"/>
                  </a:cubicBezTo>
                  <a:cubicBezTo>
                    <a:pt x="1057" y="960"/>
                    <a:pt x="1057" y="960"/>
                    <a:pt x="1058" y="960"/>
                  </a:cubicBezTo>
                  <a:cubicBezTo>
                    <a:pt x="1059" y="959"/>
                    <a:pt x="1060" y="958"/>
                    <a:pt x="1062" y="957"/>
                  </a:cubicBezTo>
                  <a:cubicBezTo>
                    <a:pt x="1062" y="957"/>
                    <a:pt x="1062" y="957"/>
                    <a:pt x="1062" y="956"/>
                  </a:cubicBezTo>
                  <a:cubicBezTo>
                    <a:pt x="1063" y="955"/>
                    <a:pt x="1064" y="954"/>
                    <a:pt x="1065" y="953"/>
                  </a:cubicBezTo>
                  <a:cubicBezTo>
                    <a:pt x="1065" y="952"/>
                    <a:pt x="1065" y="952"/>
                    <a:pt x="1065" y="952"/>
                  </a:cubicBezTo>
                  <a:cubicBezTo>
                    <a:pt x="1066" y="951"/>
                    <a:pt x="1066" y="950"/>
                    <a:pt x="1066" y="949"/>
                  </a:cubicBezTo>
                  <a:cubicBezTo>
                    <a:pt x="1067" y="948"/>
                    <a:pt x="1067" y="947"/>
                    <a:pt x="1067" y="945"/>
                  </a:cubicBezTo>
                  <a:cubicBezTo>
                    <a:pt x="1067" y="945"/>
                    <a:pt x="1067" y="945"/>
                    <a:pt x="1067" y="945"/>
                  </a:cubicBezTo>
                  <a:lnTo>
                    <a:pt x="1067" y="47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91" name="Freeform 210">
              <a:extLst>
                <a:ext uri="{FF2B5EF4-FFF2-40B4-BE49-F238E27FC236}">
                  <a16:creationId xmlns:a16="http://schemas.microsoft.com/office/drawing/2014/main" id="{B1780ABB-BB43-5685-E08F-2365E4989638}"/>
                </a:ext>
              </a:extLst>
            </p:cNvPr>
            <p:cNvSpPr>
              <a:spLocks noEditPoints="1"/>
            </p:cNvSpPr>
            <p:nvPr/>
          </p:nvSpPr>
          <p:spPr bwMode="auto">
            <a:xfrm>
              <a:off x="493713" y="3756019"/>
              <a:ext cx="141288" cy="130174"/>
            </a:xfrm>
            <a:custGeom>
              <a:avLst/>
              <a:gdLst>
                <a:gd name="T0" fmla="*/ 34 w 235"/>
                <a:gd name="T1" fmla="*/ 33 h 216"/>
                <a:gd name="T2" fmla="*/ 202 w 235"/>
                <a:gd name="T3" fmla="*/ 33 h 216"/>
                <a:gd name="T4" fmla="*/ 202 w 235"/>
                <a:gd name="T5" fmla="*/ 183 h 216"/>
                <a:gd name="T6" fmla="*/ 34 w 235"/>
                <a:gd name="T7" fmla="*/ 183 h 216"/>
                <a:gd name="T8" fmla="*/ 34 w 235"/>
                <a:gd name="T9" fmla="*/ 33 h 216"/>
                <a:gd name="T10" fmla="*/ 17 w 235"/>
                <a:gd name="T11" fmla="*/ 216 h 216"/>
                <a:gd name="T12" fmla="*/ 218 w 235"/>
                <a:gd name="T13" fmla="*/ 216 h 216"/>
                <a:gd name="T14" fmla="*/ 235 w 235"/>
                <a:gd name="T15" fmla="*/ 200 h 216"/>
                <a:gd name="T16" fmla="*/ 235 w 235"/>
                <a:gd name="T17" fmla="*/ 16 h 216"/>
                <a:gd name="T18" fmla="*/ 218 w 235"/>
                <a:gd name="T19" fmla="*/ 0 h 216"/>
                <a:gd name="T20" fmla="*/ 17 w 235"/>
                <a:gd name="T21" fmla="*/ 0 h 216"/>
                <a:gd name="T22" fmla="*/ 0 w 235"/>
                <a:gd name="T23" fmla="*/ 16 h 216"/>
                <a:gd name="T24" fmla="*/ 0 w 235"/>
                <a:gd name="T25" fmla="*/ 200 h 216"/>
                <a:gd name="T26" fmla="*/ 17 w 235"/>
                <a:gd name="T27"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 h="216">
                  <a:moveTo>
                    <a:pt x="34" y="33"/>
                  </a:moveTo>
                  <a:lnTo>
                    <a:pt x="202" y="33"/>
                  </a:lnTo>
                  <a:lnTo>
                    <a:pt x="202" y="183"/>
                  </a:lnTo>
                  <a:lnTo>
                    <a:pt x="34" y="183"/>
                  </a:lnTo>
                  <a:lnTo>
                    <a:pt x="34" y="33"/>
                  </a:lnTo>
                  <a:close/>
                  <a:moveTo>
                    <a:pt x="17" y="216"/>
                  </a:moveTo>
                  <a:lnTo>
                    <a:pt x="218" y="216"/>
                  </a:lnTo>
                  <a:cubicBezTo>
                    <a:pt x="228" y="216"/>
                    <a:pt x="235" y="209"/>
                    <a:pt x="235" y="200"/>
                  </a:cubicBezTo>
                  <a:lnTo>
                    <a:pt x="235" y="16"/>
                  </a:lnTo>
                  <a:cubicBezTo>
                    <a:pt x="235" y="7"/>
                    <a:pt x="228" y="0"/>
                    <a:pt x="218" y="0"/>
                  </a:cubicBezTo>
                  <a:lnTo>
                    <a:pt x="17" y="0"/>
                  </a:lnTo>
                  <a:cubicBezTo>
                    <a:pt x="8" y="0"/>
                    <a:pt x="0" y="7"/>
                    <a:pt x="0" y="16"/>
                  </a:cubicBezTo>
                  <a:lnTo>
                    <a:pt x="0" y="200"/>
                  </a:lnTo>
                  <a:cubicBezTo>
                    <a:pt x="0" y="209"/>
                    <a:pt x="8" y="216"/>
                    <a:pt x="17" y="2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92" name="Freeform 211">
              <a:extLst>
                <a:ext uri="{FF2B5EF4-FFF2-40B4-BE49-F238E27FC236}">
                  <a16:creationId xmlns:a16="http://schemas.microsoft.com/office/drawing/2014/main" id="{67238CAA-3935-1709-E740-772B0D111D69}"/>
                </a:ext>
              </a:extLst>
            </p:cNvPr>
            <p:cNvSpPr>
              <a:spLocks/>
            </p:cNvSpPr>
            <p:nvPr/>
          </p:nvSpPr>
          <p:spPr bwMode="auto">
            <a:xfrm>
              <a:off x="663575" y="3756019"/>
              <a:ext cx="176212" cy="20638"/>
            </a:xfrm>
            <a:custGeom>
              <a:avLst/>
              <a:gdLst>
                <a:gd name="T0" fmla="*/ 17 w 295"/>
                <a:gd name="T1" fmla="*/ 33 h 33"/>
                <a:gd name="T2" fmla="*/ 279 w 295"/>
                <a:gd name="T3" fmla="*/ 33 h 33"/>
                <a:gd name="T4" fmla="*/ 295 w 295"/>
                <a:gd name="T5" fmla="*/ 16 h 33"/>
                <a:gd name="T6" fmla="*/ 279 w 295"/>
                <a:gd name="T7" fmla="*/ 0 h 33"/>
                <a:gd name="T8" fmla="*/ 17 w 295"/>
                <a:gd name="T9" fmla="*/ 0 h 33"/>
                <a:gd name="T10" fmla="*/ 0 w 295"/>
                <a:gd name="T11" fmla="*/ 16 h 33"/>
                <a:gd name="T12" fmla="*/ 17 w 29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295" h="33">
                  <a:moveTo>
                    <a:pt x="17" y="33"/>
                  </a:moveTo>
                  <a:lnTo>
                    <a:pt x="279" y="33"/>
                  </a:lnTo>
                  <a:cubicBezTo>
                    <a:pt x="288" y="33"/>
                    <a:pt x="295" y="25"/>
                    <a:pt x="295" y="16"/>
                  </a:cubicBezTo>
                  <a:cubicBezTo>
                    <a:pt x="295" y="7"/>
                    <a:pt x="288" y="0"/>
                    <a:pt x="279" y="0"/>
                  </a:cubicBezTo>
                  <a:lnTo>
                    <a:pt x="17" y="0"/>
                  </a:lnTo>
                  <a:cubicBezTo>
                    <a:pt x="7" y="0"/>
                    <a:pt x="0" y="7"/>
                    <a:pt x="0" y="16"/>
                  </a:cubicBezTo>
                  <a:cubicBezTo>
                    <a:pt x="0" y="25"/>
                    <a:pt x="7" y="33"/>
                    <a:pt x="17"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93" name="Freeform 212">
              <a:extLst>
                <a:ext uri="{FF2B5EF4-FFF2-40B4-BE49-F238E27FC236}">
                  <a16:creationId xmlns:a16="http://schemas.microsoft.com/office/drawing/2014/main" id="{3C20135B-76DF-04E7-ED93-A98A2E829B81}"/>
                </a:ext>
              </a:extLst>
            </p:cNvPr>
            <p:cNvSpPr>
              <a:spLocks/>
            </p:cNvSpPr>
            <p:nvPr/>
          </p:nvSpPr>
          <p:spPr bwMode="auto">
            <a:xfrm>
              <a:off x="663575" y="3813169"/>
              <a:ext cx="176212" cy="20638"/>
            </a:xfrm>
            <a:custGeom>
              <a:avLst/>
              <a:gdLst>
                <a:gd name="T0" fmla="*/ 17 w 295"/>
                <a:gd name="T1" fmla="*/ 34 h 34"/>
                <a:gd name="T2" fmla="*/ 279 w 295"/>
                <a:gd name="T3" fmla="*/ 34 h 34"/>
                <a:gd name="T4" fmla="*/ 295 w 295"/>
                <a:gd name="T5" fmla="*/ 17 h 34"/>
                <a:gd name="T6" fmla="*/ 279 w 295"/>
                <a:gd name="T7" fmla="*/ 0 h 34"/>
                <a:gd name="T8" fmla="*/ 17 w 295"/>
                <a:gd name="T9" fmla="*/ 0 h 34"/>
                <a:gd name="T10" fmla="*/ 0 w 295"/>
                <a:gd name="T11" fmla="*/ 17 h 34"/>
                <a:gd name="T12" fmla="*/ 17 w 29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295" h="34">
                  <a:moveTo>
                    <a:pt x="17" y="34"/>
                  </a:moveTo>
                  <a:lnTo>
                    <a:pt x="279" y="34"/>
                  </a:lnTo>
                  <a:cubicBezTo>
                    <a:pt x="288" y="34"/>
                    <a:pt x="295" y="26"/>
                    <a:pt x="295" y="17"/>
                  </a:cubicBezTo>
                  <a:cubicBezTo>
                    <a:pt x="295" y="8"/>
                    <a:pt x="288" y="0"/>
                    <a:pt x="279" y="0"/>
                  </a:cubicBezTo>
                  <a:lnTo>
                    <a:pt x="17" y="0"/>
                  </a:lnTo>
                  <a:cubicBezTo>
                    <a:pt x="7" y="0"/>
                    <a:pt x="0" y="8"/>
                    <a:pt x="0" y="17"/>
                  </a:cubicBezTo>
                  <a:cubicBezTo>
                    <a:pt x="0" y="26"/>
                    <a:pt x="7" y="34"/>
                    <a:pt x="17" y="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94" name="Freeform 213">
              <a:extLst>
                <a:ext uri="{FF2B5EF4-FFF2-40B4-BE49-F238E27FC236}">
                  <a16:creationId xmlns:a16="http://schemas.microsoft.com/office/drawing/2014/main" id="{56AFE358-743A-757F-A946-30565207D361}"/>
                </a:ext>
              </a:extLst>
            </p:cNvPr>
            <p:cNvSpPr>
              <a:spLocks/>
            </p:cNvSpPr>
            <p:nvPr/>
          </p:nvSpPr>
          <p:spPr bwMode="auto">
            <a:xfrm>
              <a:off x="663575" y="3865555"/>
              <a:ext cx="176212" cy="20638"/>
            </a:xfrm>
            <a:custGeom>
              <a:avLst/>
              <a:gdLst>
                <a:gd name="T0" fmla="*/ 17 w 295"/>
                <a:gd name="T1" fmla="*/ 33 h 33"/>
                <a:gd name="T2" fmla="*/ 279 w 295"/>
                <a:gd name="T3" fmla="*/ 33 h 33"/>
                <a:gd name="T4" fmla="*/ 295 w 295"/>
                <a:gd name="T5" fmla="*/ 17 h 33"/>
                <a:gd name="T6" fmla="*/ 279 w 295"/>
                <a:gd name="T7" fmla="*/ 0 h 33"/>
                <a:gd name="T8" fmla="*/ 17 w 295"/>
                <a:gd name="T9" fmla="*/ 0 h 33"/>
                <a:gd name="T10" fmla="*/ 0 w 295"/>
                <a:gd name="T11" fmla="*/ 17 h 33"/>
                <a:gd name="T12" fmla="*/ 17 w 29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295" h="33">
                  <a:moveTo>
                    <a:pt x="17" y="33"/>
                  </a:moveTo>
                  <a:lnTo>
                    <a:pt x="279" y="33"/>
                  </a:lnTo>
                  <a:cubicBezTo>
                    <a:pt x="288" y="33"/>
                    <a:pt x="295" y="26"/>
                    <a:pt x="295" y="17"/>
                  </a:cubicBezTo>
                  <a:cubicBezTo>
                    <a:pt x="295" y="7"/>
                    <a:pt x="288" y="0"/>
                    <a:pt x="279" y="0"/>
                  </a:cubicBezTo>
                  <a:lnTo>
                    <a:pt x="17" y="0"/>
                  </a:lnTo>
                  <a:cubicBezTo>
                    <a:pt x="7" y="0"/>
                    <a:pt x="0" y="7"/>
                    <a:pt x="0" y="17"/>
                  </a:cubicBezTo>
                  <a:cubicBezTo>
                    <a:pt x="0" y="26"/>
                    <a:pt x="7" y="33"/>
                    <a:pt x="17"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95" name="Freeform 214">
              <a:extLst>
                <a:ext uri="{FF2B5EF4-FFF2-40B4-BE49-F238E27FC236}">
                  <a16:creationId xmlns:a16="http://schemas.microsoft.com/office/drawing/2014/main" id="{2DF33CFD-10EC-2C9B-5115-CEA5369CCFD7}"/>
                </a:ext>
              </a:extLst>
            </p:cNvPr>
            <p:cNvSpPr>
              <a:spLocks/>
            </p:cNvSpPr>
            <p:nvPr/>
          </p:nvSpPr>
          <p:spPr bwMode="auto">
            <a:xfrm>
              <a:off x="493713" y="3919531"/>
              <a:ext cx="176212" cy="19050"/>
            </a:xfrm>
            <a:custGeom>
              <a:avLst/>
              <a:gdLst>
                <a:gd name="T0" fmla="*/ 17 w 295"/>
                <a:gd name="T1" fmla="*/ 33 h 33"/>
                <a:gd name="T2" fmla="*/ 279 w 295"/>
                <a:gd name="T3" fmla="*/ 33 h 33"/>
                <a:gd name="T4" fmla="*/ 295 w 295"/>
                <a:gd name="T5" fmla="*/ 17 h 33"/>
                <a:gd name="T6" fmla="*/ 279 w 295"/>
                <a:gd name="T7" fmla="*/ 0 h 33"/>
                <a:gd name="T8" fmla="*/ 17 w 295"/>
                <a:gd name="T9" fmla="*/ 0 h 33"/>
                <a:gd name="T10" fmla="*/ 0 w 295"/>
                <a:gd name="T11" fmla="*/ 17 h 33"/>
                <a:gd name="T12" fmla="*/ 17 w 29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295" h="33">
                  <a:moveTo>
                    <a:pt x="17" y="33"/>
                  </a:moveTo>
                  <a:lnTo>
                    <a:pt x="279" y="33"/>
                  </a:lnTo>
                  <a:cubicBezTo>
                    <a:pt x="288" y="33"/>
                    <a:pt x="295" y="26"/>
                    <a:pt x="295" y="17"/>
                  </a:cubicBezTo>
                  <a:cubicBezTo>
                    <a:pt x="295" y="8"/>
                    <a:pt x="288" y="0"/>
                    <a:pt x="279" y="0"/>
                  </a:cubicBezTo>
                  <a:lnTo>
                    <a:pt x="17" y="0"/>
                  </a:lnTo>
                  <a:cubicBezTo>
                    <a:pt x="8" y="0"/>
                    <a:pt x="0" y="8"/>
                    <a:pt x="0" y="17"/>
                  </a:cubicBezTo>
                  <a:cubicBezTo>
                    <a:pt x="0" y="26"/>
                    <a:pt x="8" y="33"/>
                    <a:pt x="17"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96" name="Freeform 215">
              <a:extLst>
                <a:ext uri="{FF2B5EF4-FFF2-40B4-BE49-F238E27FC236}">
                  <a16:creationId xmlns:a16="http://schemas.microsoft.com/office/drawing/2014/main" id="{0028AB1C-3AD8-153A-66D5-324AFD70975D}"/>
                </a:ext>
              </a:extLst>
            </p:cNvPr>
            <p:cNvSpPr>
              <a:spLocks/>
            </p:cNvSpPr>
            <p:nvPr/>
          </p:nvSpPr>
          <p:spPr bwMode="auto">
            <a:xfrm>
              <a:off x="528637" y="3976689"/>
              <a:ext cx="141288" cy="20638"/>
            </a:xfrm>
            <a:custGeom>
              <a:avLst/>
              <a:gdLst>
                <a:gd name="T0" fmla="*/ 221 w 237"/>
                <a:gd name="T1" fmla="*/ 0 h 33"/>
                <a:gd name="T2" fmla="*/ 16 w 237"/>
                <a:gd name="T3" fmla="*/ 0 h 33"/>
                <a:gd name="T4" fmla="*/ 0 w 237"/>
                <a:gd name="T5" fmla="*/ 17 h 33"/>
                <a:gd name="T6" fmla="*/ 16 w 237"/>
                <a:gd name="T7" fmla="*/ 33 h 33"/>
                <a:gd name="T8" fmla="*/ 221 w 237"/>
                <a:gd name="T9" fmla="*/ 33 h 33"/>
                <a:gd name="T10" fmla="*/ 237 w 237"/>
                <a:gd name="T11" fmla="*/ 17 h 33"/>
                <a:gd name="T12" fmla="*/ 221 w 237"/>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237" h="33">
                  <a:moveTo>
                    <a:pt x="221" y="0"/>
                  </a:moveTo>
                  <a:lnTo>
                    <a:pt x="16" y="0"/>
                  </a:lnTo>
                  <a:cubicBezTo>
                    <a:pt x="7" y="0"/>
                    <a:pt x="0" y="7"/>
                    <a:pt x="0" y="17"/>
                  </a:cubicBezTo>
                  <a:cubicBezTo>
                    <a:pt x="0" y="26"/>
                    <a:pt x="7" y="33"/>
                    <a:pt x="16" y="33"/>
                  </a:cubicBezTo>
                  <a:lnTo>
                    <a:pt x="221" y="33"/>
                  </a:lnTo>
                  <a:cubicBezTo>
                    <a:pt x="230" y="33"/>
                    <a:pt x="237" y="26"/>
                    <a:pt x="237" y="17"/>
                  </a:cubicBezTo>
                  <a:cubicBezTo>
                    <a:pt x="237" y="7"/>
                    <a:pt x="230" y="0"/>
                    <a:pt x="22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grpSp>
      <p:grpSp>
        <p:nvGrpSpPr>
          <p:cNvPr id="1301" name="AI3" descr="{&quot;Key&quot;:&quot;POWER_USER_SHAPE_ICON&quot;,&quot;Value&quot;:&quot;POWER_USER_SHAPE_ICON_STYLE_1&quot;}">
            <a:extLst>
              <a:ext uri="{FF2B5EF4-FFF2-40B4-BE49-F238E27FC236}">
                <a16:creationId xmlns:a16="http://schemas.microsoft.com/office/drawing/2014/main" id="{31DFE760-C41C-7862-69F8-5D5511B74B62}"/>
              </a:ext>
            </a:extLst>
          </p:cNvPr>
          <p:cNvGrpSpPr>
            <a:grpSpLocks noChangeAspect="1"/>
          </p:cNvGrpSpPr>
          <p:nvPr/>
        </p:nvGrpSpPr>
        <p:grpSpPr>
          <a:xfrm>
            <a:off x="6351749" y="4027387"/>
            <a:ext cx="269721" cy="249684"/>
            <a:chOff x="5936234" y="2219065"/>
            <a:chExt cx="3630213" cy="3360535"/>
          </a:xfrm>
          <a:solidFill>
            <a:schemeClr val="bg1"/>
          </a:solidFill>
        </p:grpSpPr>
        <p:sp>
          <p:nvSpPr>
            <p:cNvPr id="1302" name="Freeform: Shape 2482">
              <a:extLst>
                <a:ext uri="{FF2B5EF4-FFF2-40B4-BE49-F238E27FC236}">
                  <a16:creationId xmlns:a16="http://schemas.microsoft.com/office/drawing/2014/main" id="{02B4C3C2-DB03-17E5-7B25-B86B785FDC5B}"/>
                </a:ext>
              </a:extLst>
            </p:cNvPr>
            <p:cNvSpPr>
              <a:spLocks/>
            </p:cNvSpPr>
            <p:nvPr/>
          </p:nvSpPr>
          <p:spPr bwMode="auto">
            <a:xfrm>
              <a:off x="7699484" y="2633946"/>
              <a:ext cx="1410595" cy="2344083"/>
            </a:xfrm>
            <a:custGeom>
              <a:avLst/>
              <a:gdLst>
                <a:gd name="connsiteX0" fmla="*/ 1007578 w 1410595"/>
                <a:gd name="connsiteY0" fmla="*/ 1980833 h 2344083"/>
                <a:gd name="connsiteX1" fmla="*/ 1007568 w 1410595"/>
                <a:gd name="connsiteY1" fmla="*/ 1980991 h 2344083"/>
                <a:gd name="connsiteX2" fmla="*/ 1007568 w 1410595"/>
                <a:gd name="connsiteY2" fmla="*/ 1980834 h 2344083"/>
                <a:gd name="connsiteX3" fmla="*/ 1543 w 1410595"/>
                <a:gd name="connsiteY3" fmla="*/ 1846226 h 2344083"/>
                <a:gd name="connsiteX4" fmla="*/ 92202 w 1410595"/>
                <a:gd name="connsiteY4" fmla="*/ 1846226 h 2344083"/>
                <a:gd name="connsiteX5" fmla="*/ 91353 w 1410595"/>
                <a:gd name="connsiteY5" fmla="*/ 1871529 h 2344083"/>
                <a:gd name="connsiteX6" fmla="*/ 161211 w 1410595"/>
                <a:gd name="connsiteY6" fmla="*/ 2127829 h 2344083"/>
                <a:gd name="connsiteX7" fmla="*/ 346604 w 1410595"/>
                <a:gd name="connsiteY7" fmla="*/ 2213263 h 2344083"/>
                <a:gd name="connsiteX8" fmla="*/ 416462 w 1410595"/>
                <a:gd name="connsiteY8" fmla="*/ 2207923 h 2344083"/>
                <a:gd name="connsiteX9" fmla="*/ 421835 w 1410595"/>
                <a:gd name="connsiteY9" fmla="*/ 2205254 h 2344083"/>
                <a:gd name="connsiteX10" fmla="*/ 424522 w 1410595"/>
                <a:gd name="connsiteY10" fmla="*/ 2205254 h 2344083"/>
                <a:gd name="connsiteX11" fmla="*/ 446017 w 1410595"/>
                <a:gd name="connsiteY11" fmla="*/ 2205254 h 2344083"/>
                <a:gd name="connsiteX12" fmla="*/ 456764 w 1410595"/>
                <a:gd name="connsiteY12" fmla="*/ 2221272 h 2344083"/>
                <a:gd name="connsiteX13" fmla="*/ 537370 w 1410595"/>
                <a:gd name="connsiteY13" fmla="*/ 2255980 h 2344083"/>
                <a:gd name="connsiteX14" fmla="*/ 628723 w 1410595"/>
                <a:gd name="connsiteY14" fmla="*/ 2205254 h 2344083"/>
                <a:gd name="connsiteX15" fmla="*/ 655591 w 1410595"/>
                <a:gd name="connsiteY15" fmla="*/ 2162537 h 2344083"/>
                <a:gd name="connsiteX16" fmla="*/ 693207 w 1410595"/>
                <a:gd name="connsiteY16" fmla="*/ 2197244 h 2344083"/>
                <a:gd name="connsiteX17" fmla="*/ 741570 w 1410595"/>
                <a:gd name="connsiteY17" fmla="*/ 2213263 h 2344083"/>
                <a:gd name="connsiteX18" fmla="*/ 795307 w 1410595"/>
                <a:gd name="connsiteY18" fmla="*/ 2194574 h 2344083"/>
                <a:gd name="connsiteX19" fmla="*/ 816802 w 1410595"/>
                <a:gd name="connsiteY19" fmla="*/ 2146518 h 2344083"/>
                <a:gd name="connsiteX20" fmla="*/ 814115 w 1410595"/>
                <a:gd name="connsiteY20" fmla="*/ 2127829 h 2344083"/>
                <a:gd name="connsiteX21" fmla="*/ 797994 w 1410595"/>
                <a:gd name="connsiteY21" fmla="*/ 2063754 h 2344083"/>
                <a:gd name="connsiteX22" fmla="*/ 862478 w 1410595"/>
                <a:gd name="connsiteY22" fmla="*/ 2071764 h 2344083"/>
                <a:gd name="connsiteX23" fmla="*/ 875912 w 1410595"/>
                <a:gd name="connsiteY23" fmla="*/ 2074434 h 2344083"/>
                <a:gd name="connsiteX24" fmla="*/ 937710 w 1410595"/>
                <a:gd name="connsiteY24" fmla="*/ 2047736 h 2344083"/>
                <a:gd name="connsiteX25" fmla="*/ 961891 w 1410595"/>
                <a:gd name="connsiteY25" fmla="*/ 1994340 h 2344083"/>
                <a:gd name="connsiteX26" fmla="*/ 961891 w 1410595"/>
                <a:gd name="connsiteY26" fmla="*/ 1986330 h 2344083"/>
                <a:gd name="connsiteX27" fmla="*/ 956518 w 1410595"/>
                <a:gd name="connsiteY27" fmla="*/ 1932934 h 2344083"/>
                <a:gd name="connsiteX28" fmla="*/ 1007568 w 1410595"/>
                <a:gd name="connsiteY28" fmla="*/ 1938274 h 2344083"/>
                <a:gd name="connsiteX29" fmla="*/ 1007568 w 1410595"/>
                <a:gd name="connsiteY29" fmla="*/ 1980834 h 2344083"/>
                <a:gd name="connsiteX30" fmla="*/ 1004881 w 1410595"/>
                <a:gd name="connsiteY30" fmla="*/ 1980991 h 2344083"/>
                <a:gd name="connsiteX31" fmla="*/ 1002194 w 1410595"/>
                <a:gd name="connsiteY31" fmla="*/ 2026377 h 2344083"/>
                <a:gd name="connsiteX32" fmla="*/ 1004881 w 1410595"/>
                <a:gd name="connsiteY32" fmla="*/ 2026377 h 2344083"/>
                <a:gd name="connsiteX33" fmla="*/ 1007568 w 1410595"/>
                <a:gd name="connsiteY33" fmla="*/ 2026377 h 2344083"/>
                <a:gd name="connsiteX34" fmla="*/ 1044876 w 1410595"/>
                <a:gd name="connsiteY34" fmla="*/ 2022285 h 2344083"/>
                <a:gd name="connsiteX35" fmla="*/ 1037123 w 1410595"/>
                <a:gd name="connsiteY35" fmla="*/ 2060417 h 2344083"/>
                <a:gd name="connsiteX36" fmla="*/ 999507 w 1410595"/>
                <a:gd name="connsiteY36" fmla="*/ 2114480 h 2344083"/>
                <a:gd name="connsiteX37" fmla="*/ 943755 w 1410595"/>
                <a:gd name="connsiteY37" fmla="*/ 2149522 h 2344083"/>
                <a:gd name="connsiteX38" fmla="*/ 904239 w 1410595"/>
                <a:gd name="connsiteY38" fmla="*/ 2157103 h 2344083"/>
                <a:gd name="connsiteX39" fmla="*/ 905468 w 1410595"/>
                <a:gd name="connsiteY39" fmla="*/ 2146518 h 2344083"/>
                <a:gd name="connsiteX40" fmla="*/ 900094 w 1410595"/>
                <a:gd name="connsiteY40" fmla="*/ 2106471 h 2344083"/>
                <a:gd name="connsiteX41" fmla="*/ 857104 w 1410595"/>
                <a:gd name="connsiteY41" fmla="*/ 2117150 h 2344083"/>
                <a:gd name="connsiteX42" fmla="*/ 851731 w 1410595"/>
                <a:gd name="connsiteY42" fmla="*/ 2159867 h 2344083"/>
                <a:gd name="connsiteX43" fmla="*/ 875912 w 1410595"/>
                <a:gd name="connsiteY43" fmla="*/ 2162537 h 2344083"/>
                <a:gd name="connsiteX44" fmla="*/ 904239 w 1410595"/>
                <a:gd name="connsiteY44" fmla="*/ 2157103 h 2344083"/>
                <a:gd name="connsiteX45" fmla="*/ 901648 w 1410595"/>
                <a:gd name="connsiteY45" fmla="*/ 2179432 h 2344083"/>
                <a:gd name="connsiteX46" fmla="*/ 854418 w 1410595"/>
                <a:gd name="connsiteY46" fmla="*/ 2258650 h 2344083"/>
                <a:gd name="connsiteX47" fmla="*/ 741570 w 1410595"/>
                <a:gd name="connsiteY47" fmla="*/ 2304036 h 2344083"/>
                <a:gd name="connsiteX48" fmla="*/ 685818 w 1410595"/>
                <a:gd name="connsiteY48" fmla="*/ 2294024 h 2344083"/>
                <a:gd name="connsiteX49" fmla="*/ 672536 w 1410595"/>
                <a:gd name="connsiteY49" fmla="*/ 2286311 h 2344083"/>
                <a:gd name="connsiteX50" fmla="*/ 701267 w 1410595"/>
                <a:gd name="connsiteY50" fmla="*/ 2253310 h 2344083"/>
                <a:gd name="connsiteX51" fmla="*/ 663652 w 1410595"/>
                <a:gd name="connsiteY51" fmla="*/ 2229282 h 2344083"/>
                <a:gd name="connsiteX52" fmla="*/ 634096 w 1410595"/>
                <a:gd name="connsiteY52" fmla="*/ 2263989 h 2344083"/>
                <a:gd name="connsiteX53" fmla="*/ 672536 w 1410595"/>
                <a:gd name="connsiteY53" fmla="*/ 2286311 h 2344083"/>
                <a:gd name="connsiteX54" fmla="*/ 667346 w 1410595"/>
                <a:gd name="connsiteY54" fmla="*/ 2292273 h 2344083"/>
                <a:gd name="connsiteX55" fmla="*/ 537370 w 1410595"/>
                <a:gd name="connsiteY55" fmla="*/ 2344083 h 2344083"/>
                <a:gd name="connsiteX56" fmla="*/ 459787 w 1410595"/>
                <a:gd name="connsiteY56" fmla="*/ 2328064 h 2344083"/>
                <a:gd name="connsiteX57" fmla="*/ 414234 w 1410595"/>
                <a:gd name="connsiteY57" fmla="*/ 2295636 h 2344083"/>
                <a:gd name="connsiteX58" fmla="*/ 424522 w 1410595"/>
                <a:gd name="connsiteY58" fmla="*/ 2294358 h 2344083"/>
                <a:gd name="connsiteX59" fmla="*/ 432583 w 1410595"/>
                <a:gd name="connsiteY59" fmla="*/ 2293357 h 2344083"/>
                <a:gd name="connsiteX60" fmla="*/ 424522 w 1410595"/>
                <a:gd name="connsiteY60" fmla="*/ 2250640 h 2344083"/>
                <a:gd name="connsiteX61" fmla="*/ 392280 w 1410595"/>
                <a:gd name="connsiteY61" fmla="*/ 2280008 h 2344083"/>
                <a:gd name="connsiteX62" fmla="*/ 414234 w 1410595"/>
                <a:gd name="connsiteY62" fmla="*/ 2295636 h 2344083"/>
                <a:gd name="connsiteX63" fmla="*/ 346604 w 1410595"/>
                <a:gd name="connsiteY63" fmla="*/ 2304036 h 2344083"/>
                <a:gd name="connsiteX64" fmla="*/ 91353 w 1410595"/>
                <a:gd name="connsiteY64" fmla="*/ 2183895 h 2344083"/>
                <a:gd name="connsiteX65" fmla="*/ 0 w 1410595"/>
                <a:gd name="connsiteY65" fmla="*/ 1871529 h 2344083"/>
                <a:gd name="connsiteX66" fmla="*/ 660965 w 1410595"/>
                <a:gd name="connsiteY66" fmla="*/ 0 h 2344083"/>
                <a:gd name="connsiteX67" fmla="*/ 736196 w 1410595"/>
                <a:gd name="connsiteY67" fmla="*/ 15685 h 2344083"/>
                <a:gd name="connsiteX68" fmla="*/ 779586 w 1410595"/>
                <a:gd name="connsiteY68" fmla="*/ 45219 h 2344083"/>
                <a:gd name="connsiteX69" fmla="*/ 757691 w 1410595"/>
                <a:gd name="connsiteY69" fmla="*/ 48056 h 2344083"/>
                <a:gd name="connsiteX70" fmla="*/ 768438 w 1410595"/>
                <a:gd name="connsiteY70" fmla="*/ 90773 h 2344083"/>
                <a:gd name="connsiteX71" fmla="*/ 803367 w 1410595"/>
                <a:gd name="connsiteY71" fmla="*/ 61405 h 2344083"/>
                <a:gd name="connsiteX72" fmla="*/ 779586 w 1410595"/>
                <a:gd name="connsiteY72" fmla="*/ 45219 h 2344083"/>
                <a:gd name="connsiteX73" fmla="*/ 819488 w 1410595"/>
                <a:gd name="connsiteY73" fmla="*/ 40047 h 2344083"/>
                <a:gd name="connsiteX74" fmla="*/ 1051061 w 1410595"/>
                <a:gd name="connsiteY74" fmla="*/ 231678 h 2344083"/>
                <a:gd name="connsiteX75" fmla="*/ 1054935 w 1410595"/>
                <a:gd name="connsiteY75" fmla="*/ 270374 h 2344083"/>
                <a:gd name="connsiteX76" fmla="*/ 1029063 w 1410595"/>
                <a:gd name="connsiteY76" fmla="*/ 253631 h 2344083"/>
                <a:gd name="connsiteX77" fmla="*/ 1010255 w 1410595"/>
                <a:gd name="connsiteY77" fmla="*/ 293678 h 2344083"/>
                <a:gd name="connsiteX78" fmla="*/ 1055931 w 1410595"/>
                <a:gd name="connsiteY78" fmla="*/ 299018 h 2344083"/>
                <a:gd name="connsiteX79" fmla="*/ 1055931 w 1410595"/>
                <a:gd name="connsiteY79" fmla="*/ 280329 h 2344083"/>
                <a:gd name="connsiteX80" fmla="*/ 1054935 w 1410595"/>
                <a:gd name="connsiteY80" fmla="*/ 270374 h 2344083"/>
                <a:gd name="connsiteX81" fmla="*/ 1089139 w 1410595"/>
                <a:gd name="connsiteY81" fmla="*/ 292510 h 2344083"/>
                <a:gd name="connsiteX82" fmla="*/ 1174152 w 1410595"/>
                <a:gd name="connsiteY82" fmla="*/ 483234 h 2344083"/>
                <a:gd name="connsiteX83" fmla="*/ 1170458 w 1410595"/>
                <a:gd name="connsiteY83" fmla="*/ 524616 h 2344083"/>
                <a:gd name="connsiteX84" fmla="*/ 1169206 w 1410595"/>
                <a:gd name="connsiteY84" fmla="*/ 529936 h 2344083"/>
                <a:gd name="connsiteX85" fmla="*/ 1133850 w 1410595"/>
                <a:gd name="connsiteY85" fmla="*/ 509932 h 2344083"/>
                <a:gd name="connsiteX86" fmla="*/ 1117729 w 1410595"/>
                <a:gd name="connsiteY86" fmla="*/ 552648 h 2344083"/>
                <a:gd name="connsiteX87" fmla="*/ 1160718 w 1410595"/>
                <a:gd name="connsiteY87" fmla="*/ 565997 h 2344083"/>
                <a:gd name="connsiteX88" fmla="*/ 1169206 w 1410595"/>
                <a:gd name="connsiteY88" fmla="*/ 529936 h 2344083"/>
                <a:gd name="connsiteX89" fmla="*/ 1204925 w 1410595"/>
                <a:gd name="connsiteY89" fmla="*/ 550146 h 2344083"/>
                <a:gd name="connsiteX90" fmla="*/ 1305808 w 1410595"/>
                <a:gd name="connsiteY90" fmla="*/ 752883 h 2344083"/>
                <a:gd name="connsiteX91" fmla="*/ 1298083 w 1410595"/>
                <a:gd name="connsiteY91" fmla="*/ 812954 h 2344083"/>
                <a:gd name="connsiteX92" fmla="*/ 1290153 w 1410595"/>
                <a:gd name="connsiteY92" fmla="*/ 834774 h 2344083"/>
                <a:gd name="connsiteX93" fmla="*/ 1254758 w 1410595"/>
                <a:gd name="connsiteY93" fmla="*/ 811619 h 2344083"/>
                <a:gd name="connsiteX94" fmla="*/ 1235950 w 1410595"/>
                <a:gd name="connsiteY94" fmla="*/ 851666 h 2344083"/>
                <a:gd name="connsiteX95" fmla="*/ 1276253 w 1410595"/>
                <a:gd name="connsiteY95" fmla="*/ 873024 h 2344083"/>
                <a:gd name="connsiteX96" fmla="*/ 1290153 w 1410595"/>
                <a:gd name="connsiteY96" fmla="*/ 834774 h 2344083"/>
                <a:gd name="connsiteX97" fmla="*/ 1318781 w 1410595"/>
                <a:gd name="connsiteY97" fmla="*/ 853501 h 2344083"/>
                <a:gd name="connsiteX98" fmla="*/ 1410595 w 1410595"/>
                <a:gd name="connsiteY98" fmla="*/ 1065250 h 2344083"/>
                <a:gd name="connsiteX99" fmla="*/ 1351652 w 1410595"/>
                <a:gd name="connsiteY99" fmla="*/ 1242458 h 2344083"/>
                <a:gd name="connsiteX100" fmla="*/ 1337871 w 1410595"/>
                <a:gd name="connsiteY100" fmla="*/ 1256631 h 2344083"/>
                <a:gd name="connsiteX101" fmla="*/ 1313868 w 1410595"/>
                <a:gd name="connsiteY101" fmla="*/ 1220098 h 2344083"/>
                <a:gd name="connsiteX102" fmla="*/ 1281626 w 1410595"/>
                <a:gd name="connsiteY102" fmla="*/ 1252136 h 2344083"/>
                <a:gd name="connsiteX103" fmla="*/ 1308495 w 1410595"/>
                <a:gd name="connsiteY103" fmla="*/ 1286843 h 2344083"/>
                <a:gd name="connsiteX104" fmla="*/ 1337871 w 1410595"/>
                <a:gd name="connsiteY104" fmla="*/ 1256631 h 2344083"/>
                <a:gd name="connsiteX105" fmla="*/ 1356186 w 1410595"/>
                <a:gd name="connsiteY105" fmla="*/ 1284507 h 2344083"/>
                <a:gd name="connsiteX106" fmla="*/ 1370292 w 1410595"/>
                <a:gd name="connsiteY106" fmla="*/ 1358928 h 2344083"/>
                <a:gd name="connsiteX107" fmla="*/ 1309082 w 1410595"/>
                <a:gd name="connsiteY107" fmla="*/ 1498967 h 2344083"/>
                <a:gd name="connsiteX108" fmla="*/ 1294714 w 1410595"/>
                <a:gd name="connsiteY108" fmla="*/ 1509370 h 2344083"/>
                <a:gd name="connsiteX109" fmla="*/ 1281626 w 1410595"/>
                <a:gd name="connsiteY109" fmla="*/ 1473729 h 2344083"/>
                <a:gd name="connsiteX110" fmla="*/ 1241324 w 1410595"/>
                <a:gd name="connsiteY110" fmla="*/ 1492417 h 2344083"/>
                <a:gd name="connsiteX111" fmla="*/ 1262818 w 1410595"/>
                <a:gd name="connsiteY111" fmla="*/ 1532464 h 2344083"/>
                <a:gd name="connsiteX112" fmla="*/ 1294714 w 1410595"/>
                <a:gd name="connsiteY112" fmla="*/ 1509370 h 2344083"/>
                <a:gd name="connsiteX113" fmla="*/ 1299762 w 1410595"/>
                <a:gd name="connsiteY113" fmla="*/ 1523120 h 2344083"/>
                <a:gd name="connsiteX114" fmla="*/ 1305808 w 1410595"/>
                <a:gd name="connsiteY114" fmla="*/ 1572511 h 2344083"/>
                <a:gd name="connsiteX115" fmla="*/ 1260132 w 1410595"/>
                <a:gd name="connsiteY115" fmla="*/ 1708671 h 2344083"/>
                <a:gd name="connsiteX116" fmla="*/ 1206395 w 1410595"/>
                <a:gd name="connsiteY116" fmla="*/ 1759398 h 2344083"/>
                <a:gd name="connsiteX117" fmla="*/ 1186368 w 1410595"/>
                <a:gd name="connsiteY117" fmla="*/ 1767051 h 2344083"/>
                <a:gd name="connsiteX118" fmla="*/ 1166092 w 1410595"/>
                <a:gd name="connsiteY118" fmla="*/ 1719350 h 2344083"/>
                <a:gd name="connsiteX119" fmla="*/ 1125789 w 1410595"/>
                <a:gd name="connsiteY119" fmla="*/ 1743379 h 2344083"/>
                <a:gd name="connsiteX120" fmla="*/ 1136536 w 1410595"/>
                <a:gd name="connsiteY120" fmla="*/ 1786095 h 2344083"/>
                <a:gd name="connsiteX121" fmla="*/ 1186368 w 1410595"/>
                <a:gd name="connsiteY121" fmla="*/ 1767051 h 2344083"/>
                <a:gd name="connsiteX122" fmla="*/ 1188930 w 1410595"/>
                <a:gd name="connsiteY122" fmla="*/ 1773080 h 2344083"/>
                <a:gd name="connsiteX123" fmla="*/ 1195647 w 1410595"/>
                <a:gd name="connsiteY123" fmla="*/ 1828812 h 2344083"/>
                <a:gd name="connsiteX124" fmla="*/ 1144597 w 1410595"/>
                <a:gd name="connsiteY124" fmla="*/ 1964972 h 2344083"/>
                <a:gd name="connsiteX125" fmla="*/ 1047115 w 1410595"/>
                <a:gd name="connsiteY125" fmla="*/ 2022039 h 2344083"/>
                <a:gd name="connsiteX126" fmla="*/ 1044876 w 1410595"/>
                <a:gd name="connsiteY126" fmla="*/ 2022285 h 2344083"/>
                <a:gd name="connsiteX127" fmla="*/ 1050557 w 1410595"/>
                <a:gd name="connsiteY127" fmla="*/ 1994340 h 2344083"/>
                <a:gd name="connsiteX128" fmla="*/ 1050557 w 1410595"/>
                <a:gd name="connsiteY128" fmla="*/ 1978321 h 2344083"/>
                <a:gd name="connsiteX129" fmla="*/ 1007578 w 1410595"/>
                <a:gd name="connsiteY129" fmla="*/ 1980833 h 2344083"/>
                <a:gd name="connsiteX130" fmla="*/ 1010255 w 1410595"/>
                <a:gd name="connsiteY130" fmla="*/ 1938274 h 2344083"/>
                <a:gd name="connsiteX131" fmla="*/ 1007568 w 1410595"/>
                <a:gd name="connsiteY131" fmla="*/ 1938274 h 2344083"/>
                <a:gd name="connsiteX132" fmla="*/ 1077426 w 1410595"/>
                <a:gd name="connsiteY132" fmla="*/ 1906236 h 2344083"/>
                <a:gd name="connsiteX133" fmla="*/ 1106981 w 1410595"/>
                <a:gd name="connsiteY133" fmla="*/ 1828812 h 2344083"/>
                <a:gd name="connsiteX134" fmla="*/ 1088173 w 1410595"/>
                <a:gd name="connsiteY134" fmla="*/ 1767407 h 2344083"/>
                <a:gd name="connsiteX135" fmla="*/ 1053244 w 1410595"/>
                <a:gd name="connsiteY135" fmla="*/ 1711341 h 2344083"/>
                <a:gd name="connsiteX136" fmla="*/ 1117729 w 1410595"/>
                <a:gd name="connsiteY136" fmla="*/ 1700662 h 2344083"/>
                <a:gd name="connsiteX137" fmla="*/ 1187587 w 1410595"/>
                <a:gd name="connsiteY137" fmla="*/ 1655275 h 2344083"/>
                <a:gd name="connsiteX138" fmla="*/ 1214455 w 1410595"/>
                <a:gd name="connsiteY138" fmla="*/ 1572511 h 2344083"/>
                <a:gd name="connsiteX139" fmla="*/ 1201021 w 1410595"/>
                <a:gd name="connsiteY139" fmla="*/ 1511106 h 2344083"/>
                <a:gd name="connsiteX140" fmla="*/ 1182213 w 1410595"/>
                <a:gd name="connsiteY140" fmla="*/ 1473729 h 2344083"/>
                <a:gd name="connsiteX141" fmla="*/ 1219829 w 1410595"/>
                <a:gd name="connsiteY141" fmla="*/ 1452371 h 2344083"/>
                <a:gd name="connsiteX142" fmla="*/ 1278940 w 1410595"/>
                <a:gd name="connsiteY142" fmla="*/ 1358928 h 2344083"/>
                <a:gd name="connsiteX143" fmla="*/ 1249384 w 1410595"/>
                <a:gd name="connsiteY143" fmla="*/ 1281503 h 2344083"/>
                <a:gd name="connsiteX144" fmla="*/ 1214455 w 1410595"/>
                <a:gd name="connsiteY144" fmla="*/ 1246796 h 2344083"/>
                <a:gd name="connsiteX145" fmla="*/ 1252071 w 1410595"/>
                <a:gd name="connsiteY145" fmla="*/ 1217428 h 2344083"/>
                <a:gd name="connsiteX146" fmla="*/ 1321929 w 1410595"/>
                <a:gd name="connsiteY146" fmla="*/ 1065250 h 2344083"/>
                <a:gd name="connsiteX147" fmla="*/ 1217142 w 1410595"/>
                <a:gd name="connsiteY147" fmla="*/ 891713 h 2344083"/>
                <a:gd name="connsiteX148" fmla="*/ 1174152 w 1410595"/>
                <a:gd name="connsiteY148" fmla="*/ 873024 h 2344083"/>
                <a:gd name="connsiteX149" fmla="*/ 1195647 w 1410595"/>
                <a:gd name="connsiteY149" fmla="*/ 830307 h 2344083"/>
                <a:gd name="connsiteX150" fmla="*/ 1214455 w 1410595"/>
                <a:gd name="connsiteY150" fmla="*/ 752883 h 2344083"/>
                <a:gd name="connsiteX151" fmla="*/ 1101608 w 1410595"/>
                <a:gd name="connsiteY151" fmla="*/ 595365 h 2344083"/>
                <a:gd name="connsiteX152" fmla="*/ 1061305 w 1410595"/>
                <a:gd name="connsiteY152" fmla="*/ 579346 h 2344083"/>
                <a:gd name="connsiteX153" fmla="*/ 1074739 w 1410595"/>
                <a:gd name="connsiteY153" fmla="*/ 539299 h 2344083"/>
                <a:gd name="connsiteX154" fmla="*/ 1085486 w 1410595"/>
                <a:gd name="connsiteY154" fmla="*/ 483234 h 2344083"/>
                <a:gd name="connsiteX155" fmla="*/ 991447 w 1410595"/>
                <a:gd name="connsiteY155" fmla="*/ 336395 h 2344083"/>
                <a:gd name="connsiteX156" fmla="*/ 961891 w 1410595"/>
                <a:gd name="connsiteY156" fmla="*/ 323046 h 2344083"/>
                <a:gd name="connsiteX157" fmla="*/ 964578 w 1410595"/>
                <a:gd name="connsiteY157" fmla="*/ 291008 h 2344083"/>
                <a:gd name="connsiteX158" fmla="*/ 967265 w 1410595"/>
                <a:gd name="connsiteY158" fmla="*/ 280329 h 2344083"/>
                <a:gd name="connsiteX159" fmla="*/ 921589 w 1410595"/>
                <a:gd name="connsiteY159" fmla="*/ 173537 h 2344083"/>
                <a:gd name="connsiteX160" fmla="*/ 819488 w 1410595"/>
                <a:gd name="connsiteY160" fmla="*/ 130820 h 2344083"/>
                <a:gd name="connsiteX161" fmla="*/ 781873 w 1410595"/>
                <a:gd name="connsiteY161" fmla="*/ 133490 h 2344083"/>
                <a:gd name="connsiteX162" fmla="*/ 755004 w 1410595"/>
                <a:gd name="connsiteY162" fmla="*/ 141499 h 2344083"/>
                <a:gd name="connsiteX163" fmla="*/ 736196 w 1410595"/>
                <a:gd name="connsiteY163" fmla="*/ 122811 h 2344083"/>
                <a:gd name="connsiteX164" fmla="*/ 660965 w 1410595"/>
                <a:gd name="connsiteY164" fmla="*/ 88103 h 2344083"/>
                <a:gd name="connsiteX165" fmla="*/ 564238 w 1410595"/>
                <a:gd name="connsiteY165" fmla="*/ 149509 h 2344083"/>
                <a:gd name="connsiteX166" fmla="*/ 548117 w 1410595"/>
                <a:gd name="connsiteY166" fmla="*/ 178877 h 2344083"/>
                <a:gd name="connsiteX167" fmla="*/ 515875 w 1410595"/>
                <a:gd name="connsiteY167" fmla="*/ 170867 h 2344083"/>
                <a:gd name="connsiteX168" fmla="*/ 475572 w 1410595"/>
                <a:gd name="connsiteY168" fmla="*/ 168197 h 2344083"/>
                <a:gd name="connsiteX169" fmla="*/ 354664 w 1410595"/>
                <a:gd name="connsiteY169" fmla="*/ 218924 h 2344083"/>
                <a:gd name="connsiteX170" fmla="*/ 303614 w 1410595"/>
                <a:gd name="connsiteY170" fmla="*/ 336395 h 2344083"/>
                <a:gd name="connsiteX171" fmla="*/ 338543 w 1410595"/>
                <a:gd name="connsiteY171" fmla="*/ 432507 h 2344083"/>
                <a:gd name="connsiteX172" fmla="*/ 389593 w 1410595"/>
                <a:gd name="connsiteY172" fmla="*/ 499252 h 2344083"/>
                <a:gd name="connsiteX173" fmla="*/ 303614 w 1410595"/>
                <a:gd name="connsiteY173" fmla="*/ 504592 h 2344083"/>
                <a:gd name="connsiteX174" fmla="*/ 177332 w 1410595"/>
                <a:gd name="connsiteY174" fmla="*/ 563328 h 2344083"/>
                <a:gd name="connsiteX175" fmla="*/ 138694 w 1410595"/>
                <a:gd name="connsiteY175" fmla="*/ 622321 h 2344083"/>
                <a:gd name="connsiteX176" fmla="*/ 44525 w 1410595"/>
                <a:gd name="connsiteY176" fmla="*/ 622321 h 2344083"/>
                <a:gd name="connsiteX177" fmla="*/ 54409 w 1410595"/>
                <a:gd name="connsiteY177" fmla="*/ 590693 h 2344083"/>
                <a:gd name="connsiteX178" fmla="*/ 112848 w 1410595"/>
                <a:gd name="connsiteY178" fmla="*/ 501922 h 2344083"/>
                <a:gd name="connsiteX179" fmla="*/ 198827 w 1410595"/>
                <a:gd name="connsiteY179" fmla="*/ 439849 h 2344083"/>
                <a:gd name="connsiteX180" fmla="*/ 234881 w 1410595"/>
                <a:gd name="connsiteY180" fmla="*/ 426484 h 2344083"/>
                <a:gd name="connsiteX181" fmla="*/ 265998 w 1410595"/>
                <a:gd name="connsiteY181" fmla="*/ 485903 h 2344083"/>
                <a:gd name="connsiteX182" fmla="*/ 300927 w 1410595"/>
                <a:gd name="connsiteY182" fmla="*/ 459205 h 2344083"/>
                <a:gd name="connsiteX183" fmla="*/ 300927 w 1410595"/>
                <a:gd name="connsiteY183" fmla="*/ 413819 h 2344083"/>
                <a:gd name="connsiteX184" fmla="*/ 248114 w 1410595"/>
                <a:gd name="connsiteY184" fmla="*/ 421578 h 2344083"/>
                <a:gd name="connsiteX185" fmla="*/ 234881 w 1410595"/>
                <a:gd name="connsiteY185" fmla="*/ 426484 h 2344083"/>
                <a:gd name="connsiteX186" fmla="*/ 227375 w 1410595"/>
                <a:gd name="connsiteY186" fmla="*/ 412150 h 2344083"/>
                <a:gd name="connsiteX187" fmla="*/ 214948 w 1410595"/>
                <a:gd name="connsiteY187" fmla="*/ 336395 h 2344083"/>
                <a:gd name="connsiteX188" fmla="*/ 290180 w 1410595"/>
                <a:gd name="connsiteY188" fmla="*/ 157518 h 2344083"/>
                <a:gd name="connsiteX189" fmla="*/ 475572 w 1410595"/>
                <a:gd name="connsiteY189" fmla="*/ 77424 h 2344083"/>
                <a:gd name="connsiteX190" fmla="*/ 504748 w 1410595"/>
                <a:gd name="connsiteY190" fmla="*/ 81378 h 2344083"/>
                <a:gd name="connsiteX191" fmla="*/ 486320 w 1410595"/>
                <a:gd name="connsiteY191" fmla="*/ 106792 h 2344083"/>
                <a:gd name="connsiteX192" fmla="*/ 526622 w 1410595"/>
                <a:gd name="connsiteY192" fmla="*/ 128150 h 2344083"/>
                <a:gd name="connsiteX193" fmla="*/ 534683 w 1410595"/>
                <a:gd name="connsiteY193" fmla="*/ 85434 h 2344083"/>
                <a:gd name="connsiteX194" fmla="*/ 504748 w 1410595"/>
                <a:gd name="connsiteY194" fmla="*/ 81378 h 2344083"/>
                <a:gd name="connsiteX195" fmla="*/ 519653 w 1410595"/>
                <a:gd name="connsiteY195" fmla="*/ 60822 h 2344083"/>
                <a:gd name="connsiteX196" fmla="*/ 660965 w 1410595"/>
                <a:gd name="connsiteY196" fmla="*/ 0 h 2344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410595" h="2344083">
                  <a:moveTo>
                    <a:pt x="1007578" y="1980833"/>
                  </a:moveTo>
                  <a:lnTo>
                    <a:pt x="1007568" y="1980991"/>
                  </a:lnTo>
                  <a:lnTo>
                    <a:pt x="1007568" y="1980834"/>
                  </a:lnTo>
                  <a:close/>
                  <a:moveTo>
                    <a:pt x="1543" y="1846226"/>
                  </a:moveTo>
                  <a:lnTo>
                    <a:pt x="92202" y="1846226"/>
                  </a:lnTo>
                  <a:lnTo>
                    <a:pt x="91353" y="1871529"/>
                  </a:lnTo>
                  <a:cubicBezTo>
                    <a:pt x="91353" y="1986330"/>
                    <a:pt x="118222" y="2074434"/>
                    <a:pt x="161211" y="2127829"/>
                  </a:cubicBezTo>
                  <a:cubicBezTo>
                    <a:pt x="206888" y="2183895"/>
                    <a:pt x="263311" y="2213263"/>
                    <a:pt x="346604" y="2213263"/>
                  </a:cubicBezTo>
                  <a:cubicBezTo>
                    <a:pt x="368098" y="2213263"/>
                    <a:pt x="392280" y="2213263"/>
                    <a:pt x="416462" y="2207923"/>
                  </a:cubicBezTo>
                  <a:lnTo>
                    <a:pt x="421835" y="2205254"/>
                  </a:lnTo>
                  <a:lnTo>
                    <a:pt x="424522" y="2205254"/>
                  </a:lnTo>
                  <a:lnTo>
                    <a:pt x="446017" y="2205254"/>
                  </a:lnTo>
                  <a:lnTo>
                    <a:pt x="456764" y="2221272"/>
                  </a:lnTo>
                  <a:cubicBezTo>
                    <a:pt x="480946" y="2245301"/>
                    <a:pt x="507814" y="2255980"/>
                    <a:pt x="537370" y="2255980"/>
                  </a:cubicBezTo>
                  <a:cubicBezTo>
                    <a:pt x="569612" y="2255980"/>
                    <a:pt x="601854" y="2239961"/>
                    <a:pt x="628723" y="2205254"/>
                  </a:cubicBezTo>
                  <a:lnTo>
                    <a:pt x="655591" y="2162537"/>
                  </a:lnTo>
                  <a:lnTo>
                    <a:pt x="693207" y="2197244"/>
                  </a:lnTo>
                  <a:cubicBezTo>
                    <a:pt x="709328" y="2210593"/>
                    <a:pt x="725449" y="2213263"/>
                    <a:pt x="741570" y="2213263"/>
                  </a:cubicBezTo>
                  <a:cubicBezTo>
                    <a:pt x="760378" y="2215933"/>
                    <a:pt x="779186" y="2207923"/>
                    <a:pt x="795307" y="2194574"/>
                  </a:cubicBezTo>
                  <a:cubicBezTo>
                    <a:pt x="808741" y="2181225"/>
                    <a:pt x="816802" y="2165207"/>
                    <a:pt x="816802" y="2146518"/>
                  </a:cubicBezTo>
                  <a:cubicBezTo>
                    <a:pt x="816802" y="2141178"/>
                    <a:pt x="814115" y="2133169"/>
                    <a:pt x="814115" y="2127829"/>
                  </a:cubicBezTo>
                  <a:lnTo>
                    <a:pt x="797994" y="2063754"/>
                  </a:lnTo>
                  <a:lnTo>
                    <a:pt x="862478" y="2071764"/>
                  </a:lnTo>
                  <a:cubicBezTo>
                    <a:pt x="867852" y="2074434"/>
                    <a:pt x="870539" y="2074434"/>
                    <a:pt x="875912" y="2074434"/>
                  </a:cubicBezTo>
                  <a:cubicBezTo>
                    <a:pt x="900094" y="2074434"/>
                    <a:pt x="921589" y="2063754"/>
                    <a:pt x="937710" y="2047736"/>
                  </a:cubicBezTo>
                  <a:cubicBezTo>
                    <a:pt x="951144" y="2034387"/>
                    <a:pt x="961891" y="2015698"/>
                    <a:pt x="961891" y="1994340"/>
                  </a:cubicBezTo>
                  <a:lnTo>
                    <a:pt x="961891" y="1986330"/>
                  </a:lnTo>
                  <a:lnTo>
                    <a:pt x="956518" y="1932934"/>
                  </a:lnTo>
                  <a:lnTo>
                    <a:pt x="1007568" y="1938274"/>
                  </a:lnTo>
                  <a:lnTo>
                    <a:pt x="1007568" y="1980834"/>
                  </a:lnTo>
                  <a:lnTo>
                    <a:pt x="1004881" y="1980991"/>
                  </a:lnTo>
                  <a:lnTo>
                    <a:pt x="1002194" y="2026377"/>
                  </a:lnTo>
                  <a:lnTo>
                    <a:pt x="1004881" y="2026377"/>
                  </a:lnTo>
                  <a:lnTo>
                    <a:pt x="1007568" y="2026377"/>
                  </a:lnTo>
                  <a:lnTo>
                    <a:pt x="1044876" y="2022285"/>
                  </a:lnTo>
                  <a:lnTo>
                    <a:pt x="1037123" y="2060417"/>
                  </a:lnTo>
                  <a:cubicBezTo>
                    <a:pt x="1028391" y="2081108"/>
                    <a:pt x="1015628" y="2099796"/>
                    <a:pt x="999507" y="2114480"/>
                  </a:cubicBezTo>
                  <a:cubicBezTo>
                    <a:pt x="983386" y="2129164"/>
                    <a:pt x="964578" y="2141178"/>
                    <a:pt x="943755" y="2149522"/>
                  </a:cubicBezTo>
                  <a:lnTo>
                    <a:pt x="904239" y="2157103"/>
                  </a:lnTo>
                  <a:lnTo>
                    <a:pt x="905468" y="2146518"/>
                  </a:lnTo>
                  <a:cubicBezTo>
                    <a:pt x="905468" y="2133169"/>
                    <a:pt x="902781" y="2119820"/>
                    <a:pt x="900094" y="2106471"/>
                  </a:cubicBezTo>
                  <a:lnTo>
                    <a:pt x="857104" y="2117150"/>
                  </a:lnTo>
                  <a:lnTo>
                    <a:pt x="851731" y="2159867"/>
                  </a:lnTo>
                  <a:cubicBezTo>
                    <a:pt x="859791" y="2162537"/>
                    <a:pt x="867852" y="2162537"/>
                    <a:pt x="875912" y="2162537"/>
                  </a:cubicBezTo>
                  <a:lnTo>
                    <a:pt x="904239" y="2157103"/>
                  </a:lnTo>
                  <a:lnTo>
                    <a:pt x="901648" y="2179432"/>
                  </a:lnTo>
                  <a:cubicBezTo>
                    <a:pt x="894217" y="2211094"/>
                    <a:pt x="876584" y="2238626"/>
                    <a:pt x="854418" y="2258650"/>
                  </a:cubicBezTo>
                  <a:cubicBezTo>
                    <a:pt x="824862" y="2288017"/>
                    <a:pt x="784560" y="2304036"/>
                    <a:pt x="741570" y="2304036"/>
                  </a:cubicBezTo>
                  <a:cubicBezTo>
                    <a:pt x="722762" y="2304036"/>
                    <a:pt x="703954" y="2300699"/>
                    <a:pt x="685818" y="2294024"/>
                  </a:cubicBezTo>
                  <a:lnTo>
                    <a:pt x="672536" y="2286311"/>
                  </a:lnTo>
                  <a:lnTo>
                    <a:pt x="701267" y="2253310"/>
                  </a:lnTo>
                  <a:lnTo>
                    <a:pt x="663652" y="2229282"/>
                  </a:lnTo>
                  <a:lnTo>
                    <a:pt x="634096" y="2263989"/>
                  </a:lnTo>
                  <a:lnTo>
                    <a:pt x="672536" y="2286311"/>
                  </a:lnTo>
                  <a:lnTo>
                    <a:pt x="667346" y="2292273"/>
                  </a:lnTo>
                  <a:cubicBezTo>
                    <a:pt x="630066" y="2326062"/>
                    <a:pt x="583718" y="2344083"/>
                    <a:pt x="537370" y="2344083"/>
                  </a:cubicBezTo>
                  <a:cubicBezTo>
                    <a:pt x="510501" y="2344083"/>
                    <a:pt x="484305" y="2338744"/>
                    <a:pt x="459787" y="2328064"/>
                  </a:cubicBezTo>
                  <a:lnTo>
                    <a:pt x="414234" y="2295636"/>
                  </a:lnTo>
                  <a:lnTo>
                    <a:pt x="424522" y="2294358"/>
                  </a:lnTo>
                  <a:lnTo>
                    <a:pt x="432583" y="2293357"/>
                  </a:lnTo>
                  <a:lnTo>
                    <a:pt x="424522" y="2250640"/>
                  </a:lnTo>
                  <a:lnTo>
                    <a:pt x="392280" y="2280008"/>
                  </a:lnTo>
                  <a:lnTo>
                    <a:pt x="414234" y="2295636"/>
                  </a:lnTo>
                  <a:lnTo>
                    <a:pt x="346604" y="2304036"/>
                  </a:lnTo>
                  <a:cubicBezTo>
                    <a:pt x="241817" y="2304036"/>
                    <a:pt x="150464" y="2261319"/>
                    <a:pt x="91353" y="2183895"/>
                  </a:cubicBezTo>
                  <a:cubicBezTo>
                    <a:pt x="32242" y="2106471"/>
                    <a:pt x="2687" y="1999679"/>
                    <a:pt x="0" y="1871529"/>
                  </a:cubicBezTo>
                  <a:close/>
                  <a:moveTo>
                    <a:pt x="660965" y="0"/>
                  </a:moveTo>
                  <a:cubicBezTo>
                    <a:pt x="686490" y="0"/>
                    <a:pt x="712015" y="5340"/>
                    <a:pt x="736196" y="15685"/>
                  </a:cubicBezTo>
                  <a:lnTo>
                    <a:pt x="779586" y="45219"/>
                  </a:lnTo>
                  <a:lnTo>
                    <a:pt x="757691" y="48056"/>
                  </a:lnTo>
                  <a:lnTo>
                    <a:pt x="768438" y="90773"/>
                  </a:lnTo>
                  <a:lnTo>
                    <a:pt x="803367" y="61405"/>
                  </a:lnTo>
                  <a:lnTo>
                    <a:pt x="779586" y="45219"/>
                  </a:lnTo>
                  <a:lnTo>
                    <a:pt x="819488" y="40047"/>
                  </a:lnTo>
                  <a:cubicBezTo>
                    <a:pt x="932336" y="40047"/>
                    <a:pt x="1028727" y="121810"/>
                    <a:pt x="1051061" y="231678"/>
                  </a:cubicBezTo>
                  <a:lnTo>
                    <a:pt x="1054935" y="270374"/>
                  </a:lnTo>
                  <a:lnTo>
                    <a:pt x="1029063" y="253631"/>
                  </a:lnTo>
                  <a:lnTo>
                    <a:pt x="1010255" y="293678"/>
                  </a:lnTo>
                  <a:lnTo>
                    <a:pt x="1055931" y="299018"/>
                  </a:lnTo>
                  <a:cubicBezTo>
                    <a:pt x="1055931" y="291008"/>
                    <a:pt x="1055931" y="285669"/>
                    <a:pt x="1055931" y="280329"/>
                  </a:cubicBezTo>
                  <a:lnTo>
                    <a:pt x="1054935" y="270374"/>
                  </a:lnTo>
                  <a:lnTo>
                    <a:pt x="1089139" y="292510"/>
                  </a:lnTo>
                  <a:cubicBezTo>
                    <a:pt x="1142414" y="339565"/>
                    <a:pt x="1174152" y="409147"/>
                    <a:pt x="1174152" y="483234"/>
                  </a:cubicBezTo>
                  <a:cubicBezTo>
                    <a:pt x="1174152" y="496583"/>
                    <a:pt x="1172809" y="510599"/>
                    <a:pt x="1170458" y="524616"/>
                  </a:cubicBezTo>
                  <a:lnTo>
                    <a:pt x="1169206" y="529936"/>
                  </a:lnTo>
                  <a:lnTo>
                    <a:pt x="1133850" y="509932"/>
                  </a:lnTo>
                  <a:lnTo>
                    <a:pt x="1117729" y="552648"/>
                  </a:lnTo>
                  <a:lnTo>
                    <a:pt x="1160718" y="565997"/>
                  </a:lnTo>
                  <a:lnTo>
                    <a:pt x="1169206" y="529936"/>
                  </a:lnTo>
                  <a:lnTo>
                    <a:pt x="1204925" y="550146"/>
                  </a:lnTo>
                  <a:cubicBezTo>
                    <a:pt x="1268024" y="599704"/>
                    <a:pt x="1305808" y="674792"/>
                    <a:pt x="1305808" y="752883"/>
                  </a:cubicBezTo>
                  <a:cubicBezTo>
                    <a:pt x="1305808" y="772907"/>
                    <a:pt x="1303121" y="792930"/>
                    <a:pt x="1298083" y="812954"/>
                  </a:cubicBezTo>
                  <a:lnTo>
                    <a:pt x="1290153" y="834774"/>
                  </a:lnTo>
                  <a:lnTo>
                    <a:pt x="1254758" y="811619"/>
                  </a:lnTo>
                  <a:lnTo>
                    <a:pt x="1235950" y="851666"/>
                  </a:lnTo>
                  <a:lnTo>
                    <a:pt x="1276253" y="873024"/>
                  </a:lnTo>
                  <a:lnTo>
                    <a:pt x="1290153" y="834774"/>
                  </a:lnTo>
                  <a:lnTo>
                    <a:pt x="1318781" y="853501"/>
                  </a:lnTo>
                  <a:cubicBezTo>
                    <a:pt x="1375834" y="904561"/>
                    <a:pt x="1410595" y="981151"/>
                    <a:pt x="1410595" y="1065250"/>
                  </a:cubicBezTo>
                  <a:cubicBezTo>
                    <a:pt x="1410595" y="1133330"/>
                    <a:pt x="1389436" y="1193901"/>
                    <a:pt x="1351652" y="1242458"/>
                  </a:cubicBezTo>
                  <a:lnTo>
                    <a:pt x="1337871" y="1256631"/>
                  </a:lnTo>
                  <a:lnTo>
                    <a:pt x="1313868" y="1220098"/>
                  </a:lnTo>
                  <a:lnTo>
                    <a:pt x="1281626" y="1252136"/>
                  </a:lnTo>
                  <a:lnTo>
                    <a:pt x="1308495" y="1286843"/>
                  </a:lnTo>
                  <a:lnTo>
                    <a:pt x="1337871" y="1256631"/>
                  </a:lnTo>
                  <a:lnTo>
                    <a:pt x="1356186" y="1284507"/>
                  </a:lnTo>
                  <a:cubicBezTo>
                    <a:pt x="1365590" y="1308201"/>
                    <a:pt x="1370292" y="1333565"/>
                    <a:pt x="1370292" y="1358928"/>
                  </a:cubicBezTo>
                  <a:cubicBezTo>
                    <a:pt x="1370292" y="1408986"/>
                    <a:pt x="1349133" y="1460547"/>
                    <a:pt x="1309082" y="1498967"/>
                  </a:cubicBezTo>
                  <a:lnTo>
                    <a:pt x="1294714" y="1509370"/>
                  </a:lnTo>
                  <a:lnTo>
                    <a:pt x="1281626" y="1473729"/>
                  </a:lnTo>
                  <a:lnTo>
                    <a:pt x="1241324" y="1492417"/>
                  </a:lnTo>
                  <a:lnTo>
                    <a:pt x="1262818" y="1532464"/>
                  </a:lnTo>
                  <a:lnTo>
                    <a:pt x="1294714" y="1509370"/>
                  </a:lnTo>
                  <a:lnTo>
                    <a:pt x="1299762" y="1523120"/>
                  </a:lnTo>
                  <a:cubicBezTo>
                    <a:pt x="1303793" y="1539806"/>
                    <a:pt x="1305808" y="1556492"/>
                    <a:pt x="1305808" y="1572511"/>
                  </a:cubicBezTo>
                  <a:cubicBezTo>
                    <a:pt x="1305808" y="1623238"/>
                    <a:pt x="1289687" y="1671294"/>
                    <a:pt x="1260132" y="1708671"/>
                  </a:cubicBezTo>
                  <a:cubicBezTo>
                    <a:pt x="1245354" y="1728695"/>
                    <a:pt x="1227218" y="1746049"/>
                    <a:pt x="1206395" y="1759398"/>
                  </a:cubicBezTo>
                  <a:lnTo>
                    <a:pt x="1186368" y="1767051"/>
                  </a:lnTo>
                  <a:lnTo>
                    <a:pt x="1166092" y="1719350"/>
                  </a:lnTo>
                  <a:lnTo>
                    <a:pt x="1125789" y="1743379"/>
                  </a:lnTo>
                  <a:lnTo>
                    <a:pt x="1136536" y="1786095"/>
                  </a:lnTo>
                  <a:lnTo>
                    <a:pt x="1186368" y="1767051"/>
                  </a:lnTo>
                  <a:lnTo>
                    <a:pt x="1188930" y="1773080"/>
                  </a:lnTo>
                  <a:cubicBezTo>
                    <a:pt x="1193632" y="1791435"/>
                    <a:pt x="1195647" y="1810124"/>
                    <a:pt x="1195647" y="1828812"/>
                  </a:cubicBezTo>
                  <a:cubicBezTo>
                    <a:pt x="1195647" y="1879538"/>
                    <a:pt x="1176839" y="1927595"/>
                    <a:pt x="1144597" y="1964972"/>
                  </a:cubicBezTo>
                  <a:cubicBezTo>
                    <a:pt x="1120416" y="1993005"/>
                    <a:pt x="1085655" y="2013529"/>
                    <a:pt x="1047115" y="2022039"/>
                  </a:cubicBezTo>
                  <a:lnTo>
                    <a:pt x="1044876" y="2022285"/>
                  </a:lnTo>
                  <a:lnTo>
                    <a:pt x="1050557" y="1994340"/>
                  </a:lnTo>
                  <a:cubicBezTo>
                    <a:pt x="1050557" y="1989000"/>
                    <a:pt x="1050557" y="1983660"/>
                    <a:pt x="1050557" y="1978321"/>
                  </a:cubicBezTo>
                  <a:lnTo>
                    <a:pt x="1007578" y="1980833"/>
                  </a:lnTo>
                  <a:lnTo>
                    <a:pt x="1010255" y="1938274"/>
                  </a:lnTo>
                  <a:lnTo>
                    <a:pt x="1007568" y="1938274"/>
                  </a:lnTo>
                  <a:cubicBezTo>
                    <a:pt x="1037123" y="1938274"/>
                    <a:pt x="1058618" y="1924925"/>
                    <a:pt x="1077426" y="1906236"/>
                  </a:cubicBezTo>
                  <a:cubicBezTo>
                    <a:pt x="1096234" y="1884878"/>
                    <a:pt x="1106981" y="1858180"/>
                    <a:pt x="1106981" y="1828812"/>
                  </a:cubicBezTo>
                  <a:cubicBezTo>
                    <a:pt x="1106981" y="1807454"/>
                    <a:pt x="1101608" y="1786095"/>
                    <a:pt x="1088173" y="1767407"/>
                  </a:cubicBezTo>
                  <a:lnTo>
                    <a:pt x="1053244" y="1711341"/>
                  </a:lnTo>
                  <a:lnTo>
                    <a:pt x="1117729" y="1700662"/>
                  </a:lnTo>
                  <a:cubicBezTo>
                    <a:pt x="1147284" y="1695322"/>
                    <a:pt x="1171466" y="1679303"/>
                    <a:pt x="1187587" y="1655275"/>
                  </a:cubicBezTo>
                  <a:cubicBezTo>
                    <a:pt x="1206395" y="1633917"/>
                    <a:pt x="1214455" y="1604549"/>
                    <a:pt x="1214455" y="1572511"/>
                  </a:cubicBezTo>
                  <a:cubicBezTo>
                    <a:pt x="1214455" y="1551153"/>
                    <a:pt x="1211768" y="1532464"/>
                    <a:pt x="1201021" y="1511106"/>
                  </a:cubicBezTo>
                  <a:lnTo>
                    <a:pt x="1182213" y="1473729"/>
                  </a:lnTo>
                  <a:lnTo>
                    <a:pt x="1219829" y="1452371"/>
                  </a:lnTo>
                  <a:cubicBezTo>
                    <a:pt x="1260132" y="1433682"/>
                    <a:pt x="1278940" y="1396305"/>
                    <a:pt x="1278940" y="1358928"/>
                  </a:cubicBezTo>
                  <a:cubicBezTo>
                    <a:pt x="1278940" y="1329560"/>
                    <a:pt x="1270879" y="1305532"/>
                    <a:pt x="1249384" y="1281503"/>
                  </a:cubicBezTo>
                  <a:lnTo>
                    <a:pt x="1214455" y="1246796"/>
                  </a:lnTo>
                  <a:lnTo>
                    <a:pt x="1252071" y="1217428"/>
                  </a:lnTo>
                  <a:cubicBezTo>
                    <a:pt x="1295060" y="1182721"/>
                    <a:pt x="1321929" y="1129325"/>
                    <a:pt x="1321929" y="1065250"/>
                  </a:cubicBezTo>
                  <a:cubicBezTo>
                    <a:pt x="1321929" y="985156"/>
                    <a:pt x="1276253" y="918411"/>
                    <a:pt x="1217142" y="891713"/>
                  </a:cubicBezTo>
                  <a:lnTo>
                    <a:pt x="1174152" y="873024"/>
                  </a:lnTo>
                  <a:lnTo>
                    <a:pt x="1195647" y="830307"/>
                  </a:lnTo>
                  <a:cubicBezTo>
                    <a:pt x="1209081" y="806279"/>
                    <a:pt x="1214455" y="779581"/>
                    <a:pt x="1214455" y="752883"/>
                  </a:cubicBezTo>
                  <a:cubicBezTo>
                    <a:pt x="1214455" y="686138"/>
                    <a:pt x="1174152" y="619393"/>
                    <a:pt x="1101608" y="595365"/>
                  </a:cubicBezTo>
                  <a:lnTo>
                    <a:pt x="1061305" y="579346"/>
                  </a:lnTo>
                  <a:lnTo>
                    <a:pt x="1074739" y="539299"/>
                  </a:lnTo>
                  <a:cubicBezTo>
                    <a:pt x="1082800" y="517941"/>
                    <a:pt x="1085486" y="499252"/>
                    <a:pt x="1085486" y="483234"/>
                  </a:cubicBezTo>
                  <a:cubicBezTo>
                    <a:pt x="1085486" y="416489"/>
                    <a:pt x="1047871" y="360423"/>
                    <a:pt x="991447" y="336395"/>
                  </a:cubicBezTo>
                  <a:lnTo>
                    <a:pt x="961891" y="323046"/>
                  </a:lnTo>
                  <a:lnTo>
                    <a:pt x="964578" y="291008"/>
                  </a:lnTo>
                  <a:cubicBezTo>
                    <a:pt x="964578" y="288338"/>
                    <a:pt x="967265" y="282999"/>
                    <a:pt x="967265" y="280329"/>
                  </a:cubicBezTo>
                  <a:cubicBezTo>
                    <a:pt x="967265" y="237612"/>
                    <a:pt x="948457" y="200235"/>
                    <a:pt x="921589" y="173537"/>
                  </a:cubicBezTo>
                  <a:cubicBezTo>
                    <a:pt x="894720" y="146839"/>
                    <a:pt x="857104" y="130820"/>
                    <a:pt x="819488" y="130820"/>
                  </a:cubicBezTo>
                  <a:cubicBezTo>
                    <a:pt x="806054" y="130820"/>
                    <a:pt x="795307" y="130820"/>
                    <a:pt x="781873" y="133490"/>
                  </a:cubicBezTo>
                  <a:lnTo>
                    <a:pt x="755004" y="141499"/>
                  </a:lnTo>
                  <a:lnTo>
                    <a:pt x="736196" y="122811"/>
                  </a:lnTo>
                  <a:cubicBezTo>
                    <a:pt x="714701" y="98783"/>
                    <a:pt x="687833" y="88103"/>
                    <a:pt x="660965" y="88103"/>
                  </a:cubicBezTo>
                  <a:cubicBezTo>
                    <a:pt x="623349" y="88103"/>
                    <a:pt x="588420" y="106792"/>
                    <a:pt x="564238" y="149509"/>
                  </a:cubicBezTo>
                  <a:lnTo>
                    <a:pt x="548117" y="178877"/>
                  </a:lnTo>
                  <a:lnTo>
                    <a:pt x="515875" y="170867"/>
                  </a:lnTo>
                  <a:cubicBezTo>
                    <a:pt x="502441" y="168197"/>
                    <a:pt x="489007" y="168197"/>
                    <a:pt x="475572" y="168197"/>
                  </a:cubicBezTo>
                  <a:cubicBezTo>
                    <a:pt x="427209" y="168197"/>
                    <a:pt x="384219" y="186886"/>
                    <a:pt x="354664" y="218924"/>
                  </a:cubicBezTo>
                  <a:cubicBezTo>
                    <a:pt x="322422" y="250961"/>
                    <a:pt x="303614" y="293678"/>
                    <a:pt x="303614" y="336395"/>
                  </a:cubicBezTo>
                  <a:cubicBezTo>
                    <a:pt x="303614" y="368432"/>
                    <a:pt x="314361" y="400470"/>
                    <a:pt x="338543" y="432507"/>
                  </a:cubicBezTo>
                  <a:lnTo>
                    <a:pt x="389593" y="499252"/>
                  </a:lnTo>
                  <a:lnTo>
                    <a:pt x="303614" y="504592"/>
                  </a:lnTo>
                  <a:cubicBezTo>
                    <a:pt x="260624" y="504592"/>
                    <a:pt x="212261" y="528620"/>
                    <a:pt x="177332" y="563328"/>
                  </a:cubicBezTo>
                  <a:lnTo>
                    <a:pt x="138694" y="622321"/>
                  </a:lnTo>
                  <a:lnTo>
                    <a:pt x="44525" y="622321"/>
                  </a:lnTo>
                  <a:lnTo>
                    <a:pt x="54409" y="590693"/>
                  </a:lnTo>
                  <a:cubicBezTo>
                    <a:pt x="68515" y="557321"/>
                    <a:pt x="88666" y="527285"/>
                    <a:pt x="112848" y="501922"/>
                  </a:cubicBezTo>
                  <a:cubicBezTo>
                    <a:pt x="138373" y="476559"/>
                    <a:pt x="167256" y="455201"/>
                    <a:pt x="198827" y="439849"/>
                  </a:cubicBezTo>
                  <a:lnTo>
                    <a:pt x="234881" y="426484"/>
                  </a:lnTo>
                  <a:lnTo>
                    <a:pt x="265998" y="485903"/>
                  </a:lnTo>
                  <a:lnTo>
                    <a:pt x="300927" y="459205"/>
                  </a:lnTo>
                  <a:lnTo>
                    <a:pt x="300927" y="413819"/>
                  </a:lnTo>
                  <a:cubicBezTo>
                    <a:pt x="282791" y="414486"/>
                    <a:pt x="265159" y="417156"/>
                    <a:pt x="248114" y="421578"/>
                  </a:cubicBezTo>
                  <a:lnTo>
                    <a:pt x="234881" y="426484"/>
                  </a:lnTo>
                  <a:lnTo>
                    <a:pt x="227375" y="412150"/>
                  </a:lnTo>
                  <a:cubicBezTo>
                    <a:pt x="218979" y="387121"/>
                    <a:pt x="214948" y="361758"/>
                    <a:pt x="214948" y="336395"/>
                  </a:cubicBezTo>
                  <a:cubicBezTo>
                    <a:pt x="214948" y="266980"/>
                    <a:pt x="241817" y="202905"/>
                    <a:pt x="290180" y="157518"/>
                  </a:cubicBezTo>
                  <a:cubicBezTo>
                    <a:pt x="335856" y="109462"/>
                    <a:pt x="400341" y="77424"/>
                    <a:pt x="475572" y="77424"/>
                  </a:cubicBezTo>
                  <a:lnTo>
                    <a:pt x="504748" y="81378"/>
                  </a:lnTo>
                  <a:lnTo>
                    <a:pt x="486320" y="106792"/>
                  </a:lnTo>
                  <a:lnTo>
                    <a:pt x="526622" y="128150"/>
                  </a:lnTo>
                  <a:lnTo>
                    <a:pt x="534683" y="85434"/>
                  </a:lnTo>
                  <a:lnTo>
                    <a:pt x="504748" y="81378"/>
                  </a:lnTo>
                  <a:lnTo>
                    <a:pt x="519653" y="60822"/>
                  </a:lnTo>
                  <a:cubicBezTo>
                    <a:pt x="557689" y="21025"/>
                    <a:pt x="608571" y="0"/>
                    <a:pt x="660965"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noProof="0"/>
            </a:p>
          </p:txBody>
        </p:sp>
        <p:sp>
          <p:nvSpPr>
            <p:cNvPr id="1303" name="Freeform 114">
              <a:extLst>
                <a:ext uri="{FF2B5EF4-FFF2-40B4-BE49-F238E27FC236}">
                  <a16:creationId xmlns:a16="http://schemas.microsoft.com/office/drawing/2014/main" id="{6FBABF46-DAA6-5794-7F0F-A0CB7F55A5A6}"/>
                </a:ext>
              </a:extLst>
            </p:cNvPr>
            <p:cNvSpPr>
              <a:spLocks/>
            </p:cNvSpPr>
            <p:nvPr/>
          </p:nvSpPr>
          <p:spPr bwMode="auto">
            <a:xfrm>
              <a:off x="8508495" y="3733387"/>
              <a:ext cx="497857" cy="331905"/>
            </a:xfrm>
            <a:custGeom>
              <a:avLst/>
              <a:gdLst>
                <a:gd name="T0" fmla="*/ 190 w 190"/>
                <a:gd name="T1" fmla="*/ 48 h 122"/>
                <a:gd name="T2" fmla="*/ 149 w 190"/>
                <a:gd name="T3" fmla="*/ 13 h 122"/>
                <a:gd name="T4" fmla="*/ 96 w 190"/>
                <a:gd name="T5" fmla="*/ 0 h 122"/>
                <a:gd name="T6" fmla="*/ 30 w 190"/>
                <a:gd name="T7" fmla="*/ 23 h 122"/>
                <a:gd name="T8" fmla="*/ 0 w 190"/>
                <a:gd name="T9" fmla="*/ 86 h 122"/>
                <a:gd name="T10" fmla="*/ 7 w 190"/>
                <a:gd name="T11" fmla="*/ 122 h 122"/>
                <a:gd name="T12" fmla="*/ 38 w 190"/>
                <a:gd name="T13" fmla="*/ 110 h 122"/>
                <a:gd name="T14" fmla="*/ 34 w 190"/>
                <a:gd name="T15" fmla="*/ 86 h 122"/>
                <a:gd name="T16" fmla="*/ 52 w 190"/>
                <a:gd name="T17" fmla="*/ 48 h 122"/>
                <a:gd name="T18" fmla="*/ 96 w 190"/>
                <a:gd name="T19" fmla="*/ 33 h 122"/>
                <a:gd name="T20" fmla="*/ 134 w 190"/>
                <a:gd name="T21" fmla="*/ 42 h 122"/>
                <a:gd name="T22" fmla="*/ 163 w 190"/>
                <a:gd name="T23" fmla="*/ 67 h 122"/>
                <a:gd name="T24" fmla="*/ 190 w 190"/>
                <a:gd name="T25" fmla="*/ 4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0" h="122">
                  <a:moveTo>
                    <a:pt x="190" y="48"/>
                  </a:moveTo>
                  <a:cubicBezTo>
                    <a:pt x="180" y="33"/>
                    <a:pt x="165" y="21"/>
                    <a:pt x="149" y="13"/>
                  </a:cubicBezTo>
                  <a:cubicBezTo>
                    <a:pt x="132" y="4"/>
                    <a:pt x="114" y="0"/>
                    <a:pt x="96" y="0"/>
                  </a:cubicBezTo>
                  <a:cubicBezTo>
                    <a:pt x="72" y="0"/>
                    <a:pt x="48" y="8"/>
                    <a:pt x="30" y="23"/>
                  </a:cubicBezTo>
                  <a:cubicBezTo>
                    <a:pt x="12" y="38"/>
                    <a:pt x="0" y="60"/>
                    <a:pt x="0" y="86"/>
                  </a:cubicBezTo>
                  <a:cubicBezTo>
                    <a:pt x="0" y="98"/>
                    <a:pt x="2" y="110"/>
                    <a:pt x="7" y="122"/>
                  </a:cubicBezTo>
                  <a:lnTo>
                    <a:pt x="38" y="110"/>
                  </a:lnTo>
                  <a:cubicBezTo>
                    <a:pt x="35" y="102"/>
                    <a:pt x="34" y="94"/>
                    <a:pt x="34" y="86"/>
                  </a:cubicBezTo>
                  <a:cubicBezTo>
                    <a:pt x="34" y="70"/>
                    <a:pt x="40" y="58"/>
                    <a:pt x="52" y="48"/>
                  </a:cubicBezTo>
                  <a:cubicBezTo>
                    <a:pt x="63" y="39"/>
                    <a:pt x="79" y="33"/>
                    <a:pt x="96" y="33"/>
                  </a:cubicBezTo>
                  <a:cubicBezTo>
                    <a:pt x="109" y="33"/>
                    <a:pt x="121" y="36"/>
                    <a:pt x="134" y="42"/>
                  </a:cubicBezTo>
                  <a:cubicBezTo>
                    <a:pt x="145" y="48"/>
                    <a:pt x="156" y="57"/>
                    <a:pt x="163" y="67"/>
                  </a:cubicBezTo>
                  <a:lnTo>
                    <a:pt x="190" y="48"/>
                  </a:lnTo>
                </a:path>
              </a:pathLst>
            </a:cu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04" name="Freeform 115">
              <a:extLst>
                <a:ext uri="{FF2B5EF4-FFF2-40B4-BE49-F238E27FC236}">
                  <a16:creationId xmlns:a16="http://schemas.microsoft.com/office/drawing/2014/main" id="{6C056106-0247-7737-1B38-FE26B61E2F5A}"/>
                </a:ext>
              </a:extLst>
            </p:cNvPr>
            <p:cNvSpPr>
              <a:spLocks/>
            </p:cNvSpPr>
            <p:nvPr/>
          </p:nvSpPr>
          <p:spPr bwMode="auto">
            <a:xfrm>
              <a:off x="8301054" y="2675434"/>
              <a:ext cx="290417" cy="352655"/>
            </a:xfrm>
            <a:custGeom>
              <a:avLst/>
              <a:gdLst>
                <a:gd name="T0" fmla="*/ 52 w 102"/>
                <a:gd name="T1" fmla="*/ 29 h 128"/>
                <a:gd name="T2" fmla="*/ 64 w 102"/>
                <a:gd name="T3" fmla="*/ 42 h 128"/>
                <a:gd name="T4" fmla="*/ 68 w 102"/>
                <a:gd name="T5" fmla="*/ 64 h 128"/>
                <a:gd name="T6" fmla="*/ 67 w 102"/>
                <a:gd name="T7" fmla="*/ 73 h 128"/>
                <a:gd name="T8" fmla="*/ 67 w 102"/>
                <a:gd name="T9" fmla="*/ 73 h 128"/>
                <a:gd name="T10" fmla="*/ 56 w 102"/>
                <a:gd name="T11" fmla="*/ 89 h 128"/>
                <a:gd name="T12" fmla="*/ 33 w 102"/>
                <a:gd name="T13" fmla="*/ 95 h 128"/>
                <a:gd name="T14" fmla="*/ 13 w 102"/>
                <a:gd name="T15" fmla="*/ 91 h 128"/>
                <a:gd name="T16" fmla="*/ 0 w 102"/>
                <a:gd name="T17" fmla="*/ 121 h 128"/>
                <a:gd name="T18" fmla="*/ 33 w 102"/>
                <a:gd name="T19" fmla="*/ 128 h 128"/>
                <a:gd name="T20" fmla="*/ 74 w 102"/>
                <a:gd name="T21" fmla="*/ 117 h 128"/>
                <a:gd name="T22" fmla="*/ 100 w 102"/>
                <a:gd name="T23" fmla="*/ 79 h 128"/>
                <a:gd name="T24" fmla="*/ 100 w 102"/>
                <a:gd name="T25" fmla="*/ 79 h 128"/>
                <a:gd name="T26" fmla="*/ 102 w 102"/>
                <a:gd name="T27" fmla="*/ 64 h 128"/>
                <a:gd name="T28" fmla="*/ 94 w 102"/>
                <a:gd name="T29" fmla="*/ 28 h 128"/>
                <a:gd name="T30" fmla="*/ 69 w 102"/>
                <a:gd name="T31" fmla="*/ 0 h 128"/>
                <a:gd name="T32" fmla="*/ 52 w 102"/>
                <a:gd name="T33" fmla="*/ 2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28">
                  <a:moveTo>
                    <a:pt x="52" y="29"/>
                  </a:moveTo>
                  <a:cubicBezTo>
                    <a:pt x="56" y="31"/>
                    <a:pt x="61" y="36"/>
                    <a:pt x="64" y="42"/>
                  </a:cubicBezTo>
                  <a:cubicBezTo>
                    <a:pt x="67" y="49"/>
                    <a:pt x="68" y="57"/>
                    <a:pt x="68" y="64"/>
                  </a:cubicBezTo>
                  <a:cubicBezTo>
                    <a:pt x="68" y="67"/>
                    <a:pt x="68" y="70"/>
                    <a:pt x="67" y="73"/>
                  </a:cubicBezTo>
                  <a:lnTo>
                    <a:pt x="67" y="73"/>
                  </a:lnTo>
                  <a:cubicBezTo>
                    <a:pt x="66" y="80"/>
                    <a:pt x="62" y="85"/>
                    <a:pt x="56" y="89"/>
                  </a:cubicBezTo>
                  <a:cubicBezTo>
                    <a:pt x="50" y="93"/>
                    <a:pt x="42" y="95"/>
                    <a:pt x="33" y="95"/>
                  </a:cubicBezTo>
                  <a:cubicBezTo>
                    <a:pt x="26" y="95"/>
                    <a:pt x="19" y="94"/>
                    <a:pt x="13" y="91"/>
                  </a:cubicBezTo>
                  <a:lnTo>
                    <a:pt x="0" y="121"/>
                  </a:lnTo>
                  <a:cubicBezTo>
                    <a:pt x="10" y="126"/>
                    <a:pt x="22" y="128"/>
                    <a:pt x="33" y="128"/>
                  </a:cubicBezTo>
                  <a:cubicBezTo>
                    <a:pt x="48" y="128"/>
                    <a:pt x="62" y="125"/>
                    <a:pt x="74" y="117"/>
                  </a:cubicBezTo>
                  <a:cubicBezTo>
                    <a:pt x="87" y="109"/>
                    <a:pt x="97" y="96"/>
                    <a:pt x="100" y="79"/>
                  </a:cubicBezTo>
                  <a:lnTo>
                    <a:pt x="100" y="79"/>
                  </a:lnTo>
                  <a:cubicBezTo>
                    <a:pt x="101" y="74"/>
                    <a:pt x="102" y="69"/>
                    <a:pt x="102" y="64"/>
                  </a:cubicBezTo>
                  <a:cubicBezTo>
                    <a:pt x="102" y="52"/>
                    <a:pt x="99" y="39"/>
                    <a:pt x="94" y="28"/>
                  </a:cubicBezTo>
                  <a:cubicBezTo>
                    <a:pt x="89" y="17"/>
                    <a:pt x="80" y="6"/>
                    <a:pt x="69" y="0"/>
                  </a:cubicBezTo>
                  <a:lnTo>
                    <a:pt x="52" y="29"/>
                  </a:lnTo>
                </a:path>
              </a:pathLst>
            </a:cu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05" name="Freeform 116">
              <a:extLst>
                <a:ext uri="{FF2B5EF4-FFF2-40B4-BE49-F238E27FC236}">
                  <a16:creationId xmlns:a16="http://schemas.microsoft.com/office/drawing/2014/main" id="{DDCE6566-C598-34A4-507F-62B9082CBB33}"/>
                </a:ext>
              </a:extLst>
            </p:cNvPr>
            <p:cNvSpPr>
              <a:spLocks/>
            </p:cNvSpPr>
            <p:nvPr/>
          </p:nvSpPr>
          <p:spPr bwMode="auto">
            <a:xfrm>
              <a:off x="8695197" y="3173291"/>
              <a:ext cx="165952" cy="103727"/>
            </a:xfrm>
            <a:custGeom>
              <a:avLst/>
              <a:gdLst>
                <a:gd name="T0" fmla="*/ 29 w 61"/>
                <a:gd name="T1" fmla="*/ 0 h 44"/>
                <a:gd name="T2" fmla="*/ 37 w 61"/>
                <a:gd name="T3" fmla="*/ 3 h 44"/>
                <a:gd name="T4" fmla="*/ 29 w 61"/>
                <a:gd name="T5" fmla="*/ 0 h 44"/>
                <a:gd name="T6" fmla="*/ 29 w 61"/>
                <a:gd name="T7" fmla="*/ 0 h 44"/>
                <a:gd name="T8" fmla="*/ 37 w 61"/>
                <a:gd name="T9" fmla="*/ 3 h 44"/>
                <a:gd name="T10" fmla="*/ 29 w 61"/>
                <a:gd name="T11" fmla="*/ 0 h 44"/>
                <a:gd name="T12" fmla="*/ 25 w 61"/>
                <a:gd name="T13" fmla="*/ 6 h 44"/>
                <a:gd name="T14" fmla="*/ 21 w 61"/>
                <a:gd name="T15" fmla="*/ 9 h 44"/>
                <a:gd name="T16" fmla="*/ 16 w 61"/>
                <a:gd name="T17" fmla="*/ 10 h 44"/>
                <a:gd name="T18" fmla="*/ 9 w 61"/>
                <a:gd name="T19" fmla="*/ 9 h 44"/>
                <a:gd name="T20" fmla="*/ 0 w 61"/>
                <a:gd name="T21" fmla="*/ 41 h 44"/>
                <a:gd name="T22" fmla="*/ 16 w 61"/>
                <a:gd name="T23" fmla="*/ 44 h 44"/>
                <a:gd name="T24" fmla="*/ 37 w 61"/>
                <a:gd name="T25" fmla="*/ 38 h 44"/>
                <a:gd name="T26" fmla="*/ 55 w 61"/>
                <a:gd name="T27" fmla="*/ 22 h 44"/>
                <a:gd name="T28" fmla="*/ 61 w 61"/>
                <a:gd name="T29" fmla="*/ 12 h 44"/>
                <a:gd name="T30" fmla="*/ 29 w 61"/>
                <a:gd name="T3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44">
                  <a:moveTo>
                    <a:pt x="29" y="0"/>
                  </a:moveTo>
                  <a:lnTo>
                    <a:pt x="37" y="3"/>
                  </a:lnTo>
                  <a:lnTo>
                    <a:pt x="29" y="0"/>
                  </a:lnTo>
                  <a:lnTo>
                    <a:pt x="29" y="0"/>
                  </a:lnTo>
                  <a:lnTo>
                    <a:pt x="37" y="3"/>
                  </a:lnTo>
                  <a:lnTo>
                    <a:pt x="29" y="0"/>
                  </a:lnTo>
                  <a:cubicBezTo>
                    <a:pt x="29" y="0"/>
                    <a:pt x="28" y="4"/>
                    <a:pt x="25" y="6"/>
                  </a:cubicBezTo>
                  <a:lnTo>
                    <a:pt x="21" y="9"/>
                  </a:lnTo>
                  <a:cubicBezTo>
                    <a:pt x="20" y="10"/>
                    <a:pt x="18" y="10"/>
                    <a:pt x="16" y="10"/>
                  </a:cubicBezTo>
                  <a:cubicBezTo>
                    <a:pt x="14" y="10"/>
                    <a:pt x="12" y="10"/>
                    <a:pt x="9" y="9"/>
                  </a:cubicBezTo>
                  <a:lnTo>
                    <a:pt x="0" y="41"/>
                  </a:lnTo>
                  <a:cubicBezTo>
                    <a:pt x="5" y="43"/>
                    <a:pt x="11" y="44"/>
                    <a:pt x="16" y="44"/>
                  </a:cubicBezTo>
                  <a:cubicBezTo>
                    <a:pt x="24" y="44"/>
                    <a:pt x="31" y="42"/>
                    <a:pt x="37" y="38"/>
                  </a:cubicBezTo>
                  <a:cubicBezTo>
                    <a:pt x="46" y="34"/>
                    <a:pt x="52" y="27"/>
                    <a:pt x="55" y="22"/>
                  </a:cubicBezTo>
                  <a:cubicBezTo>
                    <a:pt x="59" y="17"/>
                    <a:pt x="60" y="13"/>
                    <a:pt x="61" y="12"/>
                  </a:cubicBezTo>
                  <a:lnTo>
                    <a:pt x="29" y="0"/>
                  </a:lnTo>
                  <a:close/>
                </a:path>
              </a:pathLst>
            </a:cu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06" name="Freeform 117">
              <a:extLst>
                <a:ext uri="{FF2B5EF4-FFF2-40B4-BE49-F238E27FC236}">
                  <a16:creationId xmlns:a16="http://schemas.microsoft.com/office/drawing/2014/main" id="{906B9F95-491C-9CB5-2066-1320C1CC60F6}"/>
                </a:ext>
              </a:extLst>
            </p:cNvPr>
            <p:cNvSpPr>
              <a:spLocks/>
            </p:cNvSpPr>
            <p:nvPr/>
          </p:nvSpPr>
          <p:spPr bwMode="auto">
            <a:xfrm>
              <a:off x="8778174" y="3442970"/>
              <a:ext cx="165952" cy="124464"/>
            </a:xfrm>
            <a:custGeom>
              <a:avLst/>
              <a:gdLst>
                <a:gd name="T0" fmla="*/ 57 w 57"/>
                <a:gd name="T1" fmla="*/ 0 h 48"/>
                <a:gd name="T2" fmla="*/ 54 w 57"/>
                <a:gd name="T3" fmla="*/ 0 h 48"/>
                <a:gd name="T4" fmla="*/ 32 w 57"/>
                <a:gd name="T5" fmla="*/ 4 h 48"/>
                <a:gd name="T6" fmla="*/ 0 w 57"/>
                <a:gd name="T7" fmla="*/ 25 h 48"/>
                <a:gd name="T8" fmla="*/ 24 w 57"/>
                <a:gd name="T9" fmla="*/ 48 h 48"/>
                <a:gd name="T10" fmla="*/ 43 w 57"/>
                <a:gd name="T11" fmla="*/ 36 h 48"/>
                <a:gd name="T12" fmla="*/ 54 w 57"/>
                <a:gd name="T13" fmla="*/ 34 h 48"/>
                <a:gd name="T14" fmla="*/ 55 w 57"/>
                <a:gd name="T15" fmla="*/ 34 h 48"/>
                <a:gd name="T16" fmla="*/ 55 w 57"/>
                <a:gd name="T17" fmla="*/ 25 h 48"/>
                <a:gd name="T18" fmla="*/ 54 w 57"/>
                <a:gd name="T19" fmla="*/ 34 h 48"/>
                <a:gd name="T20" fmla="*/ 55 w 57"/>
                <a:gd name="T21" fmla="*/ 34 h 48"/>
                <a:gd name="T22" fmla="*/ 55 w 57"/>
                <a:gd name="T23" fmla="*/ 25 h 48"/>
                <a:gd name="T24" fmla="*/ 54 w 57"/>
                <a:gd name="T25" fmla="*/ 34 h 48"/>
                <a:gd name="T26" fmla="*/ 57 w 57"/>
                <a:gd name="T2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48">
                  <a:moveTo>
                    <a:pt x="57" y="0"/>
                  </a:moveTo>
                  <a:lnTo>
                    <a:pt x="54" y="0"/>
                  </a:lnTo>
                  <a:cubicBezTo>
                    <a:pt x="50" y="0"/>
                    <a:pt x="42" y="1"/>
                    <a:pt x="32" y="4"/>
                  </a:cubicBezTo>
                  <a:cubicBezTo>
                    <a:pt x="22" y="7"/>
                    <a:pt x="10" y="14"/>
                    <a:pt x="0" y="25"/>
                  </a:cubicBezTo>
                  <a:lnTo>
                    <a:pt x="24" y="48"/>
                  </a:lnTo>
                  <a:cubicBezTo>
                    <a:pt x="30" y="41"/>
                    <a:pt x="37" y="37"/>
                    <a:pt x="43" y="36"/>
                  </a:cubicBezTo>
                  <a:cubicBezTo>
                    <a:pt x="48" y="34"/>
                    <a:pt x="53" y="34"/>
                    <a:pt x="54" y="34"/>
                  </a:cubicBezTo>
                  <a:lnTo>
                    <a:pt x="55" y="34"/>
                  </a:lnTo>
                  <a:lnTo>
                    <a:pt x="55" y="25"/>
                  </a:lnTo>
                  <a:lnTo>
                    <a:pt x="54" y="34"/>
                  </a:lnTo>
                  <a:lnTo>
                    <a:pt x="55" y="34"/>
                  </a:lnTo>
                  <a:lnTo>
                    <a:pt x="55" y="25"/>
                  </a:lnTo>
                  <a:lnTo>
                    <a:pt x="54" y="34"/>
                  </a:lnTo>
                  <a:lnTo>
                    <a:pt x="57" y="0"/>
                  </a:lnTo>
                </a:path>
              </a:pathLst>
            </a:cu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07" name="Freeform: Shape 2487">
              <a:extLst>
                <a:ext uri="{FF2B5EF4-FFF2-40B4-BE49-F238E27FC236}">
                  <a16:creationId xmlns:a16="http://schemas.microsoft.com/office/drawing/2014/main" id="{1D5F8CB9-2D7F-6307-EEB7-826206082AF1}"/>
                </a:ext>
              </a:extLst>
            </p:cNvPr>
            <p:cNvSpPr>
              <a:spLocks/>
            </p:cNvSpPr>
            <p:nvPr/>
          </p:nvSpPr>
          <p:spPr bwMode="auto">
            <a:xfrm>
              <a:off x="6371865" y="2633946"/>
              <a:ext cx="1410595" cy="2344083"/>
            </a:xfrm>
            <a:custGeom>
              <a:avLst/>
              <a:gdLst>
                <a:gd name="connsiteX0" fmla="*/ 405704 w 1410595"/>
                <a:gd name="connsiteY0" fmla="*/ 1980833 h 2344083"/>
                <a:gd name="connsiteX1" fmla="*/ 405714 w 1410595"/>
                <a:gd name="connsiteY1" fmla="*/ 1980834 h 2344083"/>
                <a:gd name="connsiteX2" fmla="*/ 405714 w 1410595"/>
                <a:gd name="connsiteY2" fmla="*/ 1980991 h 2344083"/>
                <a:gd name="connsiteX3" fmla="*/ 1321080 w 1410595"/>
                <a:gd name="connsiteY3" fmla="*/ 1846226 h 2344083"/>
                <a:gd name="connsiteX4" fmla="*/ 1409824 w 1410595"/>
                <a:gd name="connsiteY4" fmla="*/ 1846226 h 2344083"/>
                <a:gd name="connsiteX5" fmla="*/ 1410595 w 1410595"/>
                <a:gd name="connsiteY5" fmla="*/ 1871529 h 2344083"/>
                <a:gd name="connsiteX6" fmla="*/ 1321929 w 1410595"/>
                <a:gd name="connsiteY6" fmla="*/ 2183895 h 2344083"/>
                <a:gd name="connsiteX7" fmla="*/ 1066679 w 1410595"/>
                <a:gd name="connsiteY7" fmla="*/ 2304036 h 2344083"/>
                <a:gd name="connsiteX8" fmla="*/ 998743 w 1410595"/>
                <a:gd name="connsiteY8" fmla="*/ 2295854 h 2344083"/>
                <a:gd name="connsiteX9" fmla="*/ 1021002 w 1410595"/>
                <a:gd name="connsiteY9" fmla="*/ 2280008 h 2344083"/>
                <a:gd name="connsiteX10" fmla="*/ 988760 w 1410595"/>
                <a:gd name="connsiteY10" fmla="*/ 2250640 h 2344083"/>
                <a:gd name="connsiteX11" fmla="*/ 978013 w 1410595"/>
                <a:gd name="connsiteY11" fmla="*/ 2293357 h 2344083"/>
                <a:gd name="connsiteX12" fmla="*/ 988760 w 1410595"/>
                <a:gd name="connsiteY12" fmla="*/ 2294652 h 2344083"/>
                <a:gd name="connsiteX13" fmla="*/ 998743 w 1410595"/>
                <a:gd name="connsiteY13" fmla="*/ 2295854 h 2344083"/>
                <a:gd name="connsiteX14" fmla="*/ 953495 w 1410595"/>
                <a:gd name="connsiteY14" fmla="*/ 2328064 h 2344083"/>
                <a:gd name="connsiteX15" fmla="*/ 875913 w 1410595"/>
                <a:gd name="connsiteY15" fmla="*/ 2344083 h 2344083"/>
                <a:gd name="connsiteX16" fmla="*/ 744803 w 1410595"/>
                <a:gd name="connsiteY16" fmla="*/ 2292273 h 2344083"/>
                <a:gd name="connsiteX17" fmla="*/ 739855 w 1410595"/>
                <a:gd name="connsiteY17" fmla="*/ 2286393 h 2344083"/>
                <a:gd name="connsiteX18" fmla="*/ 779186 w 1410595"/>
                <a:gd name="connsiteY18" fmla="*/ 2263989 h 2344083"/>
                <a:gd name="connsiteX19" fmla="*/ 749631 w 1410595"/>
                <a:gd name="connsiteY19" fmla="*/ 2229282 h 2344083"/>
                <a:gd name="connsiteX20" fmla="*/ 712015 w 1410595"/>
                <a:gd name="connsiteY20" fmla="*/ 2253310 h 2344083"/>
                <a:gd name="connsiteX21" fmla="*/ 739855 w 1410595"/>
                <a:gd name="connsiteY21" fmla="*/ 2286393 h 2344083"/>
                <a:gd name="connsiteX22" fmla="*/ 726457 w 1410595"/>
                <a:gd name="connsiteY22" fmla="*/ 2294024 h 2344083"/>
                <a:gd name="connsiteX23" fmla="*/ 671712 w 1410595"/>
                <a:gd name="connsiteY23" fmla="*/ 2304036 h 2344083"/>
                <a:gd name="connsiteX24" fmla="*/ 558865 w 1410595"/>
                <a:gd name="connsiteY24" fmla="*/ 2258650 h 2344083"/>
                <a:gd name="connsiteX25" fmla="*/ 511635 w 1410595"/>
                <a:gd name="connsiteY25" fmla="*/ 2179432 h 2344083"/>
                <a:gd name="connsiteX26" fmla="*/ 509043 w 1410595"/>
                <a:gd name="connsiteY26" fmla="*/ 2157103 h 2344083"/>
                <a:gd name="connsiteX27" fmla="*/ 537370 w 1410595"/>
                <a:gd name="connsiteY27" fmla="*/ 2162537 h 2344083"/>
                <a:gd name="connsiteX28" fmla="*/ 561551 w 1410595"/>
                <a:gd name="connsiteY28" fmla="*/ 2159867 h 2344083"/>
                <a:gd name="connsiteX29" fmla="*/ 556178 w 1410595"/>
                <a:gd name="connsiteY29" fmla="*/ 2117150 h 2344083"/>
                <a:gd name="connsiteX30" fmla="*/ 513188 w 1410595"/>
                <a:gd name="connsiteY30" fmla="*/ 2106471 h 2344083"/>
                <a:gd name="connsiteX31" fmla="*/ 507814 w 1410595"/>
                <a:gd name="connsiteY31" fmla="*/ 2146518 h 2344083"/>
                <a:gd name="connsiteX32" fmla="*/ 509043 w 1410595"/>
                <a:gd name="connsiteY32" fmla="*/ 2157103 h 2344083"/>
                <a:gd name="connsiteX33" fmla="*/ 469527 w 1410595"/>
                <a:gd name="connsiteY33" fmla="*/ 2149522 h 2344083"/>
                <a:gd name="connsiteX34" fmla="*/ 413775 w 1410595"/>
                <a:gd name="connsiteY34" fmla="*/ 2114480 h 2344083"/>
                <a:gd name="connsiteX35" fmla="*/ 376159 w 1410595"/>
                <a:gd name="connsiteY35" fmla="*/ 2060417 h 2344083"/>
                <a:gd name="connsiteX36" fmla="*/ 368430 w 1410595"/>
                <a:gd name="connsiteY36" fmla="*/ 2022401 h 2344083"/>
                <a:gd name="connsiteX37" fmla="*/ 405714 w 1410595"/>
                <a:gd name="connsiteY37" fmla="*/ 2026377 h 2344083"/>
                <a:gd name="connsiteX38" fmla="*/ 408401 w 1410595"/>
                <a:gd name="connsiteY38" fmla="*/ 2026377 h 2344083"/>
                <a:gd name="connsiteX39" fmla="*/ 411088 w 1410595"/>
                <a:gd name="connsiteY39" fmla="*/ 2026377 h 2344083"/>
                <a:gd name="connsiteX40" fmla="*/ 408401 w 1410595"/>
                <a:gd name="connsiteY40" fmla="*/ 1980991 h 2344083"/>
                <a:gd name="connsiteX41" fmla="*/ 405714 w 1410595"/>
                <a:gd name="connsiteY41" fmla="*/ 1980834 h 2344083"/>
                <a:gd name="connsiteX42" fmla="*/ 405714 w 1410595"/>
                <a:gd name="connsiteY42" fmla="*/ 1938274 h 2344083"/>
                <a:gd name="connsiteX43" fmla="*/ 404892 w 1410595"/>
                <a:gd name="connsiteY43" fmla="*/ 1938088 h 2344083"/>
                <a:gd name="connsiteX44" fmla="*/ 456764 w 1410595"/>
                <a:gd name="connsiteY44" fmla="*/ 1932934 h 2344083"/>
                <a:gd name="connsiteX45" fmla="*/ 451391 w 1410595"/>
                <a:gd name="connsiteY45" fmla="*/ 1986330 h 2344083"/>
                <a:gd name="connsiteX46" fmla="*/ 451391 w 1410595"/>
                <a:gd name="connsiteY46" fmla="*/ 1994340 h 2344083"/>
                <a:gd name="connsiteX47" fmla="*/ 475572 w 1410595"/>
                <a:gd name="connsiteY47" fmla="*/ 2047736 h 2344083"/>
                <a:gd name="connsiteX48" fmla="*/ 537370 w 1410595"/>
                <a:gd name="connsiteY48" fmla="*/ 2074434 h 2344083"/>
                <a:gd name="connsiteX49" fmla="*/ 550804 w 1410595"/>
                <a:gd name="connsiteY49" fmla="*/ 2071764 h 2344083"/>
                <a:gd name="connsiteX50" fmla="*/ 615288 w 1410595"/>
                <a:gd name="connsiteY50" fmla="*/ 2063754 h 2344083"/>
                <a:gd name="connsiteX51" fmla="*/ 599167 w 1410595"/>
                <a:gd name="connsiteY51" fmla="*/ 2127829 h 2344083"/>
                <a:gd name="connsiteX52" fmla="*/ 596480 w 1410595"/>
                <a:gd name="connsiteY52" fmla="*/ 2146518 h 2344083"/>
                <a:gd name="connsiteX53" fmla="*/ 617975 w 1410595"/>
                <a:gd name="connsiteY53" fmla="*/ 2194574 h 2344083"/>
                <a:gd name="connsiteX54" fmla="*/ 671712 w 1410595"/>
                <a:gd name="connsiteY54" fmla="*/ 2213263 h 2344083"/>
                <a:gd name="connsiteX55" fmla="*/ 720075 w 1410595"/>
                <a:gd name="connsiteY55" fmla="*/ 2197244 h 2344083"/>
                <a:gd name="connsiteX56" fmla="*/ 757691 w 1410595"/>
                <a:gd name="connsiteY56" fmla="*/ 2162537 h 2344083"/>
                <a:gd name="connsiteX57" fmla="*/ 784560 w 1410595"/>
                <a:gd name="connsiteY57" fmla="*/ 2205254 h 2344083"/>
                <a:gd name="connsiteX58" fmla="*/ 875913 w 1410595"/>
                <a:gd name="connsiteY58" fmla="*/ 2255980 h 2344083"/>
                <a:gd name="connsiteX59" fmla="*/ 953831 w 1410595"/>
                <a:gd name="connsiteY59" fmla="*/ 2221272 h 2344083"/>
                <a:gd name="connsiteX60" fmla="*/ 967265 w 1410595"/>
                <a:gd name="connsiteY60" fmla="*/ 2205254 h 2344083"/>
                <a:gd name="connsiteX61" fmla="*/ 988760 w 1410595"/>
                <a:gd name="connsiteY61" fmla="*/ 2205254 h 2344083"/>
                <a:gd name="connsiteX62" fmla="*/ 991447 w 1410595"/>
                <a:gd name="connsiteY62" fmla="*/ 2205254 h 2344083"/>
                <a:gd name="connsiteX63" fmla="*/ 996821 w 1410595"/>
                <a:gd name="connsiteY63" fmla="*/ 2207923 h 2344083"/>
                <a:gd name="connsiteX64" fmla="*/ 1066679 w 1410595"/>
                <a:gd name="connsiteY64" fmla="*/ 2213263 h 2344083"/>
                <a:gd name="connsiteX65" fmla="*/ 1252071 w 1410595"/>
                <a:gd name="connsiteY65" fmla="*/ 2127829 h 2344083"/>
                <a:gd name="connsiteX66" fmla="*/ 1321929 w 1410595"/>
                <a:gd name="connsiteY66" fmla="*/ 1871529 h 2344083"/>
                <a:gd name="connsiteX67" fmla="*/ 752318 w 1410595"/>
                <a:gd name="connsiteY67" fmla="*/ 0 h 2344083"/>
                <a:gd name="connsiteX68" fmla="*/ 893629 w 1410595"/>
                <a:gd name="connsiteY68" fmla="*/ 60822 h 2344083"/>
                <a:gd name="connsiteX69" fmla="*/ 908534 w 1410595"/>
                <a:gd name="connsiteY69" fmla="*/ 81378 h 2344083"/>
                <a:gd name="connsiteX70" fmla="*/ 878599 w 1410595"/>
                <a:gd name="connsiteY70" fmla="*/ 85434 h 2344083"/>
                <a:gd name="connsiteX71" fmla="*/ 886660 w 1410595"/>
                <a:gd name="connsiteY71" fmla="*/ 128150 h 2344083"/>
                <a:gd name="connsiteX72" fmla="*/ 926963 w 1410595"/>
                <a:gd name="connsiteY72" fmla="*/ 106792 h 2344083"/>
                <a:gd name="connsiteX73" fmla="*/ 908534 w 1410595"/>
                <a:gd name="connsiteY73" fmla="*/ 81378 h 2344083"/>
                <a:gd name="connsiteX74" fmla="*/ 937710 w 1410595"/>
                <a:gd name="connsiteY74" fmla="*/ 77424 h 2344083"/>
                <a:gd name="connsiteX75" fmla="*/ 1123102 w 1410595"/>
                <a:gd name="connsiteY75" fmla="*/ 157518 h 2344083"/>
                <a:gd name="connsiteX76" fmla="*/ 1198334 w 1410595"/>
                <a:gd name="connsiteY76" fmla="*/ 336395 h 2344083"/>
                <a:gd name="connsiteX77" fmla="*/ 1185908 w 1410595"/>
                <a:gd name="connsiteY77" fmla="*/ 412150 h 2344083"/>
                <a:gd name="connsiteX78" fmla="*/ 1178382 w 1410595"/>
                <a:gd name="connsiteY78" fmla="*/ 426521 h 2344083"/>
                <a:gd name="connsiteX79" fmla="*/ 1165127 w 1410595"/>
                <a:gd name="connsiteY79" fmla="*/ 421578 h 2344083"/>
                <a:gd name="connsiteX80" fmla="*/ 1112355 w 1410595"/>
                <a:gd name="connsiteY80" fmla="*/ 413819 h 2344083"/>
                <a:gd name="connsiteX81" fmla="*/ 1109668 w 1410595"/>
                <a:gd name="connsiteY81" fmla="*/ 459205 h 2344083"/>
                <a:gd name="connsiteX82" fmla="*/ 1147284 w 1410595"/>
                <a:gd name="connsiteY82" fmla="*/ 485903 h 2344083"/>
                <a:gd name="connsiteX83" fmla="*/ 1178382 w 1410595"/>
                <a:gd name="connsiteY83" fmla="*/ 426521 h 2344083"/>
                <a:gd name="connsiteX84" fmla="*/ 1214120 w 1410595"/>
                <a:gd name="connsiteY84" fmla="*/ 439849 h 2344083"/>
                <a:gd name="connsiteX85" fmla="*/ 1297748 w 1410595"/>
                <a:gd name="connsiteY85" fmla="*/ 501922 h 2344083"/>
                <a:gd name="connsiteX86" fmla="*/ 1358538 w 1410595"/>
                <a:gd name="connsiteY86" fmla="*/ 590693 h 2344083"/>
                <a:gd name="connsiteX87" fmla="*/ 1368598 w 1410595"/>
                <a:gd name="connsiteY87" fmla="*/ 622321 h 2344083"/>
                <a:gd name="connsiteX88" fmla="*/ 1274100 w 1410595"/>
                <a:gd name="connsiteY88" fmla="*/ 622321 h 2344083"/>
                <a:gd name="connsiteX89" fmla="*/ 1233263 w 1410595"/>
                <a:gd name="connsiteY89" fmla="*/ 563328 h 2344083"/>
                <a:gd name="connsiteX90" fmla="*/ 1109668 w 1410595"/>
                <a:gd name="connsiteY90" fmla="*/ 504592 h 2344083"/>
                <a:gd name="connsiteX91" fmla="*/ 1023689 w 1410595"/>
                <a:gd name="connsiteY91" fmla="*/ 499252 h 2344083"/>
                <a:gd name="connsiteX92" fmla="*/ 1074739 w 1410595"/>
                <a:gd name="connsiteY92" fmla="*/ 432507 h 2344083"/>
                <a:gd name="connsiteX93" fmla="*/ 1109668 w 1410595"/>
                <a:gd name="connsiteY93" fmla="*/ 336395 h 2344083"/>
                <a:gd name="connsiteX94" fmla="*/ 1058618 w 1410595"/>
                <a:gd name="connsiteY94" fmla="*/ 218924 h 2344083"/>
                <a:gd name="connsiteX95" fmla="*/ 937710 w 1410595"/>
                <a:gd name="connsiteY95" fmla="*/ 165528 h 2344083"/>
                <a:gd name="connsiteX96" fmla="*/ 897407 w 1410595"/>
                <a:gd name="connsiteY96" fmla="*/ 170867 h 2344083"/>
                <a:gd name="connsiteX97" fmla="*/ 865165 w 1410595"/>
                <a:gd name="connsiteY97" fmla="*/ 178877 h 2344083"/>
                <a:gd name="connsiteX98" fmla="*/ 849044 w 1410595"/>
                <a:gd name="connsiteY98" fmla="*/ 149509 h 2344083"/>
                <a:gd name="connsiteX99" fmla="*/ 752318 w 1410595"/>
                <a:gd name="connsiteY99" fmla="*/ 88103 h 2344083"/>
                <a:gd name="connsiteX100" fmla="*/ 674399 w 1410595"/>
                <a:gd name="connsiteY100" fmla="*/ 122811 h 2344083"/>
                <a:gd name="connsiteX101" fmla="*/ 658278 w 1410595"/>
                <a:gd name="connsiteY101" fmla="*/ 141499 h 2344083"/>
                <a:gd name="connsiteX102" fmla="*/ 631409 w 1410595"/>
                <a:gd name="connsiteY102" fmla="*/ 133490 h 2344083"/>
                <a:gd name="connsiteX103" fmla="*/ 593794 w 1410595"/>
                <a:gd name="connsiteY103" fmla="*/ 130820 h 2344083"/>
                <a:gd name="connsiteX104" fmla="*/ 491693 w 1410595"/>
                <a:gd name="connsiteY104" fmla="*/ 173537 h 2344083"/>
                <a:gd name="connsiteX105" fmla="*/ 446017 w 1410595"/>
                <a:gd name="connsiteY105" fmla="*/ 280329 h 2344083"/>
                <a:gd name="connsiteX106" fmla="*/ 446017 w 1410595"/>
                <a:gd name="connsiteY106" fmla="*/ 291008 h 2344083"/>
                <a:gd name="connsiteX107" fmla="*/ 451391 w 1410595"/>
                <a:gd name="connsiteY107" fmla="*/ 323046 h 2344083"/>
                <a:gd name="connsiteX108" fmla="*/ 421835 w 1410595"/>
                <a:gd name="connsiteY108" fmla="*/ 336395 h 2344083"/>
                <a:gd name="connsiteX109" fmla="*/ 327796 w 1410595"/>
                <a:gd name="connsiteY109" fmla="*/ 483234 h 2344083"/>
                <a:gd name="connsiteX110" fmla="*/ 338543 w 1410595"/>
                <a:gd name="connsiteY110" fmla="*/ 539299 h 2344083"/>
                <a:gd name="connsiteX111" fmla="*/ 351977 w 1410595"/>
                <a:gd name="connsiteY111" fmla="*/ 579346 h 2344083"/>
                <a:gd name="connsiteX112" fmla="*/ 311675 w 1410595"/>
                <a:gd name="connsiteY112" fmla="*/ 595365 h 2344083"/>
                <a:gd name="connsiteX113" fmla="*/ 198827 w 1410595"/>
                <a:gd name="connsiteY113" fmla="*/ 752883 h 2344083"/>
                <a:gd name="connsiteX114" fmla="*/ 217635 w 1410595"/>
                <a:gd name="connsiteY114" fmla="*/ 830307 h 2344083"/>
                <a:gd name="connsiteX115" fmla="*/ 239130 w 1410595"/>
                <a:gd name="connsiteY115" fmla="*/ 873024 h 2344083"/>
                <a:gd name="connsiteX116" fmla="*/ 196140 w 1410595"/>
                <a:gd name="connsiteY116" fmla="*/ 891713 h 2344083"/>
                <a:gd name="connsiteX117" fmla="*/ 91353 w 1410595"/>
                <a:gd name="connsiteY117" fmla="*/ 1065250 h 2344083"/>
                <a:gd name="connsiteX118" fmla="*/ 161211 w 1410595"/>
                <a:gd name="connsiteY118" fmla="*/ 1217428 h 2344083"/>
                <a:gd name="connsiteX119" fmla="*/ 198827 w 1410595"/>
                <a:gd name="connsiteY119" fmla="*/ 1246796 h 2344083"/>
                <a:gd name="connsiteX120" fmla="*/ 163898 w 1410595"/>
                <a:gd name="connsiteY120" fmla="*/ 1281503 h 2344083"/>
                <a:gd name="connsiteX121" fmla="*/ 131656 w 1410595"/>
                <a:gd name="connsiteY121" fmla="*/ 1358928 h 2344083"/>
                <a:gd name="connsiteX122" fmla="*/ 190766 w 1410595"/>
                <a:gd name="connsiteY122" fmla="*/ 1452371 h 2344083"/>
                <a:gd name="connsiteX123" fmla="*/ 231069 w 1410595"/>
                <a:gd name="connsiteY123" fmla="*/ 1473729 h 2344083"/>
                <a:gd name="connsiteX124" fmla="*/ 212261 w 1410595"/>
                <a:gd name="connsiteY124" fmla="*/ 1511106 h 2344083"/>
                <a:gd name="connsiteX125" fmla="*/ 198827 w 1410595"/>
                <a:gd name="connsiteY125" fmla="*/ 1572511 h 2344083"/>
                <a:gd name="connsiteX126" fmla="*/ 225695 w 1410595"/>
                <a:gd name="connsiteY126" fmla="*/ 1655275 h 2344083"/>
                <a:gd name="connsiteX127" fmla="*/ 295553 w 1410595"/>
                <a:gd name="connsiteY127" fmla="*/ 1700662 h 2344083"/>
                <a:gd name="connsiteX128" fmla="*/ 360038 w 1410595"/>
                <a:gd name="connsiteY128" fmla="*/ 1711341 h 2344083"/>
                <a:gd name="connsiteX129" fmla="*/ 322422 w 1410595"/>
                <a:gd name="connsiteY129" fmla="*/ 1767407 h 2344083"/>
                <a:gd name="connsiteX130" fmla="*/ 306301 w 1410595"/>
                <a:gd name="connsiteY130" fmla="*/ 1828812 h 2344083"/>
                <a:gd name="connsiteX131" fmla="*/ 335856 w 1410595"/>
                <a:gd name="connsiteY131" fmla="*/ 1906236 h 2344083"/>
                <a:gd name="connsiteX132" fmla="*/ 365747 w 1410595"/>
                <a:gd name="connsiteY132" fmla="*/ 1929263 h 2344083"/>
                <a:gd name="connsiteX133" fmla="*/ 404892 w 1410595"/>
                <a:gd name="connsiteY133" fmla="*/ 1938088 h 2344083"/>
                <a:gd name="connsiteX134" fmla="*/ 403027 w 1410595"/>
                <a:gd name="connsiteY134" fmla="*/ 1938274 h 2344083"/>
                <a:gd name="connsiteX135" fmla="*/ 405704 w 1410595"/>
                <a:gd name="connsiteY135" fmla="*/ 1980833 h 2344083"/>
                <a:gd name="connsiteX136" fmla="*/ 362725 w 1410595"/>
                <a:gd name="connsiteY136" fmla="*/ 1978321 h 2344083"/>
                <a:gd name="connsiteX137" fmla="*/ 362725 w 1410595"/>
                <a:gd name="connsiteY137" fmla="*/ 1994340 h 2344083"/>
                <a:gd name="connsiteX138" fmla="*/ 368430 w 1410595"/>
                <a:gd name="connsiteY138" fmla="*/ 2022401 h 2344083"/>
                <a:gd name="connsiteX139" fmla="*/ 365034 w 1410595"/>
                <a:gd name="connsiteY139" fmla="*/ 2022039 h 2344083"/>
                <a:gd name="connsiteX140" fmla="*/ 268685 w 1410595"/>
                <a:gd name="connsiteY140" fmla="*/ 1964972 h 2344083"/>
                <a:gd name="connsiteX141" fmla="*/ 214948 w 1410595"/>
                <a:gd name="connsiteY141" fmla="*/ 1828812 h 2344083"/>
                <a:gd name="connsiteX142" fmla="*/ 223009 w 1410595"/>
                <a:gd name="connsiteY142" fmla="*/ 1773080 h 2344083"/>
                <a:gd name="connsiteX143" fmla="*/ 225897 w 1410595"/>
                <a:gd name="connsiteY143" fmla="*/ 1766662 h 2344083"/>
                <a:gd name="connsiteX144" fmla="*/ 276746 w 1410595"/>
                <a:gd name="connsiteY144" fmla="*/ 1786095 h 2344083"/>
                <a:gd name="connsiteX145" fmla="*/ 284806 w 1410595"/>
                <a:gd name="connsiteY145" fmla="*/ 1743379 h 2344083"/>
                <a:gd name="connsiteX146" fmla="*/ 247190 w 1410595"/>
                <a:gd name="connsiteY146" fmla="*/ 1719350 h 2344083"/>
                <a:gd name="connsiteX147" fmla="*/ 225897 w 1410595"/>
                <a:gd name="connsiteY147" fmla="*/ 1766662 h 2344083"/>
                <a:gd name="connsiteX148" fmla="*/ 206887 w 1410595"/>
                <a:gd name="connsiteY148" fmla="*/ 1759398 h 2344083"/>
                <a:gd name="connsiteX149" fmla="*/ 153151 w 1410595"/>
                <a:gd name="connsiteY149" fmla="*/ 1708671 h 2344083"/>
                <a:gd name="connsiteX150" fmla="*/ 107474 w 1410595"/>
                <a:gd name="connsiteY150" fmla="*/ 1572511 h 2344083"/>
                <a:gd name="connsiteX151" fmla="*/ 113520 w 1410595"/>
                <a:gd name="connsiteY151" fmla="*/ 1523120 h 2344083"/>
                <a:gd name="connsiteX152" fmla="*/ 118568 w 1410595"/>
                <a:gd name="connsiteY152" fmla="*/ 1509370 h 2344083"/>
                <a:gd name="connsiteX153" fmla="*/ 150464 w 1410595"/>
                <a:gd name="connsiteY153" fmla="*/ 1532464 h 2344083"/>
                <a:gd name="connsiteX154" fmla="*/ 171958 w 1410595"/>
                <a:gd name="connsiteY154" fmla="*/ 1492417 h 2344083"/>
                <a:gd name="connsiteX155" fmla="*/ 131656 w 1410595"/>
                <a:gd name="connsiteY155" fmla="*/ 1473729 h 2344083"/>
                <a:gd name="connsiteX156" fmla="*/ 118568 w 1410595"/>
                <a:gd name="connsiteY156" fmla="*/ 1509370 h 2344083"/>
                <a:gd name="connsiteX157" fmla="*/ 104200 w 1410595"/>
                <a:gd name="connsiteY157" fmla="*/ 1498967 h 2344083"/>
                <a:gd name="connsiteX158" fmla="*/ 42990 w 1410595"/>
                <a:gd name="connsiteY158" fmla="*/ 1358928 h 2344083"/>
                <a:gd name="connsiteX159" fmla="*/ 57096 w 1410595"/>
                <a:gd name="connsiteY159" fmla="*/ 1284507 h 2344083"/>
                <a:gd name="connsiteX160" fmla="*/ 74728 w 1410595"/>
                <a:gd name="connsiteY160" fmla="*/ 1257670 h 2344083"/>
                <a:gd name="connsiteX161" fmla="*/ 102100 w 1410595"/>
                <a:gd name="connsiteY161" fmla="*/ 1286843 h 2344083"/>
                <a:gd name="connsiteX162" fmla="*/ 131656 w 1410595"/>
                <a:gd name="connsiteY162" fmla="*/ 1252136 h 2344083"/>
                <a:gd name="connsiteX163" fmla="*/ 99414 w 1410595"/>
                <a:gd name="connsiteY163" fmla="*/ 1220098 h 2344083"/>
                <a:gd name="connsiteX164" fmla="*/ 74728 w 1410595"/>
                <a:gd name="connsiteY164" fmla="*/ 1257670 h 2344083"/>
                <a:gd name="connsiteX165" fmla="*/ 60454 w 1410595"/>
                <a:gd name="connsiteY165" fmla="*/ 1242458 h 2344083"/>
                <a:gd name="connsiteX166" fmla="*/ 0 w 1410595"/>
                <a:gd name="connsiteY166" fmla="*/ 1065250 h 2344083"/>
                <a:gd name="connsiteX167" fmla="*/ 94460 w 1410595"/>
                <a:gd name="connsiteY167" fmla="*/ 853501 h 2344083"/>
                <a:gd name="connsiteX168" fmla="*/ 123124 w 1410595"/>
                <a:gd name="connsiteY168" fmla="*/ 834762 h 2344083"/>
                <a:gd name="connsiteX169" fmla="*/ 137029 w 1410595"/>
                <a:gd name="connsiteY169" fmla="*/ 873024 h 2344083"/>
                <a:gd name="connsiteX170" fmla="*/ 177332 w 1410595"/>
                <a:gd name="connsiteY170" fmla="*/ 851666 h 2344083"/>
                <a:gd name="connsiteX171" fmla="*/ 158524 w 1410595"/>
                <a:gd name="connsiteY171" fmla="*/ 811619 h 2344083"/>
                <a:gd name="connsiteX172" fmla="*/ 123124 w 1410595"/>
                <a:gd name="connsiteY172" fmla="*/ 834762 h 2344083"/>
                <a:gd name="connsiteX173" fmla="*/ 115199 w 1410595"/>
                <a:gd name="connsiteY173" fmla="*/ 812954 h 2344083"/>
                <a:gd name="connsiteX174" fmla="*/ 107474 w 1410595"/>
                <a:gd name="connsiteY174" fmla="*/ 752883 h 2344083"/>
                <a:gd name="connsiteX175" fmla="*/ 207223 w 1410595"/>
                <a:gd name="connsiteY175" fmla="*/ 550146 h 2344083"/>
                <a:gd name="connsiteX176" fmla="*/ 243238 w 1410595"/>
                <a:gd name="connsiteY176" fmla="*/ 530089 h 2344083"/>
                <a:gd name="connsiteX177" fmla="*/ 252564 w 1410595"/>
                <a:gd name="connsiteY177" fmla="*/ 565997 h 2344083"/>
                <a:gd name="connsiteX178" fmla="*/ 295553 w 1410595"/>
                <a:gd name="connsiteY178" fmla="*/ 552648 h 2344083"/>
                <a:gd name="connsiteX179" fmla="*/ 279432 w 1410595"/>
                <a:gd name="connsiteY179" fmla="*/ 509932 h 2344083"/>
                <a:gd name="connsiteX180" fmla="*/ 243238 w 1410595"/>
                <a:gd name="connsiteY180" fmla="*/ 530089 h 2344083"/>
                <a:gd name="connsiteX181" fmla="*/ 241817 w 1410595"/>
                <a:gd name="connsiteY181" fmla="*/ 524616 h 2344083"/>
                <a:gd name="connsiteX182" fmla="*/ 239130 w 1410595"/>
                <a:gd name="connsiteY182" fmla="*/ 483234 h 2344083"/>
                <a:gd name="connsiteX183" fmla="*/ 324143 w 1410595"/>
                <a:gd name="connsiteY183" fmla="*/ 292510 h 2344083"/>
                <a:gd name="connsiteX184" fmla="*/ 358347 w 1410595"/>
                <a:gd name="connsiteY184" fmla="*/ 270374 h 2344083"/>
                <a:gd name="connsiteX185" fmla="*/ 357351 w 1410595"/>
                <a:gd name="connsiteY185" fmla="*/ 280329 h 2344083"/>
                <a:gd name="connsiteX186" fmla="*/ 357351 w 1410595"/>
                <a:gd name="connsiteY186" fmla="*/ 299018 h 2344083"/>
                <a:gd name="connsiteX187" fmla="*/ 403027 w 1410595"/>
                <a:gd name="connsiteY187" fmla="*/ 293678 h 2344083"/>
                <a:gd name="connsiteX188" fmla="*/ 384219 w 1410595"/>
                <a:gd name="connsiteY188" fmla="*/ 253631 h 2344083"/>
                <a:gd name="connsiteX189" fmla="*/ 358347 w 1410595"/>
                <a:gd name="connsiteY189" fmla="*/ 270374 h 2344083"/>
                <a:gd name="connsiteX190" fmla="*/ 362221 w 1410595"/>
                <a:gd name="connsiteY190" fmla="*/ 231678 h 2344083"/>
                <a:gd name="connsiteX191" fmla="*/ 593794 w 1410595"/>
                <a:gd name="connsiteY191" fmla="*/ 40047 h 2344083"/>
                <a:gd name="connsiteX192" fmla="*/ 633696 w 1410595"/>
                <a:gd name="connsiteY192" fmla="*/ 45219 h 2344083"/>
                <a:gd name="connsiteX193" fmla="*/ 609915 w 1410595"/>
                <a:gd name="connsiteY193" fmla="*/ 61405 h 2344083"/>
                <a:gd name="connsiteX194" fmla="*/ 642157 w 1410595"/>
                <a:gd name="connsiteY194" fmla="*/ 90773 h 2344083"/>
                <a:gd name="connsiteX195" fmla="*/ 655591 w 1410595"/>
                <a:gd name="connsiteY195" fmla="*/ 48056 h 2344083"/>
                <a:gd name="connsiteX196" fmla="*/ 633696 w 1410595"/>
                <a:gd name="connsiteY196" fmla="*/ 45219 h 2344083"/>
                <a:gd name="connsiteX197" fmla="*/ 677086 w 1410595"/>
                <a:gd name="connsiteY197" fmla="*/ 15685 h 2344083"/>
                <a:gd name="connsiteX198" fmla="*/ 752318 w 1410595"/>
                <a:gd name="connsiteY198" fmla="*/ 0 h 2344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1410595" h="2344083">
                  <a:moveTo>
                    <a:pt x="405704" y="1980833"/>
                  </a:moveTo>
                  <a:lnTo>
                    <a:pt x="405714" y="1980834"/>
                  </a:lnTo>
                  <a:lnTo>
                    <a:pt x="405714" y="1980991"/>
                  </a:lnTo>
                  <a:close/>
                  <a:moveTo>
                    <a:pt x="1321080" y="1846226"/>
                  </a:moveTo>
                  <a:lnTo>
                    <a:pt x="1409824" y="1846226"/>
                  </a:lnTo>
                  <a:lnTo>
                    <a:pt x="1410595" y="1871529"/>
                  </a:lnTo>
                  <a:cubicBezTo>
                    <a:pt x="1410595" y="1999679"/>
                    <a:pt x="1381040" y="2106471"/>
                    <a:pt x="1321929" y="2183895"/>
                  </a:cubicBezTo>
                  <a:cubicBezTo>
                    <a:pt x="1262819" y="2261319"/>
                    <a:pt x="1171466" y="2304036"/>
                    <a:pt x="1066679" y="2304036"/>
                  </a:cubicBezTo>
                  <a:lnTo>
                    <a:pt x="998743" y="2295854"/>
                  </a:lnTo>
                  <a:lnTo>
                    <a:pt x="1021002" y="2280008"/>
                  </a:lnTo>
                  <a:lnTo>
                    <a:pt x="988760" y="2250640"/>
                  </a:lnTo>
                  <a:lnTo>
                    <a:pt x="978013" y="2293357"/>
                  </a:lnTo>
                  <a:lnTo>
                    <a:pt x="988760" y="2294652"/>
                  </a:lnTo>
                  <a:lnTo>
                    <a:pt x="998743" y="2295854"/>
                  </a:lnTo>
                  <a:lnTo>
                    <a:pt x="953495" y="2328064"/>
                  </a:lnTo>
                  <a:cubicBezTo>
                    <a:pt x="928978" y="2338744"/>
                    <a:pt x="902781" y="2344083"/>
                    <a:pt x="875913" y="2344083"/>
                  </a:cubicBezTo>
                  <a:cubicBezTo>
                    <a:pt x="829565" y="2344083"/>
                    <a:pt x="781705" y="2326062"/>
                    <a:pt x="744803" y="2292273"/>
                  </a:cubicBezTo>
                  <a:lnTo>
                    <a:pt x="739855" y="2286393"/>
                  </a:lnTo>
                  <a:lnTo>
                    <a:pt x="779186" y="2263989"/>
                  </a:lnTo>
                  <a:lnTo>
                    <a:pt x="749631" y="2229282"/>
                  </a:lnTo>
                  <a:lnTo>
                    <a:pt x="712015" y="2253310"/>
                  </a:lnTo>
                  <a:lnTo>
                    <a:pt x="739855" y="2286393"/>
                  </a:lnTo>
                  <a:lnTo>
                    <a:pt x="726457" y="2294024"/>
                  </a:lnTo>
                  <a:cubicBezTo>
                    <a:pt x="707985" y="2300699"/>
                    <a:pt x="689177" y="2304036"/>
                    <a:pt x="671712" y="2304036"/>
                  </a:cubicBezTo>
                  <a:cubicBezTo>
                    <a:pt x="628723" y="2304036"/>
                    <a:pt x="588420" y="2288017"/>
                    <a:pt x="558865" y="2258650"/>
                  </a:cubicBezTo>
                  <a:cubicBezTo>
                    <a:pt x="536698" y="2238626"/>
                    <a:pt x="519066" y="2211094"/>
                    <a:pt x="511635" y="2179432"/>
                  </a:cubicBezTo>
                  <a:lnTo>
                    <a:pt x="509043" y="2157103"/>
                  </a:lnTo>
                  <a:lnTo>
                    <a:pt x="537370" y="2162537"/>
                  </a:lnTo>
                  <a:cubicBezTo>
                    <a:pt x="545430" y="2162537"/>
                    <a:pt x="553491" y="2162537"/>
                    <a:pt x="561551" y="2159867"/>
                  </a:cubicBezTo>
                  <a:lnTo>
                    <a:pt x="556178" y="2117150"/>
                  </a:lnTo>
                  <a:lnTo>
                    <a:pt x="513188" y="2106471"/>
                  </a:lnTo>
                  <a:cubicBezTo>
                    <a:pt x="507814" y="2119820"/>
                    <a:pt x="507814" y="2133169"/>
                    <a:pt x="507814" y="2146518"/>
                  </a:cubicBezTo>
                  <a:lnTo>
                    <a:pt x="509043" y="2157103"/>
                  </a:lnTo>
                  <a:lnTo>
                    <a:pt x="469527" y="2149522"/>
                  </a:lnTo>
                  <a:cubicBezTo>
                    <a:pt x="448704" y="2141178"/>
                    <a:pt x="429896" y="2129164"/>
                    <a:pt x="413775" y="2114480"/>
                  </a:cubicBezTo>
                  <a:cubicBezTo>
                    <a:pt x="397654" y="2099796"/>
                    <a:pt x="384891" y="2081108"/>
                    <a:pt x="376159" y="2060417"/>
                  </a:cubicBezTo>
                  <a:lnTo>
                    <a:pt x="368430" y="2022401"/>
                  </a:lnTo>
                  <a:lnTo>
                    <a:pt x="405714" y="2026377"/>
                  </a:lnTo>
                  <a:lnTo>
                    <a:pt x="408401" y="2026377"/>
                  </a:lnTo>
                  <a:lnTo>
                    <a:pt x="411088" y="2026377"/>
                  </a:lnTo>
                  <a:lnTo>
                    <a:pt x="408401" y="1980991"/>
                  </a:lnTo>
                  <a:lnTo>
                    <a:pt x="405714" y="1980834"/>
                  </a:lnTo>
                  <a:lnTo>
                    <a:pt x="405714" y="1938274"/>
                  </a:lnTo>
                  <a:lnTo>
                    <a:pt x="404892" y="1938088"/>
                  </a:lnTo>
                  <a:lnTo>
                    <a:pt x="456764" y="1932934"/>
                  </a:lnTo>
                  <a:lnTo>
                    <a:pt x="451391" y="1986330"/>
                  </a:lnTo>
                  <a:lnTo>
                    <a:pt x="451391" y="1994340"/>
                  </a:lnTo>
                  <a:cubicBezTo>
                    <a:pt x="451391" y="2015698"/>
                    <a:pt x="459451" y="2034387"/>
                    <a:pt x="475572" y="2047736"/>
                  </a:cubicBezTo>
                  <a:cubicBezTo>
                    <a:pt x="491693" y="2063754"/>
                    <a:pt x="513188" y="2074434"/>
                    <a:pt x="537370" y="2074434"/>
                  </a:cubicBezTo>
                  <a:cubicBezTo>
                    <a:pt x="542743" y="2074434"/>
                    <a:pt x="545430" y="2074434"/>
                    <a:pt x="550804" y="2071764"/>
                  </a:cubicBezTo>
                  <a:lnTo>
                    <a:pt x="615288" y="2063754"/>
                  </a:lnTo>
                  <a:lnTo>
                    <a:pt x="599167" y="2127829"/>
                  </a:lnTo>
                  <a:cubicBezTo>
                    <a:pt x="596480" y="2133169"/>
                    <a:pt x="596480" y="2141178"/>
                    <a:pt x="596480" y="2146518"/>
                  </a:cubicBezTo>
                  <a:cubicBezTo>
                    <a:pt x="596480" y="2165207"/>
                    <a:pt x="604541" y="2181225"/>
                    <a:pt x="617975" y="2194574"/>
                  </a:cubicBezTo>
                  <a:cubicBezTo>
                    <a:pt x="631409" y="2207923"/>
                    <a:pt x="652904" y="2213263"/>
                    <a:pt x="671712" y="2213263"/>
                  </a:cubicBezTo>
                  <a:cubicBezTo>
                    <a:pt x="687833" y="2213263"/>
                    <a:pt x="703954" y="2210593"/>
                    <a:pt x="720075" y="2197244"/>
                  </a:cubicBezTo>
                  <a:lnTo>
                    <a:pt x="757691" y="2162537"/>
                  </a:lnTo>
                  <a:lnTo>
                    <a:pt x="784560" y="2205254"/>
                  </a:lnTo>
                  <a:cubicBezTo>
                    <a:pt x="808741" y="2239961"/>
                    <a:pt x="843670" y="2255980"/>
                    <a:pt x="875913" y="2255980"/>
                  </a:cubicBezTo>
                  <a:cubicBezTo>
                    <a:pt x="902781" y="2255980"/>
                    <a:pt x="932336" y="2245301"/>
                    <a:pt x="953831" y="2221272"/>
                  </a:cubicBezTo>
                  <a:lnTo>
                    <a:pt x="967265" y="2205254"/>
                  </a:lnTo>
                  <a:lnTo>
                    <a:pt x="988760" y="2205254"/>
                  </a:lnTo>
                  <a:lnTo>
                    <a:pt x="991447" y="2205254"/>
                  </a:lnTo>
                  <a:lnTo>
                    <a:pt x="996821" y="2207923"/>
                  </a:lnTo>
                  <a:cubicBezTo>
                    <a:pt x="1021002" y="2213263"/>
                    <a:pt x="1045184" y="2213263"/>
                    <a:pt x="1066679" y="2213263"/>
                  </a:cubicBezTo>
                  <a:cubicBezTo>
                    <a:pt x="1147284" y="2213263"/>
                    <a:pt x="1206395" y="2183895"/>
                    <a:pt x="1252071" y="2127829"/>
                  </a:cubicBezTo>
                  <a:cubicBezTo>
                    <a:pt x="1295061" y="2074434"/>
                    <a:pt x="1321929" y="1986330"/>
                    <a:pt x="1321929" y="1871529"/>
                  </a:cubicBezTo>
                  <a:close/>
                  <a:moveTo>
                    <a:pt x="752318" y="0"/>
                  </a:moveTo>
                  <a:cubicBezTo>
                    <a:pt x="804711" y="0"/>
                    <a:pt x="855593" y="21025"/>
                    <a:pt x="893629" y="60822"/>
                  </a:cubicBezTo>
                  <a:lnTo>
                    <a:pt x="908534" y="81378"/>
                  </a:lnTo>
                  <a:lnTo>
                    <a:pt x="878599" y="85434"/>
                  </a:lnTo>
                  <a:lnTo>
                    <a:pt x="886660" y="128150"/>
                  </a:lnTo>
                  <a:lnTo>
                    <a:pt x="926963" y="106792"/>
                  </a:lnTo>
                  <a:lnTo>
                    <a:pt x="908534" y="81378"/>
                  </a:lnTo>
                  <a:lnTo>
                    <a:pt x="937710" y="77424"/>
                  </a:lnTo>
                  <a:cubicBezTo>
                    <a:pt x="1010255" y="77424"/>
                    <a:pt x="1077426" y="109462"/>
                    <a:pt x="1123102" y="157518"/>
                  </a:cubicBezTo>
                  <a:cubicBezTo>
                    <a:pt x="1168779" y="202905"/>
                    <a:pt x="1198334" y="266980"/>
                    <a:pt x="1198334" y="336395"/>
                  </a:cubicBezTo>
                  <a:cubicBezTo>
                    <a:pt x="1198334" y="361758"/>
                    <a:pt x="1194304" y="387121"/>
                    <a:pt x="1185908" y="412150"/>
                  </a:cubicBezTo>
                  <a:lnTo>
                    <a:pt x="1178382" y="426521"/>
                  </a:lnTo>
                  <a:lnTo>
                    <a:pt x="1165127" y="421578"/>
                  </a:lnTo>
                  <a:cubicBezTo>
                    <a:pt x="1148124" y="417156"/>
                    <a:pt x="1130492" y="414486"/>
                    <a:pt x="1112355" y="413819"/>
                  </a:cubicBezTo>
                  <a:lnTo>
                    <a:pt x="1109668" y="459205"/>
                  </a:lnTo>
                  <a:lnTo>
                    <a:pt x="1147284" y="485903"/>
                  </a:lnTo>
                  <a:lnTo>
                    <a:pt x="1178382" y="426521"/>
                  </a:lnTo>
                  <a:lnTo>
                    <a:pt x="1214120" y="439849"/>
                  </a:lnTo>
                  <a:cubicBezTo>
                    <a:pt x="1245354" y="455201"/>
                    <a:pt x="1273566" y="476559"/>
                    <a:pt x="1297748" y="501922"/>
                  </a:cubicBezTo>
                  <a:cubicBezTo>
                    <a:pt x="1323273" y="527285"/>
                    <a:pt x="1344096" y="557321"/>
                    <a:pt x="1358538" y="590693"/>
                  </a:cubicBezTo>
                  <a:lnTo>
                    <a:pt x="1368598" y="622321"/>
                  </a:lnTo>
                  <a:lnTo>
                    <a:pt x="1274100" y="622321"/>
                  </a:lnTo>
                  <a:lnTo>
                    <a:pt x="1233263" y="563328"/>
                  </a:lnTo>
                  <a:cubicBezTo>
                    <a:pt x="1198334" y="528620"/>
                    <a:pt x="1152658" y="504592"/>
                    <a:pt x="1109668" y="504592"/>
                  </a:cubicBezTo>
                  <a:lnTo>
                    <a:pt x="1023689" y="499252"/>
                  </a:lnTo>
                  <a:lnTo>
                    <a:pt x="1074739" y="432507"/>
                  </a:lnTo>
                  <a:cubicBezTo>
                    <a:pt x="1098921" y="400470"/>
                    <a:pt x="1109668" y="368432"/>
                    <a:pt x="1109668" y="336395"/>
                  </a:cubicBezTo>
                  <a:cubicBezTo>
                    <a:pt x="1109668" y="293678"/>
                    <a:pt x="1090860" y="250961"/>
                    <a:pt x="1058618" y="218924"/>
                  </a:cubicBezTo>
                  <a:cubicBezTo>
                    <a:pt x="1029063" y="186886"/>
                    <a:pt x="986073" y="168197"/>
                    <a:pt x="937710" y="165528"/>
                  </a:cubicBezTo>
                  <a:cubicBezTo>
                    <a:pt x="924276" y="165528"/>
                    <a:pt x="910842" y="168197"/>
                    <a:pt x="897407" y="170867"/>
                  </a:cubicBezTo>
                  <a:lnTo>
                    <a:pt x="865165" y="178877"/>
                  </a:lnTo>
                  <a:lnTo>
                    <a:pt x="849044" y="149509"/>
                  </a:lnTo>
                  <a:cubicBezTo>
                    <a:pt x="824862" y="106792"/>
                    <a:pt x="787247" y="88103"/>
                    <a:pt x="752318" y="88103"/>
                  </a:cubicBezTo>
                  <a:cubicBezTo>
                    <a:pt x="725449" y="88103"/>
                    <a:pt x="698581" y="98783"/>
                    <a:pt x="674399" y="122811"/>
                  </a:cubicBezTo>
                  <a:lnTo>
                    <a:pt x="658278" y="141499"/>
                  </a:lnTo>
                  <a:lnTo>
                    <a:pt x="631409" y="133490"/>
                  </a:lnTo>
                  <a:cubicBezTo>
                    <a:pt x="617975" y="130820"/>
                    <a:pt x="607228" y="130820"/>
                    <a:pt x="593794" y="130820"/>
                  </a:cubicBezTo>
                  <a:cubicBezTo>
                    <a:pt x="553491" y="130820"/>
                    <a:pt x="518562" y="146839"/>
                    <a:pt x="491693" y="173537"/>
                  </a:cubicBezTo>
                  <a:cubicBezTo>
                    <a:pt x="464825" y="200235"/>
                    <a:pt x="446017" y="237612"/>
                    <a:pt x="446017" y="280329"/>
                  </a:cubicBezTo>
                  <a:cubicBezTo>
                    <a:pt x="446017" y="282999"/>
                    <a:pt x="446017" y="288338"/>
                    <a:pt x="446017" y="291008"/>
                  </a:cubicBezTo>
                  <a:lnTo>
                    <a:pt x="451391" y="323046"/>
                  </a:lnTo>
                  <a:lnTo>
                    <a:pt x="421835" y="336395"/>
                  </a:lnTo>
                  <a:cubicBezTo>
                    <a:pt x="365412" y="360423"/>
                    <a:pt x="327796" y="416489"/>
                    <a:pt x="327796" y="483234"/>
                  </a:cubicBezTo>
                  <a:cubicBezTo>
                    <a:pt x="327796" y="499252"/>
                    <a:pt x="330482" y="517941"/>
                    <a:pt x="338543" y="539299"/>
                  </a:cubicBezTo>
                  <a:lnTo>
                    <a:pt x="351977" y="579346"/>
                  </a:lnTo>
                  <a:lnTo>
                    <a:pt x="311675" y="595365"/>
                  </a:lnTo>
                  <a:cubicBezTo>
                    <a:pt x="239130" y="619393"/>
                    <a:pt x="198827" y="686138"/>
                    <a:pt x="198827" y="752883"/>
                  </a:cubicBezTo>
                  <a:cubicBezTo>
                    <a:pt x="198827" y="779581"/>
                    <a:pt x="204201" y="806279"/>
                    <a:pt x="217635" y="830307"/>
                  </a:cubicBezTo>
                  <a:lnTo>
                    <a:pt x="239130" y="873024"/>
                  </a:lnTo>
                  <a:lnTo>
                    <a:pt x="196140" y="891713"/>
                  </a:lnTo>
                  <a:cubicBezTo>
                    <a:pt x="137029" y="918411"/>
                    <a:pt x="91353" y="985156"/>
                    <a:pt x="91353" y="1065250"/>
                  </a:cubicBezTo>
                  <a:cubicBezTo>
                    <a:pt x="91353" y="1129325"/>
                    <a:pt x="118222" y="1182721"/>
                    <a:pt x="161211" y="1217428"/>
                  </a:cubicBezTo>
                  <a:lnTo>
                    <a:pt x="198827" y="1246796"/>
                  </a:lnTo>
                  <a:lnTo>
                    <a:pt x="163898" y="1281503"/>
                  </a:lnTo>
                  <a:cubicBezTo>
                    <a:pt x="142403" y="1305532"/>
                    <a:pt x="131656" y="1332230"/>
                    <a:pt x="131656" y="1358928"/>
                  </a:cubicBezTo>
                  <a:cubicBezTo>
                    <a:pt x="134343" y="1396305"/>
                    <a:pt x="153151" y="1433682"/>
                    <a:pt x="190766" y="1452371"/>
                  </a:cubicBezTo>
                  <a:lnTo>
                    <a:pt x="231069" y="1473729"/>
                  </a:lnTo>
                  <a:lnTo>
                    <a:pt x="212261" y="1511106"/>
                  </a:lnTo>
                  <a:cubicBezTo>
                    <a:pt x="201514" y="1532464"/>
                    <a:pt x="198827" y="1551153"/>
                    <a:pt x="198827" y="1572511"/>
                  </a:cubicBezTo>
                  <a:cubicBezTo>
                    <a:pt x="198827" y="1601879"/>
                    <a:pt x="206888" y="1633917"/>
                    <a:pt x="225695" y="1655275"/>
                  </a:cubicBezTo>
                  <a:cubicBezTo>
                    <a:pt x="241817" y="1679303"/>
                    <a:pt x="265998" y="1695322"/>
                    <a:pt x="295553" y="1700662"/>
                  </a:cubicBezTo>
                  <a:lnTo>
                    <a:pt x="360038" y="1711341"/>
                  </a:lnTo>
                  <a:lnTo>
                    <a:pt x="322422" y="1767407"/>
                  </a:lnTo>
                  <a:cubicBezTo>
                    <a:pt x="311675" y="1786095"/>
                    <a:pt x="306301" y="1807454"/>
                    <a:pt x="306301" y="1828812"/>
                  </a:cubicBezTo>
                  <a:cubicBezTo>
                    <a:pt x="306301" y="1858180"/>
                    <a:pt x="317048" y="1884878"/>
                    <a:pt x="335856" y="1906236"/>
                  </a:cubicBezTo>
                  <a:cubicBezTo>
                    <a:pt x="343917" y="1915581"/>
                    <a:pt x="353992" y="1923590"/>
                    <a:pt x="365747" y="1929263"/>
                  </a:cubicBezTo>
                  <a:lnTo>
                    <a:pt x="404892" y="1938088"/>
                  </a:lnTo>
                  <a:lnTo>
                    <a:pt x="403027" y="1938274"/>
                  </a:lnTo>
                  <a:lnTo>
                    <a:pt x="405704" y="1980833"/>
                  </a:lnTo>
                  <a:lnTo>
                    <a:pt x="362725" y="1978321"/>
                  </a:lnTo>
                  <a:cubicBezTo>
                    <a:pt x="362725" y="1983660"/>
                    <a:pt x="362725" y="1989000"/>
                    <a:pt x="362725" y="1994340"/>
                  </a:cubicBezTo>
                  <a:lnTo>
                    <a:pt x="368430" y="2022401"/>
                  </a:lnTo>
                  <a:lnTo>
                    <a:pt x="365034" y="2022039"/>
                  </a:lnTo>
                  <a:cubicBezTo>
                    <a:pt x="326116" y="2013529"/>
                    <a:pt x="292867" y="1993005"/>
                    <a:pt x="268685" y="1964972"/>
                  </a:cubicBezTo>
                  <a:cubicBezTo>
                    <a:pt x="233756" y="1927595"/>
                    <a:pt x="214948" y="1879538"/>
                    <a:pt x="214948" y="1828812"/>
                  </a:cubicBezTo>
                  <a:cubicBezTo>
                    <a:pt x="214948" y="1810124"/>
                    <a:pt x="217635" y="1791435"/>
                    <a:pt x="223009" y="1773080"/>
                  </a:cubicBezTo>
                  <a:lnTo>
                    <a:pt x="225897" y="1766662"/>
                  </a:lnTo>
                  <a:lnTo>
                    <a:pt x="276746" y="1786095"/>
                  </a:lnTo>
                  <a:lnTo>
                    <a:pt x="284806" y="1743379"/>
                  </a:lnTo>
                  <a:lnTo>
                    <a:pt x="247190" y="1719350"/>
                  </a:lnTo>
                  <a:lnTo>
                    <a:pt x="225897" y="1766662"/>
                  </a:lnTo>
                  <a:lnTo>
                    <a:pt x="206887" y="1759398"/>
                  </a:lnTo>
                  <a:cubicBezTo>
                    <a:pt x="186064" y="1746049"/>
                    <a:pt x="167928" y="1728695"/>
                    <a:pt x="153151" y="1708671"/>
                  </a:cubicBezTo>
                  <a:cubicBezTo>
                    <a:pt x="123595" y="1671294"/>
                    <a:pt x="107474" y="1623238"/>
                    <a:pt x="107474" y="1572511"/>
                  </a:cubicBezTo>
                  <a:cubicBezTo>
                    <a:pt x="107474" y="1556492"/>
                    <a:pt x="109489" y="1539806"/>
                    <a:pt x="113520" y="1523120"/>
                  </a:cubicBezTo>
                  <a:lnTo>
                    <a:pt x="118568" y="1509370"/>
                  </a:lnTo>
                  <a:lnTo>
                    <a:pt x="150464" y="1532464"/>
                  </a:lnTo>
                  <a:lnTo>
                    <a:pt x="171958" y="1492417"/>
                  </a:lnTo>
                  <a:lnTo>
                    <a:pt x="131656" y="1473729"/>
                  </a:lnTo>
                  <a:lnTo>
                    <a:pt x="118568" y="1509370"/>
                  </a:lnTo>
                  <a:lnTo>
                    <a:pt x="104200" y="1498967"/>
                  </a:lnTo>
                  <a:cubicBezTo>
                    <a:pt x="64149" y="1460547"/>
                    <a:pt x="42990" y="1408986"/>
                    <a:pt x="42990" y="1358928"/>
                  </a:cubicBezTo>
                  <a:cubicBezTo>
                    <a:pt x="42990" y="1333565"/>
                    <a:pt x="47692" y="1308201"/>
                    <a:pt x="57096" y="1284507"/>
                  </a:cubicBezTo>
                  <a:lnTo>
                    <a:pt x="74728" y="1257670"/>
                  </a:lnTo>
                  <a:lnTo>
                    <a:pt x="102100" y="1286843"/>
                  </a:lnTo>
                  <a:lnTo>
                    <a:pt x="131656" y="1252136"/>
                  </a:lnTo>
                  <a:lnTo>
                    <a:pt x="99414" y="1220098"/>
                  </a:lnTo>
                  <a:lnTo>
                    <a:pt x="74728" y="1257670"/>
                  </a:lnTo>
                  <a:lnTo>
                    <a:pt x="60454" y="1242458"/>
                  </a:lnTo>
                  <a:cubicBezTo>
                    <a:pt x="23678" y="1193901"/>
                    <a:pt x="2016" y="1133330"/>
                    <a:pt x="0" y="1065250"/>
                  </a:cubicBezTo>
                  <a:cubicBezTo>
                    <a:pt x="2016" y="981151"/>
                    <a:pt x="37280" y="904561"/>
                    <a:pt x="94460" y="853501"/>
                  </a:cubicBezTo>
                  <a:lnTo>
                    <a:pt x="123124" y="834762"/>
                  </a:lnTo>
                  <a:lnTo>
                    <a:pt x="137029" y="873024"/>
                  </a:lnTo>
                  <a:lnTo>
                    <a:pt x="177332" y="851666"/>
                  </a:lnTo>
                  <a:lnTo>
                    <a:pt x="158524" y="811619"/>
                  </a:lnTo>
                  <a:lnTo>
                    <a:pt x="123124" y="834762"/>
                  </a:lnTo>
                  <a:lnTo>
                    <a:pt x="115199" y="812954"/>
                  </a:lnTo>
                  <a:cubicBezTo>
                    <a:pt x="110161" y="792930"/>
                    <a:pt x="107474" y="772907"/>
                    <a:pt x="107474" y="752883"/>
                  </a:cubicBezTo>
                  <a:cubicBezTo>
                    <a:pt x="107474" y="674792"/>
                    <a:pt x="143747" y="599704"/>
                    <a:pt x="207223" y="550146"/>
                  </a:cubicBezTo>
                  <a:lnTo>
                    <a:pt x="243238" y="530089"/>
                  </a:lnTo>
                  <a:lnTo>
                    <a:pt x="252564" y="565997"/>
                  </a:lnTo>
                  <a:lnTo>
                    <a:pt x="295553" y="552648"/>
                  </a:lnTo>
                  <a:lnTo>
                    <a:pt x="279432" y="509932"/>
                  </a:lnTo>
                  <a:lnTo>
                    <a:pt x="243238" y="530089"/>
                  </a:lnTo>
                  <a:lnTo>
                    <a:pt x="241817" y="524616"/>
                  </a:lnTo>
                  <a:cubicBezTo>
                    <a:pt x="239802" y="510599"/>
                    <a:pt x="239130" y="496583"/>
                    <a:pt x="239130" y="483234"/>
                  </a:cubicBezTo>
                  <a:cubicBezTo>
                    <a:pt x="239130" y="409147"/>
                    <a:pt x="270868" y="339565"/>
                    <a:pt x="324143" y="292510"/>
                  </a:cubicBezTo>
                  <a:lnTo>
                    <a:pt x="358347" y="270374"/>
                  </a:lnTo>
                  <a:lnTo>
                    <a:pt x="357351" y="280329"/>
                  </a:lnTo>
                  <a:cubicBezTo>
                    <a:pt x="357351" y="285669"/>
                    <a:pt x="357351" y="291008"/>
                    <a:pt x="357351" y="299018"/>
                  </a:cubicBezTo>
                  <a:lnTo>
                    <a:pt x="403027" y="293678"/>
                  </a:lnTo>
                  <a:lnTo>
                    <a:pt x="384219" y="253631"/>
                  </a:lnTo>
                  <a:lnTo>
                    <a:pt x="358347" y="270374"/>
                  </a:lnTo>
                  <a:lnTo>
                    <a:pt x="362221" y="231678"/>
                  </a:lnTo>
                  <a:cubicBezTo>
                    <a:pt x="384555" y="121810"/>
                    <a:pt x="480946" y="40047"/>
                    <a:pt x="593794" y="40047"/>
                  </a:cubicBezTo>
                  <a:lnTo>
                    <a:pt x="633696" y="45219"/>
                  </a:lnTo>
                  <a:lnTo>
                    <a:pt x="609915" y="61405"/>
                  </a:lnTo>
                  <a:lnTo>
                    <a:pt x="642157" y="90773"/>
                  </a:lnTo>
                  <a:lnTo>
                    <a:pt x="655591" y="48056"/>
                  </a:lnTo>
                  <a:lnTo>
                    <a:pt x="633696" y="45219"/>
                  </a:lnTo>
                  <a:lnTo>
                    <a:pt x="677086" y="15685"/>
                  </a:lnTo>
                  <a:cubicBezTo>
                    <a:pt x="701267" y="5340"/>
                    <a:pt x="726793" y="0"/>
                    <a:pt x="752318"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GB" noProof="0"/>
            </a:p>
          </p:txBody>
        </p:sp>
        <p:sp>
          <p:nvSpPr>
            <p:cNvPr id="1308" name="Freeform 119">
              <a:extLst>
                <a:ext uri="{FF2B5EF4-FFF2-40B4-BE49-F238E27FC236}">
                  <a16:creationId xmlns:a16="http://schemas.microsoft.com/office/drawing/2014/main" id="{4EB3235E-7C78-6E65-5ED6-7BC61136972F}"/>
                </a:ext>
              </a:extLst>
            </p:cNvPr>
            <p:cNvSpPr>
              <a:spLocks/>
            </p:cNvSpPr>
            <p:nvPr/>
          </p:nvSpPr>
          <p:spPr bwMode="auto">
            <a:xfrm>
              <a:off x="6475579" y="3733387"/>
              <a:ext cx="497857" cy="331905"/>
            </a:xfrm>
            <a:custGeom>
              <a:avLst/>
              <a:gdLst>
                <a:gd name="T0" fmla="*/ 28 w 191"/>
                <a:gd name="T1" fmla="*/ 67 h 122"/>
                <a:gd name="T2" fmla="*/ 57 w 191"/>
                <a:gd name="T3" fmla="*/ 42 h 122"/>
                <a:gd name="T4" fmla="*/ 95 w 191"/>
                <a:gd name="T5" fmla="*/ 33 h 122"/>
                <a:gd name="T6" fmla="*/ 139 w 191"/>
                <a:gd name="T7" fmla="*/ 48 h 122"/>
                <a:gd name="T8" fmla="*/ 157 w 191"/>
                <a:gd name="T9" fmla="*/ 86 h 122"/>
                <a:gd name="T10" fmla="*/ 153 w 191"/>
                <a:gd name="T11" fmla="*/ 111 h 122"/>
                <a:gd name="T12" fmla="*/ 184 w 191"/>
                <a:gd name="T13" fmla="*/ 122 h 122"/>
                <a:gd name="T14" fmla="*/ 191 w 191"/>
                <a:gd name="T15" fmla="*/ 86 h 122"/>
                <a:gd name="T16" fmla="*/ 161 w 191"/>
                <a:gd name="T17" fmla="*/ 23 h 122"/>
                <a:gd name="T18" fmla="*/ 95 w 191"/>
                <a:gd name="T19" fmla="*/ 0 h 122"/>
                <a:gd name="T20" fmla="*/ 42 w 191"/>
                <a:gd name="T21" fmla="*/ 13 h 122"/>
                <a:gd name="T22" fmla="*/ 0 w 191"/>
                <a:gd name="T23" fmla="*/ 48 h 122"/>
                <a:gd name="T24" fmla="*/ 28 w 191"/>
                <a:gd name="T25" fmla="*/ 6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1" h="122">
                  <a:moveTo>
                    <a:pt x="28" y="67"/>
                  </a:moveTo>
                  <a:cubicBezTo>
                    <a:pt x="35" y="57"/>
                    <a:pt x="46" y="48"/>
                    <a:pt x="57" y="42"/>
                  </a:cubicBezTo>
                  <a:cubicBezTo>
                    <a:pt x="69" y="36"/>
                    <a:pt x="82" y="33"/>
                    <a:pt x="95" y="33"/>
                  </a:cubicBezTo>
                  <a:cubicBezTo>
                    <a:pt x="112" y="33"/>
                    <a:pt x="128" y="39"/>
                    <a:pt x="139" y="48"/>
                  </a:cubicBezTo>
                  <a:cubicBezTo>
                    <a:pt x="150" y="58"/>
                    <a:pt x="157" y="70"/>
                    <a:pt x="157" y="86"/>
                  </a:cubicBezTo>
                  <a:cubicBezTo>
                    <a:pt x="157" y="94"/>
                    <a:pt x="156" y="102"/>
                    <a:pt x="153" y="111"/>
                  </a:cubicBezTo>
                  <a:lnTo>
                    <a:pt x="184" y="122"/>
                  </a:lnTo>
                  <a:cubicBezTo>
                    <a:pt x="188" y="110"/>
                    <a:pt x="191" y="98"/>
                    <a:pt x="191" y="86"/>
                  </a:cubicBezTo>
                  <a:cubicBezTo>
                    <a:pt x="191" y="60"/>
                    <a:pt x="179" y="38"/>
                    <a:pt x="161" y="23"/>
                  </a:cubicBezTo>
                  <a:cubicBezTo>
                    <a:pt x="143" y="8"/>
                    <a:pt x="119" y="0"/>
                    <a:pt x="95" y="0"/>
                  </a:cubicBezTo>
                  <a:cubicBezTo>
                    <a:pt x="77" y="0"/>
                    <a:pt x="59" y="4"/>
                    <a:pt x="42" y="13"/>
                  </a:cubicBezTo>
                  <a:cubicBezTo>
                    <a:pt x="26" y="21"/>
                    <a:pt x="11" y="33"/>
                    <a:pt x="0" y="48"/>
                  </a:cubicBezTo>
                  <a:lnTo>
                    <a:pt x="28" y="67"/>
                  </a:lnTo>
                </a:path>
              </a:pathLst>
            </a:cu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09" name="Freeform 120">
              <a:extLst>
                <a:ext uri="{FF2B5EF4-FFF2-40B4-BE49-F238E27FC236}">
                  <a16:creationId xmlns:a16="http://schemas.microsoft.com/office/drawing/2014/main" id="{E6315B08-3C51-7338-D82E-EC3353A82DB1}"/>
                </a:ext>
              </a:extLst>
            </p:cNvPr>
            <p:cNvSpPr>
              <a:spLocks/>
            </p:cNvSpPr>
            <p:nvPr/>
          </p:nvSpPr>
          <p:spPr bwMode="auto">
            <a:xfrm>
              <a:off x="6911210" y="2675434"/>
              <a:ext cx="269679" cy="352655"/>
            </a:xfrm>
            <a:custGeom>
              <a:avLst/>
              <a:gdLst>
                <a:gd name="T0" fmla="*/ 33 w 102"/>
                <a:gd name="T1" fmla="*/ 0 h 128"/>
                <a:gd name="T2" fmla="*/ 8 w 102"/>
                <a:gd name="T3" fmla="*/ 28 h 128"/>
                <a:gd name="T4" fmla="*/ 0 w 102"/>
                <a:gd name="T5" fmla="*/ 64 h 128"/>
                <a:gd name="T6" fmla="*/ 2 w 102"/>
                <a:gd name="T7" fmla="*/ 79 h 128"/>
                <a:gd name="T8" fmla="*/ 2 w 102"/>
                <a:gd name="T9" fmla="*/ 79 h 128"/>
                <a:gd name="T10" fmla="*/ 27 w 102"/>
                <a:gd name="T11" fmla="*/ 117 h 128"/>
                <a:gd name="T12" fmla="*/ 69 w 102"/>
                <a:gd name="T13" fmla="*/ 128 h 128"/>
                <a:gd name="T14" fmla="*/ 102 w 102"/>
                <a:gd name="T15" fmla="*/ 121 h 128"/>
                <a:gd name="T16" fmla="*/ 88 w 102"/>
                <a:gd name="T17" fmla="*/ 91 h 128"/>
                <a:gd name="T18" fmla="*/ 69 w 102"/>
                <a:gd name="T19" fmla="*/ 95 h 128"/>
                <a:gd name="T20" fmla="*/ 46 w 102"/>
                <a:gd name="T21" fmla="*/ 89 h 128"/>
                <a:gd name="T22" fmla="*/ 34 w 102"/>
                <a:gd name="T23" fmla="*/ 73 h 128"/>
                <a:gd name="T24" fmla="*/ 34 w 102"/>
                <a:gd name="T25" fmla="*/ 73 h 128"/>
                <a:gd name="T26" fmla="*/ 34 w 102"/>
                <a:gd name="T27" fmla="*/ 64 h 128"/>
                <a:gd name="T28" fmla="*/ 38 w 102"/>
                <a:gd name="T29" fmla="*/ 42 h 128"/>
                <a:gd name="T30" fmla="*/ 50 w 102"/>
                <a:gd name="T31" fmla="*/ 29 h 128"/>
                <a:gd name="T32" fmla="*/ 33 w 102"/>
                <a:gd name="T3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28">
                  <a:moveTo>
                    <a:pt x="33" y="0"/>
                  </a:moveTo>
                  <a:cubicBezTo>
                    <a:pt x="21" y="6"/>
                    <a:pt x="13" y="17"/>
                    <a:pt x="8" y="28"/>
                  </a:cubicBezTo>
                  <a:cubicBezTo>
                    <a:pt x="3" y="39"/>
                    <a:pt x="0" y="52"/>
                    <a:pt x="0" y="64"/>
                  </a:cubicBezTo>
                  <a:cubicBezTo>
                    <a:pt x="0" y="69"/>
                    <a:pt x="1" y="74"/>
                    <a:pt x="2" y="79"/>
                  </a:cubicBezTo>
                  <a:lnTo>
                    <a:pt x="2" y="79"/>
                  </a:lnTo>
                  <a:cubicBezTo>
                    <a:pt x="5" y="96"/>
                    <a:pt x="15" y="109"/>
                    <a:pt x="27" y="117"/>
                  </a:cubicBezTo>
                  <a:cubicBezTo>
                    <a:pt x="40" y="125"/>
                    <a:pt x="54" y="128"/>
                    <a:pt x="69" y="128"/>
                  </a:cubicBezTo>
                  <a:cubicBezTo>
                    <a:pt x="80" y="128"/>
                    <a:pt x="92" y="126"/>
                    <a:pt x="102" y="121"/>
                  </a:cubicBezTo>
                  <a:lnTo>
                    <a:pt x="88" y="91"/>
                  </a:lnTo>
                  <a:cubicBezTo>
                    <a:pt x="83" y="94"/>
                    <a:pt x="76" y="95"/>
                    <a:pt x="69" y="95"/>
                  </a:cubicBezTo>
                  <a:cubicBezTo>
                    <a:pt x="60" y="95"/>
                    <a:pt x="52" y="93"/>
                    <a:pt x="46" y="89"/>
                  </a:cubicBezTo>
                  <a:cubicBezTo>
                    <a:pt x="40" y="85"/>
                    <a:pt x="36" y="80"/>
                    <a:pt x="34" y="73"/>
                  </a:cubicBezTo>
                  <a:lnTo>
                    <a:pt x="34" y="73"/>
                  </a:lnTo>
                  <a:cubicBezTo>
                    <a:pt x="34" y="70"/>
                    <a:pt x="34" y="67"/>
                    <a:pt x="34" y="64"/>
                  </a:cubicBezTo>
                  <a:cubicBezTo>
                    <a:pt x="34" y="57"/>
                    <a:pt x="35" y="49"/>
                    <a:pt x="38" y="42"/>
                  </a:cubicBezTo>
                  <a:cubicBezTo>
                    <a:pt x="41" y="36"/>
                    <a:pt x="45" y="31"/>
                    <a:pt x="50" y="29"/>
                  </a:cubicBezTo>
                  <a:lnTo>
                    <a:pt x="33" y="0"/>
                  </a:lnTo>
                </a:path>
              </a:pathLst>
            </a:cu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10" name="Freeform 121">
              <a:extLst>
                <a:ext uri="{FF2B5EF4-FFF2-40B4-BE49-F238E27FC236}">
                  <a16:creationId xmlns:a16="http://schemas.microsoft.com/office/drawing/2014/main" id="{DFE4E449-5908-F43E-7EEA-BD5EBBD82B07}"/>
                </a:ext>
              </a:extLst>
            </p:cNvPr>
            <p:cNvSpPr>
              <a:spLocks/>
            </p:cNvSpPr>
            <p:nvPr/>
          </p:nvSpPr>
          <p:spPr bwMode="auto">
            <a:xfrm>
              <a:off x="6620794" y="3173291"/>
              <a:ext cx="165952" cy="103727"/>
            </a:xfrm>
            <a:custGeom>
              <a:avLst/>
              <a:gdLst>
                <a:gd name="T0" fmla="*/ 0 w 61"/>
                <a:gd name="T1" fmla="*/ 12 h 44"/>
                <a:gd name="T2" fmla="*/ 10 w 61"/>
                <a:gd name="T3" fmla="*/ 28 h 44"/>
                <a:gd name="T4" fmla="*/ 24 w 61"/>
                <a:gd name="T5" fmla="*/ 38 h 44"/>
                <a:gd name="T6" fmla="*/ 45 w 61"/>
                <a:gd name="T7" fmla="*/ 44 h 44"/>
                <a:gd name="T8" fmla="*/ 61 w 61"/>
                <a:gd name="T9" fmla="*/ 41 h 44"/>
                <a:gd name="T10" fmla="*/ 52 w 61"/>
                <a:gd name="T11" fmla="*/ 9 h 44"/>
                <a:gd name="T12" fmla="*/ 45 w 61"/>
                <a:gd name="T13" fmla="*/ 10 h 44"/>
                <a:gd name="T14" fmla="*/ 39 w 61"/>
                <a:gd name="T15" fmla="*/ 9 h 44"/>
                <a:gd name="T16" fmla="*/ 33 w 61"/>
                <a:gd name="T17" fmla="*/ 3 h 44"/>
                <a:gd name="T18" fmla="*/ 32 w 61"/>
                <a:gd name="T19" fmla="*/ 1 h 44"/>
                <a:gd name="T20" fmla="*/ 32 w 61"/>
                <a:gd name="T21" fmla="*/ 0 h 44"/>
                <a:gd name="T22" fmla="*/ 32 w 61"/>
                <a:gd name="T23" fmla="*/ 0 h 44"/>
                <a:gd name="T24" fmla="*/ 22 w 61"/>
                <a:gd name="T25" fmla="*/ 4 h 44"/>
                <a:gd name="T26" fmla="*/ 32 w 61"/>
                <a:gd name="T27" fmla="*/ 0 h 44"/>
                <a:gd name="T28" fmla="*/ 32 w 61"/>
                <a:gd name="T29" fmla="*/ 0 h 44"/>
                <a:gd name="T30" fmla="*/ 22 w 61"/>
                <a:gd name="T31" fmla="*/ 4 h 44"/>
                <a:gd name="T32" fmla="*/ 32 w 61"/>
                <a:gd name="T33" fmla="*/ 0 h 44"/>
                <a:gd name="T34" fmla="*/ 0 w 61"/>
                <a:gd name="T35" fmla="*/ 1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44">
                  <a:moveTo>
                    <a:pt x="0" y="12"/>
                  </a:moveTo>
                  <a:cubicBezTo>
                    <a:pt x="1" y="13"/>
                    <a:pt x="3" y="20"/>
                    <a:pt x="10" y="28"/>
                  </a:cubicBezTo>
                  <a:cubicBezTo>
                    <a:pt x="13" y="31"/>
                    <a:pt x="18" y="35"/>
                    <a:pt x="24" y="38"/>
                  </a:cubicBezTo>
                  <a:cubicBezTo>
                    <a:pt x="29" y="42"/>
                    <a:pt x="37" y="44"/>
                    <a:pt x="45" y="44"/>
                  </a:cubicBezTo>
                  <a:cubicBezTo>
                    <a:pt x="50" y="44"/>
                    <a:pt x="56" y="43"/>
                    <a:pt x="61" y="41"/>
                  </a:cubicBezTo>
                  <a:lnTo>
                    <a:pt x="52" y="9"/>
                  </a:lnTo>
                  <a:cubicBezTo>
                    <a:pt x="49" y="10"/>
                    <a:pt x="47" y="10"/>
                    <a:pt x="45" y="10"/>
                  </a:cubicBezTo>
                  <a:cubicBezTo>
                    <a:pt x="42" y="10"/>
                    <a:pt x="41" y="10"/>
                    <a:pt x="39" y="9"/>
                  </a:cubicBezTo>
                  <a:cubicBezTo>
                    <a:pt x="37" y="8"/>
                    <a:pt x="35" y="6"/>
                    <a:pt x="33" y="3"/>
                  </a:cubicBezTo>
                  <a:lnTo>
                    <a:pt x="32" y="1"/>
                  </a:lnTo>
                  <a:lnTo>
                    <a:pt x="32" y="0"/>
                  </a:lnTo>
                  <a:lnTo>
                    <a:pt x="32" y="0"/>
                  </a:lnTo>
                  <a:lnTo>
                    <a:pt x="22" y="4"/>
                  </a:lnTo>
                  <a:lnTo>
                    <a:pt x="32" y="0"/>
                  </a:lnTo>
                  <a:lnTo>
                    <a:pt x="32" y="0"/>
                  </a:lnTo>
                  <a:lnTo>
                    <a:pt x="22" y="4"/>
                  </a:lnTo>
                  <a:lnTo>
                    <a:pt x="32" y="0"/>
                  </a:lnTo>
                  <a:lnTo>
                    <a:pt x="0" y="12"/>
                  </a:lnTo>
                </a:path>
              </a:pathLst>
            </a:cu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11" name="Freeform 122">
              <a:extLst>
                <a:ext uri="{FF2B5EF4-FFF2-40B4-BE49-F238E27FC236}">
                  <a16:creationId xmlns:a16="http://schemas.microsoft.com/office/drawing/2014/main" id="{DC66427D-B0A4-862E-136C-A97833AF07BA}"/>
                </a:ext>
              </a:extLst>
            </p:cNvPr>
            <p:cNvSpPr>
              <a:spLocks/>
            </p:cNvSpPr>
            <p:nvPr/>
          </p:nvSpPr>
          <p:spPr bwMode="auto">
            <a:xfrm>
              <a:off x="6537818" y="3442970"/>
              <a:ext cx="165952" cy="124464"/>
            </a:xfrm>
            <a:custGeom>
              <a:avLst/>
              <a:gdLst>
                <a:gd name="T0" fmla="*/ 4 w 58"/>
                <a:gd name="T1" fmla="*/ 34 h 48"/>
                <a:gd name="T2" fmla="*/ 3 w 58"/>
                <a:gd name="T3" fmla="*/ 25 h 48"/>
                <a:gd name="T4" fmla="*/ 3 w 58"/>
                <a:gd name="T5" fmla="*/ 34 h 48"/>
                <a:gd name="T6" fmla="*/ 4 w 58"/>
                <a:gd name="T7" fmla="*/ 34 h 48"/>
                <a:gd name="T8" fmla="*/ 3 w 58"/>
                <a:gd name="T9" fmla="*/ 25 h 48"/>
                <a:gd name="T10" fmla="*/ 3 w 58"/>
                <a:gd name="T11" fmla="*/ 34 h 48"/>
                <a:gd name="T12" fmla="*/ 3 w 58"/>
                <a:gd name="T13" fmla="*/ 34 h 48"/>
                <a:gd name="T14" fmla="*/ 15 w 58"/>
                <a:gd name="T15" fmla="*/ 36 h 48"/>
                <a:gd name="T16" fmla="*/ 34 w 58"/>
                <a:gd name="T17" fmla="*/ 48 h 48"/>
                <a:gd name="T18" fmla="*/ 58 w 58"/>
                <a:gd name="T19" fmla="*/ 25 h 48"/>
                <a:gd name="T20" fmla="*/ 26 w 58"/>
                <a:gd name="T21" fmla="*/ 4 h 48"/>
                <a:gd name="T22" fmla="*/ 3 w 58"/>
                <a:gd name="T23" fmla="*/ 0 h 48"/>
                <a:gd name="T24" fmla="*/ 0 w 58"/>
                <a:gd name="T25" fmla="*/ 0 h 48"/>
                <a:gd name="T26" fmla="*/ 4 w 58"/>
                <a:gd name="T27" fmla="*/ 3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48">
                  <a:moveTo>
                    <a:pt x="4" y="34"/>
                  </a:moveTo>
                  <a:lnTo>
                    <a:pt x="3" y="25"/>
                  </a:lnTo>
                  <a:lnTo>
                    <a:pt x="3" y="34"/>
                  </a:lnTo>
                  <a:lnTo>
                    <a:pt x="4" y="34"/>
                  </a:lnTo>
                  <a:lnTo>
                    <a:pt x="3" y="25"/>
                  </a:lnTo>
                  <a:lnTo>
                    <a:pt x="3" y="34"/>
                  </a:lnTo>
                  <a:lnTo>
                    <a:pt x="3" y="34"/>
                  </a:lnTo>
                  <a:cubicBezTo>
                    <a:pt x="5" y="34"/>
                    <a:pt x="10" y="34"/>
                    <a:pt x="15" y="36"/>
                  </a:cubicBezTo>
                  <a:cubicBezTo>
                    <a:pt x="21" y="37"/>
                    <a:pt x="28" y="41"/>
                    <a:pt x="34" y="48"/>
                  </a:cubicBezTo>
                  <a:lnTo>
                    <a:pt x="58" y="25"/>
                  </a:lnTo>
                  <a:cubicBezTo>
                    <a:pt x="48" y="14"/>
                    <a:pt x="36" y="7"/>
                    <a:pt x="26" y="4"/>
                  </a:cubicBezTo>
                  <a:cubicBezTo>
                    <a:pt x="16" y="1"/>
                    <a:pt x="7" y="0"/>
                    <a:pt x="3" y="0"/>
                  </a:cubicBezTo>
                  <a:lnTo>
                    <a:pt x="0" y="0"/>
                  </a:lnTo>
                  <a:lnTo>
                    <a:pt x="4" y="34"/>
                  </a:lnTo>
                </a:path>
              </a:pathLst>
            </a:cu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12" name="Freeform 124">
              <a:extLst>
                <a:ext uri="{FF2B5EF4-FFF2-40B4-BE49-F238E27FC236}">
                  <a16:creationId xmlns:a16="http://schemas.microsoft.com/office/drawing/2014/main" id="{7E4DEAC3-2A7A-5982-05C2-7BE63FE9AA08}"/>
                </a:ext>
              </a:extLst>
            </p:cNvPr>
            <p:cNvSpPr>
              <a:spLocks/>
            </p:cNvSpPr>
            <p:nvPr/>
          </p:nvSpPr>
          <p:spPr bwMode="auto">
            <a:xfrm>
              <a:off x="7077163" y="3194042"/>
              <a:ext cx="1327618" cy="1348369"/>
            </a:xfrm>
            <a:custGeom>
              <a:avLst/>
              <a:gdLst>
                <a:gd name="T0" fmla="*/ 62 w 64"/>
                <a:gd name="T1" fmla="*/ 62 h 65"/>
                <a:gd name="T2" fmla="*/ 62 w 64"/>
                <a:gd name="T3" fmla="*/ 60 h 65"/>
                <a:gd name="T4" fmla="*/ 4 w 64"/>
                <a:gd name="T5" fmla="*/ 60 h 65"/>
                <a:gd name="T6" fmla="*/ 4 w 64"/>
                <a:gd name="T7" fmla="*/ 5 h 65"/>
                <a:gd name="T8" fmla="*/ 60 w 64"/>
                <a:gd name="T9" fmla="*/ 5 h 65"/>
                <a:gd name="T10" fmla="*/ 60 w 64"/>
                <a:gd name="T11" fmla="*/ 62 h 65"/>
                <a:gd name="T12" fmla="*/ 62 w 64"/>
                <a:gd name="T13" fmla="*/ 62 h 65"/>
                <a:gd name="T14" fmla="*/ 62 w 64"/>
                <a:gd name="T15" fmla="*/ 60 h 65"/>
                <a:gd name="T16" fmla="*/ 62 w 64"/>
                <a:gd name="T17" fmla="*/ 62 h 65"/>
                <a:gd name="T18" fmla="*/ 64 w 64"/>
                <a:gd name="T19" fmla="*/ 62 h 65"/>
                <a:gd name="T20" fmla="*/ 64 w 64"/>
                <a:gd name="T21" fmla="*/ 0 h 65"/>
                <a:gd name="T22" fmla="*/ 0 w 64"/>
                <a:gd name="T23" fmla="*/ 0 h 65"/>
                <a:gd name="T24" fmla="*/ 0 w 64"/>
                <a:gd name="T25" fmla="*/ 65 h 65"/>
                <a:gd name="T26" fmla="*/ 64 w 64"/>
                <a:gd name="T27" fmla="*/ 65 h 65"/>
                <a:gd name="T28" fmla="*/ 64 w 64"/>
                <a:gd name="T29" fmla="*/ 62 h 65"/>
                <a:gd name="T30" fmla="*/ 62 w 64"/>
                <a:gd name="T31" fmla="*/ 6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65">
                  <a:moveTo>
                    <a:pt x="62" y="62"/>
                  </a:moveTo>
                  <a:lnTo>
                    <a:pt x="62" y="60"/>
                  </a:lnTo>
                  <a:lnTo>
                    <a:pt x="4" y="60"/>
                  </a:lnTo>
                  <a:lnTo>
                    <a:pt x="4" y="5"/>
                  </a:lnTo>
                  <a:lnTo>
                    <a:pt x="60" y="5"/>
                  </a:lnTo>
                  <a:lnTo>
                    <a:pt x="60" y="62"/>
                  </a:lnTo>
                  <a:lnTo>
                    <a:pt x="62" y="62"/>
                  </a:lnTo>
                  <a:lnTo>
                    <a:pt x="62" y="60"/>
                  </a:lnTo>
                  <a:lnTo>
                    <a:pt x="62" y="62"/>
                  </a:lnTo>
                  <a:lnTo>
                    <a:pt x="64" y="62"/>
                  </a:lnTo>
                  <a:lnTo>
                    <a:pt x="64" y="0"/>
                  </a:lnTo>
                  <a:lnTo>
                    <a:pt x="0" y="0"/>
                  </a:lnTo>
                  <a:lnTo>
                    <a:pt x="0" y="65"/>
                  </a:lnTo>
                  <a:lnTo>
                    <a:pt x="64" y="65"/>
                  </a:lnTo>
                  <a:lnTo>
                    <a:pt x="64" y="62"/>
                  </a:lnTo>
                  <a:lnTo>
                    <a:pt x="62" y="62"/>
                  </a:lnTo>
                  <a:close/>
                </a:path>
              </a:pathLst>
            </a:cu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13" name="Freeform 126">
              <a:extLst>
                <a:ext uri="{FF2B5EF4-FFF2-40B4-BE49-F238E27FC236}">
                  <a16:creationId xmlns:a16="http://schemas.microsoft.com/office/drawing/2014/main" id="{445E9B4F-222C-5277-ACE2-7F94DCD57638}"/>
                </a:ext>
              </a:extLst>
            </p:cNvPr>
            <p:cNvSpPr>
              <a:spLocks/>
            </p:cNvSpPr>
            <p:nvPr/>
          </p:nvSpPr>
          <p:spPr bwMode="auto">
            <a:xfrm>
              <a:off x="7388317" y="3525946"/>
              <a:ext cx="705297" cy="684560"/>
            </a:xfrm>
            <a:custGeom>
              <a:avLst/>
              <a:gdLst>
                <a:gd name="T0" fmla="*/ 32 w 34"/>
                <a:gd name="T1" fmla="*/ 31 h 33"/>
                <a:gd name="T2" fmla="*/ 32 w 34"/>
                <a:gd name="T3" fmla="*/ 29 h 33"/>
                <a:gd name="T4" fmla="*/ 4 w 34"/>
                <a:gd name="T5" fmla="*/ 29 h 33"/>
                <a:gd name="T6" fmla="*/ 4 w 34"/>
                <a:gd name="T7" fmla="*/ 4 h 33"/>
                <a:gd name="T8" fmla="*/ 30 w 34"/>
                <a:gd name="T9" fmla="*/ 4 h 33"/>
                <a:gd name="T10" fmla="*/ 30 w 34"/>
                <a:gd name="T11" fmla="*/ 31 h 33"/>
                <a:gd name="T12" fmla="*/ 32 w 34"/>
                <a:gd name="T13" fmla="*/ 31 h 33"/>
                <a:gd name="T14" fmla="*/ 32 w 34"/>
                <a:gd name="T15" fmla="*/ 29 h 33"/>
                <a:gd name="T16" fmla="*/ 32 w 34"/>
                <a:gd name="T17" fmla="*/ 31 h 33"/>
                <a:gd name="T18" fmla="*/ 34 w 34"/>
                <a:gd name="T19" fmla="*/ 31 h 33"/>
                <a:gd name="T20" fmla="*/ 34 w 34"/>
                <a:gd name="T21" fmla="*/ 0 h 33"/>
                <a:gd name="T22" fmla="*/ 0 w 34"/>
                <a:gd name="T23" fmla="*/ 0 h 33"/>
                <a:gd name="T24" fmla="*/ 0 w 34"/>
                <a:gd name="T25" fmla="*/ 33 h 33"/>
                <a:gd name="T26" fmla="*/ 34 w 34"/>
                <a:gd name="T27" fmla="*/ 33 h 33"/>
                <a:gd name="T28" fmla="*/ 34 w 34"/>
                <a:gd name="T29" fmla="*/ 31 h 33"/>
                <a:gd name="T30" fmla="*/ 32 w 34"/>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3">
                  <a:moveTo>
                    <a:pt x="32" y="31"/>
                  </a:moveTo>
                  <a:lnTo>
                    <a:pt x="32" y="29"/>
                  </a:lnTo>
                  <a:lnTo>
                    <a:pt x="4" y="29"/>
                  </a:lnTo>
                  <a:lnTo>
                    <a:pt x="4" y="4"/>
                  </a:lnTo>
                  <a:lnTo>
                    <a:pt x="30" y="4"/>
                  </a:lnTo>
                  <a:lnTo>
                    <a:pt x="30" y="31"/>
                  </a:lnTo>
                  <a:lnTo>
                    <a:pt x="32" y="31"/>
                  </a:lnTo>
                  <a:lnTo>
                    <a:pt x="32" y="29"/>
                  </a:lnTo>
                  <a:lnTo>
                    <a:pt x="32" y="31"/>
                  </a:lnTo>
                  <a:lnTo>
                    <a:pt x="34" y="31"/>
                  </a:lnTo>
                  <a:lnTo>
                    <a:pt x="34" y="0"/>
                  </a:lnTo>
                  <a:lnTo>
                    <a:pt x="0" y="0"/>
                  </a:lnTo>
                  <a:lnTo>
                    <a:pt x="0" y="33"/>
                  </a:lnTo>
                  <a:lnTo>
                    <a:pt x="34" y="33"/>
                  </a:lnTo>
                  <a:lnTo>
                    <a:pt x="34" y="31"/>
                  </a:lnTo>
                  <a:lnTo>
                    <a:pt x="32" y="31"/>
                  </a:lnTo>
                  <a:close/>
                </a:path>
              </a:pathLst>
            </a:cu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14" name="Rectangle 127">
              <a:extLst>
                <a:ext uri="{FF2B5EF4-FFF2-40B4-BE49-F238E27FC236}">
                  <a16:creationId xmlns:a16="http://schemas.microsoft.com/office/drawing/2014/main" id="{3346C2EB-15A6-913A-CEE6-38EFC1DEE64F}"/>
                </a:ext>
              </a:extLst>
            </p:cNvPr>
            <p:cNvSpPr>
              <a:spLocks noChangeArrowheads="1"/>
            </p:cNvSpPr>
            <p:nvPr/>
          </p:nvSpPr>
          <p:spPr bwMode="auto">
            <a:xfrm>
              <a:off x="7388317" y="3422220"/>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15" name="Rectangle 128">
              <a:extLst>
                <a:ext uri="{FF2B5EF4-FFF2-40B4-BE49-F238E27FC236}">
                  <a16:creationId xmlns:a16="http://schemas.microsoft.com/office/drawing/2014/main" id="{34EF4D92-EF05-5AB8-1CAF-0BBFD3E6A4D7}"/>
                </a:ext>
              </a:extLst>
            </p:cNvPr>
            <p:cNvSpPr>
              <a:spLocks noChangeArrowheads="1"/>
            </p:cNvSpPr>
            <p:nvPr/>
          </p:nvSpPr>
          <p:spPr bwMode="auto">
            <a:xfrm>
              <a:off x="7595757" y="3422220"/>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16" name="Rectangle 129">
              <a:extLst>
                <a:ext uri="{FF2B5EF4-FFF2-40B4-BE49-F238E27FC236}">
                  <a16:creationId xmlns:a16="http://schemas.microsoft.com/office/drawing/2014/main" id="{B3C98402-4011-5E84-9469-B878D1122413}"/>
                </a:ext>
              </a:extLst>
            </p:cNvPr>
            <p:cNvSpPr>
              <a:spLocks noChangeArrowheads="1"/>
            </p:cNvSpPr>
            <p:nvPr/>
          </p:nvSpPr>
          <p:spPr bwMode="auto">
            <a:xfrm>
              <a:off x="7803197" y="3422220"/>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17" name="Rectangle 130">
              <a:extLst>
                <a:ext uri="{FF2B5EF4-FFF2-40B4-BE49-F238E27FC236}">
                  <a16:creationId xmlns:a16="http://schemas.microsoft.com/office/drawing/2014/main" id="{4C014822-FA94-1250-EB28-69331316F413}"/>
                </a:ext>
              </a:extLst>
            </p:cNvPr>
            <p:cNvSpPr>
              <a:spLocks noChangeArrowheads="1"/>
            </p:cNvSpPr>
            <p:nvPr/>
          </p:nvSpPr>
          <p:spPr bwMode="auto">
            <a:xfrm>
              <a:off x="8010638" y="3422220"/>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18" name="Rectangle 131">
              <a:extLst>
                <a:ext uri="{FF2B5EF4-FFF2-40B4-BE49-F238E27FC236}">
                  <a16:creationId xmlns:a16="http://schemas.microsoft.com/office/drawing/2014/main" id="{0775E38C-EA5D-9FEC-40D1-966EFEE767FD}"/>
                </a:ext>
              </a:extLst>
            </p:cNvPr>
            <p:cNvSpPr>
              <a:spLocks noChangeArrowheads="1"/>
            </p:cNvSpPr>
            <p:nvPr/>
          </p:nvSpPr>
          <p:spPr bwMode="auto">
            <a:xfrm>
              <a:off x="7388317" y="4169005"/>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19" name="Rectangle 132">
              <a:extLst>
                <a:ext uri="{FF2B5EF4-FFF2-40B4-BE49-F238E27FC236}">
                  <a16:creationId xmlns:a16="http://schemas.microsoft.com/office/drawing/2014/main" id="{E3C8702C-B768-000F-5720-E6FF0D5A94BF}"/>
                </a:ext>
              </a:extLst>
            </p:cNvPr>
            <p:cNvSpPr>
              <a:spLocks noChangeArrowheads="1"/>
            </p:cNvSpPr>
            <p:nvPr/>
          </p:nvSpPr>
          <p:spPr bwMode="auto">
            <a:xfrm>
              <a:off x="7595757" y="4169005"/>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20" name="Rectangle 133">
              <a:extLst>
                <a:ext uri="{FF2B5EF4-FFF2-40B4-BE49-F238E27FC236}">
                  <a16:creationId xmlns:a16="http://schemas.microsoft.com/office/drawing/2014/main" id="{F84D7661-EEA8-A339-E132-2FE132CB4D9D}"/>
                </a:ext>
              </a:extLst>
            </p:cNvPr>
            <p:cNvSpPr>
              <a:spLocks noChangeArrowheads="1"/>
            </p:cNvSpPr>
            <p:nvPr/>
          </p:nvSpPr>
          <p:spPr bwMode="auto">
            <a:xfrm>
              <a:off x="7803197" y="4169005"/>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21" name="Rectangle 134">
              <a:extLst>
                <a:ext uri="{FF2B5EF4-FFF2-40B4-BE49-F238E27FC236}">
                  <a16:creationId xmlns:a16="http://schemas.microsoft.com/office/drawing/2014/main" id="{263F135E-87A4-537A-7079-29191E57BA40}"/>
                </a:ext>
              </a:extLst>
            </p:cNvPr>
            <p:cNvSpPr>
              <a:spLocks noChangeArrowheads="1"/>
            </p:cNvSpPr>
            <p:nvPr/>
          </p:nvSpPr>
          <p:spPr bwMode="auto">
            <a:xfrm>
              <a:off x="8010638" y="4169005"/>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22" name="Rectangle 135">
              <a:extLst>
                <a:ext uri="{FF2B5EF4-FFF2-40B4-BE49-F238E27FC236}">
                  <a16:creationId xmlns:a16="http://schemas.microsoft.com/office/drawing/2014/main" id="{089D73D8-CCC8-6711-4CEC-6F84A496019E}"/>
                </a:ext>
              </a:extLst>
            </p:cNvPr>
            <p:cNvSpPr>
              <a:spLocks noChangeArrowheads="1"/>
            </p:cNvSpPr>
            <p:nvPr/>
          </p:nvSpPr>
          <p:spPr bwMode="auto">
            <a:xfrm>
              <a:off x="8052126" y="3525946"/>
              <a:ext cx="145215" cy="82976"/>
            </a:xfrm>
            <a:prstGeom prst="rect">
              <a:avLst/>
            </a:pr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23" name="Rectangle 136">
              <a:extLst>
                <a:ext uri="{FF2B5EF4-FFF2-40B4-BE49-F238E27FC236}">
                  <a16:creationId xmlns:a16="http://schemas.microsoft.com/office/drawing/2014/main" id="{9156846D-E558-7218-688C-B9D4CF517E4A}"/>
                </a:ext>
              </a:extLst>
            </p:cNvPr>
            <p:cNvSpPr>
              <a:spLocks noChangeArrowheads="1"/>
            </p:cNvSpPr>
            <p:nvPr/>
          </p:nvSpPr>
          <p:spPr bwMode="auto">
            <a:xfrm>
              <a:off x="8052126" y="3712636"/>
              <a:ext cx="145215" cy="103727"/>
            </a:xfrm>
            <a:prstGeom prst="rect">
              <a:avLst/>
            </a:pr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24" name="Rectangle 137">
              <a:extLst>
                <a:ext uri="{FF2B5EF4-FFF2-40B4-BE49-F238E27FC236}">
                  <a16:creationId xmlns:a16="http://schemas.microsoft.com/office/drawing/2014/main" id="{14B03204-300C-3692-9FC3-CF455FBEFA0A}"/>
                </a:ext>
              </a:extLst>
            </p:cNvPr>
            <p:cNvSpPr>
              <a:spLocks noChangeArrowheads="1"/>
            </p:cNvSpPr>
            <p:nvPr/>
          </p:nvSpPr>
          <p:spPr bwMode="auto">
            <a:xfrm>
              <a:off x="8052126" y="3920077"/>
              <a:ext cx="145215" cy="103727"/>
            </a:xfrm>
            <a:prstGeom prst="rect">
              <a:avLst/>
            </a:pr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25" name="Rectangle 138">
              <a:extLst>
                <a:ext uri="{FF2B5EF4-FFF2-40B4-BE49-F238E27FC236}">
                  <a16:creationId xmlns:a16="http://schemas.microsoft.com/office/drawing/2014/main" id="{E5FF7882-2C46-4184-8F7A-A0C896349C94}"/>
                </a:ext>
              </a:extLst>
            </p:cNvPr>
            <p:cNvSpPr>
              <a:spLocks noChangeArrowheads="1"/>
            </p:cNvSpPr>
            <p:nvPr/>
          </p:nvSpPr>
          <p:spPr bwMode="auto">
            <a:xfrm>
              <a:off x="8052126" y="4127517"/>
              <a:ext cx="145215" cy="82976"/>
            </a:xfrm>
            <a:prstGeom prst="rect">
              <a:avLst/>
            </a:pr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26" name="Rectangle 139">
              <a:extLst>
                <a:ext uri="{FF2B5EF4-FFF2-40B4-BE49-F238E27FC236}">
                  <a16:creationId xmlns:a16="http://schemas.microsoft.com/office/drawing/2014/main" id="{84322ECF-6083-65DC-0D02-17ED14CFC6BC}"/>
                </a:ext>
              </a:extLst>
            </p:cNvPr>
            <p:cNvSpPr>
              <a:spLocks noChangeArrowheads="1"/>
            </p:cNvSpPr>
            <p:nvPr/>
          </p:nvSpPr>
          <p:spPr bwMode="auto">
            <a:xfrm>
              <a:off x="7284603" y="3525946"/>
              <a:ext cx="145215" cy="82976"/>
            </a:xfrm>
            <a:prstGeom prst="rect">
              <a:avLst/>
            </a:pr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27" name="Rectangle 140">
              <a:extLst>
                <a:ext uri="{FF2B5EF4-FFF2-40B4-BE49-F238E27FC236}">
                  <a16:creationId xmlns:a16="http://schemas.microsoft.com/office/drawing/2014/main" id="{033945AB-8588-DFC3-F9D6-68D0CB10B7E4}"/>
                </a:ext>
              </a:extLst>
            </p:cNvPr>
            <p:cNvSpPr>
              <a:spLocks noChangeArrowheads="1"/>
            </p:cNvSpPr>
            <p:nvPr/>
          </p:nvSpPr>
          <p:spPr bwMode="auto">
            <a:xfrm>
              <a:off x="7284603" y="3712636"/>
              <a:ext cx="145215" cy="103727"/>
            </a:xfrm>
            <a:prstGeom prst="rect">
              <a:avLst/>
            </a:pr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28" name="Rectangle 141">
              <a:extLst>
                <a:ext uri="{FF2B5EF4-FFF2-40B4-BE49-F238E27FC236}">
                  <a16:creationId xmlns:a16="http://schemas.microsoft.com/office/drawing/2014/main" id="{9E643E79-9BCC-7E2F-DF68-5E7464F1DCE3}"/>
                </a:ext>
              </a:extLst>
            </p:cNvPr>
            <p:cNvSpPr>
              <a:spLocks noChangeArrowheads="1"/>
            </p:cNvSpPr>
            <p:nvPr/>
          </p:nvSpPr>
          <p:spPr bwMode="auto">
            <a:xfrm>
              <a:off x="7284603" y="3920077"/>
              <a:ext cx="145215" cy="103727"/>
            </a:xfrm>
            <a:prstGeom prst="rect">
              <a:avLst/>
            </a:pr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29" name="Rectangle 142">
              <a:extLst>
                <a:ext uri="{FF2B5EF4-FFF2-40B4-BE49-F238E27FC236}">
                  <a16:creationId xmlns:a16="http://schemas.microsoft.com/office/drawing/2014/main" id="{19982647-A531-5518-A447-BA3F6CAE5C55}"/>
                </a:ext>
              </a:extLst>
            </p:cNvPr>
            <p:cNvSpPr>
              <a:spLocks noChangeArrowheads="1"/>
            </p:cNvSpPr>
            <p:nvPr/>
          </p:nvSpPr>
          <p:spPr bwMode="auto">
            <a:xfrm>
              <a:off x="7284603" y="4127517"/>
              <a:ext cx="145215" cy="82976"/>
            </a:xfrm>
            <a:prstGeom prst="rect">
              <a:avLst/>
            </a:pr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30" name="Rectangle 143">
              <a:extLst>
                <a:ext uri="{FF2B5EF4-FFF2-40B4-BE49-F238E27FC236}">
                  <a16:creationId xmlns:a16="http://schemas.microsoft.com/office/drawing/2014/main" id="{F1AFCE0B-19F5-4374-9726-230B38E279D3}"/>
                </a:ext>
              </a:extLst>
            </p:cNvPr>
            <p:cNvSpPr>
              <a:spLocks noChangeArrowheads="1"/>
            </p:cNvSpPr>
            <p:nvPr/>
          </p:nvSpPr>
          <p:spPr bwMode="auto">
            <a:xfrm>
              <a:off x="7699484" y="2550970"/>
              <a:ext cx="82976" cy="539345"/>
            </a:xfrm>
            <a:prstGeom prst="rect">
              <a:avLst/>
            </a:pr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31" name="Freeform 144">
              <a:extLst>
                <a:ext uri="{FF2B5EF4-FFF2-40B4-BE49-F238E27FC236}">
                  <a16:creationId xmlns:a16="http://schemas.microsoft.com/office/drawing/2014/main" id="{5FBF2CF3-12FE-0C01-FF11-23F5F91F22C2}"/>
                </a:ext>
              </a:extLst>
            </p:cNvPr>
            <p:cNvSpPr>
              <a:spLocks/>
            </p:cNvSpPr>
            <p:nvPr/>
          </p:nvSpPr>
          <p:spPr bwMode="auto">
            <a:xfrm>
              <a:off x="9110078" y="3297755"/>
              <a:ext cx="311167" cy="912738"/>
            </a:xfrm>
            <a:custGeom>
              <a:avLst/>
              <a:gdLst>
                <a:gd name="T0" fmla="*/ 0 w 15"/>
                <a:gd name="T1" fmla="*/ 44 h 44"/>
                <a:gd name="T2" fmla="*/ 15 w 15"/>
                <a:gd name="T3" fmla="*/ 44 h 44"/>
                <a:gd name="T4" fmla="*/ 15 w 15"/>
                <a:gd name="T5" fmla="*/ 0 h 44"/>
                <a:gd name="T6" fmla="*/ 11 w 15"/>
                <a:gd name="T7" fmla="*/ 0 h 44"/>
                <a:gd name="T8" fmla="*/ 11 w 15"/>
                <a:gd name="T9" fmla="*/ 40 h 44"/>
                <a:gd name="T10" fmla="*/ 0 w 15"/>
                <a:gd name="T11" fmla="*/ 40 h 44"/>
                <a:gd name="T12" fmla="*/ 0 w 15"/>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15" h="44">
                  <a:moveTo>
                    <a:pt x="0" y="44"/>
                  </a:moveTo>
                  <a:lnTo>
                    <a:pt x="15" y="44"/>
                  </a:lnTo>
                  <a:lnTo>
                    <a:pt x="15" y="0"/>
                  </a:lnTo>
                  <a:lnTo>
                    <a:pt x="11" y="0"/>
                  </a:lnTo>
                  <a:lnTo>
                    <a:pt x="11" y="40"/>
                  </a:lnTo>
                  <a:lnTo>
                    <a:pt x="0" y="40"/>
                  </a:lnTo>
                  <a:lnTo>
                    <a:pt x="0" y="44"/>
                  </a:lnTo>
                  <a:close/>
                </a:path>
              </a:pathLst>
            </a:cu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32" name="Freeform 145">
              <a:extLst>
                <a:ext uri="{FF2B5EF4-FFF2-40B4-BE49-F238E27FC236}">
                  <a16:creationId xmlns:a16="http://schemas.microsoft.com/office/drawing/2014/main" id="{848F5F29-5975-673B-31E5-BF2D5BF13053}"/>
                </a:ext>
              </a:extLst>
            </p:cNvPr>
            <p:cNvSpPr>
              <a:spLocks/>
            </p:cNvSpPr>
            <p:nvPr/>
          </p:nvSpPr>
          <p:spPr bwMode="auto">
            <a:xfrm>
              <a:off x="6081449" y="2779161"/>
              <a:ext cx="228191" cy="829762"/>
            </a:xfrm>
            <a:custGeom>
              <a:avLst/>
              <a:gdLst>
                <a:gd name="T0" fmla="*/ 11 w 11"/>
                <a:gd name="T1" fmla="*/ 36 h 40"/>
                <a:gd name="T2" fmla="*/ 4 w 11"/>
                <a:gd name="T3" fmla="*/ 36 h 40"/>
                <a:gd name="T4" fmla="*/ 4 w 11"/>
                <a:gd name="T5" fmla="*/ 0 h 40"/>
                <a:gd name="T6" fmla="*/ 0 w 11"/>
                <a:gd name="T7" fmla="*/ 0 h 40"/>
                <a:gd name="T8" fmla="*/ 0 w 11"/>
                <a:gd name="T9" fmla="*/ 40 h 40"/>
                <a:gd name="T10" fmla="*/ 11 w 11"/>
                <a:gd name="T11" fmla="*/ 40 h 40"/>
                <a:gd name="T12" fmla="*/ 11 w 11"/>
                <a:gd name="T13" fmla="*/ 36 h 40"/>
              </a:gdLst>
              <a:ahLst/>
              <a:cxnLst>
                <a:cxn ang="0">
                  <a:pos x="T0" y="T1"/>
                </a:cxn>
                <a:cxn ang="0">
                  <a:pos x="T2" y="T3"/>
                </a:cxn>
                <a:cxn ang="0">
                  <a:pos x="T4" y="T5"/>
                </a:cxn>
                <a:cxn ang="0">
                  <a:pos x="T6" y="T7"/>
                </a:cxn>
                <a:cxn ang="0">
                  <a:pos x="T8" y="T9"/>
                </a:cxn>
                <a:cxn ang="0">
                  <a:pos x="T10" y="T11"/>
                </a:cxn>
                <a:cxn ang="0">
                  <a:pos x="T12" y="T13"/>
                </a:cxn>
              </a:cxnLst>
              <a:rect l="0" t="0" r="r" b="b"/>
              <a:pathLst>
                <a:path w="11" h="40">
                  <a:moveTo>
                    <a:pt x="11" y="36"/>
                  </a:moveTo>
                  <a:lnTo>
                    <a:pt x="4" y="36"/>
                  </a:lnTo>
                  <a:lnTo>
                    <a:pt x="4" y="0"/>
                  </a:lnTo>
                  <a:lnTo>
                    <a:pt x="0" y="0"/>
                  </a:lnTo>
                  <a:lnTo>
                    <a:pt x="0" y="40"/>
                  </a:lnTo>
                  <a:lnTo>
                    <a:pt x="11" y="40"/>
                  </a:lnTo>
                  <a:lnTo>
                    <a:pt x="11" y="36"/>
                  </a:lnTo>
                  <a:close/>
                </a:path>
              </a:pathLst>
            </a:cu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33" name="Freeform 146">
              <a:extLst>
                <a:ext uri="{FF2B5EF4-FFF2-40B4-BE49-F238E27FC236}">
                  <a16:creationId xmlns:a16="http://schemas.microsoft.com/office/drawing/2014/main" id="{8451E7F0-0D10-5886-094C-045F8CA7D216}"/>
                </a:ext>
              </a:extLst>
            </p:cNvPr>
            <p:cNvSpPr>
              <a:spLocks/>
            </p:cNvSpPr>
            <p:nvPr/>
          </p:nvSpPr>
          <p:spPr bwMode="auto">
            <a:xfrm>
              <a:off x="5936234" y="2447256"/>
              <a:ext cx="373393" cy="373393"/>
            </a:xfrm>
            <a:custGeom>
              <a:avLst/>
              <a:gdLst>
                <a:gd name="T0" fmla="*/ 125 w 141"/>
                <a:gd name="T1" fmla="*/ 70 h 141"/>
                <a:gd name="T2" fmla="*/ 108 w 141"/>
                <a:gd name="T3" fmla="*/ 70 h 141"/>
                <a:gd name="T4" fmla="*/ 71 w 141"/>
                <a:gd name="T5" fmla="*/ 107 h 141"/>
                <a:gd name="T6" fmla="*/ 34 w 141"/>
                <a:gd name="T7" fmla="*/ 70 h 141"/>
                <a:gd name="T8" fmla="*/ 71 w 141"/>
                <a:gd name="T9" fmla="*/ 33 h 141"/>
                <a:gd name="T10" fmla="*/ 108 w 141"/>
                <a:gd name="T11" fmla="*/ 70 h 141"/>
                <a:gd name="T12" fmla="*/ 125 w 141"/>
                <a:gd name="T13" fmla="*/ 70 h 141"/>
                <a:gd name="T14" fmla="*/ 141 w 141"/>
                <a:gd name="T15" fmla="*/ 70 h 141"/>
                <a:gd name="T16" fmla="*/ 71 w 141"/>
                <a:gd name="T17" fmla="*/ 0 h 141"/>
                <a:gd name="T18" fmla="*/ 0 w 141"/>
                <a:gd name="T19" fmla="*/ 70 h 141"/>
                <a:gd name="T20" fmla="*/ 71 w 141"/>
                <a:gd name="T21" fmla="*/ 141 h 141"/>
                <a:gd name="T22" fmla="*/ 141 w 141"/>
                <a:gd name="T23" fmla="*/ 70 h 141"/>
                <a:gd name="T24" fmla="*/ 125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5" y="70"/>
                  </a:moveTo>
                  <a:lnTo>
                    <a:pt x="108" y="70"/>
                  </a:lnTo>
                  <a:cubicBezTo>
                    <a:pt x="108" y="91"/>
                    <a:pt x="91" y="107"/>
                    <a:pt x="71" y="107"/>
                  </a:cubicBezTo>
                  <a:cubicBezTo>
                    <a:pt x="50" y="107"/>
                    <a:pt x="34" y="91"/>
                    <a:pt x="34" y="70"/>
                  </a:cubicBezTo>
                  <a:cubicBezTo>
                    <a:pt x="34" y="50"/>
                    <a:pt x="50" y="33"/>
                    <a:pt x="71" y="33"/>
                  </a:cubicBezTo>
                  <a:cubicBezTo>
                    <a:pt x="91" y="33"/>
                    <a:pt x="108" y="50"/>
                    <a:pt x="108" y="70"/>
                  </a:cubicBezTo>
                  <a:lnTo>
                    <a:pt x="125" y="70"/>
                  </a:lnTo>
                  <a:lnTo>
                    <a:pt x="141" y="70"/>
                  </a:lnTo>
                  <a:cubicBezTo>
                    <a:pt x="141" y="31"/>
                    <a:pt x="110" y="0"/>
                    <a:pt x="71" y="0"/>
                  </a:cubicBezTo>
                  <a:cubicBezTo>
                    <a:pt x="32" y="0"/>
                    <a:pt x="0" y="31"/>
                    <a:pt x="0" y="70"/>
                  </a:cubicBezTo>
                  <a:cubicBezTo>
                    <a:pt x="0" y="109"/>
                    <a:pt x="32" y="141"/>
                    <a:pt x="71" y="141"/>
                  </a:cubicBezTo>
                  <a:cubicBezTo>
                    <a:pt x="110" y="141"/>
                    <a:pt x="141" y="109"/>
                    <a:pt x="141" y="70"/>
                  </a:cubicBezTo>
                  <a:lnTo>
                    <a:pt x="125" y="70"/>
                  </a:lnTo>
                  <a:close/>
                </a:path>
              </a:pathLst>
            </a:cu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34" name="Freeform 147">
              <a:extLst>
                <a:ext uri="{FF2B5EF4-FFF2-40B4-BE49-F238E27FC236}">
                  <a16:creationId xmlns:a16="http://schemas.microsoft.com/office/drawing/2014/main" id="{FC980E9A-6887-FE10-3F40-5FA47F64EDD2}"/>
                </a:ext>
              </a:extLst>
            </p:cNvPr>
            <p:cNvSpPr>
              <a:spLocks/>
            </p:cNvSpPr>
            <p:nvPr/>
          </p:nvSpPr>
          <p:spPr bwMode="auto">
            <a:xfrm>
              <a:off x="6081449" y="3816363"/>
              <a:ext cx="228191" cy="850512"/>
            </a:xfrm>
            <a:custGeom>
              <a:avLst/>
              <a:gdLst>
                <a:gd name="T0" fmla="*/ 11 w 11"/>
                <a:gd name="T1" fmla="*/ 0 h 41"/>
                <a:gd name="T2" fmla="*/ 0 w 11"/>
                <a:gd name="T3" fmla="*/ 0 h 41"/>
                <a:gd name="T4" fmla="*/ 0 w 11"/>
                <a:gd name="T5" fmla="*/ 41 h 41"/>
                <a:gd name="T6" fmla="*/ 4 w 11"/>
                <a:gd name="T7" fmla="*/ 41 h 41"/>
                <a:gd name="T8" fmla="*/ 4 w 11"/>
                <a:gd name="T9" fmla="*/ 5 h 41"/>
                <a:gd name="T10" fmla="*/ 11 w 11"/>
                <a:gd name="T11" fmla="*/ 5 h 41"/>
                <a:gd name="T12" fmla="*/ 11 w 11"/>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11" h="41">
                  <a:moveTo>
                    <a:pt x="11" y="0"/>
                  </a:moveTo>
                  <a:lnTo>
                    <a:pt x="0" y="0"/>
                  </a:lnTo>
                  <a:lnTo>
                    <a:pt x="0" y="41"/>
                  </a:lnTo>
                  <a:lnTo>
                    <a:pt x="4" y="41"/>
                  </a:lnTo>
                  <a:lnTo>
                    <a:pt x="4" y="5"/>
                  </a:lnTo>
                  <a:lnTo>
                    <a:pt x="11" y="5"/>
                  </a:lnTo>
                  <a:lnTo>
                    <a:pt x="11" y="0"/>
                  </a:lnTo>
                  <a:close/>
                </a:path>
              </a:pathLst>
            </a:cu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35" name="Freeform 148">
              <a:extLst>
                <a:ext uri="{FF2B5EF4-FFF2-40B4-BE49-F238E27FC236}">
                  <a16:creationId xmlns:a16="http://schemas.microsoft.com/office/drawing/2014/main" id="{9D5CBF5E-2637-C100-109E-67224EBE2BAA}"/>
                </a:ext>
              </a:extLst>
            </p:cNvPr>
            <p:cNvSpPr>
              <a:spLocks/>
            </p:cNvSpPr>
            <p:nvPr/>
          </p:nvSpPr>
          <p:spPr bwMode="auto">
            <a:xfrm>
              <a:off x="5936234" y="4604637"/>
              <a:ext cx="373393" cy="394143"/>
            </a:xfrm>
            <a:custGeom>
              <a:avLst/>
              <a:gdLst>
                <a:gd name="T0" fmla="*/ 125 w 141"/>
                <a:gd name="T1" fmla="*/ 70 h 141"/>
                <a:gd name="T2" fmla="*/ 141 w 141"/>
                <a:gd name="T3" fmla="*/ 70 h 141"/>
                <a:gd name="T4" fmla="*/ 71 w 141"/>
                <a:gd name="T5" fmla="*/ 0 h 141"/>
                <a:gd name="T6" fmla="*/ 0 w 141"/>
                <a:gd name="T7" fmla="*/ 70 h 141"/>
                <a:gd name="T8" fmla="*/ 71 w 141"/>
                <a:gd name="T9" fmla="*/ 141 h 141"/>
                <a:gd name="T10" fmla="*/ 141 w 141"/>
                <a:gd name="T11" fmla="*/ 70 h 141"/>
                <a:gd name="T12" fmla="*/ 125 w 141"/>
                <a:gd name="T13" fmla="*/ 70 h 141"/>
                <a:gd name="T14" fmla="*/ 108 w 141"/>
                <a:gd name="T15" fmla="*/ 70 h 141"/>
                <a:gd name="T16" fmla="*/ 71 w 141"/>
                <a:gd name="T17" fmla="*/ 108 h 141"/>
                <a:gd name="T18" fmla="*/ 34 w 141"/>
                <a:gd name="T19" fmla="*/ 70 h 141"/>
                <a:gd name="T20" fmla="*/ 71 w 141"/>
                <a:gd name="T21" fmla="*/ 33 h 141"/>
                <a:gd name="T22" fmla="*/ 108 w 141"/>
                <a:gd name="T23" fmla="*/ 70 h 141"/>
                <a:gd name="T24" fmla="*/ 125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5" y="70"/>
                  </a:moveTo>
                  <a:lnTo>
                    <a:pt x="141" y="70"/>
                  </a:lnTo>
                  <a:cubicBezTo>
                    <a:pt x="141" y="31"/>
                    <a:pt x="110" y="0"/>
                    <a:pt x="71" y="0"/>
                  </a:cubicBezTo>
                  <a:cubicBezTo>
                    <a:pt x="32" y="0"/>
                    <a:pt x="0" y="31"/>
                    <a:pt x="0" y="70"/>
                  </a:cubicBezTo>
                  <a:cubicBezTo>
                    <a:pt x="0" y="110"/>
                    <a:pt x="32" y="141"/>
                    <a:pt x="71" y="141"/>
                  </a:cubicBezTo>
                  <a:cubicBezTo>
                    <a:pt x="110" y="141"/>
                    <a:pt x="141" y="110"/>
                    <a:pt x="141" y="70"/>
                  </a:cubicBezTo>
                  <a:lnTo>
                    <a:pt x="125" y="70"/>
                  </a:lnTo>
                  <a:lnTo>
                    <a:pt x="108" y="70"/>
                  </a:lnTo>
                  <a:cubicBezTo>
                    <a:pt x="108" y="91"/>
                    <a:pt x="91" y="108"/>
                    <a:pt x="71" y="108"/>
                  </a:cubicBezTo>
                  <a:cubicBezTo>
                    <a:pt x="50" y="108"/>
                    <a:pt x="34" y="91"/>
                    <a:pt x="34" y="70"/>
                  </a:cubicBezTo>
                  <a:cubicBezTo>
                    <a:pt x="34" y="50"/>
                    <a:pt x="50" y="33"/>
                    <a:pt x="71" y="33"/>
                  </a:cubicBezTo>
                  <a:cubicBezTo>
                    <a:pt x="91" y="33"/>
                    <a:pt x="108" y="50"/>
                    <a:pt x="108" y="70"/>
                  </a:cubicBezTo>
                  <a:lnTo>
                    <a:pt x="125" y="70"/>
                  </a:lnTo>
                  <a:close/>
                </a:path>
              </a:pathLst>
            </a:cu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36" name="Freeform 149">
              <a:extLst>
                <a:ext uri="{FF2B5EF4-FFF2-40B4-BE49-F238E27FC236}">
                  <a16:creationId xmlns:a16="http://schemas.microsoft.com/office/drawing/2014/main" id="{9DCB1B9D-8461-64F2-131A-0A525F9C80CC}"/>
                </a:ext>
              </a:extLst>
            </p:cNvPr>
            <p:cNvSpPr>
              <a:spLocks/>
            </p:cNvSpPr>
            <p:nvPr/>
          </p:nvSpPr>
          <p:spPr bwMode="auto">
            <a:xfrm>
              <a:off x="9193054" y="2965851"/>
              <a:ext cx="373393" cy="373393"/>
            </a:xfrm>
            <a:custGeom>
              <a:avLst/>
              <a:gdLst>
                <a:gd name="T0" fmla="*/ 124 w 141"/>
                <a:gd name="T1" fmla="*/ 71 h 141"/>
                <a:gd name="T2" fmla="*/ 107 w 141"/>
                <a:gd name="T3" fmla="*/ 71 h 141"/>
                <a:gd name="T4" fmla="*/ 70 w 141"/>
                <a:gd name="T5" fmla="*/ 108 h 141"/>
                <a:gd name="T6" fmla="*/ 33 w 141"/>
                <a:gd name="T7" fmla="*/ 71 h 141"/>
                <a:gd name="T8" fmla="*/ 70 w 141"/>
                <a:gd name="T9" fmla="*/ 33 h 141"/>
                <a:gd name="T10" fmla="*/ 107 w 141"/>
                <a:gd name="T11" fmla="*/ 71 h 141"/>
                <a:gd name="T12" fmla="*/ 124 w 141"/>
                <a:gd name="T13" fmla="*/ 71 h 141"/>
                <a:gd name="T14" fmla="*/ 141 w 141"/>
                <a:gd name="T15" fmla="*/ 71 h 141"/>
                <a:gd name="T16" fmla="*/ 70 w 141"/>
                <a:gd name="T17" fmla="*/ 0 h 141"/>
                <a:gd name="T18" fmla="*/ 0 w 141"/>
                <a:gd name="T19" fmla="*/ 71 h 141"/>
                <a:gd name="T20" fmla="*/ 70 w 141"/>
                <a:gd name="T21" fmla="*/ 141 h 141"/>
                <a:gd name="T22" fmla="*/ 141 w 141"/>
                <a:gd name="T23" fmla="*/ 71 h 141"/>
                <a:gd name="T24" fmla="*/ 124 w 141"/>
                <a:gd name="T25" fmla="*/ 7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4" y="71"/>
                  </a:moveTo>
                  <a:lnTo>
                    <a:pt x="107" y="71"/>
                  </a:lnTo>
                  <a:cubicBezTo>
                    <a:pt x="107" y="91"/>
                    <a:pt x="91" y="108"/>
                    <a:pt x="70" y="108"/>
                  </a:cubicBezTo>
                  <a:cubicBezTo>
                    <a:pt x="50" y="108"/>
                    <a:pt x="33" y="91"/>
                    <a:pt x="33" y="71"/>
                  </a:cubicBezTo>
                  <a:cubicBezTo>
                    <a:pt x="33" y="50"/>
                    <a:pt x="50" y="33"/>
                    <a:pt x="70" y="33"/>
                  </a:cubicBezTo>
                  <a:cubicBezTo>
                    <a:pt x="91" y="33"/>
                    <a:pt x="107" y="50"/>
                    <a:pt x="107" y="71"/>
                  </a:cubicBezTo>
                  <a:lnTo>
                    <a:pt x="124" y="71"/>
                  </a:lnTo>
                  <a:lnTo>
                    <a:pt x="141" y="71"/>
                  </a:lnTo>
                  <a:cubicBezTo>
                    <a:pt x="141" y="32"/>
                    <a:pt x="109" y="0"/>
                    <a:pt x="70" y="0"/>
                  </a:cubicBezTo>
                  <a:cubicBezTo>
                    <a:pt x="31" y="0"/>
                    <a:pt x="0" y="32"/>
                    <a:pt x="0" y="71"/>
                  </a:cubicBezTo>
                  <a:cubicBezTo>
                    <a:pt x="0" y="110"/>
                    <a:pt x="31" y="141"/>
                    <a:pt x="70" y="141"/>
                  </a:cubicBezTo>
                  <a:cubicBezTo>
                    <a:pt x="109" y="141"/>
                    <a:pt x="141" y="110"/>
                    <a:pt x="141" y="71"/>
                  </a:cubicBezTo>
                  <a:lnTo>
                    <a:pt x="124" y="71"/>
                  </a:lnTo>
                  <a:close/>
                </a:path>
              </a:pathLst>
            </a:cu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37" name="Freeform 150">
              <a:extLst>
                <a:ext uri="{FF2B5EF4-FFF2-40B4-BE49-F238E27FC236}">
                  <a16:creationId xmlns:a16="http://schemas.microsoft.com/office/drawing/2014/main" id="{9E0CAA8E-621C-4A96-152C-70FDB4F6CCC7}"/>
                </a:ext>
              </a:extLst>
            </p:cNvPr>
            <p:cNvSpPr>
              <a:spLocks/>
            </p:cNvSpPr>
            <p:nvPr/>
          </p:nvSpPr>
          <p:spPr bwMode="auto">
            <a:xfrm>
              <a:off x="6662282" y="4978029"/>
              <a:ext cx="1016464" cy="456369"/>
            </a:xfrm>
            <a:custGeom>
              <a:avLst/>
              <a:gdLst>
                <a:gd name="T0" fmla="*/ 45 w 49"/>
                <a:gd name="T1" fmla="*/ 0 h 22"/>
                <a:gd name="T2" fmla="*/ 45 w 49"/>
                <a:gd name="T3" fmla="*/ 18 h 22"/>
                <a:gd name="T4" fmla="*/ 0 w 49"/>
                <a:gd name="T5" fmla="*/ 18 h 22"/>
                <a:gd name="T6" fmla="*/ 0 w 49"/>
                <a:gd name="T7" fmla="*/ 22 h 22"/>
                <a:gd name="T8" fmla="*/ 49 w 49"/>
                <a:gd name="T9" fmla="*/ 22 h 22"/>
                <a:gd name="T10" fmla="*/ 49 w 49"/>
                <a:gd name="T11" fmla="*/ 0 h 22"/>
                <a:gd name="T12" fmla="*/ 45 w 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45" y="0"/>
                  </a:moveTo>
                  <a:lnTo>
                    <a:pt x="45" y="18"/>
                  </a:lnTo>
                  <a:lnTo>
                    <a:pt x="0" y="18"/>
                  </a:lnTo>
                  <a:lnTo>
                    <a:pt x="0" y="22"/>
                  </a:lnTo>
                  <a:lnTo>
                    <a:pt x="49" y="22"/>
                  </a:lnTo>
                  <a:lnTo>
                    <a:pt x="49" y="0"/>
                  </a:lnTo>
                  <a:lnTo>
                    <a:pt x="45" y="0"/>
                  </a:lnTo>
                  <a:close/>
                </a:path>
              </a:pathLst>
            </a:cu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38" name="Freeform 151">
              <a:extLst>
                <a:ext uri="{FF2B5EF4-FFF2-40B4-BE49-F238E27FC236}">
                  <a16:creationId xmlns:a16="http://schemas.microsoft.com/office/drawing/2014/main" id="{A7C21F30-5F54-E266-8AF1-3FE7878F8056}"/>
                </a:ext>
              </a:extLst>
            </p:cNvPr>
            <p:cNvSpPr>
              <a:spLocks/>
            </p:cNvSpPr>
            <p:nvPr/>
          </p:nvSpPr>
          <p:spPr bwMode="auto">
            <a:xfrm>
              <a:off x="6330377" y="5206207"/>
              <a:ext cx="373393" cy="373393"/>
            </a:xfrm>
            <a:custGeom>
              <a:avLst/>
              <a:gdLst>
                <a:gd name="T0" fmla="*/ 124 w 141"/>
                <a:gd name="T1" fmla="*/ 70 h 141"/>
                <a:gd name="T2" fmla="*/ 108 w 141"/>
                <a:gd name="T3" fmla="*/ 70 h 141"/>
                <a:gd name="T4" fmla="*/ 70 w 141"/>
                <a:gd name="T5" fmla="*/ 108 h 141"/>
                <a:gd name="T6" fmla="*/ 33 w 141"/>
                <a:gd name="T7" fmla="*/ 70 h 141"/>
                <a:gd name="T8" fmla="*/ 70 w 141"/>
                <a:gd name="T9" fmla="*/ 33 h 141"/>
                <a:gd name="T10" fmla="*/ 108 w 141"/>
                <a:gd name="T11" fmla="*/ 70 h 141"/>
                <a:gd name="T12" fmla="*/ 124 w 141"/>
                <a:gd name="T13" fmla="*/ 70 h 141"/>
                <a:gd name="T14" fmla="*/ 141 w 141"/>
                <a:gd name="T15" fmla="*/ 70 h 141"/>
                <a:gd name="T16" fmla="*/ 70 w 141"/>
                <a:gd name="T17" fmla="*/ 0 h 141"/>
                <a:gd name="T18" fmla="*/ 0 w 141"/>
                <a:gd name="T19" fmla="*/ 70 h 141"/>
                <a:gd name="T20" fmla="*/ 70 w 141"/>
                <a:gd name="T21" fmla="*/ 141 h 141"/>
                <a:gd name="T22" fmla="*/ 141 w 141"/>
                <a:gd name="T23" fmla="*/ 70 h 141"/>
                <a:gd name="T24" fmla="*/ 124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4" y="70"/>
                  </a:moveTo>
                  <a:lnTo>
                    <a:pt x="108" y="70"/>
                  </a:lnTo>
                  <a:cubicBezTo>
                    <a:pt x="107" y="91"/>
                    <a:pt x="91" y="108"/>
                    <a:pt x="70" y="108"/>
                  </a:cubicBezTo>
                  <a:cubicBezTo>
                    <a:pt x="50" y="108"/>
                    <a:pt x="33" y="91"/>
                    <a:pt x="33" y="70"/>
                  </a:cubicBezTo>
                  <a:cubicBezTo>
                    <a:pt x="33" y="50"/>
                    <a:pt x="50" y="33"/>
                    <a:pt x="70" y="33"/>
                  </a:cubicBezTo>
                  <a:cubicBezTo>
                    <a:pt x="91" y="33"/>
                    <a:pt x="107" y="50"/>
                    <a:pt x="108" y="70"/>
                  </a:cubicBezTo>
                  <a:lnTo>
                    <a:pt x="124" y="70"/>
                  </a:lnTo>
                  <a:lnTo>
                    <a:pt x="141" y="70"/>
                  </a:lnTo>
                  <a:cubicBezTo>
                    <a:pt x="141" y="31"/>
                    <a:pt x="109" y="0"/>
                    <a:pt x="70" y="0"/>
                  </a:cubicBezTo>
                  <a:cubicBezTo>
                    <a:pt x="31" y="0"/>
                    <a:pt x="0" y="31"/>
                    <a:pt x="0" y="70"/>
                  </a:cubicBezTo>
                  <a:cubicBezTo>
                    <a:pt x="0" y="109"/>
                    <a:pt x="31" y="141"/>
                    <a:pt x="70" y="141"/>
                  </a:cubicBezTo>
                  <a:cubicBezTo>
                    <a:pt x="109" y="141"/>
                    <a:pt x="141" y="109"/>
                    <a:pt x="141" y="70"/>
                  </a:cubicBezTo>
                  <a:lnTo>
                    <a:pt x="124" y="70"/>
                  </a:lnTo>
                </a:path>
              </a:pathLst>
            </a:cu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39" name="Freeform 152">
              <a:extLst>
                <a:ext uri="{FF2B5EF4-FFF2-40B4-BE49-F238E27FC236}">
                  <a16:creationId xmlns:a16="http://schemas.microsoft.com/office/drawing/2014/main" id="{F045D524-65DB-C2ED-95DE-83D94A22AF18}"/>
                </a:ext>
              </a:extLst>
            </p:cNvPr>
            <p:cNvSpPr>
              <a:spLocks/>
            </p:cNvSpPr>
            <p:nvPr/>
          </p:nvSpPr>
          <p:spPr bwMode="auto">
            <a:xfrm>
              <a:off x="7803197" y="4978029"/>
              <a:ext cx="1016464" cy="456369"/>
            </a:xfrm>
            <a:custGeom>
              <a:avLst/>
              <a:gdLst>
                <a:gd name="T0" fmla="*/ 0 w 49"/>
                <a:gd name="T1" fmla="*/ 0 h 22"/>
                <a:gd name="T2" fmla="*/ 0 w 49"/>
                <a:gd name="T3" fmla="*/ 22 h 22"/>
                <a:gd name="T4" fmla="*/ 49 w 49"/>
                <a:gd name="T5" fmla="*/ 22 h 22"/>
                <a:gd name="T6" fmla="*/ 49 w 49"/>
                <a:gd name="T7" fmla="*/ 18 h 22"/>
                <a:gd name="T8" fmla="*/ 4 w 49"/>
                <a:gd name="T9" fmla="*/ 18 h 22"/>
                <a:gd name="T10" fmla="*/ 4 w 49"/>
                <a:gd name="T11" fmla="*/ 0 h 22"/>
                <a:gd name="T12" fmla="*/ 0 w 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0" y="0"/>
                  </a:moveTo>
                  <a:lnTo>
                    <a:pt x="0" y="22"/>
                  </a:lnTo>
                  <a:lnTo>
                    <a:pt x="49" y="22"/>
                  </a:lnTo>
                  <a:lnTo>
                    <a:pt x="49" y="18"/>
                  </a:lnTo>
                  <a:lnTo>
                    <a:pt x="4" y="18"/>
                  </a:lnTo>
                  <a:lnTo>
                    <a:pt x="4"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40" name="Freeform 153">
              <a:extLst>
                <a:ext uri="{FF2B5EF4-FFF2-40B4-BE49-F238E27FC236}">
                  <a16:creationId xmlns:a16="http://schemas.microsoft.com/office/drawing/2014/main" id="{A6149EF6-E756-B07F-13BA-49B0882C8DE9}"/>
                </a:ext>
              </a:extLst>
            </p:cNvPr>
            <p:cNvSpPr>
              <a:spLocks/>
            </p:cNvSpPr>
            <p:nvPr/>
          </p:nvSpPr>
          <p:spPr bwMode="auto">
            <a:xfrm>
              <a:off x="8778174" y="5206207"/>
              <a:ext cx="373393" cy="373393"/>
            </a:xfrm>
            <a:custGeom>
              <a:avLst/>
              <a:gdLst>
                <a:gd name="T0" fmla="*/ 16 w 141"/>
                <a:gd name="T1" fmla="*/ 70 h 141"/>
                <a:gd name="T2" fmla="*/ 0 w 141"/>
                <a:gd name="T3" fmla="*/ 70 h 141"/>
                <a:gd name="T4" fmla="*/ 70 w 141"/>
                <a:gd name="T5" fmla="*/ 141 h 141"/>
                <a:gd name="T6" fmla="*/ 141 w 141"/>
                <a:gd name="T7" fmla="*/ 70 h 141"/>
                <a:gd name="T8" fmla="*/ 70 w 141"/>
                <a:gd name="T9" fmla="*/ 0 h 141"/>
                <a:gd name="T10" fmla="*/ 0 w 141"/>
                <a:gd name="T11" fmla="*/ 70 h 141"/>
                <a:gd name="T12" fmla="*/ 16 w 141"/>
                <a:gd name="T13" fmla="*/ 70 h 141"/>
                <a:gd name="T14" fmla="*/ 33 w 141"/>
                <a:gd name="T15" fmla="*/ 70 h 141"/>
                <a:gd name="T16" fmla="*/ 70 w 141"/>
                <a:gd name="T17" fmla="*/ 33 h 141"/>
                <a:gd name="T18" fmla="*/ 107 w 141"/>
                <a:gd name="T19" fmla="*/ 70 h 141"/>
                <a:gd name="T20" fmla="*/ 70 w 141"/>
                <a:gd name="T21" fmla="*/ 108 h 141"/>
                <a:gd name="T22" fmla="*/ 33 w 141"/>
                <a:gd name="T23" fmla="*/ 70 h 141"/>
                <a:gd name="T24" fmla="*/ 16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6" y="70"/>
                  </a:moveTo>
                  <a:lnTo>
                    <a:pt x="0" y="70"/>
                  </a:lnTo>
                  <a:cubicBezTo>
                    <a:pt x="0" y="109"/>
                    <a:pt x="31" y="141"/>
                    <a:pt x="70" y="141"/>
                  </a:cubicBezTo>
                  <a:cubicBezTo>
                    <a:pt x="109" y="141"/>
                    <a:pt x="141" y="109"/>
                    <a:pt x="141" y="70"/>
                  </a:cubicBezTo>
                  <a:cubicBezTo>
                    <a:pt x="141" y="31"/>
                    <a:pt x="109" y="0"/>
                    <a:pt x="70" y="0"/>
                  </a:cubicBezTo>
                  <a:cubicBezTo>
                    <a:pt x="31" y="0"/>
                    <a:pt x="0" y="31"/>
                    <a:pt x="0" y="70"/>
                  </a:cubicBezTo>
                  <a:lnTo>
                    <a:pt x="16" y="70"/>
                  </a:lnTo>
                  <a:lnTo>
                    <a:pt x="33" y="70"/>
                  </a:lnTo>
                  <a:cubicBezTo>
                    <a:pt x="33" y="50"/>
                    <a:pt x="50" y="33"/>
                    <a:pt x="70" y="33"/>
                  </a:cubicBezTo>
                  <a:cubicBezTo>
                    <a:pt x="91" y="33"/>
                    <a:pt x="107" y="50"/>
                    <a:pt x="107" y="70"/>
                  </a:cubicBezTo>
                  <a:cubicBezTo>
                    <a:pt x="107" y="91"/>
                    <a:pt x="91" y="108"/>
                    <a:pt x="70" y="108"/>
                  </a:cubicBezTo>
                  <a:cubicBezTo>
                    <a:pt x="50" y="108"/>
                    <a:pt x="33" y="91"/>
                    <a:pt x="33" y="70"/>
                  </a:cubicBezTo>
                  <a:lnTo>
                    <a:pt x="16" y="70"/>
                  </a:lnTo>
                  <a:close/>
                </a:path>
              </a:pathLst>
            </a:custGeom>
            <a:grpFill/>
            <a:ln>
              <a:noFill/>
            </a:ln>
          </p:spPr>
          <p:txBody>
            <a:bodyPr vert="horz" wrap="square" lIns="91440" tIns="45720" rIns="91440" bIns="45720" numCol="1" anchor="t" anchorCtr="0" compatLnSpc="1">
              <a:prstTxWarp prst="textNoShape">
                <a:avLst/>
              </a:prstTxWarp>
            </a:bodyPr>
            <a:lstStyle/>
            <a:p>
              <a:endParaRPr lang="en-GB" noProof="0"/>
            </a:p>
          </p:txBody>
        </p:sp>
        <p:sp>
          <p:nvSpPr>
            <p:cNvPr id="1341" name="Freeform 154">
              <a:extLst>
                <a:ext uri="{FF2B5EF4-FFF2-40B4-BE49-F238E27FC236}">
                  <a16:creationId xmlns:a16="http://schemas.microsoft.com/office/drawing/2014/main" id="{095517EC-B04A-2217-4EA2-C03FA66F531F}"/>
                </a:ext>
              </a:extLst>
            </p:cNvPr>
            <p:cNvSpPr>
              <a:spLocks/>
            </p:cNvSpPr>
            <p:nvPr/>
          </p:nvSpPr>
          <p:spPr bwMode="auto">
            <a:xfrm>
              <a:off x="7554269" y="2219065"/>
              <a:ext cx="373393" cy="394143"/>
            </a:xfrm>
            <a:custGeom>
              <a:avLst/>
              <a:gdLst>
                <a:gd name="T0" fmla="*/ 124 w 141"/>
                <a:gd name="T1" fmla="*/ 70 h 141"/>
                <a:gd name="T2" fmla="*/ 108 w 141"/>
                <a:gd name="T3" fmla="*/ 70 h 141"/>
                <a:gd name="T4" fmla="*/ 70 w 141"/>
                <a:gd name="T5" fmla="*/ 108 h 141"/>
                <a:gd name="T6" fmla="*/ 33 w 141"/>
                <a:gd name="T7" fmla="*/ 70 h 141"/>
                <a:gd name="T8" fmla="*/ 70 w 141"/>
                <a:gd name="T9" fmla="*/ 33 h 141"/>
                <a:gd name="T10" fmla="*/ 108 w 141"/>
                <a:gd name="T11" fmla="*/ 70 h 141"/>
                <a:gd name="T12" fmla="*/ 124 w 141"/>
                <a:gd name="T13" fmla="*/ 70 h 141"/>
                <a:gd name="T14" fmla="*/ 141 w 141"/>
                <a:gd name="T15" fmla="*/ 70 h 141"/>
                <a:gd name="T16" fmla="*/ 70 w 141"/>
                <a:gd name="T17" fmla="*/ 0 h 141"/>
                <a:gd name="T18" fmla="*/ 0 w 141"/>
                <a:gd name="T19" fmla="*/ 70 h 141"/>
                <a:gd name="T20" fmla="*/ 70 w 141"/>
                <a:gd name="T21" fmla="*/ 141 h 141"/>
                <a:gd name="T22" fmla="*/ 141 w 141"/>
                <a:gd name="T23" fmla="*/ 70 h 141"/>
                <a:gd name="T24" fmla="*/ 124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4" y="70"/>
                  </a:moveTo>
                  <a:lnTo>
                    <a:pt x="108" y="70"/>
                  </a:lnTo>
                  <a:cubicBezTo>
                    <a:pt x="108" y="91"/>
                    <a:pt x="91" y="108"/>
                    <a:pt x="70" y="108"/>
                  </a:cubicBezTo>
                  <a:cubicBezTo>
                    <a:pt x="50" y="108"/>
                    <a:pt x="33" y="91"/>
                    <a:pt x="33" y="70"/>
                  </a:cubicBezTo>
                  <a:cubicBezTo>
                    <a:pt x="33" y="50"/>
                    <a:pt x="50" y="33"/>
                    <a:pt x="70" y="33"/>
                  </a:cubicBezTo>
                  <a:cubicBezTo>
                    <a:pt x="91" y="33"/>
                    <a:pt x="108" y="50"/>
                    <a:pt x="108" y="70"/>
                  </a:cubicBezTo>
                  <a:lnTo>
                    <a:pt x="124" y="70"/>
                  </a:lnTo>
                  <a:lnTo>
                    <a:pt x="141" y="70"/>
                  </a:lnTo>
                  <a:cubicBezTo>
                    <a:pt x="141" y="32"/>
                    <a:pt x="109" y="0"/>
                    <a:pt x="70" y="0"/>
                  </a:cubicBezTo>
                  <a:cubicBezTo>
                    <a:pt x="31" y="0"/>
                    <a:pt x="0" y="32"/>
                    <a:pt x="0" y="70"/>
                  </a:cubicBezTo>
                  <a:cubicBezTo>
                    <a:pt x="0" y="109"/>
                    <a:pt x="31" y="141"/>
                    <a:pt x="70" y="141"/>
                  </a:cubicBezTo>
                  <a:cubicBezTo>
                    <a:pt x="109" y="141"/>
                    <a:pt x="141" y="109"/>
                    <a:pt x="141" y="70"/>
                  </a:cubicBezTo>
                  <a:lnTo>
                    <a:pt x="124" y="70"/>
                  </a:lnTo>
                  <a:close/>
                </a:path>
              </a:pathLst>
            </a:custGeom>
            <a:grpFill/>
            <a:ln>
              <a:noFill/>
            </a:ln>
          </p:spPr>
          <p:txBody>
            <a:bodyPr vert="horz" wrap="square" lIns="91440" tIns="45720" rIns="91440" bIns="45720" numCol="1" anchor="t" anchorCtr="0" compatLnSpc="1">
              <a:prstTxWarp prst="textNoShape">
                <a:avLst/>
              </a:prstTxWarp>
            </a:bodyPr>
            <a:lstStyle/>
            <a:p>
              <a:endParaRPr lang="en-GB" noProof="0"/>
            </a:p>
          </p:txBody>
        </p:sp>
      </p:grpSp>
      <p:sp>
        <p:nvSpPr>
          <p:cNvPr id="1342" name="Rectángulo: esquinas redondeadas 1341">
            <a:extLst>
              <a:ext uri="{FF2B5EF4-FFF2-40B4-BE49-F238E27FC236}">
                <a16:creationId xmlns:a16="http://schemas.microsoft.com/office/drawing/2014/main" id="{248D86D4-913F-4DD3-ED29-C147CA0EDA50}"/>
              </a:ext>
            </a:extLst>
          </p:cNvPr>
          <p:cNvSpPr/>
          <p:nvPr/>
        </p:nvSpPr>
        <p:spPr>
          <a:xfrm>
            <a:off x="6363341" y="4452522"/>
            <a:ext cx="153135" cy="15185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1343" name="Conector recto de flecha 1342">
            <a:extLst>
              <a:ext uri="{FF2B5EF4-FFF2-40B4-BE49-F238E27FC236}">
                <a16:creationId xmlns:a16="http://schemas.microsoft.com/office/drawing/2014/main" id="{B8458E59-57C4-3B2C-C547-658649E68C66}"/>
              </a:ext>
            </a:extLst>
          </p:cNvPr>
          <p:cNvCxnSpPr>
            <a:cxnSpLocks/>
            <a:stCxn id="1342" idx="3"/>
            <a:endCxn id="1344" idx="1"/>
          </p:cNvCxnSpPr>
          <p:nvPr/>
        </p:nvCxnSpPr>
        <p:spPr>
          <a:xfrm>
            <a:off x="6516476" y="4528450"/>
            <a:ext cx="227261" cy="471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344" name="Rectángulo: esquinas redondeadas 1343">
            <a:extLst>
              <a:ext uri="{FF2B5EF4-FFF2-40B4-BE49-F238E27FC236}">
                <a16:creationId xmlns:a16="http://schemas.microsoft.com/office/drawing/2014/main" id="{CDBADB2D-5CF9-21D5-B57A-10BF0C9F6326}"/>
              </a:ext>
            </a:extLst>
          </p:cNvPr>
          <p:cNvSpPr/>
          <p:nvPr/>
        </p:nvSpPr>
        <p:spPr>
          <a:xfrm>
            <a:off x="6743737" y="4457238"/>
            <a:ext cx="153135" cy="15185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1345" name="Conector recto de flecha 1344">
            <a:extLst>
              <a:ext uri="{FF2B5EF4-FFF2-40B4-BE49-F238E27FC236}">
                <a16:creationId xmlns:a16="http://schemas.microsoft.com/office/drawing/2014/main" id="{29D5CA04-C7F7-1FB6-D7E0-72AA38769D2F}"/>
              </a:ext>
            </a:extLst>
          </p:cNvPr>
          <p:cNvCxnSpPr>
            <a:cxnSpLocks/>
            <a:stCxn id="1344" idx="3"/>
            <a:endCxn id="1346" idx="1"/>
          </p:cNvCxnSpPr>
          <p:nvPr/>
        </p:nvCxnSpPr>
        <p:spPr>
          <a:xfrm>
            <a:off x="6896872" y="4533166"/>
            <a:ext cx="227261"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346" name="Rectángulo: esquinas redondeadas 1345">
            <a:extLst>
              <a:ext uri="{FF2B5EF4-FFF2-40B4-BE49-F238E27FC236}">
                <a16:creationId xmlns:a16="http://schemas.microsoft.com/office/drawing/2014/main" id="{5691ACAB-23FC-B5C1-5661-47638A3D29FE}"/>
              </a:ext>
            </a:extLst>
          </p:cNvPr>
          <p:cNvSpPr/>
          <p:nvPr/>
        </p:nvSpPr>
        <p:spPr>
          <a:xfrm>
            <a:off x="7124133" y="4457238"/>
            <a:ext cx="153135" cy="15185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347" name="Bocadillo: rectángulo con esquinas redondeadas 1346">
            <a:extLst>
              <a:ext uri="{FF2B5EF4-FFF2-40B4-BE49-F238E27FC236}">
                <a16:creationId xmlns:a16="http://schemas.microsoft.com/office/drawing/2014/main" id="{4FD9FFA8-6C1E-2C56-4584-7CC7A9F99E6A}"/>
              </a:ext>
            </a:extLst>
          </p:cNvPr>
          <p:cNvSpPr/>
          <p:nvPr/>
        </p:nvSpPr>
        <p:spPr>
          <a:xfrm flipV="1">
            <a:off x="6299086" y="4396243"/>
            <a:ext cx="1035049" cy="276409"/>
          </a:xfrm>
          <a:prstGeom prst="wedgeRoundRectCallout">
            <a:avLst>
              <a:gd name="adj1" fmla="val -37398"/>
              <a:gd name="adj2" fmla="val 73446"/>
              <a:gd name="adj3" fmla="val 16667"/>
            </a:avLst>
          </a:prstGeom>
          <a:noFill/>
          <a:ln>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349" name="Rectángulo: esquinas redondeadas 1348">
            <a:extLst>
              <a:ext uri="{FF2B5EF4-FFF2-40B4-BE49-F238E27FC236}">
                <a16:creationId xmlns:a16="http://schemas.microsoft.com/office/drawing/2014/main" id="{F823CCFB-9D9C-7008-9956-06D70502783A}"/>
              </a:ext>
            </a:extLst>
          </p:cNvPr>
          <p:cNvSpPr/>
          <p:nvPr/>
        </p:nvSpPr>
        <p:spPr>
          <a:xfrm>
            <a:off x="1833364" y="3606305"/>
            <a:ext cx="1368000" cy="21600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r>
              <a:rPr lang="en-GB" sz="1000" b="1" noProof="0">
                <a:solidFill>
                  <a:schemeClr val="tx1"/>
                </a:solidFill>
                <a:latin typeface="Calibri" panose="020F0502020204030204" pitchFamily="34" charset="0"/>
                <a:ea typeface="Calibri" panose="020F0502020204030204" pitchFamily="34" charset="0"/>
                <a:cs typeface="Calibri" panose="020F0502020204030204" pitchFamily="34" charset="0"/>
              </a:rPr>
              <a:t>Dynamic Environment</a:t>
            </a:r>
          </a:p>
        </p:txBody>
      </p:sp>
      <p:sp>
        <p:nvSpPr>
          <p:cNvPr id="1353" name="Rectángulo: esquinas redondeadas 1352">
            <a:extLst>
              <a:ext uri="{FF2B5EF4-FFF2-40B4-BE49-F238E27FC236}">
                <a16:creationId xmlns:a16="http://schemas.microsoft.com/office/drawing/2014/main" id="{151F174E-4024-1FF1-F463-31F0C5FA5CF5}"/>
              </a:ext>
            </a:extLst>
          </p:cNvPr>
          <p:cNvSpPr/>
          <p:nvPr/>
        </p:nvSpPr>
        <p:spPr>
          <a:xfrm>
            <a:off x="1833364" y="3319857"/>
            <a:ext cx="1368000" cy="21600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r>
              <a:rPr lang="en-GB" sz="1000" b="1" noProof="0">
                <a:solidFill>
                  <a:schemeClr val="tx1"/>
                </a:solidFill>
                <a:latin typeface="Calibri" panose="020F0502020204030204" pitchFamily="34" charset="0"/>
                <a:ea typeface="Calibri" panose="020F0502020204030204" pitchFamily="34" charset="0"/>
                <a:cs typeface="Calibri" panose="020F0502020204030204" pitchFamily="34" charset="0"/>
              </a:rPr>
              <a:t>Controllable workflows</a:t>
            </a:r>
          </a:p>
        </p:txBody>
      </p:sp>
      <p:grpSp>
        <p:nvGrpSpPr>
          <p:cNvPr id="1395" name="Grupo 1394">
            <a:extLst>
              <a:ext uri="{FF2B5EF4-FFF2-40B4-BE49-F238E27FC236}">
                <a16:creationId xmlns:a16="http://schemas.microsoft.com/office/drawing/2014/main" id="{A44465E4-41E9-D999-8A25-F5E4F522CF78}"/>
              </a:ext>
            </a:extLst>
          </p:cNvPr>
          <p:cNvGrpSpPr/>
          <p:nvPr/>
        </p:nvGrpSpPr>
        <p:grpSpPr>
          <a:xfrm>
            <a:off x="8432320" y="4596049"/>
            <a:ext cx="1611962" cy="765424"/>
            <a:chOff x="8730987" y="4547585"/>
            <a:chExt cx="1611962" cy="765424"/>
          </a:xfrm>
        </p:grpSpPr>
        <p:sp>
          <p:nvSpPr>
            <p:cNvPr id="1367" name="Rectángulo: esquinas redondeadas 1366">
              <a:extLst>
                <a:ext uri="{FF2B5EF4-FFF2-40B4-BE49-F238E27FC236}">
                  <a16:creationId xmlns:a16="http://schemas.microsoft.com/office/drawing/2014/main" id="{CFA39C07-8E32-A067-6587-4A018244AA31}"/>
                </a:ext>
              </a:extLst>
            </p:cNvPr>
            <p:cNvSpPr/>
            <p:nvPr/>
          </p:nvSpPr>
          <p:spPr>
            <a:xfrm>
              <a:off x="8946326" y="4547585"/>
              <a:ext cx="1396623" cy="616387"/>
            </a:xfrm>
            <a:prstGeom prst="roundRect">
              <a:avLst/>
            </a:prstGeom>
            <a:solidFill>
              <a:schemeClr val="bg1">
                <a:lumMod val="9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368" name="Rectángulo: esquinas redondeadas 1367">
              <a:extLst>
                <a:ext uri="{FF2B5EF4-FFF2-40B4-BE49-F238E27FC236}">
                  <a16:creationId xmlns:a16="http://schemas.microsoft.com/office/drawing/2014/main" id="{82E47914-5752-7915-7B5C-BE1949F76EE1}"/>
                </a:ext>
              </a:extLst>
            </p:cNvPr>
            <p:cNvSpPr/>
            <p:nvPr/>
          </p:nvSpPr>
          <p:spPr>
            <a:xfrm>
              <a:off x="8821684" y="4605817"/>
              <a:ext cx="1441797" cy="616387"/>
            </a:xfrm>
            <a:prstGeom prst="roundRect">
              <a:avLst/>
            </a:prstGeom>
            <a:solidFill>
              <a:schemeClr val="bg1">
                <a:lumMod val="9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369" name="Rectángulo: esquinas redondeadas 1368">
              <a:extLst>
                <a:ext uri="{FF2B5EF4-FFF2-40B4-BE49-F238E27FC236}">
                  <a16:creationId xmlns:a16="http://schemas.microsoft.com/office/drawing/2014/main" id="{82DDBF10-E5C8-173E-BABD-55F83423035B}"/>
                </a:ext>
              </a:extLst>
            </p:cNvPr>
            <p:cNvSpPr/>
            <p:nvPr/>
          </p:nvSpPr>
          <p:spPr>
            <a:xfrm>
              <a:off x="8730987" y="4680854"/>
              <a:ext cx="1464422" cy="632155"/>
            </a:xfrm>
            <a:prstGeom prst="roundRect">
              <a:avLst/>
            </a:prstGeom>
            <a:solidFill>
              <a:schemeClr val="bg1">
                <a:lumMod val="9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370" name="Rectángulo: esquinas redondeadas 1369">
              <a:extLst>
                <a:ext uri="{FF2B5EF4-FFF2-40B4-BE49-F238E27FC236}">
                  <a16:creationId xmlns:a16="http://schemas.microsoft.com/office/drawing/2014/main" id="{A6987A8D-E0C1-3701-2ABE-A5703973F118}"/>
                </a:ext>
              </a:extLst>
            </p:cNvPr>
            <p:cNvSpPr/>
            <p:nvPr/>
          </p:nvSpPr>
          <p:spPr>
            <a:xfrm>
              <a:off x="8824831" y="4972926"/>
              <a:ext cx="101244" cy="7704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1371" name="Conector recto de flecha 1370">
              <a:extLst>
                <a:ext uri="{FF2B5EF4-FFF2-40B4-BE49-F238E27FC236}">
                  <a16:creationId xmlns:a16="http://schemas.microsoft.com/office/drawing/2014/main" id="{8691864E-2BA3-73DF-9BE4-51335D34851E}"/>
                </a:ext>
              </a:extLst>
            </p:cNvPr>
            <p:cNvCxnSpPr>
              <a:cxnSpLocks/>
              <a:stCxn id="1370" idx="3"/>
              <a:endCxn id="1382" idx="1"/>
            </p:cNvCxnSpPr>
            <p:nvPr/>
          </p:nvCxnSpPr>
          <p:spPr>
            <a:xfrm flipV="1">
              <a:off x="8926075" y="5011448"/>
              <a:ext cx="152054"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74" name="Conector: curvado 1373">
              <a:extLst>
                <a:ext uri="{FF2B5EF4-FFF2-40B4-BE49-F238E27FC236}">
                  <a16:creationId xmlns:a16="http://schemas.microsoft.com/office/drawing/2014/main" id="{D5D7FBBB-36EC-0250-BA39-F80096FC6CBB}"/>
                </a:ext>
              </a:extLst>
            </p:cNvPr>
            <p:cNvCxnSpPr>
              <a:cxnSpLocks/>
              <a:endCxn id="1375" idx="1"/>
            </p:cNvCxnSpPr>
            <p:nvPr/>
          </p:nvCxnSpPr>
          <p:spPr>
            <a:xfrm flipV="1">
              <a:off x="9179373" y="4807263"/>
              <a:ext cx="153016" cy="204184"/>
            </a:xfrm>
            <a:prstGeom prst="curvedConnector3">
              <a:avLst>
                <a:gd name="adj1" fmla="val 50000"/>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375" name="Rectángulo: esquinas redondeadas 1374">
              <a:extLst>
                <a:ext uri="{FF2B5EF4-FFF2-40B4-BE49-F238E27FC236}">
                  <a16:creationId xmlns:a16="http://schemas.microsoft.com/office/drawing/2014/main" id="{8E7C018E-9B64-0537-1DEF-B85FEE6DB0DB}"/>
                </a:ext>
              </a:extLst>
            </p:cNvPr>
            <p:cNvSpPr/>
            <p:nvPr/>
          </p:nvSpPr>
          <p:spPr>
            <a:xfrm>
              <a:off x="9332389" y="4768740"/>
              <a:ext cx="101244" cy="7704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376" name="Rectángulo: esquinas redondeadas 1375">
              <a:extLst>
                <a:ext uri="{FF2B5EF4-FFF2-40B4-BE49-F238E27FC236}">
                  <a16:creationId xmlns:a16="http://schemas.microsoft.com/office/drawing/2014/main" id="{617FF865-573F-67A3-1FD4-71B18014F918}"/>
                </a:ext>
              </a:extLst>
            </p:cNvPr>
            <p:cNvSpPr/>
            <p:nvPr/>
          </p:nvSpPr>
          <p:spPr>
            <a:xfrm>
              <a:off x="9323520" y="5180617"/>
              <a:ext cx="101244" cy="7704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1377" name="Conector: curvado 1376">
              <a:extLst>
                <a:ext uri="{FF2B5EF4-FFF2-40B4-BE49-F238E27FC236}">
                  <a16:creationId xmlns:a16="http://schemas.microsoft.com/office/drawing/2014/main" id="{DDDEF176-5A2F-4C5F-953B-9EEC1F2EE3FF}"/>
                </a:ext>
              </a:extLst>
            </p:cNvPr>
            <p:cNvCxnSpPr>
              <a:cxnSpLocks/>
              <a:endCxn id="1376" idx="1"/>
            </p:cNvCxnSpPr>
            <p:nvPr/>
          </p:nvCxnSpPr>
          <p:spPr>
            <a:xfrm>
              <a:off x="9179373" y="5011447"/>
              <a:ext cx="144147" cy="207693"/>
            </a:xfrm>
            <a:prstGeom prst="curvedConnector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78" name="Conector recto de flecha 1377">
              <a:extLst>
                <a:ext uri="{FF2B5EF4-FFF2-40B4-BE49-F238E27FC236}">
                  <a16:creationId xmlns:a16="http://schemas.microsoft.com/office/drawing/2014/main" id="{CC631C20-583F-CE1C-1CB7-D5FD2D1BF5D3}"/>
                </a:ext>
              </a:extLst>
            </p:cNvPr>
            <p:cNvCxnSpPr>
              <a:cxnSpLocks/>
              <a:stCxn id="1375" idx="3"/>
              <a:endCxn id="1379" idx="1"/>
            </p:cNvCxnSpPr>
            <p:nvPr/>
          </p:nvCxnSpPr>
          <p:spPr>
            <a:xfrm>
              <a:off x="9433633" y="4807263"/>
              <a:ext cx="155134" cy="460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379" name="Rectángulo: esquinas redondeadas 1378">
              <a:extLst>
                <a:ext uri="{FF2B5EF4-FFF2-40B4-BE49-F238E27FC236}">
                  <a16:creationId xmlns:a16="http://schemas.microsoft.com/office/drawing/2014/main" id="{222709C7-9013-9451-28E4-91019EEE5950}"/>
                </a:ext>
              </a:extLst>
            </p:cNvPr>
            <p:cNvSpPr/>
            <p:nvPr/>
          </p:nvSpPr>
          <p:spPr>
            <a:xfrm>
              <a:off x="9588767" y="4773344"/>
              <a:ext cx="101244" cy="7704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1380" name="Conector recto de flecha 1379">
              <a:extLst>
                <a:ext uri="{FF2B5EF4-FFF2-40B4-BE49-F238E27FC236}">
                  <a16:creationId xmlns:a16="http://schemas.microsoft.com/office/drawing/2014/main" id="{A24C4786-8AC8-5011-FB5D-619239D1CDF9}"/>
                </a:ext>
              </a:extLst>
            </p:cNvPr>
            <p:cNvCxnSpPr>
              <a:cxnSpLocks/>
              <a:stCxn id="1379" idx="3"/>
            </p:cNvCxnSpPr>
            <p:nvPr/>
          </p:nvCxnSpPr>
          <p:spPr>
            <a:xfrm flipV="1">
              <a:off x="9690011" y="4808692"/>
              <a:ext cx="158388" cy="317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381" name="Rectángulo: esquinas redondeadas 1380">
              <a:extLst>
                <a:ext uri="{FF2B5EF4-FFF2-40B4-BE49-F238E27FC236}">
                  <a16:creationId xmlns:a16="http://schemas.microsoft.com/office/drawing/2014/main" id="{F9241992-069A-0173-15C0-ED011A790B1F}"/>
                </a:ext>
              </a:extLst>
            </p:cNvPr>
            <p:cNvSpPr/>
            <p:nvPr/>
          </p:nvSpPr>
          <p:spPr>
            <a:xfrm>
              <a:off x="9848399" y="4773344"/>
              <a:ext cx="101244" cy="7704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382" name="Rectángulo: esquinas redondeadas 1381">
              <a:extLst>
                <a:ext uri="{FF2B5EF4-FFF2-40B4-BE49-F238E27FC236}">
                  <a16:creationId xmlns:a16="http://schemas.microsoft.com/office/drawing/2014/main" id="{C54ACB0A-FC42-B746-E2B0-D1D86BDFE676}"/>
                </a:ext>
              </a:extLst>
            </p:cNvPr>
            <p:cNvSpPr/>
            <p:nvPr/>
          </p:nvSpPr>
          <p:spPr>
            <a:xfrm>
              <a:off x="9078129" y="4972925"/>
              <a:ext cx="101244" cy="7704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389" name="Rectángulo: esquinas redondeadas 1388">
              <a:extLst>
                <a:ext uri="{FF2B5EF4-FFF2-40B4-BE49-F238E27FC236}">
                  <a16:creationId xmlns:a16="http://schemas.microsoft.com/office/drawing/2014/main" id="{430D3D4C-A3EE-81F6-EEDD-B284F60B8701}"/>
                </a:ext>
              </a:extLst>
            </p:cNvPr>
            <p:cNvSpPr/>
            <p:nvPr/>
          </p:nvSpPr>
          <p:spPr>
            <a:xfrm>
              <a:off x="9622809" y="4933248"/>
              <a:ext cx="68179" cy="9818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1390" name="Conector recto de flecha 1389">
              <a:extLst>
                <a:ext uri="{FF2B5EF4-FFF2-40B4-BE49-F238E27FC236}">
                  <a16:creationId xmlns:a16="http://schemas.microsoft.com/office/drawing/2014/main" id="{197AD29D-748D-43C4-3331-8FA77C87880A}"/>
                </a:ext>
              </a:extLst>
            </p:cNvPr>
            <p:cNvCxnSpPr>
              <a:cxnSpLocks/>
              <a:stCxn id="1389" idx="3"/>
              <a:endCxn id="1391" idx="1"/>
            </p:cNvCxnSpPr>
            <p:nvPr/>
          </p:nvCxnSpPr>
          <p:spPr>
            <a:xfrm>
              <a:off x="9690988" y="4982341"/>
              <a:ext cx="115926" cy="4716"/>
            </a:xfrm>
            <a:prstGeom prst="straightConnector1">
              <a:avLst/>
            </a:prstGeom>
            <a:ln w="952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391" name="Rectángulo: esquinas redondeadas 1390">
              <a:extLst>
                <a:ext uri="{FF2B5EF4-FFF2-40B4-BE49-F238E27FC236}">
                  <a16:creationId xmlns:a16="http://schemas.microsoft.com/office/drawing/2014/main" id="{36CAFA81-8B8C-000B-9DCC-F88DE33FDC1F}"/>
                </a:ext>
              </a:extLst>
            </p:cNvPr>
            <p:cNvSpPr/>
            <p:nvPr/>
          </p:nvSpPr>
          <p:spPr>
            <a:xfrm>
              <a:off x="9806914" y="4937964"/>
              <a:ext cx="68179" cy="9818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1392" name="Conector recto de flecha 1391">
              <a:extLst>
                <a:ext uri="{FF2B5EF4-FFF2-40B4-BE49-F238E27FC236}">
                  <a16:creationId xmlns:a16="http://schemas.microsoft.com/office/drawing/2014/main" id="{98823F25-5F91-6034-7D97-499AF38389DB}"/>
                </a:ext>
              </a:extLst>
            </p:cNvPr>
            <p:cNvCxnSpPr>
              <a:cxnSpLocks/>
              <a:stCxn id="1391" idx="3"/>
              <a:endCxn id="1393" idx="1"/>
            </p:cNvCxnSpPr>
            <p:nvPr/>
          </p:nvCxnSpPr>
          <p:spPr>
            <a:xfrm flipV="1">
              <a:off x="9875093" y="4978922"/>
              <a:ext cx="109062" cy="8135"/>
            </a:xfrm>
            <a:prstGeom prst="straightConnector1">
              <a:avLst/>
            </a:prstGeom>
            <a:ln w="952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393" name="Rectángulo: esquinas redondeadas 1392">
              <a:extLst>
                <a:ext uri="{FF2B5EF4-FFF2-40B4-BE49-F238E27FC236}">
                  <a16:creationId xmlns:a16="http://schemas.microsoft.com/office/drawing/2014/main" id="{FD0EF634-1DFE-B062-4DF4-EA267F9F512B}"/>
                </a:ext>
              </a:extLst>
            </p:cNvPr>
            <p:cNvSpPr/>
            <p:nvPr/>
          </p:nvSpPr>
          <p:spPr>
            <a:xfrm>
              <a:off x="9984155" y="4929829"/>
              <a:ext cx="68179" cy="9818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394" name="Bocadillo: rectángulo con esquinas redondeadas 1393">
              <a:extLst>
                <a:ext uri="{FF2B5EF4-FFF2-40B4-BE49-F238E27FC236}">
                  <a16:creationId xmlns:a16="http://schemas.microsoft.com/office/drawing/2014/main" id="{5D7E0BEB-7267-FAF9-2B4D-DF2966C7F028}"/>
                </a:ext>
              </a:extLst>
            </p:cNvPr>
            <p:cNvSpPr/>
            <p:nvPr/>
          </p:nvSpPr>
          <p:spPr>
            <a:xfrm flipV="1">
              <a:off x="9589518" y="4898396"/>
              <a:ext cx="489944" cy="164493"/>
            </a:xfrm>
            <a:prstGeom prst="wedgeRoundRectCallout">
              <a:avLst>
                <a:gd name="adj1" fmla="val -37398"/>
                <a:gd name="adj2" fmla="val 73446"/>
                <a:gd name="adj3" fmla="val 16667"/>
              </a:avLst>
            </a:prstGeom>
            <a:noFill/>
            <a:ln>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1400" name="AI" descr="{&quot;Key&quot;:&quot;POWER_USER_SHAPE_ICON&quot;,&quot;Value&quot;:&quot;POWER_USER_SHAPE_ICON_STYLE_1&quot;}">
            <a:extLst>
              <a:ext uri="{FF2B5EF4-FFF2-40B4-BE49-F238E27FC236}">
                <a16:creationId xmlns:a16="http://schemas.microsoft.com/office/drawing/2014/main" id="{D476FC43-AAE0-C41C-4014-6E915758866D}"/>
              </a:ext>
            </a:extLst>
          </p:cNvPr>
          <p:cNvGrpSpPr>
            <a:grpSpLocks noChangeAspect="1"/>
          </p:cNvGrpSpPr>
          <p:nvPr>
            <p:custDataLst>
              <p:tags r:id="rId3"/>
            </p:custDataLst>
          </p:nvPr>
        </p:nvGrpSpPr>
        <p:grpSpPr>
          <a:xfrm>
            <a:off x="9157567" y="3838697"/>
            <a:ext cx="437585" cy="437585"/>
            <a:chOff x="3037626" y="1211426"/>
            <a:chExt cx="722634" cy="722634"/>
          </a:xfrm>
          <a:solidFill>
            <a:schemeClr val="dk1"/>
          </a:solidFill>
        </p:grpSpPr>
        <p:grpSp>
          <p:nvGrpSpPr>
            <p:cNvPr id="1401" name="Brain9">
              <a:extLst>
                <a:ext uri="{FF2B5EF4-FFF2-40B4-BE49-F238E27FC236}">
                  <a16:creationId xmlns:a16="http://schemas.microsoft.com/office/drawing/2014/main" id="{8309C493-70A4-EE80-5BE5-1F70F9C4365A}"/>
                </a:ext>
              </a:extLst>
            </p:cNvPr>
            <p:cNvGrpSpPr>
              <a:grpSpLocks noChangeAspect="1"/>
            </p:cNvGrpSpPr>
            <p:nvPr>
              <p:custDataLst>
                <p:tags r:id="rId4"/>
              </p:custDataLst>
            </p:nvPr>
          </p:nvGrpSpPr>
          <p:grpSpPr>
            <a:xfrm>
              <a:off x="3037626" y="1211426"/>
              <a:ext cx="722634" cy="722634"/>
              <a:chOff x="6621463" y="3619501"/>
              <a:chExt cx="292100" cy="292100"/>
            </a:xfrm>
            <a:grpFill/>
          </p:grpSpPr>
          <p:sp>
            <p:nvSpPr>
              <p:cNvPr id="1403" name="Freeform 558">
                <a:extLst>
                  <a:ext uri="{FF2B5EF4-FFF2-40B4-BE49-F238E27FC236}">
                    <a16:creationId xmlns:a16="http://schemas.microsoft.com/office/drawing/2014/main" id="{61EE0EF7-C334-F218-DFEE-2D61A2B374C1}"/>
                  </a:ext>
                </a:extLst>
              </p:cNvPr>
              <p:cNvSpPr>
                <a:spLocks noEditPoints="1"/>
              </p:cNvSpPr>
              <p:nvPr/>
            </p:nvSpPr>
            <p:spPr bwMode="auto">
              <a:xfrm>
                <a:off x="6621463" y="3619501"/>
                <a:ext cx="292100" cy="292100"/>
              </a:xfrm>
              <a:custGeom>
                <a:avLst/>
                <a:gdLst>
                  <a:gd name="T0" fmla="*/ 332 w 383"/>
                  <a:gd name="T1" fmla="*/ 165 h 383"/>
                  <a:gd name="T2" fmla="*/ 332 w 383"/>
                  <a:gd name="T3" fmla="*/ 174 h 383"/>
                  <a:gd name="T4" fmla="*/ 356 w 383"/>
                  <a:gd name="T5" fmla="*/ 233 h 383"/>
                  <a:gd name="T6" fmla="*/ 297 w 383"/>
                  <a:gd name="T7" fmla="*/ 248 h 383"/>
                  <a:gd name="T8" fmla="*/ 319 w 383"/>
                  <a:gd name="T9" fmla="*/ 360 h 383"/>
                  <a:gd name="T10" fmla="*/ 225 w 383"/>
                  <a:gd name="T11" fmla="*/ 262 h 383"/>
                  <a:gd name="T12" fmla="*/ 255 w 383"/>
                  <a:gd name="T13" fmla="*/ 218 h 383"/>
                  <a:gd name="T14" fmla="*/ 216 w 383"/>
                  <a:gd name="T15" fmla="*/ 255 h 383"/>
                  <a:gd name="T16" fmla="*/ 216 w 383"/>
                  <a:gd name="T17" fmla="*/ 255 h 383"/>
                  <a:gd name="T18" fmla="*/ 163 w 383"/>
                  <a:gd name="T19" fmla="*/ 232 h 383"/>
                  <a:gd name="T20" fmla="*/ 104 w 383"/>
                  <a:gd name="T21" fmla="*/ 249 h 383"/>
                  <a:gd name="T22" fmla="*/ 86 w 383"/>
                  <a:gd name="T23" fmla="*/ 184 h 383"/>
                  <a:gd name="T24" fmla="*/ 76 w 383"/>
                  <a:gd name="T25" fmla="*/ 185 h 383"/>
                  <a:gd name="T26" fmla="*/ 16 w 383"/>
                  <a:gd name="T27" fmla="*/ 192 h 383"/>
                  <a:gd name="T28" fmla="*/ 27 w 383"/>
                  <a:gd name="T29" fmla="*/ 143 h 383"/>
                  <a:gd name="T30" fmla="*/ 53 w 383"/>
                  <a:gd name="T31" fmla="*/ 91 h 383"/>
                  <a:gd name="T32" fmla="*/ 93 w 383"/>
                  <a:gd name="T33" fmla="*/ 113 h 383"/>
                  <a:gd name="T34" fmla="*/ 98 w 383"/>
                  <a:gd name="T35" fmla="*/ 106 h 383"/>
                  <a:gd name="T36" fmla="*/ 76 w 383"/>
                  <a:gd name="T37" fmla="*/ 52 h 383"/>
                  <a:gd name="T38" fmla="*/ 107 w 383"/>
                  <a:gd name="T39" fmla="*/ 46 h 383"/>
                  <a:gd name="T40" fmla="*/ 169 w 383"/>
                  <a:gd name="T41" fmla="*/ 29 h 383"/>
                  <a:gd name="T42" fmla="*/ 237 w 383"/>
                  <a:gd name="T43" fmla="*/ 30 h 383"/>
                  <a:gd name="T44" fmla="*/ 212 w 383"/>
                  <a:gd name="T45" fmla="*/ 87 h 383"/>
                  <a:gd name="T46" fmla="*/ 218 w 383"/>
                  <a:gd name="T47" fmla="*/ 95 h 383"/>
                  <a:gd name="T48" fmla="*/ 269 w 383"/>
                  <a:gd name="T49" fmla="*/ 108 h 383"/>
                  <a:gd name="T50" fmla="*/ 274 w 383"/>
                  <a:gd name="T51" fmla="*/ 112 h 383"/>
                  <a:gd name="T52" fmla="*/ 255 w 383"/>
                  <a:gd name="T53" fmla="*/ 80 h 383"/>
                  <a:gd name="T54" fmla="*/ 289 w 383"/>
                  <a:gd name="T55" fmla="*/ 35 h 383"/>
                  <a:gd name="T56" fmla="*/ 300 w 383"/>
                  <a:gd name="T57" fmla="*/ 69 h 383"/>
                  <a:gd name="T58" fmla="*/ 302 w 383"/>
                  <a:gd name="T59" fmla="*/ 78 h 383"/>
                  <a:gd name="T60" fmla="*/ 319 w 383"/>
                  <a:gd name="T61" fmla="*/ 78 h 383"/>
                  <a:gd name="T62" fmla="*/ 350 w 383"/>
                  <a:gd name="T63" fmla="*/ 123 h 383"/>
                  <a:gd name="T64" fmla="*/ 365 w 383"/>
                  <a:gd name="T65" fmla="*/ 180 h 383"/>
                  <a:gd name="T66" fmla="*/ 356 w 383"/>
                  <a:gd name="T67" fmla="*/ 116 h 383"/>
                  <a:gd name="T68" fmla="*/ 293 w 383"/>
                  <a:gd name="T69" fmla="*/ 27 h 383"/>
                  <a:gd name="T70" fmla="*/ 170 w 383"/>
                  <a:gd name="T71" fmla="*/ 19 h 383"/>
                  <a:gd name="T72" fmla="*/ 70 w 383"/>
                  <a:gd name="T73" fmla="*/ 44 h 383"/>
                  <a:gd name="T74" fmla="*/ 20 w 383"/>
                  <a:gd name="T75" fmla="*/ 102 h 383"/>
                  <a:gd name="T76" fmla="*/ 8 w 383"/>
                  <a:gd name="T77" fmla="*/ 196 h 383"/>
                  <a:gd name="T78" fmla="*/ 102 w 383"/>
                  <a:gd name="T79" fmla="*/ 258 h 383"/>
                  <a:gd name="T80" fmla="*/ 215 w 383"/>
                  <a:gd name="T81" fmla="*/ 265 h 383"/>
                  <a:gd name="T82" fmla="*/ 298 w 383"/>
                  <a:gd name="T83" fmla="*/ 383 h 383"/>
                  <a:gd name="T84" fmla="*/ 327 w 383"/>
                  <a:gd name="T85" fmla="*/ 366 h 383"/>
                  <a:gd name="T86" fmla="*/ 307 w 383"/>
                  <a:gd name="T87" fmla="*/ 257 h 383"/>
                  <a:gd name="T88" fmla="*/ 371 w 383"/>
                  <a:gd name="T89" fmla="*/ 18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3" h="383">
                    <a:moveTo>
                      <a:pt x="365" y="180"/>
                    </a:moveTo>
                    <a:cubicBezTo>
                      <a:pt x="357" y="169"/>
                      <a:pt x="346" y="164"/>
                      <a:pt x="332" y="165"/>
                    </a:cubicBezTo>
                    <a:cubicBezTo>
                      <a:pt x="329" y="165"/>
                      <a:pt x="327" y="167"/>
                      <a:pt x="327" y="170"/>
                    </a:cubicBezTo>
                    <a:cubicBezTo>
                      <a:pt x="327" y="173"/>
                      <a:pt x="330" y="175"/>
                      <a:pt x="332" y="174"/>
                    </a:cubicBezTo>
                    <a:cubicBezTo>
                      <a:pt x="346" y="174"/>
                      <a:pt x="354" y="179"/>
                      <a:pt x="361" y="191"/>
                    </a:cubicBezTo>
                    <a:cubicBezTo>
                      <a:pt x="368" y="205"/>
                      <a:pt x="366" y="221"/>
                      <a:pt x="356" y="233"/>
                    </a:cubicBezTo>
                    <a:cubicBezTo>
                      <a:pt x="344" y="247"/>
                      <a:pt x="323" y="253"/>
                      <a:pt x="302" y="247"/>
                    </a:cubicBezTo>
                    <a:cubicBezTo>
                      <a:pt x="300" y="246"/>
                      <a:pt x="299" y="246"/>
                      <a:pt x="297" y="248"/>
                    </a:cubicBezTo>
                    <a:cubicBezTo>
                      <a:pt x="296" y="249"/>
                      <a:pt x="296" y="250"/>
                      <a:pt x="296" y="252"/>
                    </a:cubicBezTo>
                    <a:lnTo>
                      <a:pt x="319" y="360"/>
                    </a:lnTo>
                    <a:lnTo>
                      <a:pt x="299" y="372"/>
                    </a:lnTo>
                    <a:lnTo>
                      <a:pt x="225" y="262"/>
                    </a:lnTo>
                    <a:cubicBezTo>
                      <a:pt x="243" y="255"/>
                      <a:pt x="257" y="240"/>
                      <a:pt x="259" y="224"/>
                    </a:cubicBezTo>
                    <a:cubicBezTo>
                      <a:pt x="260" y="221"/>
                      <a:pt x="258" y="219"/>
                      <a:pt x="255" y="218"/>
                    </a:cubicBezTo>
                    <a:cubicBezTo>
                      <a:pt x="253" y="218"/>
                      <a:pt x="250" y="220"/>
                      <a:pt x="250" y="222"/>
                    </a:cubicBezTo>
                    <a:cubicBezTo>
                      <a:pt x="248" y="237"/>
                      <a:pt x="233" y="251"/>
                      <a:pt x="216" y="255"/>
                    </a:cubicBezTo>
                    <a:cubicBezTo>
                      <a:pt x="216" y="255"/>
                      <a:pt x="216" y="255"/>
                      <a:pt x="216" y="255"/>
                    </a:cubicBezTo>
                    <a:lnTo>
                      <a:pt x="216" y="255"/>
                    </a:lnTo>
                    <a:cubicBezTo>
                      <a:pt x="201" y="259"/>
                      <a:pt x="178" y="249"/>
                      <a:pt x="166" y="233"/>
                    </a:cubicBezTo>
                    <a:cubicBezTo>
                      <a:pt x="165" y="232"/>
                      <a:pt x="164" y="232"/>
                      <a:pt x="163" y="232"/>
                    </a:cubicBezTo>
                    <a:cubicBezTo>
                      <a:pt x="161" y="231"/>
                      <a:pt x="160" y="232"/>
                      <a:pt x="159" y="233"/>
                    </a:cubicBezTo>
                    <a:cubicBezTo>
                      <a:pt x="146" y="247"/>
                      <a:pt x="125" y="253"/>
                      <a:pt x="104" y="249"/>
                    </a:cubicBezTo>
                    <a:cubicBezTo>
                      <a:pt x="85" y="244"/>
                      <a:pt x="70" y="233"/>
                      <a:pt x="63" y="218"/>
                    </a:cubicBezTo>
                    <a:cubicBezTo>
                      <a:pt x="76" y="213"/>
                      <a:pt x="88" y="200"/>
                      <a:pt x="86" y="184"/>
                    </a:cubicBezTo>
                    <a:cubicBezTo>
                      <a:pt x="85" y="181"/>
                      <a:pt x="83" y="179"/>
                      <a:pt x="80" y="180"/>
                    </a:cubicBezTo>
                    <a:cubicBezTo>
                      <a:pt x="78" y="180"/>
                      <a:pt x="76" y="182"/>
                      <a:pt x="76" y="185"/>
                    </a:cubicBezTo>
                    <a:cubicBezTo>
                      <a:pt x="78" y="198"/>
                      <a:pt x="67" y="207"/>
                      <a:pt x="56" y="211"/>
                    </a:cubicBezTo>
                    <a:cubicBezTo>
                      <a:pt x="38" y="214"/>
                      <a:pt x="23" y="207"/>
                      <a:pt x="16" y="192"/>
                    </a:cubicBezTo>
                    <a:cubicBezTo>
                      <a:pt x="10" y="177"/>
                      <a:pt x="14" y="159"/>
                      <a:pt x="26" y="148"/>
                    </a:cubicBezTo>
                    <a:cubicBezTo>
                      <a:pt x="28" y="147"/>
                      <a:pt x="28" y="145"/>
                      <a:pt x="27" y="143"/>
                    </a:cubicBezTo>
                    <a:cubicBezTo>
                      <a:pt x="22" y="130"/>
                      <a:pt x="22" y="117"/>
                      <a:pt x="28" y="107"/>
                    </a:cubicBezTo>
                    <a:cubicBezTo>
                      <a:pt x="33" y="98"/>
                      <a:pt x="42" y="92"/>
                      <a:pt x="53" y="91"/>
                    </a:cubicBezTo>
                    <a:cubicBezTo>
                      <a:pt x="69" y="89"/>
                      <a:pt x="83" y="97"/>
                      <a:pt x="89" y="110"/>
                    </a:cubicBezTo>
                    <a:cubicBezTo>
                      <a:pt x="90" y="112"/>
                      <a:pt x="91" y="113"/>
                      <a:pt x="93" y="113"/>
                    </a:cubicBezTo>
                    <a:cubicBezTo>
                      <a:pt x="94" y="113"/>
                      <a:pt x="94" y="113"/>
                      <a:pt x="95" y="112"/>
                    </a:cubicBezTo>
                    <a:cubicBezTo>
                      <a:pt x="97" y="111"/>
                      <a:pt x="99" y="109"/>
                      <a:pt x="98" y="106"/>
                    </a:cubicBezTo>
                    <a:cubicBezTo>
                      <a:pt x="91" y="91"/>
                      <a:pt x="76" y="82"/>
                      <a:pt x="59" y="81"/>
                    </a:cubicBezTo>
                    <a:cubicBezTo>
                      <a:pt x="61" y="69"/>
                      <a:pt x="67" y="58"/>
                      <a:pt x="76" y="52"/>
                    </a:cubicBezTo>
                    <a:cubicBezTo>
                      <a:pt x="84" y="46"/>
                      <a:pt x="94" y="44"/>
                      <a:pt x="105" y="46"/>
                    </a:cubicBezTo>
                    <a:cubicBezTo>
                      <a:pt x="106" y="46"/>
                      <a:pt x="106" y="46"/>
                      <a:pt x="107" y="46"/>
                    </a:cubicBezTo>
                    <a:cubicBezTo>
                      <a:pt x="108" y="46"/>
                      <a:pt x="109" y="45"/>
                      <a:pt x="110" y="44"/>
                    </a:cubicBezTo>
                    <a:cubicBezTo>
                      <a:pt x="113" y="41"/>
                      <a:pt x="135" y="16"/>
                      <a:pt x="169" y="29"/>
                    </a:cubicBezTo>
                    <a:cubicBezTo>
                      <a:pt x="171" y="30"/>
                      <a:pt x="173" y="29"/>
                      <a:pt x="174" y="28"/>
                    </a:cubicBezTo>
                    <a:cubicBezTo>
                      <a:pt x="194" y="9"/>
                      <a:pt x="222" y="14"/>
                      <a:pt x="237" y="30"/>
                    </a:cubicBezTo>
                    <a:cubicBezTo>
                      <a:pt x="245" y="40"/>
                      <a:pt x="251" y="59"/>
                      <a:pt x="246" y="78"/>
                    </a:cubicBezTo>
                    <a:cubicBezTo>
                      <a:pt x="229" y="77"/>
                      <a:pt x="213" y="87"/>
                      <a:pt x="212" y="87"/>
                    </a:cubicBezTo>
                    <a:cubicBezTo>
                      <a:pt x="210" y="89"/>
                      <a:pt x="210" y="92"/>
                      <a:pt x="211" y="94"/>
                    </a:cubicBezTo>
                    <a:cubicBezTo>
                      <a:pt x="213" y="96"/>
                      <a:pt x="215" y="97"/>
                      <a:pt x="218" y="95"/>
                    </a:cubicBezTo>
                    <a:cubicBezTo>
                      <a:pt x="218" y="95"/>
                      <a:pt x="234" y="84"/>
                      <a:pt x="249" y="88"/>
                    </a:cubicBezTo>
                    <a:cubicBezTo>
                      <a:pt x="264" y="91"/>
                      <a:pt x="268" y="108"/>
                      <a:pt x="269" y="108"/>
                    </a:cubicBezTo>
                    <a:cubicBezTo>
                      <a:pt x="269" y="110"/>
                      <a:pt x="271" y="112"/>
                      <a:pt x="273" y="112"/>
                    </a:cubicBezTo>
                    <a:cubicBezTo>
                      <a:pt x="273" y="112"/>
                      <a:pt x="274" y="112"/>
                      <a:pt x="274" y="112"/>
                    </a:cubicBezTo>
                    <a:cubicBezTo>
                      <a:pt x="277" y="111"/>
                      <a:pt x="278" y="108"/>
                      <a:pt x="278" y="106"/>
                    </a:cubicBezTo>
                    <a:cubicBezTo>
                      <a:pt x="277" y="105"/>
                      <a:pt x="272" y="87"/>
                      <a:pt x="255" y="80"/>
                    </a:cubicBezTo>
                    <a:cubicBezTo>
                      <a:pt x="260" y="61"/>
                      <a:pt x="255" y="42"/>
                      <a:pt x="248" y="29"/>
                    </a:cubicBezTo>
                    <a:cubicBezTo>
                      <a:pt x="262" y="26"/>
                      <a:pt x="276" y="28"/>
                      <a:pt x="289" y="35"/>
                    </a:cubicBezTo>
                    <a:cubicBezTo>
                      <a:pt x="301" y="42"/>
                      <a:pt x="310" y="54"/>
                      <a:pt x="314" y="67"/>
                    </a:cubicBezTo>
                    <a:cubicBezTo>
                      <a:pt x="310" y="67"/>
                      <a:pt x="305" y="67"/>
                      <a:pt x="300" y="69"/>
                    </a:cubicBezTo>
                    <a:cubicBezTo>
                      <a:pt x="298" y="69"/>
                      <a:pt x="296" y="72"/>
                      <a:pt x="297" y="75"/>
                    </a:cubicBezTo>
                    <a:cubicBezTo>
                      <a:pt x="298" y="77"/>
                      <a:pt x="299" y="78"/>
                      <a:pt x="302" y="78"/>
                    </a:cubicBezTo>
                    <a:cubicBezTo>
                      <a:pt x="302" y="78"/>
                      <a:pt x="302" y="78"/>
                      <a:pt x="303" y="78"/>
                    </a:cubicBezTo>
                    <a:cubicBezTo>
                      <a:pt x="311" y="75"/>
                      <a:pt x="319" y="78"/>
                      <a:pt x="319" y="78"/>
                    </a:cubicBezTo>
                    <a:cubicBezTo>
                      <a:pt x="330" y="81"/>
                      <a:pt x="349" y="94"/>
                      <a:pt x="347" y="118"/>
                    </a:cubicBezTo>
                    <a:cubicBezTo>
                      <a:pt x="347" y="120"/>
                      <a:pt x="348" y="122"/>
                      <a:pt x="350" y="123"/>
                    </a:cubicBezTo>
                    <a:cubicBezTo>
                      <a:pt x="359" y="127"/>
                      <a:pt x="366" y="135"/>
                      <a:pt x="369" y="146"/>
                    </a:cubicBezTo>
                    <a:cubicBezTo>
                      <a:pt x="372" y="156"/>
                      <a:pt x="371" y="169"/>
                      <a:pt x="365" y="180"/>
                    </a:cubicBezTo>
                    <a:close/>
                    <a:moveTo>
                      <a:pt x="378" y="143"/>
                    </a:moveTo>
                    <a:cubicBezTo>
                      <a:pt x="375" y="131"/>
                      <a:pt x="367" y="121"/>
                      <a:pt x="356" y="116"/>
                    </a:cubicBezTo>
                    <a:cubicBezTo>
                      <a:pt x="357" y="89"/>
                      <a:pt x="338" y="75"/>
                      <a:pt x="325" y="70"/>
                    </a:cubicBezTo>
                    <a:cubicBezTo>
                      <a:pt x="321" y="52"/>
                      <a:pt x="309" y="36"/>
                      <a:pt x="293" y="27"/>
                    </a:cubicBezTo>
                    <a:cubicBezTo>
                      <a:pt x="277" y="18"/>
                      <a:pt x="259" y="16"/>
                      <a:pt x="241" y="21"/>
                    </a:cubicBezTo>
                    <a:cubicBezTo>
                      <a:pt x="223" y="4"/>
                      <a:pt x="193" y="0"/>
                      <a:pt x="170" y="19"/>
                    </a:cubicBezTo>
                    <a:cubicBezTo>
                      <a:pt x="136" y="7"/>
                      <a:pt x="112" y="29"/>
                      <a:pt x="105" y="36"/>
                    </a:cubicBezTo>
                    <a:cubicBezTo>
                      <a:pt x="92" y="34"/>
                      <a:pt x="80" y="37"/>
                      <a:pt x="70" y="44"/>
                    </a:cubicBezTo>
                    <a:cubicBezTo>
                      <a:pt x="59" y="53"/>
                      <a:pt x="51" y="66"/>
                      <a:pt x="49" y="82"/>
                    </a:cubicBezTo>
                    <a:cubicBezTo>
                      <a:pt x="36" y="85"/>
                      <a:pt x="26" y="92"/>
                      <a:pt x="20" y="102"/>
                    </a:cubicBezTo>
                    <a:cubicBezTo>
                      <a:pt x="13" y="114"/>
                      <a:pt x="12" y="129"/>
                      <a:pt x="18" y="143"/>
                    </a:cubicBezTo>
                    <a:cubicBezTo>
                      <a:pt x="4" y="157"/>
                      <a:pt x="0" y="178"/>
                      <a:pt x="8" y="196"/>
                    </a:cubicBezTo>
                    <a:cubicBezTo>
                      <a:pt x="16" y="214"/>
                      <a:pt x="33" y="223"/>
                      <a:pt x="54" y="221"/>
                    </a:cubicBezTo>
                    <a:cubicBezTo>
                      <a:pt x="61" y="239"/>
                      <a:pt x="79" y="253"/>
                      <a:pt x="102" y="258"/>
                    </a:cubicBezTo>
                    <a:cubicBezTo>
                      <a:pt x="124" y="263"/>
                      <a:pt x="147" y="257"/>
                      <a:pt x="162" y="243"/>
                    </a:cubicBezTo>
                    <a:cubicBezTo>
                      <a:pt x="176" y="258"/>
                      <a:pt x="198" y="267"/>
                      <a:pt x="215" y="265"/>
                    </a:cubicBezTo>
                    <a:lnTo>
                      <a:pt x="294" y="381"/>
                    </a:lnTo>
                    <a:cubicBezTo>
                      <a:pt x="295" y="382"/>
                      <a:pt x="296" y="383"/>
                      <a:pt x="298" y="383"/>
                    </a:cubicBezTo>
                    <a:cubicBezTo>
                      <a:pt x="299" y="383"/>
                      <a:pt x="299" y="383"/>
                      <a:pt x="300" y="382"/>
                    </a:cubicBezTo>
                    <a:lnTo>
                      <a:pt x="327" y="366"/>
                    </a:lnTo>
                    <a:cubicBezTo>
                      <a:pt x="328" y="365"/>
                      <a:pt x="329" y="363"/>
                      <a:pt x="329" y="361"/>
                    </a:cubicBezTo>
                    <a:lnTo>
                      <a:pt x="307" y="257"/>
                    </a:lnTo>
                    <a:cubicBezTo>
                      <a:pt x="329" y="261"/>
                      <a:pt x="350" y="255"/>
                      <a:pt x="364" y="239"/>
                    </a:cubicBezTo>
                    <a:cubicBezTo>
                      <a:pt x="375" y="225"/>
                      <a:pt x="378" y="206"/>
                      <a:pt x="371" y="189"/>
                    </a:cubicBezTo>
                    <a:cubicBezTo>
                      <a:pt x="380" y="175"/>
                      <a:pt x="383" y="158"/>
                      <a:pt x="378" y="14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1404" name="Freeform 559">
                <a:extLst>
                  <a:ext uri="{FF2B5EF4-FFF2-40B4-BE49-F238E27FC236}">
                    <a16:creationId xmlns:a16="http://schemas.microsoft.com/office/drawing/2014/main" id="{9F5807DC-777F-3B5D-0404-F9164E1FB466}"/>
                  </a:ext>
                </a:extLst>
              </p:cNvPr>
              <p:cNvSpPr>
                <a:spLocks/>
              </p:cNvSpPr>
              <p:nvPr/>
            </p:nvSpPr>
            <p:spPr bwMode="auto">
              <a:xfrm>
                <a:off x="6710363" y="3697289"/>
                <a:ext cx="41275" cy="63500"/>
              </a:xfrm>
              <a:custGeom>
                <a:avLst/>
                <a:gdLst>
                  <a:gd name="T0" fmla="*/ 35 w 54"/>
                  <a:gd name="T1" fmla="*/ 29 h 85"/>
                  <a:gd name="T2" fmla="*/ 35 w 54"/>
                  <a:gd name="T3" fmla="*/ 29 h 85"/>
                  <a:gd name="T4" fmla="*/ 44 w 54"/>
                  <a:gd name="T5" fmla="*/ 5 h 85"/>
                  <a:gd name="T6" fmla="*/ 40 w 54"/>
                  <a:gd name="T7" fmla="*/ 0 h 85"/>
                  <a:gd name="T8" fmla="*/ 35 w 54"/>
                  <a:gd name="T9" fmla="*/ 5 h 85"/>
                  <a:gd name="T10" fmla="*/ 5 w 54"/>
                  <a:gd name="T11" fmla="*/ 34 h 85"/>
                  <a:gd name="T12" fmla="*/ 1 w 54"/>
                  <a:gd name="T13" fmla="*/ 40 h 85"/>
                  <a:gd name="T14" fmla="*/ 6 w 54"/>
                  <a:gd name="T15" fmla="*/ 44 h 85"/>
                  <a:gd name="T16" fmla="*/ 6 w 54"/>
                  <a:gd name="T17" fmla="*/ 44 h 85"/>
                  <a:gd name="T18" fmla="*/ 28 w 54"/>
                  <a:gd name="T19" fmla="*/ 34 h 85"/>
                  <a:gd name="T20" fmla="*/ 30 w 54"/>
                  <a:gd name="T21" fmla="*/ 37 h 85"/>
                  <a:gd name="T22" fmla="*/ 37 w 54"/>
                  <a:gd name="T23" fmla="*/ 78 h 85"/>
                  <a:gd name="T24" fmla="*/ 40 w 54"/>
                  <a:gd name="T25" fmla="*/ 84 h 85"/>
                  <a:gd name="T26" fmla="*/ 42 w 54"/>
                  <a:gd name="T27" fmla="*/ 85 h 85"/>
                  <a:gd name="T28" fmla="*/ 46 w 54"/>
                  <a:gd name="T29" fmla="*/ 82 h 85"/>
                  <a:gd name="T30" fmla="*/ 35 w 54"/>
                  <a:gd name="T31" fmla="*/ 2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 h="85">
                    <a:moveTo>
                      <a:pt x="35" y="29"/>
                    </a:moveTo>
                    <a:cubicBezTo>
                      <a:pt x="35" y="29"/>
                      <a:pt x="35" y="29"/>
                      <a:pt x="35" y="29"/>
                    </a:cubicBezTo>
                    <a:cubicBezTo>
                      <a:pt x="41" y="22"/>
                      <a:pt x="44" y="15"/>
                      <a:pt x="44" y="5"/>
                    </a:cubicBezTo>
                    <a:cubicBezTo>
                      <a:pt x="44" y="2"/>
                      <a:pt x="42" y="0"/>
                      <a:pt x="40" y="0"/>
                    </a:cubicBezTo>
                    <a:cubicBezTo>
                      <a:pt x="37" y="0"/>
                      <a:pt x="35" y="2"/>
                      <a:pt x="35" y="5"/>
                    </a:cubicBezTo>
                    <a:cubicBezTo>
                      <a:pt x="35" y="22"/>
                      <a:pt x="20" y="32"/>
                      <a:pt x="5" y="34"/>
                    </a:cubicBezTo>
                    <a:cubicBezTo>
                      <a:pt x="2" y="35"/>
                      <a:pt x="0" y="37"/>
                      <a:pt x="1" y="40"/>
                    </a:cubicBezTo>
                    <a:cubicBezTo>
                      <a:pt x="1" y="42"/>
                      <a:pt x="3" y="44"/>
                      <a:pt x="6" y="44"/>
                    </a:cubicBezTo>
                    <a:cubicBezTo>
                      <a:pt x="6" y="44"/>
                      <a:pt x="6" y="44"/>
                      <a:pt x="6" y="44"/>
                    </a:cubicBezTo>
                    <a:cubicBezTo>
                      <a:pt x="14" y="42"/>
                      <a:pt x="22" y="39"/>
                      <a:pt x="28" y="34"/>
                    </a:cubicBezTo>
                    <a:cubicBezTo>
                      <a:pt x="29" y="35"/>
                      <a:pt x="29" y="36"/>
                      <a:pt x="30" y="37"/>
                    </a:cubicBezTo>
                    <a:cubicBezTo>
                      <a:pt x="44" y="46"/>
                      <a:pt x="44" y="64"/>
                      <a:pt x="37" y="78"/>
                    </a:cubicBezTo>
                    <a:cubicBezTo>
                      <a:pt x="36" y="81"/>
                      <a:pt x="37" y="83"/>
                      <a:pt x="40" y="84"/>
                    </a:cubicBezTo>
                    <a:cubicBezTo>
                      <a:pt x="40" y="85"/>
                      <a:pt x="41" y="85"/>
                      <a:pt x="42" y="85"/>
                    </a:cubicBezTo>
                    <a:cubicBezTo>
                      <a:pt x="43" y="85"/>
                      <a:pt x="45" y="84"/>
                      <a:pt x="46" y="82"/>
                    </a:cubicBezTo>
                    <a:cubicBezTo>
                      <a:pt x="54" y="65"/>
                      <a:pt x="54" y="42"/>
                      <a:pt x="35"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1402" name="Freeform 8">
              <a:extLst>
                <a:ext uri="{FF2B5EF4-FFF2-40B4-BE49-F238E27FC236}">
                  <a16:creationId xmlns:a16="http://schemas.microsoft.com/office/drawing/2014/main" id="{24352FE4-7B7D-4C81-CAF0-E03D928CEFC8}"/>
                </a:ext>
              </a:extLst>
            </p:cNvPr>
            <p:cNvSpPr>
              <a:spLocks noEditPoints="1"/>
            </p:cNvSpPr>
            <p:nvPr/>
          </p:nvSpPr>
          <p:spPr bwMode="auto">
            <a:xfrm>
              <a:off x="3365623" y="1444637"/>
              <a:ext cx="190290" cy="153560"/>
            </a:xfrm>
            <a:custGeom>
              <a:avLst/>
              <a:gdLst>
                <a:gd name="T0" fmla="*/ 167 w 683"/>
                <a:gd name="T1" fmla="*/ 338 h 551"/>
                <a:gd name="T2" fmla="*/ 244 w 683"/>
                <a:gd name="T3" fmla="*/ 105 h 551"/>
                <a:gd name="T4" fmla="*/ 628 w 683"/>
                <a:gd name="T5" fmla="*/ 0 h 551"/>
                <a:gd name="T6" fmla="*/ 655 w 683"/>
                <a:gd name="T7" fmla="*/ 0 h 551"/>
                <a:gd name="T8" fmla="*/ 672 w 683"/>
                <a:gd name="T9" fmla="*/ 4 h 551"/>
                <a:gd name="T10" fmla="*/ 683 w 683"/>
                <a:gd name="T11" fmla="*/ 17 h 551"/>
                <a:gd name="T12" fmla="*/ 682 w 683"/>
                <a:gd name="T13" fmla="*/ 539 h 551"/>
                <a:gd name="T14" fmla="*/ 664 w 683"/>
                <a:gd name="T15" fmla="*/ 547 h 551"/>
                <a:gd name="T16" fmla="*/ 643 w 683"/>
                <a:gd name="T17" fmla="*/ 549 h 551"/>
                <a:gd name="T18" fmla="*/ 612 w 683"/>
                <a:gd name="T19" fmla="*/ 549 h 551"/>
                <a:gd name="T20" fmla="*/ 591 w 683"/>
                <a:gd name="T21" fmla="*/ 547 h 551"/>
                <a:gd name="T22" fmla="*/ 574 w 683"/>
                <a:gd name="T23" fmla="*/ 539 h 551"/>
                <a:gd name="T24" fmla="*/ 572 w 683"/>
                <a:gd name="T25" fmla="*/ 17 h 551"/>
                <a:gd name="T26" fmla="*/ 578 w 683"/>
                <a:gd name="T27" fmla="*/ 6 h 551"/>
                <a:gd name="T28" fmla="*/ 591 w 683"/>
                <a:gd name="T29" fmla="*/ 2 h 551"/>
                <a:gd name="T30" fmla="*/ 612 w 683"/>
                <a:gd name="T31" fmla="*/ 0 h 551"/>
                <a:gd name="T32" fmla="*/ 628 w 683"/>
                <a:gd name="T33" fmla="*/ 0 h 551"/>
                <a:gd name="T34" fmla="*/ 269 w 683"/>
                <a:gd name="T35" fmla="*/ 0 h 551"/>
                <a:gd name="T36" fmla="*/ 299 w 683"/>
                <a:gd name="T37" fmla="*/ 2 h 551"/>
                <a:gd name="T38" fmla="*/ 315 w 683"/>
                <a:gd name="T39" fmla="*/ 6 h 551"/>
                <a:gd name="T40" fmla="*/ 324 w 683"/>
                <a:gd name="T41" fmla="*/ 15 h 551"/>
                <a:gd name="T42" fmla="*/ 495 w 683"/>
                <a:gd name="T43" fmla="*/ 506 h 551"/>
                <a:gd name="T44" fmla="*/ 501 w 683"/>
                <a:gd name="T45" fmla="*/ 529 h 551"/>
                <a:gd name="T46" fmla="*/ 497 w 683"/>
                <a:gd name="T47" fmla="*/ 543 h 551"/>
                <a:gd name="T48" fmla="*/ 482 w 683"/>
                <a:gd name="T49" fmla="*/ 549 h 551"/>
                <a:gd name="T50" fmla="*/ 449 w 683"/>
                <a:gd name="T51" fmla="*/ 551 h 551"/>
                <a:gd name="T52" fmla="*/ 417 w 683"/>
                <a:gd name="T53" fmla="*/ 549 h 551"/>
                <a:gd name="T54" fmla="*/ 397 w 683"/>
                <a:gd name="T55" fmla="*/ 547 h 551"/>
                <a:gd name="T56" fmla="*/ 388 w 683"/>
                <a:gd name="T57" fmla="*/ 541 h 551"/>
                <a:gd name="T58" fmla="*/ 347 w 683"/>
                <a:gd name="T59" fmla="*/ 422 h 551"/>
                <a:gd name="T60" fmla="*/ 107 w 683"/>
                <a:gd name="T61" fmla="*/ 529 h 551"/>
                <a:gd name="T62" fmla="*/ 94 w 683"/>
                <a:gd name="T63" fmla="*/ 547 h 551"/>
                <a:gd name="T64" fmla="*/ 77 w 683"/>
                <a:gd name="T65" fmla="*/ 549 h 551"/>
                <a:gd name="T66" fmla="*/ 48 w 683"/>
                <a:gd name="T67" fmla="*/ 551 h 551"/>
                <a:gd name="T68" fmla="*/ 17 w 683"/>
                <a:gd name="T69" fmla="*/ 549 h 551"/>
                <a:gd name="T70" fmla="*/ 2 w 683"/>
                <a:gd name="T71" fmla="*/ 543 h 551"/>
                <a:gd name="T72" fmla="*/ 0 w 683"/>
                <a:gd name="T73" fmla="*/ 529 h 551"/>
                <a:gd name="T74" fmla="*/ 6 w 683"/>
                <a:gd name="T75" fmla="*/ 504 h 551"/>
                <a:gd name="T76" fmla="*/ 180 w 683"/>
                <a:gd name="T77" fmla="*/ 9 h 551"/>
                <a:gd name="T78" fmla="*/ 190 w 683"/>
                <a:gd name="T79" fmla="*/ 4 h 551"/>
                <a:gd name="T80" fmla="*/ 211 w 683"/>
                <a:gd name="T81" fmla="*/ 0 h 551"/>
                <a:gd name="T82" fmla="*/ 246 w 683"/>
                <a:gd name="T83" fmla="*/ 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3" h="551">
                  <a:moveTo>
                    <a:pt x="244" y="105"/>
                  </a:moveTo>
                  <a:lnTo>
                    <a:pt x="167" y="338"/>
                  </a:lnTo>
                  <a:lnTo>
                    <a:pt x="323" y="338"/>
                  </a:lnTo>
                  <a:lnTo>
                    <a:pt x="244" y="105"/>
                  </a:lnTo>
                  <a:lnTo>
                    <a:pt x="244" y="105"/>
                  </a:lnTo>
                  <a:close/>
                  <a:moveTo>
                    <a:pt x="628" y="0"/>
                  </a:moveTo>
                  <a:lnTo>
                    <a:pt x="643" y="0"/>
                  </a:lnTo>
                  <a:lnTo>
                    <a:pt x="655" y="0"/>
                  </a:lnTo>
                  <a:lnTo>
                    <a:pt x="664" y="2"/>
                  </a:lnTo>
                  <a:lnTo>
                    <a:pt x="672" y="4"/>
                  </a:lnTo>
                  <a:lnTo>
                    <a:pt x="682" y="9"/>
                  </a:lnTo>
                  <a:lnTo>
                    <a:pt x="683" y="17"/>
                  </a:lnTo>
                  <a:lnTo>
                    <a:pt x="683" y="531"/>
                  </a:lnTo>
                  <a:lnTo>
                    <a:pt x="682" y="539"/>
                  </a:lnTo>
                  <a:lnTo>
                    <a:pt x="672" y="545"/>
                  </a:lnTo>
                  <a:lnTo>
                    <a:pt x="664" y="547"/>
                  </a:lnTo>
                  <a:lnTo>
                    <a:pt x="655" y="549"/>
                  </a:lnTo>
                  <a:lnTo>
                    <a:pt x="643" y="549"/>
                  </a:lnTo>
                  <a:lnTo>
                    <a:pt x="628" y="551"/>
                  </a:lnTo>
                  <a:lnTo>
                    <a:pt x="612" y="549"/>
                  </a:lnTo>
                  <a:lnTo>
                    <a:pt x="601" y="549"/>
                  </a:lnTo>
                  <a:lnTo>
                    <a:pt x="591" y="547"/>
                  </a:lnTo>
                  <a:lnTo>
                    <a:pt x="584" y="545"/>
                  </a:lnTo>
                  <a:lnTo>
                    <a:pt x="574" y="539"/>
                  </a:lnTo>
                  <a:lnTo>
                    <a:pt x="572" y="531"/>
                  </a:lnTo>
                  <a:lnTo>
                    <a:pt x="572" y="17"/>
                  </a:lnTo>
                  <a:lnTo>
                    <a:pt x="574" y="9"/>
                  </a:lnTo>
                  <a:lnTo>
                    <a:pt x="578" y="6"/>
                  </a:lnTo>
                  <a:lnTo>
                    <a:pt x="584" y="4"/>
                  </a:lnTo>
                  <a:lnTo>
                    <a:pt x="591" y="2"/>
                  </a:lnTo>
                  <a:lnTo>
                    <a:pt x="601" y="0"/>
                  </a:lnTo>
                  <a:lnTo>
                    <a:pt x="612" y="0"/>
                  </a:lnTo>
                  <a:lnTo>
                    <a:pt x="628" y="0"/>
                  </a:lnTo>
                  <a:lnTo>
                    <a:pt x="628" y="0"/>
                  </a:lnTo>
                  <a:close/>
                  <a:moveTo>
                    <a:pt x="246" y="0"/>
                  </a:moveTo>
                  <a:lnTo>
                    <a:pt x="269" y="0"/>
                  </a:lnTo>
                  <a:lnTo>
                    <a:pt x="286" y="0"/>
                  </a:lnTo>
                  <a:lnTo>
                    <a:pt x="299" y="2"/>
                  </a:lnTo>
                  <a:lnTo>
                    <a:pt x="309" y="4"/>
                  </a:lnTo>
                  <a:lnTo>
                    <a:pt x="315" y="6"/>
                  </a:lnTo>
                  <a:lnTo>
                    <a:pt x="321" y="9"/>
                  </a:lnTo>
                  <a:lnTo>
                    <a:pt x="324" y="15"/>
                  </a:lnTo>
                  <a:lnTo>
                    <a:pt x="326" y="23"/>
                  </a:lnTo>
                  <a:lnTo>
                    <a:pt x="495" y="506"/>
                  </a:lnTo>
                  <a:lnTo>
                    <a:pt x="499" y="520"/>
                  </a:lnTo>
                  <a:lnTo>
                    <a:pt x="501" y="529"/>
                  </a:lnTo>
                  <a:lnTo>
                    <a:pt x="501" y="537"/>
                  </a:lnTo>
                  <a:lnTo>
                    <a:pt x="497" y="543"/>
                  </a:lnTo>
                  <a:lnTo>
                    <a:pt x="491" y="547"/>
                  </a:lnTo>
                  <a:lnTo>
                    <a:pt x="482" y="549"/>
                  </a:lnTo>
                  <a:lnTo>
                    <a:pt x="468" y="549"/>
                  </a:lnTo>
                  <a:lnTo>
                    <a:pt x="449" y="551"/>
                  </a:lnTo>
                  <a:lnTo>
                    <a:pt x="430" y="551"/>
                  </a:lnTo>
                  <a:lnTo>
                    <a:pt x="417" y="549"/>
                  </a:lnTo>
                  <a:lnTo>
                    <a:pt x="405" y="549"/>
                  </a:lnTo>
                  <a:lnTo>
                    <a:pt x="397" y="547"/>
                  </a:lnTo>
                  <a:lnTo>
                    <a:pt x="392" y="545"/>
                  </a:lnTo>
                  <a:lnTo>
                    <a:pt x="388" y="541"/>
                  </a:lnTo>
                  <a:lnTo>
                    <a:pt x="384" y="533"/>
                  </a:lnTo>
                  <a:lnTo>
                    <a:pt x="347" y="422"/>
                  </a:lnTo>
                  <a:lnTo>
                    <a:pt x="142" y="422"/>
                  </a:lnTo>
                  <a:lnTo>
                    <a:pt x="107" y="529"/>
                  </a:lnTo>
                  <a:lnTo>
                    <a:pt x="104" y="539"/>
                  </a:lnTo>
                  <a:lnTo>
                    <a:pt x="94" y="547"/>
                  </a:lnTo>
                  <a:lnTo>
                    <a:pt x="86" y="549"/>
                  </a:lnTo>
                  <a:lnTo>
                    <a:pt x="77" y="549"/>
                  </a:lnTo>
                  <a:lnTo>
                    <a:pt x="65" y="549"/>
                  </a:lnTo>
                  <a:lnTo>
                    <a:pt x="48" y="551"/>
                  </a:lnTo>
                  <a:lnTo>
                    <a:pt x="31" y="549"/>
                  </a:lnTo>
                  <a:lnTo>
                    <a:pt x="17" y="549"/>
                  </a:lnTo>
                  <a:lnTo>
                    <a:pt x="8" y="547"/>
                  </a:lnTo>
                  <a:lnTo>
                    <a:pt x="2" y="543"/>
                  </a:lnTo>
                  <a:lnTo>
                    <a:pt x="0" y="537"/>
                  </a:lnTo>
                  <a:lnTo>
                    <a:pt x="0" y="529"/>
                  </a:lnTo>
                  <a:lnTo>
                    <a:pt x="2" y="518"/>
                  </a:lnTo>
                  <a:lnTo>
                    <a:pt x="6" y="504"/>
                  </a:lnTo>
                  <a:lnTo>
                    <a:pt x="175" y="21"/>
                  </a:lnTo>
                  <a:lnTo>
                    <a:pt x="180" y="9"/>
                  </a:lnTo>
                  <a:lnTo>
                    <a:pt x="184" y="6"/>
                  </a:lnTo>
                  <a:lnTo>
                    <a:pt x="190" y="4"/>
                  </a:lnTo>
                  <a:lnTo>
                    <a:pt x="200" y="2"/>
                  </a:lnTo>
                  <a:lnTo>
                    <a:pt x="211" y="0"/>
                  </a:lnTo>
                  <a:lnTo>
                    <a:pt x="227" y="0"/>
                  </a:lnTo>
                  <a:lnTo>
                    <a:pt x="246" y="0"/>
                  </a:lnTo>
                  <a:lnTo>
                    <a:pt x="24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grpSp>
      <p:cxnSp>
        <p:nvCxnSpPr>
          <p:cNvPr id="1405" name="Conector recto de flecha 1404">
            <a:extLst>
              <a:ext uri="{FF2B5EF4-FFF2-40B4-BE49-F238E27FC236}">
                <a16:creationId xmlns:a16="http://schemas.microsoft.com/office/drawing/2014/main" id="{0451C8A5-72EA-999F-772A-2BEB6E407A82}"/>
              </a:ext>
            </a:extLst>
          </p:cNvPr>
          <p:cNvCxnSpPr>
            <a:cxnSpLocks/>
          </p:cNvCxnSpPr>
          <p:nvPr/>
        </p:nvCxnSpPr>
        <p:spPr>
          <a:xfrm flipH="1" flipV="1">
            <a:off x="9093105" y="3759472"/>
            <a:ext cx="125016" cy="18319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406" name="Conector recto de flecha 1405">
            <a:extLst>
              <a:ext uri="{FF2B5EF4-FFF2-40B4-BE49-F238E27FC236}">
                <a16:creationId xmlns:a16="http://schemas.microsoft.com/office/drawing/2014/main" id="{5522B458-095B-1530-6169-2772CA6FC730}"/>
              </a:ext>
            </a:extLst>
          </p:cNvPr>
          <p:cNvCxnSpPr>
            <a:cxnSpLocks/>
          </p:cNvCxnSpPr>
          <p:nvPr/>
        </p:nvCxnSpPr>
        <p:spPr>
          <a:xfrm flipV="1">
            <a:off x="9351795" y="3670347"/>
            <a:ext cx="0" cy="190058"/>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407" name="Conector recto de flecha 1406">
            <a:extLst>
              <a:ext uri="{FF2B5EF4-FFF2-40B4-BE49-F238E27FC236}">
                <a16:creationId xmlns:a16="http://schemas.microsoft.com/office/drawing/2014/main" id="{53EFB3FA-167A-919E-C43F-0AA2A8827084}"/>
              </a:ext>
            </a:extLst>
          </p:cNvPr>
          <p:cNvCxnSpPr>
            <a:cxnSpLocks/>
          </p:cNvCxnSpPr>
          <p:nvPr/>
        </p:nvCxnSpPr>
        <p:spPr>
          <a:xfrm flipV="1">
            <a:off x="9522031" y="3730897"/>
            <a:ext cx="109567" cy="196917"/>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415" name="Conector recto de flecha 1414">
            <a:extLst>
              <a:ext uri="{FF2B5EF4-FFF2-40B4-BE49-F238E27FC236}">
                <a16:creationId xmlns:a16="http://schemas.microsoft.com/office/drawing/2014/main" id="{2F4340EA-8E2A-4836-5DDB-440F1411AF80}"/>
              </a:ext>
            </a:extLst>
          </p:cNvPr>
          <p:cNvCxnSpPr>
            <a:cxnSpLocks/>
          </p:cNvCxnSpPr>
          <p:nvPr/>
        </p:nvCxnSpPr>
        <p:spPr>
          <a:xfrm>
            <a:off x="9343798" y="4113290"/>
            <a:ext cx="2173" cy="492287"/>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421" name="Conector recto de flecha 1420">
            <a:extLst>
              <a:ext uri="{FF2B5EF4-FFF2-40B4-BE49-F238E27FC236}">
                <a16:creationId xmlns:a16="http://schemas.microsoft.com/office/drawing/2014/main" id="{E4C1522A-3777-B627-5E46-78F478D5502C}"/>
              </a:ext>
            </a:extLst>
          </p:cNvPr>
          <p:cNvCxnSpPr>
            <a:cxnSpLocks/>
          </p:cNvCxnSpPr>
          <p:nvPr/>
        </p:nvCxnSpPr>
        <p:spPr>
          <a:xfrm>
            <a:off x="10100110" y="4769742"/>
            <a:ext cx="231489"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422" name="Conector recto de flecha 1421">
            <a:extLst>
              <a:ext uri="{FF2B5EF4-FFF2-40B4-BE49-F238E27FC236}">
                <a16:creationId xmlns:a16="http://schemas.microsoft.com/office/drawing/2014/main" id="{C6BF151C-B4AF-7C88-B8A8-90980D6819B7}"/>
              </a:ext>
            </a:extLst>
          </p:cNvPr>
          <p:cNvCxnSpPr>
            <a:cxnSpLocks/>
          </p:cNvCxnSpPr>
          <p:nvPr/>
        </p:nvCxnSpPr>
        <p:spPr>
          <a:xfrm>
            <a:off x="10100110" y="4922176"/>
            <a:ext cx="234055"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423" name="Conector recto de flecha 1422">
            <a:extLst>
              <a:ext uri="{FF2B5EF4-FFF2-40B4-BE49-F238E27FC236}">
                <a16:creationId xmlns:a16="http://schemas.microsoft.com/office/drawing/2014/main" id="{103CD49A-CAC9-242A-7A7F-2050A8C99326}"/>
              </a:ext>
            </a:extLst>
          </p:cNvPr>
          <p:cNvCxnSpPr>
            <a:cxnSpLocks/>
          </p:cNvCxnSpPr>
          <p:nvPr/>
        </p:nvCxnSpPr>
        <p:spPr>
          <a:xfrm>
            <a:off x="10100110" y="5078257"/>
            <a:ext cx="234697"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nvGrpSpPr>
          <p:cNvPr id="1424" name="Grupo 1423">
            <a:extLst>
              <a:ext uri="{FF2B5EF4-FFF2-40B4-BE49-F238E27FC236}">
                <a16:creationId xmlns:a16="http://schemas.microsoft.com/office/drawing/2014/main" id="{6A3D45A2-61FF-A574-47D7-73317AD0A482}"/>
              </a:ext>
            </a:extLst>
          </p:cNvPr>
          <p:cNvGrpSpPr/>
          <p:nvPr/>
        </p:nvGrpSpPr>
        <p:grpSpPr>
          <a:xfrm>
            <a:off x="10441370" y="5048266"/>
            <a:ext cx="234697" cy="261610"/>
            <a:chOff x="3729176" y="4695678"/>
            <a:chExt cx="449621" cy="462983"/>
          </a:xfrm>
        </p:grpSpPr>
        <p:pic>
          <p:nvPicPr>
            <p:cNvPr id="1425" name="Gráfico 1424" descr="Documento contorno">
              <a:extLst>
                <a:ext uri="{FF2B5EF4-FFF2-40B4-BE49-F238E27FC236}">
                  <a16:creationId xmlns:a16="http://schemas.microsoft.com/office/drawing/2014/main" id="{774D9DEE-2DB5-3686-138D-BF8774AB0684}"/>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3751335" y="4695678"/>
              <a:ext cx="405305" cy="405305"/>
            </a:xfrm>
            <a:prstGeom prst="rect">
              <a:avLst/>
            </a:prstGeom>
          </p:spPr>
        </p:pic>
        <p:sp>
          <p:nvSpPr>
            <p:cNvPr id="1426" name="Rectángulo: esquinas redondeadas 27">
              <a:extLst>
                <a:ext uri="{FF2B5EF4-FFF2-40B4-BE49-F238E27FC236}">
                  <a16:creationId xmlns:a16="http://schemas.microsoft.com/office/drawing/2014/main" id="{A720ECB6-72C5-CFFB-AF45-CF0AECF29298}"/>
                </a:ext>
              </a:extLst>
            </p:cNvPr>
            <p:cNvSpPr/>
            <p:nvPr/>
          </p:nvSpPr>
          <p:spPr>
            <a:xfrm>
              <a:off x="3729176" y="5002653"/>
              <a:ext cx="449621" cy="156008"/>
            </a:xfrm>
            <a:prstGeom prst="roundRect">
              <a:avLst/>
            </a:prstGeom>
            <a:solidFill>
              <a:schemeClr val="bg1"/>
            </a:solidFill>
            <a:ln w="63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GB" sz="600" noProof="0">
                  <a:solidFill>
                    <a:schemeClr val="tx1"/>
                  </a:solidFill>
                  <a:latin typeface="Calibri" panose="020F0502020204030204" pitchFamily="34" charset="0"/>
                  <a:ea typeface="Calibri" panose="020F0502020204030204" pitchFamily="34" charset="0"/>
                  <a:cs typeface="Calibri" panose="020F0502020204030204" pitchFamily="34" charset="0"/>
                </a:rPr>
                <a:t>PDF</a:t>
              </a:r>
              <a:endParaRPr lang="en-GB" sz="800" noProof="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sp>
        <p:nvSpPr>
          <p:cNvPr id="1427" name="Funnel" descr="{&quot;Key&quot;:&quot;POWER_USER_SHAPE_ICON&quot;,&quot;Value&quot;:&quot;POWER_USER_SHAPE_ICON_STYLE_1&quot;}">
            <a:extLst>
              <a:ext uri="{FF2B5EF4-FFF2-40B4-BE49-F238E27FC236}">
                <a16:creationId xmlns:a16="http://schemas.microsoft.com/office/drawing/2014/main" id="{A2ABF381-E182-ECDB-FB62-FC0E0C023D37}"/>
              </a:ext>
            </a:extLst>
          </p:cNvPr>
          <p:cNvSpPr>
            <a:spLocks noChangeAspect="1"/>
          </p:cNvSpPr>
          <p:nvPr/>
        </p:nvSpPr>
        <p:spPr>
          <a:xfrm>
            <a:off x="10432840" y="4794339"/>
            <a:ext cx="223030" cy="218720"/>
          </a:xfrm>
          <a:custGeom>
            <a:avLst/>
            <a:gdLst>
              <a:gd name="connsiteX0" fmla="*/ 1085755 w 1971675"/>
              <a:gd name="connsiteY0" fmla="*/ 0 h 1933575"/>
              <a:gd name="connsiteX1" fmla="*/ 1286828 w 1971675"/>
              <a:gd name="connsiteY1" fmla="*/ 11335 h 1933575"/>
              <a:gd name="connsiteX2" fmla="*/ 1755267 w 1971675"/>
              <a:gd name="connsiteY2" fmla="*/ 90964 h 1933575"/>
              <a:gd name="connsiteX3" fmla="*/ 1887284 w 1971675"/>
              <a:gd name="connsiteY3" fmla="*/ 143828 h 1933575"/>
              <a:gd name="connsiteX4" fmla="*/ 1971675 w 1971675"/>
              <a:gd name="connsiteY4" fmla="*/ 242697 h 1933575"/>
              <a:gd name="connsiteX5" fmla="*/ 1971675 w 1971675"/>
              <a:gd name="connsiteY5" fmla="*/ 265748 h 1933575"/>
              <a:gd name="connsiteX6" fmla="*/ 1900238 w 1971675"/>
              <a:gd name="connsiteY6" fmla="*/ 421576 h 1933575"/>
              <a:gd name="connsiteX7" fmla="*/ 1779556 w 1971675"/>
              <a:gd name="connsiteY7" fmla="*/ 550831 h 1933575"/>
              <a:gd name="connsiteX8" fmla="*/ 1485233 w 1971675"/>
              <a:gd name="connsiteY8" fmla="*/ 823341 h 1933575"/>
              <a:gd name="connsiteX9" fmla="*/ 1248251 w 1971675"/>
              <a:gd name="connsiteY9" fmla="*/ 1076897 h 1933575"/>
              <a:gd name="connsiteX10" fmla="*/ 1238060 w 1971675"/>
              <a:gd name="connsiteY10" fmla="*/ 1105091 h 1933575"/>
              <a:gd name="connsiteX11" fmla="*/ 1196245 w 1971675"/>
              <a:gd name="connsiteY11" fmla="*/ 1760696 h 1933575"/>
              <a:gd name="connsiteX12" fmla="*/ 1181100 w 1971675"/>
              <a:gd name="connsiteY12" fmla="*/ 1848136 h 1933575"/>
              <a:gd name="connsiteX13" fmla="*/ 1022223 w 1971675"/>
              <a:gd name="connsiteY13" fmla="*/ 1933575 h 1933575"/>
              <a:gd name="connsiteX14" fmla="*/ 960215 w 1971675"/>
              <a:gd name="connsiteY14" fmla="*/ 1933575 h 1933575"/>
              <a:gd name="connsiteX15" fmla="*/ 775907 w 1971675"/>
              <a:gd name="connsiteY15" fmla="*/ 1791367 h 1933575"/>
              <a:gd name="connsiteX16" fmla="*/ 736759 w 1971675"/>
              <a:gd name="connsiteY16" fmla="*/ 1104424 h 1933575"/>
              <a:gd name="connsiteX17" fmla="*/ 728758 w 1971675"/>
              <a:gd name="connsiteY17" fmla="*/ 1083088 h 1933575"/>
              <a:gd name="connsiteX18" fmla="*/ 689896 w 1971675"/>
              <a:gd name="connsiteY18" fmla="*/ 1035939 h 1933575"/>
              <a:gd name="connsiteX19" fmla="*/ 453104 w 1971675"/>
              <a:gd name="connsiteY19" fmla="*/ 787051 h 1933575"/>
              <a:gd name="connsiteX20" fmla="*/ 270986 w 1971675"/>
              <a:gd name="connsiteY20" fmla="*/ 616839 h 1933575"/>
              <a:gd name="connsiteX21" fmla="*/ 119063 w 1971675"/>
              <a:gd name="connsiteY21" fmla="*/ 459391 h 1933575"/>
              <a:gd name="connsiteX22" fmla="*/ 0 w 1971675"/>
              <a:gd name="connsiteY22" fmla="*/ 259747 h 1933575"/>
              <a:gd name="connsiteX23" fmla="*/ 0 w 1971675"/>
              <a:gd name="connsiteY23" fmla="*/ 243364 h 1933575"/>
              <a:gd name="connsiteX24" fmla="*/ 90869 w 1971675"/>
              <a:gd name="connsiteY24" fmla="*/ 143161 h 1933575"/>
              <a:gd name="connsiteX25" fmla="*/ 225457 w 1971675"/>
              <a:gd name="connsiteY25" fmla="*/ 90488 h 1933575"/>
              <a:gd name="connsiteX26" fmla="*/ 678752 w 1971675"/>
              <a:gd name="connsiteY26" fmla="*/ 12573 h 1933575"/>
              <a:gd name="connsiteX27" fmla="*/ 896779 w 1971675"/>
              <a:gd name="connsiteY27" fmla="*/ 0 h 1933575"/>
              <a:gd name="connsiteX28" fmla="*/ 1085755 w 1971675"/>
              <a:gd name="connsiteY28" fmla="*/ 0 h 1933575"/>
              <a:gd name="connsiteX29" fmla="*/ 416814 w 1971675"/>
              <a:gd name="connsiteY29" fmla="*/ 113728 h 1933575"/>
              <a:gd name="connsiteX30" fmla="*/ 418910 w 1971675"/>
              <a:gd name="connsiteY30" fmla="*/ 113252 h 1933575"/>
              <a:gd name="connsiteX31" fmla="*/ 418910 w 1971675"/>
              <a:gd name="connsiteY31" fmla="*/ 113157 h 1933575"/>
              <a:gd name="connsiteX32" fmla="*/ 419005 w 1971675"/>
              <a:gd name="connsiteY32" fmla="*/ 113157 h 1933575"/>
              <a:gd name="connsiteX33" fmla="*/ 418910 w 1971675"/>
              <a:gd name="connsiteY33" fmla="*/ 113252 h 1933575"/>
              <a:gd name="connsiteX34" fmla="*/ 199168 w 1971675"/>
              <a:gd name="connsiteY34" fmla="*/ 168212 h 1933575"/>
              <a:gd name="connsiteX35" fmla="*/ 68199 w 1971675"/>
              <a:gd name="connsiteY35" fmla="*/ 247174 h 1933575"/>
              <a:gd name="connsiteX36" fmla="*/ 66961 w 1971675"/>
              <a:gd name="connsiteY36" fmla="*/ 255937 h 1933575"/>
              <a:gd name="connsiteX37" fmla="*/ 166116 w 1971675"/>
              <a:gd name="connsiteY37" fmla="*/ 412147 h 1933575"/>
              <a:gd name="connsiteX38" fmla="*/ 392430 w 1971675"/>
              <a:gd name="connsiteY38" fmla="*/ 639794 h 1933575"/>
              <a:gd name="connsiteX39" fmla="*/ 535400 w 1971675"/>
              <a:gd name="connsiteY39" fmla="*/ 773430 h 1933575"/>
              <a:gd name="connsiteX40" fmla="*/ 783622 w 1971675"/>
              <a:gd name="connsiteY40" fmla="*/ 1045369 h 1933575"/>
              <a:gd name="connsiteX41" fmla="*/ 802958 w 1971675"/>
              <a:gd name="connsiteY41" fmla="*/ 1090708 h 1933575"/>
              <a:gd name="connsiteX42" fmla="*/ 842010 w 1971675"/>
              <a:gd name="connsiteY42" fmla="*/ 1775079 h 1933575"/>
              <a:gd name="connsiteX43" fmla="*/ 853821 w 1971675"/>
              <a:gd name="connsiteY43" fmla="*/ 1820894 h 1933575"/>
              <a:gd name="connsiteX44" fmla="*/ 1073563 w 1971675"/>
              <a:gd name="connsiteY44" fmla="*/ 1854803 h 1933575"/>
              <a:gd name="connsiteX45" fmla="*/ 1114616 w 1971675"/>
              <a:gd name="connsiteY45" fmla="*/ 1829467 h 1933575"/>
              <a:gd name="connsiteX46" fmla="*/ 1127379 w 1971675"/>
              <a:gd name="connsiteY46" fmla="*/ 1786223 h 1933575"/>
              <a:gd name="connsiteX47" fmla="*/ 1172813 w 1971675"/>
              <a:gd name="connsiteY47" fmla="*/ 1088898 h 1933575"/>
              <a:gd name="connsiteX48" fmla="*/ 1239584 w 1971675"/>
              <a:gd name="connsiteY48" fmla="*/ 980027 h 1933575"/>
              <a:gd name="connsiteX49" fmla="*/ 1414748 w 1971675"/>
              <a:gd name="connsiteY49" fmla="*/ 798005 h 1933575"/>
              <a:gd name="connsiteX50" fmla="*/ 1718310 w 1971675"/>
              <a:gd name="connsiteY50" fmla="*/ 518160 h 1933575"/>
              <a:gd name="connsiteX51" fmla="*/ 1847088 w 1971675"/>
              <a:gd name="connsiteY51" fmla="*/ 380429 h 1933575"/>
              <a:gd name="connsiteX52" fmla="*/ 1903762 w 1971675"/>
              <a:gd name="connsiteY52" fmla="*/ 266700 h 1933575"/>
              <a:gd name="connsiteX53" fmla="*/ 1886998 w 1971675"/>
              <a:gd name="connsiteY53" fmla="*/ 224885 h 1933575"/>
              <a:gd name="connsiteX54" fmla="*/ 1820228 w 1971675"/>
              <a:gd name="connsiteY54" fmla="*/ 184880 h 1933575"/>
              <a:gd name="connsiteX55" fmla="*/ 1507331 w 1971675"/>
              <a:gd name="connsiteY55" fmla="*/ 103727 h 1933575"/>
              <a:gd name="connsiteX56" fmla="*/ 1506855 w 1971675"/>
              <a:gd name="connsiteY56" fmla="*/ 104013 h 1933575"/>
              <a:gd name="connsiteX57" fmla="*/ 1507141 w 1971675"/>
              <a:gd name="connsiteY57" fmla="*/ 104489 h 1933575"/>
              <a:gd name="connsiteX58" fmla="*/ 1728311 w 1971675"/>
              <a:gd name="connsiteY58" fmla="*/ 169640 h 1933575"/>
              <a:gd name="connsiteX59" fmla="*/ 1789081 w 1971675"/>
              <a:gd name="connsiteY59" fmla="*/ 210693 h 1933575"/>
              <a:gd name="connsiteX60" fmla="*/ 1807655 w 1971675"/>
              <a:gd name="connsiteY60" fmla="*/ 276606 h 1933575"/>
              <a:gd name="connsiteX61" fmla="*/ 1431036 w 1971675"/>
              <a:gd name="connsiteY61" fmla="*/ 413766 h 1933575"/>
              <a:gd name="connsiteX62" fmla="*/ 672465 w 1971675"/>
              <a:gd name="connsiteY62" fmla="*/ 427577 h 1933575"/>
              <a:gd name="connsiteX63" fmla="*/ 162020 w 1971675"/>
              <a:gd name="connsiteY63" fmla="*/ 262795 h 1933575"/>
              <a:gd name="connsiteX64" fmla="*/ 322898 w 1971675"/>
              <a:gd name="connsiteY64" fmla="*/ 139351 h 1933575"/>
              <a:gd name="connsiteX65" fmla="*/ 416814 w 1971675"/>
              <a:gd name="connsiteY65" fmla="*/ 113728 h 1933575"/>
              <a:gd name="connsiteX66" fmla="*/ 985742 w 1971675"/>
              <a:gd name="connsiteY66" fmla="*/ 373094 h 1933575"/>
              <a:gd name="connsiteX67" fmla="*/ 1602391 w 1971675"/>
              <a:gd name="connsiteY67" fmla="*/ 316135 h 1933575"/>
              <a:gd name="connsiteX68" fmla="*/ 1736789 w 1971675"/>
              <a:gd name="connsiteY68" fmla="*/ 263938 h 1933575"/>
              <a:gd name="connsiteX69" fmla="*/ 1737187 w 1971675"/>
              <a:gd name="connsiteY69" fmla="*/ 251199 h 1933575"/>
              <a:gd name="connsiteX70" fmla="*/ 1735550 w 1971675"/>
              <a:gd name="connsiteY70" fmla="*/ 249841 h 1933575"/>
              <a:gd name="connsiteX71" fmla="*/ 1632014 w 1971675"/>
              <a:gd name="connsiteY71" fmla="*/ 203835 h 1933575"/>
              <a:gd name="connsiteX72" fmla="*/ 985742 w 1971675"/>
              <a:gd name="connsiteY72" fmla="*/ 126778 h 1933575"/>
              <a:gd name="connsiteX73" fmla="*/ 339376 w 1971675"/>
              <a:gd name="connsiteY73" fmla="*/ 203930 h 1933575"/>
              <a:gd name="connsiteX74" fmla="*/ 235839 w 1971675"/>
              <a:gd name="connsiteY74" fmla="*/ 249936 h 1933575"/>
              <a:gd name="connsiteX75" fmla="*/ 233228 w 1971675"/>
              <a:gd name="connsiteY75" fmla="*/ 262379 h 1933575"/>
              <a:gd name="connsiteX76" fmla="*/ 234601 w 1971675"/>
              <a:gd name="connsiteY76" fmla="*/ 264033 h 1933575"/>
              <a:gd name="connsiteX77" fmla="*/ 368999 w 1971675"/>
              <a:gd name="connsiteY77" fmla="*/ 316230 h 1933575"/>
              <a:gd name="connsiteX78" fmla="*/ 985742 w 1971675"/>
              <a:gd name="connsiteY78" fmla="*/ 373094 h 193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971675" h="1933575">
                <a:moveTo>
                  <a:pt x="1085755" y="0"/>
                </a:moveTo>
                <a:cubicBezTo>
                  <a:pt x="1122775" y="1397"/>
                  <a:pt x="1189800" y="5175"/>
                  <a:pt x="1286828" y="11335"/>
                </a:cubicBezTo>
                <a:cubicBezTo>
                  <a:pt x="1449515" y="21622"/>
                  <a:pt x="1605661" y="48165"/>
                  <a:pt x="1755267" y="90964"/>
                </a:cubicBezTo>
                <a:cubicBezTo>
                  <a:pt x="1801114" y="104108"/>
                  <a:pt x="1845120" y="121730"/>
                  <a:pt x="1887284" y="143828"/>
                </a:cubicBezTo>
                <a:cubicBezTo>
                  <a:pt x="1932115" y="167323"/>
                  <a:pt x="1960245" y="200279"/>
                  <a:pt x="1971675" y="242697"/>
                </a:cubicBezTo>
                <a:lnTo>
                  <a:pt x="1971675" y="265748"/>
                </a:lnTo>
                <a:cubicBezTo>
                  <a:pt x="1961452" y="323088"/>
                  <a:pt x="1937639" y="375031"/>
                  <a:pt x="1900238" y="421576"/>
                </a:cubicBezTo>
                <a:cubicBezTo>
                  <a:pt x="1863217" y="467614"/>
                  <a:pt x="1822990" y="510699"/>
                  <a:pt x="1779556" y="550831"/>
                </a:cubicBezTo>
                <a:cubicBezTo>
                  <a:pt x="1596739" y="719995"/>
                  <a:pt x="1498632" y="810831"/>
                  <a:pt x="1485233" y="823341"/>
                </a:cubicBezTo>
                <a:cubicBezTo>
                  <a:pt x="1397794" y="905065"/>
                  <a:pt x="1316831" y="984504"/>
                  <a:pt x="1248251" y="1076897"/>
                </a:cubicBezTo>
                <a:cubicBezTo>
                  <a:pt x="1242092" y="1085215"/>
                  <a:pt x="1238695" y="1094613"/>
                  <a:pt x="1238060" y="1105091"/>
                </a:cubicBezTo>
                <a:cubicBezTo>
                  <a:pt x="1228916" y="1259014"/>
                  <a:pt x="1214977" y="1477550"/>
                  <a:pt x="1196245" y="1760696"/>
                </a:cubicBezTo>
                <a:cubicBezTo>
                  <a:pt x="1193387" y="1803495"/>
                  <a:pt x="1188339" y="1832642"/>
                  <a:pt x="1181100" y="1848136"/>
                </a:cubicBezTo>
                <a:cubicBezTo>
                  <a:pt x="1154049" y="1906143"/>
                  <a:pt x="1082707" y="1927955"/>
                  <a:pt x="1022223" y="1933575"/>
                </a:cubicBezTo>
                <a:lnTo>
                  <a:pt x="960215" y="1933575"/>
                </a:lnTo>
                <a:cubicBezTo>
                  <a:pt x="874776" y="1928051"/>
                  <a:pt x="781050" y="1883855"/>
                  <a:pt x="775907" y="1791367"/>
                </a:cubicBezTo>
                <a:cubicBezTo>
                  <a:pt x="771525" y="1713833"/>
                  <a:pt x="758476" y="1484852"/>
                  <a:pt x="736759" y="1104424"/>
                </a:cubicBezTo>
                <a:cubicBezTo>
                  <a:pt x="736324" y="1096669"/>
                  <a:pt x="733533" y="1089227"/>
                  <a:pt x="728758" y="1083088"/>
                </a:cubicBezTo>
                <a:cubicBezTo>
                  <a:pt x="718217" y="1069499"/>
                  <a:pt x="705263" y="1053783"/>
                  <a:pt x="689896" y="1035939"/>
                </a:cubicBezTo>
                <a:cubicBezTo>
                  <a:pt x="620808" y="955421"/>
                  <a:pt x="541877" y="872458"/>
                  <a:pt x="453104" y="787051"/>
                </a:cubicBezTo>
                <a:cubicBezTo>
                  <a:pt x="436785" y="771303"/>
                  <a:pt x="376079" y="714565"/>
                  <a:pt x="270986" y="616839"/>
                </a:cubicBezTo>
                <a:cubicBezTo>
                  <a:pt x="226028" y="574993"/>
                  <a:pt x="175387" y="522510"/>
                  <a:pt x="119063" y="459391"/>
                </a:cubicBezTo>
                <a:cubicBezTo>
                  <a:pt x="68675" y="402908"/>
                  <a:pt x="14573" y="335280"/>
                  <a:pt x="0" y="259747"/>
                </a:cubicBezTo>
                <a:lnTo>
                  <a:pt x="0" y="243364"/>
                </a:lnTo>
                <a:cubicBezTo>
                  <a:pt x="12192" y="200184"/>
                  <a:pt x="42482" y="166783"/>
                  <a:pt x="90869" y="143161"/>
                </a:cubicBezTo>
                <a:cubicBezTo>
                  <a:pt x="138176" y="119983"/>
                  <a:pt x="183039" y="102426"/>
                  <a:pt x="225457" y="90488"/>
                </a:cubicBezTo>
                <a:cubicBezTo>
                  <a:pt x="370999" y="49594"/>
                  <a:pt x="522097" y="23622"/>
                  <a:pt x="678752" y="12573"/>
                </a:cubicBezTo>
                <a:cubicBezTo>
                  <a:pt x="768160" y="6287"/>
                  <a:pt x="840835" y="2096"/>
                  <a:pt x="896779" y="0"/>
                </a:cubicBezTo>
                <a:lnTo>
                  <a:pt x="1085755" y="0"/>
                </a:lnTo>
                <a:close/>
                <a:moveTo>
                  <a:pt x="416814" y="113728"/>
                </a:moveTo>
                <a:cubicBezTo>
                  <a:pt x="418021" y="113411"/>
                  <a:pt x="418719" y="113252"/>
                  <a:pt x="418910" y="113252"/>
                </a:cubicBezTo>
                <a:lnTo>
                  <a:pt x="418910" y="113157"/>
                </a:lnTo>
                <a:cubicBezTo>
                  <a:pt x="418910" y="113030"/>
                  <a:pt x="418941" y="113030"/>
                  <a:pt x="419005" y="113157"/>
                </a:cubicBezTo>
                <a:cubicBezTo>
                  <a:pt x="419005" y="113221"/>
                  <a:pt x="418973" y="113252"/>
                  <a:pt x="418910" y="113252"/>
                </a:cubicBezTo>
                <a:cubicBezTo>
                  <a:pt x="345313" y="124936"/>
                  <a:pt x="272066" y="143256"/>
                  <a:pt x="199168" y="168212"/>
                </a:cubicBezTo>
                <a:cubicBezTo>
                  <a:pt x="158401" y="182213"/>
                  <a:pt x="90107" y="209074"/>
                  <a:pt x="68199" y="247174"/>
                </a:cubicBezTo>
                <a:cubicBezTo>
                  <a:pt x="66612" y="249968"/>
                  <a:pt x="66199" y="252889"/>
                  <a:pt x="66961" y="255937"/>
                </a:cubicBezTo>
                <a:cubicBezTo>
                  <a:pt x="80772" y="312420"/>
                  <a:pt x="128302" y="368808"/>
                  <a:pt x="166116" y="412147"/>
                </a:cubicBezTo>
                <a:cubicBezTo>
                  <a:pt x="222187" y="476472"/>
                  <a:pt x="297625" y="552355"/>
                  <a:pt x="392430" y="639794"/>
                </a:cubicBezTo>
                <a:cubicBezTo>
                  <a:pt x="472948" y="714089"/>
                  <a:pt x="520605" y="758635"/>
                  <a:pt x="535400" y="773430"/>
                </a:cubicBezTo>
                <a:cubicBezTo>
                  <a:pt x="635349" y="872617"/>
                  <a:pt x="718090" y="963263"/>
                  <a:pt x="783622" y="1045369"/>
                </a:cubicBezTo>
                <a:cubicBezTo>
                  <a:pt x="795687" y="1060418"/>
                  <a:pt x="802132" y="1075531"/>
                  <a:pt x="802958" y="1090708"/>
                </a:cubicBezTo>
                <a:cubicBezTo>
                  <a:pt x="809689" y="1214850"/>
                  <a:pt x="822706" y="1442974"/>
                  <a:pt x="842010" y="1775079"/>
                </a:cubicBezTo>
                <a:cubicBezTo>
                  <a:pt x="843217" y="1796860"/>
                  <a:pt x="847154" y="1812131"/>
                  <a:pt x="853821" y="1820894"/>
                </a:cubicBezTo>
                <a:cubicBezTo>
                  <a:pt x="896874" y="1877568"/>
                  <a:pt x="1010603" y="1872520"/>
                  <a:pt x="1073563" y="1854803"/>
                </a:cubicBezTo>
                <a:cubicBezTo>
                  <a:pt x="1090898" y="1849914"/>
                  <a:pt x="1104583" y="1841468"/>
                  <a:pt x="1114616" y="1829467"/>
                </a:cubicBezTo>
                <a:cubicBezTo>
                  <a:pt x="1121728" y="1820894"/>
                  <a:pt x="1125982" y="1806480"/>
                  <a:pt x="1127379" y="1786223"/>
                </a:cubicBezTo>
                <a:cubicBezTo>
                  <a:pt x="1136079" y="1658715"/>
                  <a:pt x="1151223" y="1426274"/>
                  <a:pt x="1172813" y="1088898"/>
                </a:cubicBezTo>
                <a:cubicBezTo>
                  <a:pt x="1174909" y="1055561"/>
                  <a:pt x="1214914" y="1008602"/>
                  <a:pt x="1239584" y="980027"/>
                </a:cubicBezTo>
                <a:cubicBezTo>
                  <a:pt x="1290257" y="921353"/>
                  <a:pt x="1348645" y="860679"/>
                  <a:pt x="1414748" y="798005"/>
                </a:cubicBezTo>
                <a:cubicBezTo>
                  <a:pt x="1481804" y="734378"/>
                  <a:pt x="1582992" y="641096"/>
                  <a:pt x="1718310" y="518160"/>
                </a:cubicBezTo>
                <a:cubicBezTo>
                  <a:pt x="1763903" y="476822"/>
                  <a:pt x="1806829" y="430911"/>
                  <a:pt x="1847088" y="380429"/>
                </a:cubicBezTo>
                <a:cubicBezTo>
                  <a:pt x="1871853" y="349282"/>
                  <a:pt x="1896428" y="307467"/>
                  <a:pt x="1903762" y="266700"/>
                </a:cubicBezTo>
                <a:cubicBezTo>
                  <a:pt x="1907477" y="246031"/>
                  <a:pt x="1900904" y="237077"/>
                  <a:pt x="1886998" y="224885"/>
                </a:cubicBezTo>
                <a:cubicBezTo>
                  <a:pt x="1870297" y="210217"/>
                  <a:pt x="1848041" y="196882"/>
                  <a:pt x="1820228" y="184880"/>
                </a:cubicBezTo>
                <a:cubicBezTo>
                  <a:pt x="1733360" y="147288"/>
                  <a:pt x="1629061" y="120237"/>
                  <a:pt x="1507331" y="103727"/>
                </a:cubicBezTo>
                <a:cubicBezTo>
                  <a:pt x="1507121" y="103675"/>
                  <a:pt x="1506908" y="103803"/>
                  <a:pt x="1506855" y="104013"/>
                </a:cubicBezTo>
                <a:cubicBezTo>
                  <a:pt x="1506802" y="104223"/>
                  <a:pt x="1506930" y="104437"/>
                  <a:pt x="1507141" y="104489"/>
                </a:cubicBezTo>
                <a:cubicBezTo>
                  <a:pt x="1586103" y="121825"/>
                  <a:pt x="1658398" y="137541"/>
                  <a:pt x="1728311" y="169640"/>
                </a:cubicBezTo>
                <a:cubicBezTo>
                  <a:pt x="1754156" y="181515"/>
                  <a:pt x="1774412" y="195199"/>
                  <a:pt x="1789081" y="210693"/>
                </a:cubicBezTo>
                <a:cubicBezTo>
                  <a:pt x="1807051" y="229680"/>
                  <a:pt x="1813243" y="251651"/>
                  <a:pt x="1807655" y="276606"/>
                </a:cubicBezTo>
                <a:cubicBezTo>
                  <a:pt x="1787366" y="366522"/>
                  <a:pt x="1508951" y="404527"/>
                  <a:pt x="1431036" y="413766"/>
                </a:cubicBezTo>
                <a:cubicBezTo>
                  <a:pt x="1190117" y="442405"/>
                  <a:pt x="937260" y="447008"/>
                  <a:pt x="672465" y="427577"/>
                </a:cubicBezTo>
                <a:cubicBezTo>
                  <a:pt x="591598" y="421576"/>
                  <a:pt x="161639" y="385286"/>
                  <a:pt x="162020" y="262795"/>
                </a:cubicBezTo>
                <a:cubicBezTo>
                  <a:pt x="162211" y="192310"/>
                  <a:pt x="263557" y="156496"/>
                  <a:pt x="322898" y="139351"/>
                </a:cubicBezTo>
                <a:cubicBezTo>
                  <a:pt x="350203" y="131477"/>
                  <a:pt x="381508" y="122936"/>
                  <a:pt x="416814" y="113728"/>
                </a:cubicBezTo>
                <a:close/>
                <a:moveTo>
                  <a:pt x="985742" y="373094"/>
                </a:moveTo>
                <a:cubicBezTo>
                  <a:pt x="1191292" y="373094"/>
                  <a:pt x="1401794" y="360617"/>
                  <a:pt x="1602391" y="316135"/>
                </a:cubicBezTo>
                <a:cubicBezTo>
                  <a:pt x="1642396" y="307276"/>
                  <a:pt x="1709166" y="289751"/>
                  <a:pt x="1736789" y="263938"/>
                </a:cubicBezTo>
                <a:cubicBezTo>
                  <a:pt x="1740409" y="260494"/>
                  <a:pt x="1740587" y="254790"/>
                  <a:pt x="1737187" y="251199"/>
                </a:cubicBezTo>
                <a:cubicBezTo>
                  <a:pt x="1736698" y="250682"/>
                  <a:pt x="1736149" y="250226"/>
                  <a:pt x="1735550" y="249841"/>
                </a:cubicBezTo>
                <a:cubicBezTo>
                  <a:pt x="1706023" y="230791"/>
                  <a:pt x="1671511" y="215456"/>
                  <a:pt x="1632014" y="203835"/>
                </a:cubicBezTo>
                <a:cubicBezTo>
                  <a:pt x="1428845" y="143828"/>
                  <a:pt x="1202912" y="126778"/>
                  <a:pt x="985742" y="126778"/>
                </a:cubicBezTo>
                <a:cubicBezTo>
                  <a:pt x="768477" y="126873"/>
                  <a:pt x="542639" y="143923"/>
                  <a:pt x="339376" y="203930"/>
                </a:cubicBezTo>
                <a:cubicBezTo>
                  <a:pt x="299879" y="215551"/>
                  <a:pt x="265367" y="230886"/>
                  <a:pt x="235839" y="249936"/>
                </a:cubicBezTo>
                <a:cubicBezTo>
                  <a:pt x="231681" y="252614"/>
                  <a:pt x="230512" y="258185"/>
                  <a:pt x="233228" y="262379"/>
                </a:cubicBezTo>
                <a:cubicBezTo>
                  <a:pt x="233619" y="262982"/>
                  <a:pt x="234080" y="263537"/>
                  <a:pt x="234601" y="264033"/>
                </a:cubicBezTo>
                <a:cubicBezTo>
                  <a:pt x="262223" y="289846"/>
                  <a:pt x="328994" y="307372"/>
                  <a:pt x="368999" y="316230"/>
                </a:cubicBezTo>
                <a:cubicBezTo>
                  <a:pt x="569690" y="360712"/>
                  <a:pt x="780193" y="373094"/>
                  <a:pt x="985742" y="373094"/>
                </a:cubicBezTo>
                <a:close/>
              </a:path>
            </a:pathLst>
          </a:custGeom>
          <a:solidFill>
            <a:schemeClr val="dk1"/>
          </a:solidFill>
          <a:ln w="9525" cap="flat">
            <a:noFill/>
            <a:prstDash val="solid"/>
            <a:miter/>
          </a:ln>
        </p:spPr>
        <p:txBody>
          <a:bodyPr rtlCol="0" anchor="ctr"/>
          <a:lstStyle/>
          <a:p>
            <a:endParaRPr lang="en-GB" noProof="0"/>
          </a:p>
        </p:txBody>
      </p:sp>
      <p:cxnSp>
        <p:nvCxnSpPr>
          <p:cNvPr id="1431" name="Conector: curvado 1430">
            <a:extLst>
              <a:ext uri="{FF2B5EF4-FFF2-40B4-BE49-F238E27FC236}">
                <a16:creationId xmlns:a16="http://schemas.microsoft.com/office/drawing/2014/main" id="{041DDA1B-C521-C748-D891-E4A7C1C493E7}"/>
              </a:ext>
            </a:extLst>
          </p:cNvPr>
          <p:cNvCxnSpPr>
            <a:cxnSpLocks/>
          </p:cNvCxnSpPr>
          <p:nvPr/>
        </p:nvCxnSpPr>
        <p:spPr>
          <a:xfrm flipV="1">
            <a:off x="10816163" y="4046925"/>
            <a:ext cx="340927" cy="874474"/>
          </a:xfrm>
          <a:prstGeom prst="curved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436" name="Conector: angular 1435">
            <a:extLst>
              <a:ext uri="{FF2B5EF4-FFF2-40B4-BE49-F238E27FC236}">
                <a16:creationId xmlns:a16="http://schemas.microsoft.com/office/drawing/2014/main" id="{1B07217A-75BC-0BD8-0140-CF2B49A4C378}"/>
              </a:ext>
            </a:extLst>
          </p:cNvPr>
          <p:cNvCxnSpPr>
            <a:cxnSpLocks/>
            <a:stCxn id="1258" idx="3"/>
          </p:cNvCxnSpPr>
          <p:nvPr/>
        </p:nvCxnSpPr>
        <p:spPr>
          <a:xfrm>
            <a:off x="8080456" y="4333275"/>
            <a:ext cx="613221" cy="589700"/>
          </a:xfrm>
          <a:prstGeom prst="bentConnector3">
            <a:avLst>
              <a:gd name="adj1" fmla="val 50000"/>
            </a:avLst>
          </a:prstGeom>
          <a:ln>
            <a:tailEnd type="triangle"/>
          </a:ln>
        </p:spPr>
        <p:style>
          <a:lnRef idx="2">
            <a:schemeClr val="dk1"/>
          </a:lnRef>
          <a:fillRef idx="0">
            <a:schemeClr val="dk1"/>
          </a:fillRef>
          <a:effectRef idx="1">
            <a:schemeClr val="dk1"/>
          </a:effectRef>
          <a:fontRef idx="minor">
            <a:schemeClr val="tx1"/>
          </a:fontRef>
        </p:style>
      </p:cxnSp>
      <p:sp>
        <p:nvSpPr>
          <p:cNvPr id="1438" name="CuadroTexto 1437">
            <a:extLst>
              <a:ext uri="{FF2B5EF4-FFF2-40B4-BE49-F238E27FC236}">
                <a16:creationId xmlns:a16="http://schemas.microsoft.com/office/drawing/2014/main" id="{761775BC-E728-1EE0-FE54-33A0C0FE8DDB}"/>
              </a:ext>
            </a:extLst>
          </p:cNvPr>
          <p:cNvSpPr txBox="1"/>
          <p:nvPr/>
        </p:nvSpPr>
        <p:spPr>
          <a:xfrm>
            <a:off x="4118484" y="1291502"/>
            <a:ext cx="2007297" cy="510778"/>
          </a:xfrm>
          <a:prstGeom prst="roundRect">
            <a:avLst/>
          </a:prstGeom>
          <a:noFill/>
          <a:ln w="9525">
            <a:solidFill>
              <a:schemeClr val="tx2"/>
            </a:solidFill>
          </a:ln>
          <a:effectLst>
            <a:outerShdw blurRad="50800" dist="38100" dir="2700000" algn="tl" rotWithShape="0">
              <a:prstClr val="black">
                <a:alpha val="40000"/>
              </a:prstClr>
            </a:outerShdw>
          </a:effectLst>
        </p:spPr>
        <p:txBody>
          <a:bodyPr wrap="square" rtlCol="0" anchor="ctr">
            <a:spAutoFit/>
          </a:bodyPr>
          <a:lstStyle/>
          <a:p>
            <a:pPr algn="just"/>
            <a:r>
              <a:rPr lang="en-GB" sz="800" noProof="0"/>
              <a:t>Controllable workflows ensure consistent outcomes but without flexibility for complex tasks</a:t>
            </a:r>
          </a:p>
        </p:txBody>
      </p:sp>
      <p:sp>
        <p:nvSpPr>
          <p:cNvPr id="1441" name="Globo: línea doblada con barra de énfasis 1440">
            <a:extLst>
              <a:ext uri="{FF2B5EF4-FFF2-40B4-BE49-F238E27FC236}">
                <a16:creationId xmlns:a16="http://schemas.microsoft.com/office/drawing/2014/main" id="{40035675-73B9-AE14-4AC9-9C829CCAAFDD}"/>
              </a:ext>
            </a:extLst>
          </p:cNvPr>
          <p:cNvSpPr/>
          <p:nvPr/>
        </p:nvSpPr>
        <p:spPr>
          <a:xfrm flipH="1">
            <a:off x="4948695" y="1373259"/>
            <a:ext cx="1183923" cy="362324"/>
          </a:xfrm>
          <a:prstGeom prst="accentCallout2">
            <a:avLst>
              <a:gd name="adj1" fmla="val 18750"/>
              <a:gd name="adj2" fmla="val 131"/>
              <a:gd name="adj3" fmla="val 18750"/>
              <a:gd name="adj4" fmla="val -16667"/>
              <a:gd name="adj5" fmla="val 160665"/>
              <a:gd name="adj6" fmla="val -50745"/>
            </a:avLst>
          </a:prstGeom>
          <a:no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442" name="Globo: línea doblada con barra de énfasis 1441">
            <a:extLst>
              <a:ext uri="{FF2B5EF4-FFF2-40B4-BE49-F238E27FC236}">
                <a16:creationId xmlns:a16="http://schemas.microsoft.com/office/drawing/2014/main" id="{4EC0FA61-8067-F411-1E5D-201AB8F04189}"/>
              </a:ext>
            </a:extLst>
          </p:cNvPr>
          <p:cNvSpPr/>
          <p:nvPr/>
        </p:nvSpPr>
        <p:spPr>
          <a:xfrm rot="10800000" flipH="1">
            <a:off x="6048534" y="5347256"/>
            <a:ext cx="1046625" cy="346829"/>
          </a:xfrm>
          <a:prstGeom prst="accentCallout2">
            <a:avLst>
              <a:gd name="adj1" fmla="val 18750"/>
              <a:gd name="adj2" fmla="val 131"/>
              <a:gd name="adj3" fmla="val 18750"/>
              <a:gd name="adj4" fmla="val -16667"/>
              <a:gd name="adj5" fmla="val 138897"/>
              <a:gd name="adj6" fmla="val -34816"/>
            </a:avLst>
          </a:prstGeom>
          <a:no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800" noProof="0"/>
          </a:p>
        </p:txBody>
      </p:sp>
      <p:sp>
        <p:nvSpPr>
          <p:cNvPr id="1443" name="CuadroTexto 1442">
            <a:extLst>
              <a:ext uri="{FF2B5EF4-FFF2-40B4-BE49-F238E27FC236}">
                <a16:creationId xmlns:a16="http://schemas.microsoft.com/office/drawing/2014/main" id="{FE61C290-59DA-BC4C-30C7-A3226B828CEE}"/>
              </a:ext>
            </a:extLst>
          </p:cNvPr>
          <p:cNvSpPr txBox="1"/>
          <p:nvPr/>
        </p:nvSpPr>
        <p:spPr>
          <a:xfrm>
            <a:off x="6053188" y="5265282"/>
            <a:ext cx="1773506" cy="510778"/>
          </a:xfrm>
          <a:prstGeom prst="roundRect">
            <a:avLst/>
          </a:prstGeom>
          <a:noFill/>
          <a:ln w="12700">
            <a:solidFill>
              <a:schemeClr val="tx2"/>
            </a:solidFill>
          </a:ln>
          <a:effectLst>
            <a:outerShdw blurRad="50800" dist="38100" dir="2700000" algn="tl" rotWithShape="0">
              <a:prstClr val="black">
                <a:alpha val="40000"/>
              </a:prstClr>
            </a:outerShdw>
          </a:effectLst>
        </p:spPr>
        <p:txBody>
          <a:bodyPr wrap="square" rtlCol="0">
            <a:spAutoFit/>
          </a:bodyPr>
          <a:lstStyle/>
          <a:p>
            <a:pPr algn="just"/>
            <a:r>
              <a:rPr lang="en-GB" sz="800" noProof="0"/>
              <a:t>A data agent brings flexibility and the ability to adapt to changing circumstances. </a:t>
            </a:r>
          </a:p>
        </p:txBody>
      </p:sp>
      <p:pic>
        <p:nvPicPr>
          <p:cNvPr id="1445" name="Picture 2" descr="Webhook Icon SVG and PNG for Seamless Integrations">
            <a:extLst>
              <a:ext uri="{FF2B5EF4-FFF2-40B4-BE49-F238E27FC236}">
                <a16:creationId xmlns:a16="http://schemas.microsoft.com/office/drawing/2014/main" id="{C480410F-381E-61AD-A73E-093899B7B1C0}"/>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4209376" y="2736535"/>
            <a:ext cx="267277" cy="267277"/>
          </a:xfrm>
          <a:prstGeom prst="rect">
            <a:avLst/>
          </a:prstGeom>
          <a:noFill/>
          <a:extLst>
            <a:ext uri="{909E8E84-426E-40DD-AFC4-6F175D3DCCD1}">
              <a14:hiddenFill xmlns:a14="http://schemas.microsoft.com/office/drawing/2010/main">
                <a:solidFill>
                  <a:srgbClr val="FFFFFF"/>
                </a:solidFill>
              </a14:hiddenFill>
            </a:ext>
          </a:extLst>
        </p:spPr>
      </p:pic>
      <p:pic>
        <p:nvPicPr>
          <p:cNvPr id="1447" name="Picture 2" descr="Webhook Icon SVG and PNG for Seamless Integrations">
            <a:extLst>
              <a:ext uri="{FF2B5EF4-FFF2-40B4-BE49-F238E27FC236}">
                <a16:creationId xmlns:a16="http://schemas.microsoft.com/office/drawing/2014/main" id="{4729B23E-0EB6-653B-20C6-BF6EF43E2723}"/>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4412913" y="4418729"/>
            <a:ext cx="267277" cy="267277"/>
          </a:xfrm>
          <a:prstGeom prst="rect">
            <a:avLst/>
          </a:prstGeom>
          <a:noFill/>
          <a:extLst>
            <a:ext uri="{909E8E84-426E-40DD-AFC4-6F175D3DCCD1}">
              <a14:hiddenFill xmlns:a14="http://schemas.microsoft.com/office/drawing/2010/main">
                <a:solidFill>
                  <a:srgbClr val="FFFFFF"/>
                </a:solidFill>
              </a14:hiddenFill>
            </a:ext>
          </a:extLst>
        </p:spPr>
      </p:pic>
      <p:cxnSp>
        <p:nvCxnSpPr>
          <p:cNvPr id="1451" name="Conector: angular 1450">
            <a:extLst>
              <a:ext uri="{FF2B5EF4-FFF2-40B4-BE49-F238E27FC236}">
                <a16:creationId xmlns:a16="http://schemas.microsoft.com/office/drawing/2014/main" id="{D4420CA8-2E63-5C4C-DF35-7F9181A1A2F9}"/>
              </a:ext>
            </a:extLst>
          </p:cNvPr>
          <p:cNvCxnSpPr>
            <a:cxnSpLocks/>
          </p:cNvCxnSpPr>
          <p:nvPr/>
        </p:nvCxnSpPr>
        <p:spPr>
          <a:xfrm rot="16200000" flipH="1">
            <a:off x="8071429" y="4472132"/>
            <a:ext cx="605732" cy="123105"/>
          </a:xfrm>
          <a:prstGeom prst="bentConnector3">
            <a:avLst>
              <a:gd name="adj1" fmla="val 99542"/>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1461" name="Conector: angular 1460">
            <a:extLst>
              <a:ext uri="{FF2B5EF4-FFF2-40B4-BE49-F238E27FC236}">
                <a16:creationId xmlns:a16="http://schemas.microsoft.com/office/drawing/2014/main" id="{6AC516F3-EE21-A22F-66FB-2C37BA0D9F33}"/>
              </a:ext>
            </a:extLst>
          </p:cNvPr>
          <p:cNvCxnSpPr>
            <a:cxnSpLocks/>
          </p:cNvCxnSpPr>
          <p:nvPr/>
        </p:nvCxnSpPr>
        <p:spPr>
          <a:xfrm rot="16200000" flipH="1">
            <a:off x="8361795" y="4318804"/>
            <a:ext cx="481292" cy="148149"/>
          </a:xfrm>
          <a:prstGeom prst="bentConnector3">
            <a:avLst>
              <a:gd name="adj1" fmla="val 9988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1462" name="Conector: angular 1461">
            <a:extLst>
              <a:ext uri="{FF2B5EF4-FFF2-40B4-BE49-F238E27FC236}">
                <a16:creationId xmlns:a16="http://schemas.microsoft.com/office/drawing/2014/main" id="{C2F87E8E-C5CA-B4DD-3AEE-950699F447D9}"/>
              </a:ext>
            </a:extLst>
          </p:cNvPr>
          <p:cNvCxnSpPr>
            <a:cxnSpLocks/>
          </p:cNvCxnSpPr>
          <p:nvPr/>
        </p:nvCxnSpPr>
        <p:spPr>
          <a:xfrm rot="16200000" flipH="1">
            <a:off x="8256748" y="4447827"/>
            <a:ext cx="420453" cy="115728"/>
          </a:xfrm>
          <a:prstGeom prst="bentConnector3">
            <a:avLst>
              <a:gd name="adj1" fmla="val 99962"/>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pic>
        <p:nvPicPr>
          <p:cNvPr id="1365" name="Picture 6" descr="icono de documentos de documentos, estilo de contorno 15265640 Vector ...">
            <a:extLst>
              <a:ext uri="{FF2B5EF4-FFF2-40B4-BE49-F238E27FC236}">
                <a16:creationId xmlns:a16="http://schemas.microsoft.com/office/drawing/2014/main" id="{D8F5AF0E-E6DC-285A-3E3A-236C1278F49F}"/>
              </a:ext>
            </a:extLst>
          </p:cNvPr>
          <p:cNvPicPr>
            <a:picLocks noChangeAspect="1" noChangeArrowheads="1"/>
          </p:cNvPicPr>
          <p:nvPr/>
        </p:nvPicPr>
        <p:blipFill rotWithShape="1">
          <a:blip r:embed="rId35">
            <a:extLst>
              <a:ext uri="{28A0092B-C50C-407E-A947-70E740481C1C}">
                <a14:useLocalDpi xmlns:a14="http://schemas.microsoft.com/office/drawing/2010/main" val="0"/>
              </a:ext>
            </a:extLst>
          </a:blip>
          <a:srcRect l="12217" t="4657" r="12593" b="5015"/>
          <a:stretch>
            <a:fillRect/>
          </a:stretch>
        </p:blipFill>
        <p:spPr bwMode="auto">
          <a:xfrm>
            <a:off x="8255108" y="3846229"/>
            <a:ext cx="346837" cy="449237"/>
          </a:xfrm>
          <a:prstGeom prst="rect">
            <a:avLst/>
          </a:prstGeom>
          <a:noFill/>
          <a:extLst>
            <a:ext uri="{909E8E84-426E-40DD-AFC4-6F175D3DCCD1}">
              <a14:hiddenFill xmlns:a14="http://schemas.microsoft.com/office/drawing/2010/main">
                <a:solidFill>
                  <a:srgbClr val="FFFFFF"/>
                </a:solidFill>
              </a14:hiddenFill>
            </a:ext>
          </a:extLst>
        </p:spPr>
      </p:pic>
      <p:cxnSp>
        <p:nvCxnSpPr>
          <p:cNvPr id="1480" name="Conector: angular 1479">
            <a:extLst>
              <a:ext uri="{FF2B5EF4-FFF2-40B4-BE49-F238E27FC236}">
                <a16:creationId xmlns:a16="http://schemas.microsoft.com/office/drawing/2014/main" id="{10B2B45E-E32C-D9B1-5CDC-90BA18F48DFC}"/>
              </a:ext>
            </a:extLst>
          </p:cNvPr>
          <p:cNvCxnSpPr>
            <a:cxnSpLocks/>
          </p:cNvCxnSpPr>
          <p:nvPr/>
        </p:nvCxnSpPr>
        <p:spPr>
          <a:xfrm rot="10800000" flipH="1">
            <a:off x="8332219" y="1972904"/>
            <a:ext cx="18262" cy="951648"/>
          </a:xfrm>
          <a:prstGeom prst="bentConnector4">
            <a:avLst>
              <a:gd name="adj1" fmla="val -721515"/>
              <a:gd name="adj2" fmla="val 100336"/>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1489" name="Conector: angular 1488">
            <a:extLst>
              <a:ext uri="{FF2B5EF4-FFF2-40B4-BE49-F238E27FC236}">
                <a16:creationId xmlns:a16="http://schemas.microsoft.com/office/drawing/2014/main" id="{DFA26E44-C927-7BCA-DD17-3E0074A9B49A}"/>
              </a:ext>
            </a:extLst>
          </p:cNvPr>
          <p:cNvCxnSpPr>
            <a:cxnSpLocks/>
          </p:cNvCxnSpPr>
          <p:nvPr/>
        </p:nvCxnSpPr>
        <p:spPr>
          <a:xfrm rot="10800000" flipH="1">
            <a:off x="8387309" y="1815424"/>
            <a:ext cx="18262" cy="951648"/>
          </a:xfrm>
          <a:prstGeom prst="bentConnector4">
            <a:avLst>
              <a:gd name="adj1" fmla="val -721515"/>
              <a:gd name="adj2" fmla="val 100336"/>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1490" name="Conector: angular 1489">
            <a:extLst>
              <a:ext uri="{FF2B5EF4-FFF2-40B4-BE49-F238E27FC236}">
                <a16:creationId xmlns:a16="http://schemas.microsoft.com/office/drawing/2014/main" id="{C9FD0F74-7D28-C861-BACC-D790FEE145E0}"/>
              </a:ext>
            </a:extLst>
          </p:cNvPr>
          <p:cNvCxnSpPr>
            <a:cxnSpLocks/>
          </p:cNvCxnSpPr>
          <p:nvPr/>
        </p:nvCxnSpPr>
        <p:spPr>
          <a:xfrm rot="5400000" flipH="1" flipV="1">
            <a:off x="7885781" y="2184403"/>
            <a:ext cx="1020651" cy="169529"/>
          </a:xfrm>
          <a:prstGeom prst="bentConnector3">
            <a:avLst>
              <a:gd name="adj1" fmla="val 10031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1433" name="Conector: angular 1432">
            <a:extLst>
              <a:ext uri="{FF2B5EF4-FFF2-40B4-BE49-F238E27FC236}">
                <a16:creationId xmlns:a16="http://schemas.microsoft.com/office/drawing/2014/main" id="{E173FA2E-62EF-015D-7278-E1E816D3F9A8}"/>
              </a:ext>
            </a:extLst>
          </p:cNvPr>
          <p:cNvCxnSpPr>
            <a:cxnSpLocks/>
            <a:stCxn id="1060" idx="3"/>
          </p:cNvCxnSpPr>
          <p:nvPr/>
        </p:nvCxnSpPr>
        <p:spPr>
          <a:xfrm flipV="1">
            <a:off x="7826694" y="2156314"/>
            <a:ext cx="534863" cy="563895"/>
          </a:xfrm>
          <a:prstGeom prst="bentConnector3">
            <a:avLst>
              <a:gd name="adj1" fmla="val 50000"/>
            </a:avLst>
          </a:prstGeom>
          <a:ln>
            <a:tailEnd type="triangle"/>
          </a:ln>
        </p:spPr>
        <p:style>
          <a:lnRef idx="2">
            <a:schemeClr val="dk1"/>
          </a:lnRef>
          <a:fillRef idx="0">
            <a:schemeClr val="dk1"/>
          </a:fillRef>
          <a:effectRef idx="1">
            <a:schemeClr val="dk1"/>
          </a:effectRef>
          <a:fontRef idx="minor">
            <a:schemeClr val="tx1"/>
          </a:fontRef>
        </p:style>
      </p:cxnSp>
      <p:pic>
        <p:nvPicPr>
          <p:cNvPr id="1479" name="Picture 6" descr="icono de documentos de documentos, estilo de contorno 15265640 Vector ...">
            <a:extLst>
              <a:ext uri="{FF2B5EF4-FFF2-40B4-BE49-F238E27FC236}">
                <a16:creationId xmlns:a16="http://schemas.microsoft.com/office/drawing/2014/main" id="{734D706D-D3E3-1A60-4659-4130128BF547}"/>
              </a:ext>
            </a:extLst>
          </p:cNvPr>
          <p:cNvPicPr>
            <a:picLocks noChangeAspect="1" noChangeArrowheads="1"/>
          </p:cNvPicPr>
          <p:nvPr/>
        </p:nvPicPr>
        <p:blipFill rotWithShape="1">
          <a:blip r:embed="rId35">
            <a:extLst>
              <a:ext uri="{28A0092B-C50C-407E-A947-70E740481C1C}">
                <a14:useLocalDpi xmlns:a14="http://schemas.microsoft.com/office/drawing/2010/main" val="0"/>
              </a:ext>
            </a:extLst>
          </a:blip>
          <a:srcRect l="12217" t="4657" r="12593" b="5015"/>
          <a:stretch>
            <a:fillRect/>
          </a:stretch>
        </p:blipFill>
        <p:spPr bwMode="auto">
          <a:xfrm>
            <a:off x="8301003" y="2706625"/>
            <a:ext cx="346837" cy="449237"/>
          </a:xfrm>
          <a:prstGeom prst="rect">
            <a:avLst/>
          </a:prstGeom>
          <a:noFill/>
          <a:extLst>
            <a:ext uri="{909E8E84-426E-40DD-AFC4-6F175D3DCCD1}">
              <a14:hiddenFill xmlns:a14="http://schemas.microsoft.com/office/drawing/2010/main">
                <a:solidFill>
                  <a:srgbClr val="FFFFFF"/>
                </a:solidFill>
              </a14:hiddenFill>
            </a:ext>
          </a:extLst>
        </p:spPr>
      </p:pic>
      <p:cxnSp>
        <p:nvCxnSpPr>
          <p:cNvPr id="1514" name="Conector: curvado 1513">
            <a:extLst>
              <a:ext uri="{FF2B5EF4-FFF2-40B4-BE49-F238E27FC236}">
                <a16:creationId xmlns:a16="http://schemas.microsoft.com/office/drawing/2014/main" id="{27763B2C-77C8-891C-79A8-EE2A3E7CC455}"/>
              </a:ext>
            </a:extLst>
          </p:cNvPr>
          <p:cNvCxnSpPr>
            <a:cxnSpLocks/>
          </p:cNvCxnSpPr>
          <p:nvPr/>
        </p:nvCxnSpPr>
        <p:spPr>
          <a:xfrm>
            <a:off x="10735863" y="2046041"/>
            <a:ext cx="421227" cy="1045201"/>
          </a:xfrm>
          <a:prstGeom prst="curvedConnector2">
            <a:avLst/>
          </a:prstGeom>
          <a:ln>
            <a:tailEnd type="triangle"/>
          </a:ln>
        </p:spPr>
        <p:style>
          <a:lnRef idx="2">
            <a:schemeClr val="dk1"/>
          </a:lnRef>
          <a:fillRef idx="0">
            <a:schemeClr val="dk1"/>
          </a:fillRef>
          <a:effectRef idx="1">
            <a:schemeClr val="dk1"/>
          </a:effectRef>
          <a:fontRef idx="minor">
            <a:schemeClr val="tx1"/>
          </a:fontRef>
        </p:style>
      </p:cxnSp>
      <p:sp>
        <p:nvSpPr>
          <p:cNvPr id="1258" name="Rectángulo: esquinas redondeadas 1257">
            <a:extLst>
              <a:ext uri="{FF2B5EF4-FFF2-40B4-BE49-F238E27FC236}">
                <a16:creationId xmlns:a16="http://schemas.microsoft.com/office/drawing/2014/main" id="{BC4CA2E5-E8F6-53E6-F659-C6302EBE6BB1}"/>
              </a:ext>
            </a:extLst>
          </p:cNvPr>
          <p:cNvSpPr/>
          <p:nvPr/>
        </p:nvSpPr>
        <p:spPr>
          <a:xfrm>
            <a:off x="4035259" y="3701316"/>
            <a:ext cx="3783840" cy="1508759"/>
          </a:xfrm>
          <a:prstGeom prst="roundRect">
            <a:avLst/>
          </a:prstGeom>
          <a:noFill/>
          <a:ln w="19050">
            <a:solidFill>
              <a:schemeClr val="tx2">
                <a:lumMod val="60000"/>
                <a:lumOff val="4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17" name="Rectángulo 1516">
            <a:extLst>
              <a:ext uri="{FF2B5EF4-FFF2-40B4-BE49-F238E27FC236}">
                <a16:creationId xmlns:a16="http://schemas.microsoft.com/office/drawing/2014/main" id="{3085E874-3BA9-DBE5-6605-8F82ED63FD45}"/>
              </a:ext>
            </a:extLst>
          </p:cNvPr>
          <p:cNvSpPr/>
          <p:nvPr/>
        </p:nvSpPr>
        <p:spPr>
          <a:xfrm>
            <a:off x="2287393" y="5858034"/>
            <a:ext cx="1414914" cy="281280"/>
          </a:xfrm>
          <a:prstGeom prst="rect">
            <a:avLst/>
          </a:prstGeom>
          <a:noFill/>
          <a:ln>
            <a:solidFill>
              <a:srgbClr val="C00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100" noProof="0">
                <a:solidFill>
                  <a:schemeClr val="tx1"/>
                </a:solidFill>
                <a:latin typeface="Calibri" panose="020F0502020204030204" pitchFamily="34" charset="0"/>
                <a:ea typeface="Calibri" panose="020F0502020204030204" pitchFamily="34" charset="0"/>
                <a:cs typeface="Calibri" panose="020F0502020204030204" pitchFamily="34" charset="0"/>
              </a:rPr>
              <a:t>CONSTRUCTION</a:t>
            </a:r>
          </a:p>
        </p:txBody>
      </p:sp>
      <p:sp>
        <p:nvSpPr>
          <p:cNvPr id="1518" name="Rectángulo 1517">
            <a:extLst>
              <a:ext uri="{FF2B5EF4-FFF2-40B4-BE49-F238E27FC236}">
                <a16:creationId xmlns:a16="http://schemas.microsoft.com/office/drawing/2014/main" id="{D4228B52-0CF6-8106-C285-B5CC89EC183F}"/>
              </a:ext>
            </a:extLst>
          </p:cNvPr>
          <p:cNvSpPr/>
          <p:nvPr/>
        </p:nvSpPr>
        <p:spPr>
          <a:xfrm>
            <a:off x="3855779" y="5858034"/>
            <a:ext cx="4019039" cy="281279"/>
          </a:xfrm>
          <a:prstGeom prst="rect">
            <a:avLst/>
          </a:prstGeom>
          <a:noFill/>
          <a:ln>
            <a:solidFill>
              <a:srgbClr val="C00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100" noProof="0">
                <a:solidFill>
                  <a:schemeClr val="tx1"/>
                </a:solidFill>
                <a:latin typeface="Calibri" panose="020F0502020204030204" pitchFamily="34" charset="0"/>
                <a:ea typeface="Calibri" panose="020F0502020204030204" pitchFamily="34" charset="0"/>
                <a:cs typeface="Calibri" panose="020F0502020204030204" pitchFamily="34" charset="0"/>
              </a:rPr>
              <a:t>WORKFLOW</a:t>
            </a:r>
            <a:endParaRPr lang="en-GB" noProof="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519" name="Rectángulo 1518">
            <a:extLst>
              <a:ext uri="{FF2B5EF4-FFF2-40B4-BE49-F238E27FC236}">
                <a16:creationId xmlns:a16="http://schemas.microsoft.com/office/drawing/2014/main" id="{75B20A7F-E319-ECF1-CD13-89017A341B0A}"/>
              </a:ext>
            </a:extLst>
          </p:cNvPr>
          <p:cNvSpPr/>
          <p:nvPr/>
        </p:nvSpPr>
        <p:spPr>
          <a:xfrm>
            <a:off x="8028290" y="5852044"/>
            <a:ext cx="2859020" cy="287269"/>
          </a:xfrm>
          <a:prstGeom prst="rect">
            <a:avLst/>
          </a:prstGeom>
          <a:noFill/>
          <a:ln>
            <a:solidFill>
              <a:srgbClr val="C00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100" noProof="0">
                <a:solidFill>
                  <a:schemeClr val="tx1"/>
                </a:solidFill>
                <a:latin typeface="Calibri" panose="020F0502020204030204" pitchFamily="34" charset="0"/>
                <a:ea typeface="Calibri" panose="020F0502020204030204" pitchFamily="34" charset="0"/>
                <a:cs typeface="Calibri" panose="020F0502020204030204" pitchFamily="34" charset="0"/>
              </a:rPr>
              <a:t>EXECUTION</a:t>
            </a:r>
            <a:endParaRPr lang="en-GB" noProof="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 name="Imagen 2">
            <a:extLst>
              <a:ext uri="{FF2B5EF4-FFF2-40B4-BE49-F238E27FC236}">
                <a16:creationId xmlns:a16="http://schemas.microsoft.com/office/drawing/2014/main" id="{C48B90EE-A72E-728C-F3DF-729F8D4EDF96}"/>
              </a:ext>
            </a:extLst>
          </p:cNvPr>
          <p:cNvPicPr>
            <a:picLocks noChangeAspect="1"/>
          </p:cNvPicPr>
          <p:nvPr/>
        </p:nvPicPr>
        <p:blipFill>
          <a:blip r:embed="rId36"/>
          <a:stretch>
            <a:fillRect/>
          </a:stretch>
        </p:blipFill>
        <p:spPr>
          <a:xfrm>
            <a:off x="10269298" y="1786438"/>
            <a:ext cx="485438" cy="574238"/>
          </a:xfrm>
          <a:prstGeom prst="rect">
            <a:avLst/>
          </a:prstGeom>
        </p:spPr>
      </p:pic>
      <p:pic>
        <p:nvPicPr>
          <p:cNvPr id="6" name="Imagen 5">
            <a:extLst>
              <a:ext uri="{FF2B5EF4-FFF2-40B4-BE49-F238E27FC236}">
                <a16:creationId xmlns:a16="http://schemas.microsoft.com/office/drawing/2014/main" id="{6B948534-2F6D-3C74-5031-C9BA953A183F}"/>
              </a:ext>
            </a:extLst>
          </p:cNvPr>
          <p:cNvPicPr>
            <a:picLocks noChangeAspect="1"/>
          </p:cNvPicPr>
          <p:nvPr/>
        </p:nvPicPr>
        <p:blipFill>
          <a:blip r:embed="rId37"/>
          <a:stretch>
            <a:fillRect/>
          </a:stretch>
        </p:blipFill>
        <p:spPr>
          <a:xfrm>
            <a:off x="10347185" y="4363507"/>
            <a:ext cx="369228" cy="412598"/>
          </a:xfrm>
          <a:prstGeom prst="rect">
            <a:avLst/>
          </a:prstGeom>
        </p:spPr>
      </p:pic>
      <p:pic>
        <p:nvPicPr>
          <p:cNvPr id="4" name="Picture 3">
            <a:extLst>
              <a:ext uri="{FF2B5EF4-FFF2-40B4-BE49-F238E27FC236}">
                <a16:creationId xmlns:a16="http://schemas.microsoft.com/office/drawing/2014/main" id="{75A9E53A-9D0C-45F1-02AA-06213822B4D0}"/>
              </a:ext>
            </a:extLst>
          </p:cNvPr>
          <p:cNvPicPr>
            <a:picLocks noChangeAspect="1"/>
          </p:cNvPicPr>
          <p:nvPr/>
        </p:nvPicPr>
        <p:blipFill>
          <a:blip r:embed="rId38"/>
          <a:stretch>
            <a:fillRect/>
          </a:stretch>
        </p:blipFill>
        <p:spPr>
          <a:xfrm>
            <a:off x="2934623" y="2138072"/>
            <a:ext cx="647070" cy="641023"/>
          </a:xfrm>
          <a:prstGeom prst="rect">
            <a:avLst/>
          </a:prstGeom>
        </p:spPr>
      </p:pic>
      <p:cxnSp>
        <p:nvCxnSpPr>
          <p:cNvPr id="8" name="Straight Arrow Connector 7">
            <a:extLst>
              <a:ext uri="{FF2B5EF4-FFF2-40B4-BE49-F238E27FC236}">
                <a16:creationId xmlns:a16="http://schemas.microsoft.com/office/drawing/2014/main" id="{0F2C01C5-9A7A-23F1-883C-F2C25AAC9BE3}"/>
              </a:ext>
            </a:extLst>
          </p:cNvPr>
          <p:cNvCxnSpPr/>
          <p:nvPr/>
        </p:nvCxnSpPr>
        <p:spPr>
          <a:xfrm>
            <a:off x="1580515" y="3573356"/>
            <a:ext cx="8856000" cy="0"/>
          </a:xfrm>
          <a:prstGeom prst="straightConnector1">
            <a:avLst/>
          </a:prstGeom>
          <a:ln w="254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3" name="CuadroTexto 1437">
            <a:extLst>
              <a:ext uri="{FF2B5EF4-FFF2-40B4-BE49-F238E27FC236}">
                <a16:creationId xmlns:a16="http://schemas.microsoft.com/office/drawing/2014/main" id="{D3714191-6A2B-A465-9646-F0BB5647170A}"/>
              </a:ext>
            </a:extLst>
          </p:cNvPr>
          <p:cNvSpPr txBox="1"/>
          <p:nvPr/>
        </p:nvSpPr>
        <p:spPr>
          <a:xfrm>
            <a:off x="2508500" y="1423616"/>
            <a:ext cx="1001781" cy="510778"/>
          </a:xfrm>
          <a:prstGeom prst="roundRect">
            <a:avLst/>
          </a:prstGeom>
          <a:noFill/>
          <a:ln w="9525">
            <a:solidFill>
              <a:schemeClr val="tx2"/>
            </a:solidFill>
          </a:ln>
          <a:effectLst>
            <a:outerShdw blurRad="50800" dist="38100" dir="2700000" algn="tl" rotWithShape="0">
              <a:prstClr val="black">
                <a:alpha val="40000"/>
              </a:prstClr>
            </a:outerShdw>
          </a:effectLst>
        </p:spPr>
        <p:txBody>
          <a:bodyPr wrap="square" rtlCol="0" anchor="ctr">
            <a:spAutoFit/>
          </a:bodyPr>
          <a:lstStyle/>
          <a:p>
            <a:pPr algn="ctr"/>
            <a:r>
              <a:rPr lang="en-GB" sz="800" noProof="0"/>
              <a:t>Manually</a:t>
            </a:r>
          </a:p>
          <a:p>
            <a:pPr algn="ctr"/>
            <a:r>
              <a:rPr lang="en-GB" sz="800" noProof="0"/>
              <a:t>Constructing via pull-and-drag</a:t>
            </a:r>
          </a:p>
        </p:txBody>
      </p:sp>
      <p:sp>
        <p:nvSpPr>
          <p:cNvPr id="16" name="CuadroTexto 1437">
            <a:extLst>
              <a:ext uri="{FF2B5EF4-FFF2-40B4-BE49-F238E27FC236}">
                <a16:creationId xmlns:a16="http://schemas.microsoft.com/office/drawing/2014/main" id="{1142CBFC-3BFD-0C8F-E021-3756C25E38A2}"/>
              </a:ext>
            </a:extLst>
          </p:cNvPr>
          <p:cNvSpPr txBox="1"/>
          <p:nvPr/>
        </p:nvSpPr>
        <p:spPr>
          <a:xfrm>
            <a:off x="2508500" y="3909705"/>
            <a:ext cx="1001781" cy="510778"/>
          </a:xfrm>
          <a:prstGeom prst="roundRect">
            <a:avLst/>
          </a:prstGeom>
          <a:noFill/>
          <a:ln w="9525">
            <a:solidFill>
              <a:schemeClr val="tx2"/>
            </a:solidFill>
          </a:ln>
          <a:effectLst>
            <a:outerShdw blurRad="50800" dist="38100" dir="2700000" algn="tl" rotWithShape="0">
              <a:prstClr val="black">
                <a:alpha val="40000"/>
              </a:prstClr>
            </a:outerShdw>
          </a:effectLst>
        </p:spPr>
        <p:txBody>
          <a:bodyPr wrap="square" rtlCol="0" anchor="ctr">
            <a:spAutoFit/>
          </a:bodyPr>
          <a:lstStyle/>
          <a:p>
            <a:pPr algn="ctr"/>
            <a:r>
              <a:rPr lang="en-GB" sz="800" noProof="0"/>
              <a:t>Automatically</a:t>
            </a:r>
          </a:p>
          <a:p>
            <a:pPr algn="ctr"/>
            <a:r>
              <a:rPr lang="en-GB" sz="800" noProof="0"/>
              <a:t>Orchestrating &amp; testing</a:t>
            </a:r>
          </a:p>
        </p:txBody>
      </p:sp>
      <p:pic>
        <p:nvPicPr>
          <p:cNvPr id="18" name="Picture 17">
            <a:extLst>
              <a:ext uri="{FF2B5EF4-FFF2-40B4-BE49-F238E27FC236}">
                <a16:creationId xmlns:a16="http://schemas.microsoft.com/office/drawing/2014/main" id="{70DA7343-9F6D-F3B1-DBD3-4CE5A5DA9C23}"/>
              </a:ext>
            </a:extLst>
          </p:cNvPr>
          <p:cNvPicPr>
            <a:picLocks noChangeAspect="1"/>
          </p:cNvPicPr>
          <p:nvPr/>
        </p:nvPicPr>
        <p:blipFill>
          <a:blip r:embed="rId39"/>
          <a:stretch>
            <a:fillRect/>
          </a:stretch>
        </p:blipFill>
        <p:spPr>
          <a:xfrm>
            <a:off x="2702530" y="4552945"/>
            <a:ext cx="821126" cy="736908"/>
          </a:xfrm>
          <a:prstGeom prst="rect">
            <a:avLst/>
          </a:prstGeom>
        </p:spPr>
      </p:pic>
      <p:pic>
        <p:nvPicPr>
          <p:cNvPr id="22" name="Imagen 2" descr="NTT Data - Red Seguridad">
            <a:extLst>
              <a:ext uri="{FF2B5EF4-FFF2-40B4-BE49-F238E27FC236}">
                <a16:creationId xmlns:a16="http://schemas.microsoft.com/office/drawing/2014/main" id="{C4C83FC1-1C62-FA29-B262-ED2ADB9B5FEB}"/>
              </a:ext>
            </a:extLst>
          </p:cNvPr>
          <p:cNvPicPr>
            <a:picLocks noChangeAspect="1"/>
          </p:cNvPicPr>
          <p:nvPr/>
        </p:nvPicPr>
        <p:blipFill>
          <a:blip r:embed="rId40"/>
          <a:stretch>
            <a:fillRect/>
          </a:stretch>
        </p:blipFill>
        <p:spPr>
          <a:xfrm>
            <a:off x="10881313" y="-202669"/>
            <a:ext cx="1166998" cy="847775"/>
          </a:xfrm>
          <a:prstGeom prst="rect">
            <a:avLst/>
          </a:prstGeom>
        </p:spPr>
      </p:pic>
      <p:pic>
        <p:nvPicPr>
          <p:cNvPr id="23" name="Picture 22">
            <a:extLst>
              <a:ext uri="{FF2B5EF4-FFF2-40B4-BE49-F238E27FC236}">
                <a16:creationId xmlns:a16="http://schemas.microsoft.com/office/drawing/2014/main" id="{CC5FBAB6-DB68-8751-1FBB-401F00F846B8}"/>
              </a:ext>
            </a:extLst>
          </p:cNvPr>
          <p:cNvPicPr>
            <a:picLocks noChangeAspect="1"/>
          </p:cNvPicPr>
          <p:nvPr/>
        </p:nvPicPr>
        <p:blipFill>
          <a:blip r:embed="rId41"/>
          <a:srcRect r="22480"/>
          <a:stretch>
            <a:fillRect/>
          </a:stretch>
        </p:blipFill>
        <p:spPr>
          <a:xfrm>
            <a:off x="9081410" y="32335"/>
            <a:ext cx="1610515" cy="388493"/>
          </a:xfrm>
          <a:prstGeom prst="rect">
            <a:avLst/>
          </a:prstGeom>
        </p:spPr>
      </p:pic>
      <p:pic>
        <p:nvPicPr>
          <p:cNvPr id="32" name="Imagem 9" descr="Ícone&#10;&#10;Descrição gerada automaticamente">
            <a:extLst>
              <a:ext uri="{FF2B5EF4-FFF2-40B4-BE49-F238E27FC236}">
                <a16:creationId xmlns:a16="http://schemas.microsoft.com/office/drawing/2014/main" id="{3F7E3392-7D7D-4512-E8B5-9D20F156C928}"/>
              </a:ext>
            </a:extLst>
          </p:cNvPr>
          <p:cNvPicPr>
            <a:picLocks noChangeAspect="1"/>
          </p:cNvPicPr>
          <p:nvPr/>
        </p:nvPicPr>
        <p:blipFill>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5011580" y="4452522"/>
            <a:ext cx="194815" cy="214796"/>
          </a:xfrm>
          <a:prstGeom prst="rect">
            <a:avLst/>
          </a:prstGeom>
        </p:spPr>
      </p:pic>
      <p:sp>
        <p:nvSpPr>
          <p:cNvPr id="33" name="Rectángulo: esquinas redondeadas 1258">
            <a:extLst>
              <a:ext uri="{FF2B5EF4-FFF2-40B4-BE49-F238E27FC236}">
                <a16:creationId xmlns:a16="http://schemas.microsoft.com/office/drawing/2014/main" id="{2EC91409-AE3A-91B5-0B48-9B851981128F}"/>
              </a:ext>
            </a:extLst>
          </p:cNvPr>
          <p:cNvSpPr/>
          <p:nvPr/>
        </p:nvSpPr>
        <p:spPr>
          <a:xfrm>
            <a:off x="6304993" y="3988593"/>
            <a:ext cx="346877" cy="331722"/>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34" name="Imagem 9" descr="Ícone&#10;&#10;Descrição gerada automaticamente">
            <a:extLst>
              <a:ext uri="{FF2B5EF4-FFF2-40B4-BE49-F238E27FC236}">
                <a16:creationId xmlns:a16="http://schemas.microsoft.com/office/drawing/2014/main" id="{7416F3C0-B2C7-456D-18A9-646E22B3EB95}"/>
              </a:ext>
            </a:extLst>
          </p:cNvPr>
          <p:cNvPicPr>
            <a:picLocks noChangeAspect="1"/>
          </p:cNvPicPr>
          <p:nvPr/>
        </p:nvPicPr>
        <p:blipFill>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6387900" y="4056919"/>
            <a:ext cx="194815" cy="214796"/>
          </a:xfrm>
          <a:prstGeom prst="rect">
            <a:avLst/>
          </a:prstGeom>
        </p:spPr>
      </p:pic>
      <p:sp>
        <p:nvSpPr>
          <p:cNvPr id="41" name="CuadroTexto 1437">
            <a:extLst>
              <a:ext uri="{FF2B5EF4-FFF2-40B4-BE49-F238E27FC236}">
                <a16:creationId xmlns:a16="http://schemas.microsoft.com/office/drawing/2014/main" id="{F4895EC7-BC0A-2ABC-179E-C86E2DF155D7}"/>
              </a:ext>
            </a:extLst>
          </p:cNvPr>
          <p:cNvSpPr txBox="1"/>
          <p:nvPr/>
        </p:nvSpPr>
        <p:spPr>
          <a:xfrm>
            <a:off x="8533621" y="1315828"/>
            <a:ext cx="1908000" cy="238363"/>
          </a:xfrm>
          <a:prstGeom prst="roundRect">
            <a:avLst/>
          </a:prstGeom>
          <a:noFill/>
          <a:ln w="9525">
            <a:solidFill>
              <a:schemeClr val="tx2"/>
            </a:solidFill>
          </a:ln>
          <a:effectLst>
            <a:outerShdw blurRad="50800" dist="38100" dir="2700000" algn="tl" rotWithShape="0">
              <a:prstClr val="black">
                <a:alpha val="40000"/>
              </a:prstClr>
            </a:outerShdw>
          </a:effectLst>
        </p:spPr>
        <p:txBody>
          <a:bodyPr wrap="square" rtlCol="0" anchor="ctr">
            <a:spAutoFit/>
          </a:bodyPr>
          <a:lstStyle/>
          <a:p>
            <a:pPr algn="ctr"/>
            <a:r>
              <a:rPr lang="en-GB" sz="800" b="1" noProof="0"/>
              <a:t>Can </a:t>
            </a:r>
            <a:r>
              <a:rPr lang="en-GB" sz="800" b="1" i="1" noProof="0">
                <a:solidFill>
                  <a:schemeClr val="bg1"/>
                </a:solidFill>
                <a:highlight>
                  <a:srgbClr val="808080"/>
                </a:highlight>
              </a:rPr>
              <a:t>only</a:t>
            </a:r>
            <a:r>
              <a:rPr lang="en-GB" sz="800" b="1" noProof="0"/>
              <a:t> handle rigid tasks</a:t>
            </a:r>
          </a:p>
        </p:txBody>
      </p:sp>
      <p:sp>
        <p:nvSpPr>
          <p:cNvPr id="43" name="CuadroTexto 1437">
            <a:extLst>
              <a:ext uri="{FF2B5EF4-FFF2-40B4-BE49-F238E27FC236}">
                <a16:creationId xmlns:a16="http://schemas.microsoft.com/office/drawing/2014/main" id="{11756724-012B-92BF-CF75-20A1D26BB6F7}"/>
              </a:ext>
            </a:extLst>
          </p:cNvPr>
          <p:cNvSpPr txBox="1"/>
          <p:nvPr/>
        </p:nvSpPr>
        <p:spPr>
          <a:xfrm>
            <a:off x="8550970" y="5484392"/>
            <a:ext cx="1908000" cy="238363"/>
          </a:xfrm>
          <a:prstGeom prst="roundRect">
            <a:avLst/>
          </a:prstGeom>
          <a:noFill/>
          <a:ln w="9525">
            <a:solidFill>
              <a:schemeClr val="tx2"/>
            </a:solidFill>
          </a:ln>
          <a:effectLst>
            <a:outerShdw blurRad="50800" dist="38100" dir="2700000" algn="tl" rotWithShape="0">
              <a:prstClr val="black">
                <a:alpha val="40000"/>
              </a:prstClr>
            </a:outerShdw>
          </a:effectLst>
        </p:spPr>
        <p:txBody>
          <a:bodyPr wrap="square" lIns="36000" rIns="36000" rtlCol="0" anchor="ctr">
            <a:spAutoFit/>
          </a:bodyPr>
          <a:lstStyle/>
          <a:p>
            <a:pPr algn="ctr"/>
            <a:r>
              <a:rPr lang="en-GB" sz="800" b="1" noProof="0"/>
              <a:t>Can handle </a:t>
            </a:r>
            <a:r>
              <a:rPr lang="en-GB" sz="800" b="1" i="1" noProof="0">
                <a:solidFill>
                  <a:schemeClr val="bg1"/>
                </a:solidFill>
                <a:highlight>
                  <a:srgbClr val="808080"/>
                </a:highlight>
              </a:rPr>
              <a:t>rigid</a:t>
            </a:r>
            <a:r>
              <a:rPr lang="en-GB" sz="800" b="1" noProof="0"/>
              <a:t> and </a:t>
            </a:r>
            <a:r>
              <a:rPr lang="en-GB" sz="800" b="1" i="1" noProof="0">
                <a:solidFill>
                  <a:schemeClr val="bg1"/>
                </a:solidFill>
                <a:highlight>
                  <a:srgbClr val="808080"/>
                </a:highlight>
              </a:rPr>
              <a:t>flexible</a:t>
            </a:r>
            <a:r>
              <a:rPr lang="en-GB" sz="800" b="1" noProof="0"/>
              <a:t> tasks</a:t>
            </a:r>
          </a:p>
        </p:txBody>
      </p:sp>
      <p:sp>
        <p:nvSpPr>
          <p:cNvPr id="44" name="CuadroTexto 1437">
            <a:extLst>
              <a:ext uri="{FF2B5EF4-FFF2-40B4-BE49-F238E27FC236}">
                <a16:creationId xmlns:a16="http://schemas.microsoft.com/office/drawing/2014/main" id="{E7A0C221-A0F8-C35E-06C0-F5EDB219B862}"/>
              </a:ext>
            </a:extLst>
          </p:cNvPr>
          <p:cNvSpPr txBox="1"/>
          <p:nvPr/>
        </p:nvSpPr>
        <p:spPr>
          <a:xfrm>
            <a:off x="2508500" y="5354559"/>
            <a:ext cx="1129069" cy="374571"/>
          </a:xfrm>
          <a:prstGeom prst="roundRect">
            <a:avLst/>
          </a:prstGeom>
          <a:noFill/>
          <a:ln w="9525">
            <a:solidFill>
              <a:schemeClr val="tx2"/>
            </a:solidFill>
          </a:ln>
          <a:effectLst>
            <a:outerShdw blurRad="50800" dist="38100" dir="2700000" algn="tl" rotWithShape="0">
              <a:prstClr val="black">
                <a:alpha val="40000"/>
              </a:prstClr>
            </a:outerShdw>
          </a:effectLst>
        </p:spPr>
        <p:txBody>
          <a:bodyPr wrap="square" lIns="0" rIns="0" rtlCol="0" anchor="ctr">
            <a:spAutoFit/>
          </a:bodyPr>
          <a:lstStyle/>
          <a:p>
            <a:pPr algn="ctr"/>
            <a:r>
              <a:rPr lang="en-GB" sz="800" b="1" noProof="0"/>
              <a:t>Agentic Workflow</a:t>
            </a:r>
          </a:p>
          <a:p>
            <a:pPr algn="ctr"/>
            <a:r>
              <a:rPr lang="en-GB" sz="800" b="1" noProof="0"/>
              <a:t>Description language</a:t>
            </a:r>
          </a:p>
        </p:txBody>
      </p:sp>
      <p:cxnSp>
        <p:nvCxnSpPr>
          <p:cNvPr id="45" name="Conector: curvado 1513">
            <a:extLst>
              <a:ext uri="{FF2B5EF4-FFF2-40B4-BE49-F238E27FC236}">
                <a16:creationId xmlns:a16="http://schemas.microsoft.com/office/drawing/2014/main" id="{D064C29B-EF1D-39EE-1F74-6FCA264CB7E8}"/>
              </a:ext>
            </a:extLst>
          </p:cNvPr>
          <p:cNvCxnSpPr>
            <a:cxnSpLocks/>
          </p:cNvCxnSpPr>
          <p:nvPr/>
        </p:nvCxnSpPr>
        <p:spPr>
          <a:xfrm rot="5400000" flipH="1" flipV="1">
            <a:off x="176523" y="2426657"/>
            <a:ext cx="1214614" cy="502159"/>
          </a:xfrm>
          <a:prstGeom prst="curvedConnector3">
            <a:avLst>
              <a:gd name="adj1" fmla="val 99618"/>
            </a:avLst>
          </a:prstGeom>
          <a:ln>
            <a:tailEnd type="triangle"/>
          </a:ln>
        </p:spPr>
        <p:style>
          <a:lnRef idx="2">
            <a:schemeClr val="dk1"/>
          </a:lnRef>
          <a:fillRef idx="0">
            <a:schemeClr val="dk1"/>
          </a:fillRef>
          <a:effectRef idx="1">
            <a:schemeClr val="dk1"/>
          </a:effectRef>
          <a:fontRef idx="minor">
            <a:schemeClr val="tx1"/>
          </a:fontRef>
        </p:style>
      </p:cxnSp>
      <p:cxnSp>
        <p:nvCxnSpPr>
          <p:cNvPr id="50" name="Conector: curvado 1430">
            <a:extLst>
              <a:ext uri="{FF2B5EF4-FFF2-40B4-BE49-F238E27FC236}">
                <a16:creationId xmlns:a16="http://schemas.microsoft.com/office/drawing/2014/main" id="{BDC16B61-6247-26C1-C8E8-512F13E6FB19}"/>
              </a:ext>
            </a:extLst>
          </p:cNvPr>
          <p:cNvCxnSpPr>
            <a:cxnSpLocks/>
          </p:cNvCxnSpPr>
          <p:nvPr/>
        </p:nvCxnSpPr>
        <p:spPr>
          <a:xfrm rot="16200000" flipH="1">
            <a:off x="-22570" y="4516244"/>
            <a:ext cx="1366064" cy="295960"/>
          </a:xfrm>
          <a:prstGeom prst="curvedConnector3">
            <a:avLst>
              <a:gd name="adj1" fmla="val 10096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11" name="Imagen 10">
            <a:extLst>
              <a:ext uri="{FF2B5EF4-FFF2-40B4-BE49-F238E27FC236}">
                <a16:creationId xmlns:a16="http://schemas.microsoft.com/office/drawing/2014/main" id="{C0E84AF2-2459-D33B-AD15-11A36A83E9DE}"/>
              </a:ext>
            </a:extLst>
          </p:cNvPr>
          <p:cNvPicPr>
            <a:picLocks noChangeAspect="1"/>
          </p:cNvPicPr>
          <p:nvPr/>
        </p:nvPicPr>
        <p:blipFill>
          <a:blip r:embed="rId42"/>
          <a:stretch>
            <a:fillRect/>
          </a:stretch>
        </p:blipFill>
        <p:spPr>
          <a:xfrm>
            <a:off x="8704162" y="2884871"/>
            <a:ext cx="537014" cy="650838"/>
          </a:xfrm>
          <a:prstGeom prst="rect">
            <a:avLst/>
          </a:prstGeom>
        </p:spPr>
      </p:pic>
      <p:cxnSp>
        <p:nvCxnSpPr>
          <p:cNvPr id="15" name="Conector recto de flecha 14">
            <a:extLst>
              <a:ext uri="{FF2B5EF4-FFF2-40B4-BE49-F238E27FC236}">
                <a16:creationId xmlns:a16="http://schemas.microsoft.com/office/drawing/2014/main" id="{C868EC98-7694-1417-71D0-CD894C6C396E}"/>
              </a:ext>
            </a:extLst>
          </p:cNvPr>
          <p:cNvCxnSpPr/>
          <p:nvPr/>
        </p:nvCxnSpPr>
        <p:spPr>
          <a:xfrm flipV="1">
            <a:off x="8982075" y="2594770"/>
            <a:ext cx="0" cy="294723"/>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2" name="Conector recto de flecha 1255">
            <a:extLst>
              <a:ext uri="{FF2B5EF4-FFF2-40B4-BE49-F238E27FC236}">
                <a16:creationId xmlns:a16="http://schemas.microsoft.com/office/drawing/2014/main" id="{060C3558-5DE3-6A68-EAF8-B356C7FE6E31}"/>
              </a:ext>
            </a:extLst>
          </p:cNvPr>
          <p:cNvCxnSpPr>
            <a:cxnSpLocks/>
          </p:cNvCxnSpPr>
          <p:nvPr/>
        </p:nvCxnSpPr>
        <p:spPr>
          <a:xfrm>
            <a:off x="6630106" y="4145165"/>
            <a:ext cx="284460"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9D00A6F6-CF78-3D14-4292-89557888F17D}"/>
              </a:ext>
            </a:extLst>
          </p:cNvPr>
          <p:cNvSpPr txBox="1"/>
          <p:nvPr/>
        </p:nvSpPr>
        <p:spPr>
          <a:xfrm rot="1149828">
            <a:off x="10766862" y="575933"/>
            <a:ext cx="1395901" cy="276999"/>
          </a:xfrm>
          <a:prstGeom prst="rect">
            <a:avLst/>
          </a:prstGeom>
          <a:solidFill>
            <a:srgbClr val="FFFF00"/>
          </a:solidFill>
        </p:spPr>
        <p:txBody>
          <a:bodyPr wrap="square">
            <a:spAutoFit/>
          </a:bodyPr>
          <a:lstStyle/>
          <a:p>
            <a:r>
              <a:rPr lang="es-ES" sz="1200" b="1" dirty="0"/>
              <a:t>WORKING DRAFT</a:t>
            </a:r>
          </a:p>
        </p:txBody>
      </p:sp>
    </p:spTree>
    <p:extLst>
      <p:ext uri="{BB962C8B-B14F-4D97-AF65-F5344CB8AC3E}">
        <p14:creationId xmlns:p14="http://schemas.microsoft.com/office/powerpoint/2010/main" val="27935344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C4EFD6-AC3C-5DE1-54EB-BDA315378FC2}"/>
            </a:ext>
          </a:extLst>
        </p:cNvPr>
        <p:cNvGrpSpPr/>
        <p:nvPr/>
      </p:nvGrpSpPr>
      <p:grpSpPr>
        <a:xfrm>
          <a:off x="0" y="0"/>
          <a:ext cx="0" cy="0"/>
          <a:chOff x="0" y="0"/>
          <a:chExt cx="0" cy="0"/>
        </a:xfrm>
      </p:grpSpPr>
      <p:sp>
        <p:nvSpPr>
          <p:cNvPr id="6" name="Título 1">
            <a:extLst>
              <a:ext uri="{FF2B5EF4-FFF2-40B4-BE49-F238E27FC236}">
                <a16:creationId xmlns:a16="http://schemas.microsoft.com/office/drawing/2014/main" id="{BC2FD026-F527-E217-C4FE-042A6716E3FA}"/>
              </a:ext>
            </a:extLst>
          </p:cNvPr>
          <p:cNvSpPr>
            <a:spLocks noGrp="1"/>
          </p:cNvSpPr>
          <p:nvPr>
            <p:ph type="ctrTitle"/>
          </p:nvPr>
        </p:nvSpPr>
        <p:spPr/>
        <p:txBody>
          <a:bodyPr/>
          <a:lstStyle/>
          <a:p>
            <a:r>
              <a:rPr lang="en-US" dirty="0"/>
              <a:t>SANART Use case</a:t>
            </a:r>
          </a:p>
        </p:txBody>
      </p:sp>
      <p:sp>
        <p:nvSpPr>
          <p:cNvPr id="7" name="Subtítulo 2">
            <a:extLst>
              <a:ext uri="{FF2B5EF4-FFF2-40B4-BE49-F238E27FC236}">
                <a16:creationId xmlns:a16="http://schemas.microsoft.com/office/drawing/2014/main" id="{3DFED97B-E939-BB35-34A1-3BCA63D14313}"/>
              </a:ext>
            </a:extLst>
          </p:cNvPr>
          <p:cNvSpPr>
            <a:spLocks noGrp="1"/>
          </p:cNvSpPr>
          <p:nvPr>
            <p:ph type="subTitle" idx="1"/>
          </p:nvPr>
        </p:nvSpPr>
        <p:spPr/>
        <p:txBody>
          <a:bodyPr/>
          <a:lstStyle/>
          <a:p>
            <a:r>
              <a:rPr lang="en-US" dirty="0"/>
              <a:t>Click here to insert </a:t>
            </a:r>
            <a:r>
              <a:rPr lang="en-US" dirty="0" err="1"/>
              <a:t>subheadline</a:t>
            </a:r>
            <a:endParaRPr lang="en-US" dirty="0"/>
          </a:p>
        </p:txBody>
      </p:sp>
      <p:pic>
        <p:nvPicPr>
          <p:cNvPr id="8" name="Marcador de posición de imagen 7">
            <a:extLst>
              <a:ext uri="{FF2B5EF4-FFF2-40B4-BE49-F238E27FC236}">
                <a16:creationId xmlns:a16="http://schemas.microsoft.com/office/drawing/2014/main" id="{9905AE16-8AEA-0076-499C-E2A07AC8BC72}"/>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27544" r="27544"/>
          <a:stretch/>
        </p:blipFill>
        <p:spPr/>
      </p:pic>
      <p:sp>
        <p:nvSpPr>
          <p:cNvPr id="14" name="Text Placeholder 13">
            <a:extLst>
              <a:ext uri="{FF2B5EF4-FFF2-40B4-BE49-F238E27FC236}">
                <a16:creationId xmlns:a16="http://schemas.microsoft.com/office/drawing/2014/main" id="{D4573457-F29C-DBF6-84A4-5CFCEC5B31D5}"/>
              </a:ext>
            </a:extLst>
          </p:cNvPr>
          <p:cNvSpPr>
            <a:spLocks noGrp="1"/>
          </p:cNvSpPr>
          <p:nvPr>
            <p:ph type="body" sz="quarter" idx="14"/>
          </p:nvPr>
        </p:nvSpPr>
        <p:spPr/>
        <p:txBody>
          <a:bodyPr/>
          <a:lstStyle/>
          <a:p>
            <a:r>
              <a:rPr lang="en-GB" dirty="0"/>
              <a:t>03/12/2025</a:t>
            </a:r>
          </a:p>
        </p:txBody>
      </p:sp>
      <p:sp>
        <p:nvSpPr>
          <p:cNvPr id="2" name="Text Placeholder 15">
            <a:extLst>
              <a:ext uri="{FF2B5EF4-FFF2-40B4-BE49-F238E27FC236}">
                <a16:creationId xmlns:a16="http://schemas.microsoft.com/office/drawing/2014/main" id="{EE170FA2-395B-C7E7-F3D9-0E7D39FF25DB}"/>
              </a:ext>
            </a:extLst>
          </p:cNvPr>
          <p:cNvSpPr>
            <a:spLocks noGrp="1"/>
          </p:cNvSpPr>
          <p:nvPr>
            <p:ph type="body" sz="quarter" idx="16"/>
          </p:nvPr>
        </p:nvSpPr>
        <p:spPr>
          <a:xfrm>
            <a:off x="10815678" y="89692"/>
            <a:ext cx="1285311" cy="281220"/>
          </a:xfrm>
        </p:spPr>
        <p:txBody>
          <a:bodyPr/>
          <a:lstStyle/>
          <a:p>
            <a:endParaRPr lang="en-GB" dirty="0"/>
          </a:p>
        </p:txBody>
      </p:sp>
    </p:spTree>
    <p:extLst>
      <p:ext uri="{BB962C8B-B14F-4D97-AF65-F5344CB8AC3E}">
        <p14:creationId xmlns:p14="http://schemas.microsoft.com/office/powerpoint/2010/main" val="24543906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7879BC-C51C-4197-813B-229007183083}"/>
            </a:ext>
          </a:extLst>
        </p:cNvPr>
        <p:cNvGrpSpPr/>
        <p:nvPr/>
      </p:nvGrpSpPr>
      <p:grpSpPr>
        <a:xfrm>
          <a:off x="0" y="0"/>
          <a:ext cx="0" cy="0"/>
          <a:chOff x="0" y="0"/>
          <a:chExt cx="0" cy="0"/>
        </a:xfrm>
      </p:grpSpPr>
      <p:sp>
        <p:nvSpPr>
          <p:cNvPr id="60" name="10 Rectángulo">
            <a:extLst>
              <a:ext uri="{FF2B5EF4-FFF2-40B4-BE49-F238E27FC236}">
                <a16:creationId xmlns:a16="http://schemas.microsoft.com/office/drawing/2014/main" id="{D18926CF-9E19-25DB-3414-138CB2C57AC8}"/>
              </a:ext>
            </a:extLst>
          </p:cNvPr>
          <p:cNvSpPr/>
          <p:nvPr/>
        </p:nvSpPr>
        <p:spPr>
          <a:xfrm>
            <a:off x="378364" y="5449854"/>
            <a:ext cx="11470166" cy="1162738"/>
          </a:xfrm>
          <a:prstGeom prst="rect">
            <a:avLst/>
          </a:prstGeom>
          <a:solidFill>
            <a:srgbClr val="F2F2F2"/>
          </a:solidFill>
          <a:ln w="9525" cap="flat" cmpd="sng" algn="ctr">
            <a:noFill/>
            <a:prstDash val="dash"/>
          </a:ln>
          <a:effectLst/>
        </p:spPr>
        <p:txBody>
          <a:bodyPr rtlCol="0" anchor="ctr"/>
          <a:lstStyle/>
          <a:p>
            <a:pPr marL="177796" marR="0" lvl="0" indent="-177796" algn="just" defTabSz="1219170" rtl="0" eaLnBrk="1" fontAlgn="auto" latinLnBrk="0" hangingPunct="1">
              <a:lnSpc>
                <a:spcPct val="100000"/>
              </a:lnSpc>
              <a:spcBef>
                <a:spcPts val="1200"/>
              </a:spcBef>
              <a:spcAft>
                <a:spcPts val="600"/>
              </a:spcAft>
              <a:buClr>
                <a:srgbClr val="6785C1"/>
              </a:buClr>
              <a:buSzPct val="100000"/>
              <a:buFont typeface="Wingdings" panose="05000000000000000000" pitchFamily="2" charset="2"/>
              <a:buChar char="ü"/>
              <a:tabLst/>
              <a:defRPr/>
            </a:pPr>
            <a:r>
              <a:rPr kumimoji="0" lang="en-GB" sz="1600" b="0" i="0" u="none" strike="noStrike" kern="1200" cap="none" spc="0" normalizeH="0" baseline="0" noProof="0">
                <a:ln>
                  <a:noFill/>
                </a:ln>
                <a:solidFill>
                  <a:prstClr val="black"/>
                </a:solidFill>
                <a:effectLst/>
                <a:uLnTx/>
                <a:uFillTx/>
                <a:latin typeface="Santander Text" panose="020B0504020201020104"/>
                <a:ea typeface="+mn-ea"/>
                <a:cs typeface="+mn-cs"/>
              </a:rPr>
              <a:t>Power Chatbot for Data, enabling functional queries on existing reports (KPIs, data calculations) with 30 million records.</a:t>
            </a:r>
          </a:p>
          <a:p>
            <a:pPr marL="177796" marR="0" lvl="0" indent="-177796" algn="just" defTabSz="1219170" rtl="0" eaLnBrk="1" fontAlgn="auto" latinLnBrk="0" hangingPunct="1">
              <a:lnSpc>
                <a:spcPct val="100000"/>
              </a:lnSpc>
              <a:spcBef>
                <a:spcPts val="1200"/>
              </a:spcBef>
              <a:spcAft>
                <a:spcPts val="600"/>
              </a:spcAft>
              <a:buClr>
                <a:srgbClr val="6785C1"/>
              </a:buClr>
              <a:buSzPct val="100000"/>
              <a:buFont typeface="Wingdings" panose="05000000000000000000" pitchFamily="2" charset="2"/>
              <a:buChar char="ü"/>
              <a:tabLst/>
              <a:defRPr/>
            </a:pPr>
            <a:r>
              <a:rPr kumimoji="0" lang="en-GB" sz="1600" b="0" i="0" u="none" strike="noStrike" kern="1200" cap="none" spc="0" normalizeH="0" baseline="0" noProof="0">
                <a:ln>
                  <a:noFill/>
                </a:ln>
                <a:solidFill>
                  <a:prstClr val="black"/>
                </a:solidFill>
                <a:effectLst/>
                <a:uLnTx/>
                <a:uFillTx/>
                <a:latin typeface="Santander Text" panose="020B0504020201020104"/>
                <a:ea typeface="+mn-ea"/>
                <a:cs typeface="+mn-cs"/>
              </a:rPr>
              <a:t>Data Quality Validation → Data Quality Agent</a:t>
            </a:r>
            <a:endParaRPr kumimoji="0" lang="en-GB" sz="1600" b="0" i="0" u="none" strike="noStrike" kern="1200" cap="none" spc="0" normalizeH="0" baseline="0" noProof="0">
              <a:ln>
                <a:noFill/>
              </a:ln>
              <a:solidFill>
                <a:srgbClr val="000000">
                  <a:lumMod val="75000"/>
                  <a:lumOff val="25000"/>
                </a:srgbClr>
              </a:solidFill>
              <a:effectLst/>
              <a:uLnTx/>
              <a:uFillTx/>
              <a:latin typeface="Santander Text" panose="020B0504020201020104"/>
              <a:ea typeface="+mn-ea"/>
              <a:cs typeface="Times New Roman" pitchFamily="18" charset="0"/>
            </a:endParaRPr>
          </a:p>
        </p:txBody>
      </p:sp>
      <p:sp>
        <p:nvSpPr>
          <p:cNvPr id="62" name="10 Rectángulo">
            <a:extLst>
              <a:ext uri="{FF2B5EF4-FFF2-40B4-BE49-F238E27FC236}">
                <a16:creationId xmlns:a16="http://schemas.microsoft.com/office/drawing/2014/main" id="{9F97B85E-1E1E-4969-D648-27BF5DDF8E53}"/>
              </a:ext>
            </a:extLst>
          </p:cNvPr>
          <p:cNvSpPr/>
          <p:nvPr/>
        </p:nvSpPr>
        <p:spPr>
          <a:xfrm>
            <a:off x="378365" y="5142115"/>
            <a:ext cx="11470166" cy="241705"/>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USE CASES</a:t>
            </a:r>
          </a:p>
        </p:txBody>
      </p:sp>
      <p:sp>
        <p:nvSpPr>
          <p:cNvPr id="69" name="10 Rectángulo">
            <a:extLst>
              <a:ext uri="{FF2B5EF4-FFF2-40B4-BE49-F238E27FC236}">
                <a16:creationId xmlns:a16="http://schemas.microsoft.com/office/drawing/2014/main" id="{A7EB9C94-0FB8-4FA7-90E5-354C0B6F854A}"/>
              </a:ext>
            </a:extLst>
          </p:cNvPr>
          <p:cNvSpPr/>
          <p:nvPr/>
        </p:nvSpPr>
        <p:spPr>
          <a:xfrm>
            <a:off x="4823460" y="1275134"/>
            <a:ext cx="6995478" cy="2516586"/>
          </a:xfrm>
          <a:prstGeom prst="rect">
            <a:avLst/>
          </a:prstGeom>
          <a:solidFill>
            <a:srgbClr val="F2F2F2"/>
          </a:solidFill>
          <a:ln w="9525" cap="flat" cmpd="sng" algn="ctr">
            <a:noFill/>
            <a:prstDash val="dash"/>
          </a:ln>
          <a:effectLst/>
        </p:spPr>
        <p:txBody>
          <a:bodyPr rtlCol="0" anchor="ctr"/>
          <a:lstStyle/>
          <a:p>
            <a:pPr marL="0" marR="0" lvl="2" indent="0" algn="just" defTabSz="1219170" rtl="0" eaLnBrk="1" fontAlgn="auto" latinLnBrk="0" hangingPunct="1">
              <a:lnSpc>
                <a:spcPct val="150000"/>
              </a:lnSpc>
              <a:spcBef>
                <a:spcPts val="400"/>
              </a:spcBef>
              <a:spcAft>
                <a:spcPts val="0"/>
              </a:spcAft>
              <a:buClr>
                <a:srgbClr val="6785C1"/>
              </a:buClr>
              <a:buSzPct val="100000"/>
              <a:buFontTx/>
              <a:buNone/>
              <a:tabLst/>
              <a:defRPr/>
            </a:pPr>
            <a:r>
              <a:rPr kumimoji="0" lang="en-GB" sz="1500" b="0" i="0" u="none" strike="noStrike" kern="1200" cap="none" spc="0" normalizeH="0" baseline="0" noProof="0">
                <a:ln>
                  <a:noFill/>
                </a:ln>
                <a:solidFill>
                  <a:prstClr val="black"/>
                </a:solidFill>
                <a:effectLst/>
                <a:uLnTx/>
                <a:uFillTx/>
                <a:latin typeface="Santander Text" panose="020B0504020201020104"/>
                <a:ea typeface="+mn-ea"/>
                <a:cs typeface="+mn-cs"/>
              </a:rPr>
              <a:t>SANART works with time series based on the daily information it receives from FMIS, which includes balances and profit &amp; loss statements (P&amp;L). This information is consumed by SANART, where it undergoes transformation and enrichment processes with its own data. From this processing, dashboards and analytical reports are generated, enabling detailed performance monitoring and supporting strategic decision-making.</a:t>
            </a:r>
          </a:p>
        </p:txBody>
      </p:sp>
      <p:sp>
        <p:nvSpPr>
          <p:cNvPr id="70" name="10 Rectángulo">
            <a:extLst>
              <a:ext uri="{FF2B5EF4-FFF2-40B4-BE49-F238E27FC236}">
                <a16:creationId xmlns:a16="http://schemas.microsoft.com/office/drawing/2014/main" id="{F687B9B4-CCEA-77BE-76E5-277DDD1A803B}"/>
              </a:ext>
            </a:extLst>
          </p:cNvPr>
          <p:cNvSpPr/>
          <p:nvPr/>
        </p:nvSpPr>
        <p:spPr>
          <a:xfrm>
            <a:off x="4823460" y="928860"/>
            <a:ext cx="6995478" cy="26904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SANART FUNCTIONING</a:t>
            </a:r>
          </a:p>
        </p:txBody>
      </p:sp>
      <p:grpSp>
        <p:nvGrpSpPr>
          <p:cNvPr id="6" name="Grupo 5">
            <a:extLst>
              <a:ext uri="{FF2B5EF4-FFF2-40B4-BE49-F238E27FC236}">
                <a16:creationId xmlns:a16="http://schemas.microsoft.com/office/drawing/2014/main" id="{1DC8E4FD-E163-9C41-2584-9CF73AE5E07E}"/>
              </a:ext>
            </a:extLst>
          </p:cNvPr>
          <p:cNvGrpSpPr/>
          <p:nvPr/>
        </p:nvGrpSpPr>
        <p:grpSpPr>
          <a:xfrm>
            <a:off x="391427" y="940756"/>
            <a:ext cx="4314064" cy="4124132"/>
            <a:chOff x="-2518851" y="1771325"/>
            <a:chExt cx="3533207" cy="699576"/>
          </a:xfrm>
          <a:solidFill>
            <a:srgbClr val="F2F2F2"/>
          </a:solidFill>
          <a:effectLst/>
        </p:grpSpPr>
        <p:sp>
          <p:nvSpPr>
            <p:cNvPr id="7" name="10 Rectángulo">
              <a:extLst>
                <a:ext uri="{FF2B5EF4-FFF2-40B4-BE49-F238E27FC236}">
                  <a16:creationId xmlns:a16="http://schemas.microsoft.com/office/drawing/2014/main" id="{68D668B5-8A83-3F8A-96FA-A13FF951FA33}"/>
                </a:ext>
              </a:extLst>
            </p:cNvPr>
            <p:cNvSpPr/>
            <p:nvPr/>
          </p:nvSpPr>
          <p:spPr>
            <a:xfrm>
              <a:off x="-2518851" y="1771325"/>
              <a:ext cx="3533207" cy="699576"/>
            </a:xfrm>
            <a:prstGeom prst="rect">
              <a:avLst/>
            </a:prstGeom>
            <a:grpFill/>
            <a:ln w="9525" cap="flat" cmpd="sng" algn="ctr">
              <a:noFill/>
              <a:prstDash val="dash"/>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FFFFFF">
                    <a:lumMod val="50000"/>
                  </a:srgbClr>
                </a:solidFill>
                <a:effectLst/>
                <a:uLnTx/>
                <a:uFillTx/>
                <a:latin typeface="Santander Text" panose="020B0504020201020104"/>
                <a:ea typeface="+mn-ea"/>
                <a:cs typeface="Arial" panose="020B0604020202020204" pitchFamily="34" charset="0"/>
              </a:endParaRPr>
            </a:p>
          </p:txBody>
        </p:sp>
        <p:sp>
          <p:nvSpPr>
            <p:cNvPr id="8" name="Rectangle 29">
              <a:extLst>
                <a:ext uri="{FF2B5EF4-FFF2-40B4-BE49-F238E27FC236}">
                  <a16:creationId xmlns:a16="http://schemas.microsoft.com/office/drawing/2014/main" id="{09192922-A180-11D9-F9A0-F75FDD704FAB}"/>
                </a:ext>
              </a:extLst>
            </p:cNvPr>
            <p:cNvSpPr/>
            <p:nvPr/>
          </p:nvSpPr>
          <p:spPr bwMode="auto">
            <a:xfrm>
              <a:off x="-2384221" y="1828045"/>
              <a:ext cx="873296" cy="587876"/>
            </a:xfrm>
            <a:prstGeom prst="rect">
              <a:avLst/>
            </a:prstGeom>
            <a:solidFill>
              <a:srgbClr val="C00000"/>
            </a:solidFill>
            <a:ln w="9525" cap="flat" cmpd="sng" algn="ctr">
              <a:noFill/>
              <a:prstDash val="dash"/>
            </a:ln>
            <a:effectLst>
              <a:outerShdw blurRad="50800" dist="38100" dir="2700000" algn="tl" rotWithShape="0">
                <a:prstClr val="black">
                  <a:alpha val="40000"/>
                </a:prstClr>
              </a:outerShdw>
            </a:effectLst>
          </p:spPr>
          <p:txBody>
            <a:bodyPr rtlCol="0" anchor="ctr"/>
            <a:lstStyle/>
            <a:p>
              <a:pPr marL="0" marR="0" lvl="0" indent="0" algn="ctr" defTabSz="1219170" rtl="0" eaLnBrk="1" fontAlgn="auto" latinLnBrk="0" hangingPunct="1">
                <a:lnSpc>
                  <a:spcPct val="110000"/>
                </a:lnSpc>
                <a:spcBef>
                  <a:spcPts val="600"/>
                </a:spcBef>
                <a:spcAft>
                  <a:spcPts val="0"/>
                </a:spcAft>
                <a:buClrTx/>
                <a:buSzTx/>
                <a:buFontTx/>
                <a:buNone/>
                <a:tabLst/>
                <a:defRPr/>
              </a:pPr>
              <a:r>
                <a:rPr kumimoji="0" lang="en-GB" sz="1600" b="1" i="0" u="none" strike="noStrike" kern="0" cap="none" spc="0" normalizeH="0" baseline="0" noProof="0">
                  <a:ln>
                    <a:noFill/>
                  </a:ln>
                  <a:solidFill>
                    <a:srgbClr val="FFFFFF"/>
                  </a:solidFill>
                  <a:effectLst/>
                  <a:uLnTx/>
                  <a:uFillTx/>
                  <a:latin typeface="Santander Text" panose="020B0504020201020104"/>
                  <a:ea typeface="+mn-ea"/>
                  <a:cs typeface="Arial" pitchFamily="34" charset="0"/>
                </a:rPr>
                <a:t>Data Sources</a:t>
              </a:r>
            </a:p>
          </p:txBody>
        </p:sp>
      </p:grpSp>
      <p:sp>
        <p:nvSpPr>
          <p:cNvPr id="26" name="Cheurón 60">
            <a:extLst>
              <a:ext uri="{FF2B5EF4-FFF2-40B4-BE49-F238E27FC236}">
                <a16:creationId xmlns:a16="http://schemas.microsoft.com/office/drawing/2014/main" id="{9E2AF5A7-EA44-68A4-A2F1-9638F9555042}"/>
              </a:ext>
            </a:extLst>
          </p:cNvPr>
          <p:cNvSpPr/>
          <p:nvPr/>
        </p:nvSpPr>
        <p:spPr>
          <a:xfrm>
            <a:off x="6501637" y="3989295"/>
            <a:ext cx="1960950" cy="756552"/>
          </a:xfrm>
          <a:prstGeom prst="chevron">
            <a:avLst/>
          </a:prstGeom>
          <a:solidFill>
            <a:srgbClr val="9B2D1F"/>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Transformation and Enrichment</a:t>
            </a:r>
          </a:p>
        </p:txBody>
      </p:sp>
      <p:sp>
        <p:nvSpPr>
          <p:cNvPr id="27" name="Cheurón 106">
            <a:extLst>
              <a:ext uri="{FF2B5EF4-FFF2-40B4-BE49-F238E27FC236}">
                <a16:creationId xmlns:a16="http://schemas.microsoft.com/office/drawing/2014/main" id="{05ABFB77-A2FE-346E-B5C3-EA4E36B54EFE}"/>
              </a:ext>
            </a:extLst>
          </p:cNvPr>
          <p:cNvSpPr/>
          <p:nvPr/>
        </p:nvSpPr>
        <p:spPr>
          <a:xfrm>
            <a:off x="9857989" y="3989295"/>
            <a:ext cx="1960950" cy="756552"/>
          </a:xfrm>
          <a:prstGeom prst="chevron">
            <a:avLst/>
          </a:prstGeom>
          <a:solidFill>
            <a:schemeClr val="accent1">
              <a:lumMod val="40000"/>
              <a:lumOff val="60000"/>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Decision-Making</a:t>
            </a:r>
          </a:p>
        </p:txBody>
      </p:sp>
      <p:sp>
        <p:nvSpPr>
          <p:cNvPr id="28" name="Cheurón 134">
            <a:extLst>
              <a:ext uri="{FF2B5EF4-FFF2-40B4-BE49-F238E27FC236}">
                <a16:creationId xmlns:a16="http://schemas.microsoft.com/office/drawing/2014/main" id="{1E18241F-E59C-7CF3-468F-8650D2A06238}"/>
              </a:ext>
            </a:extLst>
          </p:cNvPr>
          <p:cNvSpPr/>
          <p:nvPr/>
        </p:nvSpPr>
        <p:spPr>
          <a:xfrm>
            <a:off x="4823460" y="3991156"/>
            <a:ext cx="1960951" cy="741564"/>
          </a:xfrm>
          <a:prstGeom prst="chevron">
            <a:avLst/>
          </a:prstGeom>
          <a:solidFill>
            <a:schemeClr val="accent2">
              <a:lumMod val="75000"/>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Data reception</a:t>
            </a:r>
          </a:p>
        </p:txBody>
      </p:sp>
      <p:sp>
        <p:nvSpPr>
          <p:cNvPr id="30" name="Cheurón 60">
            <a:extLst>
              <a:ext uri="{FF2B5EF4-FFF2-40B4-BE49-F238E27FC236}">
                <a16:creationId xmlns:a16="http://schemas.microsoft.com/office/drawing/2014/main" id="{B9415257-B2A7-CF69-FCBF-8CD4A4B61748}"/>
              </a:ext>
            </a:extLst>
          </p:cNvPr>
          <p:cNvSpPr/>
          <p:nvPr/>
        </p:nvSpPr>
        <p:spPr>
          <a:xfrm>
            <a:off x="8179813" y="3989295"/>
            <a:ext cx="1960950" cy="756552"/>
          </a:xfrm>
          <a:prstGeom prst="chevron">
            <a:avLst/>
          </a:prstGeom>
          <a:solidFill>
            <a:schemeClr val="accent2">
              <a:lumMod val="60000"/>
              <a:lumOff val="40000"/>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Santander Text" panose="020B0504020201020104"/>
                <a:ea typeface="+mn-ea"/>
                <a:cs typeface="Arial" panose="020B0604020202020204" pitchFamily="34" charset="0"/>
              </a:rPr>
              <a:t>Publication and Visualization </a:t>
            </a:r>
          </a:p>
        </p:txBody>
      </p:sp>
      <p:pic>
        <p:nvPicPr>
          <p:cNvPr id="3" name="Imagen 2" descr="NTT Data - Red Seguridad">
            <a:extLst>
              <a:ext uri="{FF2B5EF4-FFF2-40B4-BE49-F238E27FC236}">
                <a16:creationId xmlns:a16="http://schemas.microsoft.com/office/drawing/2014/main" id="{35D87BE6-2EE0-AB7B-2881-B31F15253754}"/>
              </a:ext>
            </a:extLst>
          </p:cNvPr>
          <p:cNvPicPr>
            <a:picLocks noChangeAspect="1"/>
          </p:cNvPicPr>
          <p:nvPr/>
        </p:nvPicPr>
        <p:blipFill>
          <a:blip r:embed="rId3"/>
          <a:stretch>
            <a:fillRect/>
          </a:stretch>
        </p:blipFill>
        <p:spPr>
          <a:xfrm>
            <a:off x="10881313" y="-202669"/>
            <a:ext cx="1166998" cy="847775"/>
          </a:xfrm>
          <a:prstGeom prst="rect">
            <a:avLst/>
          </a:prstGeom>
        </p:spPr>
      </p:pic>
      <p:pic>
        <p:nvPicPr>
          <p:cNvPr id="4" name="Picture 3">
            <a:extLst>
              <a:ext uri="{FF2B5EF4-FFF2-40B4-BE49-F238E27FC236}">
                <a16:creationId xmlns:a16="http://schemas.microsoft.com/office/drawing/2014/main" id="{07B651DA-D3B3-0C76-FE61-68D4D5190BC2}"/>
              </a:ext>
            </a:extLst>
          </p:cNvPr>
          <p:cNvPicPr>
            <a:picLocks noChangeAspect="1"/>
          </p:cNvPicPr>
          <p:nvPr/>
        </p:nvPicPr>
        <p:blipFill>
          <a:blip r:embed="rId4"/>
          <a:srcRect r="22480"/>
          <a:stretch>
            <a:fillRect/>
          </a:stretch>
        </p:blipFill>
        <p:spPr>
          <a:xfrm>
            <a:off x="9081410" y="32335"/>
            <a:ext cx="1610515" cy="388493"/>
          </a:xfrm>
          <a:prstGeom prst="rect">
            <a:avLst/>
          </a:prstGeom>
        </p:spPr>
      </p:pic>
      <p:sp>
        <p:nvSpPr>
          <p:cNvPr id="5" name="Text Placeholder 3">
            <a:extLst>
              <a:ext uri="{FF2B5EF4-FFF2-40B4-BE49-F238E27FC236}">
                <a16:creationId xmlns:a16="http://schemas.microsoft.com/office/drawing/2014/main" id="{47B399E2-6C77-7B0D-E11C-550B5335F1EE}"/>
              </a:ext>
            </a:extLst>
          </p:cNvPr>
          <p:cNvSpPr txBox="1">
            <a:spLocks/>
          </p:cNvSpPr>
          <p:nvPr/>
        </p:nvSpPr>
        <p:spPr>
          <a:xfrm>
            <a:off x="354840" y="201563"/>
            <a:ext cx="842025" cy="276999"/>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000" b="0" i="0" u="none" strike="noStrike" kern="1200" cap="none" spc="0" normalizeH="0" baseline="0" noProof="0">
                <a:ln>
                  <a:noFill/>
                </a:ln>
                <a:solidFill>
                  <a:srgbClr val="F14949"/>
                </a:solidFill>
                <a:effectLst/>
                <a:uLnTx/>
                <a:uFillTx/>
                <a:latin typeface="Santander Headline" panose="020B0504020201020104"/>
                <a:ea typeface="+mn-ea"/>
                <a:cs typeface="+mn-cs"/>
              </a:rPr>
              <a:t>SANART</a:t>
            </a:r>
          </a:p>
        </p:txBody>
      </p:sp>
      <p:sp>
        <p:nvSpPr>
          <p:cNvPr id="2" name="Rectangle 31">
            <a:extLst>
              <a:ext uri="{FF2B5EF4-FFF2-40B4-BE49-F238E27FC236}">
                <a16:creationId xmlns:a16="http://schemas.microsoft.com/office/drawing/2014/main" id="{D35082B2-8E30-836B-73E5-F269FF53C539}"/>
              </a:ext>
            </a:extLst>
          </p:cNvPr>
          <p:cNvSpPr/>
          <p:nvPr/>
        </p:nvSpPr>
        <p:spPr bwMode="auto">
          <a:xfrm>
            <a:off x="1622111" y="863528"/>
            <a:ext cx="2995609" cy="4124132"/>
          </a:xfrm>
          <a:prstGeom prst="rect">
            <a:avLst/>
          </a:prstGeom>
          <a:no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285750" marR="0" lvl="0" indent="-285750" algn="just" defTabSz="914400" rtl="0" eaLnBrk="1" fontAlgn="base" latinLnBrk="0" hangingPunct="1">
              <a:lnSpc>
                <a:spcPct val="15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prstClr val="black"/>
                </a:solidFill>
                <a:effectLst/>
                <a:uLnTx/>
                <a:uFillTx/>
                <a:latin typeface="Santander Text" panose="020B0504020201020104"/>
                <a:ea typeface="+mn-ea"/>
                <a:cs typeface="+mn-cs"/>
              </a:rPr>
              <a:t>FMIS</a:t>
            </a:r>
            <a:r>
              <a:rPr kumimoji="0" lang="en-GB" sz="1600" b="0" i="0" u="none" strike="noStrike" kern="1200" cap="none" spc="0" normalizeH="0" baseline="0" noProof="0">
                <a:ln>
                  <a:noFill/>
                </a:ln>
                <a:solidFill>
                  <a:prstClr val="black"/>
                </a:solidFill>
                <a:effectLst/>
                <a:uLnTx/>
                <a:uFillTx/>
                <a:latin typeface="Santander Text" panose="020B0504020201020104"/>
                <a:ea typeface="+mn-ea"/>
                <a:cs typeface="+mn-cs"/>
              </a:rPr>
              <a:t>: Balance and P&amp;L</a:t>
            </a:r>
          </a:p>
          <a:p>
            <a:pPr marL="285750" marR="0" lvl="0" indent="-285750" algn="just" defTabSz="914400" rtl="0" eaLnBrk="1" fontAlgn="base" latinLnBrk="0" hangingPunct="1">
              <a:lnSpc>
                <a:spcPct val="15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prstClr val="black"/>
                </a:solidFill>
                <a:effectLst/>
                <a:uLnTx/>
                <a:uFillTx/>
                <a:latin typeface="Santander Text" panose="020B0504020201020104"/>
                <a:ea typeface="+mn-ea"/>
                <a:cs typeface="+mn-cs"/>
              </a:rPr>
              <a:t>Capital</a:t>
            </a:r>
            <a:r>
              <a:rPr kumimoji="0" lang="en-GB" sz="1600" b="0" i="0" u="none" strike="noStrike" kern="1200" cap="none" spc="0" normalizeH="0" baseline="0" noProof="0">
                <a:ln>
                  <a:noFill/>
                </a:ln>
                <a:solidFill>
                  <a:prstClr val="black"/>
                </a:solidFill>
                <a:effectLst/>
                <a:uLnTx/>
                <a:uFillTx/>
                <a:latin typeface="Santander Text" panose="020B0504020201020104"/>
                <a:ea typeface="+mn-ea"/>
                <a:cs typeface="+mn-cs"/>
              </a:rPr>
              <a:t>: Monthly closing</a:t>
            </a:r>
          </a:p>
          <a:p>
            <a:pPr marL="285750" marR="0" lvl="0" indent="-285750" algn="just" defTabSz="914400" rtl="0" eaLnBrk="1" fontAlgn="base" latinLnBrk="0" hangingPunct="1">
              <a:lnSpc>
                <a:spcPct val="15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prstClr val="black"/>
                </a:solidFill>
                <a:effectLst/>
                <a:uLnTx/>
                <a:uFillTx/>
                <a:latin typeface="Santander Text" panose="020B0504020201020104"/>
                <a:ea typeface="+mn-ea"/>
                <a:cs typeface="+mn-cs"/>
              </a:rPr>
              <a:t>BDH</a:t>
            </a:r>
            <a:r>
              <a:rPr kumimoji="0" lang="en-GB" sz="1600" b="0" i="0" u="none" strike="noStrike" kern="1200" cap="none" spc="0" normalizeH="0" baseline="0" noProof="0">
                <a:ln>
                  <a:noFill/>
                </a:ln>
                <a:solidFill>
                  <a:prstClr val="black"/>
                </a:solidFill>
                <a:effectLst/>
                <a:uLnTx/>
                <a:uFillTx/>
                <a:latin typeface="Santander Text" panose="020B0504020201020104"/>
                <a:ea typeface="+mn-ea"/>
                <a:cs typeface="+mn-cs"/>
              </a:rPr>
              <a:t>: Amortization schedule, different types of FIS, counterparties</a:t>
            </a:r>
          </a:p>
          <a:p>
            <a:pPr marL="285750" marR="0" lvl="0" indent="-285750" algn="just" defTabSz="914400" rtl="0" eaLnBrk="1" fontAlgn="base" latinLnBrk="0" hangingPunct="1">
              <a:lnSpc>
                <a:spcPct val="15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prstClr val="black"/>
                </a:solidFill>
                <a:effectLst/>
                <a:uLnTx/>
                <a:uFillTx/>
                <a:latin typeface="Santander Text" panose="020B0504020201020104"/>
                <a:ea typeface="+mn-ea"/>
                <a:cs typeface="+mn-cs"/>
              </a:rPr>
              <a:t>STRATUS</a:t>
            </a:r>
            <a:r>
              <a:rPr kumimoji="0" lang="en-GB" sz="1600" b="0" i="0" u="none" strike="noStrike" kern="1200" cap="none" spc="0" normalizeH="0" baseline="0" noProof="0">
                <a:ln>
                  <a:noFill/>
                </a:ln>
                <a:solidFill>
                  <a:prstClr val="black"/>
                </a:solidFill>
                <a:effectLst/>
                <a:uLnTx/>
                <a:uFillTx/>
                <a:latin typeface="Santander Text" panose="020B0504020201020104"/>
                <a:ea typeface="+mn-ea"/>
                <a:cs typeface="+mn-cs"/>
              </a:rPr>
              <a:t>: Clients</a:t>
            </a:r>
          </a:p>
          <a:p>
            <a:pPr marL="285750" marR="0" lvl="0" indent="-285750" algn="just" defTabSz="914400" rtl="0" eaLnBrk="1" fontAlgn="base" latinLnBrk="0" hangingPunct="1">
              <a:lnSpc>
                <a:spcPct val="15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prstClr val="black"/>
                </a:solidFill>
                <a:effectLst/>
                <a:uLnTx/>
                <a:uFillTx/>
                <a:latin typeface="Santander Text" panose="020B0504020201020104"/>
                <a:ea typeface="+mn-ea"/>
                <a:cs typeface="+mn-cs"/>
              </a:rPr>
              <a:t>Aqua+:</a:t>
            </a:r>
            <a:r>
              <a:rPr kumimoji="0" lang="en-GB" sz="1600" b="0" i="0" u="none" strike="noStrike" kern="1200" cap="none" spc="0" normalizeH="0" baseline="0" noProof="0">
                <a:ln>
                  <a:noFill/>
                </a:ln>
                <a:solidFill>
                  <a:prstClr val="black"/>
                </a:solidFill>
                <a:effectLst/>
                <a:uLnTx/>
                <a:uFillTx/>
                <a:latin typeface="Santander Text" panose="020B0504020201020104"/>
                <a:ea typeface="+mn-ea"/>
                <a:cs typeface="+mn-cs"/>
              </a:rPr>
              <a:t> Ratings</a:t>
            </a:r>
          </a:p>
          <a:p>
            <a:pPr marL="285750" marR="0" lvl="0" indent="-285750" algn="just" defTabSz="914400" rtl="0" eaLnBrk="1" fontAlgn="base" latinLnBrk="0" hangingPunct="1">
              <a:lnSpc>
                <a:spcPct val="15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prstClr val="black"/>
                </a:solidFill>
                <a:effectLst/>
                <a:uLnTx/>
                <a:uFillTx/>
                <a:latin typeface="Santander Text" panose="020B0504020201020104"/>
                <a:ea typeface="+mn-ea"/>
                <a:cs typeface="+mn-cs"/>
              </a:rPr>
              <a:t>Files</a:t>
            </a:r>
            <a:r>
              <a:rPr kumimoji="0" lang="en-GB" sz="1600" b="0" i="0" u="none" strike="noStrike" kern="1200" cap="none" spc="0" normalizeH="0" baseline="0" noProof="0">
                <a:ln>
                  <a:noFill/>
                </a:ln>
                <a:solidFill>
                  <a:prstClr val="black"/>
                </a:solidFill>
                <a:effectLst/>
                <a:uLnTx/>
                <a:uFillTx/>
                <a:latin typeface="Santander Text" panose="020B0504020201020104"/>
                <a:ea typeface="+mn-ea"/>
                <a:cs typeface="+mn-cs"/>
              </a:rPr>
              <a:t> from various teams for metric calculations (manual upload)</a:t>
            </a:r>
          </a:p>
        </p:txBody>
      </p:sp>
    </p:spTree>
    <p:extLst>
      <p:ext uri="{BB962C8B-B14F-4D97-AF65-F5344CB8AC3E}">
        <p14:creationId xmlns:p14="http://schemas.microsoft.com/office/powerpoint/2010/main" val="11665286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5CA2B-E8C1-FA37-2C38-B235FD8A0CC7}"/>
            </a:ext>
          </a:extLst>
        </p:cNvPr>
        <p:cNvGrpSpPr/>
        <p:nvPr/>
      </p:nvGrpSpPr>
      <p:grpSpPr>
        <a:xfrm>
          <a:off x="0" y="0"/>
          <a:ext cx="0" cy="0"/>
          <a:chOff x="0" y="0"/>
          <a:chExt cx="0" cy="0"/>
        </a:xfrm>
      </p:grpSpPr>
      <p:sp>
        <p:nvSpPr>
          <p:cNvPr id="4" name="CuadroTexto 11">
            <a:extLst>
              <a:ext uri="{FF2B5EF4-FFF2-40B4-BE49-F238E27FC236}">
                <a16:creationId xmlns:a16="http://schemas.microsoft.com/office/drawing/2014/main" id="{DCADDD61-644D-FCCA-4D85-6705BD638B61}"/>
              </a:ext>
            </a:extLst>
          </p:cNvPr>
          <p:cNvSpPr txBox="1"/>
          <p:nvPr/>
        </p:nvSpPr>
        <p:spPr>
          <a:xfrm>
            <a:off x="520289" y="1137712"/>
            <a:ext cx="4657966" cy="2354660"/>
          </a:xfrm>
          <a:prstGeom prst="rect">
            <a:avLst/>
          </a:prstGeom>
          <a:solidFill>
            <a:srgbClr val="F2F2F2"/>
          </a:solidFill>
          <a:ln w="9525" cap="flat" cmpd="sng" algn="ctr">
            <a:noFill/>
            <a:prstDash val="dash"/>
          </a:ln>
          <a:effectLst/>
        </p:spPr>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A system is required that allows:</a:t>
            </a:r>
          </a:p>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Using natural language to express requirements and receive feedback and questions until all necessary data for the query is obtained.</a:t>
            </a:r>
          </a:p>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Performing complex queries autonomously on information stored in FMIS and SANART, in a deep and cohesive manner.</a:t>
            </a:r>
          </a:p>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Receiving responses with enriched elements such as charts, tables, or specific formats.</a:t>
            </a:r>
          </a:p>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Generating detailed reports of the queries in a document format.</a:t>
            </a:r>
            <a:r>
              <a:rPr kumimoji="0" lang="en-GB" sz="1100" b="0" i="0" u="none" strike="noStrike" kern="0" cap="none" spc="0" normalizeH="0" baseline="0" noProof="0">
                <a:ln>
                  <a:noFill/>
                </a:ln>
                <a:solidFill>
                  <a:prstClr val="black"/>
                </a:solidFill>
                <a:effectLst/>
                <a:uLnTx/>
                <a:uFillTx/>
                <a:latin typeface="Santander Text" panose="020B0504020201020104"/>
                <a:ea typeface="+mn-ea"/>
                <a:cs typeface="+mn-cs"/>
              </a:rPr>
              <a:t> </a:t>
            </a:r>
          </a:p>
        </p:txBody>
      </p:sp>
      <p:sp>
        <p:nvSpPr>
          <p:cNvPr id="5" name="Rectángulo 7">
            <a:extLst>
              <a:ext uri="{FF2B5EF4-FFF2-40B4-BE49-F238E27FC236}">
                <a16:creationId xmlns:a16="http://schemas.microsoft.com/office/drawing/2014/main" id="{E57FF6CC-CBF3-1380-E1F2-305511DBA97E}"/>
              </a:ext>
            </a:extLst>
          </p:cNvPr>
          <p:cNvSpPr/>
          <p:nvPr/>
        </p:nvSpPr>
        <p:spPr>
          <a:xfrm>
            <a:off x="520289" y="843754"/>
            <a:ext cx="4657966" cy="216156"/>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BUSINESS NEEDS</a:t>
            </a:r>
          </a:p>
        </p:txBody>
      </p:sp>
      <p:sp>
        <p:nvSpPr>
          <p:cNvPr id="6" name="CuadroTexto 11">
            <a:extLst>
              <a:ext uri="{FF2B5EF4-FFF2-40B4-BE49-F238E27FC236}">
                <a16:creationId xmlns:a16="http://schemas.microsoft.com/office/drawing/2014/main" id="{FB879CDE-EC35-44AB-1466-974AB370AA9F}"/>
              </a:ext>
            </a:extLst>
          </p:cNvPr>
          <p:cNvSpPr txBox="1"/>
          <p:nvPr/>
        </p:nvSpPr>
        <p:spPr>
          <a:xfrm>
            <a:off x="520289" y="4070350"/>
            <a:ext cx="4657966" cy="2320924"/>
          </a:xfrm>
          <a:prstGeom prst="rect">
            <a:avLst/>
          </a:prstGeom>
          <a:solidFill>
            <a:srgbClr val="F2F2F2"/>
          </a:solidFill>
          <a:ln w="9525" cap="flat" cmpd="sng" algn="ctr">
            <a:noFill/>
            <a:prstDash val="dash"/>
          </a:ln>
          <a:effectLst/>
        </p:spPr>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0" fontAlgn="base" latinLnBrk="0" hangingPunct="0">
              <a:lnSpc>
                <a:spcPct val="150000"/>
              </a:lnSpc>
              <a:spcBef>
                <a:spcPct val="0"/>
              </a:spcBef>
              <a:spcAft>
                <a:spcPct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Agent-based intelligent system that:</a:t>
            </a:r>
          </a:p>
          <a:p>
            <a:pPr marL="171450" marR="0" lvl="0" indent="-1714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System that autonomously remediates FMIS inputs under general conditions.</a:t>
            </a:r>
          </a:p>
          <a:p>
            <a:pPr marL="171450" marR="0" lvl="0" indent="-1714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Drastic reduction in user interaction: only required in high-risk situations or when complex solutions are needed.</a:t>
            </a:r>
          </a:p>
          <a:p>
            <a:pPr marL="180975" marR="0" lvl="0" indent="-180975"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Interprets requests in natural language.</a:t>
            </a:r>
          </a:p>
          <a:p>
            <a:pPr marL="180975" marR="0" lvl="0" indent="-180975"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Automatically queries data in FMIS/SANART.</a:t>
            </a:r>
          </a:p>
          <a:p>
            <a:pPr marL="180975" marR="0" lvl="0" indent="-180975"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Correlates results to generate responses or reports</a:t>
            </a:r>
          </a:p>
        </p:txBody>
      </p:sp>
      <p:sp>
        <p:nvSpPr>
          <p:cNvPr id="7" name="Rectángulo 7">
            <a:extLst>
              <a:ext uri="{FF2B5EF4-FFF2-40B4-BE49-F238E27FC236}">
                <a16:creationId xmlns:a16="http://schemas.microsoft.com/office/drawing/2014/main" id="{807D0DCE-BA0F-EDDE-009A-9F09D9A03EF2}"/>
              </a:ext>
            </a:extLst>
          </p:cNvPr>
          <p:cNvSpPr/>
          <p:nvPr/>
        </p:nvSpPr>
        <p:spPr>
          <a:xfrm>
            <a:off x="520289" y="3772932"/>
            <a:ext cx="4657966" cy="216156"/>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RESULTS</a:t>
            </a:r>
          </a:p>
        </p:txBody>
      </p:sp>
      <p:sp>
        <p:nvSpPr>
          <p:cNvPr id="8" name="CuadroTexto 11">
            <a:extLst>
              <a:ext uri="{FF2B5EF4-FFF2-40B4-BE49-F238E27FC236}">
                <a16:creationId xmlns:a16="http://schemas.microsoft.com/office/drawing/2014/main" id="{D8BE88D5-F31D-32FA-9B27-08D36FA7D9EC}"/>
              </a:ext>
            </a:extLst>
          </p:cNvPr>
          <p:cNvSpPr txBox="1"/>
          <p:nvPr/>
        </p:nvSpPr>
        <p:spPr>
          <a:xfrm>
            <a:off x="5391148" y="1137712"/>
            <a:ext cx="6296025" cy="5253561"/>
          </a:xfrm>
          <a:prstGeom prst="rect">
            <a:avLst/>
          </a:prstGeom>
          <a:solidFill>
            <a:srgbClr val="F2F2F2"/>
          </a:solidFill>
          <a:ln w="9525" cap="flat" cmpd="sng" algn="ctr">
            <a:noFill/>
            <a:prstDash val="dash"/>
          </a:ln>
          <a:effectLst/>
        </p:spPr>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28600" marR="0" lvl="0" indent="-228600" algn="just" defTabSz="914400" rtl="0" eaLnBrk="1" fontAlgn="auto" latinLnBrk="0" hangingPunct="1">
              <a:lnSpc>
                <a:spcPct val="150000"/>
              </a:lnSpc>
              <a:spcBef>
                <a:spcPts val="0"/>
              </a:spcBef>
              <a:spcAft>
                <a:spcPts val="0"/>
              </a:spcAft>
              <a:buClrTx/>
              <a:buSzTx/>
              <a:buFontTx/>
              <a:buAutoNum type="arabicPeriod"/>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The user queries the Operator</a:t>
            </a:r>
            <a:r>
              <a:rPr kumimoji="0" lang="en-GB" sz="1100" b="1" i="0" u="none" strike="noStrike" kern="1200" cap="none" spc="0" normalizeH="0" baseline="0" noProof="0">
                <a:ln>
                  <a:noFill/>
                </a:ln>
                <a:solidFill>
                  <a:prstClr val="black"/>
                </a:solidFill>
                <a:effectLst/>
                <a:uLnTx/>
                <a:uFillTx/>
                <a:latin typeface="Santander Text" panose="020B0504020201020104"/>
                <a:ea typeface="+mn-ea"/>
                <a:cs typeface="+mn-cs"/>
              </a:rPr>
              <a:t> </a:t>
            </a: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Agent</a:t>
            </a:r>
            <a:r>
              <a:rPr kumimoji="0" lang="en-GB" sz="1100" b="1" i="0" u="none" strike="noStrike" kern="1200" cap="none" spc="0" normalizeH="0" baseline="0" noProof="0">
                <a:ln>
                  <a:noFill/>
                </a:ln>
                <a:solidFill>
                  <a:prstClr val="black"/>
                </a:solidFill>
                <a:effectLst/>
                <a:uLnTx/>
                <a:uFillTx/>
                <a:latin typeface="Santander Text" panose="020B0504020201020104"/>
                <a:ea typeface="+mn-ea"/>
                <a:cs typeface="+mn-cs"/>
              </a:rPr>
              <a:t> </a:t>
            </a: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using natural language. The Operator asks questions to clarify the user’s request.</a:t>
            </a:r>
          </a:p>
          <a:p>
            <a:pPr marL="228600" marR="0" lvl="0" indent="-228600" algn="just" defTabSz="914400" rtl="0" eaLnBrk="1" fontAlgn="auto" latinLnBrk="0" hangingPunct="1">
              <a:lnSpc>
                <a:spcPct val="150000"/>
              </a:lnSpc>
              <a:spcBef>
                <a:spcPts val="0"/>
              </a:spcBef>
              <a:spcAft>
                <a:spcPts val="0"/>
              </a:spcAft>
              <a:buClrTx/>
              <a:buSzTx/>
              <a:buFontTx/>
              <a:buAutoNum type="arabicPeriod"/>
              <a:tabLst/>
              <a:defRPr/>
            </a:pPr>
            <a:r>
              <a:rPr kumimoji="0" lang="en-GB" sz="1100" b="1" i="0" u="none" strike="noStrike" kern="1200" cap="none" spc="0" normalizeH="0" baseline="0" noProof="0">
                <a:ln>
                  <a:noFill/>
                </a:ln>
                <a:solidFill>
                  <a:prstClr val="black"/>
                </a:solidFill>
                <a:effectLst/>
                <a:uLnTx/>
                <a:uFillTx/>
                <a:latin typeface="Santander Text" panose="020B0504020201020104"/>
                <a:ea typeface="+mn-ea"/>
                <a:cs typeface="+mn-cs"/>
              </a:rPr>
              <a:t>The Operator Agent: </a:t>
            </a: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Develops a plan based on the conversation with the user. Uses the Knowledge Base.</a:t>
            </a:r>
          </a:p>
          <a:p>
            <a:pPr marL="228600" marR="0" lvl="0" indent="-228600" algn="just" defTabSz="914400" rtl="0" eaLnBrk="1" fontAlgn="auto" latinLnBrk="0" hangingPunct="1">
              <a:lnSpc>
                <a:spcPct val="150000"/>
              </a:lnSpc>
              <a:spcBef>
                <a:spcPts val="0"/>
              </a:spcBef>
              <a:spcAft>
                <a:spcPts val="0"/>
              </a:spcAft>
              <a:buClrTx/>
              <a:buSzTx/>
              <a:buFontTx/>
              <a:buAutoNum type="arabicPeriod"/>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The plan is validated against another system, known as the </a:t>
            </a:r>
            <a:r>
              <a:rPr kumimoji="0" lang="en-GB" sz="1100" b="1" i="0" u="none" strike="noStrike" kern="1200" cap="none" spc="0" normalizeH="0" baseline="0" noProof="0">
                <a:ln>
                  <a:noFill/>
                </a:ln>
                <a:solidFill>
                  <a:prstClr val="black"/>
                </a:solidFill>
                <a:effectLst/>
                <a:uLnTx/>
                <a:uFillTx/>
                <a:latin typeface="Santander Text" panose="020B0504020201020104"/>
                <a:ea typeface="+mn-ea"/>
                <a:cs typeface="+mn-cs"/>
              </a:rPr>
              <a:t>Evaluator Agent.</a:t>
            </a:r>
          </a:p>
          <a:p>
            <a:pPr marL="228600" marR="0" lvl="0" indent="-228600" algn="just" defTabSz="914400" rtl="0" eaLnBrk="1" fontAlgn="auto" latinLnBrk="0" hangingPunct="1">
              <a:lnSpc>
                <a:spcPct val="150000"/>
              </a:lnSpc>
              <a:spcBef>
                <a:spcPts val="0"/>
              </a:spcBef>
              <a:spcAft>
                <a:spcPts val="0"/>
              </a:spcAft>
              <a:buClrTx/>
              <a:buSzTx/>
              <a:buFontTx/>
              <a:buAutoNum type="arabicPeriod"/>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It triggers the execution of the plan.</a:t>
            </a:r>
          </a:p>
          <a:p>
            <a:pPr marL="228600" marR="0" lvl="0" indent="-228600" algn="just" defTabSz="914400" rtl="0" eaLnBrk="1" fontAlgn="auto" latinLnBrk="0" hangingPunct="1">
              <a:lnSpc>
                <a:spcPct val="150000"/>
              </a:lnSpc>
              <a:spcBef>
                <a:spcPts val="0"/>
              </a:spcBef>
              <a:spcAft>
                <a:spcPts val="0"/>
              </a:spcAft>
              <a:buClrTx/>
              <a:buSzTx/>
              <a:buFontTx/>
              <a:buAutoNum type="arabicPeriod"/>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The agents generate controlled queries to autonomously locate the requested information in the </a:t>
            </a:r>
            <a:r>
              <a:rPr kumimoji="0" lang="en-GB" sz="1100" b="1" i="0" u="none" strike="noStrike" kern="1200" cap="none" spc="0" normalizeH="0" baseline="0" noProof="0">
                <a:ln>
                  <a:noFill/>
                </a:ln>
                <a:solidFill>
                  <a:prstClr val="black"/>
                </a:solidFill>
                <a:effectLst/>
                <a:uLnTx/>
                <a:uFillTx/>
                <a:latin typeface="Santander Text" panose="020B0504020201020104"/>
                <a:ea typeface="+mn-ea"/>
                <a:cs typeface="+mn-cs"/>
              </a:rPr>
              <a:t>required systems.</a:t>
            </a:r>
          </a:p>
          <a:p>
            <a:pPr marL="228600" marR="0" lvl="0" indent="-228600" algn="just" defTabSz="914400" rtl="0" eaLnBrk="1" fontAlgn="auto" latinLnBrk="0" hangingPunct="1">
              <a:lnSpc>
                <a:spcPct val="150000"/>
              </a:lnSpc>
              <a:spcBef>
                <a:spcPts val="0"/>
              </a:spcBef>
              <a:spcAft>
                <a:spcPts val="0"/>
              </a:spcAft>
              <a:buClrTx/>
              <a:buSzTx/>
              <a:buFontTx/>
              <a:buAutoNum type="arabicPeriod"/>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If accessing these systems requires using a tool, such as an SQL query system, it is invoked.</a:t>
            </a:r>
          </a:p>
          <a:p>
            <a:pPr marL="228600" marR="0" lvl="0" indent="-228600" algn="just" defTabSz="914400" rtl="0" eaLnBrk="1" fontAlgn="auto" latinLnBrk="0" hangingPunct="1">
              <a:lnSpc>
                <a:spcPct val="150000"/>
              </a:lnSpc>
              <a:spcBef>
                <a:spcPts val="0"/>
              </a:spcBef>
              <a:spcAft>
                <a:spcPts val="0"/>
              </a:spcAft>
              <a:buClrTx/>
              <a:buSzTx/>
              <a:buFontTx/>
              <a:buAutoNum type="arabicPeriod"/>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When information from all sources is received, it is autonomously consolidated and correlated in memory.</a:t>
            </a:r>
          </a:p>
          <a:p>
            <a:pPr marL="228600" marR="0" lvl="0" indent="-228600" algn="just" defTabSz="914400" rtl="0" eaLnBrk="1" fontAlgn="auto" latinLnBrk="0" hangingPunct="1">
              <a:lnSpc>
                <a:spcPct val="150000"/>
              </a:lnSpc>
              <a:spcBef>
                <a:spcPts val="0"/>
              </a:spcBef>
              <a:spcAft>
                <a:spcPts val="0"/>
              </a:spcAft>
              <a:buClrTx/>
              <a:buSzTx/>
              <a:buFontTx/>
              <a:buAutoNum type="arabicPeriod"/>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The response begins to be drafted.</a:t>
            </a:r>
          </a:p>
          <a:p>
            <a:pPr marL="228600" marR="0" lvl="0" indent="-228600" algn="just" defTabSz="914400" rtl="0" eaLnBrk="1" fontAlgn="auto" latinLnBrk="0" hangingPunct="1">
              <a:lnSpc>
                <a:spcPct val="150000"/>
              </a:lnSpc>
              <a:spcBef>
                <a:spcPts val="0"/>
              </a:spcBef>
              <a:spcAft>
                <a:spcPts val="0"/>
              </a:spcAft>
              <a:buClrTx/>
              <a:buSzTx/>
              <a:buFontTx/>
              <a:buAutoNum type="arabicPeriod"/>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If the response requires </a:t>
            </a:r>
            <a:r>
              <a:rPr kumimoji="0" lang="en-GB" sz="1100" b="1" i="0" u="none" strike="noStrike" kern="1200" cap="none" spc="0" normalizeH="0" baseline="0" noProof="0">
                <a:ln>
                  <a:noFill/>
                </a:ln>
                <a:solidFill>
                  <a:prstClr val="black"/>
                </a:solidFill>
                <a:effectLst/>
                <a:uLnTx/>
                <a:uFillTx/>
                <a:latin typeface="Santander Text" panose="020B0504020201020104"/>
                <a:ea typeface="+mn-ea"/>
                <a:cs typeface="+mn-cs"/>
              </a:rPr>
              <a:t>tools</a:t>
            </a: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 to enrich its content, these tools are invoked.</a:t>
            </a:r>
          </a:p>
          <a:p>
            <a:pPr marL="228600" marR="0" lvl="0" indent="-228600" algn="just" defTabSz="914400" rtl="0" eaLnBrk="1" fontAlgn="auto" latinLnBrk="0" hangingPunct="1">
              <a:lnSpc>
                <a:spcPct val="150000"/>
              </a:lnSpc>
              <a:spcBef>
                <a:spcPts val="0"/>
              </a:spcBef>
              <a:spcAft>
                <a:spcPts val="0"/>
              </a:spcAft>
              <a:buClrTx/>
              <a:buSzTx/>
              <a:buFontTx/>
              <a:buAutoNum type="arabicPeriod"/>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If a report has been requested, a report is generated following the </a:t>
            </a:r>
            <a:r>
              <a:rPr kumimoji="0" lang="en-GB" sz="1100" b="1" i="0" u="none" strike="noStrike" kern="1200" cap="none" spc="0" normalizeH="0" baseline="0" noProof="0">
                <a:ln>
                  <a:noFill/>
                </a:ln>
                <a:solidFill>
                  <a:prstClr val="black"/>
                </a:solidFill>
                <a:effectLst/>
                <a:uLnTx/>
                <a:uFillTx/>
                <a:latin typeface="Santander Text" panose="020B0504020201020104"/>
                <a:ea typeface="+mn-ea"/>
                <a:cs typeface="+mn-cs"/>
              </a:rPr>
              <a:t>Knowledge Base.</a:t>
            </a:r>
          </a:p>
          <a:p>
            <a:pPr marL="228600" marR="0" lvl="0" indent="-228600" algn="just" defTabSz="914400" rtl="0" eaLnBrk="1" fontAlgn="auto" latinLnBrk="0" hangingPunct="1">
              <a:lnSpc>
                <a:spcPct val="150000"/>
              </a:lnSpc>
              <a:spcBef>
                <a:spcPts val="0"/>
              </a:spcBef>
              <a:spcAft>
                <a:spcPts val="0"/>
              </a:spcAft>
              <a:buClrTx/>
              <a:buSzTx/>
              <a:buFontTx/>
              <a:buAutoNum type="arabicPeriod"/>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The user is provided with the answer to their query, and, if desired, with the corresponding report document.</a:t>
            </a:r>
          </a:p>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Santander Text" panose="020B0504020201020104"/>
                <a:ea typeface="+mn-ea"/>
                <a:cs typeface="+mn-cs"/>
              </a:rPr>
              <a:t>This system allows free-form interaction via conversation with the information system, both for performing queries and generating reports, and enables selective or automatic enrichment of the results.</a:t>
            </a:r>
            <a:endParaRPr kumimoji="0" lang="en-GB" sz="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9" name="Rectángulo 7">
            <a:extLst>
              <a:ext uri="{FF2B5EF4-FFF2-40B4-BE49-F238E27FC236}">
                <a16:creationId xmlns:a16="http://schemas.microsoft.com/office/drawing/2014/main" id="{4F8D5BF8-ACA9-0C51-C3D0-16A85D3DAC60}"/>
              </a:ext>
            </a:extLst>
          </p:cNvPr>
          <p:cNvSpPr/>
          <p:nvPr/>
        </p:nvSpPr>
        <p:spPr>
          <a:xfrm>
            <a:off x="5391148" y="843754"/>
            <a:ext cx="6296025" cy="21615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SOLUTION DESCRIPTION</a:t>
            </a:r>
          </a:p>
        </p:txBody>
      </p:sp>
      <p:pic>
        <p:nvPicPr>
          <p:cNvPr id="10" name="Picture 2">
            <a:extLst>
              <a:ext uri="{FF2B5EF4-FFF2-40B4-BE49-F238E27FC236}">
                <a16:creationId xmlns:a16="http://schemas.microsoft.com/office/drawing/2014/main" id="{AC3750C7-EB99-3272-7491-F60B9F2E9E0C}"/>
              </a:ext>
            </a:extLst>
          </p:cNvPr>
          <p:cNvPicPr>
            <a:picLocks noChangeAspect="1"/>
          </p:cNvPicPr>
          <p:nvPr/>
        </p:nvPicPr>
        <p:blipFill>
          <a:blip r:embed="rId3"/>
          <a:srcRect r="22480"/>
          <a:stretch>
            <a:fillRect/>
          </a:stretch>
        </p:blipFill>
        <p:spPr>
          <a:xfrm>
            <a:off x="9081410" y="32335"/>
            <a:ext cx="1610515" cy="388493"/>
          </a:xfrm>
          <a:prstGeom prst="rect">
            <a:avLst/>
          </a:prstGeom>
        </p:spPr>
      </p:pic>
      <p:pic>
        <p:nvPicPr>
          <p:cNvPr id="11" name="Imagen 2" descr="NTT Data - Red Seguridad">
            <a:extLst>
              <a:ext uri="{FF2B5EF4-FFF2-40B4-BE49-F238E27FC236}">
                <a16:creationId xmlns:a16="http://schemas.microsoft.com/office/drawing/2014/main" id="{1055943D-C886-D469-54EF-7627D82B322A}"/>
              </a:ext>
            </a:extLst>
          </p:cNvPr>
          <p:cNvPicPr>
            <a:picLocks noChangeAspect="1"/>
          </p:cNvPicPr>
          <p:nvPr/>
        </p:nvPicPr>
        <p:blipFill>
          <a:blip r:embed="rId4"/>
          <a:stretch>
            <a:fillRect/>
          </a:stretch>
        </p:blipFill>
        <p:spPr>
          <a:xfrm>
            <a:off x="10881313" y="-202669"/>
            <a:ext cx="1166998" cy="847775"/>
          </a:xfrm>
          <a:prstGeom prst="rect">
            <a:avLst/>
          </a:prstGeom>
        </p:spPr>
      </p:pic>
      <p:sp>
        <p:nvSpPr>
          <p:cNvPr id="3" name="Text Placeholder 3">
            <a:extLst>
              <a:ext uri="{FF2B5EF4-FFF2-40B4-BE49-F238E27FC236}">
                <a16:creationId xmlns:a16="http://schemas.microsoft.com/office/drawing/2014/main" id="{218FCA68-141D-0881-AB58-CAB473AFFA45}"/>
              </a:ext>
            </a:extLst>
          </p:cNvPr>
          <p:cNvSpPr txBox="1">
            <a:spLocks/>
          </p:cNvSpPr>
          <p:nvPr/>
        </p:nvSpPr>
        <p:spPr>
          <a:xfrm>
            <a:off x="354840" y="201563"/>
            <a:ext cx="3035831" cy="276999"/>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000" b="0" i="0" u="none" strike="noStrike" kern="1200" cap="none" spc="0" normalizeH="0" baseline="0" noProof="0" dirty="0">
                <a:ln>
                  <a:noFill/>
                </a:ln>
                <a:solidFill>
                  <a:srgbClr val="F14949"/>
                </a:solidFill>
                <a:effectLst/>
                <a:uLnTx/>
                <a:uFillTx/>
                <a:latin typeface="Santander Headline" panose="020B0504020201020104"/>
                <a:ea typeface="+mn-ea"/>
                <a:cs typeface="+mn-cs"/>
              </a:rPr>
              <a:t>Use Cases for Finance Agents</a:t>
            </a:r>
          </a:p>
        </p:txBody>
      </p:sp>
      <p:sp>
        <p:nvSpPr>
          <p:cNvPr id="12" name="CuadroTexto 11">
            <a:extLst>
              <a:ext uri="{FF2B5EF4-FFF2-40B4-BE49-F238E27FC236}">
                <a16:creationId xmlns:a16="http://schemas.microsoft.com/office/drawing/2014/main" id="{C666F9B3-12BF-7995-4E43-5C1B499A2F61}"/>
              </a:ext>
            </a:extLst>
          </p:cNvPr>
          <p:cNvSpPr txBox="1"/>
          <p:nvPr/>
        </p:nvSpPr>
        <p:spPr>
          <a:xfrm>
            <a:off x="267479" y="424191"/>
            <a:ext cx="535086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14949"/>
                </a:solidFill>
                <a:effectLst/>
                <a:uLnTx/>
                <a:uFillTx/>
                <a:latin typeface="Santander Headline" panose="020B0504020201020104"/>
                <a:ea typeface="+mn-ea"/>
                <a:cs typeface="+mn-cs"/>
              </a:rPr>
              <a:t>Use Case 3:</a:t>
            </a:r>
            <a:r>
              <a:rPr kumimoji="0" lang="en-GB" sz="1200" b="0" i="0" u="none" strike="noStrike" kern="1200" cap="none" spc="0" normalizeH="0" baseline="0" noProof="0" dirty="0">
                <a:ln>
                  <a:noFill/>
                </a:ln>
                <a:solidFill>
                  <a:srgbClr val="F14949"/>
                </a:solidFill>
                <a:effectLst/>
                <a:uLnTx/>
                <a:uFillTx/>
                <a:latin typeface="Santander Headline" panose="020B0504020201020104"/>
                <a:ea typeface="+mn-ea"/>
                <a:cs typeface="Arial"/>
              </a:rPr>
              <a:t>Agent flow to provide responses to the customer SANART</a:t>
            </a:r>
            <a:endParaRPr kumimoji="0" lang="en-GB" sz="1200" b="0" i="0" u="none" strike="noStrike" kern="1200" cap="none" spc="0" normalizeH="0" baseline="0" noProof="0" dirty="0">
              <a:ln>
                <a:noFill/>
              </a:ln>
              <a:solidFill>
                <a:srgbClr val="F14949"/>
              </a:solidFill>
              <a:effectLst/>
              <a:uLnTx/>
              <a:uFillTx/>
              <a:latin typeface="Santander Headline" panose="020B0504020201020104"/>
              <a:ea typeface="+mn-ea"/>
              <a:cs typeface="+mn-cs"/>
            </a:endParaRPr>
          </a:p>
        </p:txBody>
      </p:sp>
    </p:spTree>
    <p:extLst>
      <p:ext uri="{BB962C8B-B14F-4D97-AF65-F5344CB8AC3E}">
        <p14:creationId xmlns:p14="http://schemas.microsoft.com/office/powerpoint/2010/main" val="25216284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7F1DE3-8A9D-3892-CD0A-27A00BEFBD21}"/>
            </a:ext>
          </a:extLst>
        </p:cNvPr>
        <p:cNvGrpSpPr/>
        <p:nvPr/>
      </p:nvGrpSpPr>
      <p:grpSpPr>
        <a:xfrm>
          <a:off x="0" y="0"/>
          <a:ext cx="0" cy="0"/>
          <a:chOff x="0" y="0"/>
          <a:chExt cx="0" cy="0"/>
        </a:xfrm>
      </p:grpSpPr>
      <p:sp>
        <p:nvSpPr>
          <p:cNvPr id="2" name="Callout: Line 71">
            <a:extLst>
              <a:ext uri="{FF2B5EF4-FFF2-40B4-BE49-F238E27FC236}">
                <a16:creationId xmlns:a16="http://schemas.microsoft.com/office/drawing/2014/main" id="{58C9B638-D77E-559C-217B-CC5F38B59369}"/>
              </a:ext>
            </a:extLst>
          </p:cNvPr>
          <p:cNvSpPr/>
          <p:nvPr/>
        </p:nvSpPr>
        <p:spPr>
          <a:xfrm>
            <a:off x="10534127" y="1574691"/>
            <a:ext cx="1370230" cy="731605"/>
          </a:xfrm>
          <a:prstGeom prst="borderCallout1">
            <a:avLst>
              <a:gd name="adj1" fmla="val 48768"/>
              <a:gd name="adj2" fmla="val 98"/>
              <a:gd name="adj3" fmla="val 94900"/>
              <a:gd name="adj4" fmla="val -35838"/>
            </a:avLst>
          </a:prstGeom>
          <a:solidFill>
            <a:schemeClr val="accent2">
              <a:lumMod val="60000"/>
              <a:lumOff val="40000"/>
            </a:schemeClr>
          </a:solidFill>
          <a:ln w="19050" cap="flat" cmpd="sng" algn="ctr">
            <a:solidFill>
              <a:schemeClr val="accent2">
                <a:lumMod val="60000"/>
                <a:lumOff val="40000"/>
              </a:schemeClr>
            </a:solidFill>
            <a:prstDash val="solid"/>
            <a:miter lim="800000"/>
          </a:ln>
          <a:effectLst/>
        </p:spPr>
        <p:txBody>
          <a:bodyPr lIns="36000" tIns="36000" rIns="36000" bIns="36000" rtlCol="0" anchor="ctr"/>
          <a:lstStyle/>
          <a:p>
            <a:pPr algn="just">
              <a:lnSpc>
                <a:spcPct val="110000"/>
              </a:lnSpc>
              <a:spcBef>
                <a:spcPts val="600"/>
              </a:spcBef>
            </a:pPr>
            <a:r>
              <a:rPr lang="en-GB" sz="800" kern="0" noProof="0">
                <a:solidFill>
                  <a:srgbClr val="FFFFFF"/>
                </a:solidFill>
                <a:latin typeface="Santander Text" panose="020B0504020201020104"/>
              </a:rPr>
              <a:t>This agent is responsible for receiving the question and orchestrating the rest of the agents until the desired result is achieved</a:t>
            </a:r>
          </a:p>
        </p:txBody>
      </p:sp>
      <p:sp>
        <p:nvSpPr>
          <p:cNvPr id="4" name="Callout: Line 71">
            <a:extLst>
              <a:ext uri="{FF2B5EF4-FFF2-40B4-BE49-F238E27FC236}">
                <a16:creationId xmlns:a16="http://schemas.microsoft.com/office/drawing/2014/main" id="{A5E33619-6246-355A-F9FE-D1B85117CBF1}"/>
              </a:ext>
            </a:extLst>
          </p:cNvPr>
          <p:cNvSpPr/>
          <p:nvPr/>
        </p:nvSpPr>
        <p:spPr>
          <a:xfrm>
            <a:off x="7101660" y="4837284"/>
            <a:ext cx="1097702" cy="1309157"/>
          </a:xfrm>
          <a:prstGeom prst="borderCallout1">
            <a:avLst>
              <a:gd name="adj1" fmla="val -54577"/>
              <a:gd name="adj2" fmla="val 53741"/>
              <a:gd name="adj3" fmla="val -82"/>
              <a:gd name="adj4" fmla="val 53428"/>
            </a:avLst>
          </a:prstGeom>
          <a:noFill/>
          <a:ln w="19050" cap="flat" cmpd="sng" algn="ctr">
            <a:solidFill>
              <a:schemeClr val="tx1">
                <a:lumMod val="50000"/>
                <a:lumOff val="50000"/>
              </a:schemeClr>
            </a:solidFill>
            <a:prstDash val="solid"/>
            <a:miter lim="800000"/>
          </a:ln>
          <a:effectLst/>
        </p:spPr>
        <p:txBody>
          <a:bodyPr lIns="108000" tIns="108000" rIns="108000" bIns="108000" rtlCol="0" anchor="ctr"/>
          <a:lstStyle/>
          <a:p>
            <a:pPr lvl="0" algn="just">
              <a:lnSpc>
                <a:spcPct val="110000"/>
              </a:lnSpc>
              <a:spcBef>
                <a:spcPts val="600"/>
              </a:spcBef>
              <a:defRPr/>
            </a:pPr>
            <a:r>
              <a:rPr lang="en-GB" sz="800" kern="0" noProof="0">
                <a:latin typeface="Santander Text" panose="020B0504020201020104"/>
              </a:rPr>
              <a:t>This agent will have a set of queries that it will use for common questions, or if it doesn't have any preconstructed, it will try to generate one on the fly</a:t>
            </a:r>
            <a:endParaRPr kumimoji="0" lang="en-GB" sz="800" b="0" i="0" u="none" strike="noStrike" kern="0" cap="none" spc="0" normalizeH="0" baseline="0" noProof="0">
              <a:ln>
                <a:noFill/>
              </a:ln>
              <a:effectLst/>
              <a:uLnTx/>
              <a:uFillTx/>
              <a:latin typeface="Santander Text" panose="020B0504020201020104"/>
            </a:endParaRPr>
          </a:p>
        </p:txBody>
      </p:sp>
      <p:sp>
        <p:nvSpPr>
          <p:cNvPr id="5" name="Callout: Line 71">
            <a:extLst>
              <a:ext uri="{FF2B5EF4-FFF2-40B4-BE49-F238E27FC236}">
                <a16:creationId xmlns:a16="http://schemas.microsoft.com/office/drawing/2014/main" id="{81C5575A-EF33-F194-58E0-2DF1897077A6}"/>
              </a:ext>
            </a:extLst>
          </p:cNvPr>
          <p:cNvSpPr/>
          <p:nvPr/>
        </p:nvSpPr>
        <p:spPr>
          <a:xfrm>
            <a:off x="10054528" y="4845630"/>
            <a:ext cx="1370230" cy="1300811"/>
          </a:xfrm>
          <a:prstGeom prst="borderCallout1">
            <a:avLst>
              <a:gd name="adj1" fmla="val -13352"/>
              <a:gd name="adj2" fmla="val 47571"/>
              <a:gd name="adj3" fmla="val -2251"/>
              <a:gd name="adj4" fmla="val 46999"/>
            </a:avLst>
          </a:prstGeom>
          <a:noFill/>
          <a:ln w="19050" cap="flat" cmpd="sng" algn="ctr">
            <a:solidFill>
              <a:schemeClr val="tx1">
                <a:lumMod val="50000"/>
                <a:lumOff val="50000"/>
              </a:schemeClr>
            </a:solidFill>
            <a:prstDash val="solid"/>
            <a:miter lim="800000"/>
          </a:ln>
          <a:effectLst/>
        </p:spPr>
        <p:txBody>
          <a:bodyPr lIns="108000" tIns="108000" rIns="108000" bIns="108000" rtlCol="0" anchor="ctr"/>
          <a:lstStyle/>
          <a:p>
            <a:pPr lvl="0" algn="just">
              <a:lnSpc>
                <a:spcPct val="110000"/>
              </a:lnSpc>
              <a:spcBef>
                <a:spcPts val="600"/>
              </a:spcBef>
              <a:defRPr/>
            </a:pPr>
            <a:r>
              <a:rPr lang="en-GB" sz="800" kern="0" noProof="0">
                <a:latin typeface="Santander Text" panose="020B0504020201020104"/>
              </a:rPr>
              <a:t>This agent validates from the information retrieved, the initial premises, and the analysis carried out, if everything is correct, or if there is any element or analysis that must be repeated and is returned to a previous phase</a:t>
            </a:r>
            <a:endParaRPr kumimoji="0" lang="en-GB" sz="800" b="0" i="0" u="none" strike="noStrike" kern="0" cap="none" spc="0" normalizeH="0" baseline="0" noProof="0">
              <a:ln>
                <a:noFill/>
              </a:ln>
              <a:effectLst/>
              <a:uLnTx/>
              <a:uFillTx/>
              <a:latin typeface="Santander Text" panose="020B0504020201020104"/>
            </a:endParaRPr>
          </a:p>
        </p:txBody>
      </p:sp>
      <p:sp>
        <p:nvSpPr>
          <p:cNvPr id="6" name="Callout: Line 71">
            <a:extLst>
              <a:ext uri="{FF2B5EF4-FFF2-40B4-BE49-F238E27FC236}">
                <a16:creationId xmlns:a16="http://schemas.microsoft.com/office/drawing/2014/main" id="{5EE8E202-D169-49B1-8706-0F8CD1FCCD7D}"/>
              </a:ext>
            </a:extLst>
          </p:cNvPr>
          <p:cNvSpPr/>
          <p:nvPr/>
        </p:nvSpPr>
        <p:spPr>
          <a:xfrm>
            <a:off x="8474915" y="4866681"/>
            <a:ext cx="1376792" cy="1279760"/>
          </a:xfrm>
          <a:prstGeom prst="borderCallout1">
            <a:avLst>
              <a:gd name="adj1" fmla="val -25414"/>
              <a:gd name="adj2" fmla="val 52810"/>
              <a:gd name="adj3" fmla="val -225"/>
              <a:gd name="adj4" fmla="val 52110"/>
            </a:avLst>
          </a:prstGeom>
          <a:noFill/>
          <a:ln w="19050" cap="flat" cmpd="sng" algn="ctr">
            <a:solidFill>
              <a:schemeClr val="tx1">
                <a:lumMod val="50000"/>
                <a:lumOff val="50000"/>
              </a:schemeClr>
            </a:solidFill>
            <a:prstDash val="solid"/>
            <a:miter lim="800000"/>
          </a:ln>
          <a:effectLst/>
        </p:spPr>
        <p:txBody>
          <a:bodyPr lIns="108000" tIns="108000" rIns="108000" bIns="108000" rtlCol="0" anchor="ctr"/>
          <a:lstStyle/>
          <a:p>
            <a:pPr lvl="0" algn="just">
              <a:lnSpc>
                <a:spcPct val="110000"/>
              </a:lnSpc>
              <a:spcBef>
                <a:spcPts val="600"/>
              </a:spcBef>
              <a:defRPr/>
            </a:pPr>
            <a:r>
              <a:rPr lang="en-GB" sz="800" kern="0" noProof="0">
                <a:latin typeface="Santander Text" panose="020B0504020201020104"/>
              </a:rPr>
              <a:t>It is responsible for consolidating all the information received to analyse it and try to locate a reason for the change in the TTI</a:t>
            </a:r>
            <a:endParaRPr kumimoji="0" lang="en-GB" sz="800" b="0" i="0" u="none" strike="noStrike" kern="0" cap="none" spc="0" normalizeH="0" baseline="0" noProof="0">
              <a:ln>
                <a:noFill/>
              </a:ln>
              <a:effectLst/>
              <a:uLnTx/>
              <a:uFillTx/>
              <a:latin typeface="Santander Text" panose="020B0504020201020104"/>
            </a:endParaRPr>
          </a:p>
        </p:txBody>
      </p:sp>
      <p:cxnSp>
        <p:nvCxnSpPr>
          <p:cNvPr id="7" name="Conector recto 162">
            <a:extLst>
              <a:ext uri="{FF2B5EF4-FFF2-40B4-BE49-F238E27FC236}">
                <a16:creationId xmlns:a16="http://schemas.microsoft.com/office/drawing/2014/main" id="{94181EB8-2665-EEC5-59EA-DB8438CCAEBE}"/>
              </a:ext>
            </a:extLst>
          </p:cNvPr>
          <p:cNvCxnSpPr>
            <a:cxnSpLocks/>
          </p:cNvCxnSpPr>
          <p:nvPr/>
        </p:nvCxnSpPr>
        <p:spPr>
          <a:xfrm flipH="1">
            <a:off x="6355241" y="4185684"/>
            <a:ext cx="668475" cy="0"/>
          </a:xfrm>
          <a:prstGeom prst="line">
            <a:avLst/>
          </a:prstGeom>
          <a:ln w="76200">
            <a:solidFill>
              <a:srgbClr val="D6DCE5"/>
            </a:solidFill>
          </a:ln>
        </p:spPr>
        <p:style>
          <a:lnRef idx="1">
            <a:schemeClr val="accent1"/>
          </a:lnRef>
          <a:fillRef idx="0">
            <a:schemeClr val="accent1"/>
          </a:fillRef>
          <a:effectRef idx="0">
            <a:schemeClr val="accent1"/>
          </a:effectRef>
          <a:fontRef idx="minor">
            <a:schemeClr val="tx1"/>
          </a:fontRef>
        </p:style>
      </p:cxnSp>
      <p:sp>
        <p:nvSpPr>
          <p:cNvPr id="8" name="Flecha: a la derecha 7">
            <a:extLst>
              <a:ext uri="{FF2B5EF4-FFF2-40B4-BE49-F238E27FC236}">
                <a16:creationId xmlns:a16="http://schemas.microsoft.com/office/drawing/2014/main" id="{2297D53A-D3BD-CB58-A727-BD190CAD6359}"/>
              </a:ext>
            </a:extLst>
          </p:cNvPr>
          <p:cNvSpPr/>
          <p:nvPr/>
        </p:nvSpPr>
        <p:spPr>
          <a:xfrm>
            <a:off x="6792188" y="2064373"/>
            <a:ext cx="1622605" cy="233873"/>
          </a:xfrm>
          <a:prstGeom prst="rightArrow">
            <a:avLst/>
          </a:prstGeom>
          <a:solidFill>
            <a:srgbClr val="D6DCE5"/>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lang="en-GB" sz="1600" b="1" noProof="0">
              <a:solidFill>
                <a:srgbClr val="C00000"/>
              </a:solidFill>
              <a:latin typeface="Santander Text" panose="020B0504020201020104"/>
            </a:endParaRPr>
          </a:p>
        </p:txBody>
      </p:sp>
      <p:sp>
        <p:nvSpPr>
          <p:cNvPr id="12" name="Freeform: Shape 49">
            <a:extLst>
              <a:ext uri="{FF2B5EF4-FFF2-40B4-BE49-F238E27FC236}">
                <a16:creationId xmlns:a16="http://schemas.microsoft.com/office/drawing/2014/main" id="{D18B7C7E-93DD-3BA4-87B8-EDB88807D47C}"/>
              </a:ext>
            </a:extLst>
          </p:cNvPr>
          <p:cNvSpPr>
            <a:spLocks/>
          </p:cNvSpPr>
          <p:nvPr/>
        </p:nvSpPr>
        <p:spPr>
          <a:xfrm>
            <a:off x="8381490" y="1476299"/>
            <a:ext cx="1650602" cy="1440931"/>
          </a:xfrm>
          <a:custGeom>
            <a:avLst/>
            <a:gdLst>
              <a:gd name="connsiteX0" fmla="*/ 0 w 1927423"/>
              <a:gd name="connsiteY0" fmla="*/ 0 h 1581120"/>
              <a:gd name="connsiteX1" fmla="*/ 1927423 w 1927423"/>
              <a:gd name="connsiteY1" fmla="*/ 0 h 1581120"/>
              <a:gd name="connsiteX2" fmla="*/ 1927423 w 1927423"/>
              <a:gd name="connsiteY2" fmla="*/ 1581120 h 1581120"/>
              <a:gd name="connsiteX3" fmla="*/ 0 w 1927423"/>
              <a:gd name="connsiteY3" fmla="*/ 1581120 h 1581120"/>
              <a:gd name="connsiteX4" fmla="*/ 0 w 1927423"/>
              <a:gd name="connsiteY4" fmla="*/ 0 h 158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423" h="1581120">
                <a:moveTo>
                  <a:pt x="0" y="0"/>
                </a:moveTo>
                <a:lnTo>
                  <a:pt x="1927423" y="0"/>
                </a:lnTo>
                <a:lnTo>
                  <a:pt x="1927423" y="1581120"/>
                </a:lnTo>
                <a:lnTo>
                  <a:pt x="0" y="1581120"/>
                </a:lnTo>
                <a:lnTo>
                  <a:pt x="0" y="0"/>
                </a:lnTo>
                <a:close/>
              </a:path>
            </a:pathLst>
          </a:custGeom>
          <a:solidFill>
            <a:schemeClr val="bg1">
              <a:lumMod val="95000"/>
            </a:schemeClr>
          </a:solidFill>
          <a:ln w="12700" cap="flat" cmpd="sng" algn="ctr">
            <a:solidFill>
              <a:srgbClr val="070F26">
                <a:alpha val="90000"/>
                <a:tint val="40000"/>
                <a:hueOff val="0"/>
                <a:satOff val="0"/>
                <a:lumOff val="0"/>
                <a:alphaOff val="0"/>
              </a:srgbClr>
            </a:solidFill>
            <a:prstDash val="solid"/>
            <a:miter lim="800000"/>
          </a:ln>
          <a:effectLst/>
        </p:spPr>
        <p:txBody>
          <a:bodyPr spcFirstLastPara="0" vert="horz" wrap="square" lIns="192024" tIns="192024" rIns="256032" bIns="288036" numCol="1" spcCol="1270" anchor="t" anchorCtr="0">
            <a:noAutofit/>
          </a:bodyPr>
          <a:lstStyle/>
          <a:p>
            <a:pPr marL="0" marR="0" lvl="1" indent="0" defTabSz="1600200" eaLnBrk="1" fontAlgn="auto" latinLnBrk="0" hangingPunct="1">
              <a:lnSpc>
                <a:spcPct val="90000"/>
              </a:lnSpc>
              <a:spcBef>
                <a:spcPct val="0"/>
              </a:spcBef>
              <a:spcAft>
                <a:spcPct val="15000"/>
              </a:spcAft>
              <a:buClrTx/>
              <a:buSzTx/>
              <a:buFontTx/>
              <a:buNone/>
              <a:tabLst/>
              <a:defRPr/>
            </a:pPr>
            <a:endParaRPr kumimoji="0" lang="en-GB" sz="800" b="0" i="0" u="none" strike="noStrike" kern="0" cap="none" spc="0" normalizeH="0" baseline="0" noProof="0">
              <a:ln>
                <a:noFill/>
              </a:ln>
              <a:solidFill>
                <a:srgbClr val="000000"/>
              </a:solidFill>
              <a:effectLst/>
              <a:uLnTx/>
              <a:uFillTx/>
              <a:latin typeface="Santander Text" panose="020B0504020201020104"/>
            </a:endParaRPr>
          </a:p>
        </p:txBody>
      </p:sp>
      <p:sp>
        <p:nvSpPr>
          <p:cNvPr id="13" name="TextBox 30">
            <a:extLst>
              <a:ext uri="{FF2B5EF4-FFF2-40B4-BE49-F238E27FC236}">
                <a16:creationId xmlns:a16="http://schemas.microsoft.com/office/drawing/2014/main" id="{AC790A38-0ACA-DCC1-D745-BE9B7A82C3EF}"/>
              </a:ext>
            </a:extLst>
          </p:cNvPr>
          <p:cNvSpPr txBox="1"/>
          <p:nvPr/>
        </p:nvSpPr>
        <p:spPr>
          <a:xfrm>
            <a:off x="8564630" y="1549244"/>
            <a:ext cx="1275682" cy="221853"/>
          </a:xfrm>
          <a:prstGeom prst="rect">
            <a:avLst/>
          </a:prstGeom>
        </p:spPr>
        <p:txBody>
          <a:bodyPr vert="horz" wrap="square" lIns="0" tIns="0" rIns="0" bIns="0" rtlCol="0">
            <a:noAutofit/>
          </a:bodyPr>
          <a:lstStyle/>
          <a:p>
            <a:pPr lvl="0" algn="ctr">
              <a:defRPr/>
            </a:pPr>
            <a:r>
              <a:rPr lang="en-GB" sz="1400" b="1" i="1" kern="0" noProof="0">
                <a:solidFill>
                  <a:srgbClr val="070F26"/>
                </a:solidFill>
                <a:latin typeface="Santander Text" panose="020B0504020201020104"/>
              </a:rPr>
              <a:t>Orchestration</a:t>
            </a:r>
            <a:endParaRPr kumimoji="0" lang="en-GB" sz="1400" b="1" i="1" u="none" strike="noStrike" kern="0" cap="none" spc="0" normalizeH="0" baseline="0" noProof="0">
              <a:ln>
                <a:noFill/>
              </a:ln>
              <a:solidFill>
                <a:srgbClr val="070F26"/>
              </a:solidFill>
              <a:effectLst/>
              <a:uLnTx/>
              <a:uFillTx/>
              <a:latin typeface="Santander Text" panose="020B0504020201020104"/>
            </a:endParaRPr>
          </a:p>
        </p:txBody>
      </p:sp>
      <p:sp>
        <p:nvSpPr>
          <p:cNvPr id="14" name="Freeform: Shape 49">
            <a:extLst>
              <a:ext uri="{FF2B5EF4-FFF2-40B4-BE49-F238E27FC236}">
                <a16:creationId xmlns:a16="http://schemas.microsoft.com/office/drawing/2014/main" id="{749F068E-26AF-9838-37E2-52C52A6A7A12}"/>
              </a:ext>
            </a:extLst>
          </p:cNvPr>
          <p:cNvSpPr>
            <a:spLocks/>
          </p:cNvSpPr>
          <p:nvPr/>
        </p:nvSpPr>
        <p:spPr>
          <a:xfrm>
            <a:off x="7014187" y="3604079"/>
            <a:ext cx="1185175" cy="1058528"/>
          </a:xfrm>
          <a:custGeom>
            <a:avLst/>
            <a:gdLst>
              <a:gd name="connsiteX0" fmla="*/ 0 w 1927423"/>
              <a:gd name="connsiteY0" fmla="*/ 0 h 1581120"/>
              <a:gd name="connsiteX1" fmla="*/ 1927423 w 1927423"/>
              <a:gd name="connsiteY1" fmla="*/ 0 h 1581120"/>
              <a:gd name="connsiteX2" fmla="*/ 1927423 w 1927423"/>
              <a:gd name="connsiteY2" fmla="*/ 1581120 h 1581120"/>
              <a:gd name="connsiteX3" fmla="*/ 0 w 1927423"/>
              <a:gd name="connsiteY3" fmla="*/ 1581120 h 1581120"/>
              <a:gd name="connsiteX4" fmla="*/ 0 w 1927423"/>
              <a:gd name="connsiteY4" fmla="*/ 0 h 158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423" h="1581120">
                <a:moveTo>
                  <a:pt x="0" y="0"/>
                </a:moveTo>
                <a:lnTo>
                  <a:pt x="1927423" y="0"/>
                </a:lnTo>
                <a:lnTo>
                  <a:pt x="1927423" y="1581120"/>
                </a:lnTo>
                <a:lnTo>
                  <a:pt x="0" y="1581120"/>
                </a:lnTo>
                <a:lnTo>
                  <a:pt x="0" y="0"/>
                </a:lnTo>
                <a:close/>
              </a:path>
            </a:pathLst>
          </a:custGeom>
          <a:solidFill>
            <a:schemeClr val="accent2">
              <a:lumMod val="60000"/>
              <a:lumOff val="40000"/>
            </a:schemeClr>
          </a:solidFill>
          <a:ln w="12700" cap="flat" cmpd="sng" algn="ctr">
            <a:solidFill>
              <a:srgbClr val="070F26">
                <a:alpha val="90000"/>
                <a:tint val="40000"/>
                <a:hueOff val="0"/>
                <a:satOff val="0"/>
                <a:lumOff val="0"/>
                <a:alphaOff val="0"/>
              </a:srgbClr>
            </a:solidFill>
            <a:prstDash val="solid"/>
            <a:miter lim="800000"/>
          </a:ln>
          <a:effectLst/>
        </p:spPr>
        <p:txBody>
          <a:bodyPr spcFirstLastPara="0" vert="horz" wrap="square" lIns="192024" tIns="192024" rIns="256032" bIns="288036" numCol="1" spcCol="1270" anchor="t" anchorCtr="0">
            <a:noAutofit/>
          </a:bodyPr>
          <a:lstStyle/>
          <a:p>
            <a:pPr marL="0" lvl="1" defTabSz="1600200">
              <a:lnSpc>
                <a:spcPct val="90000"/>
              </a:lnSpc>
              <a:spcBef>
                <a:spcPct val="0"/>
              </a:spcBef>
              <a:spcAft>
                <a:spcPct val="15000"/>
              </a:spcAft>
            </a:pPr>
            <a:endParaRPr lang="en-GB" sz="800" kern="0" noProof="0">
              <a:solidFill>
                <a:srgbClr val="000000"/>
              </a:solidFill>
              <a:latin typeface="Santander Text" panose="020B0504020201020104"/>
            </a:endParaRPr>
          </a:p>
        </p:txBody>
      </p:sp>
      <p:sp>
        <p:nvSpPr>
          <p:cNvPr id="15" name="TextBox 30">
            <a:extLst>
              <a:ext uri="{FF2B5EF4-FFF2-40B4-BE49-F238E27FC236}">
                <a16:creationId xmlns:a16="http://schemas.microsoft.com/office/drawing/2014/main" id="{8B6FF7FB-8EF6-B6D6-D7FE-CE5B85D65297}"/>
              </a:ext>
            </a:extLst>
          </p:cNvPr>
          <p:cNvSpPr txBox="1"/>
          <p:nvPr/>
        </p:nvSpPr>
        <p:spPr>
          <a:xfrm>
            <a:off x="7080082" y="3685694"/>
            <a:ext cx="1066013" cy="221853"/>
          </a:xfrm>
          <a:prstGeom prst="rect">
            <a:avLst/>
          </a:prstGeom>
        </p:spPr>
        <p:txBody>
          <a:bodyPr vert="horz" wrap="square" lIns="0" tIns="0" rIns="0" bIns="0" rtlCol="0">
            <a:noAutofit/>
          </a:bodyPr>
          <a:lstStyle/>
          <a:p>
            <a:pPr lvl="0" algn="ctr">
              <a:defRPr/>
            </a:pPr>
            <a:r>
              <a:rPr lang="en-GB" sz="1000" b="1" i="1" kern="0" noProof="0">
                <a:solidFill>
                  <a:srgbClr val="070F26"/>
                </a:solidFill>
                <a:latin typeface="Santander Text" panose="020B0504020201020104"/>
              </a:rPr>
              <a:t>Information retrieval</a:t>
            </a:r>
            <a:endParaRPr kumimoji="0" lang="en-GB" sz="1000" b="1" i="1" u="none" strike="noStrike" kern="0" cap="none" spc="0" normalizeH="0" baseline="0" noProof="0">
              <a:ln>
                <a:noFill/>
              </a:ln>
              <a:solidFill>
                <a:srgbClr val="070F26"/>
              </a:solidFill>
              <a:effectLst/>
              <a:uLnTx/>
              <a:uFillTx/>
              <a:latin typeface="Santander Text" panose="020B0504020201020104"/>
            </a:endParaRPr>
          </a:p>
        </p:txBody>
      </p:sp>
      <p:sp>
        <p:nvSpPr>
          <p:cNvPr id="16" name="Rectangle 53">
            <a:extLst>
              <a:ext uri="{FF2B5EF4-FFF2-40B4-BE49-F238E27FC236}">
                <a16:creationId xmlns:a16="http://schemas.microsoft.com/office/drawing/2014/main" id="{A4EF1AFB-865D-2A71-D0FE-F0FC85234C92}"/>
              </a:ext>
            </a:extLst>
          </p:cNvPr>
          <p:cNvSpPr>
            <a:spLocks/>
          </p:cNvSpPr>
          <p:nvPr/>
        </p:nvSpPr>
        <p:spPr>
          <a:xfrm>
            <a:off x="10054528" y="3604080"/>
            <a:ext cx="1370230" cy="1058526"/>
          </a:xfrm>
          <a:prstGeom prst="rect">
            <a:avLst/>
          </a:prstGeom>
          <a:solidFill>
            <a:schemeClr val="accent1">
              <a:lumMod val="40000"/>
              <a:lumOff val="60000"/>
            </a:schemeClr>
          </a:solidFill>
          <a:ln w="12700" cap="flat" cmpd="sng" algn="ctr">
            <a:solidFill>
              <a:srgbClr val="070F26">
                <a:alpha val="90000"/>
                <a:tint val="40000"/>
                <a:hueOff val="0"/>
                <a:satOff val="0"/>
                <a:lumOff val="0"/>
                <a:alphaOff val="0"/>
              </a:srgbClr>
            </a:solidFill>
            <a:prstDash val="solid"/>
            <a:miter lim="800000"/>
          </a:ln>
          <a:effectLst/>
        </p:spPr>
        <p:txBody>
          <a:bodyPr/>
          <a:lstStyle/>
          <a:p>
            <a:endParaRPr lang="en-GB" sz="800" kern="0" noProof="0">
              <a:solidFill>
                <a:srgbClr val="000000"/>
              </a:solidFill>
              <a:latin typeface="Santander Text" panose="020B0504020201020104"/>
            </a:endParaRPr>
          </a:p>
        </p:txBody>
      </p:sp>
      <p:sp>
        <p:nvSpPr>
          <p:cNvPr id="17" name="TextBox 30">
            <a:extLst>
              <a:ext uri="{FF2B5EF4-FFF2-40B4-BE49-F238E27FC236}">
                <a16:creationId xmlns:a16="http://schemas.microsoft.com/office/drawing/2014/main" id="{12C61CD6-90B0-D17A-A3E1-C113FE4C2C07}"/>
              </a:ext>
            </a:extLst>
          </p:cNvPr>
          <p:cNvSpPr txBox="1"/>
          <p:nvPr/>
        </p:nvSpPr>
        <p:spPr>
          <a:xfrm>
            <a:off x="10208683" y="3634518"/>
            <a:ext cx="1061919" cy="174277"/>
          </a:xfrm>
          <a:prstGeom prst="rect">
            <a:avLst/>
          </a:prstGeom>
        </p:spPr>
        <p:txBody>
          <a:bodyPr vert="horz" wrap="square" lIns="0" tIns="0" rIns="0" bIns="0" rtlCol="0">
            <a:noAutofit/>
          </a:bodyPr>
          <a:lstStyle/>
          <a:p>
            <a:pPr lvl="0" algn="ctr">
              <a:defRPr/>
            </a:pPr>
            <a:r>
              <a:rPr lang="en-GB" sz="1000" b="1" i="1" kern="0" noProof="0">
                <a:solidFill>
                  <a:srgbClr val="070F26"/>
                </a:solidFill>
                <a:latin typeface="Santander Text" panose="020B0504020201020104"/>
              </a:rPr>
              <a:t>Validation</a:t>
            </a:r>
            <a:endParaRPr kumimoji="0" lang="en-GB" sz="1000" b="1" i="1" u="none" strike="noStrike" kern="0" cap="none" spc="0" normalizeH="0" baseline="0" noProof="0">
              <a:ln>
                <a:noFill/>
              </a:ln>
              <a:solidFill>
                <a:srgbClr val="070F26"/>
              </a:solidFill>
              <a:effectLst/>
              <a:uLnTx/>
              <a:uFillTx/>
              <a:latin typeface="Santander Text" panose="020B0504020201020104"/>
            </a:endParaRPr>
          </a:p>
        </p:txBody>
      </p:sp>
      <p:sp>
        <p:nvSpPr>
          <p:cNvPr id="18" name="Freeform: Shape 49">
            <a:extLst>
              <a:ext uri="{FF2B5EF4-FFF2-40B4-BE49-F238E27FC236}">
                <a16:creationId xmlns:a16="http://schemas.microsoft.com/office/drawing/2014/main" id="{C048076E-C3F0-A1CB-3E5D-5CA9A7B97DF0}"/>
              </a:ext>
            </a:extLst>
          </p:cNvPr>
          <p:cNvSpPr>
            <a:spLocks/>
          </p:cNvSpPr>
          <p:nvPr/>
        </p:nvSpPr>
        <p:spPr>
          <a:xfrm>
            <a:off x="8474915" y="3604079"/>
            <a:ext cx="1376792" cy="1058526"/>
          </a:xfrm>
          <a:custGeom>
            <a:avLst/>
            <a:gdLst>
              <a:gd name="connsiteX0" fmla="*/ 0 w 1927423"/>
              <a:gd name="connsiteY0" fmla="*/ 0 h 1581120"/>
              <a:gd name="connsiteX1" fmla="*/ 1927423 w 1927423"/>
              <a:gd name="connsiteY1" fmla="*/ 0 h 1581120"/>
              <a:gd name="connsiteX2" fmla="*/ 1927423 w 1927423"/>
              <a:gd name="connsiteY2" fmla="*/ 1581120 h 1581120"/>
              <a:gd name="connsiteX3" fmla="*/ 0 w 1927423"/>
              <a:gd name="connsiteY3" fmla="*/ 1581120 h 1581120"/>
              <a:gd name="connsiteX4" fmla="*/ 0 w 1927423"/>
              <a:gd name="connsiteY4" fmla="*/ 0 h 158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423" h="1581120">
                <a:moveTo>
                  <a:pt x="0" y="0"/>
                </a:moveTo>
                <a:lnTo>
                  <a:pt x="1927423" y="0"/>
                </a:lnTo>
                <a:lnTo>
                  <a:pt x="1927423" y="1581120"/>
                </a:lnTo>
                <a:lnTo>
                  <a:pt x="0" y="1581120"/>
                </a:lnTo>
                <a:lnTo>
                  <a:pt x="0" y="0"/>
                </a:lnTo>
                <a:close/>
              </a:path>
            </a:pathLst>
          </a:custGeom>
          <a:solidFill>
            <a:schemeClr val="accent2">
              <a:lumMod val="40000"/>
              <a:lumOff val="60000"/>
            </a:schemeClr>
          </a:solidFill>
          <a:ln w="12700" cap="flat" cmpd="sng" algn="ctr">
            <a:solidFill>
              <a:srgbClr val="070F26">
                <a:alpha val="90000"/>
                <a:tint val="40000"/>
                <a:hueOff val="0"/>
                <a:satOff val="0"/>
                <a:lumOff val="0"/>
                <a:alphaOff val="0"/>
              </a:srgbClr>
            </a:solidFill>
            <a:prstDash val="solid"/>
            <a:miter lim="800000"/>
          </a:ln>
          <a:effectLst/>
        </p:spPr>
        <p:txBody>
          <a:bodyPr spcFirstLastPara="0" vert="horz" wrap="square" lIns="192024" tIns="192024" rIns="256032" bIns="288036" numCol="1" spcCol="1270" anchor="t" anchorCtr="0">
            <a:noAutofit/>
          </a:bodyPr>
          <a:lstStyle/>
          <a:p>
            <a:pPr marL="0" lvl="1" defTabSz="1600200">
              <a:lnSpc>
                <a:spcPct val="90000"/>
              </a:lnSpc>
              <a:spcBef>
                <a:spcPct val="0"/>
              </a:spcBef>
              <a:spcAft>
                <a:spcPct val="15000"/>
              </a:spcAft>
            </a:pPr>
            <a:endParaRPr lang="en-GB" sz="800" kern="0" noProof="0">
              <a:solidFill>
                <a:srgbClr val="000000"/>
              </a:solidFill>
              <a:latin typeface="Santander Text" panose="020B0504020201020104"/>
            </a:endParaRPr>
          </a:p>
        </p:txBody>
      </p:sp>
      <p:sp>
        <p:nvSpPr>
          <p:cNvPr id="19" name="TextBox 30">
            <a:extLst>
              <a:ext uri="{FF2B5EF4-FFF2-40B4-BE49-F238E27FC236}">
                <a16:creationId xmlns:a16="http://schemas.microsoft.com/office/drawing/2014/main" id="{4820C5FF-658E-6616-5BC6-71B48C8CAB6D}"/>
              </a:ext>
            </a:extLst>
          </p:cNvPr>
          <p:cNvSpPr txBox="1"/>
          <p:nvPr/>
        </p:nvSpPr>
        <p:spPr>
          <a:xfrm>
            <a:off x="8640937" y="3634518"/>
            <a:ext cx="1109503" cy="187131"/>
          </a:xfrm>
          <a:prstGeom prst="rect">
            <a:avLst/>
          </a:prstGeom>
        </p:spPr>
        <p:txBody>
          <a:bodyPr vert="horz" wrap="square" lIns="0" tIns="0" rIns="0" bIns="0" rtlCol="0">
            <a:noAutofit/>
          </a:bodyPr>
          <a:lstStyle/>
          <a:p>
            <a:pPr lvl="0" algn="ctr">
              <a:defRPr/>
            </a:pPr>
            <a:r>
              <a:rPr lang="en-GB" sz="1000" b="1" i="1" kern="0" noProof="0">
                <a:solidFill>
                  <a:srgbClr val="070F26"/>
                </a:solidFill>
                <a:latin typeface="Santander Text" panose="020B0504020201020104"/>
              </a:rPr>
              <a:t>Consolidation and analysis</a:t>
            </a:r>
            <a:endParaRPr kumimoji="0" lang="en-GB" sz="1000" b="1" i="1" u="none" strike="noStrike" kern="0" cap="none" spc="0" normalizeH="0" baseline="0" noProof="0">
              <a:ln>
                <a:noFill/>
              </a:ln>
              <a:solidFill>
                <a:srgbClr val="070F26"/>
              </a:solidFill>
              <a:effectLst/>
              <a:uLnTx/>
              <a:uFillTx/>
              <a:latin typeface="Santander Text" panose="020B0504020201020104"/>
            </a:endParaRPr>
          </a:p>
        </p:txBody>
      </p:sp>
      <p:sp>
        <p:nvSpPr>
          <p:cNvPr id="22" name="Rectangle 205">
            <a:extLst>
              <a:ext uri="{FF2B5EF4-FFF2-40B4-BE49-F238E27FC236}">
                <a16:creationId xmlns:a16="http://schemas.microsoft.com/office/drawing/2014/main" id="{F77D14BE-9584-59F4-BAC2-8761F7288E24}"/>
              </a:ext>
            </a:extLst>
          </p:cNvPr>
          <p:cNvSpPr>
            <a:spLocks/>
          </p:cNvSpPr>
          <p:nvPr/>
        </p:nvSpPr>
        <p:spPr>
          <a:xfrm>
            <a:off x="7101660" y="4298966"/>
            <a:ext cx="1044435" cy="321897"/>
          </a:xfrm>
          <a:prstGeom prst="rect">
            <a:avLst/>
          </a:prstGeom>
          <a:solidFill>
            <a:srgbClr val="C00000"/>
          </a:solidFill>
          <a:ln w="12700" cap="flat" cmpd="sng" algn="ctr">
            <a:solidFill>
              <a:srgbClr val="C00000"/>
            </a:solidFill>
            <a:prstDash val="solid"/>
            <a:miter lim="800000"/>
          </a:ln>
          <a:effectLst/>
        </p:spPr>
        <p:txBody>
          <a:bodyPr lIns="36000" tIns="36000" rIns="36000" bIns="36000" rtlCol="0" anchor="ctr"/>
          <a:lstStyle/>
          <a:p>
            <a:pPr algn="just">
              <a:lnSpc>
                <a:spcPct val="110000"/>
              </a:lnSpc>
              <a:spcBef>
                <a:spcPts val="600"/>
              </a:spcBef>
            </a:pPr>
            <a:r>
              <a:rPr lang="en-GB" sz="700" noProof="0">
                <a:solidFill>
                  <a:schemeClr val="bg1"/>
                </a:solidFill>
                <a:latin typeface="Santander Text" panose="020B0504020201020104"/>
              </a:rPr>
              <a:t>Retrieve the query to execute or generate a query</a:t>
            </a:r>
          </a:p>
        </p:txBody>
      </p:sp>
      <p:sp>
        <p:nvSpPr>
          <p:cNvPr id="24" name="Rectangle 205">
            <a:extLst>
              <a:ext uri="{FF2B5EF4-FFF2-40B4-BE49-F238E27FC236}">
                <a16:creationId xmlns:a16="http://schemas.microsoft.com/office/drawing/2014/main" id="{42372CE6-B230-B3EF-AB1C-6B1CAF8AEAC0}"/>
              </a:ext>
            </a:extLst>
          </p:cNvPr>
          <p:cNvSpPr>
            <a:spLocks/>
          </p:cNvSpPr>
          <p:nvPr/>
        </p:nvSpPr>
        <p:spPr>
          <a:xfrm>
            <a:off x="8601265" y="4298966"/>
            <a:ext cx="1149175" cy="315311"/>
          </a:xfrm>
          <a:prstGeom prst="rect">
            <a:avLst/>
          </a:prstGeom>
          <a:solidFill>
            <a:srgbClr val="C00000"/>
          </a:solidFill>
          <a:ln w="12700" cap="flat" cmpd="sng" algn="ctr">
            <a:solidFill>
              <a:srgbClr val="C00000"/>
            </a:solidFill>
            <a:prstDash val="solid"/>
            <a:miter lim="800000"/>
          </a:ln>
          <a:effectLst/>
        </p:spPr>
        <p:txBody>
          <a:bodyPr lIns="36000" tIns="36000" rIns="36000" bIns="36000" rtlCol="0" anchor="ctr"/>
          <a:lstStyle/>
          <a:p>
            <a:pPr algn="ctr">
              <a:lnSpc>
                <a:spcPct val="110000"/>
              </a:lnSpc>
              <a:spcBef>
                <a:spcPts val="600"/>
              </a:spcBef>
            </a:pPr>
            <a:r>
              <a:rPr lang="en-GB" sz="700" noProof="0">
                <a:solidFill>
                  <a:schemeClr val="bg1"/>
                </a:solidFill>
                <a:latin typeface="Santander Text" panose="020B0504020201020104"/>
              </a:rPr>
              <a:t>Information consolidation and data analysis</a:t>
            </a:r>
          </a:p>
        </p:txBody>
      </p:sp>
      <p:sp>
        <p:nvSpPr>
          <p:cNvPr id="26" name="Rectangle 205">
            <a:extLst>
              <a:ext uri="{FF2B5EF4-FFF2-40B4-BE49-F238E27FC236}">
                <a16:creationId xmlns:a16="http://schemas.microsoft.com/office/drawing/2014/main" id="{515961F5-9CAF-9667-570E-FE597AD7352D}"/>
              </a:ext>
            </a:extLst>
          </p:cNvPr>
          <p:cNvSpPr>
            <a:spLocks/>
          </p:cNvSpPr>
          <p:nvPr/>
        </p:nvSpPr>
        <p:spPr>
          <a:xfrm>
            <a:off x="10250045" y="4298966"/>
            <a:ext cx="1020557" cy="320791"/>
          </a:xfrm>
          <a:prstGeom prst="rect">
            <a:avLst/>
          </a:prstGeom>
          <a:solidFill>
            <a:srgbClr val="C00000"/>
          </a:solidFill>
          <a:ln w="12700" cap="flat" cmpd="sng" algn="ctr">
            <a:solidFill>
              <a:srgbClr val="C00000"/>
            </a:solidFill>
            <a:prstDash val="solid"/>
            <a:miter lim="800000"/>
          </a:ln>
          <a:effectLst/>
        </p:spPr>
        <p:txBody>
          <a:bodyPr lIns="36000" tIns="36000" rIns="36000" bIns="36000" rtlCol="0" anchor="ctr"/>
          <a:lstStyle/>
          <a:p>
            <a:pPr algn="ctr">
              <a:lnSpc>
                <a:spcPct val="110000"/>
              </a:lnSpc>
              <a:spcBef>
                <a:spcPts val="600"/>
              </a:spcBef>
            </a:pPr>
            <a:r>
              <a:rPr lang="en-GB" sz="700" noProof="0">
                <a:solidFill>
                  <a:schemeClr val="bg1"/>
                </a:solidFill>
                <a:latin typeface="Santander Text" panose="020B0504020201020104"/>
              </a:rPr>
              <a:t>Verification of Criteria, Data, and Conclusions</a:t>
            </a:r>
          </a:p>
        </p:txBody>
      </p:sp>
      <p:sp>
        <p:nvSpPr>
          <p:cNvPr id="32" name="Rectangle 205">
            <a:extLst>
              <a:ext uri="{FF2B5EF4-FFF2-40B4-BE49-F238E27FC236}">
                <a16:creationId xmlns:a16="http://schemas.microsoft.com/office/drawing/2014/main" id="{02C11A35-427A-6F5A-173E-DA155BC3A1A5}"/>
              </a:ext>
            </a:extLst>
          </p:cNvPr>
          <p:cNvSpPr>
            <a:spLocks/>
          </p:cNvSpPr>
          <p:nvPr/>
        </p:nvSpPr>
        <p:spPr>
          <a:xfrm>
            <a:off x="8503722" y="2333262"/>
            <a:ext cx="1380182" cy="444644"/>
          </a:xfrm>
          <a:prstGeom prst="rect">
            <a:avLst/>
          </a:prstGeom>
          <a:solidFill>
            <a:srgbClr val="C00000"/>
          </a:solidFill>
          <a:ln w="12700" cap="flat" cmpd="sng" algn="ctr">
            <a:solidFill>
              <a:srgbClr val="C00000"/>
            </a:solidFill>
            <a:prstDash val="solid"/>
            <a:miter lim="800000"/>
          </a:ln>
          <a:effectLst/>
        </p:spPr>
        <p:txBody>
          <a:bodyPr lIns="36000" tIns="36000" rIns="36000" bIns="36000" rtlCol="0" anchor="ctr"/>
          <a:lstStyle/>
          <a:p>
            <a:pPr algn="just">
              <a:lnSpc>
                <a:spcPct val="110000"/>
              </a:lnSpc>
              <a:spcBef>
                <a:spcPts val="600"/>
              </a:spcBef>
            </a:pPr>
            <a:r>
              <a:rPr lang="en-GB" sz="700" noProof="0">
                <a:solidFill>
                  <a:schemeClr val="bg1"/>
                </a:solidFill>
                <a:latin typeface="Santander Text" panose="020B0504020201020104"/>
              </a:rPr>
              <a:t>Planning Pre-analysis, task orchestration, recovery of previous data</a:t>
            </a:r>
          </a:p>
        </p:txBody>
      </p:sp>
      <p:sp>
        <p:nvSpPr>
          <p:cNvPr id="33" name="Flecha: a la derecha 32">
            <a:extLst>
              <a:ext uri="{FF2B5EF4-FFF2-40B4-BE49-F238E27FC236}">
                <a16:creationId xmlns:a16="http://schemas.microsoft.com/office/drawing/2014/main" id="{FA20801F-F5A8-09FC-1915-CCABFB991E45}"/>
              </a:ext>
            </a:extLst>
          </p:cNvPr>
          <p:cNvSpPr/>
          <p:nvPr/>
        </p:nvSpPr>
        <p:spPr>
          <a:xfrm rot="7774381">
            <a:off x="7790207" y="3118010"/>
            <a:ext cx="664702" cy="187983"/>
          </a:xfrm>
          <a:prstGeom prst="rightArrow">
            <a:avLst/>
          </a:prstGeom>
          <a:solidFill>
            <a:srgbClr val="D6DCE5"/>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lang="en-GB" sz="1600" b="1" noProof="0">
              <a:solidFill>
                <a:srgbClr val="C00000"/>
              </a:solidFill>
              <a:latin typeface="Santander Text" panose="020B0504020201020104"/>
            </a:endParaRPr>
          </a:p>
        </p:txBody>
      </p:sp>
      <p:sp>
        <p:nvSpPr>
          <p:cNvPr id="35" name="Flecha: a la derecha 34">
            <a:extLst>
              <a:ext uri="{FF2B5EF4-FFF2-40B4-BE49-F238E27FC236}">
                <a16:creationId xmlns:a16="http://schemas.microsoft.com/office/drawing/2014/main" id="{872C704A-4C32-3C6A-87E2-4F6B8F4C1DD8}"/>
              </a:ext>
            </a:extLst>
          </p:cNvPr>
          <p:cNvSpPr/>
          <p:nvPr/>
        </p:nvSpPr>
        <p:spPr>
          <a:xfrm rot="3164274">
            <a:off x="9993816" y="3117899"/>
            <a:ext cx="643981" cy="202258"/>
          </a:xfrm>
          <a:prstGeom prst="rightArrow">
            <a:avLst/>
          </a:prstGeom>
          <a:solidFill>
            <a:srgbClr val="D6DCE5"/>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lang="en-GB" sz="1600" b="1" noProof="0">
              <a:solidFill>
                <a:srgbClr val="C00000"/>
              </a:solidFill>
              <a:latin typeface="Santander Text" panose="020B0504020201020104"/>
            </a:endParaRPr>
          </a:p>
        </p:txBody>
      </p:sp>
      <p:sp>
        <p:nvSpPr>
          <p:cNvPr id="36" name="Flecha: a la derecha 35">
            <a:extLst>
              <a:ext uri="{FF2B5EF4-FFF2-40B4-BE49-F238E27FC236}">
                <a16:creationId xmlns:a16="http://schemas.microsoft.com/office/drawing/2014/main" id="{DDEA7BDF-3062-C0D6-4D53-395D9F0F391F}"/>
              </a:ext>
            </a:extLst>
          </p:cNvPr>
          <p:cNvSpPr/>
          <p:nvPr/>
        </p:nvSpPr>
        <p:spPr>
          <a:xfrm rot="5400000">
            <a:off x="8902196" y="3162588"/>
            <a:ext cx="568677" cy="191190"/>
          </a:xfrm>
          <a:prstGeom prst="rightArrow">
            <a:avLst/>
          </a:prstGeom>
          <a:solidFill>
            <a:srgbClr val="D6DCE5"/>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lang="en-GB" sz="1600" b="1" noProof="0">
              <a:solidFill>
                <a:srgbClr val="C00000"/>
              </a:solidFill>
              <a:latin typeface="Santander Text" panose="020B0504020201020104"/>
            </a:endParaRPr>
          </a:p>
        </p:txBody>
      </p:sp>
      <p:pic>
        <p:nvPicPr>
          <p:cNvPr id="43" name="Imagem 12" descr="Ícone&#10;&#10;Descrição gerada automaticamente">
            <a:extLst>
              <a:ext uri="{FF2B5EF4-FFF2-40B4-BE49-F238E27FC236}">
                <a16:creationId xmlns:a16="http://schemas.microsoft.com/office/drawing/2014/main" id="{12005618-CB9C-A177-F49A-7DE77E014760}"/>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8975842" y="1806395"/>
            <a:ext cx="435941" cy="491874"/>
          </a:xfrm>
          <a:prstGeom prst="rect">
            <a:avLst/>
          </a:prstGeom>
        </p:spPr>
      </p:pic>
      <p:sp>
        <p:nvSpPr>
          <p:cNvPr id="87" name="Text Placeholder 3">
            <a:extLst>
              <a:ext uri="{FF2B5EF4-FFF2-40B4-BE49-F238E27FC236}">
                <a16:creationId xmlns:a16="http://schemas.microsoft.com/office/drawing/2014/main" id="{753D1E8D-1756-7BA9-8CDB-32CDA1812F2C}"/>
              </a:ext>
            </a:extLst>
          </p:cNvPr>
          <p:cNvSpPr txBox="1">
            <a:spLocks/>
          </p:cNvSpPr>
          <p:nvPr/>
        </p:nvSpPr>
        <p:spPr>
          <a:xfrm>
            <a:off x="354840" y="186174"/>
            <a:ext cx="2173287" cy="307777"/>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0" noProof="0">
                <a:solidFill>
                  <a:srgbClr val="F14949"/>
                </a:solidFill>
                <a:latin typeface="Santander Headline" panose="020B0504020201020104"/>
              </a:rPr>
              <a:t>Agentic Architecture</a:t>
            </a:r>
          </a:p>
        </p:txBody>
      </p:sp>
      <p:pic>
        <p:nvPicPr>
          <p:cNvPr id="88" name="Imagen 2" descr="NTT Data - Red Seguridad">
            <a:extLst>
              <a:ext uri="{FF2B5EF4-FFF2-40B4-BE49-F238E27FC236}">
                <a16:creationId xmlns:a16="http://schemas.microsoft.com/office/drawing/2014/main" id="{C944BD6E-8437-EBE6-C907-E5B602AB957A}"/>
              </a:ext>
            </a:extLst>
          </p:cNvPr>
          <p:cNvPicPr>
            <a:picLocks noChangeAspect="1"/>
          </p:cNvPicPr>
          <p:nvPr/>
        </p:nvPicPr>
        <p:blipFill>
          <a:blip r:embed="rId3"/>
          <a:stretch>
            <a:fillRect/>
          </a:stretch>
        </p:blipFill>
        <p:spPr>
          <a:xfrm>
            <a:off x="10881313" y="-202669"/>
            <a:ext cx="1166998" cy="847775"/>
          </a:xfrm>
          <a:prstGeom prst="rect">
            <a:avLst/>
          </a:prstGeom>
        </p:spPr>
      </p:pic>
      <p:pic>
        <p:nvPicPr>
          <p:cNvPr id="89" name="Picture 66">
            <a:extLst>
              <a:ext uri="{FF2B5EF4-FFF2-40B4-BE49-F238E27FC236}">
                <a16:creationId xmlns:a16="http://schemas.microsoft.com/office/drawing/2014/main" id="{DF56B602-D58C-D376-8F90-D2AE387D8D95}"/>
              </a:ext>
            </a:extLst>
          </p:cNvPr>
          <p:cNvPicPr>
            <a:picLocks noChangeAspect="1"/>
          </p:cNvPicPr>
          <p:nvPr/>
        </p:nvPicPr>
        <p:blipFill>
          <a:blip r:embed="rId4"/>
          <a:srcRect r="22480"/>
          <a:stretch>
            <a:fillRect/>
          </a:stretch>
        </p:blipFill>
        <p:spPr>
          <a:xfrm>
            <a:off x="9081410" y="32335"/>
            <a:ext cx="1610515" cy="388493"/>
          </a:xfrm>
          <a:prstGeom prst="rect">
            <a:avLst/>
          </a:prstGeom>
        </p:spPr>
      </p:pic>
      <p:sp>
        <p:nvSpPr>
          <p:cNvPr id="90" name="CuadroTexto 89">
            <a:extLst>
              <a:ext uri="{FF2B5EF4-FFF2-40B4-BE49-F238E27FC236}">
                <a16:creationId xmlns:a16="http://schemas.microsoft.com/office/drawing/2014/main" id="{51DD79FB-9B07-F114-B923-50904200CC13}"/>
              </a:ext>
            </a:extLst>
          </p:cNvPr>
          <p:cNvSpPr txBox="1"/>
          <p:nvPr/>
        </p:nvSpPr>
        <p:spPr>
          <a:xfrm>
            <a:off x="267479" y="424191"/>
            <a:ext cx="5350860" cy="276999"/>
          </a:xfrm>
          <a:prstGeom prst="rect">
            <a:avLst/>
          </a:prstGeom>
          <a:noFill/>
        </p:spPr>
        <p:txBody>
          <a:bodyPr wrap="square" rtlCol="0">
            <a:spAutoFit/>
          </a:bodyPr>
          <a:lstStyle/>
          <a:p>
            <a:r>
              <a:rPr lang="en-GB" sz="1200" noProof="0">
                <a:solidFill>
                  <a:srgbClr val="F14949"/>
                </a:solidFill>
                <a:latin typeface="Santander Headline" panose="020B0504020201020104"/>
                <a:cs typeface="Arial"/>
              </a:rPr>
              <a:t>Agent flow to provide responses to the customer SANART</a:t>
            </a:r>
            <a:endParaRPr lang="en-GB" sz="1200" noProof="0">
              <a:solidFill>
                <a:srgbClr val="F14949"/>
              </a:solidFill>
              <a:latin typeface="Santander Headline" panose="020B0504020201020104"/>
            </a:endParaRPr>
          </a:p>
        </p:txBody>
      </p:sp>
      <p:pic>
        <p:nvPicPr>
          <p:cNvPr id="91" name="Imagem 12" descr="Ícone&#10;&#10;Descrição gerada automaticamente">
            <a:extLst>
              <a:ext uri="{FF2B5EF4-FFF2-40B4-BE49-F238E27FC236}">
                <a16:creationId xmlns:a16="http://schemas.microsoft.com/office/drawing/2014/main" id="{C0F6BF07-041B-7737-084F-3C235E0D1E01}"/>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7481926" y="3961242"/>
            <a:ext cx="262324" cy="295981"/>
          </a:xfrm>
          <a:prstGeom prst="rect">
            <a:avLst/>
          </a:prstGeom>
        </p:spPr>
      </p:pic>
      <p:pic>
        <p:nvPicPr>
          <p:cNvPr id="92" name="Imagem 12" descr="Ícone&#10;&#10;Descrição gerada automaticamente">
            <a:extLst>
              <a:ext uri="{FF2B5EF4-FFF2-40B4-BE49-F238E27FC236}">
                <a16:creationId xmlns:a16="http://schemas.microsoft.com/office/drawing/2014/main" id="{3C1D1626-26D2-2171-938C-57328D8A36DE}"/>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9019806" y="3961242"/>
            <a:ext cx="262324" cy="295981"/>
          </a:xfrm>
          <a:prstGeom prst="rect">
            <a:avLst/>
          </a:prstGeom>
        </p:spPr>
      </p:pic>
      <p:pic>
        <p:nvPicPr>
          <p:cNvPr id="93" name="Imagem 12" descr="Ícone&#10;&#10;Descrição gerada automaticamente">
            <a:extLst>
              <a:ext uri="{FF2B5EF4-FFF2-40B4-BE49-F238E27FC236}">
                <a16:creationId xmlns:a16="http://schemas.microsoft.com/office/drawing/2014/main" id="{F7431BB6-114D-151A-1D2F-82A39058403B}"/>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10608279" y="3961242"/>
            <a:ext cx="262324" cy="295981"/>
          </a:xfrm>
          <a:prstGeom prst="rect">
            <a:avLst/>
          </a:prstGeom>
        </p:spPr>
      </p:pic>
      <p:grpSp>
        <p:nvGrpSpPr>
          <p:cNvPr id="23" name="Grupo 22">
            <a:extLst>
              <a:ext uri="{FF2B5EF4-FFF2-40B4-BE49-F238E27FC236}">
                <a16:creationId xmlns:a16="http://schemas.microsoft.com/office/drawing/2014/main" id="{87ECD111-67DB-432B-014C-32999998E484}"/>
              </a:ext>
            </a:extLst>
          </p:cNvPr>
          <p:cNvGrpSpPr/>
          <p:nvPr/>
        </p:nvGrpSpPr>
        <p:grpSpPr>
          <a:xfrm>
            <a:off x="5825131" y="1675298"/>
            <a:ext cx="1028740" cy="767901"/>
            <a:chOff x="2956486" y="3617924"/>
            <a:chExt cx="1028740" cy="767901"/>
          </a:xfrm>
        </p:grpSpPr>
        <p:sp>
          <p:nvSpPr>
            <p:cNvPr id="25" name="Rectangle 1">
              <a:extLst>
                <a:ext uri="{FF2B5EF4-FFF2-40B4-BE49-F238E27FC236}">
                  <a16:creationId xmlns:a16="http://schemas.microsoft.com/office/drawing/2014/main" id="{86EC4ECB-C94C-4C9B-DB57-253182ED19C2}"/>
                </a:ext>
              </a:extLst>
            </p:cNvPr>
            <p:cNvSpPr/>
            <p:nvPr/>
          </p:nvSpPr>
          <p:spPr>
            <a:xfrm>
              <a:off x="2956486" y="3940175"/>
              <a:ext cx="1028740" cy="445650"/>
            </a:xfrm>
            <a:prstGeom prst="roundRect">
              <a:avLst/>
            </a:prstGeom>
            <a:solidFill>
              <a:schemeClr val="accent2">
                <a:lumMod val="40000"/>
                <a:lumOff val="60000"/>
              </a:schemeClr>
            </a:solidFill>
            <a:ln w="6350" cap="flat" cmpd="sng" algn="ctr">
              <a:noFill/>
              <a:prstDash val="solid"/>
              <a:miter lim="800000"/>
              <a:headEnd type="none" w="med" len="med"/>
              <a:tailEnd type="none" w="med" len="med"/>
            </a:ln>
            <a:effectLst/>
          </p:spPr>
          <p:txBody>
            <a:bodyPr vert="horz" lIns="0" rIns="0" rtlCol="0" anchor="ctr"/>
            <a:lstStyle/>
            <a:p>
              <a:pPr algn="ctr"/>
              <a:r>
                <a:rPr lang="en-GB" sz="1200" b="1" kern="0" noProof="0">
                  <a:solidFill>
                    <a:schemeClr val="bg1"/>
                  </a:solidFill>
                  <a:latin typeface="Santander Text" panose="020B0504020201020104"/>
                </a:rPr>
                <a:t>Conversational Interface</a:t>
              </a:r>
            </a:p>
          </p:txBody>
        </p:sp>
        <p:pic>
          <p:nvPicPr>
            <p:cNvPr id="27" name="Picture 6" descr="Microsoft Teams Logo y símbolo, significado, historia, PNG, marca">
              <a:extLst>
                <a:ext uri="{FF2B5EF4-FFF2-40B4-BE49-F238E27FC236}">
                  <a16:creationId xmlns:a16="http://schemas.microsoft.com/office/drawing/2014/main" id="{A7F1BD15-4998-D61E-B284-038F99232B27}"/>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0000" l="10000" r="90000">
                          <a14:foregroundMark x1="76705" y1="26591" x2="76705" y2="26591"/>
                          <a14:foregroundMark x1="30909" y1="43750" x2="30909" y2="43750"/>
                          <a14:foregroundMark x1="24091" y1="42273" x2="28750" y2="56705"/>
                          <a14:foregroundMark x1="28409" y1="58182" x2="36364" y2="41932"/>
                          <a14:foregroundMark x1="33864" y1="41932" x2="33864" y2="44432"/>
                          <a14:foregroundMark x1="30568" y1="45227" x2="30227" y2="48068"/>
                          <a14:foregroundMark x1="30568" y1="43750" x2="30909" y2="50909"/>
                          <a14:foregroundMark x1="81136" y1="26364" x2="81136" y2="26364"/>
                          <a14:foregroundMark x1="76818" y1="26023" x2="76818" y2="26023"/>
                          <a14:foregroundMark x1="78636" y1="28523" x2="78636" y2="28523"/>
                          <a14:foregroundMark x1="76477" y1="24205" x2="80455" y2="25682"/>
                        </a14:backgroundRemoval>
                      </a14:imgEffect>
                    </a14:imgLayer>
                  </a14:imgProps>
                </a:ext>
                <a:ext uri="{28A0092B-C50C-407E-A947-70E740481C1C}">
                  <a14:useLocalDpi xmlns:a14="http://schemas.microsoft.com/office/drawing/2010/main" val="0"/>
                </a:ext>
              </a:extLst>
            </a:blip>
            <a:srcRect/>
            <a:stretch>
              <a:fillRect/>
            </a:stretch>
          </p:blipFill>
          <p:spPr bwMode="auto">
            <a:xfrm>
              <a:off x="3217190" y="3617924"/>
              <a:ext cx="445650" cy="4456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Computer9" descr="{&quot;Key&quot;:&quot;POWER_USER_SHAPE_ICON&quot;,&quot;Value&quot;:&quot;POWER_USER_SHAPE_ICON_STYLE_1&quot;}">
            <a:extLst>
              <a:ext uri="{FF2B5EF4-FFF2-40B4-BE49-F238E27FC236}">
                <a16:creationId xmlns:a16="http://schemas.microsoft.com/office/drawing/2014/main" id="{5B79B972-4582-8542-429C-90BE1A026C2D}"/>
              </a:ext>
            </a:extLst>
          </p:cNvPr>
          <p:cNvGrpSpPr>
            <a:grpSpLocks noChangeAspect="1"/>
          </p:cNvGrpSpPr>
          <p:nvPr/>
        </p:nvGrpSpPr>
        <p:grpSpPr>
          <a:xfrm>
            <a:off x="4037338" y="1664089"/>
            <a:ext cx="931623" cy="950533"/>
            <a:chOff x="2325688" y="5576885"/>
            <a:chExt cx="625475" cy="638175"/>
          </a:xfrm>
          <a:solidFill>
            <a:schemeClr val="tx1"/>
          </a:solidFill>
        </p:grpSpPr>
        <p:sp>
          <p:nvSpPr>
            <p:cNvPr id="30" name="Freeform 85">
              <a:extLst>
                <a:ext uri="{FF2B5EF4-FFF2-40B4-BE49-F238E27FC236}">
                  <a16:creationId xmlns:a16="http://schemas.microsoft.com/office/drawing/2014/main" id="{6E7BD4A5-5EE0-C0CB-0742-4B301E982D94}"/>
                </a:ext>
              </a:extLst>
            </p:cNvPr>
            <p:cNvSpPr>
              <a:spLocks noEditPoints="1"/>
            </p:cNvSpPr>
            <p:nvPr/>
          </p:nvSpPr>
          <p:spPr bwMode="auto">
            <a:xfrm>
              <a:off x="2387600" y="5641976"/>
              <a:ext cx="130175" cy="142875"/>
            </a:xfrm>
            <a:custGeom>
              <a:avLst/>
              <a:gdLst>
                <a:gd name="T0" fmla="*/ 109 w 219"/>
                <a:gd name="T1" fmla="*/ 33 h 241"/>
                <a:gd name="T2" fmla="*/ 185 w 219"/>
                <a:gd name="T3" fmla="*/ 120 h 241"/>
                <a:gd name="T4" fmla="*/ 109 w 219"/>
                <a:gd name="T5" fmla="*/ 207 h 241"/>
                <a:gd name="T6" fmla="*/ 33 w 219"/>
                <a:gd name="T7" fmla="*/ 120 h 241"/>
                <a:gd name="T8" fmla="*/ 109 w 219"/>
                <a:gd name="T9" fmla="*/ 33 h 241"/>
                <a:gd name="T10" fmla="*/ 109 w 219"/>
                <a:gd name="T11" fmla="*/ 241 h 241"/>
                <a:gd name="T12" fmla="*/ 219 w 219"/>
                <a:gd name="T13" fmla="*/ 120 h 241"/>
                <a:gd name="T14" fmla="*/ 109 w 219"/>
                <a:gd name="T15" fmla="*/ 0 h 241"/>
                <a:gd name="T16" fmla="*/ 0 w 219"/>
                <a:gd name="T17" fmla="*/ 120 h 241"/>
                <a:gd name="T18" fmla="*/ 109 w 219"/>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9" h="241">
                  <a:moveTo>
                    <a:pt x="109" y="33"/>
                  </a:moveTo>
                  <a:cubicBezTo>
                    <a:pt x="151" y="33"/>
                    <a:pt x="185" y="72"/>
                    <a:pt x="185" y="120"/>
                  </a:cubicBezTo>
                  <a:cubicBezTo>
                    <a:pt x="185" y="168"/>
                    <a:pt x="151" y="207"/>
                    <a:pt x="109" y="207"/>
                  </a:cubicBezTo>
                  <a:cubicBezTo>
                    <a:pt x="67" y="207"/>
                    <a:pt x="33" y="168"/>
                    <a:pt x="33" y="120"/>
                  </a:cubicBezTo>
                  <a:cubicBezTo>
                    <a:pt x="33" y="72"/>
                    <a:pt x="67" y="33"/>
                    <a:pt x="109" y="33"/>
                  </a:cubicBezTo>
                  <a:close/>
                  <a:moveTo>
                    <a:pt x="109" y="241"/>
                  </a:moveTo>
                  <a:cubicBezTo>
                    <a:pt x="170" y="241"/>
                    <a:pt x="219" y="187"/>
                    <a:pt x="219" y="120"/>
                  </a:cubicBezTo>
                  <a:cubicBezTo>
                    <a:pt x="219" y="54"/>
                    <a:pt x="170" y="0"/>
                    <a:pt x="109" y="0"/>
                  </a:cubicBezTo>
                  <a:cubicBezTo>
                    <a:pt x="49" y="0"/>
                    <a:pt x="0" y="54"/>
                    <a:pt x="0" y="120"/>
                  </a:cubicBezTo>
                  <a:cubicBezTo>
                    <a:pt x="0" y="187"/>
                    <a:pt x="49" y="241"/>
                    <a:pt x="109" y="2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latin typeface="Santander Text" panose="020B0504020201020104"/>
              </a:endParaRPr>
            </a:p>
          </p:txBody>
        </p:sp>
        <p:sp>
          <p:nvSpPr>
            <p:cNvPr id="31" name="Freeform 86">
              <a:extLst>
                <a:ext uri="{FF2B5EF4-FFF2-40B4-BE49-F238E27FC236}">
                  <a16:creationId xmlns:a16="http://schemas.microsoft.com/office/drawing/2014/main" id="{127F9A4A-259E-8E77-0A15-286AB2134D71}"/>
                </a:ext>
              </a:extLst>
            </p:cNvPr>
            <p:cNvSpPr>
              <a:spLocks noEditPoints="1"/>
            </p:cNvSpPr>
            <p:nvPr/>
          </p:nvSpPr>
          <p:spPr bwMode="auto">
            <a:xfrm>
              <a:off x="2325688" y="5576885"/>
              <a:ext cx="625475" cy="638175"/>
            </a:xfrm>
            <a:custGeom>
              <a:avLst/>
              <a:gdLst>
                <a:gd name="T0" fmla="*/ 312 w 1045"/>
                <a:gd name="T1" fmla="*/ 575 h 1067"/>
                <a:gd name="T2" fmla="*/ 276 w 1045"/>
                <a:gd name="T3" fmla="*/ 539 h 1067"/>
                <a:gd name="T4" fmla="*/ 226 w 1045"/>
                <a:gd name="T5" fmla="*/ 513 h 1067"/>
                <a:gd name="T6" fmla="*/ 247 w 1045"/>
                <a:gd name="T7" fmla="*/ 557 h 1067"/>
                <a:gd name="T8" fmla="*/ 247 w 1045"/>
                <a:gd name="T9" fmla="*/ 687 h 1067"/>
                <a:gd name="T10" fmla="*/ 387 w 1045"/>
                <a:gd name="T11" fmla="*/ 704 h 1067"/>
                <a:gd name="T12" fmla="*/ 514 w 1045"/>
                <a:gd name="T13" fmla="*/ 1034 h 1067"/>
                <a:gd name="T14" fmla="*/ 379 w 1045"/>
                <a:gd name="T15" fmla="*/ 825 h 1067"/>
                <a:gd name="T16" fmla="*/ 185 w 1045"/>
                <a:gd name="T17" fmla="*/ 813 h 1067"/>
                <a:gd name="T18" fmla="*/ 115 w 1045"/>
                <a:gd name="T19" fmla="*/ 532 h 1067"/>
                <a:gd name="T20" fmla="*/ 131 w 1045"/>
                <a:gd name="T21" fmla="*/ 424 h 1067"/>
                <a:gd name="T22" fmla="*/ 243 w 1045"/>
                <a:gd name="T23" fmla="*/ 407 h 1067"/>
                <a:gd name="T24" fmla="*/ 370 w 1045"/>
                <a:gd name="T25" fmla="*/ 526 h 1067"/>
                <a:gd name="T26" fmla="*/ 497 w 1045"/>
                <a:gd name="T27" fmla="*/ 530 h 1067"/>
                <a:gd name="T28" fmla="*/ 488 w 1045"/>
                <a:gd name="T29" fmla="*/ 564 h 1067"/>
                <a:gd name="T30" fmla="*/ 442 w 1045"/>
                <a:gd name="T31" fmla="*/ 575 h 1067"/>
                <a:gd name="T32" fmla="*/ 53 w 1045"/>
                <a:gd name="T33" fmla="*/ 888 h 1067"/>
                <a:gd name="T34" fmla="*/ 33 w 1045"/>
                <a:gd name="T35" fmla="*/ 427 h 1067"/>
                <a:gd name="T36" fmla="*/ 61 w 1045"/>
                <a:gd name="T37" fmla="*/ 407 h 1067"/>
                <a:gd name="T38" fmla="*/ 81 w 1045"/>
                <a:gd name="T39" fmla="*/ 464 h 1067"/>
                <a:gd name="T40" fmla="*/ 81 w 1045"/>
                <a:gd name="T41" fmla="*/ 532 h 1067"/>
                <a:gd name="T42" fmla="*/ 100 w 1045"/>
                <a:gd name="T43" fmla="*/ 848 h 1067"/>
                <a:gd name="T44" fmla="*/ 280 w 1045"/>
                <a:gd name="T45" fmla="*/ 868 h 1067"/>
                <a:gd name="T46" fmla="*/ 787 w 1045"/>
                <a:gd name="T47" fmla="*/ 347 h 1067"/>
                <a:gd name="T48" fmla="*/ 690 w 1045"/>
                <a:gd name="T49" fmla="*/ 406 h 1067"/>
                <a:gd name="T50" fmla="*/ 727 w 1045"/>
                <a:gd name="T51" fmla="*/ 34 h 1067"/>
                <a:gd name="T52" fmla="*/ 787 w 1045"/>
                <a:gd name="T53" fmla="*/ 347 h 1067"/>
                <a:gd name="T54" fmla="*/ 785 w 1045"/>
                <a:gd name="T55" fmla="*/ 575 h 1067"/>
                <a:gd name="T56" fmla="*/ 932 w 1045"/>
                <a:gd name="T57" fmla="*/ 535 h 1067"/>
                <a:gd name="T58" fmla="*/ 949 w 1045"/>
                <a:gd name="T59" fmla="*/ 220 h 1067"/>
                <a:gd name="T60" fmla="*/ 820 w 1045"/>
                <a:gd name="T61" fmla="*/ 203 h 1067"/>
                <a:gd name="T62" fmla="*/ 727 w 1045"/>
                <a:gd name="T63" fmla="*/ 0 h 1067"/>
                <a:gd name="T64" fmla="*/ 657 w 1045"/>
                <a:gd name="T65" fmla="*/ 17 h 1067"/>
                <a:gd name="T66" fmla="*/ 674 w 1045"/>
                <a:gd name="T67" fmla="*/ 440 h 1067"/>
                <a:gd name="T68" fmla="*/ 820 w 1045"/>
                <a:gd name="T69" fmla="*/ 347 h 1067"/>
                <a:gd name="T70" fmla="*/ 916 w 1045"/>
                <a:gd name="T71" fmla="*/ 237 h 1067"/>
                <a:gd name="T72" fmla="*/ 769 w 1045"/>
                <a:gd name="T73" fmla="*/ 501 h 1067"/>
                <a:gd name="T74" fmla="*/ 752 w 1045"/>
                <a:gd name="T75" fmla="*/ 575 h 1067"/>
                <a:gd name="T76" fmla="*/ 531 w 1045"/>
                <a:gd name="T77" fmla="*/ 536 h 1067"/>
                <a:gd name="T78" fmla="*/ 513 w 1045"/>
                <a:gd name="T79" fmla="*/ 497 h 1067"/>
                <a:gd name="T80" fmla="*/ 281 w 1045"/>
                <a:gd name="T81" fmla="*/ 389 h 1067"/>
                <a:gd name="T82" fmla="*/ 172 w 1045"/>
                <a:gd name="T83" fmla="*/ 374 h 1067"/>
                <a:gd name="T84" fmla="*/ 107 w 1045"/>
                <a:gd name="T85" fmla="*/ 401 h 1067"/>
                <a:gd name="T86" fmla="*/ 53 w 1045"/>
                <a:gd name="T87" fmla="*/ 374 h 1067"/>
                <a:gd name="T88" fmla="*/ 0 w 1045"/>
                <a:gd name="T89" fmla="*/ 868 h 1067"/>
                <a:gd name="T90" fmla="*/ 166 w 1045"/>
                <a:gd name="T91" fmla="*/ 922 h 1067"/>
                <a:gd name="T92" fmla="*/ 95 w 1045"/>
                <a:gd name="T93" fmla="*/ 1013 h 1067"/>
                <a:gd name="T94" fmla="*/ 105 w 1045"/>
                <a:gd name="T95" fmla="*/ 1044 h 1067"/>
                <a:gd name="T96" fmla="*/ 166 w 1045"/>
                <a:gd name="T97" fmla="*/ 1006 h 1067"/>
                <a:gd name="T98" fmla="*/ 183 w 1045"/>
                <a:gd name="T99" fmla="*/ 1067 h 1067"/>
                <a:gd name="T100" fmla="*/ 199 w 1045"/>
                <a:gd name="T101" fmla="*/ 1006 h 1067"/>
                <a:gd name="T102" fmla="*/ 276 w 1045"/>
                <a:gd name="T103" fmla="*/ 1038 h 1067"/>
                <a:gd name="T104" fmla="*/ 199 w 1045"/>
                <a:gd name="T105" fmla="*/ 965 h 1067"/>
                <a:gd name="T106" fmla="*/ 260 w 1045"/>
                <a:gd name="T107" fmla="*/ 922 h 1067"/>
                <a:gd name="T108" fmla="*/ 308 w 1045"/>
                <a:gd name="T109" fmla="*/ 847 h 1067"/>
                <a:gd name="T110" fmla="*/ 419 w 1045"/>
                <a:gd name="T111" fmla="*/ 1056 h 1067"/>
                <a:gd name="T112" fmla="*/ 535 w 1045"/>
                <a:gd name="T113" fmla="*/ 1067 h 1067"/>
                <a:gd name="T114" fmla="*/ 551 w 1045"/>
                <a:gd name="T115" fmla="*/ 1047 h 1067"/>
                <a:gd name="T116" fmla="*/ 387 w 1045"/>
                <a:gd name="T117" fmla="*/ 671 h 1067"/>
                <a:gd name="T118" fmla="*/ 281 w 1045"/>
                <a:gd name="T119" fmla="*/ 608 h 1067"/>
                <a:gd name="T120" fmla="*/ 462 w 1045"/>
                <a:gd name="T121" fmla="*/ 608 h 1067"/>
                <a:gd name="T122" fmla="*/ 1045 w 1045"/>
                <a:gd name="T123" fmla="*/ 591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5" h="1067">
                  <a:moveTo>
                    <a:pt x="442" y="575"/>
                  </a:moveTo>
                  <a:lnTo>
                    <a:pt x="312" y="575"/>
                  </a:lnTo>
                  <a:lnTo>
                    <a:pt x="276" y="539"/>
                  </a:lnTo>
                  <a:lnTo>
                    <a:pt x="276" y="539"/>
                  </a:lnTo>
                  <a:lnTo>
                    <a:pt x="250" y="513"/>
                  </a:lnTo>
                  <a:cubicBezTo>
                    <a:pt x="243" y="506"/>
                    <a:pt x="233" y="506"/>
                    <a:pt x="226" y="513"/>
                  </a:cubicBezTo>
                  <a:cubicBezTo>
                    <a:pt x="220" y="519"/>
                    <a:pt x="220" y="530"/>
                    <a:pt x="226" y="536"/>
                  </a:cubicBezTo>
                  <a:lnTo>
                    <a:pt x="247" y="557"/>
                  </a:lnTo>
                  <a:lnTo>
                    <a:pt x="247" y="591"/>
                  </a:lnTo>
                  <a:lnTo>
                    <a:pt x="247" y="687"/>
                  </a:lnTo>
                  <a:cubicBezTo>
                    <a:pt x="247" y="697"/>
                    <a:pt x="255" y="704"/>
                    <a:pt x="264" y="704"/>
                  </a:cubicBezTo>
                  <a:lnTo>
                    <a:pt x="387" y="704"/>
                  </a:lnTo>
                  <a:cubicBezTo>
                    <a:pt x="416" y="704"/>
                    <a:pt x="441" y="724"/>
                    <a:pt x="448" y="752"/>
                  </a:cubicBezTo>
                  <a:lnTo>
                    <a:pt x="514" y="1034"/>
                  </a:lnTo>
                  <a:lnTo>
                    <a:pt x="447" y="1034"/>
                  </a:lnTo>
                  <a:lnTo>
                    <a:pt x="379" y="825"/>
                  </a:lnTo>
                  <a:cubicBezTo>
                    <a:pt x="377" y="818"/>
                    <a:pt x="371" y="813"/>
                    <a:pt x="363" y="813"/>
                  </a:cubicBezTo>
                  <a:lnTo>
                    <a:pt x="185" y="813"/>
                  </a:lnTo>
                  <a:cubicBezTo>
                    <a:pt x="147" y="813"/>
                    <a:pt x="117" y="782"/>
                    <a:pt x="117" y="744"/>
                  </a:cubicBezTo>
                  <a:lnTo>
                    <a:pt x="115" y="532"/>
                  </a:lnTo>
                  <a:lnTo>
                    <a:pt x="114" y="463"/>
                  </a:lnTo>
                  <a:cubicBezTo>
                    <a:pt x="115" y="449"/>
                    <a:pt x="120" y="435"/>
                    <a:pt x="131" y="424"/>
                  </a:cubicBezTo>
                  <a:cubicBezTo>
                    <a:pt x="142" y="413"/>
                    <a:pt x="157" y="407"/>
                    <a:pt x="172" y="407"/>
                  </a:cubicBezTo>
                  <a:lnTo>
                    <a:pt x="243" y="407"/>
                  </a:lnTo>
                  <a:cubicBezTo>
                    <a:pt x="248" y="407"/>
                    <a:pt x="254" y="409"/>
                    <a:pt x="257" y="413"/>
                  </a:cubicBezTo>
                  <a:lnTo>
                    <a:pt x="370" y="526"/>
                  </a:lnTo>
                  <a:cubicBezTo>
                    <a:pt x="373" y="529"/>
                    <a:pt x="377" y="530"/>
                    <a:pt x="382" y="530"/>
                  </a:cubicBezTo>
                  <a:lnTo>
                    <a:pt x="497" y="530"/>
                  </a:lnTo>
                  <a:lnTo>
                    <a:pt x="498" y="537"/>
                  </a:lnTo>
                  <a:cubicBezTo>
                    <a:pt x="498" y="547"/>
                    <a:pt x="495" y="556"/>
                    <a:pt x="488" y="564"/>
                  </a:cubicBezTo>
                  <a:cubicBezTo>
                    <a:pt x="481" y="571"/>
                    <a:pt x="472" y="575"/>
                    <a:pt x="462" y="575"/>
                  </a:cubicBezTo>
                  <a:lnTo>
                    <a:pt x="442" y="575"/>
                  </a:lnTo>
                  <a:close/>
                  <a:moveTo>
                    <a:pt x="260" y="888"/>
                  </a:moveTo>
                  <a:lnTo>
                    <a:pt x="53" y="888"/>
                  </a:lnTo>
                  <a:cubicBezTo>
                    <a:pt x="42" y="888"/>
                    <a:pt x="33" y="879"/>
                    <a:pt x="33" y="868"/>
                  </a:cubicBezTo>
                  <a:lnTo>
                    <a:pt x="33" y="427"/>
                  </a:lnTo>
                  <a:cubicBezTo>
                    <a:pt x="33" y="416"/>
                    <a:pt x="42" y="407"/>
                    <a:pt x="53" y="407"/>
                  </a:cubicBezTo>
                  <a:lnTo>
                    <a:pt x="61" y="407"/>
                  </a:lnTo>
                  <a:cubicBezTo>
                    <a:pt x="72" y="407"/>
                    <a:pt x="81" y="416"/>
                    <a:pt x="81" y="427"/>
                  </a:cubicBezTo>
                  <a:lnTo>
                    <a:pt x="81" y="464"/>
                  </a:lnTo>
                  <a:cubicBezTo>
                    <a:pt x="81" y="465"/>
                    <a:pt x="81" y="465"/>
                    <a:pt x="81" y="466"/>
                  </a:cubicBezTo>
                  <a:lnTo>
                    <a:pt x="81" y="532"/>
                  </a:lnTo>
                  <a:lnTo>
                    <a:pt x="83" y="832"/>
                  </a:lnTo>
                  <a:cubicBezTo>
                    <a:pt x="83" y="841"/>
                    <a:pt x="90" y="848"/>
                    <a:pt x="100" y="848"/>
                  </a:cubicBezTo>
                  <a:lnTo>
                    <a:pt x="260" y="848"/>
                  </a:lnTo>
                  <a:cubicBezTo>
                    <a:pt x="271" y="848"/>
                    <a:pt x="280" y="857"/>
                    <a:pt x="280" y="868"/>
                  </a:cubicBezTo>
                  <a:cubicBezTo>
                    <a:pt x="280" y="879"/>
                    <a:pt x="271" y="888"/>
                    <a:pt x="260" y="888"/>
                  </a:cubicBezTo>
                  <a:close/>
                  <a:moveTo>
                    <a:pt x="787" y="347"/>
                  </a:moveTo>
                  <a:cubicBezTo>
                    <a:pt x="787" y="380"/>
                    <a:pt x="760" y="406"/>
                    <a:pt x="727" y="406"/>
                  </a:cubicBezTo>
                  <a:lnTo>
                    <a:pt x="690" y="406"/>
                  </a:lnTo>
                  <a:lnTo>
                    <a:pt x="690" y="34"/>
                  </a:lnTo>
                  <a:lnTo>
                    <a:pt x="727" y="34"/>
                  </a:lnTo>
                  <a:cubicBezTo>
                    <a:pt x="760" y="34"/>
                    <a:pt x="787" y="60"/>
                    <a:pt x="787" y="93"/>
                  </a:cubicBezTo>
                  <a:lnTo>
                    <a:pt x="787" y="347"/>
                  </a:lnTo>
                  <a:close/>
                  <a:moveTo>
                    <a:pt x="1029" y="575"/>
                  </a:moveTo>
                  <a:lnTo>
                    <a:pt x="785" y="575"/>
                  </a:lnTo>
                  <a:lnTo>
                    <a:pt x="785" y="535"/>
                  </a:lnTo>
                  <a:lnTo>
                    <a:pt x="932" y="535"/>
                  </a:lnTo>
                  <a:cubicBezTo>
                    <a:pt x="942" y="535"/>
                    <a:pt x="949" y="527"/>
                    <a:pt x="949" y="518"/>
                  </a:cubicBezTo>
                  <a:lnTo>
                    <a:pt x="949" y="220"/>
                  </a:lnTo>
                  <a:cubicBezTo>
                    <a:pt x="949" y="211"/>
                    <a:pt x="942" y="203"/>
                    <a:pt x="932" y="203"/>
                  </a:cubicBezTo>
                  <a:lnTo>
                    <a:pt x="820" y="203"/>
                  </a:lnTo>
                  <a:lnTo>
                    <a:pt x="820" y="93"/>
                  </a:lnTo>
                  <a:cubicBezTo>
                    <a:pt x="820" y="42"/>
                    <a:pt x="778" y="0"/>
                    <a:pt x="727" y="0"/>
                  </a:cubicBezTo>
                  <a:lnTo>
                    <a:pt x="674" y="0"/>
                  </a:lnTo>
                  <a:cubicBezTo>
                    <a:pt x="665" y="0"/>
                    <a:pt x="657" y="8"/>
                    <a:pt x="657" y="17"/>
                  </a:cubicBezTo>
                  <a:lnTo>
                    <a:pt x="657" y="423"/>
                  </a:lnTo>
                  <a:cubicBezTo>
                    <a:pt x="657" y="432"/>
                    <a:pt x="665" y="440"/>
                    <a:pt x="674" y="440"/>
                  </a:cubicBezTo>
                  <a:lnTo>
                    <a:pt x="727" y="440"/>
                  </a:lnTo>
                  <a:cubicBezTo>
                    <a:pt x="778" y="440"/>
                    <a:pt x="820" y="398"/>
                    <a:pt x="820" y="347"/>
                  </a:cubicBezTo>
                  <a:lnTo>
                    <a:pt x="820" y="237"/>
                  </a:lnTo>
                  <a:lnTo>
                    <a:pt x="916" y="237"/>
                  </a:lnTo>
                  <a:lnTo>
                    <a:pt x="916" y="501"/>
                  </a:lnTo>
                  <a:lnTo>
                    <a:pt x="769" y="501"/>
                  </a:lnTo>
                  <a:cubicBezTo>
                    <a:pt x="759" y="501"/>
                    <a:pt x="752" y="509"/>
                    <a:pt x="752" y="518"/>
                  </a:cubicBezTo>
                  <a:lnTo>
                    <a:pt x="752" y="575"/>
                  </a:lnTo>
                  <a:lnTo>
                    <a:pt x="521" y="575"/>
                  </a:lnTo>
                  <a:cubicBezTo>
                    <a:pt x="528" y="563"/>
                    <a:pt x="532" y="550"/>
                    <a:pt x="531" y="536"/>
                  </a:cubicBezTo>
                  <a:lnTo>
                    <a:pt x="530" y="513"/>
                  </a:lnTo>
                  <a:cubicBezTo>
                    <a:pt x="530" y="504"/>
                    <a:pt x="522" y="497"/>
                    <a:pt x="513" y="497"/>
                  </a:cubicBezTo>
                  <a:lnTo>
                    <a:pt x="389" y="497"/>
                  </a:lnTo>
                  <a:lnTo>
                    <a:pt x="281" y="389"/>
                  </a:lnTo>
                  <a:cubicBezTo>
                    <a:pt x="271" y="379"/>
                    <a:pt x="257" y="374"/>
                    <a:pt x="243" y="374"/>
                  </a:cubicBezTo>
                  <a:lnTo>
                    <a:pt x="172" y="374"/>
                  </a:lnTo>
                  <a:cubicBezTo>
                    <a:pt x="148" y="374"/>
                    <a:pt x="125" y="383"/>
                    <a:pt x="107" y="401"/>
                  </a:cubicBezTo>
                  <a:cubicBezTo>
                    <a:pt x="107" y="401"/>
                    <a:pt x="107" y="401"/>
                    <a:pt x="107" y="401"/>
                  </a:cubicBezTo>
                  <a:cubicBezTo>
                    <a:pt x="98" y="385"/>
                    <a:pt x="81" y="374"/>
                    <a:pt x="61" y="374"/>
                  </a:cubicBezTo>
                  <a:lnTo>
                    <a:pt x="53" y="374"/>
                  </a:lnTo>
                  <a:cubicBezTo>
                    <a:pt x="24" y="374"/>
                    <a:pt x="0" y="398"/>
                    <a:pt x="0" y="427"/>
                  </a:cubicBezTo>
                  <a:lnTo>
                    <a:pt x="0" y="868"/>
                  </a:lnTo>
                  <a:cubicBezTo>
                    <a:pt x="0" y="898"/>
                    <a:pt x="24" y="922"/>
                    <a:pt x="53" y="922"/>
                  </a:cubicBezTo>
                  <a:lnTo>
                    <a:pt x="166" y="922"/>
                  </a:lnTo>
                  <a:lnTo>
                    <a:pt x="166" y="965"/>
                  </a:lnTo>
                  <a:lnTo>
                    <a:pt x="95" y="1013"/>
                  </a:lnTo>
                  <a:cubicBezTo>
                    <a:pt x="88" y="1018"/>
                    <a:pt x="86" y="1029"/>
                    <a:pt x="91" y="1036"/>
                  </a:cubicBezTo>
                  <a:cubicBezTo>
                    <a:pt x="94" y="1041"/>
                    <a:pt x="99" y="1044"/>
                    <a:pt x="105" y="1044"/>
                  </a:cubicBezTo>
                  <a:cubicBezTo>
                    <a:pt x="108" y="1044"/>
                    <a:pt x="111" y="1043"/>
                    <a:pt x="114" y="1041"/>
                  </a:cubicBezTo>
                  <a:lnTo>
                    <a:pt x="166" y="1006"/>
                  </a:lnTo>
                  <a:lnTo>
                    <a:pt x="166" y="1050"/>
                  </a:lnTo>
                  <a:cubicBezTo>
                    <a:pt x="166" y="1060"/>
                    <a:pt x="173" y="1067"/>
                    <a:pt x="183" y="1067"/>
                  </a:cubicBezTo>
                  <a:cubicBezTo>
                    <a:pt x="192" y="1067"/>
                    <a:pt x="199" y="1060"/>
                    <a:pt x="199" y="1050"/>
                  </a:cubicBezTo>
                  <a:lnTo>
                    <a:pt x="199" y="1006"/>
                  </a:lnTo>
                  <a:lnTo>
                    <a:pt x="253" y="1043"/>
                  </a:lnTo>
                  <a:cubicBezTo>
                    <a:pt x="261" y="1048"/>
                    <a:pt x="271" y="1046"/>
                    <a:pt x="276" y="1038"/>
                  </a:cubicBezTo>
                  <a:cubicBezTo>
                    <a:pt x="281" y="1031"/>
                    <a:pt x="279" y="1020"/>
                    <a:pt x="272" y="1015"/>
                  </a:cubicBezTo>
                  <a:lnTo>
                    <a:pt x="199" y="965"/>
                  </a:lnTo>
                  <a:lnTo>
                    <a:pt x="199" y="922"/>
                  </a:lnTo>
                  <a:lnTo>
                    <a:pt x="260" y="922"/>
                  </a:lnTo>
                  <a:cubicBezTo>
                    <a:pt x="289" y="922"/>
                    <a:pt x="313" y="898"/>
                    <a:pt x="313" y="868"/>
                  </a:cubicBezTo>
                  <a:cubicBezTo>
                    <a:pt x="313" y="861"/>
                    <a:pt x="311" y="853"/>
                    <a:pt x="308" y="847"/>
                  </a:cubicBezTo>
                  <a:lnTo>
                    <a:pt x="351" y="847"/>
                  </a:lnTo>
                  <a:lnTo>
                    <a:pt x="419" y="1056"/>
                  </a:lnTo>
                  <a:cubicBezTo>
                    <a:pt x="422" y="1062"/>
                    <a:pt x="428" y="1067"/>
                    <a:pt x="435" y="1067"/>
                  </a:cubicBezTo>
                  <a:lnTo>
                    <a:pt x="535" y="1067"/>
                  </a:lnTo>
                  <a:cubicBezTo>
                    <a:pt x="540" y="1067"/>
                    <a:pt x="545" y="1065"/>
                    <a:pt x="548" y="1061"/>
                  </a:cubicBezTo>
                  <a:cubicBezTo>
                    <a:pt x="551" y="1057"/>
                    <a:pt x="552" y="1051"/>
                    <a:pt x="551" y="1047"/>
                  </a:cubicBezTo>
                  <a:lnTo>
                    <a:pt x="480" y="744"/>
                  </a:lnTo>
                  <a:cubicBezTo>
                    <a:pt x="470" y="701"/>
                    <a:pt x="432" y="671"/>
                    <a:pt x="387" y="671"/>
                  </a:cubicBezTo>
                  <a:lnTo>
                    <a:pt x="281" y="671"/>
                  </a:lnTo>
                  <a:lnTo>
                    <a:pt x="281" y="608"/>
                  </a:lnTo>
                  <a:lnTo>
                    <a:pt x="442" y="608"/>
                  </a:lnTo>
                  <a:lnTo>
                    <a:pt x="462" y="608"/>
                  </a:lnTo>
                  <a:lnTo>
                    <a:pt x="1029" y="608"/>
                  </a:lnTo>
                  <a:cubicBezTo>
                    <a:pt x="1038" y="608"/>
                    <a:pt x="1045" y="601"/>
                    <a:pt x="1045" y="591"/>
                  </a:cubicBezTo>
                  <a:cubicBezTo>
                    <a:pt x="1045" y="582"/>
                    <a:pt x="1038" y="575"/>
                    <a:pt x="1029" y="57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latin typeface="Santander Text" panose="020B0504020201020104"/>
              </a:endParaRPr>
            </a:p>
          </p:txBody>
        </p:sp>
      </p:grpSp>
      <p:cxnSp>
        <p:nvCxnSpPr>
          <p:cNvPr id="37" name="Conector recto de flecha 36">
            <a:extLst>
              <a:ext uri="{FF2B5EF4-FFF2-40B4-BE49-F238E27FC236}">
                <a16:creationId xmlns:a16="http://schemas.microsoft.com/office/drawing/2014/main" id="{7FC50191-5ADA-8A9C-8033-7C301065264C}"/>
              </a:ext>
            </a:extLst>
          </p:cNvPr>
          <p:cNvCxnSpPr>
            <a:cxnSpLocks/>
          </p:cNvCxnSpPr>
          <p:nvPr/>
        </p:nvCxnSpPr>
        <p:spPr>
          <a:xfrm flipV="1">
            <a:off x="5049507" y="2114845"/>
            <a:ext cx="728945" cy="6406"/>
          </a:xfrm>
          <a:prstGeom prst="straightConnector1">
            <a:avLst/>
          </a:prstGeom>
          <a:ln>
            <a:solidFill>
              <a:srgbClr val="C00000"/>
            </a:solidFill>
            <a:tailEnd type="triangle"/>
          </a:ln>
        </p:spPr>
        <p:style>
          <a:lnRef idx="2">
            <a:schemeClr val="accent1"/>
          </a:lnRef>
          <a:fillRef idx="0">
            <a:schemeClr val="accent1"/>
          </a:fillRef>
          <a:effectRef idx="1">
            <a:schemeClr val="accent1"/>
          </a:effectRef>
          <a:fontRef idx="minor">
            <a:schemeClr val="tx1"/>
          </a:fontRef>
        </p:style>
      </p:cxnSp>
      <p:grpSp>
        <p:nvGrpSpPr>
          <p:cNvPr id="46" name="Group 21">
            <a:extLst>
              <a:ext uri="{FF2B5EF4-FFF2-40B4-BE49-F238E27FC236}">
                <a16:creationId xmlns:a16="http://schemas.microsoft.com/office/drawing/2014/main" id="{AE37D2D2-C079-764A-ECEF-B31BE170F31B}"/>
              </a:ext>
            </a:extLst>
          </p:cNvPr>
          <p:cNvGrpSpPr/>
          <p:nvPr/>
        </p:nvGrpSpPr>
        <p:grpSpPr>
          <a:xfrm>
            <a:off x="5225882" y="2320075"/>
            <a:ext cx="453683" cy="462983"/>
            <a:chOff x="3461856" y="6512355"/>
            <a:chExt cx="453683" cy="462983"/>
          </a:xfrm>
        </p:grpSpPr>
        <p:sp>
          <p:nvSpPr>
            <p:cNvPr id="47" name="Rectangle 20">
              <a:extLst>
                <a:ext uri="{FF2B5EF4-FFF2-40B4-BE49-F238E27FC236}">
                  <a16:creationId xmlns:a16="http://schemas.microsoft.com/office/drawing/2014/main" id="{5D94E0D2-2E4B-D454-C317-0DCB02A7B5FA}"/>
                </a:ext>
              </a:extLst>
            </p:cNvPr>
            <p:cNvSpPr/>
            <p:nvPr/>
          </p:nvSpPr>
          <p:spPr>
            <a:xfrm>
              <a:off x="3461856" y="6536952"/>
              <a:ext cx="453683" cy="43393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latin typeface="Santander Text" panose="020B0504020201020104"/>
              </a:endParaRPr>
            </a:p>
          </p:txBody>
        </p:sp>
        <p:grpSp>
          <p:nvGrpSpPr>
            <p:cNvPr id="48" name="Grupo 47">
              <a:extLst>
                <a:ext uri="{FF2B5EF4-FFF2-40B4-BE49-F238E27FC236}">
                  <a16:creationId xmlns:a16="http://schemas.microsoft.com/office/drawing/2014/main" id="{D54FC0B0-A534-BF89-88A5-5C8592EBFF27}"/>
                </a:ext>
              </a:extLst>
            </p:cNvPr>
            <p:cNvGrpSpPr/>
            <p:nvPr/>
          </p:nvGrpSpPr>
          <p:grpSpPr>
            <a:xfrm>
              <a:off x="3461857" y="6512355"/>
              <a:ext cx="449621" cy="462983"/>
              <a:chOff x="3729176" y="4695678"/>
              <a:chExt cx="449621" cy="462983"/>
            </a:xfrm>
          </p:grpSpPr>
          <p:pic>
            <p:nvPicPr>
              <p:cNvPr id="49" name="Gráfico 48" descr="Documento contorno">
                <a:extLst>
                  <a:ext uri="{FF2B5EF4-FFF2-40B4-BE49-F238E27FC236}">
                    <a16:creationId xmlns:a16="http://schemas.microsoft.com/office/drawing/2014/main" id="{7D94E3DD-9FD8-C8EB-FFB3-05FC50A0BE2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51335" y="4695678"/>
                <a:ext cx="405305" cy="405305"/>
              </a:xfrm>
              <a:prstGeom prst="rect">
                <a:avLst/>
              </a:prstGeom>
            </p:spPr>
          </p:pic>
          <p:sp>
            <p:nvSpPr>
              <p:cNvPr id="50" name="Rectángulo: esquinas redondeadas 27">
                <a:extLst>
                  <a:ext uri="{FF2B5EF4-FFF2-40B4-BE49-F238E27FC236}">
                    <a16:creationId xmlns:a16="http://schemas.microsoft.com/office/drawing/2014/main" id="{5A5D9908-4BEA-A8F9-0233-91A466CDD363}"/>
                  </a:ext>
                </a:extLst>
              </p:cNvPr>
              <p:cNvSpPr/>
              <p:nvPr/>
            </p:nvSpPr>
            <p:spPr>
              <a:xfrm>
                <a:off x="3729176" y="5002653"/>
                <a:ext cx="449621" cy="156008"/>
              </a:xfrm>
              <a:prstGeom prst="roundRect">
                <a:avLst/>
              </a:prstGeom>
              <a:solidFill>
                <a:schemeClr val="bg1"/>
              </a:solidFill>
              <a:ln>
                <a:solidFill>
                  <a:schemeClr val="accent1">
                    <a:shade val="1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GB" sz="800" noProof="0">
                    <a:solidFill>
                      <a:schemeClr val="tx1"/>
                    </a:solidFill>
                    <a:latin typeface="Santander Text" panose="020B0504020201020104"/>
                    <a:ea typeface="Calibri" panose="020F0502020204030204" pitchFamily="34" charset="0"/>
                    <a:cs typeface="Calibri" panose="020F0502020204030204" pitchFamily="34" charset="0"/>
                  </a:rPr>
                  <a:t>CSV/Json</a:t>
                </a:r>
              </a:p>
            </p:txBody>
          </p:sp>
        </p:grpSp>
      </p:grpSp>
      <p:cxnSp>
        <p:nvCxnSpPr>
          <p:cNvPr id="51" name="Conector recto de flecha 50">
            <a:extLst>
              <a:ext uri="{FF2B5EF4-FFF2-40B4-BE49-F238E27FC236}">
                <a16:creationId xmlns:a16="http://schemas.microsoft.com/office/drawing/2014/main" id="{459B4D9F-7941-9168-7D68-336DB5A369C8}"/>
              </a:ext>
            </a:extLst>
          </p:cNvPr>
          <p:cNvCxnSpPr>
            <a:cxnSpLocks/>
          </p:cNvCxnSpPr>
          <p:nvPr/>
        </p:nvCxnSpPr>
        <p:spPr>
          <a:xfrm flipH="1">
            <a:off x="5048407" y="2293348"/>
            <a:ext cx="730045" cy="0"/>
          </a:xfrm>
          <a:prstGeom prst="straightConnector1">
            <a:avLst/>
          </a:prstGeom>
          <a:ln>
            <a:solidFill>
              <a:srgbClr val="C00000"/>
            </a:solidFill>
            <a:tailEnd type="triangle"/>
          </a:ln>
        </p:spPr>
        <p:style>
          <a:lnRef idx="2">
            <a:schemeClr val="accent1"/>
          </a:lnRef>
          <a:fillRef idx="0">
            <a:schemeClr val="accent1"/>
          </a:fillRef>
          <a:effectRef idx="1">
            <a:schemeClr val="accent1"/>
          </a:effectRef>
          <a:fontRef idx="minor">
            <a:schemeClr val="tx1"/>
          </a:fontRef>
        </p:style>
      </p:cxnSp>
      <p:sp>
        <p:nvSpPr>
          <p:cNvPr id="56" name="Rectangle 1">
            <a:extLst>
              <a:ext uri="{FF2B5EF4-FFF2-40B4-BE49-F238E27FC236}">
                <a16:creationId xmlns:a16="http://schemas.microsoft.com/office/drawing/2014/main" id="{284F6A7B-3692-5E41-778C-1A4F5DE6F977}"/>
              </a:ext>
            </a:extLst>
          </p:cNvPr>
          <p:cNvSpPr/>
          <p:nvPr/>
        </p:nvSpPr>
        <p:spPr>
          <a:xfrm>
            <a:off x="3734031" y="3338479"/>
            <a:ext cx="968216" cy="950536"/>
          </a:xfrm>
          <a:prstGeom prst="roundRect">
            <a:avLst/>
          </a:prstGeom>
          <a:solidFill>
            <a:srgbClr val="C00000"/>
          </a:solidFill>
          <a:ln w="6350" cap="flat" cmpd="sng" algn="ctr">
            <a:solidFill>
              <a:schemeClr val="accent2">
                <a:lumMod val="60000"/>
                <a:lumOff val="40000"/>
              </a:schemeClr>
            </a:solidFill>
            <a:prstDash val="solid"/>
            <a:miter lim="800000"/>
            <a:headEnd type="none" w="med" len="med"/>
            <a:tailEnd type="none" w="med" len="med"/>
          </a:ln>
          <a:effectLst/>
        </p:spPr>
        <p:txBody>
          <a:bodyPr vert="horz" rtlCol="0" anchor="t"/>
          <a:lstStyle/>
          <a:p>
            <a:pPr algn="ctr"/>
            <a:endParaRPr lang="en-GB" sz="1200" b="1" kern="0" noProof="0">
              <a:latin typeface="Santander Text" panose="020B0504020201020104"/>
            </a:endParaRPr>
          </a:p>
        </p:txBody>
      </p:sp>
      <p:grpSp>
        <p:nvGrpSpPr>
          <p:cNvPr id="57" name="Report" descr="{&quot;Key&quot;:&quot;POWER_USER_SHAPE_ICON&quot;,&quot;Value&quot;:&quot;POWER_USER_SHAPE_ICON_STYLE_1&quot;}">
            <a:extLst>
              <a:ext uri="{FF2B5EF4-FFF2-40B4-BE49-F238E27FC236}">
                <a16:creationId xmlns:a16="http://schemas.microsoft.com/office/drawing/2014/main" id="{EBF54CA4-917A-A6F8-494A-AA6995425D84}"/>
              </a:ext>
            </a:extLst>
          </p:cNvPr>
          <p:cNvGrpSpPr>
            <a:grpSpLocks noChangeAspect="1"/>
          </p:cNvGrpSpPr>
          <p:nvPr/>
        </p:nvGrpSpPr>
        <p:grpSpPr>
          <a:xfrm>
            <a:off x="4051123" y="3701028"/>
            <a:ext cx="343933" cy="343933"/>
            <a:chOff x="7319962" y="6024562"/>
            <a:chExt cx="2009775" cy="2009775"/>
          </a:xfrm>
          <a:solidFill>
            <a:schemeClr val="bg1"/>
          </a:solidFill>
        </p:grpSpPr>
        <p:sp>
          <p:nvSpPr>
            <p:cNvPr id="58" name="Free-form: Shape 1872">
              <a:extLst>
                <a:ext uri="{FF2B5EF4-FFF2-40B4-BE49-F238E27FC236}">
                  <a16:creationId xmlns:a16="http://schemas.microsoft.com/office/drawing/2014/main" id="{4B07DCBE-F140-E73B-AF9E-D0828C09C3A2}"/>
                </a:ext>
              </a:extLst>
            </p:cNvPr>
            <p:cNvSpPr/>
            <p:nvPr/>
          </p:nvSpPr>
          <p:spPr>
            <a:xfrm>
              <a:off x="7319962" y="6024562"/>
              <a:ext cx="2009775" cy="2009775"/>
            </a:xfrm>
            <a:custGeom>
              <a:avLst/>
              <a:gdLst>
                <a:gd name="connsiteX0" fmla="*/ 40672 w 2009775"/>
                <a:gd name="connsiteY0" fmla="*/ 0 h 2009775"/>
                <a:gd name="connsiteX1" fmla="*/ 67342 w 2009775"/>
                <a:gd name="connsiteY1" fmla="*/ 38100 h 2009775"/>
                <a:gd name="connsiteX2" fmla="*/ 66770 w 2009775"/>
                <a:gd name="connsiteY2" fmla="*/ 1940147 h 2009775"/>
                <a:gd name="connsiteX3" fmla="*/ 69818 w 2009775"/>
                <a:gd name="connsiteY3" fmla="*/ 1943195 h 2009775"/>
                <a:gd name="connsiteX4" fmla="*/ 1964531 w 2009775"/>
                <a:gd name="connsiteY4" fmla="*/ 1943005 h 2009775"/>
                <a:gd name="connsiteX5" fmla="*/ 2009775 w 2009775"/>
                <a:gd name="connsiteY5" fmla="*/ 1968627 h 2009775"/>
                <a:gd name="connsiteX6" fmla="*/ 2009775 w 2009775"/>
                <a:gd name="connsiteY6" fmla="*/ 1983486 h 2009775"/>
                <a:gd name="connsiteX7" fmla="*/ 1983867 w 2009775"/>
                <a:gd name="connsiteY7" fmla="*/ 2009775 h 2009775"/>
                <a:gd name="connsiteX8" fmla="*/ 26384 w 2009775"/>
                <a:gd name="connsiteY8" fmla="*/ 2009775 h 2009775"/>
                <a:gd name="connsiteX9" fmla="*/ 0 w 2009775"/>
                <a:gd name="connsiteY9" fmla="*/ 1983772 h 2009775"/>
                <a:gd name="connsiteX10" fmla="*/ 0 w 2009775"/>
                <a:gd name="connsiteY10" fmla="*/ 26575 h 2009775"/>
                <a:gd name="connsiteX11" fmla="*/ 26099 w 2009775"/>
                <a:gd name="connsiteY11" fmla="*/ 0 h 2009775"/>
                <a:gd name="connsiteX12" fmla="*/ 40672 w 2009775"/>
                <a:gd name="connsiteY12" fmla="*/ 0 h 200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09775" h="2009775">
                  <a:moveTo>
                    <a:pt x="40672" y="0"/>
                  </a:moveTo>
                  <a:cubicBezTo>
                    <a:pt x="58452" y="6922"/>
                    <a:pt x="67342" y="19622"/>
                    <a:pt x="67342" y="38100"/>
                  </a:cubicBezTo>
                  <a:cubicBezTo>
                    <a:pt x="66897" y="672465"/>
                    <a:pt x="66707" y="1306481"/>
                    <a:pt x="66770" y="1940147"/>
                  </a:cubicBezTo>
                  <a:cubicBezTo>
                    <a:pt x="66770" y="1941831"/>
                    <a:pt x="68135" y="1943195"/>
                    <a:pt x="69818" y="1943195"/>
                  </a:cubicBezTo>
                  <a:cubicBezTo>
                    <a:pt x="701326" y="1943132"/>
                    <a:pt x="1332897" y="1943068"/>
                    <a:pt x="1964531" y="1943005"/>
                  </a:cubicBezTo>
                  <a:cubicBezTo>
                    <a:pt x="1988026" y="1943005"/>
                    <a:pt x="2003108" y="1951546"/>
                    <a:pt x="2009775" y="1968627"/>
                  </a:cubicBezTo>
                  <a:lnTo>
                    <a:pt x="2009775" y="1983486"/>
                  </a:lnTo>
                  <a:cubicBezTo>
                    <a:pt x="2005393" y="1996123"/>
                    <a:pt x="1996758" y="2004886"/>
                    <a:pt x="1983867" y="2009775"/>
                  </a:cubicBezTo>
                  <a:lnTo>
                    <a:pt x="26384" y="2009775"/>
                  </a:lnTo>
                  <a:cubicBezTo>
                    <a:pt x="13557" y="2005457"/>
                    <a:pt x="4763" y="1996789"/>
                    <a:pt x="0" y="1983772"/>
                  </a:cubicBezTo>
                  <a:lnTo>
                    <a:pt x="0" y="26575"/>
                  </a:lnTo>
                  <a:cubicBezTo>
                    <a:pt x="4572" y="13494"/>
                    <a:pt x="13272" y="4636"/>
                    <a:pt x="26099" y="0"/>
                  </a:cubicBezTo>
                  <a:lnTo>
                    <a:pt x="40672" y="0"/>
                  </a:lnTo>
                  <a:close/>
                </a:path>
              </a:pathLst>
            </a:custGeom>
            <a:grpFill/>
            <a:ln w="9525" cap="flat">
              <a:noFill/>
              <a:prstDash val="solid"/>
              <a:miter/>
            </a:ln>
          </p:spPr>
          <p:txBody>
            <a:bodyPr rtlCol="0" anchor="ctr"/>
            <a:lstStyle/>
            <a:p>
              <a:endParaRPr lang="en-GB" noProof="0">
                <a:latin typeface="Santander Text" panose="020B0504020201020104"/>
              </a:endParaRPr>
            </a:p>
          </p:txBody>
        </p:sp>
        <p:sp>
          <p:nvSpPr>
            <p:cNvPr id="59" name="Free-form: Shape 1873">
              <a:extLst>
                <a:ext uri="{FF2B5EF4-FFF2-40B4-BE49-F238E27FC236}">
                  <a16:creationId xmlns:a16="http://schemas.microsoft.com/office/drawing/2014/main" id="{7101B9EF-BA86-5119-A67E-E2C516803D66}"/>
                </a:ext>
              </a:extLst>
            </p:cNvPr>
            <p:cNvSpPr/>
            <p:nvPr/>
          </p:nvSpPr>
          <p:spPr>
            <a:xfrm>
              <a:off x="7520819" y="6253257"/>
              <a:ext cx="1646992" cy="923094"/>
            </a:xfrm>
            <a:custGeom>
              <a:avLst/>
              <a:gdLst>
                <a:gd name="connsiteX0" fmla="*/ 1580031 w 1646992"/>
                <a:gd name="connsiteY0" fmla="*/ 128683 h 923094"/>
                <a:gd name="connsiteX1" fmla="*/ 1578083 w 1646992"/>
                <a:gd name="connsiteY1" fmla="*/ 126794 h 923094"/>
                <a:gd name="connsiteX2" fmla="*/ 1576698 w 1646992"/>
                <a:gd name="connsiteY2" fmla="*/ 127349 h 923094"/>
                <a:gd name="connsiteX3" fmla="*/ 1193316 w 1646992"/>
                <a:gd name="connsiteY3" fmla="*/ 510730 h 923094"/>
                <a:gd name="connsiteX4" fmla="*/ 1192745 w 1646992"/>
                <a:gd name="connsiteY4" fmla="*/ 514731 h 923094"/>
                <a:gd name="connsiteX5" fmla="*/ 1199127 w 1646992"/>
                <a:gd name="connsiteY5" fmla="*/ 680942 h 923094"/>
                <a:gd name="connsiteX6" fmla="*/ 1112449 w 1646992"/>
                <a:gd name="connsiteY6" fmla="*/ 759238 h 923094"/>
                <a:gd name="connsiteX7" fmla="*/ 888326 w 1646992"/>
                <a:gd name="connsiteY7" fmla="*/ 573691 h 923094"/>
                <a:gd name="connsiteX8" fmla="*/ 884135 w 1646992"/>
                <a:gd name="connsiteY8" fmla="*/ 564833 h 923094"/>
                <a:gd name="connsiteX9" fmla="*/ 754214 w 1646992"/>
                <a:gd name="connsiteY9" fmla="*/ 489871 h 923094"/>
                <a:gd name="connsiteX10" fmla="*/ 747165 w 1646992"/>
                <a:gd name="connsiteY10" fmla="*/ 491109 h 923094"/>
                <a:gd name="connsiteX11" fmla="*/ 725734 w 1646992"/>
                <a:gd name="connsiteY11" fmla="*/ 517112 h 923094"/>
                <a:gd name="connsiteX12" fmla="*/ 515041 w 1646992"/>
                <a:gd name="connsiteY12" fmla="*/ 529114 h 923094"/>
                <a:gd name="connsiteX13" fmla="*/ 506850 w 1646992"/>
                <a:gd name="connsiteY13" fmla="*/ 529495 h 923094"/>
                <a:gd name="connsiteX14" fmla="*/ 321493 w 1646992"/>
                <a:gd name="connsiteY14" fmla="*/ 678751 h 923094"/>
                <a:gd name="connsiteX15" fmla="*/ 319398 w 1646992"/>
                <a:gd name="connsiteY15" fmla="*/ 686086 h 923094"/>
                <a:gd name="connsiteX16" fmla="*/ 228910 w 1646992"/>
                <a:gd name="connsiteY16" fmla="*/ 910114 h 923094"/>
                <a:gd name="connsiteX17" fmla="*/ 25456 w 1646992"/>
                <a:gd name="connsiteY17" fmla="*/ 843344 h 923094"/>
                <a:gd name="connsiteX18" fmla="*/ 161283 w 1646992"/>
                <a:gd name="connsiteY18" fmla="*/ 581787 h 923094"/>
                <a:gd name="connsiteX19" fmla="*/ 272820 w 1646992"/>
                <a:gd name="connsiteY19" fmla="*/ 622840 h 923094"/>
                <a:gd name="connsiteX20" fmla="*/ 284346 w 1646992"/>
                <a:gd name="connsiteY20" fmla="*/ 623221 h 923094"/>
                <a:gd name="connsiteX21" fmla="*/ 463797 w 1646992"/>
                <a:gd name="connsiteY21" fmla="*/ 478822 h 923094"/>
                <a:gd name="connsiteX22" fmla="*/ 466273 w 1646992"/>
                <a:gd name="connsiteY22" fmla="*/ 471773 h 923094"/>
                <a:gd name="connsiteX23" fmla="*/ 454557 w 1646992"/>
                <a:gd name="connsiteY23" fmla="*/ 441198 h 923094"/>
                <a:gd name="connsiteX24" fmla="*/ 485704 w 1646992"/>
                <a:gd name="connsiteY24" fmla="*/ 281750 h 923094"/>
                <a:gd name="connsiteX25" fmla="*/ 646296 w 1646992"/>
                <a:gd name="connsiteY25" fmla="*/ 222980 h 923094"/>
                <a:gd name="connsiteX26" fmla="*/ 777264 w 1646992"/>
                <a:gd name="connsiteY26" fmla="*/ 419005 h 923094"/>
                <a:gd name="connsiteX27" fmla="*/ 781932 w 1646992"/>
                <a:gd name="connsiteY27" fmla="*/ 428720 h 923094"/>
                <a:gd name="connsiteX28" fmla="*/ 914329 w 1646992"/>
                <a:gd name="connsiteY28" fmla="*/ 505111 h 923094"/>
                <a:gd name="connsiteX29" fmla="*/ 918615 w 1646992"/>
                <a:gd name="connsiteY29" fmla="*/ 504349 h 923094"/>
                <a:gd name="connsiteX30" fmla="*/ 1095114 w 1646992"/>
                <a:gd name="connsiteY30" fmla="*/ 444151 h 923094"/>
                <a:gd name="connsiteX31" fmla="*/ 1139024 w 1646992"/>
                <a:gd name="connsiteY31" fmla="*/ 463105 h 923094"/>
                <a:gd name="connsiteX32" fmla="*/ 1146930 w 1646992"/>
                <a:gd name="connsiteY32" fmla="*/ 461867 h 923094"/>
                <a:gd name="connsiteX33" fmla="*/ 1537359 w 1646992"/>
                <a:gd name="connsiteY33" fmla="*/ 71438 h 923094"/>
                <a:gd name="connsiteX34" fmla="*/ 1537267 w 1646992"/>
                <a:gd name="connsiteY34" fmla="*/ 67532 h 923094"/>
                <a:gd name="connsiteX35" fmla="*/ 1535454 w 1646992"/>
                <a:gd name="connsiteY35" fmla="*/ 66770 h 923094"/>
                <a:gd name="connsiteX36" fmla="*/ 1375720 w 1646992"/>
                <a:gd name="connsiteY36" fmla="*/ 66104 h 923094"/>
                <a:gd name="connsiteX37" fmla="*/ 1343811 w 1646992"/>
                <a:gd name="connsiteY37" fmla="*/ 33718 h 923094"/>
                <a:gd name="connsiteX38" fmla="*/ 1343907 w 1646992"/>
                <a:gd name="connsiteY38" fmla="*/ 31242 h 923094"/>
                <a:gd name="connsiteX39" fmla="*/ 1376958 w 1646992"/>
                <a:gd name="connsiteY39" fmla="*/ 0 h 923094"/>
                <a:gd name="connsiteX40" fmla="*/ 1613750 w 1646992"/>
                <a:gd name="connsiteY40" fmla="*/ 0 h 923094"/>
                <a:gd name="connsiteX41" fmla="*/ 1646992 w 1646992"/>
                <a:gd name="connsiteY41" fmla="*/ 33242 h 923094"/>
                <a:gd name="connsiteX42" fmla="*/ 1646992 w 1646992"/>
                <a:gd name="connsiteY42" fmla="*/ 278321 h 923094"/>
                <a:gd name="connsiteX43" fmla="*/ 1625370 w 1646992"/>
                <a:gd name="connsiteY43" fmla="*/ 311086 h 923094"/>
                <a:gd name="connsiteX44" fmla="*/ 1614988 w 1646992"/>
                <a:gd name="connsiteY44" fmla="*/ 314611 h 923094"/>
                <a:gd name="connsiteX45" fmla="*/ 1580698 w 1646992"/>
                <a:gd name="connsiteY45" fmla="*/ 280797 h 923094"/>
                <a:gd name="connsiteX46" fmla="*/ 1580031 w 1646992"/>
                <a:gd name="connsiteY46" fmla="*/ 128683 h 923094"/>
                <a:gd name="connsiteX47" fmla="*/ 612802 w 1646992"/>
                <a:gd name="connsiteY47" fmla="*/ 494630 h 923094"/>
                <a:gd name="connsiteX48" fmla="*/ 713349 w 1646992"/>
                <a:gd name="connsiteY48" fmla="*/ 391127 h 923094"/>
                <a:gd name="connsiteX49" fmla="*/ 614257 w 1646992"/>
                <a:gd name="connsiteY49" fmla="*/ 286229 h 923094"/>
                <a:gd name="connsiteX50" fmla="*/ 513710 w 1646992"/>
                <a:gd name="connsiteY50" fmla="*/ 389732 h 923094"/>
                <a:gd name="connsiteX51" fmla="*/ 612802 w 1646992"/>
                <a:gd name="connsiteY51" fmla="*/ 494630 h 923094"/>
                <a:gd name="connsiteX52" fmla="*/ 1151311 w 1646992"/>
                <a:gd name="connsiteY52" fmla="*/ 604742 h 923094"/>
                <a:gd name="connsiteX53" fmla="*/ 1051680 w 1646992"/>
                <a:gd name="connsiteY53" fmla="*/ 505111 h 923094"/>
                <a:gd name="connsiteX54" fmla="*/ 952048 w 1646992"/>
                <a:gd name="connsiteY54" fmla="*/ 604742 h 923094"/>
                <a:gd name="connsiteX55" fmla="*/ 1051680 w 1646992"/>
                <a:gd name="connsiteY55" fmla="*/ 704374 h 923094"/>
                <a:gd name="connsiteX56" fmla="*/ 1151311 w 1646992"/>
                <a:gd name="connsiteY56" fmla="*/ 604742 h 923094"/>
                <a:gd name="connsiteX57" fmla="*/ 165127 w 1646992"/>
                <a:gd name="connsiteY57" fmla="*/ 856580 h 923094"/>
                <a:gd name="connsiteX58" fmla="*/ 265674 w 1646992"/>
                <a:gd name="connsiteY58" fmla="*/ 753077 h 923094"/>
                <a:gd name="connsiteX59" fmla="*/ 166582 w 1646992"/>
                <a:gd name="connsiteY59" fmla="*/ 648179 h 923094"/>
                <a:gd name="connsiteX60" fmla="*/ 66035 w 1646992"/>
                <a:gd name="connsiteY60" fmla="*/ 751683 h 923094"/>
                <a:gd name="connsiteX61" fmla="*/ 165127 w 1646992"/>
                <a:gd name="connsiteY61" fmla="*/ 856580 h 923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646992" h="923094">
                  <a:moveTo>
                    <a:pt x="1580031" y="128683"/>
                  </a:moveTo>
                  <a:cubicBezTo>
                    <a:pt x="1580052" y="127623"/>
                    <a:pt x="1579180" y="126777"/>
                    <a:pt x="1578083" y="126794"/>
                  </a:cubicBezTo>
                  <a:cubicBezTo>
                    <a:pt x="1577571" y="126801"/>
                    <a:pt x="1577074" y="127000"/>
                    <a:pt x="1576698" y="127349"/>
                  </a:cubicBezTo>
                  <a:lnTo>
                    <a:pt x="1193316" y="510730"/>
                  </a:lnTo>
                  <a:cubicBezTo>
                    <a:pt x="1192247" y="511783"/>
                    <a:pt x="1192013" y="513421"/>
                    <a:pt x="1192745" y="514731"/>
                  </a:cubicBezTo>
                  <a:cubicBezTo>
                    <a:pt x="1224050" y="573913"/>
                    <a:pt x="1226178" y="629317"/>
                    <a:pt x="1199127" y="680942"/>
                  </a:cubicBezTo>
                  <a:cubicBezTo>
                    <a:pt x="1179696" y="718090"/>
                    <a:pt x="1150803" y="744188"/>
                    <a:pt x="1112449" y="759238"/>
                  </a:cubicBezTo>
                  <a:cubicBezTo>
                    <a:pt x="989100" y="807434"/>
                    <a:pt x="867085" y="703040"/>
                    <a:pt x="888326" y="573691"/>
                  </a:cubicBezTo>
                  <a:cubicBezTo>
                    <a:pt x="888961" y="569754"/>
                    <a:pt x="887564" y="566801"/>
                    <a:pt x="884135" y="564833"/>
                  </a:cubicBezTo>
                  <a:lnTo>
                    <a:pt x="754214" y="489871"/>
                  </a:lnTo>
                  <a:cubicBezTo>
                    <a:pt x="751904" y="488516"/>
                    <a:pt x="748933" y="489038"/>
                    <a:pt x="747165" y="491109"/>
                  </a:cubicBezTo>
                  <a:cubicBezTo>
                    <a:pt x="740212" y="499586"/>
                    <a:pt x="734021" y="510159"/>
                    <a:pt x="725734" y="517112"/>
                  </a:cubicBezTo>
                  <a:cubicBezTo>
                    <a:pt x="659059" y="572294"/>
                    <a:pt x="588828" y="576294"/>
                    <a:pt x="515041" y="529114"/>
                  </a:cubicBezTo>
                  <a:cubicBezTo>
                    <a:pt x="512184" y="527272"/>
                    <a:pt x="509453" y="527399"/>
                    <a:pt x="506850" y="529495"/>
                  </a:cubicBezTo>
                  <a:lnTo>
                    <a:pt x="321493" y="678751"/>
                  </a:lnTo>
                  <a:cubicBezTo>
                    <a:pt x="319017" y="680720"/>
                    <a:pt x="318318" y="683165"/>
                    <a:pt x="319398" y="686086"/>
                  </a:cubicBezTo>
                  <a:cubicBezTo>
                    <a:pt x="351973" y="775716"/>
                    <a:pt x="316826" y="872871"/>
                    <a:pt x="228910" y="910114"/>
                  </a:cubicBezTo>
                  <a:cubicBezTo>
                    <a:pt x="153663" y="942023"/>
                    <a:pt x="67938" y="913352"/>
                    <a:pt x="25456" y="843344"/>
                  </a:cubicBezTo>
                  <a:cubicBezTo>
                    <a:pt x="-41505" y="733044"/>
                    <a:pt x="30504" y="585311"/>
                    <a:pt x="161283" y="581787"/>
                  </a:cubicBezTo>
                  <a:cubicBezTo>
                    <a:pt x="204717" y="580707"/>
                    <a:pt x="241896" y="594392"/>
                    <a:pt x="272820" y="622840"/>
                  </a:cubicBezTo>
                  <a:cubicBezTo>
                    <a:pt x="276042" y="625792"/>
                    <a:pt x="280936" y="625954"/>
                    <a:pt x="284346" y="623221"/>
                  </a:cubicBezTo>
                  <a:lnTo>
                    <a:pt x="463797" y="478822"/>
                  </a:lnTo>
                  <a:cubicBezTo>
                    <a:pt x="466019" y="476980"/>
                    <a:pt x="466845" y="474631"/>
                    <a:pt x="466273" y="471773"/>
                  </a:cubicBezTo>
                  <a:cubicBezTo>
                    <a:pt x="463987" y="461772"/>
                    <a:pt x="456748" y="449771"/>
                    <a:pt x="454557" y="441198"/>
                  </a:cubicBezTo>
                  <a:cubicBezTo>
                    <a:pt x="439000" y="380048"/>
                    <a:pt x="449382" y="326898"/>
                    <a:pt x="485704" y="281750"/>
                  </a:cubicBezTo>
                  <a:cubicBezTo>
                    <a:pt x="524376" y="233743"/>
                    <a:pt x="586955" y="209550"/>
                    <a:pt x="646296" y="222980"/>
                  </a:cubicBezTo>
                  <a:cubicBezTo>
                    <a:pt x="736688" y="243554"/>
                    <a:pt x="791457" y="327755"/>
                    <a:pt x="777264" y="419005"/>
                  </a:cubicBezTo>
                  <a:cubicBezTo>
                    <a:pt x="776694" y="422871"/>
                    <a:pt x="778538" y="426710"/>
                    <a:pt x="781932" y="428720"/>
                  </a:cubicBezTo>
                  <a:lnTo>
                    <a:pt x="914329" y="505111"/>
                  </a:lnTo>
                  <a:cubicBezTo>
                    <a:pt x="915782" y="505928"/>
                    <a:pt x="917591" y="505606"/>
                    <a:pt x="918615" y="504349"/>
                  </a:cubicBezTo>
                  <a:cubicBezTo>
                    <a:pt x="965351" y="448342"/>
                    <a:pt x="1024184" y="428276"/>
                    <a:pt x="1095114" y="444151"/>
                  </a:cubicBezTo>
                  <a:cubicBezTo>
                    <a:pt x="1109211" y="447294"/>
                    <a:pt x="1125022" y="455867"/>
                    <a:pt x="1139024" y="463105"/>
                  </a:cubicBezTo>
                  <a:cubicBezTo>
                    <a:pt x="1141945" y="464630"/>
                    <a:pt x="1144580" y="464217"/>
                    <a:pt x="1146930" y="461867"/>
                  </a:cubicBezTo>
                  <a:lnTo>
                    <a:pt x="1537359" y="71438"/>
                  </a:lnTo>
                  <a:cubicBezTo>
                    <a:pt x="1538412" y="70334"/>
                    <a:pt x="1538371" y="68585"/>
                    <a:pt x="1537267" y="67532"/>
                  </a:cubicBezTo>
                  <a:cubicBezTo>
                    <a:pt x="1536777" y="67064"/>
                    <a:pt x="1536132" y="66793"/>
                    <a:pt x="1535454" y="66770"/>
                  </a:cubicBezTo>
                  <a:lnTo>
                    <a:pt x="1375720" y="66104"/>
                  </a:lnTo>
                  <a:cubicBezTo>
                    <a:pt x="1355083" y="66040"/>
                    <a:pt x="1344446" y="55245"/>
                    <a:pt x="1343811" y="33718"/>
                  </a:cubicBezTo>
                  <a:cubicBezTo>
                    <a:pt x="1343811" y="33464"/>
                    <a:pt x="1343843" y="32639"/>
                    <a:pt x="1343907" y="31242"/>
                  </a:cubicBezTo>
                  <a:cubicBezTo>
                    <a:pt x="1344986" y="10414"/>
                    <a:pt x="1356003" y="0"/>
                    <a:pt x="1376958" y="0"/>
                  </a:cubicBezTo>
                  <a:lnTo>
                    <a:pt x="1613750" y="0"/>
                  </a:lnTo>
                  <a:cubicBezTo>
                    <a:pt x="1632109" y="0"/>
                    <a:pt x="1646992" y="14883"/>
                    <a:pt x="1646992" y="33242"/>
                  </a:cubicBezTo>
                  <a:lnTo>
                    <a:pt x="1646992" y="278321"/>
                  </a:lnTo>
                  <a:cubicBezTo>
                    <a:pt x="1646992" y="294005"/>
                    <a:pt x="1639785" y="304927"/>
                    <a:pt x="1625370" y="311086"/>
                  </a:cubicBezTo>
                  <a:cubicBezTo>
                    <a:pt x="1619592" y="313563"/>
                    <a:pt x="1616131" y="314738"/>
                    <a:pt x="1614988" y="314611"/>
                  </a:cubicBezTo>
                  <a:cubicBezTo>
                    <a:pt x="1592192" y="311753"/>
                    <a:pt x="1580762" y="300482"/>
                    <a:pt x="1580698" y="280797"/>
                  </a:cubicBezTo>
                  <a:lnTo>
                    <a:pt x="1580031" y="128683"/>
                  </a:lnTo>
                  <a:close/>
                  <a:moveTo>
                    <a:pt x="612802" y="494630"/>
                  </a:moveTo>
                  <a:cubicBezTo>
                    <a:pt x="667930" y="495015"/>
                    <a:pt x="712947" y="448675"/>
                    <a:pt x="713349" y="391127"/>
                  </a:cubicBezTo>
                  <a:cubicBezTo>
                    <a:pt x="713750" y="333579"/>
                    <a:pt x="669386" y="286614"/>
                    <a:pt x="614257" y="286229"/>
                  </a:cubicBezTo>
                  <a:cubicBezTo>
                    <a:pt x="559129" y="285844"/>
                    <a:pt x="514112" y="332184"/>
                    <a:pt x="513710" y="389732"/>
                  </a:cubicBezTo>
                  <a:cubicBezTo>
                    <a:pt x="513309" y="447281"/>
                    <a:pt x="557673" y="494245"/>
                    <a:pt x="612802" y="494630"/>
                  </a:cubicBezTo>
                  <a:close/>
                  <a:moveTo>
                    <a:pt x="1151311" y="604742"/>
                  </a:moveTo>
                  <a:cubicBezTo>
                    <a:pt x="1151311" y="549717"/>
                    <a:pt x="1106705" y="505111"/>
                    <a:pt x="1051680" y="505111"/>
                  </a:cubicBezTo>
                  <a:cubicBezTo>
                    <a:pt x="996655" y="505111"/>
                    <a:pt x="952048" y="549717"/>
                    <a:pt x="952048" y="604742"/>
                  </a:cubicBezTo>
                  <a:cubicBezTo>
                    <a:pt x="952048" y="659767"/>
                    <a:pt x="996655" y="704374"/>
                    <a:pt x="1051680" y="704374"/>
                  </a:cubicBezTo>
                  <a:cubicBezTo>
                    <a:pt x="1106705" y="704374"/>
                    <a:pt x="1151311" y="659767"/>
                    <a:pt x="1151311" y="604742"/>
                  </a:cubicBezTo>
                  <a:close/>
                  <a:moveTo>
                    <a:pt x="165127" y="856580"/>
                  </a:moveTo>
                  <a:cubicBezTo>
                    <a:pt x="220255" y="856965"/>
                    <a:pt x="265272" y="810625"/>
                    <a:pt x="265674" y="753077"/>
                  </a:cubicBezTo>
                  <a:cubicBezTo>
                    <a:pt x="266075" y="695529"/>
                    <a:pt x="221711" y="648564"/>
                    <a:pt x="166582" y="648179"/>
                  </a:cubicBezTo>
                  <a:cubicBezTo>
                    <a:pt x="111454" y="647794"/>
                    <a:pt x="66437" y="694134"/>
                    <a:pt x="66035" y="751683"/>
                  </a:cubicBezTo>
                  <a:cubicBezTo>
                    <a:pt x="65634" y="809231"/>
                    <a:pt x="109998" y="856195"/>
                    <a:pt x="165127" y="856580"/>
                  </a:cubicBezTo>
                  <a:close/>
                </a:path>
              </a:pathLst>
            </a:custGeom>
            <a:grpFill/>
            <a:ln w="9525" cap="flat">
              <a:noFill/>
              <a:prstDash val="solid"/>
              <a:miter/>
            </a:ln>
          </p:spPr>
          <p:txBody>
            <a:bodyPr rtlCol="0" anchor="ctr"/>
            <a:lstStyle/>
            <a:p>
              <a:endParaRPr lang="en-GB" noProof="0">
                <a:latin typeface="Santander Text" panose="020B0504020201020104"/>
              </a:endParaRPr>
            </a:p>
          </p:txBody>
        </p:sp>
        <p:sp>
          <p:nvSpPr>
            <p:cNvPr id="60" name="Free-form: Shape 1874">
              <a:extLst>
                <a:ext uri="{FF2B5EF4-FFF2-40B4-BE49-F238E27FC236}">
                  <a16:creationId xmlns:a16="http://schemas.microsoft.com/office/drawing/2014/main" id="{25F996BA-0427-DF23-7109-CEDE06B9BDB9}"/>
                </a:ext>
              </a:extLst>
            </p:cNvPr>
            <p:cNvSpPr/>
            <p:nvPr/>
          </p:nvSpPr>
          <p:spPr>
            <a:xfrm>
              <a:off x="8863012" y="6729412"/>
              <a:ext cx="304800" cy="1095375"/>
            </a:xfrm>
            <a:custGeom>
              <a:avLst/>
              <a:gdLst>
                <a:gd name="connsiteX0" fmla="*/ 304800 w 304800"/>
                <a:gd name="connsiteY0" fmla="*/ 1061466 h 1095375"/>
                <a:gd name="connsiteX1" fmla="*/ 270891 w 304800"/>
                <a:gd name="connsiteY1" fmla="*/ 1095375 h 1095375"/>
                <a:gd name="connsiteX2" fmla="*/ 33909 w 304800"/>
                <a:gd name="connsiteY2" fmla="*/ 1095375 h 1095375"/>
                <a:gd name="connsiteX3" fmla="*/ 0 w 304800"/>
                <a:gd name="connsiteY3" fmla="*/ 1061466 h 1095375"/>
                <a:gd name="connsiteX4" fmla="*/ 0 w 304800"/>
                <a:gd name="connsiteY4" fmla="*/ 33909 h 1095375"/>
                <a:gd name="connsiteX5" fmla="*/ 33909 w 304800"/>
                <a:gd name="connsiteY5" fmla="*/ 0 h 1095375"/>
                <a:gd name="connsiteX6" fmla="*/ 270891 w 304800"/>
                <a:gd name="connsiteY6" fmla="*/ 0 h 1095375"/>
                <a:gd name="connsiteX7" fmla="*/ 304800 w 304800"/>
                <a:gd name="connsiteY7" fmla="*/ 33909 h 1095375"/>
                <a:gd name="connsiteX8" fmla="*/ 304800 w 304800"/>
                <a:gd name="connsiteY8" fmla="*/ 1061466 h 1095375"/>
                <a:gd name="connsiteX9" fmla="*/ 238125 w 304800"/>
                <a:gd name="connsiteY9" fmla="*/ 70104 h 1095375"/>
                <a:gd name="connsiteX10" fmla="*/ 234601 w 304800"/>
                <a:gd name="connsiteY10" fmla="*/ 66580 h 1095375"/>
                <a:gd name="connsiteX11" fmla="*/ 70199 w 304800"/>
                <a:gd name="connsiteY11" fmla="*/ 66580 h 1095375"/>
                <a:gd name="connsiteX12" fmla="*/ 66675 w 304800"/>
                <a:gd name="connsiteY12" fmla="*/ 70104 h 1095375"/>
                <a:gd name="connsiteX13" fmla="*/ 66675 w 304800"/>
                <a:gd name="connsiteY13" fmla="*/ 1025080 h 1095375"/>
                <a:gd name="connsiteX14" fmla="*/ 70199 w 304800"/>
                <a:gd name="connsiteY14" fmla="*/ 1028605 h 1095375"/>
                <a:gd name="connsiteX15" fmla="*/ 234601 w 304800"/>
                <a:gd name="connsiteY15" fmla="*/ 1028605 h 1095375"/>
                <a:gd name="connsiteX16" fmla="*/ 238125 w 304800"/>
                <a:gd name="connsiteY16" fmla="*/ 1025081 h 1095375"/>
                <a:gd name="connsiteX17" fmla="*/ 238125 w 304800"/>
                <a:gd name="connsiteY17" fmla="*/ 70104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1095375">
                  <a:moveTo>
                    <a:pt x="304800" y="1061466"/>
                  </a:moveTo>
                  <a:cubicBezTo>
                    <a:pt x="304800" y="1080194"/>
                    <a:pt x="289618" y="1095375"/>
                    <a:pt x="270891" y="1095375"/>
                  </a:cubicBezTo>
                  <a:lnTo>
                    <a:pt x="33909" y="1095375"/>
                  </a:lnTo>
                  <a:cubicBezTo>
                    <a:pt x="15181" y="1095375"/>
                    <a:pt x="0" y="1080193"/>
                    <a:pt x="0" y="1061466"/>
                  </a:cubicBezTo>
                  <a:lnTo>
                    <a:pt x="0" y="33909"/>
                  </a:lnTo>
                  <a:cubicBezTo>
                    <a:pt x="0" y="15182"/>
                    <a:pt x="15182" y="0"/>
                    <a:pt x="33909" y="0"/>
                  </a:cubicBezTo>
                  <a:lnTo>
                    <a:pt x="270891" y="0"/>
                  </a:lnTo>
                  <a:cubicBezTo>
                    <a:pt x="289619" y="0"/>
                    <a:pt x="304800" y="15182"/>
                    <a:pt x="304800" y="33909"/>
                  </a:cubicBezTo>
                  <a:lnTo>
                    <a:pt x="304800" y="1061466"/>
                  </a:lnTo>
                  <a:close/>
                  <a:moveTo>
                    <a:pt x="238125" y="70104"/>
                  </a:moveTo>
                  <a:cubicBezTo>
                    <a:pt x="238125" y="68158"/>
                    <a:pt x="236547" y="66580"/>
                    <a:pt x="234601" y="66580"/>
                  </a:cubicBezTo>
                  <a:lnTo>
                    <a:pt x="70199" y="66580"/>
                  </a:lnTo>
                  <a:cubicBezTo>
                    <a:pt x="68253" y="66580"/>
                    <a:pt x="66675" y="68158"/>
                    <a:pt x="66675" y="70104"/>
                  </a:cubicBezTo>
                  <a:lnTo>
                    <a:pt x="66675" y="1025080"/>
                  </a:lnTo>
                  <a:cubicBezTo>
                    <a:pt x="66675" y="1027027"/>
                    <a:pt x="68253" y="1028605"/>
                    <a:pt x="70199" y="1028605"/>
                  </a:cubicBezTo>
                  <a:lnTo>
                    <a:pt x="234601" y="1028605"/>
                  </a:lnTo>
                  <a:cubicBezTo>
                    <a:pt x="236547" y="1028605"/>
                    <a:pt x="238125" y="1027027"/>
                    <a:pt x="238125" y="1025081"/>
                  </a:cubicBezTo>
                  <a:lnTo>
                    <a:pt x="238125" y="70104"/>
                  </a:lnTo>
                  <a:close/>
                </a:path>
              </a:pathLst>
            </a:custGeom>
            <a:grpFill/>
            <a:ln w="9525" cap="flat">
              <a:noFill/>
              <a:prstDash val="solid"/>
              <a:miter/>
            </a:ln>
          </p:spPr>
          <p:txBody>
            <a:bodyPr rtlCol="0" anchor="ctr"/>
            <a:lstStyle/>
            <a:p>
              <a:endParaRPr lang="en-GB" noProof="0">
                <a:latin typeface="Santander Text" panose="020B0504020201020104"/>
              </a:endParaRPr>
            </a:p>
          </p:txBody>
        </p:sp>
        <p:sp>
          <p:nvSpPr>
            <p:cNvPr id="61" name="Free-form: Shape 1875">
              <a:extLst>
                <a:ext uri="{FF2B5EF4-FFF2-40B4-BE49-F238E27FC236}">
                  <a16:creationId xmlns:a16="http://schemas.microsoft.com/office/drawing/2014/main" id="{1B6574EF-3EB4-3B39-4E5F-69CFF97FAD35}"/>
                </a:ext>
              </a:extLst>
            </p:cNvPr>
            <p:cNvSpPr/>
            <p:nvPr/>
          </p:nvSpPr>
          <p:spPr>
            <a:xfrm>
              <a:off x="7986712" y="6948487"/>
              <a:ext cx="304800" cy="876300"/>
            </a:xfrm>
            <a:custGeom>
              <a:avLst/>
              <a:gdLst>
                <a:gd name="connsiteX0" fmla="*/ 304800 w 304800"/>
                <a:gd name="connsiteY0" fmla="*/ 842296 h 876300"/>
                <a:gd name="connsiteX1" fmla="*/ 270796 w 304800"/>
                <a:gd name="connsiteY1" fmla="*/ 876300 h 876300"/>
                <a:gd name="connsiteX2" fmla="*/ 34004 w 304800"/>
                <a:gd name="connsiteY2" fmla="*/ 876300 h 876300"/>
                <a:gd name="connsiteX3" fmla="*/ 0 w 304800"/>
                <a:gd name="connsiteY3" fmla="*/ 842296 h 876300"/>
                <a:gd name="connsiteX4" fmla="*/ 0 w 304800"/>
                <a:gd name="connsiteY4" fmla="*/ 34004 h 876300"/>
                <a:gd name="connsiteX5" fmla="*/ 34004 w 304800"/>
                <a:gd name="connsiteY5" fmla="*/ 0 h 876300"/>
                <a:gd name="connsiteX6" fmla="*/ 270796 w 304800"/>
                <a:gd name="connsiteY6" fmla="*/ 0 h 876300"/>
                <a:gd name="connsiteX7" fmla="*/ 304800 w 304800"/>
                <a:gd name="connsiteY7" fmla="*/ 34004 h 876300"/>
                <a:gd name="connsiteX8" fmla="*/ 304800 w 304800"/>
                <a:gd name="connsiteY8" fmla="*/ 842296 h 876300"/>
                <a:gd name="connsiteX9" fmla="*/ 238125 w 304800"/>
                <a:gd name="connsiteY9" fmla="*/ 71247 h 876300"/>
                <a:gd name="connsiteX10" fmla="*/ 233458 w 304800"/>
                <a:gd name="connsiteY10" fmla="*/ 66580 h 876300"/>
                <a:gd name="connsiteX11" fmla="*/ 71342 w 304800"/>
                <a:gd name="connsiteY11" fmla="*/ 66580 h 876300"/>
                <a:gd name="connsiteX12" fmla="*/ 66675 w 304800"/>
                <a:gd name="connsiteY12" fmla="*/ 71247 h 876300"/>
                <a:gd name="connsiteX13" fmla="*/ 66675 w 304800"/>
                <a:gd name="connsiteY13" fmla="*/ 804863 h 876300"/>
                <a:gd name="connsiteX14" fmla="*/ 71342 w 304800"/>
                <a:gd name="connsiteY14" fmla="*/ 809530 h 876300"/>
                <a:gd name="connsiteX15" fmla="*/ 233458 w 304800"/>
                <a:gd name="connsiteY15" fmla="*/ 809530 h 876300"/>
                <a:gd name="connsiteX16" fmla="*/ 238125 w 304800"/>
                <a:gd name="connsiteY16" fmla="*/ 804863 h 876300"/>
                <a:gd name="connsiteX17" fmla="*/ 238125 w 304800"/>
                <a:gd name="connsiteY17" fmla="*/ 71247 h 87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876300">
                  <a:moveTo>
                    <a:pt x="304800" y="842296"/>
                  </a:moveTo>
                  <a:cubicBezTo>
                    <a:pt x="304800" y="861076"/>
                    <a:pt x="289576" y="876300"/>
                    <a:pt x="270796" y="876300"/>
                  </a:cubicBezTo>
                  <a:lnTo>
                    <a:pt x="34004" y="876300"/>
                  </a:lnTo>
                  <a:cubicBezTo>
                    <a:pt x="15224" y="876300"/>
                    <a:pt x="0" y="861076"/>
                    <a:pt x="0" y="842296"/>
                  </a:cubicBezTo>
                  <a:lnTo>
                    <a:pt x="0" y="34004"/>
                  </a:lnTo>
                  <a:cubicBezTo>
                    <a:pt x="0" y="15224"/>
                    <a:pt x="15224" y="0"/>
                    <a:pt x="34004" y="0"/>
                  </a:cubicBezTo>
                  <a:lnTo>
                    <a:pt x="270796" y="0"/>
                  </a:lnTo>
                  <a:cubicBezTo>
                    <a:pt x="289576" y="0"/>
                    <a:pt x="304800" y="15224"/>
                    <a:pt x="304800" y="34004"/>
                  </a:cubicBezTo>
                  <a:lnTo>
                    <a:pt x="304800" y="842296"/>
                  </a:lnTo>
                  <a:close/>
                  <a:moveTo>
                    <a:pt x="238125" y="71247"/>
                  </a:moveTo>
                  <a:cubicBezTo>
                    <a:pt x="238125" y="68669"/>
                    <a:pt x="236035" y="66580"/>
                    <a:pt x="233458" y="66580"/>
                  </a:cubicBezTo>
                  <a:lnTo>
                    <a:pt x="71342" y="66580"/>
                  </a:lnTo>
                  <a:cubicBezTo>
                    <a:pt x="68765" y="66580"/>
                    <a:pt x="66675" y="68669"/>
                    <a:pt x="66675" y="71247"/>
                  </a:cubicBezTo>
                  <a:lnTo>
                    <a:pt x="66675" y="804863"/>
                  </a:lnTo>
                  <a:cubicBezTo>
                    <a:pt x="66675" y="807440"/>
                    <a:pt x="68765" y="809530"/>
                    <a:pt x="71342" y="809530"/>
                  </a:cubicBezTo>
                  <a:lnTo>
                    <a:pt x="233458" y="809530"/>
                  </a:lnTo>
                  <a:cubicBezTo>
                    <a:pt x="236035" y="809530"/>
                    <a:pt x="238125" y="807440"/>
                    <a:pt x="238125" y="804863"/>
                  </a:cubicBezTo>
                  <a:lnTo>
                    <a:pt x="238125" y="71247"/>
                  </a:lnTo>
                  <a:close/>
                </a:path>
              </a:pathLst>
            </a:custGeom>
            <a:grpFill/>
            <a:ln w="9525" cap="flat">
              <a:noFill/>
              <a:prstDash val="solid"/>
              <a:miter/>
            </a:ln>
          </p:spPr>
          <p:txBody>
            <a:bodyPr rtlCol="0" anchor="ctr"/>
            <a:lstStyle/>
            <a:p>
              <a:endParaRPr lang="en-GB" noProof="0">
                <a:latin typeface="Santander Text" panose="020B0504020201020104"/>
              </a:endParaRPr>
            </a:p>
          </p:txBody>
        </p:sp>
        <p:sp>
          <p:nvSpPr>
            <p:cNvPr id="62" name="Free-form: Shape 1876">
              <a:extLst>
                <a:ext uri="{FF2B5EF4-FFF2-40B4-BE49-F238E27FC236}">
                  <a16:creationId xmlns:a16="http://schemas.microsoft.com/office/drawing/2014/main" id="{F02E90AB-54A5-F6FF-D1DD-D8D3DF02FAC5}"/>
                </a:ext>
              </a:extLst>
            </p:cNvPr>
            <p:cNvSpPr/>
            <p:nvPr/>
          </p:nvSpPr>
          <p:spPr>
            <a:xfrm>
              <a:off x="8424862" y="7167562"/>
              <a:ext cx="304800" cy="657225"/>
            </a:xfrm>
            <a:custGeom>
              <a:avLst/>
              <a:gdLst>
                <a:gd name="connsiteX0" fmla="*/ 304800 w 304800"/>
                <a:gd name="connsiteY0" fmla="*/ 623411 h 657225"/>
                <a:gd name="connsiteX1" fmla="*/ 270986 w 304800"/>
                <a:gd name="connsiteY1" fmla="*/ 657225 h 657225"/>
                <a:gd name="connsiteX2" fmla="*/ 33814 w 304800"/>
                <a:gd name="connsiteY2" fmla="*/ 657225 h 657225"/>
                <a:gd name="connsiteX3" fmla="*/ 0 w 304800"/>
                <a:gd name="connsiteY3" fmla="*/ 623411 h 657225"/>
                <a:gd name="connsiteX4" fmla="*/ 0 w 304800"/>
                <a:gd name="connsiteY4" fmla="*/ 33814 h 657225"/>
                <a:gd name="connsiteX5" fmla="*/ 33814 w 304800"/>
                <a:gd name="connsiteY5" fmla="*/ 0 h 657225"/>
                <a:gd name="connsiteX6" fmla="*/ 270986 w 304800"/>
                <a:gd name="connsiteY6" fmla="*/ 0 h 657225"/>
                <a:gd name="connsiteX7" fmla="*/ 304800 w 304800"/>
                <a:gd name="connsiteY7" fmla="*/ 33814 h 657225"/>
                <a:gd name="connsiteX8" fmla="*/ 304800 w 304800"/>
                <a:gd name="connsiteY8" fmla="*/ 623411 h 657225"/>
                <a:gd name="connsiteX9" fmla="*/ 238125 w 304800"/>
                <a:gd name="connsiteY9" fmla="*/ 71723 h 657225"/>
                <a:gd name="connsiteX10" fmla="*/ 233077 w 304800"/>
                <a:gd name="connsiteY10" fmla="*/ 66675 h 657225"/>
                <a:gd name="connsiteX11" fmla="*/ 71723 w 304800"/>
                <a:gd name="connsiteY11" fmla="*/ 66675 h 657225"/>
                <a:gd name="connsiteX12" fmla="*/ 66675 w 304800"/>
                <a:gd name="connsiteY12" fmla="*/ 71723 h 657225"/>
                <a:gd name="connsiteX13" fmla="*/ 66675 w 304800"/>
                <a:gd name="connsiteY13" fmla="*/ 585502 h 657225"/>
                <a:gd name="connsiteX14" fmla="*/ 71723 w 304800"/>
                <a:gd name="connsiteY14" fmla="*/ 590550 h 657225"/>
                <a:gd name="connsiteX15" fmla="*/ 233077 w 304800"/>
                <a:gd name="connsiteY15" fmla="*/ 590550 h 657225"/>
                <a:gd name="connsiteX16" fmla="*/ 238125 w 304800"/>
                <a:gd name="connsiteY16" fmla="*/ 585502 h 657225"/>
                <a:gd name="connsiteX17" fmla="*/ 238125 w 304800"/>
                <a:gd name="connsiteY17" fmla="*/ 71723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657225">
                  <a:moveTo>
                    <a:pt x="304800" y="623411"/>
                  </a:moveTo>
                  <a:cubicBezTo>
                    <a:pt x="304800" y="642086"/>
                    <a:pt x="289661" y="657225"/>
                    <a:pt x="270986" y="657225"/>
                  </a:cubicBezTo>
                  <a:lnTo>
                    <a:pt x="33814" y="657225"/>
                  </a:lnTo>
                  <a:cubicBezTo>
                    <a:pt x="15139" y="657225"/>
                    <a:pt x="0" y="642086"/>
                    <a:pt x="0" y="623411"/>
                  </a:cubicBezTo>
                  <a:lnTo>
                    <a:pt x="0" y="33814"/>
                  </a:lnTo>
                  <a:cubicBezTo>
                    <a:pt x="0" y="15139"/>
                    <a:pt x="15139" y="0"/>
                    <a:pt x="33814" y="0"/>
                  </a:cubicBezTo>
                  <a:lnTo>
                    <a:pt x="270986" y="0"/>
                  </a:lnTo>
                  <a:cubicBezTo>
                    <a:pt x="289661" y="0"/>
                    <a:pt x="304800" y="15139"/>
                    <a:pt x="304800" y="33814"/>
                  </a:cubicBezTo>
                  <a:lnTo>
                    <a:pt x="304800" y="623411"/>
                  </a:lnTo>
                  <a:close/>
                  <a:moveTo>
                    <a:pt x="238125" y="71723"/>
                  </a:moveTo>
                  <a:cubicBezTo>
                    <a:pt x="238125" y="68935"/>
                    <a:pt x="235865" y="66675"/>
                    <a:pt x="233077" y="66675"/>
                  </a:cubicBezTo>
                  <a:lnTo>
                    <a:pt x="71723" y="66675"/>
                  </a:lnTo>
                  <a:cubicBezTo>
                    <a:pt x="68935" y="66675"/>
                    <a:pt x="66675" y="68935"/>
                    <a:pt x="66675" y="71723"/>
                  </a:cubicBezTo>
                  <a:lnTo>
                    <a:pt x="66675" y="585502"/>
                  </a:lnTo>
                  <a:cubicBezTo>
                    <a:pt x="66675" y="588290"/>
                    <a:pt x="68935" y="590550"/>
                    <a:pt x="71723" y="590550"/>
                  </a:cubicBezTo>
                  <a:lnTo>
                    <a:pt x="233077" y="590550"/>
                  </a:lnTo>
                  <a:cubicBezTo>
                    <a:pt x="235865" y="590550"/>
                    <a:pt x="238125" y="588290"/>
                    <a:pt x="238125" y="585502"/>
                  </a:cubicBezTo>
                  <a:lnTo>
                    <a:pt x="238125" y="71723"/>
                  </a:lnTo>
                  <a:close/>
                </a:path>
              </a:pathLst>
            </a:custGeom>
            <a:grpFill/>
            <a:ln w="9525" cap="flat">
              <a:noFill/>
              <a:prstDash val="solid"/>
              <a:miter/>
            </a:ln>
          </p:spPr>
          <p:txBody>
            <a:bodyPr rtlCol="0" anchor="ctr"/>
            <a:lstStyle/>
            <a:p>
              <a:endParaRPr lang="en-GB" noProof="0">
                <a:latin typeface="Santander Text" panose="020B0504020201020104"/>
              </a:endParaRPr>
            </a:p>
          </p:txBody>
        </p:sp>
        <p:sp>
          <p:nvSpPr>
            <p:cNvPr id="63" name="Free-form: Shape 1877">
              <a:extLst>
                <a:ext uri="{FF2B5EF4-FFF2-40B4-BE49-F238E27FC236}">
                  <a16:creationId xmlns:a16="http://schemas.microsoft.com/office/drawing/2014/main" id="{8ED5804A-EF69-837B-90D9-122ED806273E}"/>
                </a:ext>
              </a:extLst>
            </p:cNvPr>
            <p:cNvSpPr/>
            <p:nvPr/>
          </p:nvSpPr>
          <p:spPr>
            <a:xfrm>
              <a:off x="7539037" y="7310437"/>
              <a:ext cx="304800" cy="514350"/>
            </a:xfrm>
            <a:custGeom>
              <a:avLst/>
              <a:gdLst>
                <a:gd name="connsiteX0" fmla="*/ 304800 w 304800"/>
                <a:gd name="connsiteY0" fmla="*/ 480441 h 514350"/>
                <a:gd name="connsiteX1" fmla="*/ 270891 w 304800"/>
                <a:gd name="connsiteY1" fmla="*/ 514350 h 514350"/>
                <a:gd name="connsiteX2" fmla="*/ 33909 w 304800"/>
                <a:gd name="connsiteY2" fmla="*/ 514350 h 514350"/>
                <a:gd name="connsiteX3" fmla="*/ 0 w 304800"/>
                <a:gd name="connsiteY3" fmla="*/ 480441 h 514350"/>
                <a:gd name="connsiteX4" fmla="*/ 0 w 304800"/>
                <a:gd name="connsiteY4" fmla="*/ 33909 h 514350"/>
                <a:gd name="connsiteX5" fmla="*/ 33909 w 304800"/>
                <a:gd name="connsiteY5" fmla="*/ 0 h 514350"/>
                <a:gd name="connsiteX6" fmla="*/ 270891 w 304800"/>
                <a:gd name="connsiteY6" fmla="*/ 0 h 514350"/>
                <a:gd name="connsiteX7" fmla="*/ 304800 w 304800"/>
                <a:gd name="connsiteY7" fmla="*/ 33909 h 514350"/>
                <a:gd name="connsiteX8" fmla="*/ 304800 w 304800"/>
                <a:gd name="connsiteY8" fmla="*/ 480441 h 514350"/>
                <a:gd name="connsiteX9" fmla="*/ 238125 w 304800"/>
                <a:gd name="connsiteY9" fmla="*/ 73628 h 514350"/>
                <a:gd name="connsiteX10" fmla="*/ 230981 w 304800"/>
                <a:gd name="connsiteY10" fmla="*/ 66484 h 514350"/>
                <a:gd name="connsiteX11" fmla="*/ 73819 w 304800"/>
                <a:gd name="connsiteY11" fmla="*/ 66484 h 514350"/>
                <a:gd name="connsiteX12" fmla="*/ 66675 w 304800"/>
                <a:gd name="connsiteY12" fmla="*/ 73628 h 514350"/>
                <a:gd name="connsiteX13" fmla="*/ 66675 w 304800"/>
                <a:gd name="connsiteY13" fmla="*/ 440531 h 514350"/>
                <a:gd name="connsiteX14" fmla="*/ 73819 w 304800"/>
                <a:gd name="connsiteY14" fmla="*/ 447675 h 514350"/>
                <a:gd name="connsiteX15" fmla="*/ 230981 w 304800"/>
                <a:gd name="connsiteY15" fmla="*/ 447675 h 514350"/>
                <a:gd name="connsiteX16" fmla="*/ 238125 w 304800"/>
                <a:gd name="connsiteY16" fmla="*/ 440531 h 514350"/>
                <a:gd name="connsiteX17" fmla="*/ 238125 w 304800"/>
                <a:gd name="connsiteY17" fmla="*/ 73628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14350">
                  <a:moveTo>
                    <a:pt x="304800" y="480441"/>
                  </a:moveTo>
                  <a:cubicBezTo>
                    <a:pt x="304800" y="499169"/>
                    <a:pt x="289618" y="514350"/>
                    <a:pt x="270891" y="514350"/>
                  </a:cubicBezTo>
                  <a:lnTo>
                    <a:pt x="33909" y="514350"/>
                  </a:lnTo>
                  <a:cubicBezTo>
                    <a:pt x="15182" y="514350"/>
                    <a:pt x="0" y="499168"/>
                    <a:pt x="0" y="480441"/>
                  </a:cubicBezTo>
                  <a:lnTo>
                    <a:pt x="0" y="33909"/>
                  </a:lnTo>
                  <a:cubicBezTo>
                    <a:pt x="0" y="15181"/>
                    <a:pt x="15182" y="0"/>
                    <a:pt x="33909" y="0"/>
                  </a:cubicBezTo>
                  <a:lnTo>
                    <a:pt x="270891" y="0"/>
                  </a:lnTo>
                  <a:cubicBezTo>
                    <a:pt x="289618" y="0"/>
                    <a:pt x="304800" y="15182"/>
                    <a:pt x="304800" y="33909"/>
                  </a:cubicBezTo>
                  <a:lnTo>
                    <a:pt x="304800" y="480441"/>
                  </a:lnTo>
                  <a:close/>
                  <a:moveTo>
                    <a:pt x="238125" y="73628"/>
                  </a:moveTo>
                  <a:cubicBezTo>
                    <a:pt x="238125" y="69683"/>
                    <a:pt x="234927" y="66484"/>
                    <a:pt x="230981" y="66484"/>
                  </a:cubicBezTo>
                  <a:lnTo>
                    <a:pt x="73819" y="66484"/>
                  </a:lnTo>
                  <a:cubicBezTo>
                    <a:pt x="69873" y="66484"/>
                    <a:pt x="66675" y="69683"/>
                    <a:pt x="66675" y="73628"/>
                  </a:cubicBezTo>
                  <a:lnTo>
                    <a:pt x="66675" y="440531"/>
                  </a:lnTo>
                  <a:cubicBezTo>
                    <a:pt x="66675" y="444477"/>
                    <a:pt x="69873" y="447675"/>
                    <a:pt x="73819" y="447675"/>
                  </a:cubicBezTo>
                  <a:lnTo>
                    <a:pt x="230981" y="447675"/>
                  </a:lnTo>
                  <a:cubicBezTo>
                    <a:pt x="234927" y="447675"/>
                    <a:pt x="238125" y="444477"/>
                    <a:pt x="238125" y="440531"/>
                  </a:cubicBezTo>
                  <a:lnTo>
                    <a:pt x="238125" y="73628"/>
                  </a:lnTo>
                  <a:close/>
                </a:path>
              </a:pathLst>
            </a:custGeom>
            <a:grpFill/>
            <a:ln w="9525" cap="flat">
              <a:noFill/>
              <a:prstDash val="solid"/>
              <a:miter/>
            </a:ln>
          </p:spPr>
          <p:txBody>
            <a:bodyPr rtlCol="0" anchor="ctr"/>
            <a:lstStyle/>
            <a:p>
              <a:endParaRPr lang="en-GB" noProof="0">
                <a:latin typeface="Santander Text" panose="020B0504020201020104"/>
              </a:endParaRPr>
            </a:p>
          </p:txBody>
        </p:sp>
      </p:grpSp>
      <p:sp>
        <p:nvSpPr>
          <p:cNvPr id="64" name="Rectángulo: esquinas redondeadas 63">
            <a:extLst>
              <a:ext uri="{FF2B5EF4-FFF2-40B4-BE49-F238E27FC236}">
                <a16:creationId xmlns:a16="http://schemas.microsoft.com/office/drawing/2014/main" id="{74F1CF67-9401-F1B1-9E4D-9C20514013D0}"/>
              </a:ext>
            </a:extLst>
          </p:cNvPr>
          <p:cNvSpPr/>
          <p:nvPr/>
        </p:nvSpPr>
        <p:spPr>
          <a:xfrm>
            <a:off x="3806382" y="3260778"/>
            <a:ext cx="811529" cy="267299"/>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50" b="1" noProof="0">
                <a:latin typeface="Santander Text" panose="020B0504020201020104"/>
              </a:rPr>
              <a:t>Power BI</a:t>
            </a:r>
          </a:p>
        </p:txBody>
      </p:sp>
      <p:grpSp>
        <p:nvGrpSpPr>
          <p:cNvPr id="65" name="Group 21">
            <a:extLst>
              <a:ext uri="{FF2B5EF4-FFF2-40B4-BE49-F238E27FC236}">
                <a16:creationId xmlns:a16="http://schemas.microsoft.com/office/drawing/2014/main" id="{475D4231-3172-409C-21A0-471FEF48152F}"/>
              </a:ext>
            </a:extLst>
          </p:cNvPr>
          <p:cNvGrpSpPr/>
          <p:nvPr/>
        </p:nvGrpSpPr>
        <p:grpSpPr>
          <a:xfrm>
            <a:off x="3682237" y="2664450"/>
            <a:ext cx="453683" cy="462983"/>
            <a:chOff x="3461856" y="6512355"/>
            <a:chExt cx="453683" cy="462983"/>
          </a:xfrm>
        </p:grpSpPr>
        <p:sp>
          <p:nvSpPr>
            <p:cNvPr id="66" name="Rectangle 20">
              <a:extLst>
                <a:ext uri="{FF2B5EF4-FFF2-40B4-BE49-F238E27FC236}">
                  <a16:creationId xmlns:a16="http://schemas.microsoft.com/office/drawing/2014/main" id="{57EEA31C-1AEF-A378-42A5-5494058B72A2}"/>
                </a:ext>
              </a:extLst>
            </p:cNvPr>
            <p:cNvSpPr/>
            <p:nvPr/>
          </p:nvSpPr>
          <p:spPr>
            <a:xfrm>
              <a:off x="3461856" y="6536952"/>
              <a:ext cx="453683" cy="43393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latin typeface="Santander Text" panose="020B0504020201020104"/>
              </a:endParaRPr>
            </a:p>
          </p:txBody>
        </p:sp>
        <p:grpSp>
          <p:nvGrpSpPr>
            <p:cNvPr id="67" name="Grupo 66">
              <a:extLst>
                <a:ext uri="{FF2B5EF4-FFF2-40B4-BE49-F238E27FC236}">
                  <a16:creationId xmlns:a16="http://schemas.microsoft.com/office/drawing/2014/main" id="{B58DA84D-F843-92DF-BB75-6FC6FC7C13E7}"/>
                </a:ext>
              </a:extLst>
            </p:cNvPr>
            <p:cNvGrpSpPr/>
            <p:nvPr/>
          </p:nvGrpSpPr>
          <p:grpSpPr>
            <a:xfrm>
              <a:off x="3461857" y="6512355"/>
              <a:ext cx="449621" cy="462983"/>
              <a:chOff x="3729176" y="4695678"/>
              <a:chExt cx="449621" cy="462983"/>
            </a:xfrm>
          </p:grpSpPr>
          <p:pic>
            <p:nvPicPr>
              <p:cNvPr id="68" name="Gráfico 67" descr="Documento contorno">
                <a:extLst>
                  <a:ext uri="{FF2B5EF4-FFF2-40B4-BE49-F238E27FC236}">
                    <a16:creationId xmlns:a16="http://schemas.microsoft.com/office/drawing/2014/main" id="{642D4A1B-3CDF-6A5F-25E4-38F7FE54799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51335" y="4695678"/>
                <a:ext cx="405305" cy="405305"/>
              </a:xfrm>
              <a:prstGeom prst="rect">
                <a:avLst/>
              </a:prstGeom>
            </p:spPr>
          </p:pic>
          <p:sp>
            <p:nvSpPr>
              <p:cNvPr id="69" name="Rectángulo: esquinas redondeadas 27">
                <a:extLst>
                  <a:ext uri="{FF2B5EF4-FFF2-40B4-BE49-F238E27FC236}">
                    <a16:creationId xmlns:a16="http://schemas.microsoft.com/office/drawing/2014/main" id="{F8F90416-6C17-EAE4-98AF-CDE5EAF0673C}"/>
                  </a:ext>
                </a:extLst>
              </p:cNvPr>
              <p:cNvSpPr/>
              <p:nvPr/>
            </p:nvSpPr>
            <p:spPr>
              <a:xfrm>
                <a:off x="3729176" y="5002653"/>
                <a:ext cx="449621" cy="156008"/>
              </a:xfrm>
              <a:prstGeom prst="roundRect">
                <a:avLst/>
              </a:prstGeom>
              <a:solidFill>
                <a:schemeClr val="bg1"/>
              </a:solidFill>
              <a:ln>
                <a:solidFill>
                  <a:schemeClr val="accent1">
                    <a:shade val="1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GB" sz="800" noProof="0">
                    <a:solidFill>
                      <a:schemeClr val="tx1"/>
                    </a:solidFill>
                    <a:latin typeface="Santander Text" panose="020B0504020201020104"/>
                    <a:ea typeface="Calibri" panose="020F0502020204030204" pitchFamily="34" charset="0"/>
                    <a:cs typeface="Calibri" panose="020F0502020204030204" pitchFamily="34" charset="0"/>
                  </a:rPr>
                  <a:t>CSV/Json</a:t>
                </a:r>
              </a:p>
            </p:txBody>
          </p:sp>
        </p:grpSp>
      </p:grpSp>
      <p:cxnSp>
        <p:nvCxnSpPr>
          <p:cNvPr id="70" name="Conector recto de flecha 69">
            <a:extLst>
              <a:ext uri="{FF2B5EF4-FFF2-40B4-BE49-F238E27FC236}">
                <a16:creationId xmlns:a16="http://schemas.microsoft.com/office/drawing/2014/main" id="{2DC67E94-FA8F-2009-3BA4-1260A5BADC4B}"/>
              </a:ext>
            </a:extLst>
          </p:cNvPr>
          <p:cNvCxnSpPr>
            <a:cxnSpLocks/>
            <a:endCxn id="64" idx="0"/>
          </p:cNvCxnSpPr>
          <p:nvPr/>
        </p:nvCxnSpPr>
        <p:spPr>
          <a:xfrm>
            <a:off x="4212146" y="2674590"/>
            <a:ext cx="1" cy="586188"/>
          </a:xfrm>
          <a:prstGeom prst="straightConnector1">
            <a:avLst/>
          </a:prstGeom>
          <a:ln>
            <a:solidFill>
              <a:srgbClr val="C00000"/>
            </a:solidFill>
            <a:tailEnd type="triangle"/>
          </a:ln>
        </p:spPr>
        <p:style>
          <a:lnRef idx="2">
            <a:schemeClr val="accent1"/>
          </a:lnRef>
          <a:fillRef idx="0">
            <a:schemeClr val="accent1"/>
          </a:fillRef>
          <a:effectRef idx="1">
            <a:schemeClr val="accent1"/>
          </a:effectRef>
          <a:fontRef idx="minor">
            <a:schemeClr val="tx1"/>
          </a:fontRef>
        </p:style>
      </p:cxnSp>
      <p:sp>
        <p:nvSpPr>
          <p:cNvPr id="73" name="Rectángulo: esquinas redondeadas 27">
            <a:extLst>
              <a:ext uri="{FF2B5EF4-FFF2-40B4-BE49-F238E27FC236}">
                <a16:creationId xmlns:a16="http://schemas.microsoft.com/office/drawing/2014/main" id="{B48E5F0B-5F52-0FA5-55BA-FE61AF8E9449}"/>
              </a:ext>
            </a:extLst>
          </p:cNvPr>
          <p:cNvSpPr/>
          <p:nvPr/>
        </p:nvSpPr>
        <p:spPr>
          <a:xfrm>
            <a:off x="5190674" y="1898682"/>
            <a:ext cx="449621" cy="156008"/>
          </a:xfrm>
          <a:prstGeom prst="roundRect">
            <a:avLst/>
          </a:prstGeom>
          <a:solidFill>
            <a:schemeClr val="bg1"/>
          </a:solidFill>
          <a:ln>
            <a:solidFill>
              <a:schemeClr val="accent1">
                <a:shade val="1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GB" sz="800" noProof="0">
                <a:solidFill>
                  <a:schemeClr val="tx1"/>
                </a:solidFill>
                <a:latin typeface="Santander Text" panose="020B0504020201020104"/>
                <a:ea typeface="Calibri" panose="020F0502020204030204" pitchFamily="34" charset="0"/>
                <a:cs typeface="Calibri" panose="020F0502020204030204" pitchFamily="34" charset="0"/>
              </a:rPr>
              <a:t>Question</a:t>
            </a:r>
          </a:p>
        </p:txBody>
      </p:sp>
      <p:sp>
        <p:nvSpPr>
          <p:cNvPr id="75" name="Bocadillo: rectángulo 74">
            <a:extLst>
              <a:ext uri="{FF2B5EF4-FFF2-40B4-BE49-F238E27FC236}">
                <a16:creationId xmlns:a16="http://schemas.microsoft.com/office/drawing/2014/main" id="{457AF25A-581F-1154-DF9D-397470F4A10C}"/>
              </a:ext>
            </a:extLst>
          </p:cNvPr>
          <p:cNvSpPr/>
          <p:nvPr/>
        </p:nvSpPr>
        <p:spPr>
          <a:xfrm>
            <a:off x="85726" y="1328083"/>
            <a:ext cx="3379458" cy="3409503"/>
          </a:xfrm>
          <a:prstGeom prst="wedgeRectCallout">
            <a:avLst>
              <a:gd name="adj1" fmla="val 63818"/>
              <a:gd name="adj2" fmla="val -31367"/>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82550" algn="just">
              <a:spcAft>
                <a:spcPts val="600"/>
              </a:spcAft>
              <a:buFont typeface="Arial" panose="020B0604020202020204" pitchFamily="34" charset="0"/>
              <a:buChar char="•"/>
            </a:pPr>
            <a:r>
              <a:rPr lang="en-GB" sz="900" noProof="0">
                <a:solidFill>
                  <a:schemeClr val="tx1"/>
                </a:solidFill>
                <a:latin typeface="Santander Text" panose="020B0504020201020104"/>
              </a:rPr>
              <a:t>What is the balance drawn down in EUR at the end of each month from 2024 onwards? In table format with the balance in EUR millions.</a:t>
            </a:r>
            <a:endParaRPr lang="en-GB" sz="500" noProof="0">
              <a:solidFill>
                <a:schemeClr val="tx1"/>
              </a:solidFill>
              <a:latin typeface="Santander Text" panose="020B0504020201020104"/>
            </a:endParaRPr>
          </a:p>
          <a:p>
            <a:pPr marL="171450" indent="-82550" algn="just">
              <a:spcAft>
                <a:spcPts val="600"/>
              </a:spcAft>
              <a:buFont typeface="Arial" panose="020B0604020202020204" pitchFamily="34" charset="0"/>
              <a:buChar char="•"/>
            </a:pPr>
            <a:r>
              <a:rPr lang="en-GB" sz="900" noProof="0">
                <a:solidFill>
                  <a:schemeClr val="tx1"/>
                </a:solidFill>
                <a:latin typeface="Santander Text" panose="020B0504020201020104"/>
              </a:rPr>
              <a:t>Could you compare, for each quarter, which deals (comparing by Deal Name) have seen a greater decrease in the balance drawn? Bring out a table including: *deal name, balance change (in millions of EUR), Booking unit, Product level 1, Product level 2.</a:t>
            </a:r>
            <a:endParaRPr lang="en-GB" sz="500" noProof="0">
              <a:solidFill>
                <a:schemeClr val="tx1"/>
              </a:solidFill>
              <a:latin typeface="Santander Text" panose="020B0504020201020104"/>
            </a:endParaRPr>
          </a:p>
          <a:p>
            <a:pPr marL="171450" indent="-82550" algn="just">
              <a:spcAft>
                <a:spcPts val="600"/>
              </a:spcAft>
              <a:buFont typeface="Arial" panose="020B0604020202020204" pitchFamily="34" charset="0"/>
              <a:buChar char="•"/>
            </a:pPr>
            <a:r>
              <a:rPr lang="en-GB" sz="900" noProof="0">
                <a:solidFill>
                  <a:schemeClr val="tx1"/>
                </a:solidFill>
                <a:latin typeface="Santander Text" panose="020B0504020201020104"/>
              </a:rPr>
              <a:t>Could you compare, for each quarter, which deals (comparing by Deal Name) have seen a greater increase in the balance drawn? Draw a table including: deal name, balance change (in millions of EUR), Booking unit, Product level 1, Product level 2.</a:t>
            </a:r>
            <a:endParaRPr lang="en-GB" sz="500" noProof="0">
              <a:solidFill>
                <a:schemeClr val="tx1"/>
              </a:solidFill>
              <a:latin typeface="Santander Text" panose="020B0504020201020104"/>
            </a:endParaRPr>
          </a:p>
          <a:p>
            <a:pPr marL="171450" indent="-82550" algn="just">
              <a:buFont typeface="Arial" panose="020B0604020202020204" pitchFamily="34" charset="0"/>
              <a:buChar char="•"/>
            </a:pPr>
            <a:r>
              <a:rPr lang="en-GB" sz="900" noProof="0">
                <a:solidFill>
                  <a:schemeClr val="tx1"/>
                </a:solidFill>
                <a:latin typeface="Santander Text" panose="020B0504020201020104"/>
              </a:rPr>
              <a:t>Of the deals we have at HTCS each quarter, give me the signing date of each deal. Those that have a signature date of 3 months (&lt;90 days) greater than the reporting date of each month, classify them as "Level 3 Assets". The rest, classify them as "Level 2 Assets". Make a board with:</a:t>
            </a:r>
          </a:p>
          <a:p>
            <a:pPr marL="546100" lvl="1" algn="just"/>
            <a:r>
              <a:rPr lang="en-GB" sz="900" noProof="0">
                <a:solidFill>
                  <a:schemeClr val="tx1"/>
                </a:solidFill>
                <a:latin typeface="Santander Text" panose="020B0504020201020104"/>
              </a:rPr>
              <a:t>Rows: Booking Unit, Columns: Signature </a:t>
            </a:r>
          </a:p>
          <a:p>
            <a:pPr marL="546100" lvl="1" algn="just"/>
            <a:r>
              <a:rPr lang="en-GB" sz="900" noProof="0">
                <a:solidFill>
                  <a:schemeClr val="tx1"/>
                </a:solidFill>
                <a:latin typeface="Santander Text" panose="020B0504020201020104"/>
              </a:rPr>
              <a:t>Date Buckets: Closing &lt; 3m  Closing &lt; 6m  Closing &lt; 1y   Closing &lt; 2y  Closing &gt; 2y</a:t>
            </a:r>
          </a:p>
          <a:p>
            <a:pPr marL="546100" lvl="1" algn="just"/>
            <a:r>
              <a:rPr lang="en-GB" sz="900" noProof="0">
                <a:solidFill>
                  <a:schemeClr val="tx1"/>
                </a:solidFill>
                <a:latin typeface="Santander Text" panose="020B0504020201020104"/>
              </a:rPr>
              <a:t>Values: balance drawn in EUR</a:t>
            </a:r>
          </a:p>
        </p:txBody>
      </p:sp>
      <p:sp>
        <p:nvSpPr>
          <p:cNvPr id="102" name="Rectangle: Rounded Corners 193">
            <a:extLst>
              <a:ext uri="{FF2B5EF4-FFF2-40B4-BE49-F238E27FC236}">
                <a16:creationId xmlns:a16="http://schemas.microsoft.com/office/drawing/2014/main" id="{C08EBAD3-AC8B-15EC-65BF-CBF7AF14DB9A}"/>
              </a:ext>
            </a:extLst>
          </p:cNvPr>
          <p:cNvSpPr>
            <a:spLocks/>
          </p:cNvSpPr>
          <p:nvPr/>
        </p:nvSpPr>
        <p:spPr>
          <a:xfrm>
            <a:off x="6911016" y="1284469"/>
            <a:ext cx="5127766" cy="5074359"/>
          </a:xfrm>
          <a:prstGeom prst="roundRect">
            <a:avLst>
              <a:gd name="adj" fmla="val 3636"/>
            </a:avLst>
          </a:prstGeom>
          <a:noFill/>
          <a:ln w="6350" cap="flat" cmpd="sng" algn="ctr">
            <a:solidFill>
              <a:srgbClr val="002060"/>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a:ln>
                <a:noFill/>
              </a:ln>
              <a:effectLst/>
              <a:uLnTx/>
              <a:uFillTx/>
              <a:latin typeface="Santander Text" panose="020B0504020201020104"/>
            </a:endParaRPr>
          </a:p>
        </p:txBody>
      </p:sp>
      <p:sp>
        <p:nvSpPr>
          <p:cNvPr id="104" name="Rectángulo: esquinas redondeadas 103">
            <a:extLst>
              <a:ext uri="{FF2B5EF4-FFF2-40B4-BE49-F238E27FC236}">
                <a16:creationId xmlns:a16="http://schemas.microsoft.com/office/drawing/2014/main" id="{16E43963-6314-F36F-D2D9-E7FD3C74E183}"/>
              </a:ext>
            </a:extLst>
          </p:cNvPr>
          <p:cNvSpPr/>
          <p:nvPr/>
        </p:nvSpPr>
        <p:spPr>
          <a:xfrm>
            <a:off x="7032134" y="1071927"/>
            <a:ext cx="1741178" cy="331474"/>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50" b="1" noProof="0">
                <a:solidFill>
                  <a:prstClr val="white"/>
                </a:solidFill>
                <a:latin typeface="Santander Text" panose="020B0504020201020104"/>
              </a:rPr>
              <a:t>Agentic Platform</a:t>
            </a:r>
          </a:p>
        </p:txBody>
      </p:sp>
      <p:sp>
        <p:nvSpPr>
          <p:cNvPr id="114" name="Rectangle 1">
            <a:extLst>
              <a:ext uri="{FF2B5EF4-FFF2-40B4-BE49-F238E27FC236}">
                <a16:creationId xmlns:a16="http://schemas.microsoft.com/office/drawing/2014/main" id="{9065D3E2-DD67-E5B7-4D71-9CBE45EB4F87}"/>
              </a:ext>
            </a:extLst>
          </p:cNvPr>
          <p:cNvSpPr/>
          <p:nvPr/>
        </p:nvSpPr>
        <p:spPr>
          <a:xfrm>
            <a:off x="5407107" y="3710416"/>
            <a:ext cx="968216" cy="950536"/>
          </a:xfrm>
          <a:prstGeom prst="roundRect">
            <a:avLst/>
          </a:prstGeom>
          <a:solidFill>
            <a:srgbClr val="C00000"/>
          </a:solidFill>
          <a:ln w="6350" cap="flat" cmpd="sng" algn="ctr">
            <a:solidFill>
              <a:schemeClr val="accent2">
                <a:lumMod val="60000"/>
                <a:lumOff val="40000"/>
              </a:schemeClr>
            </a:solidFill>
            <a:prstDash val="solid"/>
            <a:miter lim="800000"/>
            <a:headEnd type="none" w="med" len="med"/>
            <a:tailEnd type="none" w="med" len="med"/>
          </a:ln>
          <a:effectLst/>
        </p:spPr>
        <p:txBody>
          <a:bodyPr vert="horz" rtlCol="0" anchor="t"/>
          <a:lstStyle/>
          <a:p>
            <a:pPr algn="ctr"/>
            <a:endParaRPr lang="en-GB" sz="1200" b="1" kern="0" noProof="0">
              <a:latin typeface="Santander Text" panose="020B0504020201020104"/>
            </a:endParaRPr>
          </a:p>
        </p:txBody>
      </p:sp>
      <p:sp>
        <p:nvSpPr>
          <p:cNvPr id="115" name="Rectángulo: esquinas redondeadas 114">
            <a:extLst>
              <a:ext uri="{FF2B5EF4-FFF2-40B4-BE49-F238E27FC236}">
                <a16:creationId xmlns:a16="http://schemas.microsoft.com/office/drawing/2014/main" id="{1B66542C-34E9-2B7B-218E-AD4524212029}"/>
              </a:ext>
            </a:extLst>
          </p:cNvPr>
          <p:cNvSpPr/>
          <p:nvPr/>
        </p:nvSpPr>
        <p:spPr>
          <a:xfrm>
            <a:off x="5479113" y="3615215"/>
            <a:ext cx="811529" cy="267299"/>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50" b="1" noProof="0">
                <a:latin typeface="Santander Text" panose="020B0504020201020104"/>
              </a:rPr>
              <a:t>SANART</a:t>
            </a:r>
          </a:p>
        </p:txBody>
      </p:sp>
      <p:sp>
        <p:nvSpPr>
          <p:cNvPr id="116" name="Rectángulo: esquinas redondeadas 115">
            <a:extLst>
              <a:ext uri="{FF2B5EF4-FFF2-40B4-BE49-F238E27FC236}">
                <a16:creationId xmlns:a16="http://schemas.microsoft.com/office/drawing/2014/main" id="{DAF1A158-76B7-FB83-BCC8-74639E6098F8}"/>
              </a:ext>
            </a:extLst>
          </p:cNvPr>
          <p:cNvSpPr/>
          <p:nvPr/>
        </p:nvSpPr>
        <p:spPr>
          <a:xfrm>
            <a:off x="5598875" y="3969607"/>
            <a:ext cx="572693" cy="54303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GB" sz="700" noProof="0">
              <a:solidFill>
                <a:schemeClr val="tx1"/>
              </a:solidFill>
            </a:endParaRPr>
          </a:p>
        </p:txBody>
      </p:sp>
      <p:grpSp>
        <p:nvGrpSpPr>
          <p:cNvPr id="117" name="Database3" descr="{&quot;Key&quot;:&quot;POWER_USER_SHAPE_ICON&quot;,&quot;Value&quot;:&quot;POWER_USER_SHAPE_ICON_STYLE_1&quot;}">
            <a:extLst>
              <a:ext uri="{FF2B5EF4-FFF2-40B4-BE49-F238E27FC236}">
                <a16:creationId xmlns:a16="http://schemas.microsoft.com/office/drawing/2014/main" id="{0B1149AC-DCD2-E893-F9DC-DF9CFF6B26D8}"/>
              </a:ext>
            </a:extLst>
          </p:cNvPr>
          <p:cNvGrpSpPr>
            <a:grpSpLocks noChangeAspect="1"/>
          </p:cNvGrpSpPr>
          <p:nvPr/>
        </p:nvGrpSpPr>
        <p:grpSpPr>
          <a:xfrm>
            <a:off x="5803032" y="4200746"/>
            <a:ext cx="164378" cy="263378"/>
            <a:chOff x="3805239" y="5622926"/>
            <a:chExt cx="279400" cy="447676"/>
          </a:xfrm>
          <a:solidFill>
            <a:schemeClr val="dk1"/>
          </a:solidFill>
        </p:grpSpPr>
        <p:sp>
          <p:nvSpPr>
            <p:cNvPr id="118" name="Freeform 490">
              <a:extLst>
                <a:ext uri="{FF2B5EF4-FFF2-40B4-BE49-F238E27FC236}">
                  <a16:creationId xmlns:a16="http://schemas.microsoft.com/office/drawing/2014/main" id="{0A7B84D9-AE60-8D1C-1DA6-CA14694EACF3}"/>
                </a:ext>
              </a:extLst>
            </p:cNvPr>
            <p:cNvSpPr>
              <a:spLocks noEditPoints="1"/>
            </p:cNvSpPr>
            <p:nvPr/>
          </p:nvSpPr>
          <p:spPr bwMode="auto">
            <a:xfrm>
              <a:off x="3805239" y="5622926"/>
              <a:ext cx="279400" cy="131763"/>
            </a:xfrm>
            <a:custGeom>
              <a:avLst/>
              <a:gdLst>
                <a:gd name="T0" fmla="*/ 184 w 368"/>
                <a:gd name="T1" fmla="*/ 17 h 173"/>
                <a:gd name="T2" fmla="*/ 16 w 368"/>
                <a:gd name="T3" fmla="*/ 86 h 173"/>
                <a:gd name="T4" fmla="*/ 184 w 368"/>
                <a:gd name="T5" fmla="*/ 156 h 173"/>
                <a:gd name="T6" fmla="*/ 351 w 368"/>
                <a:gd name="T7" fmla="*/ 86 h 173"/>
                <a:gd name="T8" fmla="*/ 184 w 368"/>
                <a:gd name="T9" fmla="*/ 17 h 173"/>
                <a:gd name="T10" fmla="*/ 184 w 368"/>
                <a:gd name="T11" fmla="*/ 173 h 173"/>
                <a:gd name="T12" fmla="*/ 0 w 368"/>
                <a:gd name="T13" fmla="*/ 86 h 173"/>
                <a:gd name="T14" fmla="*/ 184 w 368"/>
                <a:gd name="T15" fmla="*/ 0 h 173"/>
                <a:gd name="T16" fmla="*/ 368 w 368"/>
                <a:gd name="T17" fmla="*/ 86 h 173"/>
                <a:gd name="T18" fmla="*/ 184 w 368"/>
                <a:gd name="T1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8" h="173">
                  <a:moveTo>
                    <a:pt x="184" y="17"/>
                  </a:moveTo>
                  <a:cubicBezTo>
                    <a:pt x="84" y="17"/>
                    <a:pt x="16" y="53"/>
                    <a:pt x="16" y="86"/>
                  </a:cubicBezTo>
                  <a:cubicBezTo>
                    <a:pt x="16" y="120"/>
                    <a:pt x="84" y="156"/>
                    <a:pt x="184" y="156"/>
                  </a:cubicBezTo>
                  <a:cubicBezTo>
                    <a:pt x="284" y="156"/>
                    <a:pt x="351" y="120"/>
                    <a:pt x="351" y="86"/>
                  </a:cubicBezTo>
                  <a:cubicBezTo>
                    <a:pt x="351" y="53"/>
                    <a:pt x="284" y="17"/>
                    <a:pt x="184" y="17"/>
                  </a:cubicBezTo>
                  <a:close/>
                  <a:moveTo>
                    <a:pt x="184" y="173"/>
                  </a:moveTo>
                  <a:cubicBezTo>
                    <a:pt x="81" y="173"/>
                    <a:pt x="0" y="135"/>
                    <a:pt x="0" y="86"/>
                  </a:cubicBezTo>
                  <a:cubicBezTo>
                    <a:pt x="0" y="38"/>
                    <a:pt x="81" y="0"/>
                    <a:pt x="184" y="0"/>
                  </a:cubicBezTo>
                  <a:cubicBezTo>
                    <a:pt x="287" y="0"/>
                    <a:pt x="368" y="38"/>
                    <a:pt x="368" y="86"/>
                  </a:cubicBezTo>
                  <a:cubicBezTo>
                    <a:pt x="368" y="135"/>
                    <a:pt x="287" y="173"/>
                    <a:pt x="184" y="17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9" name="Freeform 491">
              <a:extLst>
                <a:ext uri="{FF2B5EF4-FFF2-40B4-BE49-F238E27FC236}">
                  <a16:creationId xmlns:a16="http://schemas.microsoft.com/office/drawing/2014/main" id="{D5ECC1C8-C441-E849-8739-3A523A8D1360}"/>
                </a:ext>
              </a:extLst>
            </p:cNvPr>
            <p:cNvSpPr>
              <a:spLocks/>
            </p:cNvSpPr>
            <p:nvPr/>
          </p:nvSpPr>
          <p:spPr bwMode="auto">
            <a:xfrm>
              <a:off x="3805239" y="5768976"/>
              <a:ext cx="279400" cy="65088"/>
            </a:xfrm>
            <a:custGeom>
              <a:avLst/>
              <a:gdLst>
                <a:gd name="T0" fmla="*/ 184 w 368"/>
                <a:gd name="T1" fmla="*/ 86 h 86"/>
                <a:gd name="T2" fmla="*/ 0 w 368"/>
                <a:gd name="T3" fmla="*/ 0 h 86"/>
                <a:gd name="T4" fmla="*/ 16 w 368"/>
                <a:gd name="T5" fmla="*/ 0 h 86"/>
                <a:gd name="T6" fmla="*/ 184 w 368"/>
                <a:gd name="T7" fmla="*/ 69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3"/>
                    <a:pt x="84" y="69"/>
                    <a:pt x="184" y="69"/>
                  </a:cubicBezTo>
                  <a:cubicBezTo>
                    <a:pt x="284" y="69"/>
                    <a:pt x="351" y="33"/>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0" name="Freeform 492">
              <a:extLst>
                <a:ext uri="{FF2B5EF4-FFF2-40B4-BE49-F238E27FC236}">
                  <a16:creationId xmlns:a16="http://schemas.microsoft.com/office/drawing/2014/main" id="{48C360AD-C40A-2D75-1353-F4D0EB7635DB}"/>
                </a:ext>
              </a:extLst>
            </p:cNvPr>
            <p:cNvSpPr>
              <a:spLocks/>
            </p:cNvSpPr>
            <p:nvPr/>
          </p:nvSpPr>
          <p:spPr bwMode="auto">
            <a:xfrm>
              <a:off x="3805239" y="5848351"/>
              <a:ext cx="279400" cy="65088"/>
            </a:xfrm>
            <a:custGeom>
              <a:avLst/>
              <a:gdLst>
                <a:gd name="T0" fmla="*/ 184 w 368"/>
                <a:gd name="T1" fmla="*/ 86 h 86"/>
                <a:gd name="T2" fmla="*/ 0 w 368"/>
                <a:gd name="T3" fmla="*/ 0 h 86"/>
                <a:gd name="T4" fmla="*/ 16 w 368"/>
                <a:gd name="T5" fmla="*/ 0 h 86"/>
                <a:gd name="T6" fmla="*/ 184 w 368"/>
                <a:gd name="T7" fmla="*/ 70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4"/>
                    <a:pt x="84" y="70"/>
                    <a:pt x="184" y="70"/>
                  </a:cubicBezTo>
                  <a:cubicBezTo>
                    <a:pt x="284" y="70"/>
                    <a:pt x="351" y="34"/>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1" name="Freeform 493">
              <a:extLst>
                <a:ext uri="{FF2B5EF4-FFF2-40B4-BE49-F238E27FC236}">
                  <a16:creationId xmlns:a16="http://schemas.microsoft.com/office/drawing/2014/main" id="{6F2FAF06-BC28-341D-A11E-3F9FEF9CE064}"/>
                </a:ext>
              </a:extLst>
            </p:cNvPr>
            <p:cNvSpPr>
              <a:spLocks/>
            </p:cNvSpPr>
            <p:nvPr/>
          </p:nvSpPr>
          <p:spPr bwMode="auto">
            <a:xfrm>
              <a:off x="3805239" y="5689601"/>
              <a:ext cx="279400" cy="304800"/>
            </a:xfrm>
            <a:custGeom>
              <a:avLst/>
              <a:gdLst>
                <a:gd name="T0" fmla="*/ 184 w 368"/>
                <a:gd name="T1" fmla="*/ 400 h 400"/>
                <a:gd name="T2" fmla="*/ 0 w 368"/>
                <a:gd name="T3" fmla="*/ 314 h 400"/>
                <a:gd name="T4" fmla="*/ 0 w 368"/>
                <a:gd name="T5" fmla="*/ 0 h 400"/>
                <a:gd name="T6" fmla="*/ 16 w 368"/>
                <a:gd name="T7" fmla="*/ 0 h 400"/>
                <a:gd name="T8" fmla="*/ 16 w 368"/>
                <a:gd name="T9" fmla="*/ 314 h 400"/>
                <a:gd name="T10" fmla="*/ 184 w 368"/>
                <a:gd name="T11" fmla="*/ 383 h 400"/>
                <a:gd name="T12" fmla="*/ 351 w 368"/>
                <a:gd name="T13" fmla="*/ 314 h 400"/>
                <a:gd name="T14" fmla="*/ 351 w 368"/>
                <a:gd name="T15" fmla="*/ 0 h 400"/>
                <a:gd name="T16" fmla="*/ 368 w 368"/>
                <a:gd name="T17" fmla="*/ 0 h 400"/>
                <a:gd name="T18" fmla="*/ 368 w 368"/>
                <a:gd name="T19" fmla="*/ 314 h 400"/>
                <a:gd name="T20" fmla="*/ 184 w 368"/>
                <a:gd name="T21" fmla="*/ 4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400">
                  <a:moveTo>
                    <a:pt x="184" y="400"/>
                  </a:moveTo>
                  <a:cubicBezTo>
                    <a:pt x="81" y="400"/>
                    <a:pt x="0" y="362"/>
                    <a:pt x="0" y="314"/>
                  </a:cubicBezTo>
                  <a:lnTo>
                    <a:pt x="0" y="0"/>
                  </a:lnTo>
                  <a:lnTo>
                    <a:pt x="16" y="0"/>
                  </a:lnTo>
                  <a:lnTo>
                    <a:pt x="16" y="314"/>
                  </a:lnTo>
                  <a:cubicBezTo>
                    <a:pt x="16" y="347"/>
                    <a:pt x="84" y="383"/>
                    <a:pt x="184" y="383"/>
                  </a:cubicBezTo>
                  <a:cubicBezTo>
                    <a:pt x="284" y="383"/>
                    <a:pt x="351" y="347"/>
                    <a:pt x="351" y="314"/>
                  </a:cubicBezTo>
                  <a:lnTo>
                    <a:pt x="351" y="0"/>
                  </a:lnTo>
                  <a:lnTo>
                    <a:pt x="368" y="0"/>
                  </a:lnTo>
                  <a:lnTo>
                    <a:pt x="368" y="314"/>
                  </a:lnTo>
                  <a:cubicBezTo>
                    <a:pt x="368" y="362"/>
                    <a:pt x="287" y="400"/>
                    <a:pt x="184"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2" name="Freeform 494">
              <a:extLst>
                <a:ext uri="{FF2B5EF4-FFF2-40B4-BE49-F238E27FC236}">
                  <a16:creationId xmlns:a16="http://schemas.microsoft.com/office/drawing/2014/main" id="{C1A1B5A4-89B8-78A4-F3DF-B2BA9FE7E757}"/>
                </a:ext>
              </a:extLst>
            </p:cNvPr>
            <p:cNvSpPr>
              <a:spLocks noEditPoints="1"/>
            </p:cNvSpPr>
            <p:nvPr/>
          </p:nvSpPr>
          <p:spPr bwMode="auto">
            <a:xfrm>
              <a:off x="3905251" y="5778501"/>
              <a:ext cx="80963" cy="15875"/>
            </a:xfrm>
            <a:custGeom>
              <a:avLst/>
              <a:gdLst>
                <a:gd name="T0" fmla="*/ 87 w 106"/>
                <a:gd name="T1" fmla="*/ 3 h 22"/>
                <a:gd name="T2" fmla="*/ 103 w 106"/>
                <a:gd name="T3" fmla="*/ 0 h 22"/>
                <a:gd name="T4" fmla="*/ 106 w 106"/>
                <a:gd name="T5" fmla="*/ 17 h 22"/>
                <a:gd name="T6" fmla="*/ 89 w 106"/>
                <a:gd name="T7" fmla="*/ 20 h 22"/>
                <a:gd name="T8" fmla="*/ 87 w 106"/>
                <a:gd name="T9" fmla="*/ 3 h 22"/>
                <a:gd name="T10" fmla="*/ 8 w 106"/>
                <a:gd name="T11" fmla="*/ 18 h 22"/>
                <a:gd name="T12" fmla="*/ 0 w 106"/>
                <a:gd name="T13" fmla="*/ 17 h 22"/>
                <a:gd name="T14" fmla="*/ 3 w 106"/>
                <a:gd name="T15" fmla="*/ 0 h 22"/>
                <a:gd name="T16" fmla="*/ 19 w 106"/>
                <a:gd name="T17" fmla="*/ 3 h 22"/>
                <a:gd name="T18" fmla="*/ 17 w 106"/>
                <a:gd name="T19" fmla="*/ 20 h 22"/>
                <a:gd name="T20" fmla="*/ 8 w 106"/>
                <a:gd name="T21" fmla="*/ 18 h 22"/>
                <a:gd name="T22" fmla="*/ 45 w 106"/>
                <a:gd name="T23" fmla="*/ 22 h 22"/>
                <a:gd name="T24" fmla="*/ 45 w 106"/>
                <a:gd name="T25" fmla="*/ 5 h 22"/>
                <a:gd name="T26" fmla="*/ 61 w 106"/>
                <a:gd name="T27" fmla="*/ 5 h 22"/>
                <a:gd name="T28" fmla="*/ 61 w 106"/>
                <a:gd name="T29" fmla="*/ 22 h 22"/>
                <a:gd name="T30" fmla="*/ 53 w 106"/>
                <a:gd name="T31" fmla="*/ 22 h 22"/>
                <a:gd name="T32" fmla="*/ 45 w 106"/>
                <a:gd name="T3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2">
                  <a:moveTo>
                    <a:pt x="87" y="3"/>
                  </a:moveTo>
                  <a:lnTo>
                    <a:pt x="103" y="0"/>
                  </a:lnTo>
                  <a:lnTo>
                    <a:pt x="106" y="17"/>
                  </a:lnTo>
                  <a:lnTo>
                    <a:pt x="89" y="20"/>
                  </a:lnTo>
                  <a:lnTo>
                    <a:pt x="87" y="3"/>
                  </a:lnTo>
                  <a:close/>
                  <a:moveTo>
                    <a:pt x="8" y="18"/>
                  </a:moveTo>
                  <a:lnTo>
                    <a:pt x="0" y="17"/>
                  </a:lnTo>
                  <a:lnTo>
                    <a:pt x="3" y="0"/>
                  </a:lnTo>
                  <a:lnTo>
                    <a:pt x="19" y="3"/>
                  </a:lnTo>
                  <a:lnTo>
                    <a:pt x="17" y="20"/>
                  </a:lnTo>
                  <a:lnTo>
                    <a:pt x="8" y="18"/>
                  </a:lnTo>
                  <a:close/>
                  <a:moveTo>
                    <a:pt x="45" y="22"/>
                  </a:moveTo>
                  <a:lnTo>
                    <a:pt x="45" y="5"/>
                  </a:lnTo>
                  <a:lnTo>
                    <a:pt x="61" y="5"/>
                  </a:lnTo>
                  <a:lnTo>
                    <a:pt x="61" y="22"/>
                  </a:lnTo>
                  <a:lnTo>
                    <a:pt x="53" y="22"/>
                  </a:lnTo>
                  <a:lnTo>
                    <a:pt x="45"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3" name="Freeform 495">
              <a:extLst>
                <a:ext uri="{FF2B5EF4-FFF2-40B4-BE49-F238E27FC236}">
                  <a16:creationId xmlns:a16="http://schemas.microsoft.com/office/drawing/2014/main" id="{5B1F6AD9-0614-0F1C-C023-CB8462B503B0}"/>
                </a:ext>
              </a:extLst>
            </p:cNvPr>
            <p:cNvSpPr>
              <a:spLocks/>
            </p:cNvSpPr>
            <p:nvPr/>
          </p:nvSpPr>
          <p:spPr bwMode="auto">
            <a:xfrm>
              <a:off x="3805239" y="5762626"/>
              <a:ext cx="279400" cy="71438"/>
            </a:xfrm>
            <a:custGeom>
              <a:avLst/>
              <a:gdLst>
                <a:gd name="T0" fmla="*/ 184 w 368"/>
                <a:gd name="T1" fmla="*/ 95 h 95"/>
                <a:gd name="T2" fmla="*/ 0 w 368"/>
                <a:gd name="T3" fmla="*/ 9 h 95"/>
                <a:gd name="T4" fmla="*/ 0 w 368"/>
                <a:gd name="T5" fmla="*/ 0 h 95"/>
                <a:gd name="T6" fmla="*/ 16 w 368"/>
                <a:gd name="T7" fmla="*/ 0 h 95"/>
                <a:gd name="T8" fmla="*/ 16 w 368"/>
                <a:gd name="T9" fmla="*/ 9 h 95"/>
                <a:gd name="T10" fmla="*/ 184 w 368"/>
                <a:gd name="T11" fmla="*/ 78 h 95"/>
                <a:gd name="T12" fmla="*/ 351 w 368"/>
                <a:gd name="T13" fmla="*/ 9 h 95"/>
                <a:gd name="T14" fmla="*/ 351 w 368"/>
                <a:gd name="T15" fmla="*/ 0 h 95"/>
                <a:gd name="T16" fmla="*/ 368 w 368"/>
                <a:gd name="T17" fmla="*/ 0 h 95"/>
                <a:gd name="T18" fmla="*/ 368 w 368"/>
                <a:gd name="T19" fmla="*/ 9 h 95"/>
                <a:gd name="T20" fmla="*/ 184 w 368"/>
                <a:gd name="T21"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95">
                  <a:moveTo>
                    <a:pt x="184" y="95"/>
                  </a:moveTo>
                  <a:cubicBezTo>
                    <a:pt x="81" y="95"/>
                    <a:pt x="0" y="57"/>
                    <a:pt x="0" y="9"/>
                  </a:cubicBezTo>
                  <a:lnTo>
                    <a:pt x="0" y="0"/>
                  </a:lnTo>
                  <a:lnTo>
                    <a:pt x="16" y="0"/>
                  </a:lnTo>
                  <a:lnTo>
                    <a:pt x="16" y="9"/>
                  </a:lnTo>
                  <a:cubicBezTo>
                    <a:pt x="16" y="42"/>
                    <a:pt x="84" y="78"/>
                    <a:pt x="184" y="78"/>
                  </a:cubicBezTo>
                  <a:cubicBezTo>
                    <a:pt x="284" y="78"/>
                    <a:pt x="351" y="42"/>
                    <a:pt x="351" y="9"/>
                  </a:cubicBezTo>
                  <a:lnTo>
                    <a:pt x="351" y="0"/>
                  </a:lnTo>
                  <a:lnTo>
                    <a:pt x="368" y="0"/>
                  </a:lnTo>
                  <a:lnTo>
                    <a:pt x="368" y="9"/>
                  </a:lnTo>
                  <a:cubicBezTo>
                    <a:pt x="368" y="57"/>
                    <a:pt x="287" y="95"/>
                    <a:pt x="184" y="9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4" name="Freeform 496">
              <a:extLst>
                <a:ext uri="{FF2B5EF4-FFF2-40B4-BE49-F238E27FC236}">
                  <a16:creationId xmlns:a16="http://schemas.microsoft.com/office/drawing/2014/main" id="{34EA2C30-8306-FF27-BF6C-55029C9006C9}"/>
                </a:ext>
              </a:extLst>
            </p:cNvPr>
            <p:cNvSpPr>
              <a:spLocks noEditPoints="1"/>
            </p:cNvSpPr>
            <p:nvPr/>
          </p:nvSpPr>
          <p:spPr bwMode="auto">
            <a:xfrm>
              <a:off x="3905251" y="5857876"/>
              <a:ext cx="80963" cy="15875"/>
            </a:xfrm>
            <a:custGeom>
              <a:avLst/>
              <a:gdLst>
                <a:gd name="T0" fmla="*/ 87 w 106"/>
                <a:gd name="T1" fmla="*/ 2 h 21"/>
                <a:gd name="T2" fmla="*/ 95 w 106"/>
                <a:gd name="T3" fmla="*/ 1 h 21"/>
                <a:gd name="T4" fmla="*/ 95 w 106"/>
                <a:gd name="T5" fmla="*/ 1 h 21"/>
                <a:gd name="T6" fmla="*/ 103 w 106"/>
                <a:gd name="T7" fmla="*/ 0 h 21"/>
                <a:gd name="T8" fmla="*/ 106 w 106"/>
                <a:gd name="T9" fmla="*/ 16 h 21"/>
                <a:gd name="T10" fmla="*/ 89 w 106"/>
                <a:gd name="T11" fmla="*/ 19 h 21"/>
                <a:gd name="T12" fmla="*/ 87 w 106"/>
                <a:gd name="T13" fmla="*/ 2 h 21"/>
                <a:gd name="T14" fmla="*/ 8 w 106"/>
                <a:gd name="T15" fmla="*/ 17 h 21"/>
                <a:gd name="T16" fmla="*/ 0 w 106"/>
                <a:gd name="T17" fmla="*/ 16 h 21"/>
                <a:gd name="T18" fmla="*/ 3 w 106"/>
                <a:gd name="T19" fmla="*/ 0 h 21"/>
                <a:gd name="T20" fmla="*/ 19 w 106"/>
                <a:gd name="T21" fmla="*/ 2 h 21"/>
                <a:gd name="T22" fmla="*/ 17 w 106"/>
                <a:gd name="T23" fmla="*/ 19 h 21"/>
                <a:gd name="T24" fmla="*/ 8 w 106"/>
                <a:gd name="T25" fmla="*/ 17 h 21"/>
                <a:gd name="T26" fmla="*/ 45 w 106"/>
                <a:gd name="T27" fmla="*/ 21 h 21"/>
                <a:gd name="T28" fmla="*/ 45 w 106"/>
                <a:gd name="T29" fmla="*/ 4 h 21"/>
                <a:gd name="T30" fmla="*/ 61 w 106"/>
                <a:gd name="T31" fmla="*/ 4 h 21"/>
                <a:gd name="T32" fmla="*/ 61 w 106"/>
                <a:gd name="T33" fmla="*/ 21 h 21"/>
                <a:gd name="T34" fmla="*/ 53 w 106"/>
                <a:gd name="T35" fmla="*/ 21 h 21"/>
                <a:gd name="T36" fmla="*/ 45 w 106"/>
                <a:gd name="T3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1">
                  <a:moveTo>
                    <a:pt x="87" y="2"/>
                  </a:moveTo>
                  <a:lnTo>
                    <a:pt x="95" y="1"/>
                  </a:lnTo>
                  <a:lnTo>
                    <a:pt x="95" y="1"/>
                  </a:lnTo>
                  <a:lnTo>
                    <a:pt x="103" y="0"/>
                  </a:lnTo>
                  <a:lnTo>
                    <a:pt x="106" y="16"/>
                  </a:lnTo>
                  <a:lnTo>
                    <a:pt x="89" y="19"/>
                  </a:lnTo>
                  <a:lnTo>
                    <a:pt x="87" y="2"/>
                  </a:lnTo>
                  <a:close/>
                  <a:moveTo>
                    <a:pt x="8" y="17"/>
                  </a:moveTo>
                  <a:lnTo>
                    <a:pt x="0" y="16"/>
                  </a:lnTo>
                  <a:lnTo>
                    <a:pt x="3" y="0"/>
                  </a:lnTo>
                  <a:lnTo>
                    <a:pt x="19" y="2"/>
                  </a:lnTo>
                  <a:lnTo>
                    <a:pt x="17" y="19"/>
                  </a:lnTo>
                  <a:lnTo>
                    <a:pt x="8" y="17"/>
                  </a:lnTo>
                  <a:close/>
                  <a:moveTo>
                    <a:pt x="45" y="21"/>
                  </a:moveTo>
                  <a:lnTo>
                    <a:pt x="45" y="4"/>
                  </a:lnTo>
                  <a:lnTo>
                    <a:pt x="61" y="4"/>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5" name="Freeform 497">
              <a:extLst>
                <a:ext uri="{FF2B5EF4-FFF2-40B4-BE49-F238E27FC236}">
                  <a16:creationId xmlns:a16="http://schemas.microsoft.com/office/drawing/2014/main" id="{7C427021-527E-457C-364C-5251B1D2686A}"/>
                </a:ext>
              </a:extLst>
            </p:cNvPr>
            <p:cNvSpPr>
              <a:spLocks noEditPoints="1"/>
            </p:cNvSpPr>
            <p:nvPr/>
          </p:nvSpPr>
          <p:spPr bwMode="auto">
            <a:xfrm>
              <a:off x="3905251" y="5937251"/>
              <a:ext cx="80963" cy="15875"/>
            </a:xfrm>
            <a:custGeom>
              <a:avLst/>
              <a:gdLst>
                <a:gd name="T0" fmla="*/ 87 w 106"/>
                <a:gd name="T1" fmla="*/ 3 h 21"/>
                <a:gd name="T2" fmla="*/ 103 w 106"/>
                <a:gd name="T3" fmla="*/ 0 h 21"/>
                <a:gd name="T4" fmla="*/ 106 w 106"/>
                <a:gd name="T5" fmla="*/ 16 h 21"/>
                <a:gd name="T6" fmla="*/ 89 w 106"/>
                <a:gd name="T7" fmla="*/ 19 h 21"/>
                <a:gd name="T8" fmla="*/ 87 w 106"/>
                <a:gd name="T9" fmla="*/ 3 h 21"/>
                <a:gd name="T10" fmla="*/ 8 w 106"/>
                <a:gd name="T11" fmla="*/ 18 h 21"/>
                <a:gd name="T12" fmla="*/ 0 w 106"/>
                <a:gd name="T13" fmla="*/ 16 h 21"/>
                <a:gd name="T14" fmla="*/ 3 w 106"/>
                <a:gd name="T15" fmla="*/ 0 h 21"/>
                <a:gd name="T16" fmla="*/ 19 w 106"/>
                <a:gd name="T17" fmla="*/ 3 h 21"/>
                <a:gd name="T18" fmla="*/ 17 w 106"/>
                <a:gd name="T19" fmla="*/ 19 h 21"/>
                <a:gd name="T20" fmla="*/ 8 w 106"/>
                <a:gd name="T21" fmla="*/ 18 h 21"/>
                <a:gd name="T22" fmla="*/ 45 w 106"/>
                <a:gd name="T23" fmla="*/ 21 h 21"/>
                <a:gd name="T24" fmla="*/ 45 w 106"/>
                <a:gd name="T25" fmla="*/ 5 h 21"/>
                <a:gd name="T26" fmla="*/ 61 w 106"/>
                <a:gd name="T27" fmla="*/ 5 h 21"/>
                <a:gd name="T28" fmla="*/ 61 w 106"/>
                <a:gd name="T29" fmla="*/ 21 h 21"/>
                <a:gd name="T30" fmla="*/ 53 w 106"/>
                <a:gd name="T31" fmla="*/ 21 h 21"/>
                <a:gd name="T32" fmla="*/ 45 w 106"/>
                <a:gd name="T3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1">
                  <a:moveTo>
                    <a:pt x="87" y="3"/>
                  </a:moveTo>
                  <a:lnTo>
                    <a:pt x="103" y="0"/>
                  </a:lnTo>
                  <a:lnTo>
                    <a:pt x="106" y="16"/>
                  </a:lnTo>
                  <a:lnTo>
                    <a:pt x="89" y="19"/>
                  </a:lnTo>
                  <a:lnTo>
                    <a:pt x="87" y="3"/>
                  </a:lnTo>
                  <a:close/>
                  <a:moveTo>
                    <a:pt x="8" y="18"/>
                  </a:moveTo>
                  <a:lnTo>
                    <a:pt x="0" y="16"/>
                  </a:lnTo>
                  <a:lnTo>
                    <a:pt x="3" y="0"/>
                  </a:lnTo>
                  <a:lnTo>
                    <a:pt x="19" y="3"/>
                  </a:lnTo>
                  <a:lnTo>
                    <a:pt x="17" y="19"/>
                  </a:lnTo>
                  <a:lnTo>
                    <a:pt x="8" y="18"/>
                  </a:lnTo>
                  <a:close/>
                  <a:moveTo>
                    <a:pt x="45" y="21"/>
                  </a:moveTo>
                  <a:lnTo>
                    <a:pt x="45" y="5"/>
                  </a:lnTo>
                  <a:lnTo>
                    <a:pt x="61" y="5"/>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6" name="Rectangle 498">
              <a:extLst>
                <a:ext uri="{FF2B5EF4-FFF2-40B4-BE49-F238E27FC236}">
                  <a16:creationId xmlns:a16="http://schemas.microsoft.com/office/drawing/2014/main" id="{C8DF8A25-233F-13FD-D47C-64D0F11A9979}"/>
                </a:ext>
              </a:extLst>
            </p:cNvPr>
            <p:cNvSpPr>
              <a:spLocks noChangeArrowheads="1"/>
            </p:cNvSpPr>
            <p:nvPr/>
          </p:nvSpPr>
          <p:spPr bwMode="auto">
            <a:xfrm>
              <a:off x="3938589" y="5980114"/>
              <a:ext cx="12700"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7" name="Rectangle 499">
              <a:extLst>
                <a:ext uri="{FF2B5EF4-FFF2-40B4-BE49-F238E27FC236}">
                  <a16:creationId xmlns:a16="http://schemas.microsoft.com/office/drawing/2014/main" id="{7AEFFB65-31A2-28F0-EEFB-5B37878CEA63}"/>
                </a:ext>
              </a:extLst>
            </p:cNvPr>
            <p:cNvSpPr>
              <a:spLocks noChangeArrowheads="1"/>
            </p:cNvSpPr>
            <p:nvPr/>
          </p:nvSpPr>
          <p:spPr bwMode="auto">
            <a:xfrm>
              <a:off x="38052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8" name="Freeform 500">
              <a:extLst>
                <a:ext uri="{FF2B5EF4-FFF2-40B4-BE49-F238E27FC236}">
                  <a16:creationId xmlns:a16="http://schemas.microsoft.com/office/drawing/2014/main" id="{9B8D62FB-B170-912A-A65A-2476A6D53B0F}"/>
                </a:ext>
              </a:extLst>
            </p:cNvPr>
            <p:cNvSpPr>
              <a:spLocks noEditPoints="1"/>
            </p:cNvSpPr>
            <p:nvPr/>
          </p:nvSpPr>
          <p:spPr bwMode="auto">
            <a:xfrm>
              <a:off x="3919539" y="6018214"/>
              <a:ext cx="50800" cy="52388"/>
            </a:xfrm>
            <a:custGeom>
              <a:avLst/>
              <a:gdLst>
                <a:gd name="T0" fmla="*/ 34 w 68"/>
                <a:gd name="T1" fmla="*/ 16 h 68"/>
                <a:gd name="T2" fmla="*/ 16 w 68"/>
                <a:gd name="T3" fmla="*/ 34 h 68"/>
                <a:gd name="T4" fmla="*/ 34 w 68"/>
                <a:gd name="T5" fmla="*/ 51 h 68"/>
                <a:gd name="T6" fmla="*/ 51 w 68"/>
                <a:gd name="T7" fmla="*/ 34 h 68"/>
                <a:gd name="T8" fmla="*/ 34 w 68"/>
                <a:gd name="T9" fmla="*/ 16 h 68"/>
                <a:gd name="T10" fmla="*/ 34 w 68"/>
                <a:gd name="T11" fmla="*/ 68 h 68"/>
                <a:gd name="T12" fmla="*/ 0 w 68"/>
                <a:gd name="T13" fmla="*/ 34 h 68"/>
                <a:gd name="T14" fmla="*/ 34 w 68"/>
                <a:gd name="T15" fmla="*/ 0 h 68"/>
                <a:gd name="T16" fmla="*/ 68 w 68"/>
                <a:gd name="T17" fmla="*/ 34 h 68"/>
                <a:gd name="T18" fmla="*/ 34 w 68"/>
                <a:gd name="T1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16"/>
                  </a:moveTo>
                  <a:cubicBezTo>
                    <a:pt x="24" y="16"/>
                    <a:pt x="16" y="24"/>
                    <a:pt x="16" y="34"/>
                  </a:cubicBezTo>
                  <a:cubicBezTo>
                    <a:pt x="16" y="43"/>
                    <a:pt x="24" y="51"/>
                    <a:pt x="34" y="51"/>
                  </a:cubicBezTo>
                  <a:cubicBezTo>
                    <a:pt x="43" y="51"/>
                    <a:pt x="51" y="43"/>
                    <a:pt x="51" y="34"/>
                  </a:cubicBezTo>
                  <a:cubicBezTo>
                    <a:pt x="51" y="24"/>
                    <a:pt x="43" y="16"/>
                    <a:pt x="34" y="16"/>
                  </a:cubicBezTo>
                  <a:close/>
                  <a:moveTo>
                    <a:pt x="34" y="68"/>
                  </a:moveTo>
                  <a:cubicBezTo>
                    <a:pt x="15" y="68"/>
                    <a:pt x="0" y="52"/>
                    <a:pt x="0" y="34"/>
                  </a:cubicBezTo>
                  <a:cubicBezTo>
                    <a:pt x="0" y="15"/>
                    <a:pt x="15" y="0"/>
                    <a:pt x="34" y="0"/>
                  </a:cubicBezTo>
                  <a:cubicBezTo>
                    <a:pt x="53" y="0"/>
                    <a:pt x="68" y="15"/>
                    <a:pt x="68" y="34"/>
                  </a:cubicBezTo>
                  <a:cubicBezTo>
                    <a:pt x="68" y="52"/>
                    <a:pt x="53" y="68"/>
                    <a:pt x="34" y="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9" name="Rectangle 501">
              <a:extLst>
                <a:ext uri="{FF2B5EF4-FFF2-40B4-BE49-F238E27FC236}">
                  <a16:creationId xmlns:a16="http://schemas.microsoft.com/office/drawing/2014/main" id="{44377AEE-F395-A557-951F-AF80B433F819}"/>
                </a:ext>
              </a:extLst>
            </p:cNvPr>
            <p:cNvSpPr>
              <a:spLocks noChangeArrowheads="1"/>
            </p:cNvSpPr>
            <p:nvPr/>
          </p:nvSpPr>
          <p:spPr bwMode="auto">
            <a:xfrm>
              <a:off x="39576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noProof="0"/>
            </a:p>
          </p:txBody>
        </p:sp>
      </p:grpSp>
      <p:sp>
        <p:nvSpPr>
          <p:cNvPr id="131" name="CuadroTexto 130">
            <a:extLst>
              <a:ext uri="{FF2B5EF4-FFF2-40B4-BE49-F238E27FC236}">
                <a16:creationId xmlns:a16="http://schemas.microsoft.com/office/drawing/2014/main" id="{3E389A8B-9A8E-8C40-E0A5-1A1A6E6EB98F}"/>
              </a:ext>
            </a:extLst>
          </p:cNvPr>
          <p:cNvSpPr txBox="1"/>
          <p:nvPr/>
        </p:nvSpPr>
        <p:spPr>
          <a:xfrm>
            <a:off x="5487453" y="3931454"/>
            <a:ext cx="795536" cy="553998"/>
          </a:xfrm>
          <a:prstGeom prst="rect">
            <a:avLst/>
          </a:prstGeom>
          <a:noFill/>
        </p:spPr>
        <p:txBody>
          <a:bodyPr wrap="square" rtlCol="0">
            <a:spAutoFit/>
          </a:bodyPr>
          <a:lstStyle/>
          <a:p>
            <a:pPr algn="ctr"/>
            <a:r>
              <a:rPr lang="en-GB" sz="700" b="1" noProof="0"/>
              <a:t>SANART</a:t>
            </a:r>
          </a:p>
          <a:p>
            <a:pPr algn="ctr"/>
            <a:r>
              <a:rPr lang="en-GB" sz="700" b="1" noProof="0"/>
              <a:t>Oracle DDBB</a:t>
            </a:r>
          </a:p>
          <a:p>
            <a:endParaRPr lang="en-GB" sz="1600" b="1" noProof="0"/>
          </a:p>
        </p:txBody>
      </p:sp>
      <p:sp>
        <p:nvSpPr>
          <p:cNvPr id="3" name="TextBox 2">
            <a:extLst>
              <a:ext uri="{FF2B5EF4-FFF2-40B4-BE49-F238E27FC236}">
                <a16:creationId xmlns:a16="http://schemas.microsoft.com/office/drawing/2014/main" id="{E6CA6CBB-8325-2BF3-A66D-5C0280FB6374}"/>
              </a:ext>
            </a:extLst>
          </p:cNvPr>
          <p:cNvSpPr txBox="1"/>
          <p:nvPr/>
        </p:nvSpPr>
        <p:spPr>
          <a:xfrm rot="1149828">
            <a:off x="10766862" y="575933"/>
            <a:ext cx="1395901" cy="276999"/>
          </a:xfrm>
          <a:prstGeom prst="rect">
            <a:avLst/>
          </a:prstGeom>
          <a:solidFill>
            <a:srgbClr val="FFFF00"/>
          </a:solidFill>
        </p:spPr>
        <p:txBody>
          <a:bodyPr wrap="square">
            <a:spAutoFit/>
          </a:bodyPr>
          <a:lstStyle/>
          <a:p>
            <a:r>
              <a:rPr lang="es-ES" sz="1200" b="1" dirty="0"/>
              <a:t>WORKING DRAFT</a:t>
            </a:r>
          </a:p>
        </p:txBody>
      </p:sp>
    </p:spTree>
    <p:extLst>
      <p:ext uri="{BB962C8B-B14F-4D97-AF65-F5344CB8AC3E}">
        <p14:creationId xmlns:p14="http://schemas.microsoft.com/office/powerpoint/2010/main" val="26936059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128EC8-07CF-F0BE-372F-E85F2F16AAA1}"/>
            </a:ext>
          </a:extLst>
        </p:cNvPr>
        <p:cNvGrpSpPr/>
        <p:nvPr/>
      </p:nvGrpSpPr>
      <p:grpSpPr>
        <a:xfrm>
          <a:off x="0" y="0"/>
          <a:ext cx="0" cy="0"/>
          <a:chOff x="0" y="0"/>
          <a:chExt cx="0" cy="0"/>
        </a:xfrm>
      </p:grpSpPr>
      <p:sp>
        <p:nvSpPr>
          <p:cNvPr id="6" name="Título 1">
            <a:extLst>
              <a:ext uri="{FF2B5EF4-FFF2-40B4-BE49-F238E27FC236}">
                <a16:creationId xmlns:a16="http://schemas.microsoft.com/office/drawing/2014/main" id="{D34412AD-D199-14E0-6CB0-4EDAF19818C8}"/>
              </a:ext>
            </a:extLst>
          </p:cNvPr>
          <p:cNvSpPr>
            <a:spLocks noGrp="1"/>
          </p:cNvSpPr>
          <p:nvPr>
            <p:ph type="ctrTitle"/>
          </p:nvPr>
        </p:nvSpPr>
        <p:spPr>
          <a:xfrm>
            <a:off x="660329" y="1543186"/>
            <a:ext cx="4486260" cy="1407004"/>
          </a:xfrm>
        </p:spPr>
        <p:txBody>
          <a:bodyPr/>
          <a:lstStyle/>
          <a:p>
            <a:pPr lvl="0">
              <a:defRPr/>
            </a:pPr>
            <a:r>
              <a:rPr lang="en-GB" dirty="0">
                <a:solidFill>
                  <a:srgbClr val="F14949"/>
                </a:solidFill>
                <a:latin typeface="Santander Headline" panose="020B0504020201020104"/>
              </a:rPr>
              <a:t>Agentic Architecture Overview</a:t>
            </a:r>
          </a:p>
        </p:txBody>
      </p:sp>
      <p:pic>
        <p:nvPicPr>
          <p:cNvPr id="8" name="Marcador de posición de imagen 7">
            <a:extLst>
              <a:ext uri="{FF2B5EF4-FFF2-40B4-BE49-F238E27FC236}">
                <a16:creationId xmlns:a16="http://schemas.microsoft.com/office/drawing/2014/main" id="{6C1C4F92-F243-B8C9-B2C5-FF9480B30B8B}"/>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27544" r="27544"/>
          <a:stretch/>
        </p:blipFill>
        <p:spPr/>
      </p:pic>
      <p:sp>
        <p:nvSpPr>
          <p:cNvPr id="14" name="Text Placeholder 13">
            <a:extLst>
              <a:ext uri="{FF2B5EF4-FFF2-40B4-BE49-F238E27FC236}">
                <a16:creationId xmlns:a16="http://schemas.microsoft.com/office/drawing/2014/main" id="{AA17C4C9-BAE0-2149-55D3-DBD73D053DF7}"/>
              </a:ext>
            </a:extLst>
          </p:cNvPr>
          <p:cNvSpPr>
            <a:spLocks noGrp="1"/>
          </p:cNvSpPr>
          <p:nvPr>
            <p:ph type="body" sz="quarter" idx="14"/>
          </p:nvPr>
        </p:nvSpPr>
        <p:spPr/>
        <p:txBody>
          <a:bodyPr/>
          <a:lstStyle/>
          <a:p>
            <a:r>
              <a:rPr lang="en-GB" dirty="0"/>
              <a:t>03/12/2025</a:t>
            </a:r>
          </a:p>
        </p:txBody>
      </p:sp>
      <p:sp>
        <p:nvSpPr>
          <p:cNvPr id="2" name="Text Placeholder 15">
            <a:extLst>
              <a:ext uri="{FF2B5EF4-FFF2-40B4-BE49-F238E27FC236}">
                <a16:creationId xmlns:a16="http://schemas.microsoft.com/office/drawing/2014/main" id="{815B3371-0111-DF07-CF9D-2B62841B5857}"/>
              </a:ext>
            </a:extLst>
          </p:cNvPr>
          <p:cNvSpPr>
            <a:spLocks noGrp="1"/>
          </p:cNvSpPr>
          <p:nvPr>
            <p:ph type="body" sz="quarter" idx="16"/>
          </p:nvPr>
        </p:nvSpPr>
        <p:spPr>
          <a:xfrm>
            <a:off x="10815678" y="89692"/>
            <a:ext cx="1285311" cy="281220"/>
          </a:xfrm>
        </p:spPr>
        <p:txBody>
          <a:bodyPr/>
          <a:lstStyle/>
          <a:p>
            <a:endParaRPr lang="en-GB" dirty="0"/>
          </a:p>
        </p:txBody>
      </p:sp>
    </p:spTree>
    <p:extLst>
      <p:ext uri="{BB962C8B-B14F-4D97-AF65-F5344CB8AC3E}">
        <p14:creationId xmlns:p14="http://schemas.microsoft.com/office/powerpoint/2010/main" val="33433022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2D3A0F-C588-F9F1-91F2-63632FF90498}"/>
            </a:ext>
          </a:extLst>
        </p:cNvPr>
        <p:cNvGrpSpPr/>
        <p:nvPr/>
      </p:nvGrpSpPr>
      <p:grpSpPr>
        <a:xfrm>
          <a:off x="0" y="0"/>
          <a:ext cx="0" cy="0"/>
          <a:chOff x="0" y="0"/>
          <a:chExt cx="0" cy="0"/>
        </a:xfrm>
      </p:grpSpPr>
      <p:pic>
        <p:nvPicPr>
          <p:cNvPr id="63" name="Marcador de posición de imagen 62">
            <a:extLst>
              <a:ext uri="{FF2B5EF4-FFF2-40B4-BE49-F238E27FC236}">
                <a16:creationId xmlns:a16="http://schemas.microsoft.com/office/drawing/2014/main" id="{CFEAA385-34AD-6677-BFFB-7F841BEF0716}"/>
              </a:ext>
            </a:extLst>
          </p:cNvPr>
          <p:cNvPicPr>
            <a:picLocks noGrp="1" noRot="1" noChangeAspect="1" noMove="1" noResize="1" noEditPoints="1" noAdjustHandles="1" noChangeArrowheads="1" noChangeShapeType="1" noCrop="1"/>
          </p:cNvPicPr>
          <p:nvPr>
            <p:ph type="pic" sz="quarter" idx="4294967295"/>
          </p:nvPr>
        </p:nvPicPr>
        <p:blipFill>
          <a:blip r:embed="rId2">
            <a:extLst>
              <a:ext uri="{28A0092B-C50C-407E-A947-70E740481C1C}">
                <a14:useLocalDpi xmlns:a14="http://schemas.microsoft.com/office/drawing/2010/main" val="0"/>
              </a:ext>
            </a:extLst>
          </a:blip>
          <a:srcRect t="7841" b="7841"/>
          <a:stretch/>
        </p:blipFill>
        <p:spPr>
          <a:xfrm>
            <a:off x="0" y="0"/>
            <a:ext cx="12192000" cy="6858000"/>
          </a:xfrm>
        </p:spPr>
      </p:pic>
      <p:sp>
        <p:nvSpPr>
          <p:cNvPr id="43" name="Marcador de texto 42">
            <a:extLst>
              <a:ext uri="{FF2B5EF4-FFF2-40B4-BE49-F238E27FC236}">
                <a16:creationId xmlns:a16="http://schemas.microsoft.com/office/drawing/2014/main" id="{BBD7993F-5401-B57F-3FDC-CE097DD81036}"/>
              </a:ext>
            </a:extLst>
          </p:cNvPr>
          <p:cNvSpPr>
            <a:spLocks noGrp="1"/>
          </p:cNvSpPr>
          <p:nvPr>
            <p:ph type="body" sz="quarter" idx="14"/>
          </p:nvPr>
        </p:nvSpPr>
        <p:spPr/>
        <p:txBody>
          <a:bodyPr/>
          <a:lstStyle/>
          <a:p>
            <a:r>
              <a:rPr lang="en-GB" noProof="0"/>
              <a:t>01</a:t>
            </a:r>
          </a:p>
        </p:txBody>
      </p:sp>
      <p:sp>
        <p:nvSpPr>
          <p:cNvPr id="4" name="Text Placeholder 3">
            <a:extLst>
              <a:ext uri="{FF2B5EF4-FFF2-40B4-BE49-F238E27FC236}">
                <a16:creationId xmlns:a16="http://schemas.microsoft.com/office/drawing/2014/main" id="{3A8821F0-DE54-95D6-05DB-A1C2B1574F74}"/>
              </a:ext>
            </a:extLst>
          </p:cNvPr>
          <p:cNvSpPr>
            <a:spLocks noGrp="1"/>
          </p:cNvSpPr>
          <p:nvPr>
            <p:ph type="body" sz="quarter" idx="17"/>
          </p:nvPr>
        </p:nvSpPr>
        <p:spPr/>
        <p:txBody>
          <a:bodyPr/>
          <a:lstStyle/>
          <a:p>
            <a:endParaRPr lang="en-GB" noProof="0"/>
          </a:p>
        </p:txBody>
      </p:sp>
      <p:sp>
        <p:nvSpPr>
          <p:cNvPr id="42" name="Título 41">
            <a:extLst>
              <a:ext uri="{FF2B5EF4-FFF2-40B4-BE49-F238E27FC236}">
                <a16:creationId xmlns:a16="http://schemas.microsoft.com/office/drawing/2014/main" id="{11216B08-1865-AF8A-DA38-48801D9B0A37}"/>
              </a:ext>
            </a:extLst>
          </p:cNvPr>
          <p:cNvSpPr>
            <a:spLocks noGrp="1"/>
          </p:cNvSpPr>
          <p:nvPr>
            <p:ph type="title"/>
          </p:nvPr>
        </p:nvSpPr>
        <p:spPr/>
        <p:txBody>
          <a:bodyPr/>
          <a:lstStyle/>
          <a:p>
            <a:r>
              <a:rPr lang="en-GB" noProof="0"/>
              <a:t>Context</a:t>
            </a:r>
          </a:p>
        </p:txBody>
      </p:sp>
      <p:sp>
        <p:nvSpPr>
          <p:cNvPr id="5" name="Text Placeholder 4">
            <a:extLst>
              <a:ext uri="{FF2B5EF4-FFF2-40B4-BE49-F238E27FC236}">
                <a16:creationId xmlns:a16="http://schemas.microsoft.com/office/drawing/2014/main" id="{EC8B4C4B-747F-D9F2-A353-ED4D0743379E}"/>
              </a:ext>
            </a:extLst>
          </p:cNvPr>
          <p:cNvSpPr>
            <a:spLocks noGrp="1"/>
          </p:cNvSpPr>
          <p:nvPr>
            <p:ph type="body" sz="quarter" idx="19"/>
          </p:nvPr>
        </p:nvSpPr>
        <p:spPr/>
        <p:txBody>
          <a:bodyPr/>
          <a:lstStyle/>
          <a:p>
            <a:endParaRPr lang="en-GB" noProof="0"/>
          </a:p>
        </p:txBody>
      </p:sp>
      <p:pic>
        <p:nvPicPr>
          <p:cNvPr id="12" name="NTT DATA Global Logo">
            <a:extLst>
              <a:ext uri="{FF2B5EF4-FFF2-40B4-BE49-F238E27FC236}">
                <a16:creationId xmlns:a16="http://schemas.microsoft.com/office/drawing/2014/main" id="{2C1565C5-5BE0-FB2E-C0B5-5174EAB1CA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gray">
          <a:xfrm>
            <a:off x="3136422" y="5934318"/>
            <a:ext cx="1288971" cy="262800"/>
          </a:xfrm>
          <a:prstGeom prst="rect">
            <a:avLst/>
          </a:prstGeom>
        </p:spPr>
      </p:pic>
    </p:spTree>
    <p:extLst>
      <p:ext uri="{BB962C8B-B14F-4D97-AF65-F5344CB8AC3E}">
        <p14:creationId xmlns:p14="http://schemas.microsoft.com/office/powerpoint/2010/main" val="29309554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8627E0-906F-DA82-2177-3F50DE310934}"/>
            </a:ext>
          </a:extLst>
        </p:cNvPr>
        <p:cNvGrpSpPr/>
        <p:nvPr/>
      </p:nvGrpSpPr>
      <p:grpSpPr>
        <a:xfrm>
          <a:off x="0" y="0"/>
          <a:ext cx="0" cy="0"/>
          <a:chOff x="0" y="0"/>
          <a:chExt cx="0" cy="0"/>
        </a:xfrm>
      </p:grpSpPr>
      <p:sp>
        <p:nvSpPr>
          <p:cNvPr id="1106" name="Rectangle 1029">
            <a:extLst>
              <a:ext uri="{FF2B5EF4-FFF2-40B4-BE49-F238E27FC236}">
                <a16:creationId xmlns:a16="http://schemas.microsoft.com/office/drawing/2014/main" id="{9899C61A-562F-5149-C7A5-17F74CEC8D1E}"/>
              </a:ext>
            </a:extLst>
          </p:cNvPr>
          <p:cNvSpPr/>
          <p:nvPr/>
        </p:nvSpPr>
        <p:spPr>
          <a:xfrm>
            <a:off x="3461007" y="926938"/>
            <a:ext cx="3767576" cy="4356000"/>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EC0000"/>
                </a:solidFill>
                <a:effectLst/>
                <a:uLnTx/>
                <a:uFillTx/>
                <a:latin typeface="Santander Text" panose="020B0504020201020104"/>
                <a:ea typeface="Calibri" panose="020F0502020204030204" pitchFamily="34" charset="0"/>
                <a:cs typeface="Calibri" panose="020F0502020204030204" pitchFamily="34" charset="0"/>
              </a:rPr>
              <a:t>Agentic Platform – Agency Core</a:t>
            </a:r>
          </a:p>
        </p:txBody>
      </p:sp>
      <p:sp>
        <p:nvSpPr>
          <p:cNvPr id="1107" name="Rectangle 188">
            <a:extLst>
              <a:ext uri="{FF2B5EF4-FFF2-40B4-BE49-F238E27FC236}">
                <a16:creationId xmlns:a16="http://schemas.microsoft.com/office/drawing/2014/main" id="{CE9C9F2E-91C9-3490-892B-AA0961647037}"/>
              </a:ext>
            </a:extLst>
          </p:cNvPr>
          <p:cNvSpPr/>
          <p:nvPr/>
        </p:nvSpPr>
        <p:spPr>
          <a:xfrm>
            <a:off x="3603629" y="1216698"/>
            <a:ext cx="1678187" cy="4010560"/>
          </a:xfrm>
          <a:prstGeom prst="rect">
            <a:avLst/>
          </a:prstGeom>
          <a:solidFill>
            <a:srgbClr val="C00000">
              <a:alpha val="31000"/>
            </a:srgb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Agentic Engine Layer</a:t>
            </a:r>
          </a:p>
        </p:txBody>
      </p:sp>
      <p:sp>
        <p:nvSpPr>
          <p:cNvPr id="1175" name="Rectangle 188">
            <a:extLst>
              <a:ext uri="{FF2B5EF4-FFF2-40B4-BE49-F238E27FC236}">
                <a16:creationId xmlns:a16="http://schemas.microsoft.com/office/drawing/2014/main" id="{A6497F7E-2DBC-2153-0CA6-98125EC8CEDE}"/>
              </a:ext>
            </a:extLst>
          </p:cNvPr>
          <p:cNvSpPr/>
          <p:nvPr/>
        </p:nvSpPr>
        <p:spPr>
          <a:xfrm>
            <a:off x="5312513" y="1216698"/>
            <a:ext cx="1759782" cy="4010560"/>
          </a:xfrm>
          <a:prstGeom prst="rect">
            <a:avLst/>
          </a:prstGeom>
          <a:solidFill>
            <a:srgbClr val="C00000">
              <a:alpha val="31000"/>
            </a:srgb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Interoperability &amp; Control Layer</a:t>
            </a:r>
          </a:p>
        </p:txBody>
      </p:sp>
      <p:sp>
        <p:nvSpPr>
          <p:cNvPr id="23" name="Rectángulo 3174">
            <a:extLst>
              <a:ext uri="{FF2B5EF4-FFF2-40B4-BE49-F238E27FC236}">
                <a16:creationId xmlns:a16="http://schemas.microsoft.com/office/drawing/2014/main" id="{59485901-E5F6-D67E-8E03-DB356984A691}"/>
              </a:ext>
            </a:extLst>
          </p:cNvPr>
          <p:cNvSpPr/>
          <p:nvPr/>
        </p:nvSpPr>
        <p:spPr>
          <a:xfrm>
            <a:off x="5388344" y="4435179"/>
            <a:ext cx="1647007" cy="673886"/>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Agency Ecosystem Interface</a:t>
            </a:r>
          </a:p>
        </p:txBody>
      </p:sp>
      <p:sp>
        <p:nvSpPr>
          <p:cNvPr id="17" name="Rectángulo 3174">
            <a:extLst>
              <a:ext uri="{FF2B5EF4-FFF2-40B4-BE49-F238E27FC236}">
                <a16:creationId xmlns:a16="http://schemas.microsoft.com/office/drawing/2014/main" id="{5FA8CFDC-8FF7-A2C7-7AEE-B510E9E7C73F}"/>
              </a:ext>
            </a:extLst>
          </p:cNvPr>
          <p:cNvSpPr/>
          <p:nvPr/>
        </p:nvSpPr>
        <p:spPr>
          <a:xfrm>
            <a:off x="5388344" y="3789839"/>
            <a:ext cx="1647007" cy="612000"/>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Tool  Ecosystem Interface</a:t>
            </a:r>
          </a:p>
        </p:txBody>
      </p:sp>
      <p:sp>
        <p:nvSpPr>
          <p:cNvPr id="16" name="Rectángulo 3174">
            <a:extLst>
              <a:ext uri="{FF2B5EF4-FFF2-40B4-BE49-F238E27FC236}">
                <a16:creationId xmlns:a16="http://schemas.microsoft.com/office/drawing/2014/main" id="{E5482E73-66C2-5186-C676-5AA8921CFF43}"/>
              </a:ext>
            </a:extLst>
          </p:cNvPr>
          <p:cNvSpPr/>
          <p:nvPr/>
        </p:nvSpPr>
        <p:spPr>
          <a:xfrm>
            <a:off x="5383719" y="1627878"/>
            <a:ext cx="1646369" cy="972000"/>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Model Ecosystem Interface</a:t>
            </a:r>
          </a:p>
        </p:txBody>
      </p:sp>
      <p:sp>
        <p:nvSpPr>
          <p:cNvPr id="12" name="Rectángulo 3174">
            <a:extLst>
              <a:ext uri="{FF2B5EF4-FFF2-40B4-BE49-F238E27FC236}">
                <a16:creationId xmlns:a16="http://schemas.microsoft.com/office/drawing/2014/main" id="{F92DEAA6-5022-2B77-B897-4755DFAE117D}"/>
              </a:ext>
            </a:extLst>
          </p:cNvPr>
          <p:cNvSpPr/>
          <p:nvPr/>
        </p:nvSpPr>
        <p:spPr>
          <a:xfrm>
            <a:off x="5378055" y="2630794"/>
            <a:ext cx="1652033" cy="1116000"/>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Memory &amp; Knowledge Ecosystem Interface</a:t>
            </a:r>
          </a:p>
        </p:txBody>
      </p:sp>
      <p:sp>
        <p:nvSpPr>
          <p:cNvPr id="1105" name="Rectangle 1029">
            <a:extLst>
              <a:ext uri="{FF2B5EF4-FFF2-40B4-BE49-F238E27FC236}">
                <a16:creationId xmlns:a16="http://schemas.microsoft.com/office/drawing/2014/main" id="{58694DD2-8243-8325-82D4-613925C8FC5B}"/>
              </a:ext>
            </a:extLst>
          </p:cNvPr>
          <p:cNvSpPr/>
          <p:nvPr/>
        </p:nvSpPr>
        <p:spPr>
          <a:xfrm>
            <a:off x="7285657" y="1416881"/>
            <a:ext cx="3982747" cy="3875416"/>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EC0000"/>
                </a:solidFill>
                <a:effectLst/>
                <a:uLnTx/>
                <a:uFillTx/>
                <a:latin typeface="Santander Text" panose="020B0504020201020104"/>
                <a:ea typeface="Calibri" panose="020F0502020204030204" pitchFamily="34" charset="0"/>
                <a:cs typeface="Calibri" panose="020F0502020204030204" pitchFamily="34" charset="0"/>
              </a:rPr>
              <a:t>     </a:t>
            </a:r>
            <a:r>
              <a:rPr kumimoji="0" lang="en-GB" sz="1200" b="1" i="0" u="none" strike="noStrike" kern="1200" cap="none" spc="0" normalizeH="0" baseline="0" noProof="0" err="1">
                <a:ln>
                  <a:noFill/>
                </a:ln>
                <a:solidFill>
                  <a:srgbClr val="EC0000"/>
                </a:solidFill>
                <a:effectLst/>
                <a:uLnTx/>
                <a:uFillTx/>
                <a:latin typeface="Santander Text" panose="020B0504020201020104"/>
                <a:ea typeface="Calibri" panose="020F0502020204030204" pitchFamily="34" charset="0"/>
                <a:cs typeface="Calibri" panose="020F0502020204030204" pitchFamily="34" charset="0"/>
              </a:rPr>
              <a:t>Capabilites</a:t>
            </a:r>
            <a:endParaRPr kumimoji="0" lang="en-GB" sz="1200" b="1" i="0" u="none" strike="noStrike" kern="1200" cap="none" spc="0" normalizeH="0" baseline="0" noProof="0">
              <a:ln>
                <a:noFill/>
              </a:ln>
              <a:solidFill>
                <a:srgbClr val="EC0000"/>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109" name="Rectángulo 22">
            <a:extLst>
              <a:ext uri="{FF2B5EF4-FFF2-40B4-BE49-F238E27FC236}">
                <a16:creationId xmlns:a16="http://schemas.microsoft.com/office/drawing/2014/main" id="{32E68D25-BF38-80BF-BFDD-A4C2E7DC226A}"/>
              </a:ext>
            </a:extLst>
          </p:cNvPr>
          <p:cNvSpPr/>
          <p:nvPr/>
        </p:nvSpPr>
        <p:spPr>
          <a:xfrm>
            <a:off x="7391707" y="1741241"/>
            <a:ext cx="3744000" cy="3472868"/>
          </a:xfrm>
          <a:prstGeom prst="rect">
            <a:avLst/>
          </a:prstGeom>
          <a:solidFill>
            <a:srgbClr val="C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25400" rIns="25400" bIns="25400" numCol="1" spcCol="3810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sym typeface="Helvetica Neue Medium"/>
              </a:rPr>
              <a:t>Santander Business Domains</a:t>
            </a:r>
          </a:p>
        </p:txBody>
      </p:sp>
      <p:sp>
        <p:nvSpPr>
          <p:cNvPr id="28" name="Rectángulo 3174">
            <a:extLst>
              <a:ext uri="{FF2B5EF4-FFF2-40B4-BE49-F238E27FC236}">
                <a16:creationId xmlns:a16="http://schemas.microsoft.com/office/drawing/2014/main" id="{33DBFDD1-583B-0F5F-021E-59DEBB3511A1}"/>
              </a:ext>
            </a:extLst>
          </p:cNvPr>
          <p:cNvSpPr/>
          <p:nvPr/>
        </p:nvSpPr>
        <p:spPr>
          <a:xfrm>
            <a:off x="7598125" y="2049930"/>
            <a:ext cx="3348000" cy="2965799"/>
          </a:xfrm>
          <a:prstGeom prst="rect">
            <a:avLst/>
          </a:prstGeom>
          <a:solidFill>
            <a:schemeClr val="bg1"/>
          </a:solidFill>
          <a:ln w="12700" cap="flat">
            <a:solidFill>
              <a:srgbClr val="C00000"/>
            </a:solidFill>
            <a:prstDash val="solid"/>
            <a:miter lim="400000"/>
            <a:extLst>
              <a:ext uri="{C807C97D-BFC1-408E-A445-0C87EB9F89A2}">
                <ask:lineSketchStyleProps xmlns:ask="http://schemas.microsoft.com/office/drawing/2018/sketchyshapes">
                  <ask:type>
                    <ask:lineSketchNone/>
                  </ask:type>
                </ask:lineSketchStyleProps>
              </a:ext>
            </a:extLst>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sym typeface="Helvetica Neue Medium"/>
              </a:rPr>
              <a:t>Business Backend Capabilities</a:t>
            </a:r>
          </a:p>
        </p:txBody>
      </p:sp>
      <p:sp>
        <p:nvSpPr>
          <p:cNvPr id="1110" name="Rectangle 1109">
            <a:extLst>
              <a:ext uri="{FF2B5EF4-FFF2-40B4-BE49-F238E27FC236}">
                <a16:creationId xmlns:a16="http://schemas.microsoft.com/office/drawing/2014/main" id="{61A649E5-AEB6-B287-C309-75F63D9F0958}"/>
              </a:ext>
            </a:extLst>
          </p:cNvPr>
          <p:cNvSpPr/>
          <p:nvPr/>
        </p:nvSpPr>
        <p:spPr>
          <a:xfrm>
            <a:off x="1507517" y="926939"/>
            <a:ext cx="1908000" cy="4356000"/>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108000" tIns="36000" r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0000"/>
                </a:solidFill>
                <a:effectLst/>
                <a:uLnTx/>
                <a:uFillTx/>
                <a:latin typeface="Santander Text" panose="020B0504020201020104"/>
                <a:ea typeface="Calibri" panose="020F0502020204030204" pitchFamily="34" charset="0"/>
                <a:cs typeface="Calibri" panose="020F0502020204030204" pitchFamily="34" charset="0"/>
              </a:rPr>
              <a:t>    Front-ends &amp; Interaction</a:t>
            </a:r>
          </a:p>
          <a:p>
            <a:pPr marL="177800" marR="0" lvl="0" indent="0" algn="l" defTabSz="914400" rtl="0" eaLnBrk="1" fontAlgn="auto" latinLnBrk="0" hangingPunct="1">
              <a:lnSpc>
                <a:spcPct val="100000"/>
              </a:lnSpc>
              <a:spcBef>
                <a:spcPts val="0"/>
              </a:spcBef>
              <a:spcAft>
                <a:spcPts val="0"/>
              </a:spcAft>
              <a:buClrTx/>
              <a:buSzTx/>
              <a:buFontTx/>
              <a:buNone/>
              <a:tabLst/>
              <a:defRPr/>
            </a:pPr>
            <a:r>
              <a:rPr kumimoji="0" lang="en-GB" sz="700" b="0" i="1" u="none" strike="noStrike" kern="1200" cap="none" spc="0" normalizeH="0" baseline="0" noProof="0">
                <a:ln>
                  <a:noFill/>
                </a:ln>
                <a:solidFill>
                  <a:prstClr val="black"/>
                </a:solidFill>
                <a:effectLst/>
                <a:uLnTx/>
                <a:uFillTx/>
                <a:latin typeface="Santander Text" panose="020B0504020201020104"/>
                <a:ea typeface="+mn-ea"/>
                <a:cs typeface="+mn-cs"/>
              </a:rPr>
              <a:t>Various Sources of Interaction with the Agent Platform</a:t>
            </a:r>
          </a:p>
        </p:txBody>
      </p:sp>
      <p:sp>
        <p:nvSpPr>
          <p:cNvPr id="14" name="Rectángulo 3174">
            <a:extLst>
              <a:ext uri="{FF2B5EF4-FFF2-40B4-BE49-F238E27FC236}">
                <a16:creationId xmlns:a16="http://schemas.microsoft.com/office/drawing/2014/main" id="{67F02872-8507-6F8D-3C33-2448D90AB13E}"/>
              </a:ext>
            </a:extLst>
          </p:cNvPr>
          <p:cNvSpPr/>
          <p:nvPr/>
        </p:nvSpPr>
        <p:spPr>
          <a:xfrm>
            <a:off x="1763896" y="1489988"/>
            <a:ext cx="1490693" cy="3671253"/>
          </a:xfrm>
          <a:prstGeom prst="rect">
            <a:avLst/>
          </a:prstGeom>
          <a:solidFill>
            <a:schemeClr val="bg1"/>
          </a:solidFill>
          <a:ln w="12700" cap="flat">
            <a:solidFill>
              <a:srgbClr val="C00000"/>
            </a:solidFill>
            <a:prstDash val="solid"/>
            <a:miter lim="400000"/>
            <a:extLst>
              <a:ext uri="{C807C97D-BFC1-408E-A445-0C87EB9F89A2}">
                <ask:lineSketchStyleProps xmlns:ask="http://schemas.microsoft.com/office/drawing/2018/sketchyshapes">
                  <ask:type>
                    <ask:lineSketchNone/>
                  </ask:type>
                </ask:lineSketchStyleProps>
              </a:ext>
            </a:extLst>
          </a:ln>
          <a:effectLst/>
          <a:sp3d/>
        </p:spPr>
        <p:style>
          <a:lnRef idx="0">
            <a:scrgbClr r="0" g="0" b="0"/>
          </a:lnRef>
          <a:fillRef idx="0">
            <a:scrgbClr r="0" g="0" b="0"/>
          </a:fillRef>
          <a:effectRef idx="0">
            <a:scrgbClr r="0" g="0" b="0"/>
          </a:effectRef>
          <a:fontRef idx="none"/>
        </p:style>
        <p:txBody>
          <a:bodyPr rot="0" spcFirstLastPara="1" vert="horz" wrap="square" lIns="36000" tIns="0" rIns="36000" bIns="0" numCol="1" spcCol="38100" rtlCol="0" anchor="t">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sym typeface="Helvetica Neue Medium"/>
              </a:rPr>
              <a:t>Business Domains</a:t>
            </a:r>
          </a:p>
        </p:txBody>
      </p:sp>
      <p:sp>
        <p:nvSpPr>
          <p:cNvPr id="18" name="Title 6">
            <a:extLst>
              <a:ext uri="{FF2B5EF4-FFF2-40B4-BE49-F238E27FC236}">
                <a16:creationId xmlns:a16="http://schemas.microsoft.com/office/drawing/2014/main" id="{E58FBBEF-8071-4576-EA5C-E3E8F5EC2FDA}"/>
              </a:ext>
            </a:extLst>
          </p:cNvPr>
          <p:cNvSpPr txBox="1">
            <a:spLocks/>
          </p:cNvSpPr>
          <p:nvPr/>
        </p:nvSpPr>
        <p:spPr>
          <a:xfrm>
            <a:off x="143689" y="89916"/>
            <a:ext cx="11470166" cy="53339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0" i="0" u="none" strike="noStrike" kern="1200" cap="none" spc="0" normalizeH="0" baseline="0" noProof="0" dirty="0">
                <a:ln>
                  <a:noFill/>
                </a:ln>
                <a:solidFill>
                  <a:srgbClr val="F14949"/>
                </a:solidFill>
                <a:effectLst/>
                <a:uLnTx/>
                <a:uFillTx/>
                <a:latin typeface="Santander Headline" panose="020B0504020201020104"/>
                <a:ea typeface="+mj-ea"/>
                <a:cs typeface="+mj-cs"/>
              </a:rPr>
              <a:t>Agentic Architecture Overview</a:t>
            </a:r>
          </a:p>
        </p:txBody>
      </p:sp>
      <p:sp>
        <p:nvSpPr>
          <p:cNvPr id="1111" name="Rectangle 1110">
            <a:extLst>
              <a:ext uri="{FF2B5EF4-FFF2-40B4-BE49-F238E27FC236}">
                <a16:creationId xmlns:a16="http://schemas.microsoft.com/office/drawing/2014/main" id="{599D8915-DA08-15A9-91F9-5F58CD28E17A}"/>
              </a:ext>
            </a:extLst>
          </p:cNvPr>
          <p:cNvSpPr/>
          <p:nvPr/>
        </p:nvSpPr>
        <p:spPr>
          <a:xfrm>
            <a:off x="1871392" y="3203917"/>
            <a:ext cx="1260000" cy="1323521"/>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Flow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1" u="none" strike="noStrike" kern="1200" cap="none" spc="0" normalizeH="0" baseline="0" noProof="0">
                <a:ln>
                  <a:noFill/>
                </a:ln>
                <a:solidFill>
                  <a:prstClr val="white"/>
                </a:solidFill>
                <a:effectLst/>
                <a:uLnTx/>
                <a:uFillTx/>
                <a:latin typeface="Santander Text" panose="020B0504020201020104"/>
                <a:ea typeface="+mn-ea"/>
                <a:cs typeface="+mn-cs"/>
              </a:rPr>
              <a:t>Real-world enterprise processes —such as card dispute reconciliation, contract compliance review, or wealth management— require persistent agents capable of multi-step planning, tool use, and asynchronous execu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Santander Text" panose="020B0504020201020104"/>
              <a:ea typeface="+mn-ea"/>
              <a:cs typeface="+mn-cs"/>
            </a:endParaRPr>
          </a:p>
        </p:txBody>
      </p:sp>
      <p:sp>
        <p:nvSpPr>
          <p:cNvPr id="1112" name="Rectangle 188">
            <a:extLst>
              <a:ext uri="{FF2B5EF4-FFF2-40B4-BE49-F238E27FC236}">
                <a16:creationId xmlns:a16="http://schemas.microsoft.com/office/drawing/2014/main" id="{FF20F45B-A10F-AA79-6C24-E2AB8FB64B51}"/>
              </a:ext>
            </a:extLst>
          </p:cNvPr>
          <p:cNvSpPr/>
          <p:nvPr/>
        </p:nvSpPr>
        <p:spPr>
          <a:xfrm>
            <a:off x="1871392" y="4638656"/>
            <a:ext cx="1260000" cy="413123"/>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Business Apps</a:t>
            </a:r>
          </a:p>
        </p:txBody>
      </p:sp>
      <p:sp>
        <p:nvSpPr>
          <p:cNvPr id="1147" name="Rectangle 1029">
            <a:extLst>
              <a:ext uri="{FF2B5EF4-FFF2-40B4-BE49-F238E27FC236}">
                <a16:creationId xmlns:a16="http://schemas.microsoft.com/office/drawing/2014/main" id="{579BE0FC-08F4-8E73-5AA2-7F48A6B649D8}"/>
              </a:ext>
            </a:extLst>
          </p:cNvPr>
          <p:cNvSpPr/>
          <p:nvPr/>
        </p:nvSpPr>
        <p:spPr>
          <a:xfrm>
            <a:off x="1507518" y="5359658"/>
            <a:ext cx="9760886" cy="1195495"/>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EC0000"/>
                </a:solidFill>
                <a:effectLst/>
                <a:uLnTx/>
                <a:uFillTx/>
                <a:latin typeface="Santander Text" panose="020B0504020201020104"/>
                <a:ea typeface="Calibri" panose="020F0502020204030204" pitchFamily="34" charset="0"/>
                <a:cs typeface="Calibri" panose="020F0502020204030204" pitchFamily="34" charset="0"/>
              </a:rPr>
              <a:t>      Platform Ope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148" name="Rectangle 188">
            <a:extLst>
              <a:ext uri="{FF2B5EF4-FFF2-40B4-BE49-F238E27FC236}">
                <a16:creationId xmlns:a16="http://schemas.microsoft.com/office/drawing/2014/main" id="{5308AD72-D131-30E0-FC2F-16F1AE575D87}"/>
              </a:ext>
            </a:extLst>
          </p:cNvPr>
          <p:cNvSpPr/>
          <p:nvPr/>
        </p:nvSpPr>
        <p:spPr>
          <a:xfrm>
            <a:off x="1871392" y="1682263"/>
            <a:ext cx="1260000" cy="396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Digital Channe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1" u="none" strike="noStrike" kern="1200" cap="none" spc="0" normalizeH="0" baseline="0" noProof="0">
                <a:ln>
                  <a:noFill/>
                </a:ln>
                <a:solidFill>
                  <a:prstClr val="white"/>
                </a:solidFill>
                <a:effectLst/>
                <a:uLnTx/>
                <a:uFillTx/>
                <a:latin typeface="Santander Text" panose="020B0504020201020104"/>
                <a:ea typeface="+mn-ea"/>
                <a:cs typeface="+mn-cs"/>
              </a:rPr>
              <a:t>Web  / Mobile / Chat</a:t>
            </a:r>
          </a:p>
        </p:txBody>
      </p:sp>
      <p:sp>
        <p:nvSpPr>
          <p:cNvPr id="1154" name="Rectángulo 3174">
            <a:extLst>
              <a:ext uri="{FF2B5EF4-FFF2-40B4-BE49-F238E27FC236}">
                <a16:creationId xmlns:a16="http://schemas.microsoft.com/office/drawing/2014/main" id="{586E1510-A851-7046-17B3-77F4DC359A6E}"/>
              </a:ext>
            </a:extLst>
          </p:cNvPr>
          <p:cNvSpPr/>
          <p:nvPr/>
        </p:nvSpPr>
        <p:spPr>
          <a:xfrm>
            <a:off x="3694677" y="1636700"/>
            <a:ext cx="1538766" cy="2973584"/>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endParaRPr kumimoji="0" lang="en-GB"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endParaRPr>
          </a:p>
        </p:txBody>
      </p:sp>
      <p:sp>
        <p:nvSpPr>
          <p:cNvPr id="1158" name="Rectangle 188">
            <a:extLst>
              <a:ext uri="{FF2B5EF4-FFF2-40B4-BE49-F238E27FC236}">
                <a16:creationId xmlns:a16="http://schemas.microsoft.com/office/drawing/2014/main" id="{7AAAC31B-8455-27BD-A30A-2BF5D87433E5}"/>
              </a:ext>
            </a:extLst>
          </p:cNvPr>
          <p:cNvSpPr/>
          <p:nvPr/>
        </p:nvSpPr>
        <p:spPr>
          <a:xfrm>
            <a:off x="1871392" y="2189481"/>
            <a:ext cx="1260000" cy="396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Assisted Channe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1" u="none" strike="noStrike" kern="1200" cap="none" spc="0" normalizeH="0" baseline="0" noProof="0">
                <a:ln>
                  <a:noFill/>
                </a:ln>
                <a:solidFill>
                  <a:prstClr val="white"/>
                </a:solidFill>
                <a:effectLst/>
                <a:uLnTx/>
                <a:uFillTx/>
                <a:latin typeface="Santander Text" panose="020B0504020201020104"/>
                <a:ea typeface="+mn-ea"/>
                <a:cs typeface="+mn-cs"/>
              </a:rPr>
              <a:t>Contact </a:t>
            </a:r>
            <a:r>
              <a:rPr kumimoji="0" lang="en-GB" sz="700" b="0" i="1" u="none" strike="noStrike" kern="1200" cap="none" spc="0" normalizeH="0" baseline="0" noProof="0" err="1">
                <a:ln>
                  <a:noFill/>
                </a:ln>
                <a:solidFill>
                  <a:prstClr val="white"/>
                </a:solidFill>
                <a:effectLst/>
                <a:uLnTx/>
                <a:uFillTx/>
                <a:latin typeface="Santander Text" panose="020B0504020201020104"/>
                <a:ea typeface="+mn-ea"/>
                <a:cs typeface="+mn-cs"/>
              </a:rPr>
              <a:t>Center</a:t>
            </a:r>
            <a:r>
              <a:rPr kumimoji="0" lang="en-GB" sz="700" b="0" i="1" u="none" strike="noStrike" kern="1200" cap="none" spc="0" normalizeH="0" baseline="0" noProof="0">
                <a:ln>
                  <a:noFill/>
                </a:ln>
                <a:solidFill>
                  <a:prstClr val="white"/>
                </a:solidFill>
                <a:effectLst/>
                <a:uLnTx/>
                <a:uFillTx/>
                <a:latin typeface="Santander Text" panose="020B0504020201020104"/>
                <a:ea typeface="+mn-ea"/>
                <a:cs typeface="+mn-cs"/>
              </a:rPr>
              <a:t> / Branch</a:t>
            </a:r>
          </a:p>
        </p:txBody>
      </p:sp>
      <p:sp>
        <p:nvSpPr>
          <p:cNvPr id="1159" name="Rectangle 188">
            <a:extLst>
              <a:ext uri="{FF2B5EF4-FFF2-40B4-BE49-F238E27FC236}">
                <a16:creationId xmlns:a16="http://schemas.microsoft.com/office/drawing/2014/main" id="{6F7DF81F-D15B-4188-10C3-D463EEE6F669}"/>
              </a:ext>
            </a:extLst>
          </p:cNvPr>
          <p:cNvSpPr/>
          <p:nvPr/>
        </p:nvSpPr>
        <p:spPr>
          <a:xfrm>
            <a:off x="1871392" y="2696699"/>
            <a:ext cx="1260000" cy="396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Corporate Apps</a:t>
            </a:r>
          </a:p>
        </p:txBody>
      </p:sp>
      <p:sp>
        <p:nvSpPr>
          <p:cNvPr id="1167" name="Rectangle 1023">
            <a:extLst>
              <a:ext uri="{FF2B5EF4-FFF2-40B4-BE49-F238E27FC236}">
                <a16:creationId xmlns:a16="http://schemas.microsoft.com/office/drawing/2014/main" id="{F07B2B26-99B9-312D-72CE-FEB5044092AA}"/>
              </a:ext>
            </a:extLst>
          </p:cNvPr>
          <p:cNvSpPr/>
          <p:nvPr/>
        </p:nvSpPr>
        <p:spPr>
          <a:xfrm>
            <a:off x="4116923" y="4042318"/>
            <a:ext cx="1041172" cy="432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mn-ea"/>
                <a:cs typeface="+mn-cs"/>
              </a:rPr>
              <a:t>Configur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Inference parameters and security policies by environment.</a:t>
            </a:r>
          </a:p>
        </p:txBody>
      </p:sp>
      <p:sp>
        <p:nvSpPr>
          <p:cNvPr id="1168" name="Rectangle 1023">
            <a:extLst>
              <a:ext uri="{FF2B5EF4-FFF2-40B4-BE49-F238E27FC236}">
                <a16:creationId xmlns:a16="http://schemas.microsoft.com/office/drawing/2014/main" id="{B774D5C6-93FE-0D8A-1A81-687C03CE271F}"/>
              </a:ext>
            </a:extLst>
          </p:cNvPr>
          <p:cNvSpPr/>
          <p:nvPr/>
        </p:nvSpPr>
        <p:spPr>
          <a:xfrm>
            <a:off x="4123286" y="2015625"/>
            <a:ext cx="1044000" cy="23376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mn-ea"/>
                <a:cs typeface="+mn-cs"/>
              </a:rPr>
              <a:t>Multi-Agents</a:t>
            </a:r>
          </a:p>
        </p:txBody>
      </p:sp>
      <p:sp>
        <p:nvSpPr>
          <p:cNvPr id="1169" name="Rectangle 1023">
            <a:extLst>
              <a:ext uri="{FF2B5EF4-FFF2-40B4-BE49-F238E27FC236}">
                <a16:creationId xmlns:a16="http://schemas.microsoft.com/office/drawing/2014/main" id="{240DB5BE-E272-114E-2857-7EEC0DF22FBF}"/>
              </a:ext>
            </a:extLst>
          </p:cNvPr>
          <p:cNvSpPr/>
          <p:nvPr/>
        </p:nvSpPr>
        <p:spPr>
          <a:xfrm>
            <a:off x="4123286" y="2309699"/>
            <a:ext cx="1044000" cy="32756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mn-ea"/>
                <a:cs typeface="+mn-cs"/>
              </a:rPr>
              <a:t>Blackboard</a:t>
            </a:r>
            <a:endParaRPr kumimoji="0" lang="en-GB" sz="600" b="1" i="0" u="none" strike="noStrike" kern="1200" cap="none" spc="0" normalizeH="0" baseline="0" noProof="0">
              <a:ln>
                <a:noFill/>
              </a:ln>
              <a:solidFill>
                <a:prstClr val="black"/>
              </a:solidFill>
              <a:effectLst/>
              <a:uLnTx/>
              <a:uFillTx/>
              <a:latin typeface="Santander Text" panose="020B05040202010201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Shared memory space for Multi-Agent collaboration.</a:t>
            </a:r>
          </a:p>
        </p:txBody>
      </p:sp>
      <p:sp>
        <p:nvSpPr>
          <p:cNvPr id="1170" name="Rectangle 1023">
            <a:extLst>
              <a:ext uri="{FF2B5EF4-FFF2-40B4-BE49-F238E27FC236}">
                <a16:creationId xmlns:a16="http://schemas.microsoft.com/office/drawing/2014/main" id="{1E1EFF5B-BAF1-0B94-45F0-FE93B87C0476}"/>
              </a:ext>
            </a:extLst>
          </p:cNvPr>
          <p:cNvSpPr/>
          <p:nvPr/>
        </p:nvSpPr>
        <p:spPr>
          <a:xfrm>
            <a:off x="4123286" y="2697579"/>
            <a:ext cx="1044000" cy="24271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mn-ea"/>
                <a:cs typeface="+mn-cs"/>
              </a:rPr>
              <a:t>Agent Evalu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Feedback</a:t>
            </a:r>
          </a:p>
        </p:txBody>
      </p:sp>
      <p:sp>
        <p:nvSpPr>
          <p:cNvPr id="1171" name="Rectangle 1023">
            <a:extLst>
              <a:ext uri="{FF2B5EF4-FFF2-40B4-BE49-F238E27FC236}">
                <a16:creationId xmlns:a16="http://schemas.microsoft.com/office/drawing/2014/main" id="{A4ABECCD-EF3E-6E03-E6F8-F006E2958D0C}"/>
              </a:ext>
            </a:extLst>
          </p:cNvPr>
          <p:cNvSpPr/>
          <p:nvPr/>
        </p:nvSpPr>
        <p:spPr>
          <a:xfrm rot="16200000">
            <a:off x="2551619" y="2992471"/>
            <a:ext cx="2731436" cy="22897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mn-ea"/>
                <a:cs typeface="+mn-cs"/>
              </a:rPr>
              <a:t>Agent Gatewa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Unified Entry Point for Orchestration.</a:t>
            </a:r>
          </a:p>
        </p:txBody>
      </p:sp>
      <p:sp>
        <p:nvSpPr>
          <p:cNvPr id="1172" name="Rectangle 1023">
            <a:extLst>
              <a:ext uri="{FF2B5EF4-FFF2-40B4-BE49-F238E27FC236}">
                <a16:creationId xmlns:a16="http://schemas.microsoft.com/office/drawing/2014/main" id="{E63807CC-1883-E646-B1E2-A8D574C94239}"/>
              </a:ext>
            </a:extLst>
          </p:cNvPr>
          <p:cNvSpPr/>
          <p:nvPr/>
        </p:nvSpPr>
        <p:spPr>
          <a:xfrm>
            <a:off x="4123286" y="1746636"/>
            <a:ext cx="1044000" cy="20867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mn-ea"/>
                <a:cs typeface="+mn-cs"/>
              </a:rPr>
              <a:t>Agent Coordin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Planning configuration.</a:t>
            </a:r>
          </a:p>
        </p:txBody>
      </p:sp>
      <p:sp>
        <p:nvSpPr>
          <p:cNvPr id="1178" name="Rectangle 1023">
            <a:extLst>
              <a:ext uri="{FF2B5EF4-FFF2-40B4-BE49-F238E27FC236}">
                <a16:creationId xmlns:a16="http://schemas.microsoft.com/office/drawing/2014/main" id="{BD5BEBA0-3B74-96DC-B882-9EBA34A85CB6}"/>
              </a:ext>
            </a:extLst>
          </p:cNvPr>
          <p:cNvSpPr/>
          <p:nvPr/>
        </p:nvSpPr>
        <p:spPr>
          <a:xfrm>
            <a:off x="5450268" y="4583730"/>
            <a:ext cx="1512000" cy="432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Agency Capabilities (A2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Allows this agency to send work to other agentic agencies, using events, RPC calls or other techniques.</a:t>
            </a:r>
          </a:p>
        </p:txBody>
      </p:sp>
      <p:sp>
        <p:nvSpPr>
          <p:cNvPr id="1179" name="Rectangle 1023">
            <a:extLst>
              <a:ext uri="{FF2B5EF4-FFF2-40B4-BE49-F238E27FC236}">
                <a16:creationId xmlns:a16="http://schemas.microsoft.com/office/drawing/2014/main" id="{3AC31167-209D-E7F4-1EBB-24E5EBED2CD7}"/>
              </a:ext>
            </a:extLst>
          </p:cNvPr>
          <p:cNvSpPr/>
          <p:nvPr/>
        </p:nvSpPr>
        <p:spPr>
          <a:xfrm>
            <a:off x="5450268" y="3918509"/>
            <a:ext cx="1512000" cy="432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Tool Prox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Acts as gateway and control access to MCP tools, transform APIS into MCP tools and provides use control and monitoring.</a:t>
            </a:r>
          </a:p>
        </p:txBody>
      </p:sp>
      <p:sp>
        <p:nvSpPr>
          <p:cNvPr id="1180" name="Rectangle 1023">
            <a:extLst>
              <a:ext uri="{FF2B5EF4-FFF2-40B4-BE49-F238E27FC236}">
                <a16:creationId xmlns:a16="http://schemas.microsoft.com/office/drawing/2014/main" id="{C7736BB6-17E9-D540-B32E-7EEB9BE51894}"/>
              </a:ext>
            </a:extLst>
          </p:cNvPr>
          <p:cNvSpPr/>
          <p:nvPr/>
        </p:nvSpPr>
        <p:spPr>
          <a:xfrm>
            <a:off x="5450268" y="3372141"/>
            <a:ext cx="1512000" cy="324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Knowledge Base</a:t>
            </a:r>
          </a:p>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500" b="0" i="1" u="none" strike="noStrike" kern="1200" cap="none" spc="0" normalizeH="0" baseline="0" noProof="0">
                <a:ln>
                  <a:noFill/>
                </a:ln>
                <a:solidFill>
                  <a:prstClr val="black"/>
                </a:solidFill>
                <a:effectLst/>
                <a:uLnTx/>
                <a:uFillTx/>
                <a:latin typeface="Santander Text" panose="020B0504020201020104"/>
                <a:ea typeface="+mn-ea"/>
                <a:cs typeface="+mn-cs"/>
              </a:rPr>
              <a:t>Hybrid RAG (Vector + Graph) business rules, operation manuals, etc.</a:t>
            </a:r>
            <a:endParaRPr kumimoji="0" lang="en-GB" sz="500" b="0" i="1"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181" name="Rectangle 1023">
            <a:extLst>
              <a:ext uri="{FF2B5EF4-FFF2-40B4-BE49-F238E27FC236}">
                <a16:creationId xmlns:a16="http://schemas.microsoft.com/office/drawing/2014/main" id="{421F21DB-C8B7-6DCC-C8AE-0D5ECFFD6A3E}"/>
              </a:ext>
            </a:extLst>
          </p:cNvPr>
          <p:cNvSpPr/>
          <p:nvPr/>
        </p:nvSpPr>
        <p:spPr>
          <a:xfrm>
            <a:off x="5450268" y="1746636"/>
            <a:ext cx="1512000" cy="468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Santander Text" panose="020B0504020201020104"/>
                <a:ea typeface="+mn-ea"/>
                <a:cs typeface="+mn-cs"/>
              </a:rPr>
              <a:t>LLM Gateway</a:t>
            </a:r>
            <a:endParaRPr kumimoji="0" lang="en-GB" sz="800" b="0" i="0" u="none" strike="noStrike" kern="1200" cap="none" spc="0" normalizeH="0" baseline="0" noProof="0">
              <a:ln>
                <a:noFill/>
              </a:ln>
              <a:solidFill>
                <a:srgbClr val="000000"/>
              </a:solidFill>
              <a:effectLst/>
              <a:uLnTx/>
              <a:uFillTx/>
              <a:latin typeface="Santander Text" panose="020B05040202010201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srgbClr val="000000"/>
                </a:solidFill>
                <a:effectLst/>
                <a:uLnTx/>
                <a:uFillTx/>
                <a:latin typeface="Santander Text" panose="020B0504020201020104"/>
                <a:ea typeface="+mn-ea"/>
                <a:cs typeface="+mn-cs"/>
              </a:rPr>
              <a:t>Makes dynamic decisions on cost, latency, and complexity to route prompts through a unified API, optimizing requests by rewriting, compressing context, and using embeddings.</a:t>
            </a:r>
            <a:endPar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183" name="Rectángulo 3174">
            <a:extLst>
              <a:ext uri="{FF2B5EF4-FFF2-40B4-BE49-F238E27FC236}">
                <a16:creationId xmlns:a16="http://schemas.microsoft.com/office/drawing/2014/main" id="{6329D1D4-F359-CEB1-C1DC-B652845E73A9}"/>
              </a:ext>
            </a:extLst>
          </p:cNvPr>
          <p:cNvSpPr/>
          <p:nvPr/>
        </p:nvSpPr>
        <p:spPr>
          <a:xfrm>
            <a:off x="7748402" y="2229065"/>
            <a:ext cx="3348000" cy="2880000"/>
          </a:xfrm>
          <a:prstGeom prst="rect">
            <a:avLst/>
          </a:prstGeom>
          <a:solidFill>
            <a:schemeClr val="bg1"/>
          </a:solidFill>
          <a:ln w="12700" cap="flat">
            <a:solidFill>
              <a:srgbClr val="C00000"/>
            </a:solidFill>
            <a:prstDash val="solid"/>
            <a:miter lim="400000"/>
            <a:extLst>
              <a:ext uri="{C807C97D-BFC1-408E-A445-0C87EB9F89A2}">
                <ask:lineSketchStyleProps xmlns:ask="http://schemas.microsoft.com/office/drawing/2018/sketchyshapes">
                  <ask:type>
                    <ask:lineSketchNone/>
                  </ask:type>
                </ask:lineSketchStyleProps>
              </a:ext>
            </a:extLst>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sym typeface="Helvetica Neue Medium"/>
              </a:rPr>
              <a:t>Business Backend Capabilities</a:t>
            </a:r>
          </a:p>
        </p:txBody>
      </p:sp>
      <p:sp>
        <p:nvSpPr>
          <p:cNvPr id="1184" name="Rectángulo 3174">
            <a:extLst>
              <a:ext uri="{FF2B5EF4-FFF2-40B4-BE49-F238E27FC236}">
                <a16:creationId xmlns:a16="http://schemas.microsoft.com/office/drawing/2014/main" id="{B85A783E-D14D-7C36-7948-1BF1B97184E0}"/>
              </a:ext>
            </a:extLst>
          </p:cNvPr>
          <p:cNvSpPr/>
          <p:nvPr/>
        </p:nvSpPr>
        <p:spPr>
          <a:xfrm>
            <a:off x="7850626" y="2447038"/>
            <a:ext cx="3204000" cy="533244"/>
          </a:xfrm>
          <a:prstGeom prst="rect">
            <a:avLst/>
          </a:prstGeom>
          <a:solidFill>
            <a:srgbClr val="C00000">
              <a:alpha val="31000"/>
            </a:srgbClr>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Models </a:t>
            </a:r>
          </a:p>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Ecosystem</a:t>
            </a:r>
          </a:p>
        </p:txBody>
      </p:sp>
      <p:sp>
        <p:nvSpPr>
          <p:cNvPr id="1185" name="Rectángulo 3174">
            <a:extLst>
              <a:ext uri="{FF2B5EF4-FFF2-40B4-BE49-F238E27FC236}">
                <a16:creationId xmlns:a16="http://schemas.microsoft.com/office/drawing/2014/main" id="{0488A866-8BF6-037B-D1C5-23B3D1D2D45E}"/>
              </a:ext>
            </a:extLst>
          </p:cNvPr>
          <p:cNvSpPr/>
          <p:nvPr/>
        </p:nvSpPr>
        <p:spPr>
          <a:xfrm>
            <a:off x="7850626" y="3105916"/>
            <a:ext cx="3204000" cy="533244"/>
          </a:xfrm>
          <a:prstGeom prst="rect">
            <a:avLst/>
          </a:prstGeom>
          <a:solidFill>
            <a:srgbClr val="C00000">
              <a:alpha val="31000"/>
            </a:srgbClr>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Knowledge</a:t>
            </a:r>
          </a:p>
        </p:txBody>
      </p:sp>
      <p:sp>
        <p:nvSpPr>
          <p:cNvPr id="1186" name="Rectángulo 3174">
            <a:extLst>
              <a:ext uri="{FF2B5EF4-FFF2-40B4-BE49-F238E27FC236}">
                <a16:creationId xmlns:a16="http://schemas.microsoft.com/office/drawing/2014/main" id="{C4EB39B0-DFBA-E726-E67E-A828D043710B}"/>
              </a:ext>
            </a:extLst>
          </p:cNvPr>
          <p:cNvSpPr/>
          <p:nvPr/>
        </p:nvSpPr>
        <p:spPr>
          <a:xfrm>
            <a:off x="7850626" y="3726173"/>
            <a:ext cx="3204000" cy="692425"/>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Tools</a:t>
            </a:r>
          </a:p>
        </p:txBody>
      </p:sp>
      <p:sp>
        <p:nvSpPr>
          <p:cNvPr id="1187" name="Rectángulo 3174">
            <a:extLst>
              <a:ext uri="{FF2B5EF4-FFF2-40B4-BE49-F238E27FC236}">
                <a16:creationId xmlns:a16="http://schemas.microsoft.com/office/drawing/2014/main" id="{CA6B0F48-1EB1-1567-7B4B-8CC9DFE1129C}"/>
              </a:ext>
            </a:extLst>
          </p:cNvPr>
          <p:cNvSpPr/>
          <p:nvPr/>
        </p:nvSpPr>
        <p:spPr>
          <a:xfrm>
            <a:off x="7850626" y="4472676"/>
            <a:ext cx="3204000" cy="573266"/>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Agency</a:t>
            </a:r>
          </a:p>
        </p:txBody>
      </p:sp>
      <p:sp>
        <p:nvSpPr>
          <p:cNvPr id="1188" name="Rectangle 1023">
            <a:extLst>
              <a:ext uri="{FF2B5EF4-FFF2-40B4-BE49-F238E27FC236}">
                <a16:creationId xmlns:a16="http://schemas.microsoft.com/office/drawing/2014/main" id="{A7E585F1-1A9E-995B-5EAC-B7A44479A29C}"/>
              </a:ext>
            </a:extLst>
          </p:cNvPr>
          <p:cNvSpPr/>
          <p:nvPr/>
        </p:nvSpPr>
        <p:spPr>
          <a:xfrm>
            <a:off x="9179254" y="842330"/>
            <a:ext cx="1983360" cy="442993"/>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err="1">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Hyperscaler</a:t>
            </a:r>
            <a:r>
              <a:rPr kumimoji="0" lang="en-GB" sz="9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 Large Language Models (LLM)</a:t>
            </a:r>
          </a:p>
        </p:txBody>
      </p:sp>
      <p:sp>
        <p:nvSpPr>
          <p:cNvPr id="1189" name="Rectangle 1023">
            <a:extLst>
              <a:ext uri="{FF2B5EF4-FFF2-40B4-BE49-F238E27FC236}">
                <a16:creationId xmlns:a16="http://schemas.microsoft.com/office/drawing/2014/main" id="{70A3E48E-5013-3ADB-3A99-FBCC26549938}"/>
              </a:ext>
            </a:extLst>
          </p:cNvPr>
          <p:cNvSpPr/>
          <p:nvPr/>
        </p:nvSpPr>
        <p:spPr>
          <a:xfrm>
            <a:off x="8164503" y="2732319"/>
            <a:ext cx="864000"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Custom Models</a:t>
            </a:r>
          </a:p>
        </p:txBody>
      </p:sp>
      <p:sp>
        <p:nvSpPr>
          <p:cNvPr id="1190" name="Rectangle 1023">
            <a:extLst>
              <a:ext uri="{FF2B5EF4-FFF2-40B4-BE49-F238E27FC236}">
                <a16:creationId xmlns:a16="http://schemas.microsoft.com/office/drawing/2014/main" id="{67DFCBF8-6372-2FF3-EF90-F37A83F4A416}"/>
              </a:ext>
            </a:extLst>
          </p:cNvPr>
          <p:cNvSpPr/>
          <p:nvPr/>
        </p:nvSpPr>
        <p:spPr>
          <a:xfrm>
            <a:off x="8164503" y="2499479"/>
            <a:ext cx="864000"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Finetuning</a:t>
            </a:r>
          </a:p>
        </p:txBody>
      </p:sp>
      <p:sp>
        <p:nvSpPr>
          <p:cNvPr id="1191" name="Rectangle 1023">
            <a:extLst>
              <a:ext uri="{FF2B5EF4-FFF2-40B4-BE49-F238E27FC236}">
                <a16:creationId xmlns:a16="http://schemas.microsoft.com/office/drawing/2014/main" id="{89C30851-14E6-3850-1EB3-B781B9115417}"/>
              </a:ext>
            </a:extLst>
          </p:cNvPr>
          <p:cNvSpPr/>
          <p:nvPr/>
        </p:nvSpPr>
        <p:spPr>
          <a:xfrm>
            <a:off x="9124287" y="2499479"/>
            <a:ext cx="864000"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Prompts</a:t>
            </a:r>
          </a:p>
        </p:txBody>
      </p:sp>
      <p:sp>
        <p:nvSpPr>
          <p:cNvPr id="1192" name="Rectangle 1023">
            <a:extLst>
              <a:ext uri="{FF2B5EF4-FFF2-40B4-BE49-F238E27FC236}">
                <a16:creationId xmlns:a16="http://schemas.microsoft.com/office/drawing/2014/main" id="{53D12857-5F9F-9980-174B-B740B03F7393}"/>
              </a:ext>
            </a:extLst>
          </p:cNvPr>
          <p:cNvSpPr/>
          <p:nvPr/>
        </p:nvSpPr>
        <p:spPr>
          <a:xfrm>
            <a:off x="8164503" y="3164120"/>
            <a:ext cx="864000"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RAG</a:t>
            </a:r>
          </a:p>
        </p:txBody>
      </p:sp>
      <p:sp>
        <p:nvSpPr>
          <p:cNvPr id="1193" name="Rectangle 1023">
            <a:extLst>
              <a:ext uri="{FF2B5EF4-FFF2-40B4-BE49-F238E27FC236}">
                <a16:creationId xmlns:a16="http://schemas.microsoft.com/office/drawing/2014/main" id="{BEEEB21A-8536-EF36-92C1-1B3CF5DFEBFB}"/>
              </a:ext>
            </a:extLst>
          </p:cNvPr>
          <p:cNvSpPr/>
          <p:nvPr/>
        </p:nvSpPr>
        <p:spPr>
          <a:xfrm>
            <a:off x="8164503" y="3390057"/>
            <a:ext cx="864000"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Data Systems</a:t>
            </a:r>
          </a:p>
        </p:txBody>
      </p:sp>
      <p:sp>
        <p:nvSpPr>
          <p:cNvPr id="1194" name="Rectangle 1023">
            <a:extLst>
              <a:ext uri="{FF2B5EF4-FFF2-40B4-BE49-F238E27FC236}">
                <a16:creationId xmlns:a16="http://schemas.microsoft.com/office/drawing/2014/main" id="{93755918-447A-DA38-002B-6CDCDF3E06B3}"/>
              </a:ext>
            </a:extLst>
          </p:cNvPr>
          <p:cNvSpPr/>
          <p:nvPr/>
        </p:nvSpPr>
        <p:spPr>
          <a:xfrm>
            <a:off x="9124287" y="3162496"/>
            <a:ext cx="864000"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Vector &amp; Graph</a:t>
            </a:r>
          </a:p>
        </p:txBody>
      </p:sp>
      <p:sp>
        <p:nvSpPr>
          <p:cNvPr id="1195" name="Rectangle 1023">
            <a:extLst>
              <a:ext uri="{FF2B5EF4-FFF2-40B4-BE49-F238E27FC236}">
                <a16:creationId xmlns:a16="http://schemas.microsoft.com/office/drawing/2014/main" id="{665B374D-B293-4BE1-8F13-FFE643F24465}"/>
              </a:ext>
            </a:extLst>
          </p:cNvPr>
          <p:cNvSpPr/>
          <p:nvPr/>
        </p:nvSpPr>
        <p:spPr>
          <a:xfrm>
            <a:off x="9124287" y="3388433"/>
            <a:ext cx="864000"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Governance</a:t>
            </a:r>
          </a:p>
        </p:txBody>
      </p:sp>
      <p:sp>
        <p:nvSpPr>
          <p:cNvPr id="1196" name="Rectangle 1023">
            <a:extLst>
              <a:ext uri="{FF2B5EF4-FFF2-40B4-BE49-F238E27FC236}">
                <a16:creationId xmlns:a16="http://schemas.microsoft.com/office/drawing/2014/main" id="{37B0BD0E-3624-A5F6-BF32-174753C6B8AD}"/>
              </a:ext>
            </a:extLst>
          </p:cNvPr>
          <p:cNvSpPr/>
          <p:nvPr/>
        </p:nvSpPr>
        <p:spPr>
          <a:xfrm>
            <a:off x="10205552" y="4103521"/>
            <a:ext cx="792000"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PBC Capabilities</a:t>
            </a:r>
          </a:p>
        </p:txBody>
      </p:sp>
      <p:sp>
        <p:nvSpPr>
          <p:cNvPr id="1197" name="Rectangle 1023">
            <a:extLst>
              <a:ext uri="{FF2B5EF4-FFF2-40B4-BE49-F238E27FC236}">
                <a16:creationId xmlns:a16="http://schemas.microsoft.com/office/drawing/2014/main" id="{C66FDCEE-61C6-0ECF-B3C4-053F31C68F5A}"/>
              </a:ext>
            </a:extLst>
          </p:cNvPr>
          <p:cNvSpPr/>
          <p:nvPr/>
        </p:nvSpPr>
        <p:spPr>
          <a:xfrm>
            <a:off x="9346892" y="3882610"/>
            <a:ext cx="792000"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Platform Capabilities</a:t>
            </a:r>
          </a:p>
        </p:txBody>
      </p:sp>
      <p:sp>
        <p:nvSpPr>
          <p:cNvPr id="1198" name="Rectangle 1023">
            <a:extLst>
              <a:ext uri="{FF2B5EF4-FFF2-40B4-BE49-F238E27FC236}">
                <a16:creationId xmlns:a16="http://schemas.microsoft.com/office/drawing/2014/main" id="{ADE87474-382C-0CC6-174E-4CBCED2AD796}"/>
              </a:ext>
            </a:extLst>
          </p:cNvPr>
          <p:cNvSpPr/>
          <p:nvPr/>
        </p:nvSpPr>
        <p:spPr>
          <a:xfrm>
            <a:off x="9346892" y="4103521"/>
            <a:ext cx="792000"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Business Capabilities</a:t>
            </a:r>
          </a:p>
        </p:txBody>
      </p:sp>
      <p:sp>
        <p:nvSpPr>
          <p:cNvPr id="1199" name="Rectangle 1023">
            <a:extLst>
              <a:ext uri="{FF2B5EF4-FFF2-40B4-BE49-F238E27FC236}">
                <a16:creationId xmlns:a16="http://schemas.microsoft.com/office/drawing/2014/main" id="{CB0B060E-E505-6B41-036C-339DA3513F99}"/>
              </a:ext>
            </a:extLst>
          </p:cNvPr>
          <p:cNvSpPr/>
          <p:nvPr/>
        </p:nvSpPr>
        <p:spPr>
          <a:xfrm>
            <a:off x="10084072" y="3159416"/>
            <a:ext cx="926556" cy="408892"/>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Data Capabilit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Structured data ingestion, processing, and management for AI use.</a:t>
            </a:r>
            <a:endParaRPr kumimoji="0" lang="en-GB" sz="5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200" name="Rectangle 1023">
            <a:extLst>
              <a:ext uri="{FF2B5EF4-FFF2-40B4-BE49-F238E27FC236}">
                <a16:creationId xmlns:a16="http://schemas.microsoft.com/office/drawing/2014/main" id="{95CE54C2-320F-EE73-0B07-F81A8DEB326D}"/>
              </a:ext>
            </a:extLst>
          </p:cNvPr>
          <p:cNvSpPr/>
          <p:nvPr/>
        </p:nvSpPr>
        <p:spPr>
          <a:xfrm>
            <a:off x="8045917" y="3881774"/>
            <a:ext cx="1240576" cy="468648"/>
          </a:xfrm>
          <a:prstGeom prst="rect">
            <a:avLst/>
          </a:prstGeom>
          <a:solidFill>
            <a:srgbClr val="C00000">
              <a:alpha val="31000"/>
            </a:srgbClr>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0" rtlCol="0" anchor="t"/>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MCP/API Serv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Core banking APIs exposed as standard MCP services. Governance layer providing secure context..</a:t>
            </a:r>
          </a:p>
        </p:txBody>
      </p:sp>
      <p:sp>
        <p:nvSpPr>
          <p:cNvPr id="1202" name="Rectangle 1023">
            <a:extLst>
              <a:ext uri="{FF2B5EF4-FFF2-40B4-BE49-F238E27FC236}">
                <a16:creationId xmlns:a16="http://schemas.microsoft.com/office/drawing/2014/main" id="{609C6B1B-32F9-6154-B966-ECF9EFE6C04E}"/>
              </a:ext>
            </a:extLst>
          </p:cNvPr>
          <p:cNvSpPr/>
          <p:nvPr/>
        </p:nvSpPr>
        <p:spPr>
          <a:xfrm>
            <a:off x="9388226" y="4522416"/>
            <a:ext cx="750666"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Other Agency Capabilities</a:t>
            </a:r>
          </a:p>
        </p:txBody>
      </p:sp>
      <p:sp>
        <p:nvSpPr>
          <p:cNvPr id="1203" name="Arrow: Right 1054">
            <a:extLst>
              <a:ext uri="{FF2B5EF4-FFF2-40B4-BE49-F238E27FC236}">
                <a16:creationId xmlns:a16="http://schemas.microsoft.com/office/drawing/2014/main" id="{64028A32-44E4-C2C6-181E-435A8D5F8037}"/>
              </a:ext>
            </a:extLst>
          </p:cNvPr>
          <p:cNvSpPr/>
          <p:nvPr/>
        </p:nvSpPr>
        <p:spPr>
          <a:xfrm>
            <a:off x="7030088" y="3213060"/>
            <a:ext cx="681582"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antander Text" panose="020B0504020201020104"/>
              <a:ea typeface="+mn-ea"/>
              <a:cs typeface="+mn-cs"/>
            </a:endParaRPr>
          </a:p>
        </p:txBody>
      </p:sp>
      <p:sp>
        <p:nvSpPr>
          <p:cNvPr id="1204" name="Arrow: Right 1054">
            <a:extLst>
              <a:ext uri="{FF2B5EF4-FFF2-40B4-BE49-F238E27FC236}">
                <a16:creationId xmlns:a16="http://schemas.microsoft.com/office/drawing/2014/main" id="{72BEA59D-4D46-44A5-E106-BC312E7E9954}"/>
              </a:ext>
            </a:extLst>
          </p:cNvPr>
          <p:cNvSpPr/>
          <p:nvPr/>
        </p:nvSpPr>
        <p:spPr>
          <a:xfrm>
            <a:off x="7024271" y="3997387"/>
            <a:ext cx="792000"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antander Text" panose="020B0504020201020104"/>
              <a:ea typeface="+mn-ea"/>
              <a:cs typeface="+mn-cs"/>
            </a:endParaRPr>
          </a:p>
        </p:txBody>
      </p:sp>
      <p:sp>
        <p:nvSpPr>
          <p:cNvPr id="1205" name="Arrow: Right 1054">
            <a:extLst>
              <a:ext uri="{FF2B5EF4-FFF2-40B4-BE49-F238E27FC236}">
                <a16:creationId xmlns:a16="http://schemas.microsoft.com/office/drawing/2014/main" id="{7055DD45-0BF4-4225-5974-61F209B65240}"/>
              </a:ext>
            </a:extLst>
          </p:cNvPr>
          <p:cNvSpPr/>
          <p:nvPr/>
        </p:nvSpPr>
        <p:spPr>
          <a:xfrm>
            <a:off x="7043393" y="4620111"/>
            <a:ext cx="745742"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antander Text" panose="020B0504020201020104"/>
              <a:ea typeface="+mn-ea"/>
              <a:cs typeface="+mn-cs"/>
            </a:endParaRPr>
          </a:p>
        </p:txBody>
      </p:sp>
      <p:sp>
        <p:nvSpPr>
          <p:cNvPr id="1206" name="Rectangle 1023">
            <a:extLst>
              <a:ext uri="{FF2B5EF4-FFF2-40B4-BE49-F238E27FC236}">
                <a16:creationId xmlns:a16="http://schemas.microsoft.com/office/drawing/2014/main" id="{14745FCB-614B-479E-16F4-CAF38DA5C675}"/>
              </a:ext>
            </a:extLst>
          </p:cNvPr>
          <p:cNvSpPr/>
          <p:nvPr/>
        </p:nvSpPr>
        <p:spPr>
          <a:xfrm>
            <a:off x="9037411" y="5607740"/>
            <a:ext cx="2124000" cy="897851"/>
          </a:xfrm>
          <a:prstGeom prst="rect">
            <a:avLst/>
          </a:prstGeom>
          <a:solidFill>
            <a:srgbClr val="C00000">
              <a:alpha val="31000"/>
            </a:srgb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Security</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700" b="0" i="1" u="none" strike="noStrike" kern="1200" cap="none" spc="0" normalizeH="0" baseline="0" noProof="0">
                <a:ln>
                  <a:noFill/>
                </a:ln>
                <a:solidFill>
                  <a:prstClr val="white"/>
                </a:solidFill>
                <a:effectLst/>
                <a:uLnTx/>
                <a:uFillTx/>
                <a:latin typeface="Santander Text" panose="020B0504020201020104"/>
                <a:ea typeface="+mn-ea"/>
                <a:cs typeface="+mn-cs"/>
              </a:rPr>
              <a:t>Adapted to the company security requirements on data lineage, consent, etc., to achieve full regulatory compliance. </a:t>
            </a:r>
          </a:p>
        </p:txBody>
      </p:sp>
      <p:grpSp>
        <p:nvGrpSpPr>
          <p:cNvPr id="1207" name="Grupo 19">
            <a:extLst>
              <a:ext uri="{FF2B5EF4-FFF2-40B4-BE49-F238E27FC236}">
                <a16:creationId xmlns:a16="http://schemas.microsoft.com/office/drawing/2014/main" id="{DDEA2466-86F5-B754-D0EB-74C0CB6BD497}"/>
              </a:ext>
            </a:extLst>
          </p:cNvPr>
          <p:cNvGrpSpPr/>
          <p:nvPr/>
        </p:nvGrpSpPr>
        <p:grpSpPr>
          <a:xfrm>
            <a:off x="10231477" y="2471772"/>
            <a:ext cx="396319" cy="388622"/>
            <a:chOff x="5725562" y="3167579"/>
            <a:chExt cx="396319" cy="388622"/>
          </a:xfrm>
        </p:grpSpPr>
        <p:sp>
          <p:nvSpPr>
            <p:cNvPr id="1208" name="Rectángulo: esquinas redondeadas 91">
              <a:extLst>
                <a:ext uri="{FF2B5EF4-FFF2-40B4-BE49-F238E27FC236}">
                  <a16:creationId xmlns:a16="http://schemas.microsoft.com/office/drawing/2014/main" id="{62CE3236-4A8C-BA9C-F189-5B8507D4C53B}"/>
                </a:ext>
              </a:extLst>
            </p:cNvPr>
            <p:cNvSpPr/>
            <p:nvPr/>
          </p:nvSpPr>
          <p:spPr>
            <a:xfrm>
              <a:off x="5725562" y="3180824"/>
              <a:ext cx="396319" cy="375377"/>
            </a:xfrm>
            <a:prstGeom prst="roundRect">
              <a:avLst/>
            </a:prstGeom>
            <a:solidFill>
              <a:srgbClr val="C4E5F2">
                <a:alpha val="20000"/>
              </a:srgbClr>
            </a:solidFill>
            <a:ln>
              <a:noFill/>
            </a:ln>
            <a:effectLst/>
            <a:scene3d>
              <a:camera prst="isometricTopUp"/>
              <a:lightRig rig="chilly" dir="t"/>
            </a:scene3d>
            <a:sp3d extrusionH="95250" contourW="12700" prstMaterial="metal">
              <a:extrusionClr>
                <a:srgbClr val="FCFDFE"/>
              </a:extrusionClr>
              <a:contourClr>
                <a:schemeClr val="bg1">
                  <a:lumMod val="75000"/>
                </a:schemeClr>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antander Text" panose="020B0504020201020104"/>
                <a:ea typeface="+mn-ea"/>
                <a:cs typeface="+mn-cs"/>
              </a:endParaRPr>
            </a:p>
          </p:txBody>
        </p:sp>
        <p:sp>
          <p:nvSpPr>
            <p:cNvPr id="1209" name="Elipse 23">
              <a:extLst>
                <a:ext uri="{FF2B5EF4-FFF2-40B4-BE49-F238E27FC236}">
                  <a16:creationId xmlns:a16="http://schemas.microsoft.com/office/drawing/2014/main" id="{342D8567-2C5D-FE55-A515-75172B6EBE40}"/>
                </a:ext>
              </a:extLst>
            </p:cNvPr>
            <p:cNvSpPr/>
            <p:nvPr/>
          </p:nvSpPr>
          <p:spPr>
            <a:xfrm>
              <a:off x="5782274" y="3167579"/>
              <a:ext cx="282894" cy="282894"/>
            </a:xfrm>
            <a:prstGeom prst="ellipse">
              <a:avLst/>
            </a:prstGeom>
            <a:solidFill>
              <a:srgbClr val="FCFD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antander Text" panose="020B0504020201020104"/>
                <a:ea typeface="+mn-ea"/>
                <a:cs typeface="+mn-cs"/>
              </a:endParaRPr>
            </a:p>
          </p:txBody>
        </p:sp>
        <p:pic>
          <p:nvPicPr>
            <p:cNvPr id="1210" name="Gráfico 26" descr="Inteligencia artificial con relleno sólido">
              <a:extLst>
                <a:ext uri="{FF2B5EF4-FFF2-40B4-BE49-F238E27FC236}">
                  <a16:creationId xmlns:a16="http://schemas.microsoft.com/office/drawing/2014/main" id="{3ACD71B5-37AB-044D-FF3C-009FA7246D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0435" y="3180824"/>
              <a:ext cx="218810" cy="229567"/>
            </a:xfrm>
            <a:prstGeom prst="rect">
              <a:avLst/>
            </a:prstGeom>
          </p:spPr>
        </p:pic>
      </p:grpSp>
      <p:sp>
        <p:nvSpPr>
          <p:cNvPr id="1212" name="Arrow: Right 1054">
            <a:extLst>
              <a:ext uri="{FF2B5EF4-FFF2-40B4-BE49-F238E27FC236}">
                <a16:creationId xmlns:a16="http://schemas.microsoft.com/office/drawing/2014/main" id="{7F28DB39-8893-E135-6A4F-457157B75CC2}"/>
              </a:ext>
            </a:extLst>
          </p:cNvPr>
          <p:cNvSpPr/>
          <p:nvPr/>
        </p:nvSpPr>
        <p:spPr>
          <a:xfrm rot="2280229">
            <a:off x="6983583" y="2343598"/>
            <a:ext cx="794881" cy="226800"/>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antander Text" panose="020B0504020201020104"/>
              <a:ea typeface="+mn-ea"/>
              <a:cs typeface="+mn-cs"/>
            </a:endParaRPr>
          </a:p>
        </p:txBody>
      </p:sp>
      <p:sp>
        <p:nvSpPr>
          <p:cNvPr id="1213" name="TextBox 1212">
            <a:extLst>
              <a:ext uri="{FF2B5EF4-FFF2-40B4-BE49-F238E27FC236}">
                <a16:creationId xmlns:a16="http://schemas.microsoft.com/office/drawing/2014/main" id="{E1A8D89B-8FC3-78F4-FC02-8AB5C9ECA727}"/>
              </a:ext>
            </a:extLst>
          </p:cNvPr>
          <p:cNvSpPr txBox="1"/>
          <p:nvPr/>
        </p:nvSpPr>
        <p:spPr>
          <a:xfrm>
            <a:off x="7930171" y="3711186"/>
            <a:ext cx="2491366" cy="172740"/>
          </a:xfrm>
          <a:prstGeom prst="rect">
            <a:avLst/>
          </a:prstGeom>
          <a:noFill/>
        </p:spPr>
        <p:txBody>
          <a:bodyPr wrap="square">
            <a:spAutoFit/>
          </a:bodyPr>
          <a:lstStyle/>
          <a:p>
            <a:pPr marL="0" marR="0" lvl="0" indent="0" algn="l" defTabSz="914400" rtl="0" eaLnBrk="1" fontAlgn="auto" latinLnBrk="0" hangingPunct="1">
              <a:lnSpc>
                <a:spcPct val="110000"/>
              </a:lnSpc>
              <a:spcBef>
                <a:spcPts val="600"/>
              </a:spcBef>
              <a:spcAft>
                <a:spcPts val="0"/>
              </a:spcAft>
              <a:buClrTx/>
              <a:buSzTx/>
              <a:buFontTx/>
              <a:buNone/>
              <a:tabLst/>
              <a:defRPr/>
            </a:pPr>
            <a:r>
              <a:rPr kumimoji="0" lang="en-GB" sz="500" b="0" i="1" u="none" strike="noStrike" kern="1200" cap="none" spc="0" normalizeH="0" baseline="0" noProof="0">
                <a:ln>
                  <a:noFill/>
                </a:ln>
                <a:solidFill>
                  <a:srgbClr val="070F26"/>
                </a:solidFill>
                <a:effectLst/>
                <a:uLnTx/>
                <a:uFillTx/>
                <a:latin typeface="Santander Text" panose="020B0504020201020104"/>
                <a:ea typeface="Helvetica Neue"/>
                <a:cs typeface="Arial" panose="020B0604020202020204" pitchFamily="34" charset="0"/>
                <a:sym typeface="Helvetica Neue"/>
              </a:rPr>
              <a:t>Corporate features and APIs available to fully integrate agents</a:t>
            </a:r>
            <a:endParaRPr kumimoji="0" lang="en-GB" sz="500" b="1" i="1" u="none" strike="noStrike" kern="1200" cap="none" spc="0" normalizeH="0" baseline="0" noProof="0">
              <a:ln>
                <a:noFill/>
              </a:ln>
              <a:solidFill>
                <a:srgbClr val="070F26"/>
              </a:solidFill>
              <a:effectLst/>
              <a:uLnTx/>
              <a:uFillTx/>
              <a:latin typeface="Santander Text" panose="020B0504020201020104"/>
              <a:ea typeface="Helvetica Neue"/>
              <a:cs typeface="Arial" panose="020B0604020202020204" pitchFamily="34" charset="0"/>
              <a:sym typeface="Helvetica Neue Medium"/>
            </a:endParaRPr>
          </a:p>
        </p:txBody>
      </p:sp>
      <p:pic>
        <p:nvPicPr>
          <p:cNvPr id="1214" name="Picture 1213">
            <a:extLst>
              <a:ext uri="{FF2B5EF4-FFF2-40B4-BE49-F238E27FC236}">
                <a16:creationId xmlns:a16="http://schemas.microsoft.com/office/drawing/2014/main" id="{DE201BCD-B9C8-016E-199E-C01490280DE6}"/>
              </a:ext>
            </a:extLst>
          </p:cNvPr>
          <p:cNvPicPr>
            <a:picLocks noChangeAspect="1"/>
          </p:cNvPicPr>
          <p:nvPr/>
        </p:nvPicPr>
        <p:blipFill>
          <a:blip r:embed="rId5"/>
          <a:srcRect l="-1" t="-6178" r="89155"/>
          <a:stretch>
            <a:fillRect/>
          </a:stretch>
        </p:blipFill>
        <p:spPr>
          <a:xfrm>
            <a:off x="7391707" y="1459307"/>
            <a:ext cx="145341" cy="266065"/>
          </a:xfrm>
          <a:prstGeom prst="rect">
            <a:avLst/>
          </a:prstGeom>
          <a:noFill/>
        </p:spPr>
      </p:pic>
      <p:pic>
        <p:nvPicPr>
          <p:cNvPr id="1215" name="Picture 1214">
            <a:extLst>
              <a:ext uri="{FF2B5EF4-FFF2-40B4-BE49-F238E27FC236}">
                <a16:creationId xmlns:a16="http://schemas.microsoft.com/office/drawing/2014/main" id="{F864DB0B-9AD5-7E08-B3DE-E4A15A8142DB}"/>
              </a:ext>
            </a:extLst>
          </p:cNvPr>
          <p:cNvPicPr>
            <a:picLocks noChangeAspect="1"/>
          </p:cNvPicPr>
          <p:nvPr/>
        </p:nvPicPr>
        <p:blipFill>
          <a:blip r:embed="rId5"/>
          <a:srcRect l="-1" t="-6178" r="89155"/>
          <a:stretch>
            <a:fillRect/>
          </a:stretch>
        </p:blipFill>
        <p:spPr>
          <a:xfrm>
            <a:off x="1592212" y="981824"/>
            <a:ext cx="145341" cy="266065"/>
          </a:xfrm>
          <a:prstGeom prst="rect">
            <a:avLst/>
          </a:prstGeom>
          <a:noFill/>
        </p:spPr>
      </p:pic>
      <p:pic>
        <p:nvPicPr>
          <p:cNvPr id="1216" name="Picture 1215">
            <a:extLst>
              <a:ext uri="{FF2B5EF4-FFF2-40B4-BE49-F238E27FC236}">
                <a16:creationId xmlns:a16="http://schemas.microsoft.com/office/drawing/2014/main" id="{07849805-71A9-5FA6-A901-6D60C5D8602E}"/>
              </a:ext>
            </a:extLst>
          </p:cNvPr>
          <p:cNvPicPr>
            <a:picLocks noChangeAspect="1"/>
          </p:cNvPicPr>
          <p:nvPr/>
        </p:nvPicPr>
        <p:blipFill>
          <a:blip r:embed="rId5"/>
          <a:srcRect l="-1" t="-6178" r="89155"/>
          <a:stretch>
            <a:fillRect/>
          </a:stretch>
        </p:blipFill>
        <p:spPr>
          <a:xfrm flipH="1">
            <a:off x="1572075" y="5395617"/>
            <a:ext cx="167589" cy="266065"/>
          </a:xfrm>
          <a:prstGeom prst="rect">
            <a:avLst/>
          </a:prstGeom>
          <a:noFill/>
        </p:spPr>
      </p:pic>
      <p:sp>
        <p:nvSpPr>
          <p:cNvPr id="1217" name="Rectangle 1023">
            <a:extLst>
              <a:ext uri="{FF2B5EF4-FFF2-40B4-BE49-F238E27FC236}">
                <a16:creationId xmlns:a16="http://schemas.microsoft.com/office/drawing/2014/main" id="{29B29992-E75A-21A2-6D6C-ABF469244B64}"/>
              </a:ext>
            </a:extLst>
          </p:cNvPr>
          <p:cNvSpPr/>
          <p:nvPr/>
        </p:nvSpPr>
        <p:spPr>
          <a:xfrm>
            <a:off x="5450268" y="2868497"/>
            <a:ext cx="1512000" cy="468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mn-ea"/>
                <a:cs typeface="+mn-cs"/>
              </a:rPr>
              <a:t>Memory Brok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mn-ea"/>
                <a:cs typeface="+mn-cs"/>
              </a:rPr>
              <a:t>Acts as an interface between agentic systems and graph or vector databases where long-term memory, semantic, episodic and other kinds of memory are stored.</a:t>
            </a:r>
          </a:p>
        </p:txBody>
      </p:sp>
      <p:sp>
        <p:nvSpPr>
          <p:cNvPr id="1224" name="Rectangle 1223">
            <a:extLst>
              <a:ext uri="{FF2B5EF4-FFF2-40B4-BE49-F238E27FC236}">
                <a16:creationId xmlns:a16="http://schemas.microsoft.com/office/drawing/2014/main" id="{C969373E-95EF-F7E4-C09F-1D98F4CB25B8}"/>
              </a:ext>
            </a:extLst>
          </p:cNvPr>
          <p:cNvSpPr/>
          <p:nvPr/>
        </p:nvSpPr>
        <p:spPr>
          <a:xfrm>
            <a:off x="4114095" y="3569155"/>
            <a:ext cx="1044000" cy="408347"/>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mn-ea"/>
                <a:cs typeface="+mn-cs"/>
              </a:rPr>
              <a:t>Secure Code Runti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Sandbox (WASM/</a:t>
            </a:r>
            <a:r>
              <a:rPr kumimoji="0" lang="en-GB" sz="500" b="0" i="0" u="none" strike="noStrike" kern="1200" cap="none" spc="0" normalizeH="0" baseline="0" noProof="0" err="1">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gVisor</a:t>
            </a:r>
            <a:r>
              <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 for isolated execution of agent-generated Python/SQL code.</a:t>
            </a:r>
          </a:p>
        </p:txBody>
      </p:sp>
      <p:sp>
        <p:nvSpPr>
          <p:cNvPr id="1266" name="Arrow: Right 1054">
            <a:extLst>
              <a:ext uri="{FF2B5EF4-FFF2-40B4-BE49-F238E27FC236}">
                <a16:creationId xmlns:a16="http://schemas.microsoft.com/office/drawing/2014/main" id="{E235960D-D334-AA78-2F93-C88A8FD8BDE5}"/>
              </a:ext>
            </a:extLst>
          </p:cNvPr>
          <p:cNvSpPr/>
          <p:nvPr/>
        </p:nvSpPr>
        <p:spPr>
          <a:xfrm rot="16200000">
            <a:off x="9842077" y="1767150"/>
            <a:ext cx="1152000"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antander Text" panose="020B0504020201020104"/>
              <a:ea typeface="+mn-ea"/>
              <a:cs typeface="+mn-cs"/>
            </a:endParaRPr>
          </a:p>
        </p:txBody>
      </p:sp>
      <p:sp>
        <p:nvSpPr>
          <p:cNvPr id="13" name="Arrow: Right 1054">
            <a:extLst>
              <a:ext uri="{FF2B5EF4-FFF2-40B4-BE49-F238E27FC236}">
                <a16:creationId xmlns:a16="http://schemas.microsoft.com/office/drawing/2014/main" id="{5C4F1174-2F5A-715B-F079-7C1B54A2B65B}"/>
              </a:ext>
            </a:extLst>
          </p:cNvPr>
          <p:cNvSpPr/>
          <p:nvPr/>
        </p:nvSpPr>
        <p:spPr>
          <a:xfrm>
            <a:off x="3254589" y="3024902"/>
            <a:ext cx="446529" cy="396000"/>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antander Text" panose="020B0504020201020104"/>
              <a:ea typeface="+mn-ea"/>
              <a:cs typeface="+mn-cs"/>
            </a:endParaRPr>
          </a:p>
        </p:txBody>
      </p:sp>
      <p:sp>
        <p:nvSpPr>
          <p:cNvPr id="30" name="Rectangle 1023">
            <a:extLst>
              <a:ext uri="{FF2B5EF4-FFF2-40B4-BE49-F238E27FC236}">
                <a16:creationId xmlns:a16="http://schemas.microsoft.com/office/drawing/2014/main" id="{AFDD64D8-754C-54D5-1155-80BF0114B388}"/>
              </a:ext>
            </a:extLst>
          </p:cNvPr>
          <p:cNvSpPr/>
          <p:nvPr/>
        </p:nvSpPr>
        <p:spPr>
          <a:xfrm>
            <a:off x="6282454" y="5607740"/>
            <a:ext cx="2592000" cy="897851"/>
          </a:xfrm>
          <a:prstGeom prst="rect">
            <a:avLst/>
          </a:prstGeom>
          <a:solidFill>
            <a:srgbClr val="C00000">
              <a:alpha val="31000"/>
            </a:srgb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numCol="1"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AI Observability</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700" b="0" i="1" u="none" strike="noStrike" kern="1200" cap="none" spc="0" normalizeH="0" baseline="0" noProof="0">
                <a:ln>
                  <a:noFill/>
                </a:ln>
                <a:solidFill>
                  <a:prstClr val="white"/>
                </a:solidFill>
                <a:effectLst/>
                <a:uLnTx/>
                <a:uFillTx/>
                <a:latin typeface="Santander Text" panose="020B0504020201020104"/>
                <a:ea typeface="+mn-ea"/>
                <a:cs typeface="+mn-cs"/>
              </a:rPr>
              <a:t>Adapted to the company Observability, Traceability and accountability engines using standards like </a:t>
            </a:r>
            <a:r>
              <a:rPr kumimoji="0" lang="en-GB" sz="700" b="0" i="1" u="none" strike="noStrike" kern="1200" cap="none" spc="0" normalizeH="0" baseline="0" noProof="0" err="1">
                <a:ln>
                  <a:noFill/>
                </a:ln>
                <a:solidFill>
                  <a:prstClr val="white"/>
                </a:solidFill>
                <a:effectLst/>
                <a:uLnTx/>
                <a:uFillTx/>
                <a:latin typeface="Santander Text" panose="020B0504020201020104"/>
                <a:ea typeface="+mn-ea"/>
                <a:cs typeface="+mn-cs"/>
              </a:rPr>
              <a:t>Opentelemetry</a:t>
            </a:r>
            <a:endParaRPr kumimoji="0" lang="en-GB" sz="700" b="0" i="1" u="none" strike="noStrike" kern="1200" cap="none" spc="0" normalizeH="0" baseline="0" noProof="0">
              <a:ln>
                <a:noFill/>
              </a:ln>
              <a:solidFill>
                <a:prstClr val="white"/>
              </a:solidFill>
              <a:effectLst/>
              <a:uLnTx/>
              <a:uFillTx/>
              <a:latin typeface="Santander Text" panose="020B05040202010201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700" b="0" i="1" u="none" strike="noStrike" kern="1200" cap="none" spc="0" normalizeH="0" baseline="0" noProof="0">
                <a:ln>
                  <a:noFill/>
                </a:ln>
                <a:solidFill>
                  <a:prstClr val="white"/>
                </a:solidFill>
                <a:effectLst/>
                <a:uLnTx/>
                <a:uFillTx/>
                <a:latin typeface="Santander Text" panose="020B0504020201020104"/>
                <a:ea typeface="+mn-ea"/>
                <a:cs typeface="+mn-cs"/>
              </a:rPr>
              <a:t>Accuracy, latency, failures, user satisfaction, cost, and performance can be monitor to improve production insight, detect issues early, supports optimization and A/B testing, and foster scalable trust.</a:t>
            </a:r>
          </a:p>
        </p:txBody>
      </p:sp>
      <p:sp>
        <p:nvSpPr>
          <p:cNvPr id="32" name="Arrow: Right 1054">
            <a:extLst>
              <a:ext uri="{FF2B5EF4-FFF2-40B4-BE49-F238E27FC236}">
                <a16:creationId xmlns:a16="http://schemas.microsoft.com/office/drawing/2014/main" id="{334EE9AE-8007-7C99-F359-56A35C8884E5}"/>
              </a:ext>
            </a:extLst>
          </p:cNvPr>
          <p:cNvSpPr/>
          <p:nvPr/>
        </p:nvSpPr>
        <p:spPr>
          <a:xfrm rot="16200000">
            <a:off x="9485492" y="5214032"/>
            <a:ext cx="288000" cy="226800"/>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antander Text" panose="020B0504020201020104"/>
              <a:ea typeface="+mn-ea"/>
              <a:cs typeface="+mn-cs"/>
            </a:endParaRPr>
          </a:p>
        </p:txBody>
      </p:sp>
      <p:sp>
        <p:nvSpPr>
          <p:cNvPr id="4" name="Rectangle 3">
            <a:extLst>
              <a:ext uri="{FF2B5EF4-FFF2-40B4-BE49-F238E27FC236}">
                <a16:creationId xmlns:a16="http://schemas.microsoft.com/office/drawing/2014/main" id="{B6553C21-108A-A63F-79F3-DB30159FF86B}"/>
              </a:ext>
            </a:extLst>
          </p:cNvPr>
          <p:cNvSpPr/>
          <p:nvPr/>
        </p:nvSpPr>
        <p:spPr>
          <a:xfrm>
            <a:off x="10205552" y="3882610"/>
            <a:ext cx="792000"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mn-ea"/>
                <a:cs typeface="+mn-cs"/>
              </a:rPr>
              <a:t>Tool Registry &amp; Schema Store</a:t>
            </a:r>
          </a:p>
        </p:txBody>
      </p:sp>
      <p:sp>
        <p:nvSpPr>
          <p:cNvPr id="5" name="Rectangle 4">
            <a:extLst>
              <a:ext uri="{FF2B5EF4-FFF2-40B4-BE49-F238E27FC236}">
                <a16:creationId xmlns:a16="http://schemas.microsoft.com/office/drawing/2014/main" id="{6BF90FE1-3A3A-55D4-949A-049BD8411758}"/>
              </a:ext>
            </a:extLst>
          </p:cNvPr>
          <p:cNvSpPr/>
          <p:nvPr/>
        </p:nvSpPr>
        <p:spPr>
          <a:xfrm>
            <a:off x="8047024" y="4524403"/>
            <a:ext cx="1239470" cy="475743"/>
          </a:xfrm>
          <a:prstGeom prst="rect">
            <a:avLst/>
          </a:prstGeom>
          <a:solidFill>
            <a:srgbClr val="C00000">
              <a:alpha val="31000"/>
            </a:srgbClr>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0" rtlCol="0" anchor="t"/>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mn-ea"/>
                <a:cs typeface="Calibri" panose="020F0502020204030204" pitchFamily="34" charset="0"/>
              </a:rPr>
              <a:t>Agency Capabilities Regist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mn-ea"/>
                <a:cs typeface="Calibri" panose="020F0502020204030204" pitchFamily="34" charset="0"/>
              </a:rPr>
              <a:t>Central </a:t>
            </a:r>
            <a:r>
              <a:rPr kumimoji="0" lang="en-GB" sz="500" b="0" i="0" u="none" strike="noStrike" kern="1200" cap="none" spc="0" normalizeH="0" baseline="0" noProof="0" err="1">
                <a:ln>
                  <a:noFill/>
                </a:ln>
                <a:solidFill>
                  <a:prstClr val="black"/>
                </a:solidFill>
                <a:effectLst/>
                <a:uLnTx/>
                <a:uFillTx/>
                <a:latin typeface="Santander Text" panose="020B0504020201020104"/>
                <a:ea typeface="+mn-ea"/>
                <a:cs typeface="Calibri" panose="020F0502020204030204" pitchFamily="34" charset="0"/>
              </a:rPr>
              <a:t>catalog</a:t>
            </a:r>
            <a:r>
              <a:rPr kumimoji="0" lang="en-GB" sz="500" b="0" i="0" u="none" strike="noStrike" kern="1200" cap="none" spc="0" normalizeH="0" baseline="0" noProof="0">
                <a:ln>
                  <a:noFill/>
                </a:ln>
                <a:solidFill>
                  <a:prstClr val="black"/>
                </a:solidFill>
                <a:effectLst/>
                <a:uLnTx/>
                <a:uFillTx/>
                <a:latin typeface="Santander Text" panose="020B0504020201020104"/>
                <a:ea typeface="+mn-ea"/>
                <a:cs typeface="Calibri" panose="020F0502020204030204" pitchFamily="34" charset="0"/>
              </a:rPr>
              <a:t> of A2A roles and contracts to discover and reuse autonomous agents.</a:t>
            </a:r>
          </a:p>
        </p:txBody>
      </p:sp>
      <p:sp>
        <p:nvSpPr>
          <p:cNvPr id="22" name="Rectangle 1023">
            <a:extLst>
              <a:ext uri="{FF2B5EF4-FFF2-40B4-BE49-F238E27FC236}">
                <a16:creationId xmlns:a16="http://schemas.microsoft.com/office/drawing/2014/main" id="{6CD5FEAF-86D9-3F11-7379-3E683570E1B8}"/>
              </a:ext>
            </a:extLst>
          </p:cNvPr>
          <p:cNvSpPr/>
          <p:nvPr/>
        </p:nvSpPr>
        <p:spPr>
          <a:xfrm>
            <a:off x="5450268" y="2239513"/>
            <a:ext cx="1512000" cy="324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Santander Text" panose="020B0504020201020104"/>
                <a:ea typeface="+mn-ea"/>
                <a:cs typeface="+mn-cs"/>
              </a:rPr>
              <a:t>Guardrails</a:t>
            </a:r>
            <a:endParaRPr kumimoji="0" lang="en-GB" sz="800" b="0" i="0" u="none" strike="noStrike" kern="1200" cap="none" spc="0" normalizeH="0" baseline="0" noProof="0">
              <a:ln>
                <a:noFill/>
              </a:ln>
              <a:solidFill>
                <a:srgbClr val="000000"/>
              </a:solidFill>
              <a:effectLst/>
              <a:uLnTx/>
              <a:uFillTx/>
              <a:latin typeface="Santander Text" panose="020B05040202010201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srgbClr val="000000"/>
                </a:solidFill>
                <a:effectLst/>
                <a:uLnTx/>
                <a:uFillTx/>
                <a:latin typeface="Santander Text" panose="020B0504020201020104"/>
                <a:ea typeface="Calibri" panose="020F0502020204030204" pitchFamily="34" charset="0"/>
                <a:cs typeface="Calibri" panose="020F0502020204030204" pitchFamily="34" charset="0"/>
              </a:rPr>
              <a:t>Control Outputs, hallucination, wrong behaviour and other parameters</a:t>
            </a:r>
            <a:endPar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29" name="Rectangle 28">
            <a:extLst>
              <a:ext uri="{FF2B5EF4-FFF2-40B4-BE49-F238E27FC236}">
                <a16:creationId xmlns:a16="http://schemas.microsoft.com/office/drawing/2014/main" id="{ED81ABA9-EB62-4F03-6CC8-407509FFB7D3}"/>
              </a:ext>
            </a:extLst>
          </p:cNvPr>
          <p:cNvSpPr/>
          <p:nvPr/>
        </p:nvSpPr>
        <p:spPr>
          <a:xfrm>
            <a:off x="4114095" y="3010512"/>
            <a:ext cx="1044000" cy="493827"/>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mn-ea"/>
                <a:cs typeface="+mn-cs"/>
              </a:rPr>
              <a:t>Episodic memory For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mn-ea"/>
                <a:cs typeface="+mn-cs"/>
              </a:rPr>
              <a:t>Generates Memory </a:t>
            </a:r>
            <a:r>
              <a:rPr kumimoji="0" lang="en-GB" sz="500" b="0" i="0" u="none" strike="noStrike" kern="1200" cap="none" spc="0" normalizeH="0" baseline="0" noProof="0">
                <a:ln>
                  <a:noFill/>
                </a:ln>
                <a:solidFill>
                  <a:prstClr val="black"/>
                </a:solidFill>
                <a:effectLst/>
                <a:uLnTx/>
                <a:uFillTx/>
                <a:latin typeface="Santander Text" panose="020B0504020201020104"/>
                <a:ea typeface="+mn-ea"/>
                <a:cs typeface="Calibri" panose="020F0502020204030204" pitchFamily="34" charset="0"/>
              </a:rPr>
              <a:t>episodes</a:t>
            </a:r>
            <a:r>
              <a:rPr kumimoji="0" lang="en-GB" sz="500" b="0" i="0" u="none" strike="noStrike" kern="1200" cap="none" spc="0" normalizeH="0" baseline="0" noProof="0">
                <a:ln>
                  <a:noFill/>
                </a:ln>
                <a:solidFill>
                  <a:prstClr val="black"/>
                </a:solidFill>
                <a:effectLst/>
                <a:uLnTx/>
                <a:uFillTx/>
                <a:latin typeface="Santander Text" panose="020B0504020201020104"/>
                <a:ea typeface="+mn-ea"/>
                <a:cs typeface="+mn-cs"/>
              </a:rPr>
              <a:t> as past experiences to work better at each iteration.</a:t>
            </a:r>
          </a:p>
        </p:txBody>
      </p:sp>
      <p:pic>
        <p:nvPicPr>
          <p:cNvPr id="3" name="Imagen 2" descr="NTT Data - Red Seguridad">
            <a:extLst>
              <a:ext uri="{FF2B5EF4-FFF2-40B4-BE49-F238E27FC236}">
                <a16:creationId xmlns:a16="http://schemas.microsoft.com/office/drawing/2014/main" id="{530C6D84-FD9C-D7A3-BD48-E4C6AC6B8ECC}"/>
              </a:ext>
            </a:extLst>
          </p:cNvPr>
          <p:cNvPicPr>
            <a:picLocks noChangeAspect="1"/>
          </p:cNvPicPr>
          <p:nvPr/>
        </p:nvPicPr>
        <p:blipFill>
          <a:blip r:embed="rId6"/>
          <a:stretch>
            <a:fillRect/>
          </a:stretch>
        </p:blipFill>
        <p:spPr>
          <a:xfrm>
            <a:off x="10881313" y="-202669"/>
            <a:ext cx="1166998" cy="847775"/>
          </a:xfrm>
          <a:prstGeom prst="rect">
            <a:avLst/>
          </a:prstGeom>
        </p:spPr>
      </p:pic>
      <p:pic>
        <p:nvPicPr>
          <p:cNvPr id="6" name="Picture 5">
            <a:extLst>
              <a:ext uri="{FF2B5EF4-FFF2-40B4-BE49-F238E27FC236}">
                <a16:creationId xmlns:a16="http://schemas.microsoft.com/office/drawing/2014/main" id="{A6B23EF4-C3BD-9456-52E6-1EF76E4B92A6}"/>
              </a:ext>
            </a:extLst>
          </p:cNvPr>
          <p:cNvPicPr>
            <a:picLocks noChangeAspect="1"/>
          </p:cNvPicPr>
          <p:nvPr/>
        </p:nvPicPr>
        <p:blipFill>
          <a:blip r:embed="rId5"/>
          <a:srcRect r="22480"/>
          <a:stretch>
            <a:fillRect/>
          </a:stretch>
        </p:blipFill>
        <p:spPr>
          <a:xfrm>
            <a:off x="9081410" y="32335"/>
            <a:ext cx="1610515" cy="388493"/>
          </a:xfrm>
          <a:prstGeom prst="rect">
            <a:avLst/>
          </a:prstGeom>
        </p:spPr>
      </p:pic>
      <p:sp>
        <p:nvSpPr>
          <p:cNvPr id="48" name="Rectangle 1023">
            <a:extLst>
              <a:ext uri="{FF2B5EF4-FFF2-40B4-BE49-F238E27FC236}">
                <a16:creationId xmlns:a16="http://schemas.microsoft.com/office/drawing/2014/main" id="{6A4A5A69-C8D7-2BE6-07F5-FF75E297BF9C}"/>
              </a:ext>
            </a:extLst>
          </p:cNvPr>
          <p:cNvSpPr/>
          <p:nvPr/>
        </p:nvSpPr>
        <p:spPr>
          <a:xfrm>
            <a:off x="1708540" y="5607740"/>
            <a:ext cx="2124000" cy="897851"/>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SDLC &amp; </a:t>
            </a:r>
            <a:r>
              <a:rPr kumimoji="0" lang="en-GB" sz="1100" b="1" i="0" u="none" strike="noStrike" kern="1200" cap="none" spc="0" normalizeH="0" baseline="0" noProof="0" err="1">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DevSecOps</a:t>
            </a:r>
            <a:endParaRPr kumimoji="0" lang="en-GB" sz="900" b="0" i="1" u="none" strike="noStrike" kern="1200" cap="none" spc="0" normalizeH="0" baseline="0" noProof="0">
              <a:ln>
                <a:noFill/>
              </a:ln>
              <a:solidFill>
                <a:srgbClr val="FFFFFF"/>
              </a:solidFill>
              <a:effectLst/>
              <a:uLnTx/>
              <a:uFillTx/>
              <a:latin typeface="Santander Text" panose="020B05040202010201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700" b="0" i="1" u="none" strike="noStrike" kern="1200" cap="none" spc="0" normalizeH="0" baseline="0" noProof="0">
                <a:ln>
                  <a:noFill/>
                </a:ln>
                <a:solidFill>
                  <a:prstClr val="white"/>
                </a:solidFill>
                <a:effectLst/>
                <a:uLnTx/>
                <a:uFillTx/>
                <a:latin typeface="Santander Text" panose="020B0504020201020104"/>
                <a:ea typeface="+mn-ea"/>
                <a:cs typeface="+mn-cs"/>
              </a:rPr>
              <a:t>Adapted to the software development lifecycle and integrate </a:t>
            </a:r>
            <a:r>
              <a:rPr kumimoji="0" lang="en-GB" sz="700" b="0" i="1" u="none" strike="noStrike" kern="1200" cap="none" spc="0" normalizeH="0" baseline="0" noProof="0" err="1">
                <a:ln>
                  <a:noFill/>
                </a:ln>
                <a:solidFill>
                  <a:prstClr val="white"/>
                </a:solidFill>
                <a:effectLst/>
                <a:uLnTx/>
                <a:uFillTx/>
                <a:latin typeface="Santander Text" panose="020B0504020201020104"/>
                <a:ea typeface="+mn-ea"/>
                <a:cs typeface="+mn-cs"/>
              </a:rPr>
              <a:t>DevSecOps</a:t>
            </a:r>
            <a:r>
              <a:rPr kumimoji="0" lang="en-GB" sz="700" b="0" i="1" u="none" strike="noStrike" kern="1200" cap="none" spc="0" normalizeH="0" baseline="0" noProof="0">
                <a:ln>
                  <a:noFill/>
                </a:ln>
                <a:solidFill>
                  <a:prstClr val="white"/>
                </a:solidFill>
                <a:effectLst/>
                <a:uLnTx/>
                <a:uFillTx/>
                <a:latin typeface="Santander Text" panose="020B0504020201020104"/>
                <a:ea typeface="+mn-ea"/>
                <a:cs typeface="+mn-cs"/>
              </a:rPr>
              <a:t> tools to enhance security and efficiency throughout the process.</a:t>
            </a:r>
          </a:p>
        </p:txBody>
      </p:sp>
      <p:sp>
        <p:nvSpPr>
          <p:cNvPr id="7" name="Arrow: Right 1054">
            <a:extLst>
              <a:ext uri="{FF2B5EF4-FFF2-40B4-BE49-F238E27FC236}">
                <a16:creationId xmlns:a16="http://schemas.microsoft.com/office/drawing/2014/main" id="{EA825A23-8786-7E87-51D0-C7F7FF636214}"/>
              </a:ext>
            </a:extLst>
          </p:cNvPr>
          <p:cNvSpPr/>
          <p:nvPr/>
        </p:nvSpPr>
        <p:spPr>
          <a:xfrm rot="16200000">
            <a:off x="5113558" y="5244710"/>
            <a:ext cx="288000" cy="226800"/>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antander Text" panose="020B0504020201020104"/>
              <a:ea typeface="+mn-ea"/>
              <a:cs typeface="+mn-cs"/>
            </a:endParaRPr>
          </a:p>
        </p:txBody>
      </p:sp>
      <p:sp>
        <p:nvSpPr>
          <p:cNvPr id="8" name="Rectangle: Rounded Corners 7">
            <a:extLst>
              <a:ext uri="{FF2B5EF4-FFF2-40B4-BE49-F238E27FC236}">
                <a16:creationId xmlns:a16="http://schemas.microsoft.com/office/drawing/2014/main" id="{792D425E-8AC2-EA62-13AD-D9BDAA1CAEE5}"/>
              </a:ext>
            </a:extLst>
          </p:cNvPr>
          <p:cNvSpPr/>
          <p:nvPr/>
        </p:nvSpPr>
        <p:spPr>
          <a:xfrm>
            <a:off x="147573" y="5626170"/>
            <a:ext cx="1270000" cy="852783"/>
          </a:xfrm>
          <a:prstGeom prst="roundRect">
            <a:avLst>
              <a:gd name="adj" fmla="val 7342"/>
            </a:avLst>
          </a:prstGeom>
          <a:solidFill>
            <a:srgbClr val="C00000">
              <a:alpha val="31000"/>
            </a:srgbClr>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   </a:t>
            </a:r>
            <a:r>
              <a:rPr kumimoji="0" lang="en-GB" sz="1200" b="1" i="0" u="none" strike="noStrike" kern="1200" cap="none" spc="0" normalizeH="0" baseline="0" noProof="0">
                <a:ln>
                  <a:noFill/>
                </a:ln>
                <a:solidFill>
                  <a:srgbClr val="EC0000"/>
                </a:solidFill>
                <a:effectLst/>
                <a:uLnTx/>
                <a:uFillTx/>
                <a:latin typeface="Santander Text" panose="020B0504020201020104"/>
                <a:ea typeface="Calibri" panose="020F0502020204030204" pitchFamily="34" charset="0"/>
                <a:cs typeface="Calibri" panose="020F0502020204030204" pitchFamily="34" charset="0"/>
              </a:rPr>
              <a:t>CDAIO Doma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Defines technology, operation and how to connect to the company capabilities</a:t>
            </a:r>
          </a:p>
        </p:txBody>
      </p:sp>
      <p:pic>
        <p:nvPicPr>
          <p:cNvPr id="10" name="Picture 9">
            <a:extLst>
              <a:ext uri="{FF2B5EF4-FFF2-40B4-BE49-F238E27FC236}">
                <a16:creationId xmlns:a16="http://schemas.microsoft.com/office/drawing/2014/main" id="{276E7EA1-B470-450A-0067-A1B881A404C7}"/>
              </a:ext>
            </a:extLst>
          </p:cNvPr>
          <p:cNvPicPr>
            <a:picLocks noChangeAspect="1"/>
          </p:cNvPicPr>
          <p:nvPr/>
        </p:nvPicPr>
        <p:blipFill>
          <a:blip r:embed="rId5"/>
          <a:srcRect l="-1" t="-6178" r="89155"/>
          <a:stretch>
            <a:fillRect/>
          </a:stretch>
        </p:blipFill>
        <p:spPr>
          <a:xfrm flipH="1">
            <a:off x="164009" y="5696455"/>
            <a:ext cx="167589" cy="266065"/>
          </a:xfrm>
          <a:prstGeom prst="rect">
            <a:avLst/>
          </a:prstGeom>
          <a:noFill/>
        </p:spPr>
      </p:pic>
      <p:sp>
        <p:nvSpPr>
          <p:cNvPr id="1152" name="Rectangle 1023">
            <a:extLst>
              <a:ext uri="{FF2B5EF4-FFF2-40B4-BE49-F238E27FC236}">
                <a16:creationId xmlns:a16="http://schemas.microsoft.com/office/drawing/2014/main" id="{FFB5A749-396E-07FD-1C08-B52E8D88DE25}"/>
              </a:ext>
            </a:extLst>
          </p:cNvPr>
          <p:cNvSpPr/>
          <p:nvPr/>
        </p:nvSpPr>
        <p:spPr>
          <a:xfrm>
            <a:off x="3995497" y="5607740"/>
            <a:ext cx="2124000" cy="897851"/>
          </a:xfrm>
          <a:prstGeom prst="rect">
            <a:avLst/>
          </a:prstGeom>
          <a:solidFill>
            <a:srgbClr val="C00000">
              <a:alpha val="31000"/>
            </a:srgb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Platform &amp; Infrastructure</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700" b="0" i="1" u="none" strike="noStrike" kern="1200" cap="none" spc="0" normalizeH="0" baseline="0" noProof="0">
                <a:ln>
                  <a:noFill/>
                </a:ln>
                <a:solidFill>
                  <a:prstClr val="white"/>
                </a:solidFill>
                <a:effectLst/>
                <a:uLnTx/>
                <a:uFillTx/>
                <a:latin typeface="Santander Text" panose="020B0504020201020104"/>
                <a:ea typeface="+mn-ea"/>
                <a:cs typeface="+mn-cs"/>
              </a:rPr>
              <a:t>Adapted to any cloud or platform via Blueprints. Auto-Scaling, resilience achieved using standards and company compliance.</a:t>
            </a:r>
          </a:p>
        </p:txBody>
      </p:sp>
      <p:sp>
        <p:nvSpPr>
          <p:cNvPr id="2" name="TextBox 1">
            <a:extLst>
              <a:ext uri="{FF2B5EF4-FFF2-40B4-BE49-F238E27FC236}">
                <a16:creationId xmlns:a16="http://schemas.microsoft.com/office/drawing/2014/main" id="{5D212218-7BBE-B987-8E05-9E2514F2C839}"/>
              </a:ext>
            </a:extLst>
          </p:cNvPr>
          <p:cNvSpPr txBox="1"/>
          <p:nvPr/>
        </p:nvSpPr>
        <p:spPr>
          <a:xfrm rot="1149828">
            <a:off x="10766862" y="575933"/>
            <a:ext cx="1395901" cy="276999"/>
          </a:xfrm>
          <a:prstGeom prst="rect">
            <a:avLst/>
          </a:prstGeom>
          <a:solidFill>
            <a:srgbClr val="FFFF00"/>
          </a:solidFill>
        </p:spPr>
        <p:txBody>
          <a:bodyPr wrap="square">
            <a:spAutoFit/>
          </a:bodyPr>
          <a:lstStyle/>
          <a:p>
            <a:r>
              <a:rPr lang="es-ES" sz="1200" b="1" dirty="0"/>
              <a:t>WORKING DRAFT</a:t>
            </a:r>
          </a:p>
        </p:txBody>
      </p:sp>
    </p:spTree>
    <p:extLst>
      <p:ext uri="{BB962C8B-B14F-4D97-AF65-F5344CB8AC3E}">
        <p14:creationId xmlns:p14="http://schemas.microsoft.com/office/powerpoint/2010/main" val="5652445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F96D77-4326-AA81-3157-36F5D2C49E4B}"/>
            </a:ext>
          </a:extLst>
        </p:cNvPr>
        <p:cNvGrpSpPr/>
        <p:nvPr/>
      </p:nvGrpSpPr>
      <p:grpSpPr>
        <a:xfrm>
          <a:off x="0" y="0"/>
          <a:ext cx="0" cy="0"/>
          <a:chOff x="0" y="0"/>
          <a:chExt cx="0" cy="0"/>
        </a:xfrm>
      </p:grpSpPr>
      <p:sp>
        <p:nvSpPr>
          <p:cNvPr id="1106" name="Rectangle 1029">
            <a:extLst>
              <a:ext uri="{FF2B5EF4-FFF2-40B4-BE49-F238E27FC236}">
                <a16:creationId xmlns:a16="http://schemas.microsoft.com/office/drawing/2014/main" id="{75AA8E7C-D668-D376-756D-CFFF2791801F}"/>
              </a:ext>
            </a:extLst>
          </p:cNvPr>
          <p:cNvSpPr/>
          <p:nvPr/>
        </p:nvSpPr>
        <p:spPr>
          <a:xfrm>
            <a:off x="3461007" y="926938"/>
            <a:ext cx="3767576" cy="4356000"/>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EC0000"/>
                </a:solidFill>
                <a:effectLst/>
                <a:uLnTx/>
                <a:uFillTx/>
                <a:latin typeface="Santander Text" panose="020B0504020201020104"/>
                <a:ea typeface="Calibri" panose="020F0502020204030204" pitchFamily="34" charset="0"/>
                <a:cs typeface="Calibri" panose="020F0502020204030204" pitchFamily="34" charset="0"/>
              </a:rPr>
              <a:t>Agentic Platform – Agency Core</a:t>
            </a:r>
          </a:p>
        </p:txBody>
      </p:sp>
      <p:sp>
        <p:nvSpPr>
          <p:cNvPr id="1107" name="Rectangle 188">
            <a:extLst>
              <a:ext uri="{FF2B5EF4-FFF2-40B4-BE49-F238E27FC236}">
                <a16:creationId xmlns:a16="http://schemas.microsoft.com/office/drawing/2014/main" id="{3271B045-98FB-AD15-52F8-AE4A86EE7EBF}"/>
              </a:ext>
            </a:extLst>
          </p:cNvPr>
          <p:cNvSpPr/>
          <p:nvPr/>
        </p:nvSpPr>
        <p:spPr>
          <a:xfrm>
            <a:off x="3603629" y="1216698"/>
            <a:ext cx="1678187" cy="4010560"/>
          </a:xfrm>
          <a:prstGeom prst="rect">
            <a:avLst/>
          </a:prstGeom>
          <a:solidFill>
            <a:srgbClr val="C00000">
              <a:alpha val="31000"/>
            </a:srgb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Agentic Engine Layer</a:t>
            </a:r>
          </a:p>
        </p:txBody>
      </p:sp>
      <p:sp>
        <p:nvSpPr>
          <p:cNvPr id="1175" name="Rectangle 188">
            <a:extLst>
              <a:ext uri="{FF2B5EF4-FFF2-40B4-BE49-F238E27FC236}">
                <a16:creationId xmlns:a16="http://schemas.microsoft.com/office/drawing/2014/main" id="{1844B5C7-3158-9B7F-64D0-9E527F3F507A}"/>
              </a:ext>
            </a:extLst>
          </p:cNvPr>
          <p:cNvSpPr/>
          <p:nvPr/>
        </p:nvSpPr>
        <p:spPr>
          <a:xfrm>
            <a:off x="5312513" y="1216698"/>
            <a:ext cx="1759782" cy="4010560"/>
          </a:xfrm>
          <a:prstGeom prst="rect">
            <a:avLst/>
          </a:prstGeom>
          <a:solidFill>
            <a:srgbClr val="C00000">
              <a:alpha val="31000"/>
            </a:srgb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Interoperability &amp; Control Layer</a:t>
            </a:r>
          </a:p>
        </p:txBody>
      </p:sp>
      <p:sp>
        <p:nvSpPr>
          <p:cNvPr id="23" name="Rectángulo 3174">
            <a:extLst>
              <a:ext uri="{FF2B5EF4-FFF2-40B4-BE49-F238E27FC236}">
                <a16:creationId xmlns:a16="http://schemas.microsoft.com/office/drawing/2014/main" id="{512485FB-2AB3-E893-D689-568A7467E821}"/>
              </a:ext>
            </a:extLst>
          </p:cNvPr>
          <p:cNvSpPr/>
          <p:nvPr/>
        </p:nvSpPr>
        <p:spPr>
          <a:xfrm>
            <a:off x="5388344" y="4503759"/>
            <a:ext cx="1647007" cy="673886"/>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Agency Ecosystem Interface</a:t>
            </a:r>
          </a:p>
        </p:txBody>
      </p:sp>
      <p:sp>
        <p:nvSpPr>
          <p:cNvPr id="17" name="Rectángulo 3174">
            <a:extLst>
              <a:ext uri="{FF2B5EF4-FFF2-40B4-BE49-F238E27FC236}">
                <a16:creationId xmlns:a16="http://schemas.microsoft.com/office/drawing/2014/main" id="{D7448D08-F584-8818-C843-5F1F8D99E6CE}"/>
              </a:ext>
            </a:extLst>
          </p:cNvPr>
          <p:cNvSpPr/>
          <p:nvPr/>
        </p:nvSpPr>
        <p:spPr>
          <a:xfrm>
            <a:off x="5388344" y="3835559"/>
            <a:ext cx="1647007" cy="612000"/>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Tool  Ecosystem Interface</a:t>
            </a:r>
          </a:p>
        </p:txBody>
      </p:sp>
      <p:sp>
        <p:nvSpPr>
          <p:cNvPr id="16" name="Rectángulo 3174">
            <a:extLst>
              <a:ext uri="{FF2B5EF4-FFF2-40B4-BE49-F238E27FC236}">
                <a16:creationId xmlns:a16="http://schemas.microsoft.com/office/drawing/2014/main" id="{A7D1C49A-BC0F-0736-A61B-23F838FF6F0F}"/>
              </a:ext>
            </a:extLst>
          </p:cNvPr>
          <p:cNvSpPr/>
          <p:nvPr/>
        </p:nvSpPr>
        <p:spPr>
          <a:xfrm>
            <a:off x="5383719" y="1627878"/>
            <a:ext cx="1646369" cy="1008000"/>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Model Ecosystem Interface</a:t>
            </a:r>
          </a:p>
        </p:txBody>
      </p:sp>
      <p:sp>
        <p:nvSpPr>
          <p:cNvPr id="12" name="Rectángulo 3174">
            <a:extLst>
              <a:ext uri="{FF2B5EF4-FFF2-40B4-BE49-F238E27FC236}">
                <a16:creationId xmlns:a16="http://schemas.microsoft.com/office/drawing/2014/main" id="{24504FC4-6C03-4839-15AB-2B6E6A2C72C4}"/>
              </a:ext>
            </a:extLst>
          </p:cNvPr>
          <p:cNvSpPr/>
          <p:nvPr/>
        </p:nvSpPr>
        <p:spPr>
          <a:xfrm>
            <a:off x="5378055" y="2668894"/>
            <a:ext cx="1652033" cy="1116000"/>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Memory &amp; Knowledge Ecosystem Interface</a:t>
            </a:r>
          </a:p>
        </p:txBody>
      </p:sp>
      <p:sp>
        <p:nvSpPr>
          <p:cNvPr id="1105" name="Rectangle 1029">
            <a:extLst>
              <a:ext uri="{FF2B5EF4-FFF2-40B4-BE49-F238E27FC236}">
                <a16:creationId xmlns:a16="http://schemas.microsoft.com/office/drawing/2014/main" id="{DD91CF29-5055-A1EF-BF93-2737B0DFD2F9}"/>
              </a:ext>
            </a:extLst>
          </p:cNvPr>
          <p:cNvSpPr/>
          <p:nvPr/>
        </p:nvSpPr>
        <p:spPr>
          <a:xfrm>
            <a:off x="7285657" y="1416881"/>
            <a:ext cx="3982747" cy="3875416"/>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EC0000"/>
                </a:solidFill>
                <a:effectLst/>
                <a:uLnTx/>
                <a:uFillTx/>
                <a:latin typeface="Santander Text" panose="020B0504020201020104"/>
                <a:ea typeface="Calibri" panose="020F0502020204030204" pitchFamily="34" charset="0"/>
                <a:cs typeface="Calibri" panose="020F0502020204030204" pitchFamily="34" charset="0"/>
              </a:rPr>
              <a:t>     </a:t>
            </a:r>
            <a:r>
              <a:rPr kumimoji="0" lang="en-GB" sz="1200" b="1" i="0" u="none" strike="noStrike" kern="1200" cap="none" spc="0" normalizeH="0" baseline="0" noProof="0" err="1">
                <a:ln>
                  <a:noFill/>
                </a:ln>
                <a:solidFill>
                  <a:srgbClr val="EC0000"/>
                </a:solidFill>
                <a:effectLst/>
                <a:uLnTx/>
                <a:uFillTx/>
                <a:latin typeface="Santander Text" panose="020B0504020201020104"/>
                <a:ea typeface="Calibri" panose="020F0502020204030204" pitchFamily="34" charset="0"/>
                <a:cs typeface="Calibri" panose="020F0502020204030204" pitchFamily="34" charset="0"/>
              </a:rPr>
              <a:t>Capabilites</a:t>
            </a:r>
            <a:endParaRPr kumimoji="0" lang="en-GB" sz="1200" b="1" i="0" u="none" strike="noStrike" kern="1200" cap="none" spc="0" normalizeH="0" baseline="0" noProof="0">
              <a:ln>
                <a:noFill/>
              </a:ln>
              <a:solidFill>
                <a:srgbClr val="EC0000"/>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109" name="Rectángulo 22">
            <a:extLst>
              <a:ext uri="{FF2B5EF4-FFF2-40B4-BE49-F238E27FC236}">
                <a16:creationId xmlns:a16="http://schemas.microsoft.com/office/drawing/2014/main" id="{EE09B150-736A-E2E3-1CAA-480AFFE14957}"/>
              </a:ext>
            </a:extLst>
          </p:cNvPr>
          <p:cNvSpPr/>
          <p:nvPr/>
        </p:nvSpPr>
        <p:spPr>
          <a:xfrm>
            <a:off x="7391707" y="1741241"/>
            <a:ext cx="3744000" cy="3472868"/>
          </a:xfrm>
          <a:prstGeom prst="rect">
            <a:avLst/>
          </a:prstGeom>
          <a:solidFill>
            <a:srgbClr val="C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25400" rIns="25400" bIns="25400" numCol="1" spcCol="3810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sym typeface="Helvetica Neue Medium"/>
              </a:rPr>
              <a:t>Santander Business Domains</a:t>
            </a:r>
          </a:p>
        </p:txBody>
      </p:sp>
      <p:sp>
        <p:nvSpPr>
          <p:cNvPr id="28" name="Rectángulo 3174">
            <a:extLst>
              <a:ext uri="{FF2B5EF4-FFF2-40B4-BE49-F238E27FC236}">
                <a16:creationId xmlns:a16="http://schemas.microsoft.com/office/drawing/2014/main" id="{6E0E40EF-4D51-4EA9-06EE-1298057AC0A6}"/>
              </a:ext>
            </a:extLst>
          </p:cNvPr>
          <p:cNvSpPr/>
          <p:nvPr/>
        </p:nvSpPr>
        <p:spPr>
          <a:xfrm>
            <a:off x="7598125" y="2049930"/>
            <a:ext cx="3348000" cy="2965799"/>
          </a:xfrm>
          <a:prstGeom prst="rect">
            <a:avLst/>
          </a:prstGeom>
          <a:solidFill>
            <a:schemeClr val="bg1"/>
          </a:solidFill>
          <a:ln w="12700" cap="flat">
            <a:solidFill>
              <a:srgbClr val="C00000"/>
            </a:solidFill>
            <a:prstDash val="solid"/>
            <a:miter lim="400000"/>
            <a:extLst>
              <a:ext uri="{C807C97D-BFC1-408E-A445-0C87EB9F89A2}">
                <ask:lineSketchStyleProps xmlns:ask="http://schemas.microsoft.com/office/drawing/2018/sketchyshapes">
                  <ask:type>
                    <ask:lineSketchNone/>
                  </ask:type>
                </ask:lineSketchStyleProps>
              </a:ext>
            </a:extLst>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sym typeface="Helvetica Neue Medium"/>
              </a:rPr>
              <a:t>Business Backend Capabilities</a:t>
            </a:r>
          </a:p>
        </p:txBody>
      </p:sp>
      <p:sp>
        <p:nvSpPr>
          <p:cNvPr id="1110" name="Rectangle 1109">
            <a:extLst>
              <a:ext uri="{FF2B5EF4-FFF2-40B4-BE49-F238E27FC236}">
                <a16:creationId xmlns:a16="http://schemas.microsoft.com/office/drawing/2014/main" id="{F8B388EA-5BB9-ABEC-DD20-7D1C6A7402DA}"/>
              </a:ext>
            </a:extLst>
          </p:cNvPr>
          <p:cNvSpPr/>
          <p:nvPr/>
        </p:nvSpPr>
        <p:spPr>
          <a:xfrm>
            <a:off x="1507518" y="926939"/>
            <a:ext cx="1877995" cy="4356000"/>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108000" tIns="36000" r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0000"/>
                </a:solidFill>
                <a:effectLst/>
                <a:uLnTx/>
                <a:uFillTx/>
                <a:latin typeface="Santander Text" panose="020B0504020201020104"/>
                <a:ea typeface="Calibri" panose="020F0502020204030204" pitchFamily="34" charset="0"/>
                <a:cs typeface="Calibri" panose="020F0502020204030204" pitchFamily="34" charset="0"/>
              </a:rPr>
              <a:t>    Front-ends &amp; Interaction</a:t>
            </a:r>
          </a:p>
          <a:p>
            <a:pPr marL="177800" marR="0" lvl="0" indent="0" algn="l" defTabSz="914400" rtl="0" eaLnBrk="1" fontAlgn="auto" latinLnBrk="0" hangingPunct="1">
              <a:lnSpc>
                <a:spcPct val="100000"/>
              </a:lnSpc>
              <a:spcBef>
                <a:spcPts val="0"/>
              </a:spcBef>
              <a:spcAft>
                <a:spcPts val="0"/>
              </a:spcAft>
              <a:buClrTx/>
              <a:buSzTx/>
              <a:buFontTx/>
              <a:buNone/>
              <a:tabLst/>
              <a:defRPr/>
            </a:pPr>
            <a:r>
              <a:rPr kumimoji="0" lang="en-GB" sz="700" b="0" i="1" u="none" strike="noStrike" kern="1200" cap="none" spc="0" normalizeH="0" baseline="0" noProof="0">
                <a:ln>
                  <a:noFill/>
                </a:ln>
                <a:solidFill>
                  <a:prstClr val="black"/>
                </a:solidFill>
                <a:effectLst/>
                <a:uLnTx/>
                <a:uFillTx/>
                <a:latin typeface="Santander Text" panose="020B0504020201020104"/>
                <a:ea typeface="+mn-ea"/>
                <a:cs typeface="+mn-cs"/>
              </a:rPr>
              <a:t>Various Sources of Interaction with the Agent Platform</a:t>
            </a:r>
          </a:p>
        </p:txBody>
      </p:sp>
      <p:sp>
        <p:nvSpPr>
          <p:cNvPr id="14" name="Rectángulo 3174">
            <a:extLst>
              <a:ext uri="{FF2B5EF4-FFF2-40B4-BE49-F238E27FC236}">
                <a16:creationId xmlns:a16="http://schemas.microsoft.com/office/drawing/2014/main" id="{34213F40-9875-DE74-918E-C150BA22CC1C}"/>
              </a:ext>
            </a:extLst>
          </p:cNvPr>
          <p:cNvSpPr/>
          <p:nvPr/>
        </p:nvSpPr>
        <p:spPr>
          <a:xfrm>
            <a:off x="1763896" y="1489988"/>
            <a:ext cx="1490693" cy="3671253"/>
          </a:xfrm>
          <a:prstGeom prst="rect">
            <a:avLst/>
          </a:prstGeom>
          <a:solidFill>
            <a:schemeClr val="bg1"/>
          </a:solidFill>
          <a:ln w="12700" cap="flat">
            <a:solidFill>
              <a:srgbClr val="C00000"/>
            </a:solidFill>
            <a:prstDash val="solid"/>
            <a:miter lim="400000"/>
            <a:extLst>
              <a:ext uri="{C807C97D-BFC1-408E-A445-0C87EB9F89A2}">
                <ask:lineSketchStyleProps xmlns:ask="http://schemas.microsoft.com/office/drawing/2018/sketchyshapes">
                  <ask:type>
                    <ask:lineSketchNone/>
                  </ask:type>
                </ask:lineSketchStyleProps>
              </a:ext>
            </a:extLst>
          </a:ln>
          <a:effectLst/>
          <a:sp3d/>
        </p:spPr>
        <p:style>
          <a:lnRef idx="0">
            <a:scrgbClr r="0" g="0" b="0"/>
          </a:lnRef>
          <a:fillRef idx="0">
            <a:scrgbClr r="0" g="0" b="0"/>
          </a:fillRef>
          <a:effectRef idx="0">
            <a:scrgbClr r="0" g="0" b="0"/>
          </a:effectRef>
          <a:fontRef idx="none"/>
        </p:style>
        <p:txBody>
          <a:bodyPr rot="0" spcFirstLastPara="1" vert="horz" wrap="square" lIns="36000" tIns="0" rIns="36000" bIns="0" numCol="1" spcCol="38100" rtlCol="0" anchor="t">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sym typeface="Helvetica Neue Medium"/>
              </a:rPr>
              <a:t>Business Domains</a:t>
            </a:r>
          </a:p>
        </p:txBody>
      </p:sp>
      <p:sp>
        <p:nvSpPr>
          <p:cNvPr id="18" name="Title 6">
            <a:extLst>
              <a:ext uri="{FF2B5EF4-FFF2-40B4-BE49-F238E27FC236}">
                <a16:creationId xmlns:a16="http://schemas.microsoft.com/office/drawing/2014/main" id="{B993F664-1524-774A-D5EC-B551DC7FAD30}"/>
              </a:ext>
            </a:extLst>
          </p:cNvPr>
          <p:cNvSpPr txBox="1">
            <a:spLocks/>
          </p:cNvSpPr>
          <p:nvPr/>
        </p:nvSpPr>
        <p:spPr>
          <a:xfrm>
            <a:off x="143689" y="89916"/>
            <a:ext cx="11470166" cy="53339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GB" sz="2000" dirty="0">
                <a:solidFill>
                  <a:srgbClr val="F14949"/>
                </a:solidFill>
                <a:latin typeface="Santander Headline" panose="020B0504020201020104"/>
              </a:rPr>
              <a:t>Agentic Architecture Overview</a:t>
            </a:r>
          </a:p>
        </p:txBody>
      </p:sp>
      <p:sp>
        <p:nvSpPr>
          <p:cNvPr id="1111" name="Rectangle 1110">
            <a:extLst>
              <a:ext uri="{FF2B5EF4-FFF2-40B4-BE49-F238E27FC236}">
                <a16:creationId xmlns:a16="http://schemas.microsoft.com/office/drawing/2014/main" id="{FAD2BAFF-02B0-C846-E7C2-9C6BC254B624}"/>
              </a:ext>
            </a:extLst>
          </p:cNvPr>
          <p:cNvSpPr/>
          <p:nvPr/>
        </p:nvSpPr>
        <p:spPr>
          <a:xfrm>
            <a:off x="1871392" y="3203917"/>
            <a:ext cx="1260000" cy="1323521"/>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t"/>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Flow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1" u="none" strike="noStrike" kern="1200" cap="none" spc="0" normalizeH="0" baseline="0" noProof="0">
                <a:ln>
                  <a:noFill/>
                </a:ln>
                <a:solidFill>
                  <a:prstClr val="white"/>
                </a:solidFill>
                <a:effectLst/>
                <a:uLnTx/>
                <a:uFillTx/>
                <a:latin typeface="Santander Text" panose="020B0504020201020104"/>
                <a:ea typeface="+mn-ea"/>
                <a:cs typeface="+mn-cs"/>
              </a:rPr>
              <a:t>Real-world enterprise processes —such as card dispute reconciliation, contract compliance review, or wealth management— require persistent agents capable of multi-step planning, tool use, and asynchronous execu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Santander Text" panose="020B0504020201020104"/>
              <a:ea typeface="+mn-ea"/>
              <a:cs typeface="+mn-cs"/>
            </a:endParaRPr>
          </a:p>
        </p:txBody>
      </p:sp>
      <p:sp>
        <p:nvSpPr>
          <p:cNvPr id="1112" name="Rectangle 188">
            <a:extLst>
              <a:ext uri="{FF2B5EF4-FFF2-40B4-BE49-F238E27FC236}">
                <a16:creationId xmlns:a16="http://schemas.microsoft.com/office/drawing/2014/main" id="{8E81FF8B-527A-2DB4-20EC-5CA7D7222451}"/>
              </a:ext>
            </a:extLst>
          </p:cNvPr>
          <p:cNvSpPr/>
          <p:nvPr/>
        </p:nvSpPr>
        <p:spPr>
          <a:xfrm>
            <a:off x="1871392" y="4638656"/>
            <a:ext cx="1260000" cy="413123"/>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Business Apps</a:t>
            </a:r>
          </a:p>
        </p:txBody>
      </p:sp>
      <p:sp>
        <p:nvSpPr>
          <p:cNvPr id="1147" name="Rectangle 1029">
            <a:extLst>
              <a:ext uri="{FF2B5EF4-FFF2-40B4-BE49-F238E27FC236}">
                <a16:creationId xmlns:a16="http://schemas.microsoft.com/office/drawing/2014/main" id="{E77F0BC9-17DF-863D-A820-CC52119B86E4}"/>
              </a:ext>
            </a:extLst>
          </p:cNvPr>
          <p:cNvSpPr/>
          <p:nvPr/>
        </p:nvSpPr>
        <p:spPr>
          <a:xfrm>
            <a:off x="1507518" y="5359658"/>
            <a:ext cx="9760886" cy="1195495"/>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EC0000"/>
                </a:solidFill>
                <a:effectLst/>
                <a:uLnTx/>
                <a:uFillTx/>
                <a:latin typeface="Santander Text" panose="020B0504020201020104"/>
                <a:ea typeface="Calibri" panose="020F0502020204030204" pitchFamily="34" charset="0"/>
                <a:cs typeface="Calibri" panose="020F0502020204030204" pitchFamily="34" charset="0"/>
              </a:rPr>
              <a:t>      Platform Ope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148" name="Rectangle 188">
            <a:extLst>
              <a:ext uri="{FF2B5EF4-FFF2-40B4-BE49-F238E27FC236}">
                <a16:creationId xmlns:a16="http://schemas.microsoft.com/office/drawing/2014/main" id="{839BB353-6EB3-F97F-2CB6-EFDA69E1E27F}"/>
              </a:ext>
            </a:extLst>
          </p:cNvPr>
          <p:cNvSpPr/>
          <p:nvPr/>
        </p:nvSpPr>
        <p:spPr>
          <a:xfrm>
            <a:off x="1871392" y="1682263"/>
            <a:ext cx="1260000" cy="396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Digital Channe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1" u="none" strike="noStrike" kern="1200" cap="none" spc="0" normalizeH="0" baseline="0" noProof="0">
                <a:ln>
                  <a:noFill/>
                </a:ln>
                <a:solidFill>
                  <a:prstClr val="white"/>
                </a:solidFill>
                <a:effectLst/>
                <a:uLnTx/>
                <a:uFillTx/>
                <a:latin typeface="Santander Text" panose="020B0504020201020104"/>
                <a:ea typeface="+mn-ea"/>
                <a:cs typeface="+mn-cs"/>
              </a:rPr>
              <a:t>Web  / Mobile / Chat</a:t>
            </a:r>
          </a:p>
        </p:txBody>
      </p:sp>
      <p:sp>
        <p:nvSpPr>
          <p:cNvPr id="1152" name="Rectangle 1023">
            <a:extLst>
              <a:ext uri="{FF2B5EF4-FFF2-40B4-BE49-F238E27FC236}">
                <a16:creationId xmlns:a16="http://schemas.microsoft.com/office/drawing/2014/main" id="{E5A69102-2DEF-AFB5-5BB3-8AF6BE0505C2}"/>
              </a:ext>
            </a:extLst>
          </p:cNvPr>
          <p:cNvSpPr/>
          <p:nvPr/>
        </p:nvSpPr>
        <p:spPr>
          <a:xfrm>
            <a:off x="3995497" y="5607740"/>
            <a:ext cx="2124000" cy="897851"/>
          </a:xfrm>
          <a:prstGeom prst="rect">
            <a:avLst/>
          </a:prstGeom>
          <a:solidFill>
            <a:srgbClr val="C00000">
              <a:alpha val="31000"/>
            </a:srgb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Platform &amp; Infrastructure</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700" b="0" i="1" u="none" strike="noStrike" kern="1200" cap="none" spc="0" normalizeH="0" baseline="0" noProof="0">
                <a:ln>
                  <a:noFill/>
                </a:ln>
                <a:solidFill>
                  <a:prstClr val="white"/>
                </a:solidFill>
                <a:effectLst/>
                <a:uLnTx/>
                <a:uFillTx/>
                <a:latin typeface="Santander Text" panose="020B0504020201020104"/>
                <a:ea typeface="+mn-ea"/>
                <a:cs typeface="+mn-cs"/>
              </a:rPr>
              <a:t>Adapted to any cloud or platform via Blueprints. Auto-Scaling, resilience achieved using standards and company compliance.</a:t>
            </a:r>
          </a:p>
        </p:txBody>
      </p:sp>
      <p:sp>
        <p:nvSpPr>
          <p:cNvPr id="1154" name="Rectángulo 3174">
            <a:extLst>
              <a:ext uri="{FF2B5EF4-FFF2-40B4-BE49-F238E27FC236}">
                <a16:creationId xmlns:a16="http://schemas.microsoft.com/office/drawing/2014/main" id="{857DA6C6-DDD7-26EE-4344-BF7B979B29A7}"/>
              </a:ext>
            </a:extLst>
          </p:cNvPr>
          <p:cNvSpPr/>
          <p:nvPr/>
        </p:nvSpPr>
        <p:spPr>
          <a:xfrm>
            <a:off x="3694677" y="1636700"/>
            <a:ext cx="1538766" cy="2973584"/>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endParaRPr kumimoji="0" lang="en-GB"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endParaRPr>
          </a:p>
        </p:txBody>
      </p:sp>
      <p:sp>
        <p:nvSpPr>
          <p:cNvPr id="1158" name="Rectangle 188">
            <a:extLst>
              <a:ext uri="{FF2B5EF4-FFF2-40B4-BE49-F238E27FC236}">
                <a16:creationId xmlns:a16="http://schemas.microsoft.com/office/drawing/2014/main" id="{CEE424B6-ADD5-24D1-6F38-7503D558C190}"/>
              </a:ext>
            </a:extLst>
          </p:cNvPr>
          <p:cNvSpPr/>
          <p:nvPr/>
        </p:nvSpPr>
        <p:spPr>
          <a:xfrm>
            <a:off x="1871392" y="2189481"/>
            <a:ext cx="1260000" cy="396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Assisted Channe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1" u="none" strike="noStrike" kern="1200" cap="none" spc="0" normalizeH="0" baseline="0" noProof="0">
                <a:ln>
                  <a:noFill/>
                </a:ln>
                <a:solidFill>
                  <a:prstClr val="white"/>
                </a:solidFill>
                <a:effectLst/>
                <a:uLnTx/>
                <a:uFillTx/>
                <a:latin typeface="Santander Text" panose="020B0504020201020104"/>
                <a:ea typeface="+mn-ea"/>
                <a:cs typeface="+mn-cs"/>
              </a:rPr>
              <a:t>Contact </a:t>
            </a:r>
            <a:r>
              <a:rPr kumimoji="0" lang="en-GB" sz="700" b="0" i="1" u="none" strike="noStrike" kern="1200" cap="none" spc="0" normalizeH="0" baseline="0" noProof="0" err="1">
                <a:ln>
                  <a:noFill/>
                </a:ln>
                <a:solidFill>
                  <a:prstClr val="white"/>
                </a:solidFill>
                <a:effectLst/>
                <a:uLnTx/>
                <a:uFillTx/>
                <a:latin typeface="Santander Text" panose="020B0504020201020104"/>
                <a:ea typeface="+mn-ea"/>
                <a:cs typeface="+mn-cs"/>
              </a:rPr>
              <a:t>Center</a:t>
            </a:r>
            <a:r>
              <a:rPr kumimoji="0" lang="en-GB" sz="700" b="0" i="1" u="none" strike="noStrike" kern="1200" cap="none" spc="0" normalizeH="0" baseline="0" noProof="0">
                <a:ln>
                  <a:noFill/>
                </a:ln>
                <a:solidFill>
                  <a:prstClr val="white"/>
                </a:solidFill>
                <a:effectLst/>
                <a:uLnTx/>
                <a:uFillTx/>
                <a:latin typeface="Santander Text" panose="020B0504020201020104"/>
                <a:ea typeface="+mn-ea"/>
                <a:cs typeface="+mn-cs"/>
              </a:rPr>
              <a:t> / Branch</a:t>
            </a:r>
          </a:p>
        </p:txBody>
      </p:sp>
      <p:sp>
        <p:nvSpPr>
          <p:cNvPr id="1159" name="Rectangle 188">
            <a:extLst>
              <a:ext uri="{FF2B5EF4-FFF2-40B4-BE49-F238E27FC236}">
                <a16:creationId xmlns:a16="http://schemas.microsoft.com/office/drawing/2014/main" id="{E92FA59C-5C87-CDA2-9ABD-AC61CC1021D5}"/>
              </a:ext>
            </a:extLst>
          </p:cNvPr>
          <p:cNvSpPr/>
          <p:nvPr/>
        </p:nvSpPr>
        <p:spPr>
          <a:xfrm>
            <a:off x="1871392" y="2696699"/>
            <a:ext cx="1260000" cy="396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Corporate Apps</a:t>
            </a:r>
          </a:p>
        </p:txBody>
      </p:sp>
      <p:sp>
        <p:nvSpPr>
          <p:cNvPr id="1167" name="Rectangle 1023">
            <a:extLst>
              <a:ext uri="{FF2B5EF4-FFF2-40B4-BE49-F238E27FC236}">
                <a16:creationId xmlns:a16="http://schemas.microsoft.com/office/drawing/2014/main" id="{3F5A1169-97CB-AB7E-FA8D-7255120AF353}"/>
              </a:ext>
            </a:extLst>
          </p:cNvPr>
          <p:cNvSpPr/>
          <p:nvPr/>
        </p:nvSpPr>
        <p:spPr>
          <a:xfrm>
            <a:off x="4116923" y="4042318"/>
            <a:ext cx="1041172" cy="432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mn-ea"/>
                <a:cs typeface="+mn-cs"/>
              </a:rPr>
              <a:t>Configur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Inference parameters and security policies by environment.</a:t>
            </a:r>
          </a:p>
        </p:txBody>
      </p:sp>
      <p:sp>
        <p:nvSpPr>
          <p:cNvPr id="1168" name="Rectangle 1023">
            <a:extLst>
              <a:ext uri="{FF2B5EF4-FFF2-40B4-BE49-F238E27FC236}">
                <a16:creationId xmlns:a16="http://schemas.microsoft.com/office/drawing/2014/main" id="{A9052972-8ADD-2D1F-5AC8-CD0E5793EB1C}"/>
              </a:ext>
            </a:extLst>
          </p:cNvPr>
          <p:cNvSpPr/>
          <p:nvPr/>
        </p:nvSpPr>
        <p:spPr>
          <a:xfrm>
            <a:off x="4123286" y="2015625"/>
            <a:ext cx="1044000" cy="23376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mn-ea"/>
                <a:cs typeface="+mn-cs"/>
              </a:rPr>
              <a:t>Multi-Agents</a:t>
            </a:r>
          </a:p>
        </p:txBody>
      </p:sp>
      <p:sp>
        <p:nvSpPr>
          <p:cNvPr id="1169" name="Rectangle 1023">
            <a:extLst>
              <a:ext uri="{FF2B5EF4-FFF2-40B4-BE49-F238E27FC236}">
                <a16:creationId xmlns:a16="http://schemas.microsoft.com/office/drawing/2014/main" id="{F8939C3A-2343-2AEA-C6A7-B21750CBBC3D}"/>
              </a:ext>
            </a:extLst>
          </p:cNvPr>
          <p:cNvSpPr/>
          <p:nvPr/>
        </p:nvSpPr>
        <p:spPr>
          <a:xfrm>
            <a:off x="4123286" y="2309699"/>
            <a:ext cx="1044000" cy="32756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mn-ea"/>
                <a:cs typeface="+mn-cs"/>
              </a:rPr>
              <a:t>Blackboard</a:t>
            </a:r>
            <a:endParaRPr kumimoji="0" lang="en-GB" sz="600" b="1" i="0" u="none" strike="noStrike" kern="1200" cap="none" spc="0" normalizeH="0" baseline="0" noProof="0">
              <a:ln>
                <a:noFill/>
              </a:ln>
              <a:solidFill>
                <a:prstClr val="black"/>
              </a:solidFill>
              <a:effectLst/>
              <a:uLnTx/>
              <a:uFillTx/>
              <a:latin typeface="Santander Text" panose="020B05040202010201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Shared memory space for Multi-Agent collaboration.</a:t>
            </a:r>
          </a:p>
        </p:txBody>
      </p:sp>
      <p:sp>
        <p:nvSpPr>
          <p:cNvPr id="1170" name="Rectangle 1023">
            <a:extLst>
              <a:ext uri="{FF2B5EF4-FFF2-40B4-BE49-F238E27FC236}">
                <a16:creationId xmlns:a16="http://schemas.microsoft.com/office/drawing/2014/main" id="{14CB4E30-6693-6D88-85E0-16F320EBF7BF}"/>
              </a:ext>
            </a:extLst>
          </p:cNvPr>
          <p:cNvSpPr/>
          <p:nvPr/>
        </p:nvSpPr>
        <p:spPr>
          <a:xfrm>
            <a:off x="4123286" y="2697579"/>
            <a:ext cx="1044000" cy="24271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mn-ea"/>
                <a:cs typeface="+mn-cs"/>
              </a:rPr>
              <a:t>Agent Evalu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Feedback</a:t>
            </a:r>
          </a:p>
        </p:txBody>
      </p:sp>
      <p:sp>
        <p:nvSpPr>
          <p:cNvPr id="1171" name="Rectangle 1023">
            <a:extLst>
              <a:ext uri="{FF2B5EF4-FFF2-40B4-BE49-F238E27FC236}">
                <a16:creationId xmlns:a16="http://schemas.microsoft.com/office/drawing/2014/main" id="{32370714-1BEF-6C4F-C2CF-AE612CC0A562}"/>
              </a:ext>
            </a:extLst>
          </p:cNvPr>
          <p:cNvSpPr/>
          <p:nvPr/>
        </p:nvSpPr>
        <p:spPr>
          <a:xfrm rot="16200000">
            <a:off x="2551619" y="2992471"/>
            <a:ext cx="2731436" cy="22897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mn-ea"/>
                <a:cs typeface="+mn-cs"/>
              </a:rPr>
              <a:t>Agent Gatewa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Unified Entry Point for Orchestration.</a:t>
            </a:r>
          </a:p>
        </p:txBody>
      </p:sp>
      <p:sp>
        <p:nvSpPr>
          <p:cNvPr id="1172" name="Rectangle 1023">
            <a:extLst>
              <a:ext uri="{FF2B5EF4-FFF2-40B4-BE49-F238E27FC236}">
                <a16:creationId xmlns:a16="http://schemas.microsoft.com/office/drawing/2014/main" id="{0D1F8EE0-FD72-0C1F-9C5A-D0F53FAE34F0}"/>
              </a:ext>
            </a:extLst>
          </p:cNvPr>
          <p:cNvSpPr/>
          <p:nvPr/>
        </p:nvSpPr>
        <p:spPr>
          <a:xfrm>
            <a:off x="4123286" y="1746636"/>
            <a:ext cx="1044000" cy="20867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mn-ea"/>
                <a:cs typeface="+mn-cs"/>
              </a:rPr>
              <a:t>Agent Coordin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Planning configuration.</a:t>
            </a:r>
          </a:p>
        </p:txBody>
      </p:sp>
      <p:sp>
        <p:nvSpPr>
          <p:cNvPr id="1178" name="Rectangle 1023">
            <a:extLst>
              <a:ext uri="{FF2B5EF4-FFF2-40B4-BE49-F238E27FC236}">
                <a16:creationId xmlns:a16="http://schemas.microsoft.com/office/drawing/2014/main" id="{510F756F-B325-B587-A147-02976BDD063F}"/>
              </a:ext>
            </a:extLst>
          </p:cNvPr>
          <p:cNvSpPr/>
          <p:nvPr/>
        </p:nvSpPr>
        <p:spPr>
          <a:xfrm>
            <a:off x="5450268" y="4659930"/>
            <a:ext cx="1512000" cy="432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Agency Capabilities (A2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Allows this agency to send work to other agentic agencies, using events, RPC calls or other techniques.</a:t>
            </a:r>
          </a:p>
        </p:txBody>
      </p:sp>
      <p:sp>
        <p:nvSpPr>
          <p:cNvPr id="1179" name="Rectangle 1023">
            <a:extLst>
              <a:ext uri="{FF2B5EF4-FFF2-40B4-BE49-F238E27FC236}">
                <a16:creationId xmlns:a16="http://schemas.microsoft.com/office/drawing/2014/main" id="{A73E4AE9-D89E-8A5E-155A-C513F108A267}"/>
              </a:ext>
            </a:extLst>
          </p:cNvPr>
          <p:cNvSpPr/>
          <p:nvPr/>
        </p:nvSpPr>
        <p:spPr>
          <a:xfrm>
            <a:off x="5450268" y="3971849"/>
            <a:ext cx="1512000" cy="432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Tool Prox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Acts as gateway and control access to MCP tools, transform APIS into MCP tools and provides use control and monitoring.</a:t>
            </a:r>
          </a:p>
        </p:txBody>
      </p:sp>
      <p:sp>
        <p:nvSpPr>
          <p:cNvPr id="1180" name="Rectangle 1023">
            <a:extLst>
              <a:ext uri="{FF2B5EF4-FFF2-40B4-BE49-F238E27FC236}">
                <a16:creationId xmlns:a16="http://schemas.microsoft.com/office/drawing/2014/main" id="{64AD1676-60CE-703B-A605-11F653BC91B2}"/>
              </a:ext>
            </a:extLst>
          </p:cNvPr>
          <p:cNvSpPr/>
          <p:nvPr/>
        </p:nvSpPr>
        <p:spPr>
          <a:xfrm>
            <a:off x="5450268" y="3425481"/>
            <a:ext cx="1512000" cy="324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Knowledge Base</a:t>
            </a:r>
          </a:p>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500" b="0" i="1" u="none" strike="noStrike" kern="1200" cap="none" spc="0" normalizeH="0" baseline="0" noProof="0">
                <a:ln>
                  <a:noFill/>
                </a:ln>
                <a:solidFill>
                  <a:prstClr val="black"/>
                </a:solidFill>
                <a:effectLst/>
                <a:uLnTx/>
                <a:uFillTx/>
                <a:latin typeface="Santander Text" panose="020B0504020201020104"/>
                <a:ea typeface="+mn-ea"/>
                <a:cs typeface="+mn-cs"/>
              </a:rPr>
              <a:t>Hybrid RAG (Vector + Graph) business rules, operation manuals, etc.</a:t>
            </a:r>
            <a:endParaRPr kumimoji="0" lang="en-GB" sz="500" b="0" i="1"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181" name="Rectangle 1023">
            <a:extLst>
              <a:ext uri="{FF2B5EF4-FFF2-40B4-BE49-F238E27FC236}">
                <a16:creationId xmlns:a16="http://schemas.microsoft.com/office/drawing/2014/main" id="{A115F227-3624-77F3-9E73-F37F7983E9B6}"/>
              </a:ext>
            </a:extLst>
          </p:cNvPr>
          <p:cNvSpPr/>
          <p:nvPr/>
        </p:nvSpPr>
        <p:spPr>
          <a:xfrm>
            <a:off x="5450268" y="1761876"/>
            <a:ext cx="1512000" cy="468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Santander Text" panose="020B0504020201020104"/>
                <a:ea typeface="+mn-ea"/>
                <a:cs typeface="+mn-cs"/>
              </a:rPr>
              <a:t>LLM Gateway</a:t>
            </a:r>
            <a:endParaRPr kumimoji="0" lang="en-GB" sz="800" b="0" i="0" u="none" strike="noStrike" kern="1200" cap="none" spc="0" normalizeH="0" baseline="0" noProof="0">
              <a:ln>
                <a:noFill/>
              </a:ln>
              <a:solidFill>
                <a:srgbClr val="000000"/>
              </a:solidFill>
              <a:effectLst/>
              <a:uLnTx/>
              <a:uFillTx/>
              <a:latin typeface="Santander Text" panose="020B05040202010201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srgbClr val="000000"/>
                </a:solidFill>
                <a:effectLst/>
                <a:uLnTx/>
                <a:uFillTx/>
                <a:latin typeface="Santander Text" panose="020B0504020201020104"/>
                <a:ea typeface="+mn-ea"/>
                <a:cs typeface="+mn-cs"/>
              </a:rPr>
              <a:t>Makes dynamic decisions on cost, latency, and complexity to route prompts through a unified API, optimizing requests by rewriting, compressing context, and using embeddings.</a:t>
            </a:r>
            <a:endPar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183" name="Rectángulo 3174">
            <a:extLst>
              <a:ext uri="{FF2B5EF4-FFF2-40B4-BE49-F238E27FC236}">
                <a16:creationId xmlns:a16="http://schemas.microsoft.com/office/drawing/2014/main" id="{960D1F03-38DB-67A3-9D13-21771F53C2A0}"/>
              </a:ext>
            </a:extLst>
          </p:cNvPr>
          <p:cNvSpPr/>
          <p:nvPr/>
        </p:nvSpPr>
        <p:spPr>
          <a:xfrm>
            <a:off x="7748402" y="2229065"/>
            <a:ext cx="3348000" cy="2880000"/>
          </a:xfrm>
          <a:prstGeom prst="rect">
            <a:avLst/>
          </a:prstGeom>
          <a:solidFill>
            <a:schemeClr val="bg1"/>
          </a:solidFill>
          <a:ln w="12700" cap="flat">
            <a:solidFill>
              <a:srgbClr val="C00000"/>
            </a:solidFill>
            <a:prstDash val="solid"/>
            <a:miter lim="400000"/>
            <a:extLst>
              <a:ext uri="{C807C97D-BFC1-408E-A445-0C87EB9F89A2}">
                <ask:lineSketchStyleProps xmlns:ask="http://schemas.microsoft.com/office/drawing/2018/sketchyshapes">
                  <ask:type>
                    <ask:lineSketchNone/>
                  </ask:type>
                </ask:lineSketchStyleProps>
              </a:ext>
            </a:extLst>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sym typeface="Helvetica Neue Medium"/>
              </a:rPr>
              <a:t>Business Backend Capabilities</a:t>
            </a:r>
          </a:p>
        </p:txBody>
      </p:sp>
      <p:sp>
        <p:nvSpPr>
          <p:cNvPr id="1184" name="Rectángulo 3174">
            <a:extLst>
              <a:ext uri="{FF2B5EF4-FFF2-40B4-BE49-F238E27FC236}">
                <a16:creationId xmlns:a16="http://schemas.microsoft.com/office/drawing/2014/main" id="{C1F3630B-E49F-A828-E6AC-A5D5C5A4EBA1}"/>
              </a:ext>
            </a:extLst>
          </p:cNvPr>
          <p:cNvSpPr/>
          <p:nvPr/>
        </p:nvSpPr>
        <p:spPr>
          <a:xfrm>
            <a:off x="7850626" y="2447038"/>
            <a:ext cx="3204000" cy="533244"/>
          </a:xfrm>
          <a:prstGeom prst="rect">
            <a:avLst/>
          </a:prstGeom>
          <a:solidFill>
            <a:srgbClr val="C00000">
              <a:alpha val="31000"/>
            </a:srgbClr>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Models </a:t>
            </a:r>
          </a:p>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Ecosystem</a:t>
            </a:r>
          </a:p>
        </p:txBody>
      </p:sp>
      <p:sp>
        <p:nvSpPr>
          <p:cNvPr id="1185" name="Rectángulo 3174">
            <a:extLst>
              <a:ext uri="{FF2B5EF4-FFF2-40B4-BE49-F238E27FC236}">
                <a16:creationId xmlns:a16="http://schemas.microsoft.com/office/drawing/2014/main" id="{C23DF4F6-3A3B-7025-387C-A15B21CC83D4}"/>
              </a:ext>
            </a:extLst>
          </p:cNvPr>
          <p:cNvSpPr/>
          <p:nvPr/>
        </p:nvSpPr>
        <p:spPr>
          <a:xfrm>
            <a:off x="7850626" y="3105916"/>
            <a:ext cx="3204000" cy="533244"/>
          </a:xfrm>
          <a:prstGeom prst="rect">
            <a:avLst/>
          </a:prstGeom>
          <a:solidFill>
            <a:srgbClr val="C00000">
              <a:alpha val="31000"/>
            </a:srgbClr>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Knowledge</a:t>
            </a:r>
          </a:p>
        </p:txBody>
      </p:sp>
      <p:sp>
        <p:nvSpPr>
          <p:cNvPr id="1186" name="Rectángulo 3174">
            <a:extLst>
              <a:ext uri="{FF2B5EF4-FFF2-40B4-BE49-F238E27FC236}">
                <a16:creationId xmlns:a16="http://schemas.microsoft.com/office/drawing/2014/main" id="{A67A0519-5DEB-4BB9-F300-C69BC05F69DE}"/>
              </a:ext>
            </a:extLst>
          </p:cNvPr>
          <p:cNvSpPr/>
          <p:nvPr/>
        </p:nvSpPr>
        <p:spPr>
          <a:xfrm>
            <a:off x="7850626" y="3726173"/>
            <a:ext cx="3204000" cy="692425"/>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Tools</a:t>
            </a:r>
          </a:p>
        </p:txBody>
      </p:sp>
      <p:sp>
        <p:nvSpPr>
          <p:cNvPr id="1187" name="Rectángulo 3174">
            <a:extLst>
              <a:ext uri="{FF2B5EF4-FFF2-40B4-BE49-F238E27FC236}">
                <a16:creationId xmlns:a16="http://schemas.microsoft.com/office/drawing/2014/main" id="{4913B579-A1FB-78B3-67F5-F4260EF84000}"/>
              </a:ext>
            </a:extLst>
          </p:cNvPr>
          <p:cNvSpPr/>
          <p:nvPr/>
        </p:nvSpPr>
        <p:spPr>
          <a:xfrm>
            <a:off x="7850626" y="4472676"/>
            <a:ext cx="3204000" cy="573266"/>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Agency</a:t>
            </a:r>
          </a:p>
        </p:txBody>
      </p:sp>
      <p:sp>
        <p:nvSpPr>
          <p:cNvPr id="1188" name="Rectangle 1023">
            <a:extLst>
              <a:ext uri="{FF2B5EF4-FFF2-40B4-BE49-F238E27FC236}">
                <a16:creationId xmlns:a16="http://schemas.microsoft.com/office/drawing/2014/main" id="{C7869EA0-59E0-2A46-9B30-4AB8CBBFF01B}"/>
              </a:ext>
            </a:extLst>
          </p:cNvPr>
          <p:cNvSpPr/>
          <p:nvPr/>
        </p:nvSpPr>
        <p:spPr>
          <a:xfrm>
            <a:off x="9179254" y="842330"/>
            <a:ext cx="1983360" cy="442993"/>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err="1">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Hyperscaler</a:t>
            </a:r>
            <a:r>
              <a:rPr kumimoji="0" lang="en-GB" sz="9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 Large Language Models (LLM)</a:t>
            </a:r>
          </a:p>
        </p:txBody>
      </p:sp>
      <p:sp>
        <p:nvSpPr>
          <p:cNvPr id="1189" name="Rectangle 1023">
            <a:extLst>
              <a:ext uri="{FF2B5EF4-FFF2-40B4-BE49-F238E27FC236}">
                <a16:creationId xmlns:a16="http://schemas.microsoft.com/office/drawing/2014/main" id="{E867C980-E8C5-6D49-F946-01AAAEFA27E7}"/>
              </a:ext>
            </a:extLst>
          </p:cNvPr>
          <p:cNvSpPr/>
          <p:nvPr/>
        </p:nvSpPr>
        <p:spPr>
          <a:xfrm>
            <a:off x="8164503" y="2732319"/>
            <a:ext cx="864000"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Custom Models</a:t>
            </a:r>
          </a:p>
        </p:txBody>
      </p:sp>
      <p:sp>
        <p:nvSpPr>
          <p:cNvPr id="1190" name="Rectangle 1023">
            <a:extLst>
              <a:ext uri="{FF2B5EF4-FFF2-40B4-BE49-F238E27FC236}">
                <a16:creationId xmlns:a16="http://schemas.microsoft.com/office/drawing/2014/main" id="{AF1E650F-86B4-15C4-6D75-CD1FA5E68C7D}"/>
              </a:ext>
            </a:extLst>
          </p:cNvPr>
          <p:cNvSpPr/>
          <p:nvPr/>
        </p:nvSpPr>
        <p:spPr>
          <a:xfrm>
            <a:off x="8164503" y="2499479"/>
            <a:ext cx="864000"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Finetuning</a:t>
            </a:r>
          </a:p>
        </p:txBody>
      </p:sp>
      <p:sp>
        <p:nvSpPr>
          <p:cNvPr id="1191" name="Rectangle 1023">
            <a:extLst>
              <a:ext uri="{FF2B5EF4-FFF2-40B4-BE49-F238E27FC236}">
                <a16:creationId xmlns:a16="http://schemas.microsoft.com/office/drawing/2014/main" id="{961E08F7-71AD-8CDF-E723-2117961462B3}"/>
              </a:ext>
            </a:extLst>
          </p:cNvPr>
          <p:cNvSpPr/>
          <p:nvPr/>
        </p:nvSpPr>
        <p:spPr>
          <a:xfrm>
            <a:off x="9124287" y="2499479"/>
            <a:ext cx="864000"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Prompts</a:t>
            </a:r>
          </a:p>
        </p:txBody>
      </p:sp>
      <p:sp>
        <p:nvSpPr>
          <p:cNvPr id="1192" name="Rectangle 1023">
            <a:extLst>
              <a:ext uri="{FF2B5EF4-FFF2-40B4-BE49-F238E27FC236}">
                <a16:creationId xmlns:a16="http://schemas.microsoft.com/office/drawing/2014/main" id="{6DE524A8-8EA1-8503-3E50-F683B2022436}"/>
              </a:ext>
            </a:extLst>
          </p:cNvPr>
          <p:cNvSpPr/>
          <p:nvPr/>
        </p:nvSpPr>
        <p:spPr>
          <a:xfrm>
            <a:off x="8164503" y="3164120"/>
            <a:ext cx="864000"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RAG</a:t>
            </a:r>
          </a:p>
        </p:txBody>
      </p:sp>
      <p:sp>
        <p:nvSpPr>
          <p:cNvPr id="1193" name="Rectangle 1023">
            <a:extLst>
              <a:ext uri="{FF2B5EF4-FFF2-40B4-BE49-F238E27FC236}">
                <a16:creationId xmlns:a16="http://schemas.microsoft.com/office/drawing/2014/main" id="{E88F46C7-FED7-2F17-FFF5-3BBD87C1F759}"/>
              </a:ext>
            </a:extLst>
          </p:cNvPr>
          <p:cNvSpPr/>
          <p:nvPr/>
        </p:nvSpPr>
        <p:spPr>
          <a:xfrm>
            <a:off x="8164503" y="3390057"/>
            <a:ext cx="864000"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Data Systems</a:t>
            </a:r>
          </a:p>
        </p:txBody>
      </p:sp>
      <p:sp>
        <p:nvSpPr>
          <p:cNvPr id="1194" name="Rectangle 1023">
            <a:extLst>
              <a:ext uri="{FF2B5EF4-FFF2-40B4-BE49-F238E27FC236}">
                <a16:creationId xmlns:a16="http://schemas.microsoft.com/office/drawing/2014/main" id="{9EF5D8F9-0C4C-0BED-ED60-6A448AEEDA1B}"/>
              </a:ext>
            </a:extLst>
          </p:cNvPr>
          <p:cNvSpPr/>
          <p:nvPr/>
        </p:nvSpPr>
        <p:spPr>
          <a:xfrm>
            <a:off x="9124287" y="3162496"/>
            <a:ext cx="864000"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Vector &amp; Graph</a:t>
            </a:r>
          </a:p>
        </p:txBody>
      </p:sp>
      <p:sp>
        <p:nvSpPr>
          <p:cNvPr id="1195" name="Rectangle 1023">
            <a:extLst>
              <a:ext uri="{FF2B5EF4-FFF2-40B4-BE49-F238E27FC236}">
                <a16:creationId xmlns:a16="http://schemas.microsoft.com/office/drawing/2014/main" id="{5B510D46-98D8-D44B-598B-1325BBD73EB5}"/>
              </a:ext>
            </a:extLst>
          </p:cNvPr>
          <p:cNvSpPr/>
          <p:nvPr/>
        </p:nvSpPr>
        <p:spPr>
          <a:xfrm>
            <a:off x="9124287" y="3388433"/>
            <a:ext cx="864000"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Governance</a:t>
            </a:r>
          </a:p>
        </p:txBody>
      </p:sp>
      <p:sp>
        <p:nvSpPr>
          <p:cNvPr id="1196" name="Rectangle 1023">
            <a:extLst>
              <a:ext uri="{FF2B5EF4-FFF2-40B4-BE49-F238E27FC236}">
                <a16:creationId xmlns:a16="http://schemas.microsoft.com/office/drawing/2014/main" id="{3970A55E-F538-A7FF-2724-154DF0545359}"/>
              </a:ext>
            </a:extLst>
          </p:cNvPr>
          <p:cNvSpPr/>
          <p:nvPr/>
        </p:nvSpPr>
        <p:spPr>
          <a:xfrm>
            <a:off x="10205552" y="4103521"/>
            <a:ext cx="792000"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PBC Capabilities</a:t>
            </a:r>
          </a:p>
        </p:txBody>
      </p:sp>
      <p:sp>
        <p:nvSpPr>
          <p:cNvPr id="1197" name="Rectangle 1023">
            <a:extLst>
              <a:ext uri="{FF2B5EF4-FFF2-40B4-BE49-F238E27FC236}">
                <a16:creationId xmlns:a16="http://schemas.microsoft.com/office/drawing/2014/main" id="{05B363C3-7F7C-7C3D-E89F-5E621681B490}"/>
              </a:ext>
            </a:extLst>
          </p:cNvPr>
          <p:cNvSpPr/>
          <p:nvPr/>
        </p:nvSpPr>
        <p:spPr>
          <a:xfrm>
            <a:off x="9346892" y="3882610"/>
            <a:ext cx="792000"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Platform Capabilities</a:t>
            </a:r>
          </a:p>
        </p:txBody>
      </p:sp>
      <p:sp>
        <p:nvSpPr>
          <p:cNvPr id="1198" name="Rectangle 1023">
            <a:extLst>
              <a:ext uri="{FF2B5EF4-FFF2-40B4-BE49-F238E27FC236}">
                <a16:creationId xmlns:a16="http://schemas.microsoft.com/office/drawing/2014/main" id="{D2050832-4C1E-8BAD-688D-8170091BF6C7}"/>
              </a:ext>
            </a:extLst>
          </p:cNvPr>
          <p:cNvSpPr/>
          <p:nvPr/>
        </p:nvSpPr>
        <p:spPr>
          <a:xfrm>
            <a:off x="9346892" y="4103521"/>
            <a:ext cx="792000"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Business Capabilities</a:t>
            </a:r>
          </a:p>
        </p:txBody>
      </p:sp>
      <p:sp>
        <p:nvSpPr>
          <p:cNvPr id="1199" name="Rectangle 1023">
            <a:extLst>
              <a:ext uri="{FF2B5EF4-FFF2-40B4-BE49-F238E27FC236}">
                <a16:creationId xmlns:a16="http://schemas.microsoft.com/office/drawing/2014/main" id="{3D495997-7BC7-6608-9344-C7E0AA39071A}"/>
              </a:ext>
            </a:extLst>
          </p:cNvPr>
          <p:cNvSpPr/>
          <p:nvPr/>
        </p:nvSpPr>
        <p:spPr>
          <a:xfrm>
            <a:off x="10084072" y="3159416"/>
            <a:ext cx="926556" cy="408892"/>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Data Capabilit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Structured data ingestion, processing, and management for AI use.</a:t>
            </a:r>
            <a:endParaRPr kumimoji="0" lang="en-GB" sz="5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200" name="Rectangle 1023">
            <a:extLst>
              <a:ext uri="{FF2B5EF4-FFF2-40B4-BE49-F238E27FC236}">
                <a16:creationId xmlns:a16="http://schemas.microsoft.com/office/drawing/2014/main" id="{B6BB1F6E-1883-A08F-6E31-096744EC6C4C}"/>
              </a:ext>
            </a:extLst>
          </p:cNvPr>
          <p:cNvSpPr/>
          <p:nvPr/>
        </p:nvSpPr>
        <p:spPr>
          <a:xfrm>
            <a:off x="8045917" y="3881774"/>
            <a:ext cx="1240576" cy="468648"/>
          </a:xfrm>
          <a:prstGeom prst="rect">
            <a:avLst/>
          </a:prstGeom>
          <a:solidFill>
            <a:srgbClr val="C00000">
              <a:alpha val="31000"/>
            </a:srgbClr>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0" rtlCol="0" anchor="t"/>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MCP/API Serv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Core banking APIs exposed as standard MCP services. Governance layer providing secure context..</a:t>
            </a:r>
          </a:p>
        </p:txBody>
      </p:sp>
      <p:sp>
        <p:nvSpPr>
          <p:cNvPr id="1202" name="Rectangle 1023">
            <a:extLst>
              <a:ext uri="{FF2B5EF4-FFF2-40B4-BE49-F238E27FC236}">
                <a16:creationId xmlns:a16="http://schemas.microsoft.com/office/drawing/2014/main" id="{A2D3BA20-6DE1-CFFE-2E28-1E7B274A8F90}"/>
              </a:ext>
            </a:extLst>
          </p:cNvPr>
          <p:cNvSpPr/>
          <p:nvPr/>
        </p:nvSpPr>
        <p:spPr>
          <a:xfrm>
            <a:off x="9388226" y="4522416"/>
            <a:ext cx="750666"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Other Agency Capabilities</a:t>
            </a:r>
          </a:p>
        </p:txBody>
      </p:sp>
      <p:sp>
        <p:nvSpPr>
          <p:cNvPr id="1203" name="Arrow: Right 1054">
            <a:extLst>
              <a:ext uri="{FF2B5EF4-FFF2-40B4-BE49-F238E27FC236}">
                <a16:creationId xmlns:a16="http://schemas.microsoft.com/office/drawing/2014/main" id="{EE9B201E-DFEA-D687-4511-2FBE37937EEF}"/>
              </a:ext>
            </a:extLst>
          </p:cNvPr>
          <p:cNvSpPr/>
          <p:nvPr/>
        </p:nvSpPr>
        <p:spPr>
          <a:xfrm>
            <a:off x="7058052" y="3213060"/>
            <a:ext cx="653618"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antander Text" panose="020B0504020201020104"/>
              <a:ea typeface="+mn-ea"/>
              <a:cs typeface="+mn-cs"/>
            </a:endParaRPr>
          </a:p>
        </p:txBody>
      </p:sp>
      <p:sp>
        <p:nvSpPr>
          <p:cNvPr id="1204" name="Arrow: Right 1054">
            <a:extLst>
              <a:ext uri="{FF2B5EF4-FFF2-40B4-BE49-F238E27FC236}">
                <a16:creationId xmlns:a16="http://schemas.microsoft.com/office/drawing/2014/main" id="{6A1CE9F2-43EB-C2C6-EE4C-CBDE0EF4C123}"/>
              </a:ext>
            </a:extLst>
          </p:cNvPr>
          <p:cNvSpPr/>
          <p:nvPr/>
        </p:nvSpPr>
        <p:spPr>
          <a:xfrm>
            <a:off x="7024271" y="3997387"/>
            <a:ext cx="792000"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antander Text" panose="020B0504020201020104"/>
              <a:ea typeface="+mn-ea"/>
              <a:cs typeface="+mn-cs"/>
            </a:endParaRPr>
          </a:p>
        </p:txBody>
      </p:sp>
      <p:sp>
        <p:nvSpPr>
          <p:cNvPr id="1205" name="Arrow: Right 1054">
            <a:extLst>
              <a:ext uri="{FF2B5EF4-FFF2-40B4-BE49-F238E27FC236}">
                <a16:creationId xmlns:a16="http://schemas.microsoft.com/office/drawing/2014/main" id="{F70CEF78-3BBD-5135-F11D-E226B187E905}"/>
              </a:ext>
            </a:extLst>
          </p:cNvPr>
          <p:cNvSpPr/>
          <p:nvPr/>
        </p:nvSpPr>
        <p:spPr>
          <a:xfrm>
            <a:off x="7058051" y="4620111"/>
            <a:ext cx="731083"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antander Text" panose="020B0504020201020104"/>
              <a:ea typeface="+mn-ea"/>
              <a:cs typeface="+mn-cs"/>
            </a:endParaRPr>
          </a:p>
        </p:txBody>
      </p:sp>
      <p:sp>
        <p:nvSpPr>
          <p:cNvPr id="1206" name="Rectangle 1023">
            <a:extLst>
              <a:ext uri="{FF2B5EF4-FFF2-40B4-BE49-F238E27FC236}">
                <a16:creationId xmlns:a16="http://schemas.microsoft.com/office/drawing/2014/main" id="{AC6B0CD6-4D62-6B65-EA13-DEADD73D7B0A}"/>
              </a:ext>
            </a:extLst>
          </p:cNvPr>
          <p:cNvSpPr/>
          <p:nvPr/>
        </p:nvSpPr>
        <p:spPr>
          <a:xfrm>
            <a:off x="9037411" y="5607740"/>
            <a:ext cx="2124000" cy="897851"/>
          </a:xfrm>
          <a:prstGeom prst="rect">
            <a:avLst/>
          </a:prstGeom>
          <a:solidFill>
            <a:srgbClr val="C00000">
              <a:alpha val="31000"/>
            </a:srgb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Security</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700" b="0" i="1" u="none" strike="noStrike" kern="1200" cap="none" spc="0" normalizeH="0" baseline="0" noProof="0">
                <a:ln>
                  <a:noFill/>
                </a:ln>
                <a:solidFill>
                  <a:prstClr val="white"/>
                </a:solidFill>
                <a:effectLst/>
                <a:uLnTx/>
                <a:uFillTx/>
                <a:latin typeface="Santander Text" panose="020B0504020201020104"/>
                <a:ea typeface="+mn-ea"/>
                <a:cs typeface="+mn-cs"/>
              </a:rPr>
              <a:t>Adapted to the company security requirements on data lineage, consent, etc, to achieve full regulatory compliance. </a:t>
            </a:r>
          </a:p>
        </p:txBody>
      </p:sp>
      <p:grpSp>
        <p:nvGrpSpPr>
          <p:cNvPr id="1207" name="Grupo 19">
            <a:extLst>
              <a:ext uri="{FF2B5EF4-FFF2-40B4-BE49-F238E27FC236}">
                <a16:creationId xmlns:a16="http://schemas.microsoft.com/office/drawing/2014/main" id="{EC5ED118-2F29-AEB0-B6D9-DF6A4753868B}"/>
              </a:ext>
            </a:extLst>
          </p:cNvPr>
          <p:cNvGrpSpPr/>
          <p:nvPr/>
        </p:nvGrpSpPr>
        <p:grpSpPr>
          <a:xfrm>
            <a:off x="10231477" y="2471772"/>
            <a:ext cx="396319" cy="388622"/>
            <a:chOff x="5725562" y="3167579"/>
            <a:chExt cx="396319" cy="388622"/>
          </a:xfrm>
        </p:grpSpPr>
        <p:sp>
          <p:nvSpPr>
            <p:cNvPr id="1208" name="Rectángulo: esquinas redondeadas 91">
              <a:extLst>
                <a:ext uri="{FF2B5EF4-FFF2-40B4-BE49-F238E27FC236}">
                  <a16:creationId xmlns:a16="http://schemas.microsoft.com/office/drawing/2014/main" id="{D2594D71-2B53-8B13-13AE-F335EA2586C7}"/>
                </a:ext>
              </a:extLst>
            </p:cNvPr>
            <p:cNvSpPr/>
            <p:nvPr/>
          </p:nvSpPr>
          <p:spPr>
            <a:xfrm>
              <a:off x="5725562" y="3180824"/>
              <a:ext cx="396319" cy="375377"/>
            </a:xfrm>
            <a:prstGeom prst="roundRect">
              <a:avLst/>
            </a:prstGeom>
            <a:solidFill>
              <a:srgbClr val="C4E5F2">
                <a:alpha val="20000"/>
              </a:srgbClr>
            </a:solidFill>
            <a:ln>
              <a:noFill/>
            </a:ln>
            <a:effectLst/>
            <a:scene3d>
              <a:camera prst="isometricTopUp"/>
              <a:lightRig rig="chilly" dir="t"/>
            </a:scene3d>
            <a:sp3d extrusionH="95250" contourW="12700" prstMaterial="metal">
              <a:extrusionClr>
                <a:srgbClr val="FCFDFE"/>
              </a:extrusionClr>
              <a:contourClr>
                <a:schemeClr val="bg1">
                  <a:lumMod val="75000"/>
                </a:schemeClr>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antander Text" panose="020B0504020201020104"/>
                <a:ea typeface="+mn-ea"/>
                <a:cs typeface="+mn-cs"/>
              </a:endParaRPr>
            </a:p>
          </p:txBody>
        </p:sp>
        <p:sp>
          <p:nvSpPr>
            <p:cNvPr id="1209" name="Elipse 23">
              <a:extLst>
                <a:ext uri="{FF2B5EF4-FFF2-40B4-BE49-F238E27FC236}">
                  <a16:creationId xmlns:a16="http://schemas.microsoft.com/office/drawing/2014/main" id="{CC64E4F2-A627-F93C-869A-112EB284BC51}"/>
                </a:ext>
              </a:extLst>
            </p:cNvPr>
            <p:cNvSpPr/>
            <p:nvPr/>
          </p:nvSpPr>
          <p:spPr>
            <a:xfrm>
              <a:off x="5782274" y="3167579"/>
              <a:ext cx="282894" cy="282894"/>
            </a:xfrm>
            <a:prstGeom prst="ellipse">
              <a:avLst/>
            </a:prstGeom>
            <a:solidFill>
              <a:srgbClr val="FCFD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antander Text" panose="020B0504020201020104"/>
                <a:ea typeface="+mn-ea"/>
                <a:cs typeface="+mn-cs"/>
              </a:endParaRPr>
            </a:p>
          </p:txBody>
        </p:sp>
        <p:pic>
          <p:nvPicPr>
            <p:cNvPr id="1210" name="Gráfico 26" descr="Inteligencia artificial con relleno sólido">
              <a:extLst>
                <a:ext uri="{FF2B5EF4-FFF2-40B4-BE49-F238E27FC236}">
                  <a16:creationId xmlns:a16="http://schemas.microsoft.com/office/drawing/2014/main" id="{BBF00306-C6FF-3422-C35E-800E8E3C1F0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0435" y="3180824"/>
              <a:ext cx="218810" cy="229567"/>
            </a:xfrm>
            <a:prstGeom prst="rect">
              <a:avLst/>
            </a:prstGeom>
          </p:spPr>
        </p:pic>
      </p:grpSp>
      <p:sp>
        <p:nvSpPr>
          <p:cNvPr id="1212" name="Arrow: Right 1054">
            <a:extLst>
              <a:ext uri="{FF2B5EF4-FFF2-40B4-BE49-F238E27FC236}">
                <a16:creationId xmlns:a16="http://schemas.microsoft.com/office/drawing/2014/main" id="{1AEF5EA4-167B-2759-0F4D-6BACA5337A9E}"/>
              </a:ext>
            </a:extLst>
          </p:cNvPr>
          <p:cNvSpPr/>
          <p:nvPr/>
        </p:nvSpPr>
        <p:spPr>
          <a:xfrm rot="2280229">
            <a:off x="6983583" y="2343598"/>
            <a:ext cx="794881" cy="226800"/>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antander Text" panose="020B0504020201020104"/>
              <a:ea typeface="+mn-ea"/>
              <a:cs typeface="+mn-cs"/>
            </a:endParaRPr>
          </a:p>
        </p:txBody>
      </p:sp>
      <p:sp>
        <p:nvSpPr>
          <p:cNvPr id="1213" name="TextBox 1212">
            <a:extLst>
              <a:ext uri="{FF2B5EF4-FFF2-40B4-BE49-F238E27FC236}">
                <a16:creationId xmlns:a16="http://schemas.microsoft.com/office/drawing/2014/main" id="{86CE615F-1177-38F5-162A-B52FABBFA8CC}"/>
              </a:ext>
            </a:extLst>
          </p:cNvPr>
          <p:cNvSpPr txBox="1"/>
          <p:nvPr/>
        </p:nvSpPr>
        <p:spPr>
          <a:xfrm>
            <a:off x="7930171" y="3711186"/>
            <a:ext cx="2491366" cy="172740"/>
          </a:xfrm>
          <a:prstGeom prst="rect">
            <a:avLst/>
          </a:prstGeom>
          <a:noFill/>
        </p:spPr>
        <p:txBody>
          <a:bodyPr wrap="square">
            <a:spAutoFit/>
          </a:bodyPr>
          <a:lstStyle/>
          <a:p>
            <a:pPr marL="0" marR="0" lvl="0" indent="0" algn="l" defTabSz="914400" rtl="0" eaLnBrk="1" fontAlgn="auto" latinLnBrk="0" hangingPunct="1">
              <a:lnSpc>
                <a:spcPct val="110000"/>
              </a:lnSpc>
              <a:spcBef>
                <a:spcPts val="600"/>
              </a:spcBef>
              <a:spcAft>
                <a:spcPts val="0"/>
              </a:spcAft>
              <a:buClrTx/>
              <a:buSzTx/>
              <a:buFontTx/>
              <a:buNone/>
              <a:tabLst/>
              <a:defRPr/>
            </a:pPr>
            <a:r>
              <a:rPr kumimoji="0" lang="en-GB" sz="500" b="0" i="1" u="none" strike="noStrike" kern="1200" cap="none" spc="0" normalizeH="0" baseline="0" noProof="0">
                <a:ln>
                  <a:noFill/>
                </a:ln>
                <a:solidFill>
                  <a:srgbClr val="070F26"/>
                </a:solidFill>
                <a:effectLst/>
                <a:uLnTx/>
                <a:uFillTx/>
                <a:latin typeface="Santander Text" panose="020B0504020201020104"/>
                <a:ea typeface="Helvetica Neue"/>
                <a:cs typeface="Arial" panose="020B0604020202020204" pitchFamily="34" charset="0"/>
                <a:sym typeface="Helvetica Neue"/>
              </a:rPr>
              <a:t>Corporate features and APIs available to fully integrate agents</a:t>
            </a:r>
            <a:endParaRPr kumimoji="0" lang="en-GB" sz="500" b="1" i="1" u="none" strike="noStrike" kern="1200" cap="none" spc="0" normalizeH="0" baseline="0" noProof="0">
              <a:ln>
                <a:noFill/>
              </a:ln>
              <a:solidFill>
                <a:srgbClr val="070F26"/>
              </a:solidFill>
              <a:effectLst/>
              <a:uLnTx/>
              <a:uFillTx/>
              <a:latin typeface="Santander Text" panose="020B0504020201020104"/>
              <a:ea typeface="Helvetica Neue"/>
              <a:cs typeface="Arial" panose="020B0604020202020204" pitchFamily="34" charset="0"/>
              <a:sym typeface="Helvetica Neue Medium"/>
            </a:endParaRPr>
          </a:p>
        </p:txBody>
      </p:sp>
      <p:pic>
        <p:nvPicPr>
          <p:cNvPr id="1214" name="Picture 1213">
            <a:extLst>
              <a:ext uri="{FF2B5EF4-FFF2-40B4-BE49-F238E27FC236}">
                <a16:creationId xmlns:a16="http://schemas.microsoft.com/office/drawing/2014/main" id="{14BDD298-A39D-9CCF-C2B4-532ABC246B76}"/>
              </a:ext>
            </a:extLst>
          </p:cNvPr>
          <p:cNvPicPr>
            <a:picLocks noChangeAspect="1"/>
          </p:cNvPicPr>
          <p:nvPr/>
        </p:nvPicPr>
        <p:blipFill>
          <a:blip r:embed="rId5"/>
          <a:srcRect l="-1" t="-6178" r="89155"/>
          <a:stretch>
            <a:fillRect/>
          </a:stretch>
        </p:blipFill>
        <p:spPr>
          <a:xfrm>
            <a:off x="7391707" y="1459307"/>
            <a:ext cx="145341" cy="266065"/>
          </a:xfrm>
          <a:prstGeom prst="rect">
            <a:avLst/>
          </a:prstGeom>
          <a:noFill/>
        </p:spPr>
      </p:pic>
      <p:pic>
        <p:nvPicPr>
          <p:cNvPr id="1215" name="Picture 1214">
            <a:extLst>
              <a:ext uri="{FF2B5EF4-FFF2-40B4-BE49-F238E27FC236}">
                <a16:creationId xmlns:a16="http://schemas.microsoft.com/office/drawing/2014/main" id="{E654C586-23DE-8331-17A6-E17936EFAD55}"/>
              </a:ext>
            </a:extLst>
          </p:cNvPr>
          <p:cNvPicPr>
            <a:picLocks noChangeAspect="1"/>
          </p:cNvPicPr>
          <p:nvPr/>
        </p:nvPicPr>
        <p:blipFill>
          <a:blip r:embed="rId5"/>
          <a:srcRect l="-1" t="-6178" r="89155"/>
          <a:stretch>
            <a:fillRect/>
          </a:stretch>
        </p:blipFill>
        <p:spPr>
          <a:xfrm>
            <a:off x="1592212" y="981824"/>
            <a:ext cx="145341" cy="266065"/>
          </a:xfrm>
          <a:prstGeom prst="rect">
            <a:avLst/>
          </a:prstGeom>
          <a:noFill/>
        </p:spPr>
      </p:pic>
      <p:pic>
        <p:nvPicPr>
          <p:cNvPr id="1216" name="Picture 1215">
            <a:extLst>
              <a:ext uri="{FF2B5EF4-FFF2-40B4-BE49-F238E27FC236}">
                <a16:creationId xmlns:a16="http://schemas.microsoft.com/office/drawing/2014/main" id="{FC8A250C-9A8C-D982-1327-BFD7E7B9A7AF}"/>
              </a:ext>
            </a:extLst>
          </p:cNvPr>
          <p:cNvPicPr>
            <a:picLocks noChangeAspect="1"/>
          </p:cNvPicPr>
          <p:nvPr/>
        </p:nvPicPr>
        <p:blipFill>
          <a:blip r:embed="rId5"/>
          <a:srcRect l="-1" t="-6178" r="89155"/>
          <a:stretch>
            <a:fillRect/>
          </a:stretch>
        </p:blipFill>
        <p:spPr>
          <a:xfrm flipH="1">
            <a:off x="1572075" y="5395617"/>
            <a:ext cx="167589" cy="266065"/>
          </a:xfrm>
          <a:prstGeom prst="rect">
            <a:avLst/>
          </a:prstGeom>
          <a:noFill/>
        </p:spPr>
      </p:pic>
      <p:sp>
        <p:nvSpPr>
          <p:cNvPr id="1217" name="Rectangle 1023">
            <a:extLst>
              <a:ext uri="{FF2B5EF4-FFF2-40B4-BE49-F238E27FC236}">
                <a16:creationId xmlns:a16="http://schemas.microsoft.com/office/drawing/2014/main" id="{E948330B-0787-249B-0F9E-FB05FC564F67}"/>
              </a:ext>
            </a:extLst>
          </p:cNvPr>
          <p:cNvSpPr/>
          <p:nvPr/>
        </p:nvSpPr>
        <p:spPr>
          <a:xfrm>
            <a:off x="5450268" y="2921837"/>
            <a:ext cx="1512000" cy="468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mn-ea"/>
                <a:cs typeface="+mn-cs"/>
              </a:rPr>
              <a:t>Memory Brok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mn-ea"/>
                <a:cs typeface="+mn-cs"/>
              </a:rPr>
              <a:t>Acts as an interface between agentic systems and graph or vector databases where long-term memory, semantic, episodic and other kinds of memory are stored.</a:t>
            </a:r>
          </a:p>
        </p:txBody>
      </p:sp>
      <p:sp>
        <p:nvSpPr>
          <p:cNvPr id="1224" name="Rectangle 1223">
            <a:extLst>
              <a:ext uri="{FF2B5EF4-FFF2-40B4-BE49-F238E27FC236}">
                <a16:creationId xmlns:a16="http://schemas.microsoft.com/office/drawing/2014/main" id="{32FA4512-1F03-20D7-8E2A-946673A153ED}"/>
              </a:ext>
            </a:extLst>
          </p:cNvPr>
          <p:cNvSpPr/>
          <p:nvPr/>
        </p:nvSpPr>
        <p:spPr>
          <a:xfrm>
            <a:off x="4114095" y="3569155"/>
            <a:ext cx="1044000" cy="408347"/>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mn-ea"/>
                <a:cs typeface="+mn-cs"/>
              </a:rPr>
              <a:t>Secure Code Runti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Sandbox (WASM/</a:t>
            </a:r>
            <a:r>
              <a:rPr kumimoji="0" lang="en-GB" sz="500" b="0" i="0" u="none" strike="noStrike" kern="1200" cap="none" spc="0" normalizeH="0" baseline="0" noProof="0" err="1">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gVisor</a:t>
            </a:r>
            <a:r>
              <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 for isolated execution of agent-generated Python/SQL code.</a:t>
            </a:r>
          </a:p>
        </p:txBody>
      </p:sp>
      <p:sp>
        <p:nvSpPr>
          <p:cNvPr id="1266" name="Arrow: Right 1054">
            <a:extLst>
              <a:ext uri="{FF2B5EF4-FFF2-40B4-BE49-F238E27FC236}">
                <a16:creationId xmlns:a16="http://schemas.microsoft.com/office/drawing/2014/main" id="{E830BC8F-BF91-F1B1-397F-BFC9A01F8395}"/>
              </a:ext>
            </a:extLst>
          </p:cNvPr>
          <p:cNvSpPr/>
          <p:nvPr/>
        </p:nvSpPr>
        <p:spPr>
          <a:xfrm rot="16200000">
            <a:off x="9842077" y="1767150"/>
            <a:ext cx="1152000"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antander Text" panose="020B0504020201020104"/>
              <a:ea typeface="+mn-ea"/>
              <a:cs typeface="+mn-cs"/>
            </a:endParaRPr>
          </a:p>
        </p:txBody>
      </p:sp>
      <p:sp>
        <p:nvSpPr>
          <p:cNvPr id="13" name="Arrow: Right 1054">
            <a:extLst>
              <a:ext uri="{FF2B5EF4-FFF2-40B4-BE49-F238E27FC236}">
                <a16:creationId xmlns:a16="http://schemas.microsoft.com/office/drawing/2014/main" id="{4B7A5461-151D-8CBE-598D-953B6C5A4AEC}"/>
              </a:ext>
            </a:extLst>
          </p:cNvPr>
          <p:cNvSpPr/>
          <p:nvPr/>
        </p:nvSpPr>
        <p:spPr>
          <a:xfrm>
            <a:off x="3254589" y="3024902"/>
            <a:ext cx="446529" cy="396000"/>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antander Text" panose="020B0504020201020104"/>
              <a:ea typeface="+mn-ea"/>
              <a:cs typeface="+mn-cs"/>
            </a:endParaRPr>
          </a:p>
        </p:txBody>
      </p:sp>
      <p:sp>
        <p:nvSpPr>
          <p:cNvPr id="30" name="Rectangle 1023">
            <a:extLst>
              <a:ext uri="{FF2B5EF4-FFF2-40B4-BE49-F238E27FC236}">
                <a16:creationId xmlns:a16="http://schemas.microsoft.com/office/drawing/2014/main" id="{452AF330-7CD0-E02E-3D02-D16D0E4DAF82}"/>
              </a:ext>
            </a:extLst>
          </p:cNvPr>
          <p:cNvSpPr/>
          <p:nvPr/>
        </p:nvSpPr>
        <p:spPr>
          <a:xfrm>
            <a:off x="6282454" y="5607740"/>
            <a:ext cx="2592000" cy="897851"/>
          </a:xfrm>
          <a:prstGeom prst="rect">
            <a:avLst/>
          </a:prstGeom>
          <a:solidFill>
            <a:srgbClr val="C00000">
              <a:alpha val="31000"/>
            </a:srgb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numCol="1"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AI Observability</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700" b="0" i="1" u="none" strike="noStrike" kern="1200" cap="none" spc="0" normalizeH="0" baseline="0" noProof="0">
                <a:ln>
                  <a:noFill/>
                </a:ln>
                <a:solidFill>
                  <a:prstClr val="white"/>
                </a:solidFill>
                <a:effectLst/>
                <a:uLnTx/>
                <a:uFillTx/>
                <a:latin typeface="Santander Text" panose="020B0504020201020104"/>
                <a:ea typeface="+mn-ea"/>
                <a:cs typeface="+mn-cs"/>
              </a:rPr>
              <a:t>Adapted to the company Observability, Traceability and accountability engines using standards like </a:t>
            </a:r>
            <a:r>
              <a:rPr kumimoji="0" lang="en-GB" sz="700" b="0" i="1" u="none" strike="noStrike" kern="1200" cap="none" spc="0" normalizeH="0" baseline="0" noProof="0" err="1">
                <a:ln>
                  <a:noFill/>
                </a:ln>
                <a:solidFill>
                  <a:prstClr val="white"/>
                </a:solidFill>
                <a:effectLst/>
                <a:uLnTx/>
                <a:uFillTx/>
                <a:latin typeface="Santander Text" panose="020B0504020201020104"/>
                <a:ea typeface="+mn-ea"/>
                <a:cs typeface="+mn-cs"/>
              </a:rPr>
              <a:t>Opentelemetry</a:t>
            </a:r>
            <a:endParaRPr kumimoji="0" lang="en-GB" sz="700" b="0" i="1" u="none" strike="noStrike" kern="1200" cap="none" spc="0" normalizeH="0" baseline="0" noProof="0">
              <a:ln>
                <a:noFill/>
              </a:ln>
              <a:solidFill>
                <a:prstClr val="white"/>
              </a:solidFill>
              <a:effectLst/>
              <a:uLnTx/>
              <a:uFillTx/>
              <a:latin typeface="Santander Text" panose="020B05040202010201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700" b="0" i="1" u="none" strike="noStrike" kern="1200" cap="none" spc="0" normalizeH="0" baseline="0" noProof="0">
                <a:ln>
                  <a:noFill/>
                </a:ln>
                <a:solidFill>
                  <a:prstClr val="white"/>
                </a:solidFill>
                <a:effectLst/>
                <a:uLnTx/>
                <a:uFillTx/>
                <a:latin typeface="Santander Text" panose="020B0504020201020104"/>
                <a:ea typeface="+mn-ea"/>
                <a:cs typeface="+mn-cs"/>
              </a:rPr>
              <a:t>Accuracy, latency, failures, user satisfaction, cost, and performance can be monitor to improve production insight, detect issues early, supports optimization and A/B testing, and foster scalable trust.</a:t>
            </a:r>
          </a:p>
        </p:txBody>
      </p:sp>
      <p:sp>
        <p:nvSpPr>
          <p:cNvPr id="32" name="Arrow: Right 1054">
            <a:extLst>
              <a:ext uri="{FF2B5EF4-FFF2-40B4-BE49-F238E27FC236}">
                <a16:creationId xmlns:a16="http://schemas.microsoft.com/office/drawing/2014/main" id="{1FB15475-475B-71A3-02A8-6FB173BC6D90}"/>
              </a:ext>
            </a:extLst>
          </p:cNvPr>
          <p:cNvSpPr/>
          <p:nvPr/>
        </p:nvSpPr>
        <p:spPr>
          <a:xfrm rot="16200000">
            <a:off x="9509955" y="5244710"/>
            <a:ext cx="288000" cy="226800"/>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antander Text" panose="020B0504020201020104"/>
              <a:ea typeface="+mn-ea"/>
              <a:cs typeface="+mn-cs"/>
            </a:endParaRPr>
          </a:p>
        </p:txBody>
      </p:sp>
      <p:sp>
        <p:nvSpPr>
          <p:cNvPr id="4" name="Rectangle 3">
            <a:extLst>
              <a:ext uri="{FF2B5EF4-FFF2-40B4-BE49-F238E27FC236}">
                <a16:creationId xmlns:a16="http://schemas.microsoft.com/office/drawing/2014/main" id="{B399B383-AB47-EF14-FAFF-6EAA5C75AAF6}"/>
              </a:ext>
            </a:extLst>
          </p:cNvPr>
          <p:cNvSpPr/>
          <p:nvPr/>
        </p:nvSpPr>
        <p:spPr>
          <a:xfrm>
            <a:off x="10205552" y="3882610"/>
            <a:ext cx="792000" cy="180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mn-ea"/>
                <a:cs typeface="+mn-cs"/>
              </a:rPr>
              <a:t>Tool Registry &amp; Schema Store</a:t>
            </a:r>
          </a:p>
        </p:txBody>
      </p:sp>
      <p:sp>
        <p:nvSpPr>
          <p:cNvPr id="5" name="Rectangle 4">
            <a:extLst>
              <a:ext uri="{FF2B5EF4-FFF2-40B4-BE49-F238E27FC236}">
                <a16:creationId xmlns:a16="http://schemas.microsoft.com/office/drawing/2014/main" id="{6783389D-C9D8-4FD4-F72E-FBE0283980B2}"/>
              </a:ext>
            </a:extLst>
          </p:cNvPr>
          <p:cNvSpPr/>
          <p:nvPr/>
        </p:nvSpPr>
        <p:spPr>
          <a:xfrm>
            <a:off x="8047024" y="4524403"/>
            <a:ext cx="1239470" cy="475743"/>
          </a:xfrm>
          <a:prstGeom prst="rect">
            <a:avLst/>
          </a:prstGeom>
          <a:solidFill>
            <a:srgbClr val="C00000">
              <a:alpha val="31000"/>
            </a:srgbClr>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0" rtlCol="0" anchor="t"/>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GB" sz="600" b="1" i="0" u="none" strike="noStrike" kern="1200" cap="none" spc="0" normalizeH="0" baseline="0" noProof="0">
                <a:ln>
                  <a:noFill/>
                </a:ln>
                <a:solidFill>
                  <a:prstClr val="black"/>
                </a:solidFill>
                <a:effectLst/>
                <a:uLnTx/>
                <a:uFillTx/>
                <a:latin typeface="Santander Text" panose="020B0504020201020104"/>
                <a:ea typeface="+mn-ea"/>
                <a:cs typeface="Calibri" panose="020F0502020204030204" pitchFamily="34" charset="0"/>
              </a:rPr>
              <a:t>Agency Capabilities Regist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mn-ea"/>
                <a:cs typeface="Calibri" panose="020F0502020204030204" pitchFamily="34" charset="0"/>
              </a:rPr>
              <a:t>Central </a:t>
            </a:r>
            <a:r>
              <a:rPr kumimoji="0" lang="en-GB" sz="500" b="0" i="0" u="none" strike="noStrike" kern="1200" cap="none" spc="0" normalizeH="0" baseline="0" noProof="0" err="1">
                <a:ln>
                  <a:noFill/>
                </a:ln>
                <a:solidFill>
                  <a:prstClr val="black"/>
                </a:solidFill>
                <a:effectLst/>
                <a:uLnTx/>
                <a:uFillTx/>
                <a:latin typeface="Santander Text" panose="020B0504020201020104"/>
                <a:ea typeface="+mn-ea"/>
                <a:cs typeface="Calibri" panose="020F0502020204030204" pitchFamily="34" charset="0"/>
              </a:rPr>
              <a:t>catalog</a:t>
            </a:r>
            <a:r>
              <a:rPr kumimoji="0" lang="en-GB" sz="500" b="0" i="0" u="none" strike="noStrike" kern="1200" cap="none" spc="0" normalizeH="0" baseline="0" noProof="0">
                <a:ln>
                  <a:noFill/>
                </a:ln>
                <a:solidFill>
                  <a:prstClr val="black"/>
                </a:solidFill>
                <a:effectLst/>
                <a:uLnTx/>
                <a:uFillTx/>
                <a:latin typeface="Santander Text" panose="020B0504020201020104"/>
                <a:ea typeface="+mn-ea"/>
                <a:cs typeface="Calibri" panose="020F0502020204030204" pitchFamily="34" charset="0"/>
              </a:rPr>
              <a:t> of A2A roles and contracts to discover and reuse autonomous agents.</a:t>
            </a:r>
          </a:p>
        </p:txBody>
      </p:sp>
      <p:sp>
        <p:nvSpPr>
          <p:cNvPr id="22" name="Rectangle 1023">
            <a:extLst>
              <a:ext uri="{FF2B5EF4-FFF2-40B4-BE49-F238E27FC236}">
                <a16:creationId xmlns:a16="http://schemas.microsoft.com/office/drawing/2014/main" id="{3F3BB4AB-C135-516A-9814-596C9EE34F36}"/>
              </a:ext>
            </a:extLst>
          </p:cNvPr>
          <p:cNvSpPr/>
          <p:nvPr/>
        </p:nvSpPr>
        <p:spPr>
          <a:xfrm>
            <a:off x="5450268" y="2267909"/>
            <a:ext cx="1512000" cy="324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Santander Text" panose="020B0504020201020104"/>
                <a:ea typeface="+mn-ea"/>
                <a:cs typeface="+mn-cs"/>
              </a:rPr>
              <a:t>Guardrails</a:t>
            </a:r>
            <a:endParaRPr kumimoji="0" lang="en-GB" sz="800" b="0" i="0" u="none" strike="noStrike" kern="1200" cap="none" spc="0" normalizeH="0" baseline="0" noProof="0">
              <a:ln>
                <a:noFill/>
              </a:ln>
              <a:solidFill>
                <a:srgbClr val="000000"/>
              </a:solidFill>
              <a:effectLst/>
              <a:uLnTx/>
              <a:uFillTx/>
              <a:latin typeface="Santander Text" panose="020B05040202010201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srgbClr val="000000"/>
                </a:solidFill>
                <a:effectLst/>
                <a:uLnTx/>
                <a:uFillTx/>
                <a:latin typeface="Santander Text" panose="020B0504020201020104"/>
                <a:ea typeface="Calibri" panose="020F0502020204030204" pitchFamily="34" charset="0"/>
                <a:cs typeface="Calibri" panose="020F0502020204030204" pitchFamily="34" charset="0"/>
              </a:rPr>
              <a:t>Control Outputs, hallucination, wrong behaviour and other parameters</a:t>
            </a:r>
            <a:endParaRPr kumimoji="0" lang="en-GB" sz="500" b="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29" name="Rectangle 28">
            <a:extLst>
              <a:ext uri="{FF2B5EF4-FFF2-40B4-BE49-F238E27FC236}">
                <a16:creationId xmlns:a16="http://schemas.microsoft.com/office/drawing/2014/main" id="{563AD18A-045F-8701-9B25-7C1AB04D0310}"/>
              </a:ext>
            </a:extLst>
          </p:cNvPr>
          <p:cNvSpPr/>
          <p:nvPr/>
        </p:nvSpPr>
        <p:spPr>
          <a:xfrm>
            <a:off x="4114095" y="3010512"/>
            <a:ext cx="1044000" cy="493827"/>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Santander Text" panose="020B0504020201020104"/>
                <a:ea typeface="+mn-ea"/>
                <a:cs typeface="+mn-cs"/>
              </a:rPr>
              <a:t>Episodic memory For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a:ln>
                  <a:noFill/>
                </a:ln>
                <a:solidFill>
                  <a:prstClr val="black"/>
                </a:solidFill>
                <a:effectLst/>
                <a:uLnTx/>
                <a:uFillTx/>
                <a:latin typeface="Santander Text" panose="020B0504020201020104"/>
                <a:ea typeface="+mn-ea"/>
                <a:cs typeface="+mn-cs"/>
              </a:rPr>
              <a:t>Generates Memory </a:t>
            </a:r>
            <a:r>
              <a:rPr kumimoji="0" lang="en-GB" sz="500" b="0" i="0" u="none" strike="noStrike" kern="1200" cap="none" spc="0" normalizeH="0" baseline="0" noProof="0">
                <a:ln>
                  <a:noFill/>
                </a:ln>
                <a:solidFill>
                  <a:prstClr val="black"/>
                </a:solidFill>
                <a:effectLst/>
                <a:uLnTx/>
                <a:uFillTx/>
                <a:latin typeface="Santander Text" panose="020B0504020201020104"/>
                <a:ea typeface="+mn-ea"/>
                <a:cs typeface="Calibri" panose="020F0502020204030204" pitchFamily="34" charset="0"/>
              </a:rPr>
              <a:t>episodes</a:t>
            </a:r>
            <a:r>
              <a:rPr kumimoji="0" lang="en-GB" sz="500" b="0" i="0" u="none" strike="noStrike" kern="1200" cap="none" spc="0" normalizeH="0" baseline="0" noProof="0">
                <a:ln>
                  <a:noFill/>
                </a:ln>
                <a:solidFill>
                  <a:prstClr val="black"/>
                </a:solidFill>
                <a:effectLst/>
                <a:uLnTx/>
                <a:uFillTx/>
                <a:latin typeface="Santander Text" panose="020B0504020201020104"/>
                <a:ea typeface="+mn-ea"/>
                <a:cs typeface="+mn-cs"/>
              </a:rPr>
              <a:t> as past experiences to work better at each iteration.</a:t>
            </a:r>
          </a:p>
        </p:txBody>
      </p:sp>
      <p:pic>
        <p:nvPicPr>
          <p:cNvPr id="3" name="Imagen 2" descr="NTT Data - Red Seguridad">
            <a:extLst>
              <a:ext uri="{FF2B5EF4-FFF2-40B4-BE49-F238E27FC236}">
                <a16:creationId xmlns:a16="http://schemas.microsoft.com/office/drawing/2014/main" id="{C6F7BB60-A254-6891-3A22-6C2102BBBDD9}"/>
              </a:ext>
            </a:extLst>
          </p:cNvPr>
          <p:cNvPicPr>
            <a:picLocks noChangeAspect="1"/>
          </p:cNvPicPr>
          <p:nvPr/>
        </p:nvPicPr>
        <p:blipFill>
          <a:blip r:embed="rId6"/>
          <a:stretch>
            <a:fillRect/>
          </a:stretch>
        </p:blipFill>
        <p:spPr>
          <a:xfrm>
            <a:off x="10881313" y="-202669"/>
            <a:ext cx="1166998" cy="847775"/>
          </a:xfrm>
          <a:prstGeom prst="rect">
            <a:avLst/>
          </a:prstGeom>
        </p:spPr>
      </p:pic>
      <p:pic>
        <p:nvPicPr>
          <p:cNvPr id="6" name="Picture 5">
            <a:extLst>
              <a:ext uri="{FF2B5EF4-FFF2-40B4-BE49-F238E27FC236}">
                <a16:creationId xmlns:a16="http://schemas.microsoft.com/office/drawing/2014/main" id="{E8BD9438-7EE9-D810-F11F-360B8EAE8C59}"/>
              </a:ext>
            </a:extLst>
          </p:cNvPr>
          <p:cNvPicPr>
            <a:picLocks noChangeAspect="1"/>
          </p:cNvPicPr>
          <p:nvPr/>
        </p:nvPicPr>
        <p:blipFill>
          <a:blip r:embed="rId5"/>
          <a:srcRect r="22480"/>
          <a:stretch>
            <a:fillRect/>
          </a:stretch>
        </p:blipFill>
        <p:spPr>
          <a:xfrm>
            <a:off x="9081410" y="32335"/>
            <a:ext cx="1610515" cy="388493"/>
          </a:xfrm>
          <a:prstGeom prst="rect">
            <a:avLst/>
          </a:prstGeom>
        </p:spPr>
      </p:pic>
      <p:sp>
        <p:nvSpPr>
          <p:cNvPr id="48" name="Rectangle 1023">
            <a:extLst>
              <a:ext uri="{FF2B5EF4-FFF2-40B4-BE49-F238E27FC236}">
                <a16:creationId xmlns:a16="http://schemas.microsoft.com/office/drawing/2014/main" id="{97005645-D26B-D480-43A7-AF641984CE87}"/>
              </a:ext>
            </a:extLst>
          </p:cNvPr>
          <p:cNvSpPr/>
          <p:nvPr/>
        </p:nvSpPr>
        <p:spPr>
          <a:xfrm>
            <a:off x="1708540" y="5607740"/>
            <a:ext cx="2124000" cy="897851"/>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1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SDLC &amp; </a:t>
            </a:r>
            <a:r>
              <a:rPr kumimoji="0" lang="en-GB" sz="1100" b="1" i="0" u="none" strike="noStrike" kern="1200" cap="none" spc="0" normalizeH="0" baseline="0" noProof="0" err="1">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DevSecOps</a:t>
            </a:r>
            <a:endParaRPr kumimoji="0" lang="en-GB" sz="900" b="0" i="1" u="none" strike="noStrike" kern="1200" cap="none" spc="0" normalizeH="0" baseline="0" noProof="0">
              <a:ln>
                <a:noFill/>
              </a:ln>
              <a:solidFill>
                <a:srgbClr val="FFFFFF"/>
              </a:solidFill>
              <a:effectLst/>
              <a:uLnTx/>
              <a:uFillTx/>
              <a:latin typeface="Santander Text" panose="020B0504020201020104"/>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700" b="0" i="1" u="none" strike="noStrike" kern="1200" cap="none" spc="0" normalizeH="0" baseline="0" noProof="0">
                <a:ln>
                  <a:noFill/>
                </a:ln>
                <a:solidFill>
                  <a:prstClr val="white"/>
                </a:solidFill>
                <a:effectLst/>
                <a:uLnTx/>
                <a:uFillTx/>
                <a:latin typeface="Santander Text" panose="020B0504020201020104"/>
                <a:ea typeface="+mn-ea"/>
                <a:cs typeface="+mn-cs"/>
              </a:rPr>
              <a:t>Adapted to the software development lifecycle and integrate </a:t>
            </a:r>
            <a:r>
              <a:rPr kumimoji="0" lang="en-GB" sz="700" b="0" i="1" u="none" strike="noStrike" kern="1200" cap="none" spc="0" normalizeH="0" baseline="0" noProof="0" err="1">
                <a:ln>
                  <a:noFill/>
                </a:ln>
                <a:solidFill>
                  <a:prstClr val="white"/>
                </a:solidFill>
                <a:effectLst/>
                <a:uLnTx/>
                <a:uFillTx/>
                <a:latin typeface="Santander Text" panose="020B0504020201020104"/>
                <a:ea typeface="+mn-ea"/>
                <a:cs typeface="+mn-cs"/>
              </a:rPr>
              <a:t>DevSecOps</a:t>
            </a:r>
            <a:r>
              <a:rPr kumimoji="0" lang="en-GB" sz="700" b="0" i="1" u="none" strike="noStrike" kern="1200" cap="none" spc="0" normalizeH="0" baseline="0" noProof="0">
                <a:ln>
                  <a:noFill/>
                </a:ln>
                <a:solidFill>
                  <a:prstClr val="white"/>
                </a:solidFill>
                <a:effectLst/>
                <a:uLnTx/>
                <a:uFillTx/>
                <a:latin typeface="Santander Text" panose="020B0504020201020104"/>
                <a:ea typeface="+mn-ea"/>
                <a:cs typeface="+mn-cs"/>
              </a:rPr>
              <a:t> tools to enhance security and efficiency throughout the process.</a:t>
            </a:r>
          </a:p>
        </p:txBody>
      </p:sp>
      <p:sp>
        <p:nvSpPr>
          <p:cNvPr id="7" name="Arrow: Right 1054">
            <a:extLst>
              <a:ext uri="{FF2B5EF4-FFF2-40B4-BE49-F238E27FC236}">
                <a16:creationId xmlns:a16="http://schemas.microsoft.com/office/drawing/2014/main" id="{046D3298-617B-0BAD-2128-66D8E4F3B7FB}"/>
              </a:ext>
            </a:extLst>
          </p:cNvPr>
          <p:cNvSpPr/>
          <p:nvPr/>
        </p:nvSpPr>
        <p:spPr>
          <a:xfrm rot="16200000">
            <a:off x="5113558" y="5244710"/>
            <a:ext cx="288000" cy="226800"/>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antander Text" panose="020B0504020201020104"/>
              <a:ea typeface="+mn-ea"/>
              <a:cs typeface="+mn-cs"/>
            </a:endParaRPr>
          </a:p>
        </p:txBody>
      </p:sp>
      <p:sp>
        <p:nvSpPr>
          <p:cNvPr id="15" name="Rectángulo 6528">
            <a:extLst>
              <a:ext uri="{FF2B5EF4-FFF2-40B4-BE49-F238E27FC236}">
                <a16:creationId xmlns:a16="http://schemas.microsoft.com/office/drawing/2014/main" id="{A3226DFA-1731-9F69-CAB5-2805C976CC4C}"/>
              </a:ext>
            </a:extLst>
          </p:cNvPr>
          <p:cNvSpPr/>
          <p:nvPr/>
        </p:nvSpPr>
        <p:spPr>
          <a:xfrm>
            <a:off x="696860" y="3281486"/>
            <a:ext cx="540000" cy="147516"/>
          </a:xfrm>
          <a:prstGeom prst="rect">
            <a:avLst/>
          </a:prstGeom>
          <a:solidFill>
            <a:schemeClr val="bg2">
              <a:lumMod val="20000"/>
              <a:lumOff val="80000"/>
            </a:schemeClr>
          </a:solidFill>
          <a:ln w="12700" cap="flat">
            <a:solidFill>
              <a:schemeClr val="bg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25400" rIns="0" bIns="25400" numCol="1" spcCol="38100" rtlCol="0" anchor="ctr">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Aptos" panose="02110004020202020204"/>
                <a:ea typeface="Noto Serif" panose="02020502060505020204" pitchFamily="18" charset="0"/>
                <a:cs typeface="Noto Serif" panose="02020502060505020204" pitchFamily="18" charset="0"/>
                <a:sym typeface="Helvetica Neue Medium"/>
              </a:rPr>
              <a:t>BAMOE</a:t>
            </a:r>
          </a:p>
        </p:txBody>
      </p:sp>
      <p:sp>
        <p:nvSpPr>
          <p:cNvPr id="19" name="Rectángulo 6528">
            <a:extLst>
              <a:ext uri="{FF2B5EF4-FFF2-40B4-BE49-F238E27FC236}">
                <a16:creationId xmlns:a16="http://schemas.microsoft.com/office/drawing/2014/main" id="{B8F124DE-B489-D55C-4233-E17B3EC451FA}"/>
              </a:ext>
            </a:extLst>
          </p:cNvPr>
          <p:cNvSpPr/>
          <p:nvPr/>
        </p:nvSpPr>
        <p:spPr>
          <a:xfrm>
            <a:off x="696860" y="3461072"/>
            <a:ext cx="540000" cy="147516"/>
          </a:xfrm>
          <a:prstGeom prst="rect">
            <a:avLst/>
          </a:prstGeom>
          <a:solidFill>
            <a:schemeClr val="bg2">
              <a:lumMod val="20000"/>
              <a:lumOff val="80000"/>
            </a:schemeClr>
          </a:solidFill>
          <a:ln w="12700" cap="flat">
            <a:solidFill>
              <a:schemeClr val="bg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25400" rIns="0" bIns="25400" numCol="1" spcCol="38100" rtlCol="0" anchor="ctr">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Aptos" panose="02110004020202020204"/>
                <a:ea typeface="Noto Serif" panose="02020502060505020204" pitchFamily="18" charset="0"/>
                <a:cs typeface="Noto Serif" panose="02020502060505020204" pitchFamily="18" charset="0"/>
                <a:sym typeface="Helvetica Neue Medium"/>
              </a:rPr>
              <a:t>IDP Broker</a:t>
            </a:r>
          </a:p>
        </p:txBody>
      </p:sp>
      <p:sp>
        <p:nvSpPr>
          <p:cNvPr id="20" name="Rectángulo 6528">
            <a:extLst>
              <a:ext uri="{FF2B5EF4-FFF2-40B4-BE49-F238E27FC236}">
                <a16:creationId xmlns:a16="http://schemas.microsoft.com/office/drawing/2014/main" id="{2FB164F6-3805-F2BE-2B6C-DB4216B9B68E}"/>
              </a:ext>
            </a:extLst>
          </p:cNvPr>
          <p:cNvSpPr/>
          <p:nvPr/>
        </p:nvSpPr>
        <p:spPr>
          <a:xfrm>
            <a:off x="696860" y="3640658"/>
            <a:ext cx="540000" cy="252000"/>
          </a:xfrm>
          <a:prstGeom prst="rect">
            <a:avLst/>
          </a:prstGeom>
          <a:solidFill>
            <a:schemeClr val="bg2">
              <a:lumMod val="20000"/>
              <a:lumOff val="80000"/>
            </a:schemeClr>
          </a:solidFill>
          <a:ln w="12700" cap="flat">
            <a:solidFill>
              <a:schemeClr val="bg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25400" rIns="0" bIns="2540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Aptos" panose="02110004020202020204"/>
                <a:ea typeface="Noto Serif" panose="02020502060505020204" pitchFamily="18" charset="0"/>
                <a:cs typeface="Noto Serif" panose="02020502060505020204" pitchFamily="18" charset="0"/>
                <a:sym typeface="Helvetica Neue Medium"/>
              </a:rPr>
              <a:t>RPA</a:t>
            </a:r>
          </a:p>
        </p:txBody>
      </p:sp>
      <p:cxnSp>
        <p:nvCxnSpPr>
          <p:cNvPr id="24" name="Straight Arrow Connector 23">
            <a:extLst>
              <a:ext uri="{FF2B5EF4-FFF2-40B4-BE49-F238E27FC236}">
                <a16:creationId xmlns:a16="http://schemas.microsoft.com/office/drawing/2014/main" id="{2A169F02-109C-6E3A-59A1-E06AEC8AAA09}"/>
              </a:ext>
            </a:extLst>
          </p:cNvPr>
          <p:cNvCxnSpPr>
            <a:cxnSpLocks/>
            <a:stCxn id="1052" idx="2"/>
            <a:endCxn id="1111" idx="1"/>
          </p:cNvCxnSpPr>
          <p:nvPr/>
        </p:nvCxnSpPr>
        <p:spPr>
          <a:xfrm>
            <a:off x="1450715" y="3621244"/>
            <a:ext cx="420677" cy="244434"/>
          </a:xfrm>
          <a:prstGeom prst="straightConnector1">
            <a:avLst/>
          </a:prstGeom>
          <a:ln w="254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5" name="Rectangle 1023">
            <a:extLst>
              <a:ext uri="{FF2B5EF4-FFF2-40B4-BE49-F238E27FC236}">
                <a16:creationId xmlns:a16="http://schemas.microsoft.com/office/drawing/2014/main" id="{605E90D9-31CA-EEF5-3C74-9BE5D67C4BAD}"/>
              </a:ext>
            </a:extLst>
          </p:cNvPr>
          <p:cNvSpPr/>
          <p:nvPr/>
        </p:nvSpPr>
        <p:spPr>
          <a:xfrm>
            <a:off x="704943" y="4457488"/>
            <a:ext cx="684000" cy="216000"/>
          </a:xfrm>
          <a:prstGeom prst="rect">
            <a:avLst/>
          </a:prstGeom>
          <a:solidFill>
            <a:schemeClr val="bg2">
              <a:lumMod val="20000"/>
              <a:lumOff val="80000"/>
            </a:schemeClr>
          </a:solidFill>
          <a:ln w="12700" cap="flat">
            <a:solidFill>
              <a:schemeClr val="bg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25400" rIns="0" bIns="25400" numCol="1" spcCol="38100" rtlCol="0" anchor="ctr">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Aptos" panose="02110004020202020204"/>
                <a:ea typeface="Noto Serif" panose="02020502060505020204" pitchFamily="18" charset="0"/>
                <a:cs typeface="Noto Serif" panose="02020502060505020204" pitchFamily="18" charset="0"/>
              </a:rPr>
              <a:t>FMIS</a:t>
            </a:r>
          </a:p>
        </p:txBody>
      </p:sp>
      <p:sp>
        <p:nvSpPr>
          <p:cNvPr id="26" name="Rectangle 1023">
            <a:extLst>
              <a:ext uri="{FF2B5EF4-FFF2-40B4-BE49-F238E27FC236}">
                <a16:creationId xmlns:a16="http://schemas.microsoft.com/office/drawing/2014/main" id="{1C853C20-E3C7-4233-110D-C3959EE77BE0}"/>
              </a:ext>
            </a:extLst>
          </p:cNvPr>
          <p:cNvSpPr/>
          <p:nvPr/>
        </p:nvSpPr>
        <p:spPr>
          <a:xfrm>
            <a:off x="704943" y="4721461"/>
            <a:ext cx="684000" cy="216000"/>
          </a:xfrm>
          <a:prstGeom prst="rect">
            <a:avLst/>
          </a:prstGeom>
          <a:solidFill>
            <a:schemeClr val="bg2">
              <a:lumMod val="20000"/>
              <a:lumOff val="80000"/>
            </a:schemeClr>
          </a:solidFill>
          <a:ln w="12700" cap="flat">
            <a:solidFill>
              <a:schemeClr val="bg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25400" rIns="0" bIns="25400" numCol="1" spcCol="38100" rtlCol="0" anchor="ctr">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Aptos" panose="02110004020202020204"/>
                <a:ea typeface="Noto Serif" panose="02020502060505020204" pitchFamily="18" charset="0"/>
                <a:cs typeface="Noto Serif" panose="02020502060505020204" pitchFamily="18" charset="0"/>
              </a:rPr>
              <a:t>SANART</a:t>
            </a:r>
          </a:p>
        </p:txBody>
      </p:sp>
      <p:sp>
        <p:nvSpPr>
          <p:cNvPr id="27" name="Rectangle 1023">
            <a:extLst>
              <a:ext uri="{FF2B5EF4-FFF2-40B4-BE49-F238E27FC236}">
                <a16:creationId xmlns:a16="http://schemas.microsoft.com/office/drawing/2014/main" id="{20DC7829-E0EA-C688-58BF-4AC785800F47}"/>
              </a:ext>
            </a:extLst>
          </p:cNvPr>
          <p:cNvSpPr/>
          <p:nvPr/>
        </p:nvSpPr>
        <p:spPr>
          <a:xfrm>
            <a:off x="704943" y="5005978"/>
            <a:ext cx="684000" cy="216000"/>
          </a:xfrm>
          <a:prstGeom prst="rect">
            <a:avLst/>
          </a:prstGeom>
          <a:solidFill>
            <a:schemeClr val="bg2">
              <a:lumMod val="20000"/>
              <a:lumOff val="80000"/>
            </a:schemeClr>
          </a:solidFill>
          <a:ln w="12700" cap="flat">
            <a:solidFill>
              <a:schemeClr val="bg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25400" rIns="0" bIns="25400" numCol="1" spcCol="38100" rtlCol="0" anchor="ctr">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Aptos" panose="02110004020202020204"/>
                <a:ea typeface="Noto Serif" panose="02020502060505020204" pitchFamily="18" charset="0"/>
                <a:cs typeface="Noto Serif" panose="02020502060505020204" pitchFamily="18" charset="0"/>
              </a:rPr>
              <a:t>TITULIZATIONS</a:t>
            </a:r>
          </a:p>
        </p:txBody>
      </p:sp>
      <p:sp>
        <p:nvSpPr>
          <p:cNvPr id="31" name="Thought Bubble: Cloud 30">
            <a:extLst>
              <a:ext uri="{FF2B5EF4-FFF2-40B4-BE49-F238E27FC236}">
                <a16:creationId xmlns:a16="http://schemas.microsoft.com/office/drawing/2014/main" id="{F16A3352-89A3-5329-0955-4C3CE3F9B4BD}"/>
              </a:ext>
            </a:extLst>
          </p:cNvPr>
          <p:cNvSpPr/>
          <p:nvPr/>
        </p:nvSpPr>
        <p:spPr>
          <a:xfrm>
            <a:off x="503040" y="4218006"/>
            <a:ext cx="1119696" cy="1278048"/>
          </a:xfrm>
          <a:prstGeom prst="cloudCallout">
            <a:avLst>
              <a:gd name="adj1" fmla="val -254593"/>
              <a:gd name="adj2" fmla="val 79849"/>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33" name="Straight Arrow Connector 32">
            <a:extLst>
              <a:ext uri="{FF2B5EF4-FFF2-40B4-BE49-F238E27FC236}">
                <a16:creationId xmlns:a16="http://schemas.microsoft.com/office/drawing/2014/main" id="{79981EB4-E75B-C385-242C-CED93EDAF091}"/>
              </a:ext>
            </a:extLst>
          </p:cNvPr>
          <p:cNvCxnSpPr>
            <a:cxnSpLocks/>
            <a:stCxn id="31" idx="2"/>
            <a:endCxn id="1112" idx="1"/>
          </p:cNvCxnSpPr>
          <p:nvPr/>
        </p:nvCxnSpPr>
        <p:spPr>
          <a:xfrm flipV="1">
            <a:off x="1621803" y="4845218"/>
            <a:ext cx="249589" cy="11812"/>
          </a:xfrm>
          <a:prstGeom prst="straightConnector1">
            <a:avLst/>
          </a:prstGeom>
          <a:ln w="254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56" name="Thought Bubble: Cloud 55">
            <a:extLst>
              <a:ext uri="{FF2B5EF4-FFF2-40B4-BE49-F238E27FC236}">
                <a16:creationId xmlns:a16="http://schemas.microsoft.com/office/drawing/2014/main" id="{841297A8-B7B9-0D20-5AA6-6D7F4D426471}"/>
              </a:ext>
            </a:extLst>
          </p:cNvPr>
          <p:cNvSpPr/>
          <p:nvPr/>
        </p:nvSpPr>
        <p:spPr>
          <a:xfrm>
            <a:off x="1545583" y="6481519"/>
            <a:ext cx="2266457" cy="286853"/>
          </a:xfrm>
          <a:prstGeom prst="cloudCallout">
            <a:avLst>
              <a:gd name="adj1" fmla="val -392710"/>
              <a:gd name="adj2" fmla="val 64943"/>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9" name="Thought Bubble: Cloud 58">
            <a:extLst>
              <a:ext uri="{FF2B5EF4-FFF2-40B4-BE49-F238E27FC236}">
                <a16:creationId xmlns:a16="http://schemas.microsoft.com/office/drawing/2014/main" id="{CA6352F9-7DAA-C54A-9CFA-F0954809E128}"/>
              </a:ext>
            </a:extLst>
          </p:cNvPr>
          <p:cNvSpPr/>
          <p:nvPr/>
        </p:nvSpPr>
        <p:spPr>
          <a:xfrm>
            <a:off x="9422402" y="6505591"/>
            <a:ext cx="1504265" cy="286853"/>
          </a:xfrm>
          <a:prstGeom prst="cloudCallout">
            <a:avLst>
              <a:gd name="adj1" fmla="val 41032"/>
              <a:gd name="adj2" fmla="val 519854"/>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45" name="Picture 44">
            <a:extLst>
              <a:ext uri="{FF2B5EF4-FFF2-40B4-BE49-F238E27FC236}">
                <a16:creationId xmlns:a16="http://schemas.microsoft.com/office/drawing/2014/main" id="{C6CA2EE3-5F4E-CF62-6E65-36F6E9DD9879}"/>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Lst>
          </a:blip>
          <a:stretch>
            <a:fillRect/>
          </a:stretch>
        </p:blipFill>
        <p:spPr>
          <a:xfrm>
            <a:off x="1837784" y="6527380"/>
            <a:ext cx="267376" cy="208983"/>
          </a:xfrm>
          <a:prstGeom prst="rect">
            <a:avLst/>
          </a:prstGeom>
          <a:solidFill>
            <a:schemeClr val="bg1"/>
          </a:solidFill>
          <a:ln>
            <a:noFill/>
          </a:ln>
        </p:spPr>
      </p:pic>
      <p:pic>
        <p:nvPicPr>
          <p:cNvPr id="46" name="Picture 6" descr="Terraform - The most popular infrastructure as code tool in the world">
            <a:extLst>
              <a:ext uri="{FF2B5EF4-FFF2-40B4-BE49-F238E27FC236}">
                <a16:creationId xmlns:a16="http://schemas.microsoft.com/office/drawing/2014/main" id="{3B00D8CB-9BE0-8168-D3D3-0B8ECB92500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62232" y="6545634"/>
            <a:ext cx="523282" cy="125506"/>
          </a:xfrm>
          <a:prstGeom prst="rect">
            <a:avLst/>
          </a:prstGeom>
          <a:solidFill>
            <a:schemeClr val="bg1"/>
          </a:solidFill>
          <a:ln>
            <a:noFill/>
          </a:ln>
        </p:spPr>
      </p:pic>
      <p:grpSp>
        <p:nvGrpSpPr>
          <p:cNvPr id="47" name="Group 46">
            <a:extLst>
              <a:ext uri="{FF2B5EF4-FFF2-40B4-BE49-F238E27FC236}">
                <a16:creationId xmlns:a16="http://schemas.microsoft.com/office/drawing/2014/main" id="{18B78772-3812-5F88-0495-574CA9B764B2}"/>
              </a:ext>
            </a:extLst>
          </p:cNvPr>
          <p:cNvGrpSpPr/>
          <p:nvPr/>
        </p:nvGrpSpPr>
        <p:grpSpPr>
          <a:xfrm>
            <a:off x="2217483" y="6559653"/>
            <a:ext cx="540000" cy="144000"/>
            <a:chOff x="4449927" y="7756492"/>
            <a:chExt cx="1951225" cy="686721"/>
          </a:xfrm>
          <a:solidFill>
            <a:schemeClr val="bg1"/>
          </a:solidFill>
        </p:grpSpPr>
        <p:pic>
          <p:nvPicPr>
            <p:cNvPr id="49" name="Picture 20" descr="GitHub Logo, symbol, meaning, history, PNG, brand">
              <a:extLst>
                <a:ext uri="{FF2B5EF4-FFF2-40B4-BE49-F238E27FC236}">
                  <a16:creationId xmlns:a16="http://schemas.microsoft.com/office/drawing/2014/main" id="{B61E38E9-CD53-18FF-F5B1-D89733FD1472}"/>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25129" b="23406"/>
            <a:stretch>
              <a:fillRect/>
            </a:stretch>
          </p:blipFill>
          <p:spPr bwMode="auto">
            <a:xfrm>
              <a:off x="5115818" y="7895198"/>
              <a:ext cx="1285334" cy="372093"/>
            </a:xfrm>
            <a:prstGeom prst="rect">
              <a:avLst/>
            </a:prstGeom>
            <a:grpFill/>
            <a:ln>
              <a:noFill/>
            </a:ln>
          </p:spPr>
        </p:pic>
        <p:pic>
          <p:nvPicPr>
            <p:cNvPr id="50" name="Picture 24" descr="Github Logo - Free social media icons">
              <a:extLst>
                <a:ext uri="{FF2B5EF4-FFF2-40B4-BE49-F238E27FC236}">
                  <a16:creationId xmlns:a16="http://schemas.microsoft.com/office/drawing/2014/main" id="{E6F9D4BB-A63A-CABC-DFBD-87E5E61C9C5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449927" y="7756492"/>
              <a:ext cx="686721" cy="686721"/>
            </a:xfrm>
            <a:prstGeom prst="rect">
              <a:avLst/>
            </a:prstGeom>
            <a:grpFill/>
            <a:ln>
              <a:noFill/>
            </a:ln>
          </p:spPr>
        </p:pic>
      </p:grpSp>
      <p:sp>
        <p:nvSpPr>
          <p:cNvPr id="57" name="Thought Bubble: Cloud 56">
            <a:extLst>
              <a:ext uri="{FF2B5EF4-FFF2-40B4-BE49-F238E27FC236}">
                <a16:creationId xmlns:a16="http://schemas.microsoft.com/office/drawing/2014/main" id="{75BB2419-0EAB-5B63-55D1-A8FA0C4F438F}"/>
              </a:ext>
            </a:extLst>
          </p:cNvPr>
          <p:cNvSpPr/>
          <p:nvPr/>
        </p:nvSpPr>
        <p:spPr>
          <a:xfrm>
            <a:off x="3841957" y="6515346"/>
            <a:ext cx="2345483" cy="286853"/>
          </a:xfrm>
          <a:prstGeom prst="cloudCallout">
            <a:avLst>
              <a:gd name="adj1" fmla="val 42456"/>
              <a:gd name="adj2" fmla="val 669277"/>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60" name="Group 59">
            <a:extLst>
              <a:ext uri="{FF2B5EF4-FFF2-40B4-BE49-F238E27FC236}">
                <a16:creationId xmlns:a16="http://schemas.microsoft.com/office/drawing/2014/main" id="{83C8EAD7-4482-24BC-D235-DAA6F24C2524}"/>
              </a:ext>
            </a:extLst>
          </p:cNvPr>
          <p:cNvGrpSpPr/>
          <p:nvPr/>
        </p:nvGrpSpPr>
        <p:grpSpPr>
          <a:xfrm>
            <a:off x="5697043" y="6555176"/>
            <a:ext cx="323616" cy="138499"/>
            <a:chOff x="5697043" y="6555176"/>
            <a:chExt cx="323616" cy="138499"/>
          </a:xfrm>
        </p:grpSpPr>
        <p:pic>
          <p:nvPicPr>
            <p:cNvPr id="52" name="Picture 32" descr="Download OpenShift Logo in SVG Vector or PNG File Format - Logo.wine">
              <a:extLst>
                <a:ext uri="{FF2B5EF4-FFF2-40B4-BE49-F238E27FC236}">
                  <a16:creationId xmlns:a16="http://schemas.microsoft.com/office/drawing/2014/main" id="{E4296AFD-4BDB-280D-2593-7C0A91D28A1C}"/>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28905" t="15448" r="31057" b="31226"/>
            <a:stretch>
              <a:fillRect/>
            </a:stretch>
          </p:blipFill>
          <p:spPr bwMode="auto">
            <a:xfrm>
              <a:off x="5697043" y="6573518"/>
              <a:ext cx="108000" cy="103523"/>
            </a:xfrm>
            <a:prstGeom prst="rect">
              <a:avLst/>
            </a:prstGeom>
            <a:solidFill>
              <a:schemeClr val="bg1"/>
            </a:solidFill>
            <a:ln>
              <a:noFill/>
            </a:ln>
          </p:spPr>
        </p:pic>
        <p:sp>
          <p:nvSpPr>
            <p:cNvPr id="53" name="TextBox 52">
              <a:extLst>
                <a:ext uri="{FF2B5EF4-FFF2-40B4-BE49-F238E27FC236}">
                  <a16:creationId xmlns:a16="http://schemas.microsoft.com/office/drawing/2014/main" id="{1B3B264F-C3B7-5CB3-860F-C4C3A2E38EB5}"/>
                </a:ext>
              </a:extLst>
            </p:cNvPr>
            <p:cNvSpPr txBox="1"/>
            <p:nvPr/>
          </p:nvSpPr>
          <p:spPr>
            <a:xfrm>
              <a:off x="5815475" y="6555176"/>
              <a:ext cx="205184" cy="138499"/>
            </a:xfrm>
            <a:prstGeom prst="rect">
              <a:avLst/>
            </a:prstGeom>
            <a:solidFill>
              <a:schemeClr val="bg1"/>
            </a:solidFill>
            <a:ln w="19050">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white">
                      <a:lumMod val="65000"/>
                    </a:prstClr>
                  </a:solidFill>
                  <a:effectLst/>
                  <a:uLnTx/>
                  <a:uFillTx/>
                  <a:latin typeface="Santander Text" panose="020B0504020201020104"/>
                  <a:ea typeface="+mn-ea"/>
                  <a:cs typeface="+mn-cs"/>
                </a:rPr>
                <a:t>OHE</a:t>
              </a:r>
              <a:endParaRPr kumimoji="0" lang="en-GB" sz="1050" b="0" i="0" u="none" strike="noStrike" kern="1200" cap="none" spc="0" normalizeH="0" baseline="0" noProof="0">
                <a:ln>
                  <a:noFill/>
                </a:ln>
                <a:solidFill>
                  <a:prstClr val="white">
                    <a:lumMod val="65000"/>
                  </a:prstClr>
                </a:solidFill>
                <a:effectLst/>
                <a:uLnTx/>
                <a:uFillTx/>
                <a:latin typeface="Santander Text" panose="020B0504020201020104"/>
                <a:ea typeface="+mn-ea"/>
                <a:cs typeface="+mn-cs"/>
              </a:endParaRPr>
            </a:p>
          </p:txBody>
        </p:sp>
      </p:grpSp>
      <p:pic>
        <p:nvPicPr>
          <p:cNvPr id="54" name="Picture 88" descr="Kubernetes logo - Iconos Social Media y Logos">
            <a:extLst>
              <a:ext uri="{FF2B5EF4-FFF2-40B4-BE49-F238E27FC236}">
                <a16:creationId xmlns:a16="http://schemas.microsoft.com/office/drawing/2014/main" id="{E04B57AC-BE63-AE8A-293D-A227EA94022A}"/>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24517" b="22210"/>
          <a:stretch>
            <a:fillRect/>
          </a:stretch>
        </p:blipFill>
        <p:spPr bwMode="auto">
          <a:xfrm>
            <a:off x="4123286" y="6562337"/>
            <a:ext cx="655942" cy="174718"/>
          </a:xfrm>
          <a:prstGeom prst="rect">
            <a:avLst/>
          </a:prstGeom>
          <a:solidFill>
            <a:schemeClr val="bg1"/>
          </a:solidFill>
          <a:ln>
            <a:noFill/>
          </a:ln>
        </p:spPr>
      </p:pic>
      <p:sp>
        <p:nvSpPr>
          <p:cNvPr id="58" name="Thought Bubble: Cloud 57">
            <a:extLst>
              <a:ext uri="{FF2B5EF4-FFF2-40B4-BE49-F238E27FC236}">
                <a16:creationId xmlns:a16="http://schemas.microsoft.com/office/drawing/2014/main" id="{40479078-E3D3-FF65-91EF-72E48240C1FB}"/>
              </a:ext>
            </a:extLst>
          </p:cNvPr>
          <p:cNvSpPr/>
          <p:nvPr/>
        </p:nvSpPr>
        <p:spPr>
          <a:xfrm>
            <a:off x="6476999" y="6467659"/>
            <a:ext cx="2487399" cy="390341"/>
          </a:xfrm>
          <a:prstGeom prst="cloudCallout">
            <a:avLst>
              <a:gd name="adj1" fmla="val 87375"/>
              <a:gd name="adj2" fmla="val 502118"/>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40" name="Picture 2">
            <a:extLst>
              <a:ext uri="{FF2B5EF4-FFF2-40B4-BE49-F238E27FC236}">
                <a16:creationId xmlns:a16="http://schemas.microsoft.com/office/drawing/2014/main" id="{3F0E34AA-6EC2-D315-EF41-CF2AB0BCB10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p:blipFill>
        <p:spPr bwMode="auto">
          <a:xfrm>
            <a:off x="7144064" y="6529390"/>
            <a:ext cx="283186" cy="262524"/>
          </a:xfrm>
          <a:prstGeom prst="rect">
            <a:avLst/>
          </a:prstGeom>
          <a:solidFill>
            <a:schemeClr val="bg1"/>
          </a:solidFill>
          <a:ln>
            <a:noFill/>
          </a:ln>
        </p:spPr>
      </p:pic>
      <p:pic>
        <p:nvPicPr>
          <p:cNvPr id="39" name="Picture 6">
            <a:extLst>
              <a:ext uri="{FF2B5EF4-FFF2-40B4-BE49-F238E27FC236}">
                <a16:creationId xmlns:a16="http://schemas.microsoft.com/office/drawing/2014/main" id="{EDA039D6-D96B-4612-DCEA-4FDFCF2B2F4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p:blipFill>
        <p:spPr bwMode="auto">
          <a:xfrm>
            <a:off x="7960324" y="6505170"/>
            <a:ext cx="200786" cy="241857"/>
          </a:xfrm>
          <a:prstGeom prst="rect">
            <a:avLst/>
          </a:prstGeom>
          <a:solidFill>
            <a:schemeClr val="bg1"/>
          </a:solidFill>
          <a:ln>
            <a:noFill/>
          </a:ln>
        </p:spPr>
      </p:pic>
      <p:pic>
        <p:nvPicPr>
          <p:cNvPr id="42" name="Imagen 473" descr="Logstash Logo - LogoDix">
            <a:extLst>
              <a:ext uri="{FF2B5EF4-FFF2-40B4-BE49-F238E27FC236}">
                <a16:creationId xmlns:a16="http://schemas.microsoft.com/office/drawing/2014/main" id="{58E125EE-950E-6D34-4B2D-2A108CAB38ED}"/>
              </a:ext>
            </a:extLst>
          </p:cNvPr>
          <p:cNvPicPr>
            <a:picLocks noChangeAspect="1"/>
          </p:cNvPicPr>
          <p:nvPr/>
        </p:nvPicPr>
        <p:blipFill rotWithShape="1">
          <a:blip r:embed="rId16"/>
          <a:srcRect l="47091" t="1756" r="-284" b="-1621"/>
          <a:stretch/>
        </p:blipFill>
        <p:spPr>
          <a:xfrm>
            <a:off x="7464377" y="6589716"/>
            <a:ext cx="412203" cy="158779"/>
          </a:xfrm>
          <a:prstGeom prst="rect">
            <a:avLst/>
          </a:prstGeom>
          <a:solidFill>
            <a:schemeClr val="bg1"/>
          </a:solidFill>
          <a:ln>
            <a:noFill/>
          </a:ln>
        </p:spPr>
      </p:pic>
      <p:pic>
        <p:nvPicPr>
          <p:cNvPr id="44" name="Picture 94" descr="Sysdig Secure | Sumo Logic Docs">
            <a:extLst>
              <a:ext uri="{FF2B5EF4-FFF2-40B4-BE49-F238E27FC236}">
                <a16:creationId xmlns:a16="http://schemas.microsoft.com/office/drawing/2014/main" id="{3000EF22-13ED-6280-7F29-8BEA24B61F1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259296" y="6501541"/>
            <a:ext cx="445770" cy="175336"/>
          </a:xfrm>
          <a:prstGeom prst="rect">
            <a:avLst/>
          </a:prstGeom>
          <a:solidFill>
            <a:schemeClr val="bg1"/>
          </a:solidFill>
          <a:ln>
            <a:noFill/>
          </a:ln>
        </p:spPr>
      </p:pic>
      <p:pic>
        <p:nvPicPr>
          <p:cNvPr id="43" name="Picture 42">
            <a:extLst>
              <a:ext uri="{FF2B5EF4-FFF2-40B4-BE49-F238E27FC236}">
                <a16:creationId xmlns:a16="http://schemas.microsoft.com/office/drawing/2014/main" id="{DD71B2E4-21A0-CCC4-A233-4CF0BDF97314}"/>
              </a:ext>
            </a:extLst>
          </p:cNvPr>
          <p:cNvPicPr>
            <a:picLocks noChangeAspect="1"/>
          </p:cNvPicPr>
          <p:nvPr/>
        </p:nvPicPr>
        <p:blipFill>
          <a:blip r:embed="rId18"/>
          <a:stretch>
            <a:fillRect/>
          </a:stretch>
        </p:blipFill>
        <p:spPr>
          <a:xfrm>
            <a:off x="6799173" y="6535131"/>
            <a:ext cx="258878" cy="247424"/>
          </a:xfrm>
          <a:prstGeom prst="rect">
            <a:avLst/>
          </a:prstGeom>
          <a:solidFill>
            <a:schemeClr val="bg1"/>
          </a:solidFill>
          <a:ln>
            <a:noFill/>
          </a:ln>
        </p:spPr>
      </p:pic>
      <p:pic>
        <p:nvPicPr>
          <p:cNvPr id="1030" name="Picture 6">
            <a:extLst>
              <a:ext uri="{FF2B5EF4-FFF2-40B4-BE49-F238E27FC236}">
                <a16:creationId xmlns:a16="http://schemas.microsoft.com/office/drawing/2014/main" id="{8DD9FE84-D6B5-9799-99F9-0DB8B95D7261}"/>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331563" y="6609989"/>
            <a:ext cx="180225" cy="1080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EC4348F6-D258-48DB-BF74-36AA016F02FB}"/>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816833" y="6556588"/>
            <a:ext cx="455965" cy="131850"/>
          </a:xfrm>
          <a:prstGeom prst="rect">
            <a:avLst/>
          </a:prstGeom>
          <a:noFill/>
          <a:extLst>
            <a:ext uri="{909E8E84-426E-40DD-AFC4-6F175D3DCCD1}">
              <a14:hiddenFill xmlns:a14="http://schemas.microsoft.com/office/drawing/2010/main">
                <a:solidFill>
                  <a:srgbClr val="FFFFFF"/>
                </a:solidFill>
              </a14:hiddenFill>
            </a:ext>
          </a:extLst>
        </p:spPr>
      </p:pic>
      <p:sp>
        <p:nvSpPr>
          <p:cNvPr id="51" name="Thought Bubble: Cloud 50">
            <a:extLst>
              <a:ext uri="{FF2B5EF4-FFF2-40B4-BE49-F238E27FC236}">
                <a16:creationId xmlns:a16="http://schemas.microsoft.com/office/drawing/2014/main" id="{D7D4230A-7D65-8842-8CA5-76228BF962BE}"/>
              </a:ext>
            </a:extLst>
          </p:cNvPr>
          <p:cNvSpPr/>
          <p:nvPr/>
        </p:nvSpPr>
        <p:spPr>
          <a:xfrm>
            <a:off x="3355448" y="242051"/>
            <a:ext cx="1709934" cy="629207"/>
          </a:xfrm>
          <a:prstGeom prst="cloudCallout">
            <a:avLst>
              <a:gd name="adj1" fmla="val 10013"/>
              <a:gd name="adj2" fmla="val -305356"/>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61" name="Picture 32" descr="N8N Logo PNG HD Download With Transparent Background | PNGHDPro">
            <a:extLst>
              <a:ext uri="{FF2B5EF4-FFF2-40B4-BE49-F238E27FC236}">
                <a16:creationId xmlns:a16="http://schemas.microsoft.com/office/drawing/2014/main" id="{7F3A5C00-11FA-3727-3E3B-988F6EF7239E}"/>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t="35620" b="35518"/>
          <a:stretch>
            <a:fillRect/>
          </a:stretch>
        </p:blipFill>
        <p:spPr bwMode="auto">
          <a:xfrm>
            <a:off x="3461135" y="627539"/>
            <a:ext cx="456243" cy="131678"/>
          </a:xfrm>
          <a:prstGeom prst="rect">
            <a:avLst/>
          </a:prstGeom>
        </p:spPr>
      </p:pic>
      <p:pic>
        <p:nvPicPr>
          <p:cNvPr id="62" name="Picture 36" descr="RW #5 - Build a no-Code Customer Service agent">
            <a:extLst>
              <a:ext uri="{FF2B5EF4-FFF2-40B4-BE49-F238E27FC236}">
                <a16:creationId xmlns:a16="http://schemas.microsoft.com/office/drawing/2014/main" id="{6C15F848-16AC-7509-A51F-478CA81552AA}"/>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t="18423" b="14609"/>
          <a:stretch>
            <a:fillRect/>
          </a:stretch>
        </p:blipFill>
        <p:spPr bwMode="auto">
          <a:xfrm>
            <a:off x="3971719" y="643379"/>
            <a:ext cx="525231" cy="103828"/>
          </a:xfrm>
          <a:prstGeom prst="rect">
            <a:avLst/>
          </a:prstGeom>
        </p:spPr>
      </p:pic>
      <p:pic>
        <p:nvPicPr>
          <p:cNvPr id="63" name="Picture 2" descr="I Tried LangGraph And It Felt Like Git For AI Agents | by The Stateless  Samurai | Medium">
            <a:extLst>
              <a:ext uri="{FF2B5EF4-FFF2-40B4-BE49-F238E27FC236}">
                <a16:creationId xmlns:a16="http://schemas.microsoft.com/office/drawing/2014/main" id="{4D413260-B70B-B766-F76F-C760A5C6A0C5}"/>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579452" y="256139"/>
            <a:ext cx="675769" cy="450513"/>
          </a:xfrm>
          <a:prstGeom prst="rect">
            <a:avLst/>
          </a:prstGeom>
          <a:noFill/>
          <a:extLst>
            <a:ext uri="{909E8E84-426E-40DD-AFC4-6F175D3DCCD1}">
              <a14:hiddenFill xmlns:a14="http://schemas.microsoft.com/office/drawing/2010/main">
                <a:solidFill>
                  <a:srgbClr val="FFFFFF"/>
                </a:solidFill>
              </a14:hiddenFill>
            </a:ext>
          </a:extLst>
        </p:spPr>
      </p:pic>
      <p:cxnSp>
        <p:nvCxnSpPr>
          <p:cNvPr id="1024" name="Straight Arrow Connector 1023">
            <a:extLst>
              <a:ext uri="{FF2B5EF4-FFF2-40B4-BE49-F238E27FC236}">
                <a16:creationId xmlns:a16="http://schemas.microsoft.com/office/drawing/2014/main" id="{42FE3C2B-6113-EE36-A910-6D5384B7FCD4}"/>
              </a:ext>
            </a:extLst>
          </p:cNvPr>
          <p:cNvCxnSpPr>
            <a:cxnSpLocks/>
          </p:cNvCxnSpPr>
          <p:nvPr/>
        </p:nvCxnSpPr>
        <p:spPr>
          <a:xfrm>
            <a:off x="4031825" y="827089"/>
            <a:ext cx="80194" cy="396000"/>
          </a:xfrm>
          <a:prstGeom prst="straightConnector1">
            <a:avLst/>
          </a:prstGeom>
          <a:ln w="25400">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2052" name="Picture 4" descr="Azure AI Foundry - Creación de aplicaciones de IA generativa">
            <a:extLst>
              <a:ext uri="{FF2B5EF4-FFF2-40B4-BE49-F238E27FC236}">
                <a16:creationId xmlns:a16="http://schemas.microsoft.com/office/drawing/2014/main" id="{35BBD11E-6D41-DDED-4943-DAD194A0D58E}"/>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10168" t="14234" r="11384" b="17944"/>
          <a:stretch>
            <a:fillRect/>
          </a:stretch>
        </p:blipFill>
        <p:spPr bwMode="auto">
          <a:xfrm>
            <a:off x="4146630" y="330635"/>
            <a:ext cx="400139" cy="26586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Aws Ai Services Sale Amazon Aws Ai Services On Sale Black Friday">
            <a:extLst>
              <a:ext uri="{FF2B5EF4-FFF2-40B4-BE49-F238E27FC236}">
                <a16:creationId xmlns:a16="http://schemas.microsoft.com/office/drawing/2014/main" id="{9760D75C-317F-D140-BB04-2207892C805F}"/>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519969" y="365183"/>
            <a:ext cx="439834" cy="165304"/>
          </a:xfrm>
          <a:prstGeom prst="rect">
            <a:avLst/>
          </a:prstGeom>
          <a:noFill/>
          <a:extLst>
            <a:ext uri="{909E8E84-426E-40DD-AFC4-6F175D3DCCD1}">
              <a14:hiddenFill xmlns:a14="http://schemas.microsoft.com/office/drawing/2010/main">
                <a:solidFill>
                  <a:srgbClr val="FFFFFF"/>
                </a:solidFill>
              </a14:hiddenFill>
            </a:ext>
          </a:extLst>
        </p:spPr>
      </p:pic>
      <p:sp>
        <p:nvSpPr>
          <p:cNvPr id="1025" name="Thought Bubble: Cloud 1024">
            <a:extLst>
              <a:ext uri="{FF2B5EF4-FFF2-40B4-BE49-F238E27FC236}">
                <a16:creationId xmlns:a16="http://schemas.microsoft.com/office/drawing/2014/main" id="{93455FB4-8045-FF6C-6FB0-2BF1D36F6D01}"/>
              </a:ext>
            </a:extLst>
          </p:cNvPr>
          <p:cNvSpPr/>
          <p:nvPr/>
        </p:nvSpPr>
        <p:spPr>
          <a:xfrm>
            <a:off x="5167286" y="147414"/>
            <a:ext cx="1266406" cy="749368"/>
          </a:xfrm>
          <a:prstGeom prst="cloudCallout">
            <a:avLst>
              <a:gd name="adj1" fmla="val 140385"/>
              <a:gd name="adj2" fmla="val -236640"/>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026" name="Picture 10" descr="Consultora Mulesoft (Salesforce) ???? Mulesoft Partner">
            <a:extLst>
              <a:ext uri="{FF2B5EF4-FFF2-40B4-BE49-F238E27FC236}">
                <a16:creationId xmlns:a16="http://schemas.microsoft.com/office/drawing/2014/main" id="{AFA940A0-AFEF-9C12-B82C-B5E8D2F5181B}"/>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5344795" y="238553"/>
            <a:ext cx="323459" cy="323459"/>
          </a:xfrm>
          <a:prstGeom prst="rect">
            <a:avLst/>
          </a:prstGeom>
        </p:spPr>
      </p:pic>
      <p:pic>
        <p:nvPicPr>
          <p:cNvPr id="1027" name="Picture 12" descr="Confluent | beON consult">
            <a:extLst>
              <a:ext uri="{FF2B5EF4-FFF2-40B4-BE49-F238E27FC236}">
                <a16:creationId xmlns:a16="http://schemas.microsoft.com/office/drawing/2014/main" id="{7AE962FE-3FF7-60D2-CD5B-F7A45141B524}"/>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5533102" y="619326"/>
            <a:ext cx="691340" cy="219238"/>
          </a:xfrm>
          <a:prstGeom prst="rect">
            <a:avLst/>
          </a:prstGeom>
        </p:spPr>
      </p:pic>
      <p:pic>
        <p:nvPicPr>
          <p:cNvPr id="1028" name="Picture 14" descr="Apigee | Drupal.org">
            <a:extLst>
              <a:ext uri="{FF2B5EF4-FFF2-40B4-BE49-F238E27FC236}">
                <a16:creationId xmlns:a16="http://schemas.microsoft.com/office/drawing/2014/main" id="{0F2D3641-737B-0720-EA92-E3290BAF7A70}"/>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l="8894" t="26957" r="12902" b="27219"/>
          <a:stretch>
            <a:fillRect/>
          </a:stretch>
        </p:blipFill>
        <p:spPr bwMode="auto">
          <a:xfrm>
            <a:off x="5453607" y="524477"/>
            <a:ext cx="438602" cy="171721"/>
          </a:xfrm>
          <a:prstGeom prst="rect">
            <a:avLst/>
          </a:prstGeom>
        </p:spPr>
      </p:pic>
      <p:pic>
        <p:nvPicPr>
          <p:cNvPr id="1029" name="Picture 18" descr="Q&amp;A: Keep Your IBM API Connect Running And Supported | CROZ">
            <a:extLst>
              <a:ext uri="{FF2B5EF4-FFF2-40B4-BE49-F238E27FC236}">
                <a16:creationId xmlns:a16="http://schemas.microsoft.com/office/drawing/2014/main" id="{B7AC8B47-7EA0-F440-2A97-9672E965AF8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776486" y="218770"/>
            <a:ext cx="415918" cy="340957"/>
          </a:xfrm>
          <a:prstGeom prst="rect">
            <a:avLst/>
          </a:prstGeom>
        </p:spPr>
      </p:pic>
      <p:cxnSp>
        <p:nvCxnSpPr>
          <p:cNvPr id="1031" name="Straight Arrow Connector 1030">
            <a:extLst>
              <a:ext uri="{FF2B5EF4-FFF2-40B4-BE49-F238E27FC236}">
                <a16:creationId xmlns:a16="http://schemas.microsoft.com/office/drawing/2014/main" id="{FED3DD33-3A29-67BC-C88A-D12F1D7A53B9}"/>
              </a:ext>
            </a:extLst>
          </p:cNvPr>
          <p:cNvCxnSpPr>
            <a:cxnSpLocks/>
          </p:cNvCxnSpPr>
          <p:nvPr/>
        </p:nvCxnSpPr>
        <p:spPr>
          <a:xfrm>
            <a:off x="5486846" y="850218"/>
            <a:ext cx="58908" cy="908089"/>
          </a:xfrm>
          <a:prstGeom prst="straightConnector1">
            <a:avLst/>
          </a:prstGeom>
          <a:ln w="254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35" name="Straight Arrow Connector 1034">
            <a:extLst>
              <a:ext uri="{FF2B5EF4-FFF2-40B4-BE49-F238E27FC236}">
                <a16:creationId xmlns:a16="http://schemas.microsoft.com/office/drawing/2014/main" id="{7B4E3960-D685-A178-BA56-45F7786B7593}"/>
              </a:ext>
            </a:extLst>
          </p:cNvPr>
          <p:cNvCxnSpPr>
            <a:cxnSpLocks/>
          </p:cNvCxnSpPr>
          <p:nvPr/>
        </p:nvCxnSpPr>
        <p:spPr>
          <a:xfrm flipH="1">
            <a:off x="4051665" y="820229"/>
            <a:ext cx="1355919" cy="932244"/>
          </a:xfrm>
          <a:prstGeom prst="straightConnector1">
            <a:avLst/>
          </a:prstGeom>
          <a:ln w="25400">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1040" name="Picture 4">
            <a:extLst>
              <a:ext uri="{FF2B5EF4-FFF2-40B4-BE49-F238E27FC236}">
                <a16:creationId xmlns:a16="http://schemas.microsoft.com/office/drawing/2014/main" id="{51144409-FD19-BF92-E365-B79B174304CB}"/>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8333930" y="676339"/>
            <a:ext cx="389683" cy="144000"/>
          </a:xfrm>
          <a:prstGeom prst="rect">
            <a:avLst/>
          </a:prstGeom>
        </p:spPr>
      </p:pic>
      <p:pic>
        <p:nvPicPr>
          <p:cNvPr id="1041" name="Picture 6" descr="Download Clear OpenAI ChatGPT Logo - Different ChatGPT Dimensions With  Variations - Chat GPT AI Hub">
            <a:extLst>
              <a:ext uri="{FF2B5EF4-FFF2-40B4-BE49-F238E27FC236}">
                <a16:creationId xmlns:a16="http://schemas.microsoft.com/office/drawing/2014/main" id="{0E50927E-E215-5F67-6B85-A34B833E7003}"/>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8222660" y="472654"/>
            <a:ext cx="612224" cy="180000"/>
          </a:xfrm>
          <a:prstGeom prst="rect">
            <a:avLst/>
          </a:prstGeom>
        </p:spPr>
      </p:pic>
      <p:sp>
        <p:nvSpPr>
          <p:cNvPr id="1042" name="Thought Bubble: Cloud 1041">
            <a:extLst>
              <a:ext uri="{FF2B5EF4-FFF2-40B4-BE49-F238E27FC236}">
                <a16:creationId xmlns:a16="http://schemas.microsoft.com/office/drawing/2014/main" id="{2139CA72-F208-42A0-7F6C-212EE0BF5AE7}"/>
              </a:ext>
            </a:extLst>
          </p:cNvPr>
          <p:cNvSpPr/>
          <p:nvPr/>
        </p:nvSpPr>
        <p:spPr>
          <a:xfrm>
            <a:off x="8070828" y="300812"/>
            <a:ext cx="915888" cy="688587"/>
          </a:xfrm>
          <a:prstGeom prst="cloudCallout">
            <a:avLst>
              <a:gd name="adj1" fmla="val 177067"/>
              <a:gd name="adj2" fmla="val -311221"/>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043" name="Straight Arrow Connector 1042">
            <a:extLst>
              <a:ext uri="{FF2B5EF4-FFF2-40B4-BE49-F238E27FC236}">
                <a16:creationId xmlns:a16="http://schemas.microsoft.com/office/drawing/2014/main" id="{E26232A5-3AFE-4BFB-0ECE-ED5E666101DE}"/>
              </a:ext>
            </a:extLst>
          </p:cNvPr>
          <p:cNvCxnSpPr>
            <a:cxnSpLocks/>
            <a:stCxn id="1042" idx="2"/>
          </p:cNvCxnSpPr>
          <p:nvPr/>
        </p:nvCxnSpPr>
        <p:spPr>
          <a:xfrm>
            <a:off x="8985953" y="645106"/>
            <a:ext cx="193301" cy="237103"/>
          </a:xfrm>
          <a:prstGeom prst="straightConnector1">
            <a:avLst/>
          </a:prstGeom>
          <a:ln w="25400">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2058" name="Picture 10" descr="Microsoft Teams Full Logo transparent PNG - StickPNG">
            <a:extLst>
              <a:ext uri="{FF2B5EF4-FFF2-40B4-BE49-F238E27FC236}">
                <a16:creationId xmlns:a16="http://schemas.microsoft.com/office/drawing/2014/main" id="{A2416A55-1E1F-6E48-ED0E-1536038FE69D}"/>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691102" y="2563579"/>
            <a:ext cx="646696" cy="210629"/>
          </a:xfrm>
          <a:prstGeom prst="rect">
            <a:avLst/>
          </a:prstGeom>
          <a:noFill/>
          <a:extLst>
            <a:ext uri="{909E8E84-426E-40DD-AFC4-6F175D3DCCD1}">
              <a14:hiddenFill xmlns:a14="http://schemas.microsoft.com/office/drawing/2010/main">
                <a:solidFill>
                  <a:srgbClr val="FFFFFF"/>
                </a:solidFill>
              </a14:hiddenFill>
            </a:ext>
          </a:extLst>
        </p:spPr>
      </p:pic>
      <p:sp>
        <p:nvSpPr>
          <p:cNvPr id="1052" name="Thought Bubble: Cloud 1051">
            <a:extLst>
              <a:ext uri="{FF2B5EF4-FFF2-40B4-BE49-F238E27FC236}">
                <a16:creationId xmlns:a16="http://schemas.microsoft.com/office/drawing/2014/main" id="{A79E5BCF-D48A-A33A-BE5B-512F4F08A918}"/>
              </a:ext>
            </a:extLst>
          </p:cNvPr>
          <p:cNvSpPr/>
          <p:nvPr/>
        </p:nvSpPr>
        <p:spPr>
          <a:xfrm>
            <a:off x="502322" y="3092699"/>
            <a:ext cx="949184" cy="1057090"/>
          </a:xfrm>
          <a:prstGeom prst="cloudCallout">
            <a:avLst>
              <a:gd name="adj1" fmla="val -392710"/>
              <a:gd name="adj2" fmla="val 64943"/>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058" name="Straight Arrow Connector 1057">
            <a:extLst>
              <a:ext uri="{FF2B5EF4-FFF2-40B4-BE49-F238E27FC236}">
                <a16:creationId xmlns:a16="http://schemas.microsoft.com/office/drawing/2014/main" id="{4EE304C5-92D3-8BA0-C7AE-181892689299}"/>
              </a:ext>
            </a:extLst>
          </p:cNvPr>
          <p:cNvCxnSpPr>
            <a:cxnSpLocks/>
            <a:stCxn id="21" idx="2"/>
            <a:endCxn id="1159" idx="1"/>
          </p:cNvCxnSpPr>
          <p:nvPr/>
        </p:nvCxnSpPr>
        <p:spPr>
          <a:xfrm>
            <a:off x="1398360" y="2696699"/>
            <a:ext cx="473032" cy="198000"/>
          </a:xfrm>
          <a:prstGeom prst="straightConnector1">
            <a:avLst/>
          </a:prstGeom>
          <a:ln w="254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061" name="Thought Bubble: Cloud 1060">
            <a:extLst>
              <a:ext uri="{FF2B5EF4-FFF2-40B4-BE49-F238E27FC236}">
                <a16:creationId xmlns:a16="http://schemas.microsoft.com/office/drawing/2014/main" id="{E943043C-A5CF-1F2D-91E5-8EE58EB5F738}"/>
              </a:ext>
            </a:extLst>
          </p:cNvPr>
          <p:cNvSpPr/>
          <p:nvPr/>
        </p:nvSpPr>
        <p:spPr>
          <a:xfrm>
            <a:off x="6992985" y="312612"/>
            <a:ext cx="709335" cy="430549"/>
          </a:xfrm>
          <a:prstGeom prst="cloudCallout">
            <a:avLst>
              <a:gd name="adj1" fmla="val 191288"/>
              <a:gd name="adj2" fmla="val -478782"/>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62" name="Rectángulo 6528">
            <a:extLst>
              <a:ext uri="{FF2B5EF4-FFF2-40B4-BE49-F238E27FC236}">
                <a16:creationId xmlns:a16="http://schemas.microsoft.com/office/drawing/2014/main" id="{ADC775CA-AA7C-498E-0193-D3CDEEC3510B}"/>
              </a:ext>
            </a:extLst>
          </p:cNvPr>
          <p:cNvSpPr/>
          <p:nvPr/>
        </p:nvSpPr>
        <p:spPr>
          <a:xfrm>
            <a:off x="7127830" y="435207"/>
            <a:ext cx="432000" cy="147516"/>
          </a:xfrm>
          <a:prstGeom prst="rect">
            <a:avLst/>
          </a:prstGeom>
          <a:solidFill>
            <a:schemeClr val="bg2">
              <a:lumMod val="20000"/>
              <a:lumOff val="80000"/>
            </a:schemeClr>
          </a:solidFill>
          <a:ln w="12700" cap="flat">
            <a:solidFill>
              <a:schemeClr val="bg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25400" rIns="0" bIns="25400" numCol="1" spcCol="38100" rtlCol="0" anchor="ctr">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Aptos" panose="02110004020202020204"/>
                <a:ea typeface="Noto Serif" panose="02020502060505020204" pitchFamily="18" charset="0"/>
                <a:cs typeface="Noto Serif" panose="02020502060505020204" pitchFamily="18" charset="0"/>
                <a:sym typeface="Helvetica Neue Medium"/>
              </a:rPr>
              <a:t>MAISA</a:t>
            </a:r>
          </a:p>
        </p:txBody>
      </p:sp>
      <p:cxnSp>
        <p:nvCxnSpPr>
          <p:cNvPr id="1063" name="Straight Arrow Connector 1062">
            <a:extLst>
              <a:ext uri="{FF2B5EF4-FFF2-40B4-BE49-F238E27FC236}">
                <a16:creationId xmlns:a16="http://schemas.microsoft.com/office/drawing/2014/main" id="{8B498A1A-AA23-F3E3-F9E1-F32E0509CA40}"/>
              </a:ext>
            </a:extLst>
          </p:cNvPr>
          <p:cNvCxnSpPr>
            <a:cxnSpLocks/>
            <a:stCxn id="1061" idx="1"/>
          </p:cNvCxnSpPr>
          <p:nvPr/>
        </p:nvCxnSpPr>
        <p:spPr>
          <a:xfrm flipH="1">
            <a:off x="6962268" y="742703"/>
            <a:ext cx="385385" cy="1027187"/>
          </a:xfrm>
          <a:prstGeom prst="straightConnector1">
            <a:avLst/>
          </a:prstGeom>
          <a:ln w="25400">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1069" name="Picture 1068">
            <a:extLst>
              <a:ext uri="{FF2B5EF4-FFF2-40B4-BE49-F238E27FC236}">
                <a16:creationId xmlns:a16="http://schemas.microsoft.com/office/drawing/2014/main" id="{FBD6CFA5-F30B-214B-6815-629B900713BE}"/>
              </a:ext>
            </a:extLst>
          </p:cNvPr>
          <p:cNvPicPr>
            <a:picLocks noChangeAspect="1"/>
          </p:cNvPicPr>
          <p:nvPr/>
        </p:nvPicPr>
        <p:blipFill>
          <a:blip r:embed="rId33"/>
          <a:srcRect l="3851" t="31192" r="2305" b="31849"/>
          <a:stretch>
            <a:fillRect/>
          </a:stretch>
        </p:blipFill>
        <p:spPr>
          <a:xfrm>
            <a:off x="9912339" y="6555153"/>
            <a:ext cx="462660" cy="182209"/>
          </a:xfrm>
          <a:prstGeom prst="rect">
            <a:avLst/>
          </a:prstGeom>
        </p:spPr>
      </p:pic>
      <p:pic>
        <p:nvPicPr>
          <p:cNvPr id="11" name="Picture 10">
            <a:extLst>
              <a:ext uri="{FF2B5EF4-FFF2-40B4-BE49-F238E27FC236}">
                <a16:creationId xmlns:a16="http://schemas.microsoft.com/office/drawing/2014/main" id="{ED4E7F55-4EB3-9BE5-BB0B-B12229385D99}"/>
              </a:ext>
            </a:extLst>
          </p:cNvPr>
          <p:cNvPicPr>
            <a:picLocks noChangeAspect="1"/>
          </p:cNvPicPr>
          <p:nvPr/>
        </p:nvPicPr>
        <p:blipFill>
          <a:blip r:embed="rId34"/>
          <a:stretch>
            <a:fillRect/>
          </a:stretch>
        </p:blipFill>
        <p:spPr>
          <a:xfrm>
            <a:off x="726280" y="3769775"/>
            <a:ext cx="468000" cy="83941"/>
          </a:xfrm>
          <a:prstGeom prst="rect">
            <a:avLst/>
          </a:prstGeom>
        </p:spPr>
      </p:pic>
      <p:sp>
        <p:nvSpPr>
          <p:cNvPr id="21" name="Thought Bubble: Cloud 20">
            <a:extLst>
              <a:ext uri="{FF2B5EF4-FFF2-40B4-BE49-F238E27FC236}">
                <a16:creationId xmlns:a16="http://schemas.microsoft.com/office/drawing/2014/main" id="{10491A8F-FFF6-0406-446D-0FF991CEA196}"/>
              </a:ext>
            </a:extLst>
          </p:cNvPr>
          <p:cNvSpPr/>
          <p:nvPr/>
        </p:nvSpPr>
        <p:spPr>
          <a:xfrm>
            <a:off x="610988" y="2451800"/>
            <a:ext cx="788029" cy="489798"/>
          </a:xfrm>
          <a:prstGeom prst="cloudCallout">
            <a:avLst>
              <a:gd name="adj1" fmla="val -392710"/>
              <a:gd name="adj2" fmla="val 64943"/>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75" name="Rectangle: Rounded Corners 1074">
            <a:extLst>
              <a:ext uri="{FF2B5EF4-FFF2-40B4-BE49-F238E27FC236}">
                <a16:creationId xmlns:a16="http://schemas.microsoft.com/office/drawing/2014/main" id="{AD205A43-DF5C-9B52-AFD6-1283CA00B12E}"/>
              </a:ext>
            </a:extLst>
          </p:cNvPr>
          <p:cNvSpPr/>
          <p:nvPr/>
        </p:nvSpPr>
        <p:spPr>
          <a:xfrm>
            <a:off x="38105" y="5826490"/>
            <a:ext cx="1317509" cy="828000"/>
          </a:xfrm>
          <a:custGeom>
            <a:avLst/>
            <a:gdLst>
              <a:gd name="connsiteX0" fmla="*/ 0 w 1317509"/>
              <a:gd name="connsiteY0" fmla="*/ 60792 h 828000"/>
              <a:gd name="connsiteX1" fmla="*/ 60792 w 1317509"/>
              <a:gd name="connsiteY1" fmla="*/ 0 h 828000"/>
              <a:gd name="connsiteX2" fmla="*/ 1256717 w 1317509"/>
              <a:gd name="connsiteY2" fmla="*/ 0 h 828000"/>
              <a:gd name="connsiteX3" fmla="*/ 1317509 w 1317509"/>
              <a:gd name="connsiteY3" fmla="*/ 60792 h 828000"/>
              <a:gd name="connsiteX4" fmla="*/ 1317509 w 1317509"/>
              <a:gd name="connsiteY4" fmla="*/ 767208 h 828000"/>
              <a:gd name="connsiteX5" fmla="*/ 1256717 w 1317509"/>
              <a:gd name="connsiteY5" fmla="*/ 828000 h 828000"/>
              <a:gd name="connsiteX6" fmla="*/ 60792 w 1317509"/>
              <a:gd name="connsiteY6" fmla="*/ 828000 h 828000"/>
              <a:gd name="connsiteX7" fmla="*/ 0 w 1317509"/>
              <a:gd name="connsiteY7" fmla="*/ 767208 h 828000"/>
              <a:gd name="connsiteX8" fmla="*/ 0 w 1317509"/>
              <a:gd name="connsiteY8" fmla="*/ 60792 h 8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7509" h="828000" fill="none" extrusionOk="0">
                <a:moveTo>
                  <a:pt x="0" y="60792"/>
                </a:moveTo>
                <a:cubicBezTo>
                  <a:pt x="-3941" y="26581"/>
                  <a:pt x="29805" y="2116"/>
                  <a:pt x="60792" y="0"/>
                </a:cubicBezTo>
                <a:cubicBezTo>
                  <a:pt x="594796" y="5624"/>
                  <a:pt x="786038" y="106563"/>
                  <a:pt x="1256717" y="0"/>
                </a:cubicBezTo>
                <a:cubicBezTo>
                  <a:pt x="1292122" y="2821"/>
                  <a:pt x="1320425" y="30790"/>
                  <a:pt x="1317509" y="60792"/>
                </a:cubicBezTo>
                <a:cubicBezTo>
                  <a:pt x="1292525" y="148569"/>
                  <a:pt x="1296063" y="665824"/>
                  <a:pt x="1317509" y="767208"/>
                </a:cubicBezTo>
                <a:cubicBezTo>
                  <a:pt x="1310943" y="801860"/>
                  <a:pt x="1285513" y="824703"/>
                  <a:pt x="1256717" y="828000"/>
                </a:cubicBezTo>
                <a:cubicBezTo>
                  <a:pt x="1120360" y="912881"/>
                  <a:pt x="645313" y="891675"/>
                  <a:pt x="60792" y="828000"/>
                </a:cubicBezTo>
                <a:cubicBezTo>
                  <a:pt x="27436" y="825047"/>
                  <a:pt x="-4939" y="803666"/>
                  <a:pt x="0" y="767208"/>
                </a:cubicBezTo>
                <a:cubicBezTo>
                  <a:pt x="43017" y="525033"/>
                  <a:pt x="-47626" y="145293"/>
                  <a:pt x="0" y="60792"/>
                </a:cubicBezTo>
                <a:close/>
              </a:path>
              <a:path w="1317509" h="828000" stroke="0" extrusionOk="0">
                <a:moveTo>
                  <a:pt x="0" y="60792"/>
                </a:moveTo>
                <a:cubicBezTo>
                  <a:pt x="-1504" y="26290"/>
                  <a:pt x="25400" y="682"/>
                  <a:pt x="60792" y="0"/>
                </a:cubicBezTo>
                <a:cubicBezTo>
                  <a:pt x="613938" y="33581"/>
                  <a:pt x="741937" y="74932"/>
                  <a:pt x="1256717" y="0"/>
                </a:cubicBezTo>
                <a:cubicBezTo>
                  <a:pt x="1287917" y="2318"/>
                  <a:pt x="1316848" y="30870"/>
                  <a:pt x="1317509" y="60792"/>
                </a:cubicBezTo>
                <a:cubicBezTo>
                  <a:pt x="1372283" y="372043"/>
                  <a:pt x="1311563" y="598692"/>
                  <a:pt x="1317509" y="767208"/>
                </a:cubicBezTo>
                <a:cubicBezTo>
                  <a:pt x="1323837" y="801533"/>
                  <a:pt x="1291222" y="826083"/>
                  <a:pt x="1256717" y="828000"/>
                </a:cubicBezTo>
                <a:cubicBezTo>
                  <a:pt x="706984" y="790575"/>
                  <a:pt x="366234" y="784601"/>
                  <a:pt x="60792" y="828000"/>
                </a:cubicBezTo>
                <a:cubicBezTo>
                  <a:pt x="26547" y="821605"/>
                  <a:pt x="-3323" y="805400"/>
                  <a:pt x="0" y="767208"/>
                </a:cubicBezTo>
                <a:cubicBezTo>
                  <a:pt x="8905" y="497190"/>
                  <a:pt x="-48462" y="401105"/>
                  <a:pt x="0" y="60792"/>
                </a:cubicBezTo>
                <a:close/>
              </a:path>
            </a:pathLst>
          </a:custGeom>
          <a:solidFill>
            <a:srgbClr val="C00000">
              <a:alpha val="31000"/>
            </a:srgbClr>
          </a:solidFill>
          <a:ln>
            <a:solidFill>
              <a:srgbClr val="C00000"/>
            </a:solidFill>
            <a:extLst>
              <a:ext uri="{C807C97D-BFC1-408E-A445-0C87EB9F89A2}">
                <ask:lineSketchStyleProps xmlns:ask="http://schemas.microsoft.com/office/drawing/2018/sketchyshapes" sd="1219033472">
                  <a:prstGeom prst="roundRect">
                    <a:avLst>
                      <a:gd name="adj" fmla="val 7342"/>
                    </a:avLst>
                  </a:prstGeom>
                  <ask:type>
                    <ask:lineSketchCurve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lIns="72000" tIns="36000" rIns="36000" bIns="216000"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   </a:t>
            </a:r>
            <a:r>
              <a:rPr kumimoji="0" lang="en-GB" sz="1200" b="1" i="0" u="none" strike="noStrike" kern="1200" cap="none" spc="0" normalizeH="0" baseline="0" noProof="0">
                <a:ln>
                  <a:noFill/>
                </a:ln>
                <a:solidFill>
                  <a:srgbClr val="EC0000"/>
                </a:solidFill>
                <a:effectLst/>
                <a:uLnTx/>
                <a:uFillTx/>
                <a:latin typeface="Santander Text" panose="020B0504020201020104"/>
                <a:ea typeface="Calibri" panose="020F0502020204030204" pitchFamily="34" charset="0"/>
                <a:cs typeface="Calibri" panose="020F0502020204030204" pitchFamily="34" charset="0"/>
              </a:rPr>
              <a:t>CDAIO Domai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Defines technology, operation and how to connect to the company capabilities</a:t>
            </a:r>
          </a:p>
        </p:txBody>
      </p:sp>
      <p:pic>
        <p:nvPicPr>
          <p:cNvPr id="1076" name="Picture 1075">
            <a:extLst>
              <a:ext uri="{FF2B5EF4-FFF2-40B4-BE49-F238E27FC236}">
                <a16:creationId xmlns:a16="http://schemas.microsoft.com/office/drawing/2014/main" id="{7EAF0133-3F58-A0E0-611D-B55910E65911}"/>
              </a:ext>
            </a:extLst>
          </p:cNvPr>
          <p:cNvPicPr>
            <a:picLocks noChangeAspect="1"/>
          </p:cNvPicPr>
          <p:nvPr/>
        </p:nvPicPr>
        <p:blipFill>
          <a:blip r:embed="rId5"/>
          <a:srcRect l="-1" t="-6178" r="89155"/>
          <a:stretch>
            <a:fillRect/>
          </a:stretch>
        </p:blipFill>
        <p:spPr>
          <a:xfrm flipH="1">
            <a:off x="63299" y="5907910"/>
            <a:ext cx="167589" cy="266065"/>
          </a:xfrm>
          <a:prstGeom prst="rect">
            <a:avLst/>
          </a:prstGeom>
          <a:noFill/>
        </p:spPr>
      </p:pic>
      <p:grpSp>
        <p:nvGrpSpPr>
          <p:cNvPr id="2062" name="Group 2061">
            <a:extLst>
              <a:ext uri="{FF2B5EF4-FFF2-40B4-BE49-F238E27FC236}">
                <a16:creationId xmlns:a16="http://schemas.microsoft.com/office/drawing/2014/main" id="{B7F46177-AAEE-9AA2-A228-465C981D8016}"/>
              </a:ext>
            </a:extLst>
          </p:cNvPr>
          <p:cNvGrpSpPr/>
          <p:nvPr/>
        </p:nvGrpSpPr>
        <p:grpSpPr>
          <a:xfrm>
            <a:off x="64890" y="1116364"/>
            <a:ext cx="432000" cy="4544138"/>
            <a:chOff x="-577115" y="-102929"/>
            <a:chExt cx="432000" cy="4544138"/>
          </a:xfrm>
        </p:grpSpPr>
        <p:sp>
          <p:nvSpPr>
            <p:cNvPr id="1082" name="Rectangle 1081">
              <a:extLst>
                <a:ext uri="{FF2B5EF4-FFF2-40B4-BE49-F238E27FC236}">
                  <a16:creationId xmlns:a16="http://schemas.microsoft.com/office/drawing/2014/main" id="{91750A2B-C46B-4DC9-14BE-7698EC6DF6BC}"/>
                </a:ext>
              </a:extLst>
            </p:cNvPr>
            <p:cNvSpPr>
              <a:spLocks/>
            </p:cNvSpPr>
            <p:nvPr/>
          </p:nvSpPr>
          <p:spPr>
            <a:xfrm>
              <a:off x="-577115" y="-102929"/>
              <a:ext cx="432000" cy="4544138"/>
            </a:xfrm>
            <a:custGeom>
              <a:avLst/>
              <a:gdLst>
                <a:gd name="connsiteX0" fmla="*/ 0 w 432000"/>
                <a:gd name="connsiteY0" fmla="*/ 0 h 4544138"/>
                <a:gd name="connsiteX1" fmla="*/ 432000 w 432000"/>
                <a:gd name="connsiteY1" fmla="*/ 0 h 4544138"/>
                <a:gd name="connsiteX2" fmla="*/ 432000 w 432000"/>
                <a:gd name="connsiteY2" fmla="*/ 477134 h 4544138"/>
                <a:gd name="connsiteX3" fmla="*/ 432000 w 432000"/>
                <a:gd name="connsiteY3" fmla="*/ 1045152 h 4544138"/>
                <a:gd name="connsiteX4" fmla="*/ 432000 w 432000"/>
                <a:gd name="connsiteY4" fmla="*/ 1522286 h 4544138"/>
                <a:gd name="connsiteX5" fmla="*/ 432000 w 432000"/>
                <a:gd name="connsiteY5" fmla="*/ 2090303 h 4544138"/>
                <a:gd name="connsiteX6" fmla="*/ 432000 w 432000"/>
                <a:gd name="connsiteY6" fmla="*/ 2521997 h 4544138"/>
                <a:gd name="connsiteX7" fmla="*/ 432000 w 432000"/>
                <a:gd name="connsiteY7" fmla="*/ 2953690 h 4544138"/>
                <a:gd name="connsiteX8" fmla="*/ 432000 w 432000"/>
                <a:gd name="connsiteY8" fmla="*/ 3521707 h 4544138"/>
                <a:gd name="connsiteX9" fmla="*/ 432000 w 432000"/>
                <a:gd name="connsiteY9" fmla="*/ 3998841 h 4544138"/>
                <a:gd name="connsiteX10" fmla="*/ 432000 w 432000"/>
                <a:gd name="connsiteY10" fmla="*/ 4544138 h 4544138"/>
                <a:gd name="connsiteX11" fmla="*/ 0 w 432000"/>
                <a:gd name="connsiteY11" fmla="*/ 4544138 h 4544138"/>
                <a:gd name="connsiteX12" fmla="*/ 0 w 432000"/>
                <a:gd name="connsiteY12" fmla="*/ 4112445 h 4544138"/>
                <a:gd name="connsiteX13" fmla="*/ 0 w 432000"/>
                <a:gd name="connsiteY13" fmla="*/ 3498986 h 4544138"/>
                <a:gd name="connsiteX14" fmla="*/ 0 w 432000"/>
                <a:gd name="connsiteY14" fmla="*/ 2976410 h 4544138"/>
                <a:gd name="connsiteX15" fmla="*/ 0 w 432000"/>
                <a:gd name="connsiteY15" fmla="*/ 2408393 h 4544138"/>
                <a:gd name="connsiteX16" fmla="*/ 0 w 432000"/>
                <a:gd name="connsiteY16" fmla="*/ 1749493 h 4544138"/>
                <a:gd name="connsiteX17" fmla="*/ 0 w 432000"/>
                <a:gd name="connsiteY17" fmla="*/ 1272359 h 4544138"/>
                <a:gd name="connsiteX18" fmla="*/ 0 w 432000"/>
                <a:gd name="connsiteY18" fmla="*/ 658900 h 4544138"/>
                <a:gd name="connsiteX19" fmla="*/ 0 w 432000"/>
                <a:gd name="connsiteY19" fmla="*/ 0 h 4544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32000" h="4544138" fill="none" extrusionOk="0">
                  <a:moveTo>
                    <a:pt x="0" y="0"/>
                  </a:moveTo>
                  <a:cubicBezTo>
                    <a:pt x="203008" y="-45504"/>
                    <a:pt x="284028" y="3553"/>
                    <a:pt x="432000" y="0"/>
                  </a:cubicBezTo>
                  <a:cubicBezTo>
                    <a:pt x="464111" y="153354"/>
                    <a:pt x="411737" y="343026"/>
                    <a:pt x="432000" y="477134"/>
                  </a:cubicBezTo>
                  <a:cubicBezTo>
                    <a:pt x="452263" y="611242"/>
                    <a:pt x="415990" y="838370"/>
                    <a:pt x="432000" y="1045152"/>
                  </a:cubicBezTo>
                  <a:cubicBezTo>
                    <a:pt x="448010" y="1251934"/>
                    <a:pt x="374988" y="1397591"/>
                    <a:pt x="432000" y="1522286"/>
                  </a:cubicBezTo>
                  <a:cubicBezTo>
                    <a:pt x="489012" y="1646981"/>
                    <a:pt x="394954" y="1937180"/>
                    <a:pt x="432000" y="2090303"/>
                  </a:cubicBezTo>
                  <a:cubicBezTo>
                    <a:pt x="469046" y="2243426"/>
                    <a:pt x="422075" y="2324104"/>
                    <a:pt x="432000" y="2521997"/>
                  </a:cubicBezTo>
                  <a:cubicBezTo>
                    <a:pt x="441925" y="2719890"/>
                    <a:pt x="383613" y="2743872"/>
                    <a:pt x="432000" y="2953690"/>
                  </a:cubicBezTo>
                  <a:cubicBezTo>
                    <a:pt x="480387" y="3163508"/>
                    <a:pt x="367474" y="3372664"/>
                    <a:pt x="432000" y="3521707"/>
                  </a:cubicBezTo>
                  <a:cubicBezTo>
                    <a:pt x="496526" y="3670750"/>
                    <a:pt x="386317" y="3777326"/>
                    <a:pt x="432000" y="3998841"/>
                  </a:cubicBezTo>
                  <a:cubicBezTo>
                    <a:pt x="477683" y="4220356"/>
                    <a:pt x="406010" y="4302773"/>
                    <a:pt x="432000" y="4544138"/>
                  </a:cubicBezTo>
                  <a:cubicBezTo>
                    <a:pt x="275758" y="4594890"/>
                    <a:pt x="200300" y="4522755"/>
                    <a:pt x="0" y="4544138"/>
                  </a:cubicBezTo>
                  <a:cubicBezTo>
                    <a:pt x="-22099" y="4397784"/>
                    <a:pt x="7135" y="4305862"/>
                    <a:pt x="0" y="4112445"/>
                  </a:cubicBezTo>
                  <a:cubicBezTo>
                    <a:pt x="-7135" y="3919028"/>
                    <a:pt x="16283" y="3730557"/>
                    <a:pt x="0" y="3498986"/>
                  </a:cubicBezTo>
                  <a:cubicBezTo>
                    <a:pt x="-16283" y="3267415"/>
                    <a:pt x="58986" y="3140333"/>
                    <a:pt x="0" y="2976410"/>
                  </a:cubicBezTo>
                  <a:cubicBezTo>
                    <a:pt x="-58986" y="2812487"/>
                    <a:pt x="23220" y="2642731"/>
                    <a:pt x="0" y="2408393"/>
                  </a:cubicBezTo>
                  <a:cubicBezTo>
                    <a:pt x="-23220" y="2174055"/>
                    <a:pt x="76102" y="1908321"/>
                    <a:pt x="0" y="1749493"/>
                  </a:cubicBezTo>
                  <a:cubicBezTo>
                    <a:pt x="-76102" y="1590665"/>
                    <a:pt x="42352" y="1485448"/>
                    <a:pt x="0" y="1272359"/>
                  </a:cubicBezTo>
                  <a:cubicBezTo>
                    <a:pt x="-42352" y="1059270"/>
                    <a:pt x="66336" y="875614"/>
                    <a:pt x="0" y="658900"/>
                  </a:cubicBezTo>
                  <a:cubicBezTo>
                    <a:pt x="-66336" y="442186"/>
                    <a:pt x="76063" y="171586"/>
                    <a:pt x="0" y="0"/>
                  </a:cubicBezTo>
                  <a:close/>
                </a:path>
                <a:path w="432000" h="4544138" stroke="0" extrusionOk="0">
                  <a:moveTo>
                    <a:pt x="0" y="0"/>
                  </a:moveTo>
                  <a:cubicBezTo>
                    <a:pt x="166218" y="-22333"/>
                    <a:pt x="234325" y="16547"/>
                    <a:pt x="432000" y="0"/>
                  </a:cubicBezTo>
                  <a:cubicBezTo>
                    <a:pt x="472424" y="137418"/>
                    <a:pt x="396372" y="284643"/>
                    <a:pt x="432000" y="431693"/>
                  </a:cubicBezTo>
                  <a:cubicBezTo>
                    <a:pt x="467628" y="578743"/>
                    <a:pt x="386675" y="923616"/>
                    <a:pt x="432000" y="1090593"/>
                  </a:cubicBezTo>
                  <a:cubicBezTo>
                    <a:pt x="477325" y="1257570"/>
                    <a:pt x="394487" y="1454838"/>
                    <a:pt x="432000" y="1658610"/>
                  </a:cubicBezTo>
                  <a:cubicBezTo>
                    <a:pt x="469513" y="1862382"/>
                    <a:pt x="431677" y="1910613"/>
                    <a:pt x="432000" y="2135745"/>
                  </a:cubicBezTo>
                  <a:cubicBezTo>
                    <a:pt x="432323" y="2360877"/>
                    <a:pt x="389395" y="2384047"/>
                    <a:pt x="432000" y="2612879"/>
                  </a:cubicBezTo>
                  <a:cubicBezTo>
                    <a:pt x="474605" y="2841711"/>
                    <a:pt x="375368" y="3065436"/>
                    <a:pt x="432000" y="3180897"/>
                  </a:cubicBezTo>
                  <a:cubicBezTo>
                    <a:pt x="488632" y="3296358"/>
                    <a:pt x="413827" y="3536197"/>
                    <a:pt x="432000" y="3748914"/>
                  </a:cubicBezTo>
                  <a:cubicBezTo>
                    <a:pt x="450173" y="3961631"/>
                    <a:pt x="341557" y="4221904"/>
                    <a:pt x="432000" y="4544138"/>
                  </a:cubicBezTo>
                  <a:cubicBezTo>
                    <a:pt x="307468" y="4589135"/>
                    <a:pt x="156217" y="4505340"/>
                    <a:pt x="0" y="4544138"/>
                  </a:cubicBezTo>
                  <a:cubicBezTo>
                    <a:pt x="-53737" y="4282553"/>
                    <a:pt x="23586" y="4227226"/>
                    <a:pt x="0" y="3976121"/>
                  </a:cubicBezTo>
                  <a:cubicBezTo>
                    <a:pt x="-23586" y="3725016"/>
                    <a:pt x="7426" y="3669077"/>
                    <a:pt x="0" y="3362662"/>
                  </a:cubicBezTo>
                  <a:cubicBezTo>
                    <a:pt x="-7426" y="3056247"/>
                    <a:pt x="4136" y="2954058"/>
                    <a:pt x="0" y="2840086"/>
                  </a:cubicBezTo>
                  <a:cubicBezTo>
                    <a:pt x="-4136" y="2726114"/>
                    <a:pt x="73773" y="2434920"/>
                    <a:pt x="0" y="2181186"/>
                  </a:cubicBezTo>
                  <a:cubicBezTo>
                    <a:pt x="-73773" y="1927452"/>
                    <a:pt x="31816" y="1796848"/>
                    <a:pt x="0" y="1522286"/>
                  </a:cubicBezTo>
                  <a:cubicBezTo>
                    <a:pt x="-31816" y="1247724"/>
                    <a:pt x="63253" y="1152223"/>
                    <a:pt x="0" y="954269"/>
                  </a:cubicBezTo>
                  <a:cubicBezTo>
                    <a:pt x="-63253" y="756315"/>
                    <a:pt x="55427" y="249571"/>
                    <a:pt x="0" y="0"/>
                  </a:cubicBezTo>
                  <a:close/>
                </a:path>
              </a:pathLst>
            </a:custGeom>
            <a:solidFill>
              <a:schemeClr val="bg1"/>
            </a:solidFill>
            <a:ln>
              <a:extLst>
                <a:ext uri="{C807C97D-BFC1-408E-A445-0C87EB9F89A2}">
                  <ask:lineSketchStyleProps xmlns:ask="http://schemas.microsoft.com/office/drawing/2018/sketchyshapes" sd="1219033472">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084" name="Imagen 275" descr="Icono&#10;&#10;Descripción generada automáticamente">
              <a:extLst>
                <a:ext uri="{FF2B5EF4-FFF2-40B4-BE49-F238E27FC236}">
                  <a16:creationId xmlns:a16="http://schemas.microsoft.com/office/drawing/2014/main" id="{241FFE21-5767-207F-CA8A-392ACF26E94C}"/>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485529" y="2048159"/>
              <a:ext cx="259592" cy="242357"/>
            </a:xfrm>
            <a:prstGeom prst="rect">
              <a:avLst/>
            </a:prstGeom>
          </p:spPr>
        </p:pic>
        <p:pic>
          <p:nvPicPr>
            <p:cNvPr id="1085" name="Imagen 307" descr="Un dibujo de una cara feliz&#10;&#10;Descripción generada automáticamente con confianza baja">
              <a:extLst>
                <a:ext uri="{FF2B5EF4-FFF2-40B4-BE49-F238E27FC236}">
                  <a16:creationId xmlns:a16="http://schemas.microsoft.com/office/drawing/2014/main" id="{CA04118D-664A-5087-2589-48B371C11C98}"/>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471413" y="3002500"/>
              <a:ext cx="231360" cy="216000"/>
            </a:xfrm>
            <a:prstGeom prst="rect">
              <a:avLst/>
            </a:prstGeom>
          </p:spPr>
        </p:pic>
        <p:pic>
          <p:nvPicPr>
            <p:cNvPr id="1086" name="Imagen 308" descr="Imagen que contiene Diagrama&#10;&#10;Descripción generada automáticamente">
              <a:extLst>
                <a:ext uri="{FF2B5EF4-FFF2-40B4-BE49-F238E27FC236}">
                  <a16:creationId xmlns:a16="http://schemas.microsoft.com/office/drawing/2014/main" id="{3BC3F37C-7C86-7F4A-981A-71725ABFAB95}"/>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471413" y="3698488"/>
              <a:ext cx="231360" cy="216000"/>
            </a:xfrm>
            <a:prstGeom prst="rect">
              <a:avLst/>
            </a:prstGeom>
          </p:spPr>
        </p:pic>
        <p:pic>
          <p:nvPicPr>
            <p:cNvPr id="1087" name="Imagen 310" descr="Un dibujo de una cara feliz&#10;&#10;Descripción generada automáticamente con confianza media">
              <a:extLst>
                <a:ext uri="{FF2B5EF4-FFF2-40B4-BE49-F238E27FC236}">
                  <a16:creationId xmlns:a16="http://schemas.microsoft.com/office/drawing/2014/main" id="{C6213B0D-071D-26FD-D8C7-83C29ED36816}"/>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471401" y="3466492"/>
              <a:ext cx="231336" cy="216000"/>
            </a:xfrm>
            <a:prstGeom prst="rect">
              <a:avLst/>
            </a:prstGeom>
          </p:spPr>
        </p:pic>
        <p:pic>
          <p:nvPicPr>
            <p:cNvPr id="1088" name="Imagen 311" descr="Un dibujo animado con letras&#10;&#10;Descripción generada automáticamente con confianza media">
              <a:extLst>
                <a:ext uri="{FF2B5EF4-FFF2-40B4-BE49-F238E27FC236}">
                  <a16:creationId xmlns:a16="http://schemas.microsoft.com/office/drawing/2014/main" id="{7196FF9F-B964-A737-C09C-408D7DFF79A5}"/>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471413" y="3234496"/>
              <a:ext cx="231360" cy="216000"/>
            </a:xfrm>
            <a:prstGeom prst="rect">
              <a:avLst/>
            </a:prstGeom>
          </p:spPr>
        </p:pic>
        <p:pic>
          <p:nvPicPr>
            <p:cNvPr id="1089" name="Imagen 312" descr="Diagrama&#10;&#10;Descripción generada automáticamente con confianza baja">
              <a:extLst>
                <a:ext uri="{FF2B5EF4-FFF2-40B4-BE49-F238E27FC236}">
                  <a16:creationId xmlns:a16="http://schemas.microsoft.com/office/drawing/2014/main" id="{F7E429DB-554D-AE12-399D-BC7565FEDAE7}"/>
                </a:ext>
              </a:extLst>
            </p:cNvPr>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471413" y="2770504"/>
              <a:ext cx="231360" cy="216000"/>
            </a:xfrm>
            <a:prstGeom prst="rect">
              <a:avLst/>
            </a:prstGeom>
          </p:spPr>
        </p:pic>
        <p:pic>
          <p:nvPicPr>
            <p:cNvPr id="1090" name="Imagen 313" descr="Logotipo&#10;&#10;Descripción generada automáticamente">
              <a:extLst>
                <a:ext uri="{FF2B5EF4-FFF2-40B4-BE49-F238E27FC236}">
                  <a16:creationId xmlns:a16="http://schemas.microsoft.com/office/drawing/2014/main" id="{147D6C9F-CA18-B9DB-A373-8DF4BC6DC548}"/>
                </a:ext>
              </a:extLst>
            </p:cNvPr>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471413" y="2538508"/>
              <a:ext cx="231360" cy="216000"/>
            </a:xfrm>
            <a:prstGeom prst="rect">
              <a:avLst/>
            </a:prstGeom>
          </p:spPr>
        </p:pic>
        <p:pic>
          <p:nvPicPr>
            <p:cNvPr id="1091" name="Imagen 315" descr="Icono&#10;&#10;Descripción generada automáticamente">
              <a:extLst>
                <a:ext uri="{FF2B5EF4-FFF2-40B4-BE49-F238E27FC236}">
                  <a16:creationId xmlns:a16="http://schemas.microsoft.com/office/drawing/2014/main" id="{649979A7-5011-BB89-65D6-D081DD79006B}"/>
                </a:ext>
              </a:extLst>
            </p:cNvPr>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471413" y="2306512"/>
              <a:ext cx="231360" cy="216000"/>
            </a:xfrm>
            <a:prstGeom prst="rect">
              <a:avLst/>
            </a:prstGeom>
          </p:spPr>
        </p:pic>
        <p:pic>
          <p:nvPicPr>
            <p:cNvPr id="1092" name="Imagen 318" descr="Un dibujo de una persona&#10;&#10;Descripción generada automáticamente con confianza media">
              <a:extLst>
                <a:ext uri="{FF2B5EF4-FFF2-40B4-BE49-F238E27FC236}">
                  <a16:creationId xmlns:a16="http://schemas.microsoft.com/office/drawing/2014/main" id="{D0DDABF5-3AB9-7BAD-C177-FFC50ADD2351}"/>
                </a:ext>
              </a:extLst>
            </p:cNvPr>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471413" y="1816163"/>
              <a:ext cx="231360" cy="216000"/>
            </a:xfrm>
            <a:prstGeom prst="rect">
              <a:avLst/>
            </a:prstGeom>
          </p:spPr>
        </p:pic>
        <p:pic>
          <p:nvPicPr>
            <p:cNvPr id="1093" name="Imagen 322" descr="Un dibujo animado con letras&#10;&#10;Descripción generada automáticamente con confianza baja">
              <a:extLst>
                <a:ext uri="{FF2B5EF4-FFF2-40B4-BE49-F238E27FC236}">
                  <a16:creationId xmlns:a16="http://schemas.microsoft.com/office/drawing/2014/main" id="{6A6D5BBF-9D5E-1A36-CD6D-649A4662BAA1}"/>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471413" y="3930484"/>
              <a:ext cx="231361" cy="216000"/>
            </a:xfrm>
            <a:prstGeom prst="rect">
              <a:avLst/>
            </a:prstGeom>
          </p:spPr>
        </p:pic>
        <p:sp>
          <p:nvSpPr>
            <p:cNvPr id="1094" name="Elipse 330">
              <a:extLst>
                <a:ext uri="{FF2B5EF4-FFF2-40B4-BE49-F238E27FC236}">
                  <a16:creationId xmlns:a16="http://schemas.microsoft.com/office/drawing/2014/main" id="{4D492C5C-70EB-3A5C-DE9D-1603305B7DCC}"/>
                </a:ext>
              </a:extLst>
            </p:cNvPr>
            <p:cNvSpPr>
              <a:spLocks/>
            </p:cNvSpPr>
            <p:nvPr/>
          </p:nvSpPr>
          <p:spPr>
            <a:xfrm>
              <a:off x="-524579" y="634775"/>
              <a:ext cx="360000" cy="23108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FFFFFF"/>
                </a:solidFill>
                <a:effectLst/>
                <a:uLnTx/>
                <a:uFillTx/>
                <a:latin typeface="Santander Text" panose="020B0504020201020104"/>
                <a:ea typeface="+mn-ea"/>
                <a:cs typeface="+mn-cs"/>
              </a:endParaRPr>
            </a:p>
          </p:txBody>
        </p:sp>
        <p:pic>
          <p:nvPicPr>
            <p:cNvPr id="1095" name="Imagen 29">
              <a:extLst>
                <a:ext uri="{FF2B5EF4-FFF2-40B4-BE49-F238E27FC236}">
                  <a16:creationId xmlns:a16="http://schemas.microsoft.com/office/drawing/2014/main" id="{2D1094A2-503D-CF2F-757B-5EB73976C273}"/>
                </a:ext>
              </a:extLst>
            </p:cNvPr>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477494" y="4162482"/>
              <a:ext cx="240914" cy="238047"/>
            </a:xfrm>
            <a:prstGeom prst="rect">
              <a:avLst/>
            </a:prstGeom>
          </p:spPr>
        </p:pic>
        <p:sp>
          <p:nvSpPr>
            <p:cNvPr id="1096" name="Elipse 330">
              <a:extLst>
                <a:ext uri="{FF2B5EF4-FFF2-40B4-BE49-F238E27FC236}">
                  <a16:creationId xmlns:a16="http://schemas.microsoft.com/office/drawing/2014/main" id="{F53E59C6-E19A-9AF9-F2BF-370E4140A5E3}"/>
                </a:ext>
              </a:extLst>
            </p:cNvPr>
            <p:cNvSpPr>
              <a:spLocks/>
            </p:cNvSpPr>
            <p:nvPr/>
          </p:nvSpPr>
          <p:spPr>
            <a:xfrm>
              <a:off x="-537645" y="1323584"/>
              <a:ext cx="360000" cy="23108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FFFFFF"/>
                </a:solidFill>
                <a:effectLst/>
                <a:uLnTx/>
                <a:uFillTx/>
                <a:latin typeface="Santander Text" panose="020B0504020201020104"/>
                <a:ea typeface="+mn-ea"/>
                <a:cs typeface="+mn-cs"/>
              </a:endParaRPr>
            </a:p>
          </p:txBody>
        </p:sp>
        <p:sp>
          <p:nvSpPr>
            <p:cNvPr id="1097" name="Elipse 330">
              <a:extLst>
                <a:ext uri="{FF2B5EF4-FFF2-40B4-BE49-F238E27FC236}">
                  <a16:creationId xmlns:a16="http://schemas.microsoft.com/office/drawing/2014/main" id="{B543DC74-1697-A1A6-35E4-D2AC7D9CB765}"/>
                </a:ext>
              </a:extLst>
            </p:cNvPr>
            <p:cNvSpPr>
              <a:spLocks/>
            </p:cNvSpPr>
            <p:nvPr/>
          </p:nvSpPr>
          <p:spPr>
            <a:xfrm>
              <a:off x="-530929" y="-90138"/>
              <a:ext cx="360000" cy="23108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FFFFFF"/>
                </a:solidFill>
                <a:effectLst/>
                <a:uLnTx/>
                <a:uFillTx/>
                <a:latin typeface="Santander Text" panose="020B0504020201020104"/>
                <a:ea typeface="+mn-ea"/>
                <a:cs typeface="+mn-cs"/>
              </a:endParaRPr>
            </a:p>
          </p:txBody>
        </p:sp>
        <p:sp>
          <p:nvSpPr>
            <p:cNvPr id="1098" name="Elipse 330">
              <a:extLst>
                <a:ext uri="{FF2B5EF4-FFF2-40B4-BE49-F238E27FC236}">
                  <a16:creationId xmlns:a16="http://schemas.microsoft.com/office/drawing/2014/main" id="{55467F12-32D3-CAB6-7946-73889846F317}"/>
                </a:ext>
              </a:extLst>
            </p:cNvPr>
            <p:cNvSpPr>
              <a:spLocks/>
            </p:cNvSpPr>
            <p:nvPr/>
          </p:nvSpPr>
          <p:spPr>
            <a:xfrm>
              <a:off x="-530929" y="386632"/>
              <a:ext cx="360000" cy="23108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FFFFFF"/>
                </a:solidFill>
                <a:effectLst/>
                <a:uLnTx/>
                <a:uFillTx/>
                <a:latin typeface="Santander Text" panose="020B0504020201020104"/>
                <a:ea typeface="+mn-ea"/>
                <a:cs typeface="+mn-cs"/>
              </a:endParaRPr>
            </a:p>
          </p:txBody>
        </p:sp>
        <p:sp>
          <p:nvSpPr>
            <p:cNvPr id="1099" name="Elipse 330">
              <a:extLst>
                <a:ext uri="{FF2B5EF4-FFF2-40B4-BE49-F238E27FC236}">
                  <a16:creationId xmlns:a16="http://schemas.microsoft.com/office/drawing/2014/main" id="{986DC305-4010-810E-E971-1DCDDF55729B}"/>
                </a:ext>
              </a:extLst>
            </p:cNvPr>
            <p:cNvSpPr>
              <a:spLocks/>
            </p:cNvSpPr>
            <p:nvPr/>
          </p:nvSpPr>
          <p:spPr>
            <a:xfrm>
              <a:off x="-530929" y="869362"/>
              <a:ext cx="360000" cy="23108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FFFFFF"/>
                </a:solidFill>
                <a:effectLst/>
                <a:uLnTx/>
                <a:uFillTx/>
                <a:latin typeface="Santander Text" panose="020B0504020201020104"/>
                <a:ea typeface="+mn-ea"/>
                <a:cs typeface="+mn-cs"/>
              </a:endParaRPr>
            </a:p>
          </p:txBody>
        </p:sp>
        <p:sp>
          <p:nvSpPr>
            <p:cNvPr id="1100" name="CuadroTexto 325">
              <a:extLst>
                <a:ext uri="{FF2B5EF4-FFF2-40B4-BE49-F238E27FC236}">
                  <a16:creationId xmlns:a16="http://schemas.microsoft.com/office/drawing/2014/main" id="{9595AABA-0D47-7FCA-188D-0CE14AD098D3}"/>
                </a:ext>
              </a:extLst>
            </p:cNvPr>
            <p:cNvSpPr txBox="1">
              <a:spLocks/>
            </p:cNvSpPr>
            <p:nvPr/>
          </p:nvSpPr>
          <p:spPr>
            <a:xfrm>
              <a:off x="-533709" y="-42851"/>
              <a:ext cx="360000" cy="11541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1" i="0" u="none" strike="noStrike" kern="1200" cap="none" spc="0" normalizeH="0" baseline="0" noProof="0">
                  <a:ln>
                    <a:noFill/>
                  </a:ln>
                  <a:solidFill>
                    <a:srgbClr val="FF0000"/>
                  </a:solidFill>
                  <a:effectLst/>
                  <a:uLnTx/>
                  <a:uFillTx/>
                  <a:latin typeface="Santander Text" panose="020B0504020201020104"/>
                  <a:ea typeface="+mn-ea"/>
                  <a:cs typeface="+mn-cs"/>
                </a:rPr>
                <a:t>CIB</a:t>
              </a:r>
            </a:p>
          </p:txBody>
        </p:sp>
        <p:sp>
          <p:nvSpPr>
            <p:cNvPr id="1101" name="CuadroTexto 331">
              <a:extLst>
                <a:ext uri="{FF2B5EF4-FFF2-40B4-BE49-F238E27FC236}">
                  <a16:creationId xmlns:a16="http://schemas.microsoft.com/office/drawing/2014/main" id="{3EC448AB-B217-6A21-8155-F783A2C8A418}"/>
                </a:ext>
              </a:extLst>
            </p:cNvPr>
            <p:cNvSpPr txBox="1">
              <a:spLocks/>
            </p:cNvSpPr>
            <p:nvPr/>
          </p:nvSpPr>
          <p:spPr>
            <a:xfrm>
              <a:off x="-524184" y="687457"/>
              <a:ext cx="360000" cy="11541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1" i="0" u="none" strike="noStrike" kern="1200" cap="none" spc="0" normalizeH="0" baseline="0" noProof="0">
                  <a:ln>
                    <a:noFill/>
                  </a:ln>
                  <a:solidFill>
                    <a:srgbClr val="FF0000"/>
                  </a:solidFill>
                  <a:effectLst/>
                  <a:uLnTx/>
                  <a:uFillTx/>
                  <a:latin typeface="Santander Text" panose="020B0504020201020104"/>
                  <a:ea typeface="+mn-ea"/>
                  <a:cs typeface="+mn-cs"/>
                </a:rPr>
                <a:t>WM&amp;I</a:t>
              </a:r>
            </a:p>
          </p:txBody>
        </p:sp>
        <p:sp>
          <p:nvSpPr>
            <p:cNvPr id="1102" name="CuadroTexto 334">
              <a:extLst>
                <a:ext uri="{FF2B5EF4-FFF2-40B4-BE49-F238E27FC236}">
                  <a16:creationId xmlns:a16="http://schemas.microsoft.com/office/drawing/2014/main" id="{5C2ADA88-0286-8D6D-95AB-467440405491}"/>
                </a:ext>
              </a:extLst>
            </p:cNvPr>
            <p:cNvSpPr txBox="1">
              <a:spLocks/>
            </p:cNvSpPr>
            <p:nvPr/>
          </p:nvSpPr>
          <p:spPr>
            <a:xfrm>
              <a:off x="-533709" y="443229"/>
              <a:ext cx="360000" cy="11541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1" i="0" u="none" strike="noStrike" kern="1200" cap="none" spc="0" normalizeH="0" baseline="0" noProof="0">
                  <a:ln>
                    <a:noFill/>
                  </a:ln>
                  <a:solidFill>
                    <a:srgbClr val="FF0000"/>
                  </a:solidFill>
                  <a:effectLst/>
                  <a:uLnTx/>
                  <a:uFillTx/>
                  <a:latin typeface="Santander Text" panose="020B0504020201020104"/>
                  <a:ea typeface="+mn-ea"/>
                  <a:cs typeface="+mn-cs"/>
                </a:rPr>
                <a:t>SCF</a:t>
              </a:r>
            </a:p>
          </p:txBody>
        </p:sp>
        <p:sp>
          <p:nvSpPr>
            <p:cNvPr id="1103" name="CuadroTexto 340">
              <a:extLst>
                <a:ext uri="{FF2B5EF4-FFF2-40B4-BE49-F238E27FC236}">
                  <a16:creationId xmlns:a16="http://schemas.microsoft.com/office/drawing/2014/main" id="{F26F680A-E3F9-2C08-9631-7A11BB042A48}"/>
                </a:ext>
              </a:extLst>
            </p:cNvPr>
            <p:cNvSpPr txBox="1">
              <a:spLocks/>
            </p:cNvSpPr>
            <p:nvPr/>
          </p:nvSpPr>
          <p:spPr>
            <a:xfrm>
              <a:off x="-533709" y="917174"/>
              <a:ext cx="360000" cy="11541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1" i="0" u="none" strike="noStrike" kern="1200" cap="none" spc="0" normalizeH="0" baseline="0" noProof="0">
                  <a:ln>
                    <a:noFill/>
                  </a:ln>
                  <a:solidFill>
                    <a:srgbClr val="FF0000"/>
                  </a:solidFill>
                  <a:effectLst/>
                  <a:uLnTx/>
                  <a:uFillTx/>
                  <a:latin typeface="Santander Text" panose="020B0504020201020104"/>
                  <a:ea typeface="+mn-ea"/>
                  <a:cs typeface="+mn-cs"/>
                </a:rPr>
                <a:t>HQ</a:t>
              </a:r>
            </a:p>
          </p:txBody>
        </p:sp>
        <p:sp>
          <p:nvSpPr>
            <p:cNvPr id="1104" name="CuadroTexto 328">
              <a:extLst>
                <a:ext uri="{FF2B5EF4-FFF2-40B4-BE49-F238E27FC236}">
                  <a16:creationId xmlns:a16="http://schemas.microsoft.com/office/drawing/2014/main" id="{0BE752FE-A4F0-8F3A-AFD7-65EE7FDF393B}"/>
                </a:ext>
              </a:extLst>
            </p:cNvPr>
            <p:cNvSpPr txBox="1">
              <a:spLocks/>
            </p:cNvSpPr>
            <p:nvPr/>
          </p:nvSpPr>
          <p:spPr>
            <a:xfrm>
              <a:off x="-534075" y="1378701"/>
              <a:ext cx="360000" cy="115416"/>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1" i="0" u="none" strike="noStrike" kern="1200" cap="none" spc="0" normalizeH="0" baseline="0" noProof="0">
                  <a:ln>
                    <a:noFill/>
                  </a:ln>
                  <a:solidFill>
                    <a:srgbClr val="FF0000"/>
                  </a:solidFill>
                  <a:effectLst/>
                  <a:uLnTx/>
                  <a:uFillTx/>
                  <a:latin typeface="Santander Text" panose="020B0504020201020104"/>
                  <a:ea typeface="+mn-ea"/>
                  <a:cs typeface="+mn-cs"/>
                </a:rPr>
                <a:t>SDS</a:t>
              </a:r>
            </a:p>
          </p:txBody>
        </p:sp>
        <p:sp>
          <p:nvSpPr>
            <p:cNvPr id="1108" name="Elipse 330">
              <a:extLst>
                <a:ext uri="{FF2B5EF4-FFF2-40B4-BE49-F238E27FC236}">
                  <a16:creationId xmlns:a16="http://schemas.microsoft.com/office/drawing/2014/main" id="{D05479EE-260A-B903-449F-5445CBCBCE77}"/>
                </a:ext>
              </a:extLst>
            </p:cNvPr>
            <p:cNvSpPr>
              <a:spLocks/>
            </p:cNvSpPr>
            <p:nvPr/>
          </p:nvSpPr>
          <p:spPr>
            <a:xfrm>
              <a:off x="-530929" y="1098092"/>
              <a:ext cx="360000" cy="23108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FFFFFF"/>
                </a:solidFill>
                <a:effectLst/>
                <a:uLnTx/>
                <a:uFillTx/>
                <a:latin typeface="Santander Text" panose="020B0504020201020104"/>
                <a:ea typeface="+mn-ea"/>
                <a:cs typeface="+mn-cs"/>
              </a:endParaRPr>
            </a:p>
          </p:txBody>
        </p:sp>
        <p:sp>
          <p:nvSpPr>
            <p:cNvPr id="1113" name="CuadroTexto 64">
              <a:extLst>
                <a:ext uri="{FF2B5EF4-FFF2-40B4-BE49-F238E27FC236}">
                  <a16:creationId xmlns:a16="http://schemas.microsoft.com/office/drawing/2014/main" id="{E94AB348-9F42-436E-2CD9-20B79E2DEDB8}"/>
                </a:ext>
              </a:extLst>
            </p:cNvPr>
            <p:cNvSpPr txBox="1">
              <a:spLocks/>
            </p:cNvSpPr>
            <p:nvPr/>
          </p:nvSpPr>
          <p:spPr>
            <a:xfrm>
              <a:off x="-527359" y="1152994"/>
              <a:ext cx="360000" cy="160044"/>
            </a:xfrm>
            <a:prstGeom prst="rect">
              <a:avLst/>
            </a:prstGeom>
            <a:noFill/>
          </p:spPr>
          <p:txBody>
            <a:bodyPr wrap="square" lIns="0" tIns="0" rIns="0" bIns="0" rtlCol="0">
              <a:spAutoFit/>
            </a:bodyPr>
            <a:lstStyle/>
            <a:p>
              <a:pPr marL="0" marR="0" lvl="0" indent="0" algn="ctr" defTabSz="914400" rtl="0" eaLnBrk="1" fontAlgn="auto" latinLnBrk="0" hangingPunct="1">
                <a:lnSpc>
                  <a:spcPts val="600"/>
                </a:lnSpc>
                <a:spcBef>
                  <a:spcPts val="0"/>
                </a:spcBef>
                <a:spcAft>
                  <a:spcPts val="0"/>
                </a:spcAft>
                <a:buClrTx/>
                <a:buSzTx/>
                <a:buFontTx/>
                <a:buNone/>
                <a:tabLst/>
                <a:defRPr/>
              </a:pPr>
              <a:r>
                <a:rPr kumimoji="0" lang="en-GB" sz="750" b="1" i="0" u="none" strike="noStrike" kern="1200" cap="none" spc="0" normalizeH="0" baseline="0" noProof="0">
                  <a:ln>
                    <a:noFill/>
                  </a:ln>
                  <a:solidFill>
                    <a:srgbClr val="FF0000"/>
                  </a:solidFill>
                  <a:effectLst/>
                  <a:uLnTx/>
                  <a:uFillTx/>
                  <a:latin typeface="Santander Text" panose="020B0504020201020104"/>
                  <a:ea typeface="+mn-ea"/>
                  <a:cs typeface="+mn-cs"/>
                </a:rPr>
                <a:t>Global Cards</a:t>
              </a:r>
            </a:p>
          </p:txBody>
        </p:sp>
        <p:sp>
          <p:nvSpPr>
            <p:cNvPr id="1114" name="Elipse 330">
              <a:extLst>
                <a:ext uri="{FF2B5EF4-FFF2-40B4-BE49-F238E27FC236}">
                  <a16:creationId xmlns:a16="http://schemas.microsoft.com/office/drawing/2014/main" id="{5F6D9D3B-F70D-D77F-698C-BEE9A02B3FE6}"/>
                </a:ext>
              </a:extLst>
            </p:cNvPr>
            <p:cNvSpPr>
              <a:spLocks/>
            </p:cNvSpPr>
            <p:nvPr/>
          </p:nvSpPr>
          <p:spPr>
            <a:xfrm>
              <a:off x="-530929" y="1555419"/>
              <a:ext cx="360000" cy="23108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FFFFFF"/>
                </a:solidFill>
                <a:effectLst/>
                <a:uLnTx/>
                <a:uFillTx/>
                <a:latin typeface="Santander Text" panose="020B0504020201020104"/>
                <a:ea typeface="+mn-ea"/>
                <a:cs typeface="+mn-cs"/>
              </a:endParaRPr>
            </a:p>
          </p:txBody>
        </p:sp>
        <p:sp>
          <p:nvSpPr>
            <p:cNvPr id="1115" name="CuadroTexto 3">
              <a:extLst>
                <a:ext uri="{FF2B5EF4-FFF2-40B4-BE49-F238E27FC236}">
                  <a16:creationId xmlns:a16="http://schemas.microsoft.com/office/drawing/2014/main" id="{C4BC64EF-EEFE-75B1-F98F-686438B48281}"/>
                </a:ext>
              </a:extLst>
            </p:cNvPr>
            <p:cNvSpPr txBox="1">
              <a:spLocks/>
            </p:cNvSpPr>
            <p:nvPr/>
          </p:nvSpPr>
          <p:spPr>
            <a:xfrm>
              <a:off x="-527359" y="1617980"/>
              <a:ext cx="360000" cy="115416"/>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1" i="0" u="none" strike="noStrike" kern="1200" cap="none" spc="0" normalizeH="0" baseline="0" noProof="0">
                  <a:ln>
                    <a:noFill/>
                  </a:ln>
                  <a:solidFill>
                    <a:srgbClr val="FF0000"/>
                  </a:solidFill>
                  <a:effectLst/>
                  <a:uLnTx/>
                  <a:uFillTx/>
                  <a:latin typeface="Santander Text" panose="020B0504020201020104"/>
                  <a:ea typeface="+mn-ea"/>
                  <a:cs typeface="+mn-cs"/>
                </a:rPr>
                <a:t>Platform</a:t>
              </a:r>
            </a:p>
          </p:txBody>
        </p:sp>
        <p:sp>
          <p:nvSpPr>
            <p:cNvPr id="2059" name="Elipse 330">
              <a:extLst>
                <a:ext uri="{FF2B5EF4-FFF2-40B4-BE49-F238E27FC236}">
                  <a16:creationId xmlns:a16="http://schemas.microsoft.com/office/drawing/2014/main" id="{19F99E3A-0220-61C0-B6D6-5DB05AF86D09}"/>
                </a:ext>
              </a:extLst>
            </p:cNvPr>
            <p:cNvSpPr>
              <a:spLocks/>
            </p:cNvSpPr>
            <p:nvPr/>
          </p:nvSpPr>
          <p:spPr>
            <a:xfrm>
              <a:off x="-530929" y="144942"/>
              <a:ext cx="360000" cy="23108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FFFFFF"/>
                </a:solidFill>
                <a:effectLst/>
                <a:uLnTx/>
                <a:uFillTx/>
                <a:latin typeface="Santander Text" panose="020B0504020201020104"/>
                <a:ea typeface="+mn-ea"/>
                <a:cs typeface="+mn-cs"/>
              </a:endParaRPr>
            </a:p>
          </p:txBody>
        </p:sp>
        <p:sp>
          <p:nvSpPr>
            <p:cNvPr id="2060" name="CuadroTexto 328">
              <a:extLst>
                <a:ext uri="{FF2B5EF4-FFF2-40B4-BE49-F238E27FC236}">
                  <a16:creationId xmlns:a16="http://schemas.microsoft.com/office/drawing/2014/main" id="{040069EE-EB64-89FA-A1DD-29D1F2CB8C42}"/>
                </a:ext>
              </a:extLst>
            </p:cNvPr>
            <p:cNvSpPr txBox="1">
              <a:spLocks/>
            </p:cNvSpPr>
            <p:nvPr/>
          </p:nvSpPr>
          <p:spPr>
            <a:xfrm>
              <a:off x="-527359" y="183444"/>
              <a:ext cx="360000" cy="115416"/>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1" i="0" u="none" strike="noStrike" kern="1200" cap="none" spc="0" normalizeH="0" baseline="0" noProof="0">
                  <a:ln>
                    <a:noFill/>
                  </a:ln>
                  <a:solidFill>
                    <a:srgbClr val="FF0000"/>
                  </a:solidFill>
                  <a:effectLst/>
                  <a:uLnTx/>
                  <a:uFillTx/>
                  <a:latin typeface="Santander Text" panose="020B0504020201020104"/>
                  <a:ea typeface="+mn-ea"/>
                  <a:cs typeface="+mn-cs"/>
                </a:rPr>
                <a:t>R&amp;C</a:t>
              </a:r>
            </a:p>
          </p:txBody>
        </p:sp>
      </p:grpSp>
      <p:sp>
        <p:nvSpPr>
          <p:cNvPr id="2" name="TextBox 1">
            <a:extLst>
              <a:ext uri="{FF2B5EF4-FFF2-40B4-BE49-F238E27FC236}">
                <a16:creationId xmlns:a16="http://schemas.microsoft.com/office/drawing/2014/main" id="{7DBE1176-0887-3703-2A47-CB7BD168FDEB}"/>
              </a:ext>
            </a:extLst>
          </p:cNvPr>
          <p:cNvSpPr txBox="1"/>
          <p:nvPr/>
        </p:nvSpPr>
        <p:spPr>
          <a:xfrm rot="1149828">
            <a:off x="10766862" y="575933"/>
            <a:ext cx="1395901" cy="276999"/>
          </a:xfrm>
          <a:prstGeom prst="rect">
            <a:avLst/>
          </a:prstGeom>
          <a:solidFill>
            <a:srgbClr val="FFFF00"/>
          </a:solidFill>
        </p:spPr>
        <p:txBody>
          <a:bodyPr wrap="square">
            <a:spAutoFit/>
          </a:bodyPr>
          <a:lstStyle/>
          <a:p>
            <a:r>
              <a:rPr lang="es-ES" sz="1200" b="1" dirty="0"/>
              <a:t>WORKING DRAFT</a:t>
            </a:r>
          </a:p>
        </p:txBody>
      </p:sp>
    </p:spTree>
    <p:extLst>
      <p:ext uri="{BB962C8B-B14F-4D97-AF65-F5344CB8AC3E}">
        <p14:creationId xmlns:p14="http://schemas.microsoft.com/office/powerpoint/2010/main" val="27468307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64D7D96-B54B-13B9-2FAF-7A3B0378474A}"/>
              </a:ext>
            </a:extLst>
          </p:cNvPr>
          <p:cNvSpPr>
            <a:spLocks noGrp="1"/>
          </p:cNvSpPr>
          <p:nvPr>
            <p:ph type="body" sz="quarter" idx="10"/>
          </p:nvPr>
        </p:nvSpPr>
        <p:spPr>
          <a:xfrm>
            <a:off x="688285" y="1571102"/>
            <a:ext cx="4970237" cy="4257675"/>
          </a:xfrm>
        </p:spPr>
        <p:txBody>
          <a:bodyPr/>
          <a:lstStyle/>
          <a:p>
            <a:r>
              <a:rPr lang="es-ES" dirty="0" err="1"/>
              <a:t>Thank</a:t>
            </a:r>
            <a:r>
              <a:rPr lang="es-ES" dirty="0"/>
              <a:t> </a:t>
            </a:r>
            <a:r>
              <a:rPr lang="es-ES" dirty="0" err="1"/>
              <a:t>You</a:t>
            </a:r>
            <a:r>
              <a:rPr lang="es-ES" dirty="0"/>
              <a:t>.</a:t>
            </a:r>
            <a:endParaRPr lang="en-GB" dirty="0"/>
          </a:p>
          <a:p>
            <a:endParaRPr lang="en-GB" dirty="0"/>
          </a:p>
          <a:p>
            <a:endParaRPr lang="en-GB" dirty="0"/>
          </a:p>
        </p:txBody>
      </p:sp>
      <p:pic>
        <p:nvPicPr>
          <p:cNvPr id="2" name="NTT DATA Global Logo">
            <a:extLst>
              <a:ext uri="{FF2B5EF4-FFF2-40B4-BE49-F238E27FC236}">
                <a16:creationId xmlns:a16="http://schemas.microsoft.com/office/drawing/2014/main" id="{CD9B3168-3B82-F876-6625-3FA88ED8ABC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gray">
          <a:xfrm>
            <a:off x="3136422" y="5934318"/>
            <a:ext cx="1288971" cy="262800"/>
          </a:xfrm>
          <a:prstGeom prst="rect">
            <a:avLst/>
          </a:prstGeom>
        </p:spPr>
      </p:pic>
    </p:spTree>
    <p:extLst>
      <p:ext uri="{BB962C8B-B14F-4D97-AF65-F5344CB8AC3E}">
        <p14:creationId xmlns:p14="http://schemas.microsoft.com/office/powerpoint/2010/main" val="15541259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8096578-787E-99EB-06C1-875B5D6444FE}"/>
            </a:ext>
          </a:extLst>
        </p:cNvPr>
        <p:cNvGrpSpPr/>
        <p:nvPr/>
      </p:nvGrpSpPr>
      <p:grpSpPr>
        <a:xfrm>
          <a:off x="0" y="0"/>
          <a:ext cx="0" cy="0"/>
          <a:chOff x="0" y="0"/>
          <a:chExt cx="0" cy="0"/>
        </a:xfrm>
      </p:grpSpPr>
      <p:sp>
        <p:nvSpPr>
          <p:cNvPr id="10" name="Título 5">
            <a:extLst>
              <a:ext uri="{FF2B5EF4-FFF2-40B4-BE49-F238E27FC236}">
                <a16:creationId xmlns:a16="http://schemas.microsoft.com/office/drawing/2014/main" id="{56B62B0B-F974-8CF3-E658-A602D0EF4573}"/>
              </a:ext>
            </a:extLst>
          </p:cNvPr>
          <p:cNvSpPr txBox="1">
            <a:spLocks/>
          </p:cNvSpPr>
          <p:nvPr/>
        </p:nvSpPr>
        <p:spPr bwMode="gray">
          <a:xfrm>
            <a:off x="1243346" y="432001"/>
            <a:ext cx="7358396" cy="360000"/>
          </a:xfrm>
          <a:prstGeom prst="rect">
            <a:avLst/>
          </a:prstGeom>
        </p:spPr>
        <p:txBody>
          <a:bodyPr vert="horz" lIns="0" tIns="45720" rIns="0" bIns="45720" rtlCol="0" anchor="t">
            <a:noAutofit/>
          </a:bodyPr>
          <a:lstStyle>
            <a:lvl1pPr algn="l" defTabSz="914400" rtl="0" eaLnBrk="1" latinLnBrk="0" hangingPunct="1">
              <a:lnSpc>
                <a:spcPct val="90000"/>
              </a:lnSpc>
              <a:spcBef>
                <a:spcPct val="0"/>
              </a:spcBef>
              <a:buNone/>
              <a:defRPr lang="en-US" sz="2800" kern="1200" dirty="0">
                <a:solidFill>
                  <a:schemeClr val="bg1"/>
                </a:solidFill>
                <a:latin typeface="Georgia" panose="02040502050405020303" pitchFamily="18" charset="0"/>
                <a:ea typeface="+mj-ea"/>
                <a:cs typeface="+mj-cs"/>
              </a:defRPr>
            </a:lvl1pPr>
          </a:lstStyle>
          <a:p>
            <a:pPr marL="0" marR="0" lvl="0" indent="0" algn="just" defTabSz="914400" rtl="0" eaLnBrk="1" fontAlgn="auto" latinLnBrk="0" hangingPunct="1">
              <a:lnSpc>
                <a:spcPct val="90000"/>
              </a:lnSpc>
              <a:spcBef>
                <a:spcPct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Santander Text" panose="020B0504020201020104"/>
              <a:cs typeface="Arial" panose="020B0604020202020204" pitchFamily="34" charset="0"/>
            </a:endParaRPr>
          </a:p>
        </p:txBody>
      </p:sp>
      <p:sp>
        <p:nvSpPr>
          <p:cNvPr id="16" name="Rectángulo 15">
            <a:extLst>
              <a:ext uri="{FF2B5EF4-FFF2-40B4-BE49-F238E27FC236}">
                <a16:creationId xmlns:a16="http://schemas.microsoft.com/office/drawing/2014/main" id="{F35245DB-ABA6-CA04-538C-8803890B665E}"/>
              </a:ext>
            </a:extLst>
          </p:cNvPr>
          <p:cNvSpPr/>
          <p:nvPr/>
        </p:nvSpPr>
        <p:spPr>
          <a:xfrm>
            <a:off x="-1" y="1929119"/>
            <a:ext cx="6408000" cy="1908000"/>
          </a:xfrm>
          <a:prstGeom prst="rect">
            <a:avLst/>
          </a:prstGeom>
          <a:solidFill>
            <a:srgbClr val="ABADBB">
              <a:alpha val="1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Santander Text" panose="020B0504020201020104"/>
            </a:endParaRPr>
          </a:p>
        </p:txBody>
      </p:sp>
      <p:sp>
        <p:nvSpPr>
          <p:cNvPr id="17" name="Google Shape;316;p41">
            <a:extLst>
              <a:ext uri="{FF2B5EF4-FFF2-40B4-BE49-F238E27FC236}">
                <a16:creationId xmlns:a16="http://schemas.microsoft.com/office/drawing/2014/main" id="{C4EFA1BF-E395-4CF3-E420-38A9A5A453CB}"/>
              </a:ext>
            </a:extLst>
          </p:cNvPr>
          <p:cNvSpPr/>
          <p:nvPr/>
        </p:nvSpPr>
        <p:spPr>
          <a:xfrm flipH="1">
            <a:off x="637256" y="724551"/>
            <a:ext cx="11030856" cy="666415"/>
          </a:xfrm>
          <a:prstGeom prst="parallelogram">
            <a:avLst>
              <a:gd name="adj" fmla="val 43232"/>
            </a:avLst>
          </a:prstGeom>
          <a:solidFill>
            <a:srgbClr val="C00000"/>
          </a:solidFill>
          <a:ln>
            <a:noFill/>
          </a:ln>
        </p:spPr>
        <p:txBody>
          <a:bodyPr spcFirstLastPara="1" wrap="square" lIns="121862" tIns="60915" rIns="121862" bIns="6091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Santander Text" panose="020B0504020201020104"/>
              <a:ea typeface="Calibri"/>
              <a:cs typeface="Calibri"/>
              <a:sym typeface="Calibri"/>
            </a:endParaRPr>
          </a:p>
        </p:txBody>
      </p:sp>
      <p:sp>
        <p:nvSpPr>
          <p:cNvPr id="18" name="Google Shape;268;p40">
            <a:extLst>
              <a:ext uri="{FF2B5EF4-FFF2-40B4-BE49-F238E27FC236}">
                <a16:creationId xmlns:a16="http://schemas.microsoft.com/office/drawing/2014/main" id="{60FBE18D-66C9-2D40-0AE2-E096B14781FF}"/>
              </a:ext>
            </a:extLst>
          </p:cNvPr>
          <p:cNvSpPr txBox="1"/>
          <p:nvPr/>
        </p:nvSpPr>
        <p:spPr>
          <a:xfrm>
            <a:off x="1080000" y="801511"/>
            <a:ext cx="9904001" cy="473069"/>
          </a:xfrm>
          <a:prstGeom prst="rect">
            <a:avLst/>
          </a:prstGeom>
          <a:noFill/>
          <a:ln>
            <a:noFill/>
          </a:ln>
        </p:spPr>
        <p:txBody>
          <a:bodyPr spcFirstLastPara="1" wrap="square" lIns="91405" tIns="45686" rIns="91405" bIns="45686" anchor="t" anchorCtr="0">
            <a:noAutofit/>
          </a:bodyPr>
          <a:lstStyle/>
          <a:p>
            <a:pPr lvl="0" algn="ctr">
              <a:defRPr/>
            </a:pPr>
            <a:r>
              <a:rPr lang="en-GB" sz="1250" b="1" noProof="0">
                <a:solidFill>
                  <a:prstClr val="white"/>
                </a:solidFill>
                <a:latin typeface="Santander Text" panose="020B0504020201020104"/>
                <a:ea typeface="Century Gothic"/>
                <a:cs typeface="Century Gothic"/>
              </a:rPr>
              <a:t>NTT DATA brings proven expertise to confidently tackle agent platform challenges, combining strategy, governance and architecture with production execution. We also provide functional knowledge of Santander CIB's internal finance processes.</a:t>
            </a:r>
            <a:endParaRPr kumimoji="0" lang="en-GB" sz="1250" b="1" i="0" u="none" strike="noStrike" kern="1200" cap="none" spc="0" normalizeH="0" baseline="0" noProof="0">
              <a:ln>
                <a:noFill/>
              </a:ln>
              <a:solidFill>
                <a:prstClr val="white"/>
              </a:solidFill>
              <a:effectLst/>
              <a:uLnTx/>
              <a:uFillTx/>
              <a:latin typeface="Santander Text" panose="020B0504020201020104"/>
              <a:ea typeface="Century Gothic"/>
              <a:cs typeface="Century Gothic"/>
            </a:endParaRPr>
          </a:p>
        </p:txBody>
      </p:sp>
      <p:sp>
        <p:nvSpPr>
          <p:cNvPr id="19" name="object 57">
            <a:extLst>
              <a:ext uri="{FF2B5EF4-FFF2-40B4-BE49-F238E27FC236}">
                <a16:creationId xmlns:a16="http://schemas.microsoft.com/office/drawing/2014/main" id="{BD04029A-2501-9DDF-BA72-7B82E6C211D0}"/>
              </a:ext>
            </a:extLst>
          </p:cNvPr>
          <p:cNvSpPr txBox="1"/>
          <p:nvPr/>
        </p:nvSpPr>
        <p:spPr>
          <a:xfrm>
            <a:off x="706510" y="1947086"/>
            <a:ext cx="5252903" cy="261867"/>
          </a:xfrm>
          <a:prstGeom prst="rect">
            <a:avLst/>
          </a:prstGeom>
        </p:spPr>
        <p:txBody>
          <a:bodyPr vert="horz" wrap="square" lIns="0" tIns="13335" rIns="0" bIns="0" rtlCol="0">
            <a:spAutoFit/>
          </a:bodyPr>
          <a:lstStyle/>
          <a:p>
            <a:pPr marL="12700" marR="5080" lvl="0" indent="0" algn="l" defTabSz="914400" rtl="0" eaLnBrk="1" fontAlgn="auto" latinLnBrk="0" hangingPunct="1">
              <a:lnSpc>
                <a:spcPct val="150000"/>
              </a:lnSpc>
              <a:spcBef>
                <a:spcPts val="125"/>
              </a:spcBef>
              <a:spcAft>
                <a:spcPts val="0"/>
              </a:spcAft>
              <a:buClrTx/>
              <a:buSzTx/>
              <a:buFontTx/>
              <a:buNone/>
              <a:tabLst/>
              <a:defRPr/>
            </a:pPr>
            <a:r>
              <a:rPr kumimoji="0" lang="en-GB" sz="1200" b="1" i="0" u="none" strike="noStrike" kern="1200" cap="none" spc="300" normalizeH="0" baseline="0" noProof="0">
                <a:ln>
                  <a:noFill/>
                </a:ln>
                <a:solidFill>
                  <a:srgbClr val="505150"/>
                </a:solidFill>
                <a:effectLst/>
                <a:uLnTx/>
                <a:uFillTx/>
                <a:latin typeface="Santander Text" panose="020B0504020201020104"/>
                <a:cs typeface="Century Gothic"/>
              </a:rPr>
              <a:t>GOVERNANCE AND PLATFORM FOR AI AGENTS</a:t>
            </a:r>
          </a:p>
        </p:txBody>
      </p:sp>
      <p:sp>
        <p:nvSpPr>
          <p:cNvPr id="20" name="CuadroTexto 19">
            <a:extLst>
              <a:ext uri="{FF2B5EF4-FFF2-40B4-BE49-F238E27FC236}">
                <a16:creationId xmlns:a16="http://schemas.microsoft.com/office/drawing/2014/main" id="{C2E1A455-ED6A-6272-8C04-55ED0ABF1227}"/>
              </a:ext>
            </a:extLst>
          </p:cNvPr>
          <p:cNvSpPr txBox="1"/>
          <p:nvPr/>
        </p:nvSpPr>
        <p:spPr>
          <a:xfrm>
            <a:off x="215900" y="2408279"/>
            <a:ext cx="5936786" cy="1008000"/>
          </a:xfrm>
          <a:prstGeom prst="rect">
            <a:avLst/>
          </a:prstGeom>
          <a:noFill/>
        </p:spPr>
        <p:txBody>
          <a:bodyPr wrap="square" rtlCol="0">
            <a:noAutofit/>
          </a:bodyPr>
          <a:lstStyle/>
          <a:p>
            <a:pPr lvl="0" algn="just">
              <a:defRPr/>
            </a:pPr>
            <a:r>
              <a:rPr lang="en-GB" sz="1200" noProof="0">
                <a:solidFill>
                  <a:prstClr val="black">
                    <a:lumMod val="65000"/>
                    <a:lumOff val="35000"/>
                  </a:prstClr>
                </a:solidFill>
                <a:latin typeface="Santander Text" panose="020B0504020201020104"/>
              </a:rPr>
              <a:t>Our experience combines </a:t>
            </a:r>
            <a:r>
              <a:rPr lang="en-GB" sz="1200" b="1" noProof="0">
                <a:solidFill>
                  <a:prstClr val="black">
                    <a:lumMod val="65000"/>
                    <a:lumOff val="35000"/>
                  </a:prstClr>
                </a:solidFill>
                <a:latin typeface="Santander Text" panose="020B0504020201020104"/>
              </a:rPr>
              <a:t>strategy, architecture, and operations </a:t>
            </a:r>
            <a:r>
              <a:rPr lang="en-GB" sz="1200" noProof="0">
                <a:solidFill>
                  <a:prstClr val="black">
                    <a:lumMod val="65000"/>
                    <a:lumOff val="35000"/>
                  </a:prstClr>
                </a:solidFill>
                <a:latin typeface="Santander Text" panose="020B0504020201020104"/>
              </a:rPr>
              <a:t>to scale multi-agent systems. We have designed and implemented AGENTIC platforms that enable governed </a:t>
            </a:r>
            <a:r>
              <a:rPr lang="en-GB" sz="1200" b="1" noProof="0">
                <a:solidFill>
                  <a:prstClr val="black">
                    <a:lumMod val="65000"/>
                    <a:lumOff val="35000"/>
                  </a:prstClr>
                </a:solidFill>
                <a:latin typeface="Santander Text" panose="020B0504020201020104"/>
              </a:rPr>
              <a:t>automation</a:t>
            </a:r>
            <a:r>
              <a:rPr lang="en-GB" sz="1200" noProof="0">
                <a:solidFill>
                  <a:prstClr val="black">
                    <a:lumMod val="65000"/>
                    <a:lumOff val="35000"/>
                  </a:prstClr>
                </a:solidFill>
                <a:latin typeface="Santander Text" panose="020B0504020201020104"/>
              </a:rPr>
              <a:t>, interoperable with frameworks (</a:t>
            </a:r>
            <a:r>
              <a:rPr lang="en-GB" sz="1200" noProof="0" err="1">
                <a:solidFill>
                  <a:prstClr val="black">
                    <a:lumMod val="65000"/>
                    <a:lumOff val="35000"/>
                  </a:prstClr>
                </a:solidFill>
                <a:latin typeface="Santander Text" panose="020B0504020201020104"/>
              </a:rPr>
              <a:t>LangGraph</a:t>
            </a:r>
            <a:r>
              <a:rPr lang="en-GB" sz="1200" noProof="0">
                <a:solidFill>
                  <a:prstClr val="black">
                    <a:lumMod val="65000"/>
                    <a:lumOff val="35000"/>
                  </a:prstClr>
                </a:solidFill>
                <a:latin typeface="Santander Text" panose="020B0504020201020104"/>
              </a:rPr>
              <a:t>, Semantic Kernel, </a:t>
            </a:r>
            <a:r>
              <a:rPr lang="en-GB" sz="1200" noProof="0" err="1">
                <a:solidFill>
                  <a:prstClr val="black">
                    <a:lumMod val="65000"/>
                    <a:lumOff val="35000"/>
                  </a:prstClr>
                </a:solidFill>
                <a:latin typeface="Santander Text" panose="020B0504020201020104"/>
              </a:rPr>
              <a:t>CrewAI</a:t>
            </a:r>
            <a:r>
              <a:rPr lang="en-GB" sz="1200" noProof="0">
                <a:solidFill>
                  <a:prstClr val="black">
                    <a:lumMod val="65000"/>
                    <a:lumOff val="35000"/>
                  </a:prstClr>
                </a:solidFill>
                <a:latin typeface="Santander Text" panose="020B0504020201020104"/>
              </a:rPr>
              <a:t>) and leading clouds (Vertex AI, Azure AI Foundry, Amazon Bedrock), with </a:t>
            </a:r>
            <a:r>
              <a:rPr lang="en-GB" sz="1200" b="1" noProof="0">
                <a:solidFill>
                  <a:prstClr val="black">
                    <a:lumMod val="65000"/>
                    <a:lumOff val="35000"/>
                  </a:prstClr>
                </a:solidFill>
                <a:latin typeface="Santander Text" panose="020B0504020201020104"/>
              </a:rPr>
              <a:t>end-to-end observability and cost control.</a:t>
            </a:r>
            <a:endParaRPr kumimoji="0" lang="en-GB" sz="1200" b="1" i="0" u="none" strike="noStrike" kern="1200" cap="none" spc="0" normalizeH="0" baseline="0" noProof="0">
              <a:ln>
                <a:noFill/>
              </a:ln>
              <a:solidFill>
                <a:prstClr val="black">
                  <a:lumMod val="65000"/>
                  <a:lumOff val="35000"/>
                </a:prstClr>
              </a:solidFill>
              <a:effectLst/>
              <a:uLnTx/>
              <a:uFillTx/>
              <a:latin typeface="Santander Text" panose="020B0504020201020104"/>
            </a:endParaRPr>
          </a:p>
        </p:txBody>
      </p:sp>
      <p:sp>
        <p:nvSpPr>
          <p:cNvPr id="21" name="Rectángulo 20">
            <a:extLst>
              <a:ext uri="{FF2B5EF4-FFF2-40B4-BE49-F238E27FC236}">
                <a16:creationId xmlns:a16="http://schemas.microsoft.com/office/drawing/2014/main" id="{07D7279E-D607-1D2A-5A12-8818902E4114}"/>
              </a:ext>
            </a:extLst>
          </p:cNvPr>
          <p:cNvSpPr/>
          <p:nvPr/>
        </p:nvSpPr>
        <p:spPr>
          <a:xfrm>
            <a:off x="5784000" y="4213265"/>
            <a:ext cx="6408000" cy="1908000"/>
          </a:xfrm>
          <a:prstGeom prst="rect">
            <a:avLst/>
          </a:prstGeom>
          <a:solidFill>
            <a:srgbClr val="ABADBB">
              <a:alpha val="1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Santander Text" panose="020B0504020201020104"/>
            </a:endParaRPr>
          </a:p>
        </p:txBody>
      </p:sp>
      <p:sp>
        <p:nvSpPr>
          <p:cNvPr id="22" name="object 57">
            <a:extLst>
              <a:ext uri="{FF2B5EF4-FFF2-40B4-BE49-F238E27FC236}">
                <a16:creationId xmlns:a16="http://schemas.microsoft.com/office/drawing/2014/main" id="{3D3A1E93-4CE7-2992-9E68-5B0DC4515048}"/>
              </a:ext>
            </a:extLst>
          </p:cNvPr>
          <p:cNvSpPr txBox="1"/>
          <p:nvPr/>
        </p:nvSpPr>
        <p:spPr>
          <a:xfrm>
            <a:off x="6152686" y="4308872"/>
            <a:ext cx="5287946" cy="263790"/>
          </a:xfrm>
          <a:prstGeom prst="rect">
            <a:avLst/>
          </a:prstGeom>
        </p:spPr>
        <p:txBody>
          <a:bodyPr vert="horz" wrap="square" lIns="0" tIns="13335" rIns="0" bIns="0" rtlCol="0">
            <a:spAutoFit/>
          </a:bodyPr>
          <a:lstStyle/>
          <a:p>
            <a:pPr marL="12700" marR="5080" lvl="0" indent="0" algn="l" defTabSz="914400" rtl="0" eaLnBrk="1" fontAlgn="auto" latinLnBrk="0" hangingPunct="1">
              <a:lnSpc>
                <a:spcPct val="150000"/>
              </a:lnSpc>
              <a:spcBef>
                <a:spcPts val="125"/>
              </a:spcBef>
              <a:spcAft>
                <a:spcPts val="0"/>
              </a:spcAft>
              <a:buClrTx/>
              <a:buSzTx/>
              <a:buFontTx/>
              <a:buNone/>
              <a:tabLst/>
              <a:defRPr/>
            </a:pPr>
            <a:r>
              <a:rPr kumimoji="0" lang="en-GB" sz="1200" b="1" i="0" u="none" strike="noStrike" kern="1200" cap="none" spc="300" normalizeH="0" baseline="0" noProof="0">
                <a:ln>
                  <a:noFill/>
                </a:ln>
                <a:solidFill>
                  <a:srgbClr val="505150"/>
                </a:solidFill>
                <a:effectLst/>
                <a:uLnTx/>
                <a:uFillTx/>
                <a:latin typeface="Santander Text" panose="020B0504020201020104"/>
                <a:cs typeface="Century Gothic"/>
              </a:rPr>
              <a:t>USE CASES AND PRODUCTION RESULTS</a:t>
            </a:r>
          </a:p>
        </p:txBody>
      </p:sp>
      <p:sp>
        <p:nvSpPr>
          <p:cNvPr id="23" name="CuadroTexto 22">
            <a:extLst>
              <a:ext uri="{FF2B5EF4-FFF2-40B4-BE49-F238E27FC236}">
                <a16:creationId xmlns:a16="http://schemas.microsoft.com/office/drawing/2014/main" id="{C3C135C1-83E9-0A16-AA37-CADD66AFEBDE}"/>
              </a:ext>
            </a:extLst>
          </p:cNvPr>
          <p:cNvSpPr txBox="1"/>
          <p:nvPr/>
        </p:nvSpPr>
        <p:spPr>
          <a:xfrm>
            <a:off x="6096000" y="4686847"/>
            <a:ext cx="5829300" cy="1327762"/>
          </a:xfrm>
          <a:prstGeom prst="rect">
            <a:avLst/>
          </a:prstGeom>
          <a:noFill/>
        </p:spPr>
        <p:txBody>
          <a:bodyPr wrap="square" lIns="91440" tIns="45720" rIns="91440" bIns="45720" rtlCol="0" anchor="t">
            <a:noAutofit/>
          </a:bodyPr>
          <a:lstStyle/>
          <a:p>
            <a:pPr lvl="0" algn="just">
              <a:defRPr/>
            </a:pPr>
            <a:r>
              <a:rPr lang="en-GB" sz="1200" noProof="0">
                <a:solidFill>
                  <a:prstClr val="black">
                    <a:lumMod val="65000"/>
                    <a:lumOff val="35000"/>
                  </a:prstClr>
                </a:solidFill>
                <a:latin typeface="Santander Text" panose="020B0504020201020104"/>
              </a:rPr>
              <a:t>Multiple cases of generative AI have been developed for end-to-end process automation with intelligent agents. The projects cover banking, insurance, energy, industry and media, with impacts on response time, quality and operational efficiency. The varying requirements of each of the projects developed demonstrate NTT DATA's ability to adapt to the requirements of different clients, as well as its comprehensive knowledge of different business areas.</a:t>
            </a:r>
            <a:endParaRPr kumimoji="0" lang="en-GB" sz="1200" b="0" i="0" u="none" strike="noStrike" kern="1200" cap="none" spc="0" normalizeH="0" baseline="0" noProof="0">
              <a:ln>
                <a:noFill/>
              </a:ln>
              <a:solidFill>
                <a:prstClr val="black">
                  <a:lumMod val="65000"/>
                  <a:lumOff val="35000"/>
                </a:prstClr>
              </a:solidFill>
              <a:effectLst/>
              <a:uLnTx/>
              <a:uFillTx/>
              <a:latin typeface="Santander Text" panose="020B0504020201020104"/>
            </a:endParaRPr>
          </a:p>
        </p:txBody>
      </p:sp>
      <p:grpSp>
        <p:nvGrpSpPr>
          <p:cNvPr id="24" name="Grupo 23">
            <a:extLst>
              <a:ext uri="{FF2B5EF4-FFF2-40B4-BE49-F238E27FC236}">
                <a16:creationId xmlns:a16="http://schemas.microsoft.com/office/drawing/2014/main" id="{18624FA4-18F8-9CB0-E1A7-06A965B3EEA3}"/>
              </a:ext>
            </a:extLst>
          </p:cNvPr>
          <p:cNvGrpSpPr/>
          <p:nvPr/>
        </p:nvGrpSpPr>
        <p:grpSpPr>
          <a:xfrm>
            <a:off x="1598984" y="4336876"/>
            <a:ext cx="3733729" cy="1711050"/>
            <a:chOff x="1840411" y="4496231"/>
            <a:chExt cx="3733729" cy="1711050"/>
          </a:xfrm>
        </p:grpSpPr>
        <p:sp>
          <p:nvSpPr>
            <p:cNvPr id="25" name="CuadroTexto 24">
              <a:extLst>
                <a:ext uri="{FF2B5EF4-FFF2-40B4-BE49-F238E27FC236}">
                  <a16:creationId xmlns:a16="http://schemas.microsoft.com/office/drawing/2014/main" id="{65062126-F186-0A13-C397-5F16DE7F5CEB}"/>
                </a:ext>
              </a:extLst>
            </p:cNvPr>
            <p:cNvSpPr txBox="1"/>
            <p:nvPr/>
          </p:nvSpPr>
          <p:spPr>
            <a:xfrm>
              <a:off x="1849376" y="4496231"/>
              <a:ext cx="3715799" cy="513785"/>
            </a:xfrm>
            <a:prstGeom prst="rect">
              <a:avLst/>
            </a:prstGeom>
            <a:noFill/>
          </p:spPr>
          <p:txBody>
            <a:bodyPr wrap="square" lIns="108000" tIns="36000" rIns="36000" bIns="36000" rtlCol="0" anchor="ctr" anchorCtr="0">
              <a:noAutofit/>
            </a:bodyPr>
            <a:lstStyle/>
            <a:p>
              <a:pPr marL="171450" lvl="0" indent="-171450" algn="just">
                <a:buClr>
                  <a:srgbClr val="20264B"/>
                </a:buClr>
                <a:buFont typeface="Wingdings" panose="05000000000000000000" pitchFamily="2" charset="2"/>
                <a:buChar char="ü"/>
                <a:defRPr/>
              </a:pPr>
              <a:r>
                <a:rPr lang="en-GB" sz="1200" b="1" noProof="0">
                  <a:solidFill>
                    <a:srgbClr val="424242"/>
                  </a:solidFill>
                  <a:latin typeface="Santander Text" panose="020B0504020201020104"/>
                </a:rPr>
                <a:t>Verification of data consistency </a:t>
              </a:r>
              <a:r>
                <a:rPr lang="en-GB" sz="1200" noProof="0">
                  <a:solidFill>
                    <a:srgbClr val="424242"/>
                  </a:solidFill>
                  <a:latin typeface="Santander Text" panose="020B0504020201020104"/>
                </a:rPr>
                <a:t>between internal repositories and external sources; solution in Azure.</a:t>
              </a:r>
              <a:endParaRPr kumimoji="0" lang="en-GB" sz="1200" i="0" u="none" strike="noStrike" kern="0" cap="none" spc="300" normalizeH="0" baseline="0" noProof="0">
                <a:ln>
                  <a:noFill/>
                </a:ln>
                <a:solidFill>
                  <a:prstClr val="black">
                    <a:lumMod val="65000"/>
                    <a:lumOff val="35000"/>
                  </a:prstClr>
                </a:solidFill>
                <a:effectLst/>
                <a:uLnTx/>
                <a:uFillTx/>
                <a:latin typeface="Santander Text" panose="020B0504020201020104"/>
              </a:endParaRPr>
            </a:p>
          </p:txBody>
        </p:sp>
        <p:sp>
          <p:nvSpPr>
            <p:cNvPr id="26" name="CuadroTexto 25">
              <a:extLst>
                <a:ext uri="{FF2B5EF4-FFF2-40B4-BE49-F238E27FC236}">
                  <a16:creationId xmlns:a16="http://schemas.microsoft.com/office/drawing/2014/main" id="{CAEB6EB0-9145-0160-E24F-DB6F5C4A5033}"/>
                </a:ext>
              </a:extLst>
            </p:cNvPr>
            <p:cNvSpPr txBox="1"/>
            <p:nvPr/>
          </p:nvSpPr>
          <p:spPr>
            <a:xfrm>
              <a:off x="1849376" y="5155557"/>
              <a:ext cx="3724764" cy="360000"/>
            </a:xfrm>
            <a:prstGeom prst="rect">
              <a:avLst/>
            </a:prstGeom>
            <a:noFill/>
          </p:spPr>
          <p:txBody>
            <a:bodyPr wrap="square" lIns="108000" tIns="36000" rIns="36000" bIns="36000" rtlCol="0" anchor="ctr" anchorCtr="0">
              <a:noAutofit/>
            </a:bodyPr>
            <a:lstStyle/>
            <a:p>
              <a:pPr marL="171450" lvl="0" indent="-171450" algn="just">
                <a:buClr>
                  <a:srgbClr val="20264B"/>
                </a:buClr>
                <a:buFont typeface="Wingdings" panose="05000000000000000000" pitchFamily="2" charset="2"/>
                <a:buChar char="ü"/>
                <a:defRPr/>
              </a:pPr>
              <a:r>
                <a:rPr lang="en-GB" sz="1200" b="1" noProof="0">
                  <a:solidFill>
                    <a:srgbClr val="424242"/>
                  </a:solidFill>
                  <a:latin typeface="Santander Text" panose="020B0504020201020104"/>
                </a:rPr>
                <a:t>Multi-agent assistant for credit analysis</a:t>
              </a:r>
              <a:r>
                <a:rPr lang="en-GB" sz="1200" noProof="0">
                  <a:solidFill>
                    <a:srgbClr val="424242"/>
                  </a:solidFill>
                  <a:latin typeface="Santander Text" panose="020B0504020201020104"/>
                </a:rPr>
                <a:t>, with semi-autonomous sequential orchestration on LangGraph</a:t>
              </a:r>
              <a:endParaRPr kumimoji="0" lang="en-GB" sz="1200" b="0" i="0" u="none" strike="noStrike" kern="0" cap="none" spc="300" normalizeH="0" baseline="0" noProof="0">
                <a:ln>
                  <a:noFill/>
                </a:ln>
                <a:solidFill>
                  <a:prstClr val="black">
                    <a:lumMod val="65000"/>
                    <a:lumOff val="35000"/>
                  </a:prstClr>
                </a:solidFill>
                <a:effectLst/>
                <a:uLnTx/>
                <a:uFillTx/>
                <a:latin typeface="Santander Text" panose="020B0504020201020104"/>
              </a:endParaRPr>
            </a:p>
          </p:txBody>
        </p:sp>
        <p:sp>
          <p:nvSpPr>
            <p:cNvPr id="27" name="CuadroTexto 26">
              <a:extLst>
                <a:ext uri="{FF2B5EF4-FFF2-40B4-BE49-F238E27FC236}">
                  <a16:creationId xmlns:a16="http://schemas.microsoft.com/office/drawing/2014/main" id="{72085842-C12A-D655-8420-51629D507E47}"/>
                </a:ext>
              </a:extLst>
            </p:cNvPr>
            <p:cNvSpPr txBox="1"/>
            <p:nvPr/>
          </p:nvSpPr>
          <p:spPr>
            <a:xfrm>
              <a:off x="1840411" y="5847281"/>
              <a:ext cx="3724764" cy="360000"/>
            </a:xfrm>
            <a:prstGeom prst="rect">
              <a:avLst/>
            </a:prstGeom>
            <a:noFill/>
          </p:spPr>
          <p:txBody>
            <a:bodyPr wrap="square" lIns="108000" tIns="36000" rIns="36000" bIns="36000" rtlCol="0" anchor="ctr" anchorCtr="0">
              <a:noAutofit/>
            </a:bodyPr>
            <a:lstStyle/>
            <a:p>
              <a:pPr marL="171450" lvl="0" indent="-171450" algn="just">
                <a:buClr>
                  <a:srgbClr val="20264B"/>
                </a:buClr>
                <a:buFont typeface="Wingdings" panose="05000000000000000000" pitchFamily="2" charset="2"/>
                <a:buChar char="ü"/>
                <a:defRPr/>
              </a:pPr>
              <a:r>
                <a:rPr lang="en-GB" sz="1200" noProof="0">
                  <a:solidFill>
                    <a:srgbClr val="424242"/>
                  </a:solidFill>
                  <a:latin typeface="Santander Text" panose="020B0504020201020104"/>
                </a:rPr>
                <a:t>Multi-agent </a:t>
              </a:r>
              <a:r>
                <a:rPr lang="en-GB" sz="1200" b="1" noProof="0">
                  <a:solidFill>
                    <a:srgbClr val="424242"/>
                  </a:solidFill>
                  <a:latin typeface="Santander Text" panose="020B0504020201020104"/>
                </a:rPr>
                <a:t>conversational assistant</a:t>
              </a:r>
              <a:r>
                <a:rPr lang="en-GB" sz="1200" noProof="0">
                  <a:solidFill>
                    <a:srgbClr val="424242"/>
                  </a:solidFill>
                  <a:latin typeface="Santander Text" panose="020B0504020201020104"/>
                </a:rPr>
                <a:t> on Microsoft Teams to reduce cancellations and automate </a:t>
              </a:r>
              <a:r>
                <a:rPr lang="en-GB" sz="1200" b="1" noProof="0">
                  <a:solidFill>
                    <a:srgbClr val="424242"/>
                  </a:solidFill>
                  <a:latin typeface="Santander Text" panose="020B0504020201020104"/>
                </a:rPr>
                <a:t>claims resolution</a:t>
              </a:r>
              <a:r>
                <a:rPr lang="en-GB" sz="1200" noProof="0">
                  <a:solidFill>
                    <a:srgbClr val="424242"/>
                  </a:solidFill>
                  <a:latin typeface="Santander Text" panose="020B0504020201020104"/>
                </a:rPr>
                <a:t>, with hierarchical coordination.</a:t>
              </a:r>
            </a:p>
          </p:txBody>
        </p:sp>
      </p:grpSp>
      <p:sp>
        <p:nvSpPr>
          <p:cNvPr id="33" name="CuadroTexto 32">
            <a:extLst>
              <a:ext uri="{FF2B5EF4-FFF2-40B4-BE49-F238E27FC236}">
                <a16:creationId xmlns:a16="http://schemas.microsoft.com/office/drawing/2014/main" id="{BA07F5EE-D652-D0DA-158C-A7DB12474A2D}"/>
              </a:ext>
            </a:extLst>
          </p:cNvPr>
          <p:cNvSpPr txBox="1"/>
          <p:nvPr/>
        </p:nvSpPr>
        <p:spPr>
          <a:xfrm>
            <a:off x="7297259" y="1834282"/>
            <a:ext cx="4158409" cy="2402725"/>
          </a:xfrm>
          <a:prstGeom prst="rect">
            <a:avLst/>
          </a:prstGeom>
          <a:noFill/>
        </p:spPr>
        <p:txBody>
          <a:bodyPr wrap="square" lIns="108000" tIns="36000" rIns="36000" bIns="36000" rtlCol="0" anchor="ctr" anchorCtr="0">
            <a:noAutofit/>
          </a:bodyPr>
          <a:lstStyle/>
          <a:p>
            <a:pPr marL="171450" lvl="0" indent="-171450" algn="just">
              <a:lnSpc>
                <a:spcPct val="150000"/>
              </a:lnSpc>
              <a:buClr>
                <a:srgbClr val="20264B"/>
              </a:buClr>
              <a:buFont typeface="Wingdings" panose="05000000000000000000" pitchFamily="2" charset="2"/>
              <a:buChar char="ü"/>
              <a:defRPr/>
            </a:pPr>
            <a:r>
              <a:rPr lang="en-GB" sz="1100" b="1" noProof="0">
                <a:solidFill>
                  <a:srgbClr val="424242"/>
                </a:solidFill>
                <a:latin typeface="Santander Text" panose="020B0504020201020104"/>
              </a:rPr>
              <a:t>Platform implementations </a:t>
            </a:r>
            <a:r>
              <a:rPr lang="en-GB" sz="1100" noProof="0">
                <a:solidFill>
                  <a:srgbClr val="424242"/>
                </a:solidFill>
                <a:latin typeface="Santander Text" panose="020B0504020201020104"/>
              </a:rPr>
              <a:t>in insurance agencies, with hierarchical or networked agent organizations</a:t>
            </a:r>
          </a:p>
          <a:p>
            <a:pPr marL="171450" indent="-171450" algn="just">
              <a:lnSpc>
                <a:spcPct val="150000"/>
              </a:lnSpc>
              <a:buClr>
                <a:srgbClr val="20264B"/>
              </a:buClr>
              <a:buFont typeface="Wingdings" panose="05000000000000000000" pitchFamily="2" charset="2"/>
              <a:buChar char="ü"/>
              <a:defRPr/>
            </a:pPr>
            <a:r>
              <a:rPr lang="en-GB" sz="1100" noProof="0">
                <a:solidFill>
                  <a:srgbClr val="424242"/>
                </a:solidFill>
                <a:latin typeface="Santander Text" panose="020B0504020201020104"/>
              </a:rPr>
              <a:t>Definition of strategy and </a:t>
            </a:r>
            <a:r>
              <a:rPr lang="en-GB" sz="1100" b="1" noProof="0">
                <a:solidFill>
                  <a:srgbClr val="424242"/>
                </a:solidFill>
                <a:latin typeface="Santander Text" panose="020B0504020201020104"/>
              </a:rPr>
              <a:t>corporate deployment</a:t>
            </a:r>
            <a:r>
              <a:rPr lang="en-GB" sz="1100" noProof="0">
                <a:solidFill>
                  <a:srgbClr val="424242"/>
                </a:solidFill>
                <a:latin typeface="Santander Text" panose="020B0504020201020104"/>
              </a:rPr>
              <a:t> plan for multi-agents in a Spanish financial institution.</a:t>
            </a:r>
          </a:p>
          <a:p>
            <a:pPr marL="171450" indent="-171450" algn="just">
              <a:lnSpc>
                <a:spcPct val="150000"/>
              </a:lnSpc>
              <a:buClr>
                <a:srgbClr val="20264B"/>
              </a:buClr>
              <a:buFont typeface="Wingdings" panose="05000000000000000000" pitchFamily="2" charset="2"/>
              <a:buChar char="ü"/>
              <a:defRPr/>
            </a:pPr>
            <a:r>
              <a:rPr lang="en-GB" sz="1100" noProof="0">
                <a:solidFill>
                  <a:srgbClr val="424242"/>
                </a:solidFill>
                <a:latin typeface="Santander Text" panose="020B0504020201020104"/>
              </a:rPr>
              <a:t>Observability and </a:t>
            </a:r>
            <a:r>
              <a:rPr lang="en-GB" sz="1100" noProof="0" err="1">
                <a:solidFill>
                  <a:srgbClr val="424242"/>
                </a:solidFill>
                <a:latin typeface="Santander Text" panose="020B0504020201020104"/>
              </a:rPr>
              <a:t>LLMOps</a:t>
            </a:r>
            <a:r>
              <a:rPr lang="en-GB" sz="1100" noProof="0">
                <a:solidFill>
                  <a:srgbClr val="424242"/>
                </a:solidFill>
                <a:latin typeface="Santander Text" panose="020B0504020201020104"/>
              </a:rPr>
              <a:t> with </a:t>
            </a:r>
            <a:r>
              <a:rPr lang="en-GB" sz="1100" noProof="0" err="1">
                <a:solidFill>
                  <a:srgbClr val="424242"/>
                </a:solidFill>
                <a:latin typeface="Santander Text" panose="020B0504020201020104"/>
              </a:rPr>
              <a:t>OpenLIT</a:t>
            </a:r>
            <a:r>
              <a:rPr lang="en-GB" sz="1100" noProof="0">
                <a:solidFill>
                  <a:srgbClr val="424242"/>
                </a:solidFill>
                <a:latin typeface="Santander Text" panose="020B0504020201020104"/>
              </a:rPr>
              <a:t> and </a:t>
            </a:r>
            <a:r>
              <a:rPr lang="en-GB" sz="1100" noProof="0" err="1">
                <a:solidFill>
                  <a:srgbClr val="424242"/>
                </a:solidFill>
                <a:latin typeface="Santander Text" panose="020B0504020201020104"/>
              </a:rPr>
              <a:t>OpenTelemetry</a:t>
            </a:r>
            <a:r>
              <a:rPr lang="en-GB" sz="1100" noProof="0">
                <a:solidFill>
                  <a:srgbClr val="424242"/>
                </a:solidFill>
                <a:latin typeface="Santander Text" panose="020B0504020201020104"/>
              </a:rPr>
              <a:t> for traces, metrics, hallucination rates, and cost per interaction.</a:t>
            </a:r>
          </a:p>
          <a:p>
            <a:pPr marL="171450" indent="-171450" algn="just">
              <a:buClr>
                <a:srgbClr val="20264B"/>
              </a:buClr>
              <a:buFont typeface="Wingdings" panose="05000000000000000000" pitchFamily="2" charset="2"/>
              <a:buChar char="ü"/>
              <a:defRPr/>
            </a:pPr>
            <a:r>
              <a:rPr lang="en-GB" sz="1100" noProof="0">
                <a:solidFill>
                  <a:srgbClr val="424242"/>
                </a:solidFill>
                <a:latin typeface="Santander Text" panose="020B0504020201020104"/>
              </a:rPr>
              <a:t>Knowledge of </a:t>
            </a:r>
            <a:r>
              <a:rPr lang="en-GB" sz="1100" b="1" noProof="0">
                <a:solidFill>
                  <a:srgbClr val="424242"/>
                </a:solidFill>
                <a:latin typeface="Santander Text" panose="020B0504020201020104"/>
              </a:rPr>
              <a:t>Santander Finance processes </a:t>
            </a:r>
            <a:r>
              <a:rPr lang="en-GB" sz="1100" noProof="0">
                <a:solidFill>
                  <a:srgbClr val="424242"/>
                </a:solidFill>
                <a:latin typeface="Santander Text" panose="020B0504020201020104"/>
              </a:rPr>
              <a:t>and their environments, such as FMIS, SANART, MISCO, and P&amp;L and balance sheet metrics in systems such as ACPM, BDH, and RETO.</a:t>
            </a:r>
          </a:p>
          <a:p>
            <a:pPr algn="just">
              <a:buClr>
                <a:srgbClr val="20264B"/>
              </a:buClr>
              <a:defRPr/>
            </a:pPr>
            <a:endParaRPr lang="en-GB" sz="1200" kern="0" spc="300" noProof="0">
              <a:solidFill>
                <a:prstClr val="black">
                  <a:lumMod val="65000"/>
                  <a:lumOff val="35000"/>
                </a:prstClr>
              </a:solidFill>
              <a:latin typeface="Santander Text" panose="020B0504020201020104"/>
            </a:endParaRPr>
          </a:p>
          <a:p>
            <a:pPr lvl="0" algn="just">
              <a:buClr>
                <a:srgbClr val="20264B"/>
              </a:buClr>
              <a:defRPr/>
            </a:pPr>
            <a:endParaRPr kumimoji="0" lang="en-GB" sz="1200" b="0" i="0" u="none" strike="noStrike" kern="0" cap="none" spc="300" normalizeH="0" baseline="0" noProof="0">
              <a:ln>
                <a:noFill/>
              </a:ln>
              <a:solidFill>
                <a:prstClr val="black">
                  <a:lumMod val="65000"/>
                  <a:lumOff val="35000"/>
                </a:prstClr>
              </a:solidFill>
              <a:effectLst/>
              <a:uLnTx/>
              <a:uFillTx/>
              <a:latin typeface="Santander Text" panose="020B0504020201020104"/>
            </a:endParaRPr>
          </a:p>
        </p:txBody>
      </p:sp>
      <p:pic>
        <p:nvPicPr>
          <p:cNvPr id="38" name="Gráfico 37" descr="Base de datos con relleno sólido">
            <a:extLst>
              <a:ext uri="{FF2B5EF4-FFF2-40B4-BE49-F238E27FC236}">
                <a16:creationId xmlns:a16="http://schemas.microsoft.com/office/drawing/2014/main" id="{94B58147-4190-410C-2D27-99236B9E82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47948" y="4292188"/>
            <a:ext cx="360001" cy="360001"/>
          </a:xfrm>
          <a:prstGeom prst="rect">
            <a:avLst/>
          </a:prstGeom>
        </p:spPr>
      </p:pic>
      <p:pic>
        <p:nvPicPr>
          <p:cNvPr id="40" name="Gráfico 39" descr="Tarjeta de crédito con relleno sólido">
            <a:extLst>
              <a:ext uri="{FF2B5EF4-FFF2-40B4-BE49-F238E27FC236}">
                <a16:creationId xmlns:a16="http://schemas.microsoft.com/office/drawing/2014/main" id="{ED2A8EC1-6301-6362-E495-699A7A26417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43346" y="4847486"/>
            <a:ext cx="364603" cy="364603"/>
          </a:xfrm>
          <a:prstGeom prst="rect">
            <a:avLst/>
          </a:prstGeom>
        </p:spPr>
      </p:pic>
      <p:pic>
        <p:nvPicPr>
          <p:cNvPr id="42" name="Gráfico 41" descr="Burbuja de chat con relleno sólido">
            <a:extLst>
              <a:ext uri="{FF2B5EF4-FFF2-40B4-BE49-F238E27FC236}">
                <a16:creationId xmlns:a16="http://schemas.microsoft.com/office/drawing/2014/main" id="{339C75B9-CE76-90C2-53F3-B15E82C63BB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93680" y="5451695"/>
            <a:ext cx="463933" cy="463933"/>
          </a:xfrm>
          <a:prstGeom prst="rect">
            <a:avLst/>
          </a:prstGeom>
        </p:spPr>
      </p:pic>
      <p:pic>
        <p:nvPicPr>
          <p:cNvPr id="44" name="Gráfico 43" descr="Dirección con relleno sólido">
            <a:extLst>
              <a:ext uri="{FF2B5EF4-FFF2-40B4-BE49-F238E27FC236}">
                <a16:creationId xmlns:a16="http://schemas.microsoft.com/office/drawing/2014/main" id="{3D142407-0C60-D337-032B-7D08F9276A1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71315" y="1657742"/>
            <a:ext cx="469921" cy="469921"/>
          </a:xfrm>
          <a:prstGeom prst="rect">
            <a:avLst/>
          </a:prstGeom>
        </p:spPr>
      </p:pic>
      <p:pic>
        <p:nvPicPr>
          <p:cNvPr id="46" name="Gráfico 45" descr="Banco con relleno sólido">
            <a:extLst>
              <a:ext uri="{FF2B5EF4-FFF2-40B4-BE49-F238E27FC236}">
                <a16:creationId xmlns:a16="http://schemas.microsoft.com/office/drawing/2014/main" id="{7A411BF0-AD68-97C4-A4F1-E9B893F76D7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67452" y="2151073"/>
            <a:ext cx="469921" cy="469921"/>
          </a:xfrm>
          <a:prstGeom prst="rect">
            <a:avLst/>
          </a:prstGeom>
        </p:spPr>
      </p:pic>
      <p:pic>
        <p:nvPicPr>
          <p:cNvPr id="48" name="Gráfico 47" descr="Alteraciones y sastrería con relleno sólido">
            <a:extLst>
              <a:ext uri="{FF2B5EF4-FFF2-40B4-BE49-F238E27FC236}">
                <a16:creationId xmlns:a16="http://schemas.microsoft.com/office/drawing/2014/main" id="{C5FB964B-D219-EC5D-C65C-C6E02A03015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876284" y="2731221"/>
            <a:ext cx="461089" cy="461089"/>
          </a:xfrm>
          <a:prstGeom prst="rect">
            <a:avLst/>
          </a:prstGeom>
        </p:spPr>
      </p:pic>
      <p:pic>
        <p:nvPicPr>
          <p:cNvPr id="11" name="Gráfico 37" descr="Base de datos con relleno sólido">
            <a:extLst>
              <a:ext uri="{FF2B5EF4-FFF2-40B4-BE49-F238E27FC236}">
                <a16:creationId xmlns:a16="http://schemas.microsoft.com/office/drawing/2014/main" id="{F1BC7DAB-9200-74B5-9AE8-06734DC217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22411" y="3293562"/>
            <a:ext cx="360001" cy="360001"/>
          </a:xfrm>
          <a:prstGeom prst="rect">
            <a:avLst/>
          </a:prstGeom>
        </p:spPr>
      </p:pic>
      <p:sp>
        <p:nvSpPr>
          <p:cNvPr id="2" name="Text Placeholder 3">
            <a:extLst>
              <a:ext uri="{FF2B5EF4-FFF2-40B4-BE49-F238E27FC236}">
                <a16:creationId xmlns:a16="http://schemas.microsoft.com/office/drawing/2014/main" id="{316E3AFB-D317-D3DA-7E17-E91797833263}"/>
              </a:ext>
            </a:extLst>
          </p:cNvPr>
          <p:cNvSpPr txBox="1">
            <a:spLocks/>
          </p:cNvSpPr>
          <p:nvPr/>
        </p:nvSpPr>
        <p:spPr>
          <a:xfrm>
            <a:off x="361854" y="142272"/>
            <a:ext cx="1762983" cy="307777"/>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GB" b="0" noProof="0">
                <a:solidFill>
                  <a:srgbClr val="F14949"/>
                </a:solidFill>
                <a:latin typeface="Santander Headline" panose="020B0504020201020104"/>
              </a:rPr>
              <a:t>NTT DATA Vision</a:t>
            </a:r>
            <a:endParaRPr kumimoji="0" lang="en-GB" sz="2000" b="0" i="0" u="none" strike="noStrike" kern="1200" cap="none" spc="0" normalizeH="0" baseline="0" noProof="0">
              <a:ln>
                <a:noFill/>
              </a:ln>
              <a:solidFill>
                <a:srgbClr val="F14949"/>
              </a:solidFill>
              <a:effectLst/>
              <a:uLnTx/>
              <a:uFillTx/>
              <a:latin typeface="Santander Headline" panose="020B0504020201020104"/>
              <a:ea typeface="+mn-ea"/>
              <a:cs typeface="+mn-cs"/>
            </a:endParaRPr>
          </a:p>
        </p:txBody>
      </p:sp>
      <p:pic>
        <p:nvPicPr>
          <p:cNvPr id="12" name="Picture 2">
            <a:extLst>
              <a:ext uri="{FF2B5EF4-FFF2-40B4-BE49-F238E27FC236}">
                <a16:creationId xmlns:a16="http://schemas.microsoft.com/office/drawing/2014/main" id="{48C97D19-B6C7-86AD-20BC-B562C48BCFFD}"/>
              </a:ext>
            </a:extLst>
          </p:cNvPr>
          <p:cNvPicPr/>
          <p:nvPr/>
        </p:nvPicPr>
        <p:blipFill>
          <a:blip r:embed="rId15"/>
          <a:srcRect r="22480"/>
          <a:stretch>
            <a:fillRect/>
          </a:stretch>
        </p:blipFill>
        <p:spPr>
          <a:xfrm>
            <a:off x="9081410" y="78055"/>
            <a:ext cx="1610515" cy="388493"/>
          </a:xfrm>
          <a:prstGeom prst="rect">
            <a:avLst/>
          </a:prstGeom>
        </p:spPr>
      </p:pic>
      <p:pic>
        <p:nvPicPr>
          <p:cNvPr id="13" name="Imagen 2" descr="NTT Data - Red Seguridad">
            <a:extLst>
              <a:ext uri="{FF2B5EF4-FFF2-40B4-BE49-F238E27FC236}">
                <a16:creationId xmlns:a16="http://schemas.microsoft.com/office/drawing/2014/main" id="{A1BB4ADF-BA67-0706-E072-1EE96861B002}"/>
              </a:ext>
            </a:extLst>
          </p:cNvPr>
          <p:cNvPicPr/>
          <p:nvPr/>
        </p:nvPicPr>
        <p:blipFill>
          <a:blip r:embed="rId16"/>
          <a:stretch>
            <a:fillRect/>
          </a:stretch>
        </p:blipFill>
        <p:spPr>
          <a:xfrm>
            <a:off x="10872169" y="-156949"/>
            <a:ext cx="1166998" cy="847775"/>
          </a:xfrm>
          <a:prstGeom prst="rect">
            <a:avLst/>
          </a:prstGeom>
        </p:spPr>
      </p:pic>
    </p:spTree>
    <p:extLst>
      <p:ext uri="{BB962C8B-B14F-4D97-AF65-F5344CB8AC3E}">
        <p14:creationId xmlns:p14="http://schemas.microsoft.com/office/powerpoint/2010/main" val="39099594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F42F02F-B5A3-E1DC-F916-BDEFDAD30BC7}"/>
            </a:ext>
          </a:extLst>
        </p:cNvPr>
        <p:cNvGrpSpPr/>
        <p:nvPr/>
      </p:nvGrpSpPr>
      <p:grpSpPr>
        <a:xfrm>
          <a:off x="0" y="0"/>
          <a:ext cx="0" cy="0"/>
          <a:chOff x="0" y="0"/>
          <a:chExt cx="0" cy="0"/>
        </a:xfrm>
      </p:grpSpPr>
      <p:sp>
        <p:nvSpPr>
          <p:cNvPr id="13" name="Google Shape;316;p41">
            <a:extLst>
              <a:ext uri="{FF2B5EF4-FFF2-40B4-BE49-F238E27FC236}">
                <a16:creationId xmlns:a16="http://schemas.microsoft.com/office/drawing/2014/main" id="{D1FBA741-131F-5A15-C123-2D772146666A}"/>
              </a:ext>
            </a:extLst>
          </p:cNvPr>
          <p:cNvSpPr/>
          <p:nvPr/>
        </p:nvSpPr>
        <p:spPr>
          <a:xfrm flipH="1">
            <a:off x="637254" y="751983"/>
            <a:ext cx="11122353" cy="792000"/>
          </a:xfrm>
          <a:prstGeom prst="parallelogram">
            <a:avLst>
              <a:gd name="adj" fmla="val 43232"/>
            </a:avLst>
          </a:prstGeom>
          <a:solidFill>
            <a:schemeClr val="accent2">
              <a:lumMod val="20000"/>
              <a:lumOff val="80000"/>
            </a:schemeClr>
          </a:solidFill>
          <a:ln>
            <a:noFill/>
          </a:ln>
        </p:spPr>
        <p:txBody>
          <a:bodyPr spcFirstLastPara="1" wrap="square" lIns="121862" tIns="60915" rIns="121862" bIns="6091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white"/>
              </a:solidFill>
              <a:effectLst/>
              <a:uLnTx/>
              <a:uFillTx/>
              <a:latin typeface="Santander Text" panose="020B0504020201020104"/>
              <a:ea typeface="Calibri"/>
              <a:cs typeface="Calibri"/>
              <a:sym typeface="Calibri"/>
            </a:endParaRPr>
          </a:p>
        </p:txBody>
      </p:sp>
      <p:sp>
        <p:nvSpPr>
          <p:cNvPr id="15" name="Google Shape;316;p41">
            <a:extLst>
              <a:ext uri="{FF2B5EF4-FFF2-40B4-BE49-F238E27FC236}">
                <a16:creationId xmlns:a16="http://schemas.microsoft.com/office/drawing/2014/main" id="{4346E955-6270-6D78-1400-4C41F60C3FC7}"/>
              </a:ext>
            </a:extLst>
          </p:cNvPr>
          <p:cNvSpPr/>
          <p:nvPr/>
        </p:nvSpPr>
        <p:spPr>
          <a:xfrm flipH="1">
            <a:off x="523452" y="706978"/>
            <a:ext cx="11031292" cy="781894"/>
          </a:xfrm>
          <a:prstGeom prst="parallelogram">
            <a:avLst>
              <a:gd name="adj" fmla="val 43232"/>
            </a:avLst>
          </a:prstGeom>
          <a:solidFill>
            <a:srgbClr val="C00000"/>
          </a:solidFill>
          <a:ln>
            <a:noFill/>
          </a:ln>
        </p:spPr>
        <p:txBody>
          <a:bodyPr spcFirstLastPara="1" wrap="square" lIns="121862" tIns="60915" rIns="121862" bIns="60915" anchor="ctr" anchorCtr="0">
            <a:noAutofit/>
          </a:bodyPr>
          <a:lstStyle/>
          <a:p>
            <a:pPr algn="ctr"/>
            <a:r>
              <a:rPr lang="en-GB" sz="1350" b="1" noProof="0" dirty="0">
                <a:solidFill>
                  <a:prstClr val="white"/>
                </a:solidFill>
                <a:latin typeface="Santander Text" panose="020B0504020201020104"/>
                <a:ea typeface="Calibri"/>
                <a:cs typeface="Calibri"/>
              </a:rPr>
              <a:t>We have developed NTT DATA's own internal tool based on Artificial Intelligence capable of operating as a multi-agent platform that can be integrated and useful for internal processes in the finance area at Santander CIB.</a:t>
            </a:r>
            <a:endParaRPr lang="en-GB" sz="1350" b="1" noProof="0" dirty="0">
              <a:solidFill>
                <a:prstClr val="white"/>
              </a:solidFill>
              <a:latin typeface="Santander Text" panose="020B0504020201020104"/>
              <a:ea typeface="Calibri"/>
              <a:cs typeface="Calibri"/>
              <a:sym typeface="Calibri"/>
            </a:endParaRPr>
          </a:p>
        </p:txBody>
      </p:sp>
      <p:sp>
        <p:nvSpPr>
          <p:cNvPr id="16" name="Rectángulo 15">
            <a:extLst>
              <a:ext uri="{FF2B5EF4-FFF2-40B4-BE49-F238E27FC236}">
                <a16:creationId xmlns:a16="http://schemas.microsoft.com/office/drawing/2014/main" id="{E0E448B1-AAD5-9087-29F7-B0B3D836C05F}"/>
              </a:ext>
            </a:extLst>
          </p:cNvPr>
          <p:cNvSpPr/>
          <p:nvPr/>
        </p:nvSpPr>
        <p:spPr>
          <a:xfrm>
            <a:off x="0" y="1723123"/>
            <a:ext cx="5981075" cy="828000"/>
          </a:xfrm>
          <a:prstGeom prst="rect">
            <a:avLst/>
          </a:prstGeom>
          <a:solidFill>
            <a:srgbClr val="90ABD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Santander Text" panose="020B0504020201020104"/>
            </a:endParaRPr>
          </a:p>
        </p:txBody>
      </p:sp>
      <p:sp>
        <p:nvSpPr>
          <p:cNvPr id="18" name="object 57">
            <a:extLst>
              <a:ext uri="{FF2B5EF4-FFF2-40B4-BE49-F238E27FC236}">
                <a16:creationId xmlns:a16="http://schemas.microsoft.com/office/drawing/2014/main" id="{6B052862-3B6C-39C7-7DC6-623572AFA68D}"/>
              </a:ext>
            </a:extLst>
          </p:cNvPr>
          <p:cNvSpPr txBox="1"/>
          <p:nvPr/>
        </p:nvSpPr>
        <p:spPr>
          <a:xfrm>
            <a:off x="946879" y="1816589"/>
            <a:ext cx="5034196" cy="576000"/>
          </a:xfrm>
          <a:prstGeom prst="rect">
            <a:avLst/>
          </a:prstGeom>
        </p:spPr>
        <p:txBody>
          <a:bodyPr vert="horz" wrap="square" lIns="0" tIns="13335" rIns="0" bIns="0" rtlCol="0">
            <a:noAutofit/>
          </a:bodyPr>
          <a:lstStyle/>
          <a:p>
            <a:pPr marL="12700" marR="5080" lvl="0" indent="0" algn="l" defTabSz="914400" rtl="0" eaLnBrk="1" fontAlgn="auto" latinLnBrk="0" hangingPunct="1">
              <a:lnSpc>
                <a:spcPct val="150000"/>
              </a:lnSpc>
              <a:spcBef>
                <a:spcPts val="125"/>
              </a:spcBef>
              <a:spcAft>
                <a:spcPts val="0"/>
              </a:spcAft>
              <a:buClrTx/>
              <a:buSzTx/>
              <a:buFontTx/>
              <a:buNone/>
              <a:tabLst/>
              <a:defRPr/>
            </a:pPr>
            <a:r>
              <a:rPr kumimoji="0" lang="en-GB" sz="1200" b="0" i="0" u="none" strike="noStrike" kern="1200" cap="none" spc="300" normalizeH="0" baseline="0" noProof="0">
                <a:ln>
                  <a:noFill/>
                </a:ln>
                <a:solidFill>
                  <a:srgbClr val="505150"/>
                </a:solidFill>
                <a:effectLst/>
                <a:uLnTx/>
                <a:uFillTx/>
                <a:latin typeface="Santander Text" panose="020B0504020201020104"/>
                <a:cs typeface="Century Gothic"/>
              </a:rPr>
              <a:t>OUR ADVANTAGE:</a:t>
            </a:r>
            <a:br>
              <a:rPr kumimoji="0" lang="en-GB" sz="1200" b="0" i="0" u="none" strike="noStrike" kern="1200" cap="none" spc="300" normalizeH="0" baseline="0" noProof="0">
                <a:ln>
                  <a:noFill/>
                </a:ln>
                <a:solidFill>
                  <a:srgbClr val="505150"/>
                </a:solidFill>
                <a:effectLst/>
                <a:uLnTx/>
                <a:uFillTx/>
                <a:latin typeface="Santander Text" panose="020B0504020201020104"/>
                <a:cs typeface="Century Gothic"/>
              </a:rPr>
            </a:br>
            <a:r>
              <a:rPr kumimoji="0" lang="en-GB" sz="1200" b="1" i="0" u="none" strike="noStrike" kern="1200" cap="none" spc="300" normalizeH="0" baseline="0" noProof="0">
                <a:ln>
                  <a:noFill/>
                </a:ln>
                <a:solidFill>
                  <a:srgbClr val="505150"/>
                </a:solidFill>
                <a:effectLst/>
                <a:uLnTx/>
                <a:uFillTx/>
                <a:latin typeface="Santander Text" panose="020B0504020201020104"/>
                <a:cs typeface="Century Gothic"/>
              </a:rPr>
              <a:t>INTERNAL CAPABILITIES</a:t>
            </a:r>
          </a:p>
        </p:txBody>
      </p:sp>
      <p:grpSp>
        <p:nvGrpSpPr>
          <p:cNvPr id="20" name="Grupo 19">
            <a:extLst>
              <a:ext uri="{FF2B5EF4-FFF2-40B4-BE49-F238E27FC236}">
                <a16:creationId xmlns:a16="http://schemas.microsoft.com/office/drawing/2014/main" id="{CAC503BE-A30C-86E9-F157-3B78206E5726}"/>
              </a:ext>
            </a:extLst>
          </p:cNvPr>
          <p:cNvGrpSpPr/>
          <p:nvPr/>
        </p:nvGrpSpPr>
        <p:grpSpPr>
          <a:xfrm>
            <a:off x="635378" y="2577647"/>
            <a:ext cx="5917663" cy="726864"/>
            <a:chOff x="1172685" y="3002257"/>
            <a:chExt cx="5917663" cy="726864"/>
          </a:xfrm>
        </p:grpSpPr>
        <p:sp>
          <p:nvSpPr>
            <p:cNvPr id="21" name="Elipse 20">
              <a:extLst>
                <a:ext uri="{FF2B5EF4-FFF2-40B4-BE49-F238E27FC236}">
                  <a16:creationId xmlns:a16="http://schemas.microsoft.com/office/drawing/2014/main" id="{DE6763D1-1FC6-B913-86FE-97574FF5C9E0}"/>
                </a:ext>
              </a:extLst>
            </p:cNvPr>
            <p:cNvSpPr/>
            <p:nvPr/>
          </p:nvSpPr>
          <p:spPr>
            <a:xfrm>
              <a:off x="1172685" y="3051275"/>
              <a:ext cx="504000" cy="504000"/>
            </a:xfrm>
            <a:prstGeom prst="ellipse">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DDB63D"/>
                </a:solidFill>
                <a:effectLst/>
                <a:uLnTx/>
                <a:uFillTx/>
                <a:latin typeface="Santander Text" panose="020B0504020201020104"/>
              </a:endParaRPr>
            </a:p>
          </p:txBody>
        </p:sp>
        <p:sp>
          <p:nvSpPr>
            <p:cNvPr id="23" name="Rectángulo 22">
              <a:extLst>
                <a:ext uri="{FF2B5EF4-FFF2-40B4-BE49-F238E27FC236}">
                  <a16:creationId xmlns:a16="http://schemas.microsoft.com/office/drawing/2014/main" id="{011FFE48-5FA9-3976-ACDF-0BC007E37267}"/>
                </a:ext>
              </a:extLst>
            </p:cNvPr>
            <p:cNvSpPr/>
            <p:nvPr/>
          </p:nvSpPr>
          <p:spPr>
            <a:xfrm>
              <a:off x="1779814" y="3002257"/>
              <a:ext cx="4372870" cy="276999"/>
            </a:xfrm>
            <a:prstGeom prst="rect">
              <a:avLst/>
            </a:prstGeom>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noProof="0">
                  <a:solidFill>
                    <a:prstClr val="black">
                      <a:lumMod val="65000"/>
                      <a:lumOff val="35000"/>
                    </a:prstClr>
                  </a:solidFill>
                  <a:latin typeface="Santander Text" panose="020B0504020201020104"/>
                  <a:ea typeface="Century Gothic"/>
                  <a:cs typeface="Century Gothic"/>
                </a:rPr>
                <a:t>Hybrid Capabilities</a:t>
              </a:r>
              <a:endParaRPr kumimoji="0" lang="en-GB" sz="1200" b="1" i="0" u="none" strike="noStrike" kern="1200" cap="none" spc="0" normalizeH="0" baseline="0" noProof="0">
                <a:ln>
                  <a:noFill/>
                </a:ln>
                <a:solidFill>
                  <a:prstClr val="black">
                    <a:lumMod val="65000"/>
                    <a:lumOff val="35000"/>
                  </a:prstClr>
                </a:solidFill>
                <a:effectLst/>
                <a:uLnTx/>
                <a:uFillTx/>
                <a:latin typeface="Santander Text" panose="020B0504020201020104"/>
                <a:ea typeface="Century Gothic"/>
                <a:cs typeface="Century Gothic"/>
              </a:endParaRPr>
            </a:p>
          </p:txBody>
        </p:sp>
        <p:sp>
          <p:nvSpPr>
            <p:cNvPr id="24" name="Rectángulo 23">
              <a:extLst>
                <a:ext uri="{FF2B5EF4-FFF2-40B4-BE49-F238E27FC236}">
                  <a16:creationId xmlns:a16="http://schemas.microsoft.com/office/drawing/2014/main" id="{97D937FF-2EC9-A325-005C-D65DDEA28676}"/>
                </a:ext>
              </a:extLst>
            </p:cNvPr>
            <p:cNvSpPr/>
            <p:nvPr/>
          </p:nvSpPr>
          <p:spPr>
            <a:xfrm>
              <a:off x="1779814" y="3225121"/>
              <a:ext cx="5310534" cy="504000"/>
            </a:xfrm>
            <a:prstGeom prst="rect">
              <a:avLst/>
            </a:prstGeom>
          </p:spPr>
          <p:txBody>
            <a:bodyPr wrap="square" lIns="91440" tIns="45720" rIns="91440" bIns="45720" anchor="t">
              <a:noAutofit/>
            </a:bodyPr>
            <a:lstStyle/>
            <a:p>
              <a:pPr lvl="0">
                <a:defRPr/>
              </a:pPr>
              <a:r>
                <a:rPr lang="en-GB" sz="1400" noProof="0">
                  <a:solidFill>
                    <a:prstClr val="black">
                      <a:lumMod val="65000"/>
                      <a:lumOff val="35000"/>
                    </a:prstClr>
                  </a:solidFill>
                  <a:latin typeface="Santander Text" panose="020B0504020201020104"/>
                  <a:ea typeface="Century Gothic"/>
                  <a:cs typeface="Century Gothic"/>
                </a:rPr>
                <a:t>Combination of team with high functional knowledge and technical skills for agent development.</a:t>
              </a:r>
              <a:endParaRPr kumimoji="0" lang="en-GB" sz="1400" b="0" i="0" u="none" strike="noStrike" kern="1200" cap="none" spc="0" normalizeH="0" baseline="0" noProof="0">
                <a:ln>
                  <a:noFill/>
                </a:ln>
                <a:solidFill>
                  <a:prstClr val="black">
                    <a:lumMod val="65000"/>
                    <a:lumOff val="35000"/>
                  </a:prstClr>
                </a:solidFill>
                <a:effectLst/>
                <a:uLnTx/>
                <a:uFillTx/>
                <a:latin typeface="Santander Text" panose="020B0504020201020104"/>
                <a:ea typeface="Century Gothic"/>
                <a:cs typeface="Century Gothic"/>
              </a:endParaRPr>
            </a:p>
          </p:txBody>
        </p:sp>
      </p:grpSp>
      <p:grpSp>
        <p:nvGrpSpPr>
          <p:cNvPr id="26" name="Grupo 25">
            <a:extLst>
              <a:ext uri="{FF2B5EF4-FFF2-40B4-BE49-F238E27FC236}">
                <a16:creationId xmlns:a16="http://schemas.microsoft.com/office/drawing/2014/main" id="{1B668C98-94CE-6735-73F3-A9F3A55DE234}"/>
              </a:ext>
            </a:extLst>
          </p:cNvPr>
          <p:cNvGrpSpPr/>
          <p:nvPr/>
        </p:nvGrpSpPr>
        <p:grpSpPr>
          <a:xfrm>
            <a:off x="635378" y="3346187"/>
            <a:ext cx="5917663" cy="805018"/>
            <a:chOff x="1172685" y="4105939"/>
            <a:chExt cx="5917663" cy="805018"/>
          </a:xfrm>
        </p:grpSpPr>
        <p:sp>
          <p:nvSpPr>
            <p:cNvPr id="27" name="Elipse 26">
              <a:extLst>
                <a:ext uri="{FF2B5EF4-FFF2-40B4-BE49-F238E27FC236}">
                  <a16:creationId xmlns:a16="http://schemas.microsoft.com/office/drawing/2014/main" id="{7E87F938-6E42-D8F2-40AB-E1543B1EBA47}"/>
                </a:ext>
              </a:extLst>
            </p:cNvPr>
            <p:cNvSpPr/>
            <p:nvPr/>
          </p:nvSpPr>
          <p:spPr>
            <a:xfrm>
              <a:off x="1172685" y="4154957"/>
              <a:ext cx="504000" cy="504000"/>
            </a:xfrm>
            <a:prstGeom prst="ellipse">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DDB63D"/>
                </a:solidFill>
                <a:effectLst/>
                <a:uLnTx/>
                <a:uFillTx/>
                <a:latin typeface="Santander Text" panose="020B0504020201020104"/>
              </a:endParaRPr>
            </a:p>
          </p:txBody>
        </p:sp>
        <p:sp>
          <p:nvSpPr>
            <p:cNvPr id="28" name="Rectángulo 27">
              <a:extLst>
                <a:ext uri="{FF2B5EF4-FFF2-40B4-BE49-F238E27FC236}">
                  <a16:creationId xmlns:a16="http://schemas.microsoft.com/office/drawing/2014/main" id="{AD8C689C-D9FE-6213-448D-59F67EBE7B11}"/>
                </a:ext>
              </a:extLst>
            </p:cNvPr>
            <p:cNvSpPr/>
            <p:nvPr/>
          </p:nvSpPr>
          <p:spPr>
            <a:xfrm>
              <a:off x="1779814" y="4105939"/>
              <a:ext cx="4372870" cy="276999"/>
            </a:xfrm>
            <a:prstGeom prst="rect">
              <a:avLst/>
            </a:prstGeom>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lumMod val="65000"/>
                      <a:lumOff val="35000"/>
                    </a:prstClr>
                  </a:solidFill>
                  <a:effectLst/>
                  <a:uLnTx/>
                  <a:uFillTx/>
                  <a:latin typeface="Santander Text" panose="020B0504020201020104"/>
                  <a:ea typeface="Century Gothic"/>
                  <a:cs typeface="Century Gothic"/>
                </a:rPr>
                <a:t>Team experienced</a:t>
              </a:r>
            </a:p>
          </p:txBody>
        </p:sp>
        <p:sp>
          <p:nvSpPr>
            <p:cNvPr id="29" name="Rectángulo 28">
              <a:extLst>
                <a:ext uri="{FF2B5EF4-FFF2-40B4-BE49-F238E27FC236}">
                  <a16:creationId xmlns:a16="http://schemas.microsoft.com/office/drawing/2014/main" id="{9DFA25CB-895B-3124-6A35-2B0EB344299A}"/>
                </a:ext>
              </a:extLst>
            </p:cNvPr>
            <p:cNvSpPr/>
            <p:nvPr/>
          </p:nvSpPr>
          <p:spPr>
            <a:xfrm>
              <a:off x="1779814" y="4406957"/>
              <a:ext cx="5310534" cy="504000"/>
            </a:xfrm>
            <a:prstGeom prst="rect">
              <a:avLst/>
            </a:prstGeom>
          </p:spPr>
          <p:txBody>
            <a:bodyPr wrap="square">
              <a:noAutofit/>
            </a:bodyPr>
            <a:lstStyle/>
            <a:p>
              <a:pPr lvl="0">
                <a:defRPr/>
              </a:pPr>
              <a:r>
                <a:rPr lang="en-GB" sz="1400" noProof="0">
                  <a:solidFill>
                    <a:prstClr val="black">
                      <a:lumMod val="65000"/>
                      <a:lumOff val="35000"/>
                    </a:prstClr>
                  </a:solidFill>
                  <a:latin typeface="Santander Text" panose="020B0504020201020104"/>
                  <a:ea typeface="Century Gothic"/>
                  <a:cs typeface="Century Gothic"/>
                </a:rPr>
                <a:t>Senior team capable of developing advanced platforms, ensuring quality delivery.</a:t>
              </a:r>
              <a:endParaRPr kumimoji="0" lang="en-GB" sz="1400" b="0" i="0" u="none" strike="noStrike" kern="1200" cap="none" spc="0" normalizeH="0" baseline="0" noProof="0">
                <a:ln>
                  <a:noFill/>
                </a:ln>
                <a:solidFill>
                  <a:prstClr val="black">
                    <a:lumMod val="65000"/>
                    <a:lumOff val="35000"/>
                  </a:prstClr>
                </a:solidFill>
                <a:effectLst/>
                <a:uLnTx/>
                <a:uFillTx/>
                <a:latin typeface="Santander Text" panose="020B0504020201020104"/>
                <a:ea typeface="Century Gothic"/>
                <a:cs typeface="Century Gothic"/>
              </a:endParaRPr>
            </a:p>
          </p:txBody>
        </p:sp>
      </p:grpSp>
      <p:grpSp>
        <p:nvGrpSpPr>
          <p:cNvPr id="31" name="Grupo 30">
            <a:extLst>
              <a:ext uri="{FF2B5EF4-FFF2-40B4-BE49-F238E27FC236}">
                <a16:creationId xmlns:a16="http://schemas.microsoft.com/office/drawing/2014/main" id="{113B2713-B4CF-B754-AE4F-AAC8FE77B556}"/>
              </a:ext>
            </a:extLst>
          </p:cNvPr>
          <p:cNvGrpSpPr/>
          <p:nvPr/>
        </p:nvGrpSpPr>
        <p:grpSpPr>
          <a:xfrm>
            <a:off x="635378" y="4186385"/>
            <a:ext cx="5345697" cy="951000"/>
            <a:chOff x="1172685" y="5149660"/>
            <a:chExt cx="5345697" cy="951000"/>
          </a:xfrm>
        </p:grpSpPr>
        <p:sp>
          <p:nvSpPr>
            <p:cNvPr id="32" name="Elipse 31">
              <a:extLst>
                <a:ext uri="{FF2B5EF4-FFF2-40B4-BE49-F238E27FC236}">
                  <a16:creationId xmlns:a16="http://schemas.microsoft.com/office/drawing/2014/main" id="{76AC516E-8AD6-E0B2-C751-EDEE07580738}"/>
                </a:ext>
              </a:extLst>
            </p:cNvPr>
            <p:cNvSpPr/>
            <p:nvPr/>
          </p:nvSpPr>
          <p:spPr>
            <a:xfrm>
              <a:off x="1172685" y="5198678"/>
              <a:ext cx="504000" cy="504000"/>
            </a:xfrm>
            <a:prstGeom prst="ellipse">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DDB63D"/>
                </a:solidFill>
                <a:effectLst/>
                <a:uLnTx/>
                <a:uFillTx/>
                <a:latin typeface="Santander Text" panose="020B0504020201020104"/>
              </a:endParaRPr>
            </a:p>
          </p:txBody>
        </p:sp>
        <p:sp>
          <p:nvSpPr>
            <p:cNvPr id="33" name="Rectángulo 32">
              <a:extLst>
                <a:ext uri="{FF2B5EF4-FFF2-40B4-BE49-F238E27FC236}">
                  <a16:creationId xmlns:a16="http://schemas.microsoft.com/office/drawing/2014/main" id="{2B51D8E4-721B-EAEA-8377-E3EAA8AF2FBF}"/>
                </a:ext>
              </a:extLst>
            </p:cNvPr>
            <p:cNvSpPr/>
            <p:nvPr/>
          </p:nvSpPr>
          <p:spPr>
            <a:xfrm>
              <a:off x="1779814" y="5149660"/>
              <a:ext cx="4372870" cy="276999"/>
            </a:xfrm>
            <a:prstGeom prst="rect">
              <a:avLst/>
            </a:prstGeom>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lumMod val="65000"/>
                      <a:lumOff val="35000"/>
                    </a:prstClr>
                  </a:solidFill>
                  <a:effectLst/>
                  <a:uLnTx/>
                  <a:uFillTx/>
                  <a:latin typeface="Santander Text" panose="020B0504020201020104"/>
                  <a:ea typeface="Century Gothic"/>
                  <a:cs typeface="Century Gothic"/>
                </a:rPr>
                <a:t>Rapid development</a:t>
              </a:r>
            </a:p>
          </p:txBody>
        </p:sp>
        <p:sp>
          <p:nvSpPr>
            <p:cNvPr id="34" name="Rectángulo 33">
              <a:extLst>
                <a:ext uri="{FF2B5EF4-FFF2-40B4-BE49-F238E27FC236}">
                  <a16:creationId xmlns:a16="http://schemas.microsoft.com/office/drawing/2014/main" id="{4F426294-9D56-0D62-1775-7769D426ED4E}"/>
                </a:ext>
              </a:extLst>
            </p:cNvPr>
            <p:cNvSpPr/>
            <p:nvPr/>
          </p:nvSpPr>
          <p:spPr>
            <a:xfrm>
              <a:off x="1779814" y="5450678"/>
              <a:ext cx="4738568" cy="649982"/>
            </a:xfrm>
            <a:prstGeom prst="rect">
              <a:avLst/>
            </a:prstGeom>
          </p:spPr>
          <p:txBody>
            <a:bodyPr wrap="square">
              <a:noAutofit/>
            </a:bodyPr>
            <a:lstStyle/>
            <a:p>
              <a:pPr lvl="0">
                <a:defRPr/>
              </a:pPr>
              <a:r>
                <a:rPr lang="en-GB" sz="1400" noProof="0">
                  <a:solidFill>
                    <a:prstClr val="black">
                      <a:lumMod val="65000"/>
                      <a:lumOff val="35000"/>
                    </a:prstClr>
                  </a:solidFill>
                  <a:latin typeface="Santander Text" panose="020B0504020201020104"/>
                  <a:ea typeface="Century Gothic"/>
                  <a:cs typeface="Century Gothic"/>
                </a:rPr>
                <a:t>The use of low-code platforms and reusable AI components reduces development time and deployment costs.</a:t>
              </a:r>
              <a:endParaRPr kumimoji="0" lang="en-GB" sz="1400" b="0" i="0" u="none" strike="noStrike" kern="1200" cap="none" spc="0" normalizeH="0" baseline="0" noProof="0">
                <a:ln>
                  <a:noFill/>
                </a:ln>
                <a:solidFill>
                  <a:prstClr val="black">
                    <a:lumMod val="65000"/>
                    <a:lumOff val="35000"/>
                  </a:prstClr>
                </a:solidFill>
                <a:effectLst/>
                <a:uLnTx/>
                <a:uFillTx/>
                <a:latin typeface="Santander Text" panose="020B0504020201020104"/>
                <a:ea typeface="Century Gothic"/>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lumMod val="65000"/>
                    <a:lumOff val="35000"/>
                  </a:prstClr>
                </a:solidFill>
                <a:effectLst/>
                <a:uLnTx/>
                <a:uFillTx/>
                <a:latin typeface="Santander Text" panose="020B0504020201020104"/>
                <a:ea typeface="Century Gothic"/>
                <a:cs typeface="Century Gothic"/>
              </a:endParaRPr>
            </a:p>
          </p:txBody>
        </p:sp>
      </p:grpSp>
      <p:grpSp>
        <p:nvGrpSpPr>
          <p:cNvPr id="36" name="Grupo 35">
            <a:extLst>
              <a:ext uri="{FF2B5EF4-FFF2-40B4-BE49-F238E27FC236}">
                <a16:creationId xmlns:a16="http://schemas.microsoft.com/office/drawing/2014/main" id="{DE2E1C25-DBBF-163B-AE3D-BC3DA48A6CFD}"/>
              </a:ext>
            </a:extLst>
          </p:cNvPr>
          <p:cNvGrpSpPr/>
          <p:nvPr/>
        </p:nvGrpSpPr>
        <p:grpSpPr>
          <a:xfrm>
            <a:off x="645147" y="5116290"/>
            <a:ext cx="5450853" cy="805018"/>
            <a:chOff x="1172685" y="5149660"/>
            <a:chExt cx="5907894" cy="805018"/>
          </a:xfrm>
        </p:grpSpPr>
        <p:sp>
          <p:nvSpPr>
            <p:cNvPr id="38" name="Elipse 19">
              <a:extLst>
                <a:ext uri="{FF2B5EF4-FFF2-40B4-BE49-F238E27FC236}">
                  <a16:creationId xmlns:a16="http://schemas.microsoft.com/office/drawing/2014/main" id="{4596F84A-6D80-73CD-8A84-6DD55A355920}"/>
                </a:ext>
              </a:extLst>
            </p:cNvPr>
            <p:cNvSpPr/>
            <p:nvPr/>
          </p:nvSpPr>
          <p:spPr>
            <a:xfrm>
              <a:off x="1172685" y="5198678"/>
              <a:ext cx="504000" cy="504000"/>
            </a:xfrm>
            <a:prstGeom prst="ellipse">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DDB63D"/>
                </a:solidFill>
                <a:effectLst/>
                <a:uLnTx/>
                <a:uFillTx/>
                <a:latin typeface="Santander Text" panose="020B0504020201020104"/>
              </a:endParaRPr>
            </a:p>
          </p:txBody>
        </p:sp>
        <p:sp>
          <p:nvSpPr>
            <p:cNvPr id="39" name="Rectángulo 20">
              <a:extLst>
                <a:ext uri="{FF2B5EF4-FFF2-40B4-BE49-F238E27FC236}">
                  <a16:creationId xmlns:a16="http://schemas.microsoft.com/office/drawing/2014/main" id="{981567D4-C736-DBA9-B599-483238226BAE}"/>
                </a:ext>
              </a:extLst>
            </p:cNvPr>
            <p:cNvSpPr/>
            <p:nvPr/>
          </p:nvSpPr>
          <p:spPr>
            <a:xfrm>
              <a:off x="1779814" y="5149660"/>
              <a:ext cx="4372870" cy="276999"/>
            </a:xfrm>
            <a:prstGeom prst="rect">
              <a:avLst/>
            </a:prstGeom>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lumMod val="65000"/>
                      <a:lumOff val="35000"/>
                    </a:prstClr>
                  </a:solidFill>
                  <a:effectLst/>
                  <a:uLnTx/>
                  <a:uFillTx/>
                  <a:latin typeface="Santander Text" panose="020B0504020201020104"/>
                  <a:ea typeface="Century Gothic"/>
                  <a:cs typeface="Century Gothic"/>
                </a:rPr>
                <a:t>Data-driven decisions </a:t>
              </a:r>
            </a:p>
          </p:txBody>
        </p:sp>
        <p:sp>
          <p:nvSpPr>
            <p:cNvPr id="40" name="Rectángulo 21">
              <a:extLst>
                <a:ext uri="{FF2B5EF4-FFF2-40B4-BE49-F238E27FC236}">
                  <a16:creationId xmlns:a16="http://schemas.microsoft.com/office/drawing/2014/main" id="{A3529BAC-58B5-2B92-14F8-ABD2A1AAF18A}"/>
                </a:ext>
              </a:extLst>
            </p:cNvPr>
            <p:cNvSpPr/>
            <p:nvPr/>
          </p:nvSpPr>
          <p:spPr>
            <a:xfrm>
              <a:off x="1770045" y="5450678"/>
              <a:ext cx="5310534" cy="504000"/>
            </a:xfrm>
            <a:prstGeom prst="rect">
              <a:avLst/>
            </a:prstGeom>
          </p:spPr>
          <p:txBody>
            <a:bodyPr wrap="square">
              <a:noAutofit/>
            </a:bodyPr>
            <a:lstStyle/>
            <a:p>
              <a:pPr lvl="0">
                <a:defRPr/>
              </a:pPr>
              <a:r>
                <a:rPr lang="en-GB" sz="1400" noProof="0">
                  <a:solidFill>
                    <a:prstClr val="black">
                      <a:lumMod val="65000"/>
                      <a:lumOff val="35000"/>
                    </a:prstClr>
                  </a:solidFill>
                  <a:latin typeface="Santander Text" panose="020B0504020201020104"/>
                  <a:ea typeface="Century Gothic"/>
                  <a:cs typeface="Century Gothic"/>
                </a:rPr>
                <a:t>The integration of analytics and reporting layers facilitates real-time insight analysis and regulatory compliance.</a:t>
              </a:r>
              <a:endParaRPr kumimoji="0" lang="en-GB" sz="1400" b="0" i="0" u="none" strike="noStrike" kern="1200" cap="none" spc="0" normalizeH="0" baseline="0" noProof="0">
                <a:ln>
                  <a:noFill/>
                </a:ln>
                <a:solidFill>
                  <a:prstClr val="black">
                    <a:lumMod val="65000"/>
                    <a:lumOff val="35000"/>
                  </a:prstClr>
                </a:solidFill>
                <a:effectLst/>
                <a:uLnTx/>
                <a:uFillTx/>
                <a:latin typeface="Santander Text" panose="020B0504020201020104"/>
                <a:ea typeface="Century Gothic"/>
                <a:cs typeface="Century Gothic"/>
              </a:endParaRPr>
            </a:p>
          </p:txBody>
        </p:sp>
      </p:grpSp>
      <p:sp>
        <p:nvSpPr>
          <p:cNvPr id="41" name="Rectángulo 40">
            <a:extLst>
              <a:ext uri="{FF2B5EF4-FFF2-40B4-BE49-F238E27FC236}">
                <a16:creationId xmlns:a16="http://schemas.microsoft.com/office/drawing/2014/main" id="{367EB103-E33F-15A5-D24C-C4A89952E9C9}"/>
              </a:ext>
            </a:extLst>
          </p:cNvPr>
          <p:cNvSpPr/>
          <p:nvPr/>
        </p:nvSpPr>
        <p:spPr>
          <a:xfrm>
            <a:off x="7431214" y="1737126"/>
            <a:ext cx="4119504" cy="2982820"/>
          </a:xfrm>
          <a:prstGeom prst="rect">
            <a:avLst/>
          </a:prstGeom>
          <a:solidFill>
            <a:srgbClr val="90ABD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antander Text" panose="020B0504020201020104"/>
            </a:endParaRPr>
          </a:p>
        </p:txBody>
      </p:sp>
      <p:sp>
        <p:nvSpPr>
          <p:cNvPr id="42" name="object 57">
            <a:extLst>
              <a:ext uri="{FF2B5EF4-FFF2-40B4-BE49-F238E27FC236}">
                <a16:creationId xmlns:a16="http://schemas.microsoft.com/office/drawing/2014/main" id="{B408DED4-FF99-1F22-1EFC-564A558DF9D3}"/>
              </a:ext>
            </a:extLst>
          </p:cNvPr>
          <p:cNvSpPr txBox="1"/>
          <p:nvPr/>
        </p:nvSpPr>
        <p:spPr>
          <a:xfrm>
            <a:off x="7637774" y="1763808"/>
            <a:ext cx="3756608" cy="504000"/>
          </a:xfrm>
          <a:prstGeom prst="rect">
            <a:avLst/>
          </a:prstGeom>
        </p:spPr>
        <p:txBody>
          <a:bodyPr vert="horz" wrap="square" lIns="0" tIns="13335" rIns="0" bIns="0" rtlCol="0">
            <a:noAutofit/>
          </a:bodyPr>
          <a:lstStyle/>
          <a:p>
            <a:pPr marL="12700" marR="5080" lvl="0" indent="0" algn="l" defTabSz="914400" rtl="0" eaLnBrk="1" fontAlgn="auto" latinLnBrk="0" hangingPunct="1">
              <a:lnSpc>
                <a:spcPct val="150000"/>
              </a:lnSpc>
              <a:spcBef>
                <a:spcPts val="125"/>
              </a:spcBef>
              <a:spcAft>
                <a:spcPts val="0"/>
              </a:spcAft>
              <a:buClrTx/>
              <a:buSzTx/>
              <a:buFontTx/>
              <a:buNone/>
              <a:tabLst/>
              <a:defRPr/>
            </a:pPr>
            <a:r>
              <a:rPr kumimoji="0" lang="en-GB" sz="1200" b="1" i="0" u="none" strike="noStrike" kern="1200" cap="none" spc="300" normalizeH="0" baseline="0" noProof="0">
                <a:ln>
                  <a:noFill/>
                </a:ln>
                <a:solidFill>
                  <a:srgbClr val="505150"/>
                </a:solidFill>
                <a:effectLst/>
                <a:uLnTx/>
                <a:uFillTx/>
                <a:latin typeface="Santander Text" panose="020B0504020201020104"/>
                <a:cs typeface="Century Gothic"/>
              </a:rPr>
              <a:t>EXPECTED BENEFITS</a:t>
            </a:r>
          </a:p>
        </p:txBody>
      </p:sp>
      <p:sp>
        <p:nvSpPr>
          <p:cNvPr id="43" name="Rectángulo 42">
            <a:extLst>
              <a:ext uri="{FF2B5EF4-FFF2-40B4-BE49-F238E27FC236}">
                <a16:creationId xmlns:a16="http://schemas.microsoft.com/office/drawing/2014/main" id="{1C43C3FB-9912-BA51-6B44-2D70D66CA591}"/>
              </a:ext>
            </a:extLst>
          </p:cNvPr>
          <p:cNvSpPr/>
          <p:nvPr/>
        </p:nvSpPr>
        <p:spPr>
          <a:xfrm>
            <a:off x="7608881" y="2098778"/>
            <a:ext cx="3792466" cy="348927"/>
          </a:xfrm>
          <a:prstGeom prst="rect">
            <a:avLst/>
          </a:prstGeom>
          <a:solidFill>
            <a:schemeClr val="bg1"/>
          </a:solidFill>
          <a:ln>
            <a:solidFill>
              <a:schemeClr val="accent1"/>
            </a:solidFill>
            <a:prstDash val="dash"/>
          </a:ln>
        </p:spPr>
        <p:txBody>
          <a:bodyPr wrap="square" lIns="91440" tIns="45720" rIns="91440" bIns="4572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a:solidFill>
                  <a:prstClr val="black">
                    <a:lumMod val="65000"/>
                    <a:lumOff val="35000"/>
                  </a:prstClr>
                </a:solidFill>
                <a:latin typeface="Santander Text" panose="020B0504020201020104"/>
                <a:ea typeface="Century Gothic"/>
                <a:cs typeface="Century Gothic"/>
              </a:rPr>
              <a:t>End to end platform development</a:t>
            </a:r>
            <a:endParaRPr kumimoji="0" lang="en-GB" sz="1200" b="0" i="0" u="none" strike="noStrike" kern="1200" cap="none" spc="0" normalizeH="0" baseline="0" noProof="0">
              <a:ln>
                <a:noFill/>
              </a:ln>
              <a:solidFill>
                <a:prstClr val="black">
                  <a:lumMod val="65000"/>
                  <a:lumOff val="35000"/>
                </a:prstClr>
              </a:solidFill>
              <a:effectLst/>
              <a:uLnTx/>
              <a:uFillTx/>
              <a:latin typeface="Santander Text" panose="020B0504020201020104"/>
              <a:ea typeface="Century Gothic"/>
              <a:cs typeface="Century Gothic"/>
            </a:endParaRPr>
          </a:p>
        </p:txBody>
      </p:sp>
      <p:sp>
        <p:nvSpPr>
          <p:cNvPr id="44" name="Rectángulo 43">
            <a:extLst>
              <a:ext uri="{FF2B5EF4-FFF2-40B4-BE49-F238E27FC236}">
                <a16:creationId xmlns:a16="http://schemas.microsoft.com/office/drawing/2014/main" id="{20D002C3-8F63-FFF7-D391-46FEED57BA07}"/>
              </a:ext>
            </a:extLst>
          </p:cNvPr>
          <p:cNvSpPr/>
          <p:nvPr/>
        </p:nvSpPr>
        <p:spPr>
          <a:xfrm>
            <a:off x="7608881" y="2553167"/>
            <a:ext cx="3792466" cy="395079"/>
          </a:xfrm>
          <a:prstGeom prst="rect">
            <a:avLst/>
          </a:prstGeom>
          <a:solidFill>
            <a:schemeClr val="bg1"/>
          </a:solidFill>
          <a:ln>
            <a:solidFill>
              <a:schemeClr val="accent1"/>
            </a:solidFill>
            <a:prstDash val="dash"/>
          </a:ln>
        </p:spPr>
        <p:txBody>
          <a:bodyPr wrap="square" lIns="91440" tIns="45720" rIns="91440" bIns="4572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lumMod val="65000"/>
                    <a:lumOff val="35000"/>
                  </a:prstClr>
                </a:solidFill>
                <a:effectLst/>
                <a:uLnTx/>
                <a:uFillTx/>
                <a:latin typeface="Santander Text" panose="020B0504020201020104"/>
                <a:ea typeface="Century Gothic"/>
                <a:cs typeface="Century Gothic"/>
              </a:rPr>
              <a:t>Strategic position in the AI Industry</a:t>
            </a:r>
          </a:p>
        </p:txBody>
      </p:sp>
      <p:sp>
        <p:nvSpPr>
          <p:cNvPr id="46" name="Rectángulo 45">
            <a:extLst>
              <a:ext uri="{FF2B5EF4-FFF2-40B4-BE49-F238E27FC236}">
                <a16:creationId xmlns:a16="http://schemas.microsoft.com/office/drawing/2014/main" id="{D8D95B6C-D29D-2954-A1C7-8AE5F2648BDC}"/>
              </a:ext>
            </a:extLst>
          </p:cNvPr>
          <p:cNvSpPr/>
          <p:nvPr/>
        </p:nvSpPr>
        <p:spPr>
          <a:xfrm>
            <a:off x="7599917" y="3075012"/>
            <a:ext cx="3792466" cy="1032974"/>
          </a:xfrm>
          <a:prstGeom prst="rect">
            <a:avLst/>
          </a:prstGeom>
          <a:solidFill>
            <a:schemeClr val="bg1"/>
          </a:solidFill>
          <a:ln>
            <a:solidFill>
              <a:schemeClr val="accent1"/>
            </a:solidFill>
            <a:prstDash val="dash"/>
          </a:ln>
        </p:spPr>
        <p:txBody>
          <a:bodyPr wrap="square" lIns="91440" tIns="45720" rIns="91440" bIns="4572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noProof="0">
                <a:solidFill>
                  <a:prstClr val="black">
                    <a:lumMod val="65000"/>
                    <a:lumOff val="35000"/>
                  </a:prstClr>
                </a:solidFill>
                <a:latin typeface="Santander Text" panose="020B0504020201020104"/>
                <a:ea typeface="Century Gothic"/>
                <a:cs typeface="Century Gothic"/>
              </a:rPr>
              <a:t>Tailored solution with strategic Alliance</a:t>
            </a:r>
            <a:endParaRPr lang="en-GB" sz="1000" b="1" i="0" u="none" strike="noStrike" kern="1200" cap="none" spc="0" normalizeH="0" baseline="0" noProof="0">
              <a:ln>
                <a:noFill/>
              </a:ln>
              <a:solidFill>
                <a:prstClr val="black">
                  <a:lumMod val="65000"/>
                  <a:lumOff val="35000"/>
                </a:prstClr>
              </a:solidFill>
              <a:effectLst/>
              <a:uLnTx/>
              <a:uFillTx/>
              <a:latin typeface="Santander Text" panose="020B0504020201020104"/>
              <a:ea typeface="Century Gothic"/>
              <a:cs typeface="Century Gothic"/>
            </a:endParaRPr>
          </a:p>
          <a:p>
            <a:pPr algn="just">
              <a:defRPr/>
            </a:pPr>
            <a:r>
              <a:rPr lang="en-GB" sz="1000" noProof="0">
                <a:solidFill>
                  <a:prstClr val="black">
                    <a:lumMod val="65000"/>
                    <a:lumOff val="35000"/>
                  </a:prstClr>
                </a:solidFill>
                <a:latin typeface="Santander Text" panose="020B0504020201020104"/>
                <a:ea typeface="Century Gothic"/>
                <a:cs typeface="Century Gothic"/>
              </a:rPr>
              <a:t>NTT DATA's knowledge of Santander's operations and needs, combined with its expertise in AI, serves as a catalyst for implementing an agent-based system that covers queries and autonomous remediation.</a:t>
            </a:r>
            <a:endParaRPr lang="en-GB" sz="1000" b="0" i="0" u="none" strike="noStrike" kern="1200" cap="none" spc="0" normalizeH="0" baseline="0" noProof="0">
              <a:ln>
                <a:noFill/>
              </a:ln>
              <a:solidFill>
                <a:prstClr val="black">
                  <a:lumMod val="65000"/>
                  <a:lumOff val="35000"/>
                </a:prstClr>
              </a:solidFill>
              <a:effectLst/>
              <a:uLnTx/>
              <a:uFillTx/>
              <a:latin typeface="Santander Text" panose="020B0504020201020104"/>
              <a:ea typeface="Century Gothic"/>
              <a:cs typeface="Century Gothic"/>
            </a:endParaRPr>
          </a:p>
        </p:txBody>
      </p:sp>
      <p:sp>
        <p:nvSpPr>
          <p:cNvPr id="47" name="Rectángulo 28">
            <a:extLst>
              <a:ext uri="{FF2B5EF4-FFF2-40B4-BE49-F238E27FC236}">
                <a16:creationId xmlns:a16="http://schemas.microsoft.com/office/drawing/2014/main" id="{70AEA182-F621-E32A-BA6B-D1F748E5D57A}"/>
              </a:ext>
            </a:extLst>
          </p:cNvPr>
          <p:cNvSpPr/>
          <p:nvPr/>
        </p:nvSpPr>
        <p:spPr>
          <a:xfrm>
            <a:off x="7599214" y="4221483"/>
            <a:ext cx="3792466" cy="348927"/>
          </a:xfrm>
          <a:prstGeom prst="rect">
            <a:avLst/>
          </a:prstGeom>
          <a:solidFill>
            <a:schemeClr val="bg1"/>
          </a:solidFill>
          <a:ln>
            <a:solidFill>
              <a:schemeClr val="accent1"/>
            </a:solidFill>
            <a:prstDash val="dash"/>
          </a:ln>
        </p:spPr>
        <p:txBody>
          <a:bodyPr wrap="square" lIns="91440" tIns="45720" rIns="91440" bIns="4572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lumMod val="65000"/>
                    <a:lumOff val="35000"/>
                  </a:prstClr>
                </a:solidFill>
                <a:effectLst/>
                <a:uLnTx/>
                <a:uFillTx/>
                <a:latin typeface="Santander Text" panose="020B0504020201020104"/>
                <a:ea typeface="Century Gothic"/>
                <a:cs typeface="Century Gothic"/>
              </a:rPr>
              <a:t>Reduction in service costs</a:t>
            </a:r>
            <a:endParaRPr kumimoji="0" lang="en-GB" sz="1200" b="0" i="0" u="none" strike="noStrike" kern="1200" cap="none" spc="0" normalizeH="0" baseline="0" noProof="0">
              <a:ln>
                <a:noFill/>
              </a:ln>
              <a:solidFill>
                <a:prstClr val="black">
                  <a:lumMod val="65000"/>
                  <a:lumOff val="35000"/>
                </a:prstClr>
              </a:solidFill>
              <a:effectLst/>
              <a:uLnTx/>
              <a:uFillTx/>
              <a:latin typeface="Santander Text" panose="020B0504020201020104"/>
              <a:ea typeface="Century Gothic"/>
              <a:cs typeface="Century Gothic"/>
            </a:endParaRPr>
          </a:p>
        </p:txBody>
      </p:sp>
      <p:pic>
        <p:nvPicPr>
          <p:cNvPr id="48" name="Gráfico 47" descr="Búsqueda de carpetas contorno">
            <a:extLst>
              <a:ext uri="{FF2B5EF4-FFF2-40B4-BE49-F238E27FC236}">
                <a16:creationId xmlns:a16="http://schemas.microsoft.com/office/drawing/2014/main" id="{0C77A28F-B7DA-7FE6-DF23-C5C82D35EE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0959" y="5185916"/>
            <a:ext cx="488419" cy="488419"/>
          </a:xfrm>
          <a:prstGeom prst="rect">
            <a:avLst/>
          </a:prstGeom>
        </p:spPr>
      </p:pic>
      <p:pic>
        <p:nvPicPr>
          <p:cNvPr id="49" name="Gráfico 48" descr="ADN contorno">
            <a:extLst>
              <a:ext uri="{FF2B5EF4-FFF2-40B4-BE49-F238E27FC236}">
                <a16:creationId xmlns:a16="http://schemas.microsoft.com/office/drawing/2014/main" id="{EFBBB018-C3E3-7E84-A299-AFE06103C16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5768" y="2661026"/>
            <a:ext cx="438799" cy="438799"/>
          </a:xfrm>
          <a:prstGeom prst="rect">
            <a:avLst/>
          </a:prstGeom>
        </p:spPr>
      </p:pic>
      <p:pic>
        <p:nvPicPr>
          <p:cNvPr id="50" name="Gráfico 49" descr="Ejecutar contorno">
            <a:extLst>
              <a:ext uri="{FF2B5EF4-FFF2-40B4-BE49-F238E27FC236}">
                <a16:creationId xmlns:a16="http://schemas.microsoft.com/office/drawing/2014/main" id="{49E8C078-C983-4183-4EA6-1714B511AAC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7209" y="4255833"/>
            <a:ext cx="467013" cy="467013"/>
          </a:xfrm>
          <a:prstGeom prst="rect">
            <a:avLst/>
          </a:prstGeom>
        </p:spPr>
      </p:pic>
      <p:pic>
        <p:nvPicPr>
          <p:cNvPr id="51" name="Gráfico 50" descr="Dirección contorno">
            <a:extLst>
              <a:ext uri="{FF2B5EF4-FFF2-40B4-BE49-F238E27FC236}">
                <a16:creationId xmlns:a16="http://schemas.microsoft.com/office/drawing/2014/main" id="{D7B7D5F3-A5FB-D0A5-473F-08469E66284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0959" y="3390178"/>
            <a:ext cx="498296" cy="498296"/>
          </a:xfrm>
          <a:prstGeom prst="rect">
            <a:avLst/>
          </a:prstGeom>
        </p:spPr>
      </p:pic>
      <p:sp>
        <p:nvSpPr>
          <p:cNvPr id="17" name="Título 5">
            <a:extLst>
              <a:ext uri="{FF2B5EF4-FFF2-40B4-BE49-F238E27FC236}">
                <a16:creationId xmlns:a16="http://schemas.microsoft.com/office/drawing/2014/main" id="{CBDD6DA7-E8AA-72B6-A56F-450E8A57A5E2}"/>
              </a:ext>
            </a:extLst>
          </p:cNvPr>
          <p:cNvSpPr txBox="1">
            <a:spLocks/>
          </p:cNvSpPr>
          <p:nvPr/>
        </p:nvSpPr>
        <p:spPr bwMode="gray">
          <a:xfrm>
            <a:off x="1243346" y="431987"/>
            <a:ext cx="7358396" cy="360000"/>
          </a:xfrm>
          <a:prstGeom prst="rect">
            <a:avLst/>
          </a:prstGeom>
        </p:spPr>
        <p:txBody>
          <a:bodyPr vert="horz" lIns="0" tIns="45720" rIns="0" bIns="45720" rtlCol="0" anchor="t">
            <a:noAutofit/>
          </a:bodyPr>
          <a:lstStyle>
            <a:lvl1pPr algn="l" defTabSz="914400" rtl="0" eaLnBrk="1" latinLnBrk="0" hangingPunct="1">
              <a:lnSpc>
                <a:spcPct val="90000"/>
              </a:lnSpc>
              <a:spcBef>
                <a:spcPct val="0"/>
              </a:spcBef>
              <a:buNone/>
              <a:defRPr lang="en-US" sz="2800" kern="1200" dirty="0">
                <a:solidFill>
                  <a:schemeClr val="bg1"/>
                </a:solidFill>
                <a:latin typeface="Georgia" panose="02040502050405020303" pitchFamily="18" charset="0"/>
                <a:ea typeface="+mj-ea"/>
                <a:cs typeface="+mj-cs"/>
              </a:defRPr>
            </a:lvl1pPr>
          </a:lstStyle>
          <a:p>
            <a:pPr algn="just">
              <a:defRPr/>
            </a:pPr>
            <a:endParaRPr lang="en-GB" sz="3200" noProof="0">
              <a:solidFill>
                <a:srgbClr val="FFFFFF"/>
              </a:solidFill>
              <a:latin typeface="Aptos" panose="020B0004020202020204" pitchFamily="34" charset="0"/>
              <a:cs typeface="Arial" panose="020B0604020202020204" pitchFamily="34" charset="0"/>
            </a:endParaRPr>
          </a:p>
        </p:txBody>
      </p:sp>
      <p:sp>
        <p:nvSpPr>
          <p:cNvPr id="22" name="Título 5">
            <a:extLst>
              <a:ext uri="{FF2B5EF4-FFF2-40B4-BE49-F238E27FC236}">
                <a16:creationId xmlns:a16="http://schemas.microsoft.com/office/drawing/2014/main" id="{7C7C8CE3-0CCC-3E2A-58D4-1F784DF863F7}"/>
              </a:ext>
            </a:extLst>
          </p:cNvPr>
          <p:cNvSpPr txBox="1">
            <a:spLocks/>
          </p:cNvSpPr>
          <p:nvPr/>
        </p:nvSpPr>
        <p:spPr bwMode="gray">
          <a:xfrm>
            <a:off x="1243346" y="431987"/>
            <a:ext cx="7358396" cy="360000"/>
          </a:xfrm>
          <a:prstGeom prst="rect">
            <a:avLst/>
          </a:prstGeom>
        </p:spPr>
        <p:txBody>
          <a:bodyPr vert="horz" lIns="0" tIns="45720" rIns="0" bIns="45720" rtlCol="0" anchor="t">
            <a:noAutofit/>
          </a:bodyPr>
          <a:lstStyle>
            <a:lvl1pPr algn="l" defTabSz="914400" rtl="0" eaLnBrk="1" latinLnBrk="0" hangingPunct="1">
              <a:lnSpc>
                <a:spcPct val="90000"/>
              </a:lnSpc>
              <a:spcBef>
                <a:spcPct val="0"/>
              </a:spcBef>
              <a:buNone/>
              <a:defRPr lang="en-US" sz="2800" kern="1200" dirty="0">
                <a:solidFill>
                  <a:schemeClr val="bg1"/>
                </a:solidFill>
                <a:latin typeface="Georgia" panose="02040502050405020303" pitchFamily="18" charset="0"/>
                <a:ea typeface="+mj-ea"/>
                <a:cs typeface="+mj-cs"/>
              </a:defRPr>
            </a:lvl1pPr>
          </a:lstStyle>
          <a:p>
            <a:pPr algn="just">
              <a:defRPr/>
            </a:pPr>
            <a:endParaRPr lang="en-GB" sz="3200" noProof="0">
              <a:solidFill>
                <a:srgbClr val="FFFFFF"/>
              </a:solidFill>
              <a:latin typeface="Aptos"/>
              <a:cs typeface="Arial"/>
            </a:endParaRPr>
          </a:p>
        </p:txBody>
      </p:sp>
      <p:sp>
        <p:nvSpPr>
          <p:cNvPr id="25" name="Text Placeholder 3">
            <a:extLst>
              <a:ext uri="{FF2B5EF4-FFF2-40B4-BE49-F238E27FC236}">
                <a16:creationId xmlns:a16="http://schemas.microsoft.com/office/drawing/2014/main" id="{2E843E9D-236C-F292-4AC1-669A0D0E2A3E}"/>
              </a:ext>
            </a:extLst>
          </p:cNvPr>
          <p:cNvSpPr txBox="1">
            <a:spLocks/>
          </p:cNvSpPr>
          <p:nvPr/>
        </p:nvSpPr>
        <p:spPr>
          <a:xfrm>
            <a:off x="361854" y="142272"/>
            <a:ext cx="1762983" cy="307777"/>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GB" b="0" noProof="0">
                <a:solidFill>
                  <a:srgbClr val="F14949"/>
                </a:solidFill>
                <a:latin typeface="Santander Headline" panose="020B0504020201020104"/>
              </a:rPr>
              <a:t>NTT DATA Vision</a:t>
            </a:r>
            <a:endParaRPr kumimoji="0" lang="en-GB" sz="2000" b="0" i="0" u="none" strike="noStrike" kern="1200" cap="none" spc="0" normalizeH="0" baseline="0" noProof="0">
              <a:ln>
                <a:noFill/>
              </a:ln>
              <a:solidFill>
                <a:srgbClr val="F14949"/>
              </a:solidFill>
              <a:effectLst/>
              <a:uLnTx/>
              <a:uFillTx/>
              <a:latin typeface="Santander Headline" panose="020B0504020201020104"/>
              <a:ea typeface="+mn-ea"/>
              <a:cs typeface="+mn-cs"/>
            </a:endParaRPr>
          </a:p>
        </p:txBody>
      </p:sp>
      <p:pic>
        <p:nvPicPr>
          <p:cNvPr id="30" name="Picture 2">
            <a:extLst>
              <a:ext uri="{FF2B5EF4-FFF2-40B4-BE49-F238E27FC236}">
                <a16:creationId xmlns:a16="http://schemas.microsoft.com/office/drawing/2014/main" id="{EE2C75FC-DAC4-697D-6D75-7A4E70F8D5F7}"/>
              </a:ext>
            </a:extLst>
          </p:cNvPr>
          <p:cNvPicPr/>
          <p:nvPr/>
        </p:nvPicPr>
        <p:blipFill>
          <a:blip r:embed="rId11"/>
          <a:srcRect r="22480"/>
          <a:stretch>
            <a:fillRect/>
          </a:stretch>
        </p:blipFill>
        <p:spPr>
          <a:xfrm>
            <a:off x="9081410" y="78055"/>
            <a:ext cx="1610515" cy="388493"/>
          </a:xfrm>
          <a:prstGeom prst="rect">
            <a:avLst/>
          </a:prstGeom>
        </p:spPr>
      </p:pic>
      <p:pic>
        <p:nvPicPr>
          <p:cNvPr id="35" name="Imagen 2" descr="NTT Data - Red Seguridad">
            <a:extLst>
              <a:ext uri="{FF2B5EF4-FFF2-40B4-BE49-F238E27FC236}">
                <a16:creationId xmlns:a16="http://schemas.microsoft.com/office/drawing/2014/main" id="{0C7A0D3F-EDF6-2056-BF92-A46DEA4B0485}"/>
              </a:ext>
            </a:extLst>
          </p:cNvPr>
          <p:cNvPicPr/>
          <p:nvPr/>
        </p:nvPicPr>
        <p:blipFill>
          <a:blip r:embed="rId12"/>
          <a:stretch>
            <a:fillRect/>
          </a:stretch>
        </p:blipFill>
        <p:spPr>
          <a:xfrm>
            <a:off x="10872169" y="-156949"/>
            <a:ext cx="1166998" cy="847775"/>
          </a:xfrm>
          <a:prstGeom prst="rect">
            <a:avLst/>
          </a:prstGeom>
        </p:spPr>
      </p:pic>
    </p:spTree>
    <p:extLst>
      <p:ext uri="{BB962C8B-B14F-4D97-AF65-F5344CB8AC3E}">
        <p14:creationId xmlns:p14="http://schemas.microsoft.com/office/powerpoint/2010/main" val="27794259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57E58BB-CFE9-E52D-F651-DF68DF393AF3}"/>
            </a:ext>
          </a:extLst>
        </p:cNvPr>
        <p:cNvGrpSpPr/>
        <p:nvPr/>
      </p:nvGrpSpPr>
      <p:grpSpPr>
        <a:xfrm>
          <a:off x="0" y="0"/>
          <a:ext cx="0" cy="0"/>
          <a:chOff x="0" y="0"/>
          <a:chExt cx="0" cy="0"/>
        </a:xfrm>
      </p:grpSpPr>
      <p:sp>
        <p:nvSpPr>
          <p:cNvPr id="22" name="TextBox 2">
            <a:extLst>
              <a:ext uri="{FF2B5EF4-FFF2-40B4-BE49-F238E27FC236}">
                <a16:creationId xmlns:a16="http://schemas.microsoft.com/office/drawing/2014/main" id="{6665A96B-5265-B07D-3290-1C9A4BF30555}"/>
              </a:ext>
            </a:extLst>
          </p:cNvPr>
          <p:cNvSpPr txBox="1"/>
          <p:nvPr/>
        </p:nvSpPr>
        <p:spPr>
          <a:xfrm>
            <a:off x="281797" y="934805"/>
            <a:ext cx="6750068" cy="89377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just">
              <a:lnSpc>
                <a:spcPts val="2400"/>
              </a:lnSpc>
              <a:spcBef>
                <a:spcPts val="400"/>
              </a:spcBef>
            </a:pPr>
            <a:r>
              <a:rPr lang="en-GB" sz="1400" b="1" noProof="0">
                <a:solidFill>
                  <a:srgbClr val="1A3B47"/>
                </a:solidFill>
                <a:latin typeface="Santander Text" panose="020B0504020201020104"/>
                <a:cs typeface="Segoe UI"/>
              </a:rPr>
              <a:t>AI agent systems </a:t>
            </a:r>
            <a:r>
              <a:rPr lang="en-GB" sz="1400" noProof="0">
                <a:solidFill>
                  <a:srgbClr val="1A3B47"/>
                </a:solidFill>
                <a:latin typeface="Santander Text" panose="020B0504020201020104"/>
                <a:cs typeface="Segoe UI"/>
              </a:rPr>
              <a:t>are autonomous software entities that help solve more complex tasks and achieve a common goal. They have tools at their disposal and are capable of making decisions to complete specific subtasks. Their abilities allow them to:</a:t>
            </a:r>
            <a:endParaRPr lang="en-GB" sz="1400" noProof="0">
              <a:solidFill>
                <a:srgbClr val="1A3B47"/>
              </a:solidFill>
              <a:latin typeface="Santander Text" panose="020B0504020201020104"/>
              <a:ea typeface="Roboto"/>
              <a:cs typeface="Segoe UI"/>
            </a:endParaRPr>
          </a:p>
        </p:txBody>
      </p:sp>
      <p:sp>
        <p:nvSpPr>
          <p:cNvPr id="25" name="Marcador de texto 12">
            <a:extLst>
              <a:ext uri="{FF2B5EF4-FFF2-40B4-BE49-F238E27FC236}">
                <a16:creationId xmlns:a16="http://schemas.microsoft.com/office/drawing/2014/main" id="{7C8ECAC5-C460-BBE6-C210-B9E0C47EF115}"/>
              </a:ext>
            </a:extLst>
          </p:cNvPr>
          <p:cNvSpPr txBox="1">
            <a:spLocks/>
          </p:cNvSpPr>
          <p:nvPr/>
        </p:nvSpPr>
        <p:spPr>
          <a:xfrm>
            <a:off x="2724143" y="198744"/>
            <a:ext cx="4139783" cy="575389"/>
          </a:xfrm>
          <a:prstGeom prst="rect">
            <a:avLst/>
          </a:prstGeom>
        </p:spPr>
        <p:txBody>
          <a:bodyPr vert="horz" lIns="91440" tIns="45720" rIns="91440" bIns="45720" rtlCol="0" anchor="t" anchorCtr="0">
            <a:noAutofit/>
          </a:bodyPr>
          <a:lstStyle>
            <a:defPPr>
              <a:defRPr lang="es-ES"/>
            </a:defPPr>
            <a:lvl1pPr marR="0" lvl="0" indent="0" fontAlgn="auto">
              <a:lnSpc>
                <a:spcPct val="100000"/>
              </a:lnSpc>
              <a:spcBef>
                <a:spcPts val="1000"/>
              </a:spcBef>
              <a:spcAft>
                <a:spcPts val="0"/>
              </a:spcAft>
              <a:buClrTx/>
              <a:buSzTx/>
              <a:buFont typeface="Arial" panose="020B0604020202020204" pitchFamily="34" charset="0"/>
              <a:buNone/>
              <a:tabLst/>
              <a:defRPr kumimoji="0" sz="2000" b="1" i="0" u="none" strike="noStrike" cap="none" spc="0" normalizeH="0" baseline="0">
                <a:ln>
                  <a:noFill/>
                </a:ln>
                <a:solidFill>
                  <a:srgbClr val="505050"/>
                </a:solidFill>
                <a:effectLst/>
                <a:uLnTx/>
                <a:uFillTx/>
                <a:latin typeface="Century Gothic" panose="020B0502020202020204" pitchFamily="34" charset="0"/>
              </a:defRPr>
            </a:lvl1pPr>
            <a:lvl2pPr marR="0" indent="0" fontAlgn="auto">
              <a:lnSpc>
                <a:spcPct val="100000"/>
              </a:lnSpc>
              <a:spcBef>
                <a:spcPts val="1000"/>
              </a:spcBef>
              <a:spcAft>
                <a:spcPts val="0"/>
              </a:spcAft>
              <a:buClrTx/>
              <a:buSzTx/>
              <a:buFont typeface="Arial" panose="020B0604020202020204" pitchFamily="34" charset="0"/>
              <a:buNone/>
              <a:tabLst/>
              <a:defRPr sz="2000" b="1">
                <a:latin typeface="Century Gothic" panose="020B0502020202020204" pitchFamily="34" charset="0"/>
              </a:defRPr>
            </a:lvl2pPr>
            <a:lvl3pPr indent="0">
              <a:lnSpc>
                <a:spcPct val="100000"/>
              </a:lnSpc>
              <a:spcBef>
                <a:spcPts val="500"/>
              </a:spcBef>
              <a:buFont typeface="Arial" panose="020B0604020202020204" pitchFamily="34" charset="0"/>
              <a:buNone/>
              <a:defRPr b="1">
                <a:latin typeface="Century Gothic" panose="020B0502020202020204" pitchFamily="34" charset="0"/>
              </a:defRPr>
            </a:lvl3pPr>
            <a:lvl4pPr indent="0">
              <a:lnSpc>
                <a:spcPct val="100000"/>
              </a:lnSpc>
              <a:spcBef>
                <a:spcPts val="500"/>
              </a:spcBef>
              <a:buFont typeface="Arial" panose="020B0604020202020204" pitchFamily="34" charset="0"/>
              <a:buNone/>
              <a:defRPr sz="1600" b="1">
                <a:latin typeface="Century Gothic" panose="020B0502020202020204" pitchFamily="34" charset="0"/>
              </a:defRPr>
            </a:lvl4pPr>
            <a:lvl5pPr indent="0">
              <a:lnSpc>
                <a:spcPct val="100000"/>
              </a:lnSpc>
              <a:spcBef>
                <a:spcPts val="500"/>
              </a:spcBef>
              <a:buFont typeface="Arial" panose="020B0604020202020204" pitchFamily="34" charset="0"/>
              <a:buNone/>
              <a:defRPr sz="1600" b="1">
                <a:latin typeface="Century Gothic" panose="020B0502020202020204" pitchFamily="34" charset="0"/>
              </a:defRPr>
            </a:lvl5pPr>
            <a:lvl6pPr indent="0">
              <a:lnSpc>
                <a:spcPct val="100000"/>
              </a:lnSpc>
              <a:spcBef>
                <a:spcPts val="500"/>
              </a:spcBef>
              <a:buFont typeface="Arial" panose="020B0604020202020204" pitchFamily="34" charset="0"/>
              <a:buNone/>
              <a:defRPr sz="1600" b="1">
                <a:latin typeface="Century Gothic" panose="020B0502020202020204" pitchFamily="34" charset="0"/>
              </a:defRPr>
            </a:lvl6pPr>
            <a:lvl7pPr indent="0">
              <a:lnSpc>
                <a:spcPct val="90000"/>
              </a:lnSpc>
              <a:spcBef>
                <a:spcPts val="500"/>
              </a:spcBef>
              <a:buFont typeface="Arial" panose="020B0604020202020204" pitchFamily="34" charset="0"/>
              <a:buNone/>
              <a:defRPr sz="1600" b="1"/>
            </a:lvl7pPr>
            <a:lvl8pPr indent="0">
              <a:lnSpc>
                <a:spcPct val="90000"/>
              </a:lnSpc>
              <a:spcBef>
                <a:spcPts val="500"/>
              </a:spcBef>
              <a:buFont typeface="Arial" panose="020B0604020202020204" pitchFamily="34" charset="0"/>
              <a:buNone/>
              <a:defRPr sz="1600" b="1"/>
            </a:lvl8pPr>
            <a:lvl9pPr indent="0">
              <a:lnSpc>
                <a:spcPct val="90000"/>
              </a:lnSpc>
              <a:spcBef>
                <a:spcPts val="500"/>
              </a:spcBef>
              <a:buFont typeface="Arial" panose="020B0604020202020204" pitchFamily="34" charset="0"/>
              <a:buNone/>
              <a:defRPr sz="1600" b="1"/>
            </a:lvl9pPr>
          </a:lstStyle>
          <a:p>
            <a:pPr>
              <a:defRPr/>
            </a:pPr>
            <a:r>
              <a:rPr lang="en-GB" b="0" noProof="0">
                <a:solidFill>
                  <a:srgbClr val="F14949"/>
                </a:solidFill>
                <a:latin typeface="Santander Headline" panose="020B0504020201020104"/>
              </a:rPr>
              <a:t>Multi-agent system and Agent Flow</a:t>
            </a:r>
          </a:p>
        </p:txBody>
      </p:sp>
      <p:pic>
        <p:nvPicPr>
          <p:cNvPr id="35" name="Imagen 34">
            <a:extLst>
              <a:ext uri="{FF2B5EF4-FFF2-40B4-BE49-F238E27FC236}">
                <a16:creationId xmlns:a16="http://schemas.microsoft.com/office/drawing/2014/main" id="{BE7F53BD-D3B6-852F-8990-25FA9D63FC8E}"/>
              </a:ext>
            </a:extLst>
          </p:cNvPr>
          <p:cNvPicPr>
            <a:picLocks noChangeAspect="1"/>
          </p:cNvPicPr>
          <p:nvPr/>
        </p:nvPicPr>
        <p:blipFill>
          <a:blip r:embed="rId3"/>
          <a:srcRect r="6832"/>
          <a:stretch/>
        </p:blipFill>
        <p:spPr>
          <a:xfrm>
            <a:off x="281796" y="2158238"/>
            <a:ext cx="6414113" cy="3578637"/>
          </a:xfrm>
          <a:prstGeom prst="rect">
            <a:avLst/>
          </a:prstGeom>
        </p:spPr>
      </p:pic>
      <p:sp>
        <p:nvSpPr>
          <p:cNvPr id="45" name="Marcador de texto 12">
            <a:extLst>
              <a:ext uri="{FF2B5EF4-FFF2-40B4-BE49-F238E27FC236}">
                <a16:creationId xmlns:a16="http://schemas.microsoft.com/office/drawing/2014/main" id="{A3E70E70-7CEB-50DC-2AD9-E8BCCE376003}"/>
              </a:ext>
            </a:extLst>
          </p:cNvPr>
          <p:cNvSpPr txBox="1">
            <a:spLocks/>
          </p:cNvSpPr>
          <p:nvPr/>
        </p:nvSpPr>
        <p:spPr>
          <a:xfrm>
            <a:off x="247747" y="197896"/>
            <a:ext cx="11443720" cy="575389"/>
          </a:xfrm>
          <a:prstGeom prst="rect">
            <a:avLst/>
          </a:prstGeom>
        </p:spPr>
        <p:txBody>
          <a:bodyPr vert="horz" lIns="91440" tIns="45720" rIns="91440" bIns="45720" rtlCol="0" anchor="t" anchorCtr="0">
            <a:noAutofit/>
          </a:bodyPr>
          <a:lstStyle>
            <a:defPPr>
              <a:defRPr lang="es-ES"/>
            </a:defPPr>
            <a:lvl1pPr marR="0" lvl="0" indent="0" fontAlgn="auto">
              <a:lnSpc>
                <a:spcPct val="100000"/>
              </a:lnSpc>
              <a:spcBef>
                <a:spcPts val="1000"/>
              </a:spcBef>
              <a:spcAft>
                <a:spcPts val="0"/>
              </a:spcAft>
              <a:buClrTx/>
              <a:buSzTx/>
              <a:buFont typeface="Arial" panose="020B0604020202020204" pitchFamily="34" charset="0"/>
              <a:buNone/>
              <a:tabLst/>
              <a:defRPr kumimoji="0" sz="2000" b="1" i="0" u="none" strike="noStrike" cap="none" spc="0" normalizeH="0" baseline="0">
                <a:ln>
                  <a:noFill/>
                </a:ln>
                <a:solidFill>
                  <a:srgbClr val="505050"/>
                </a:solidFill>
                <a:effectLst/>
                <a:uLnTx/>
                <a:uFillTx/>
                <a:latin typeface="Century Gothic" panose="020B0502020202020204" pitchFamily="34" charset="0"/>
              </a:defRPr>
            </a:lvl1pPr>
            <a:lvl2pPr marR="0" indent="0" fontAlgn="auto">
              <a:lnSpc>
                <a:spcPct val="100000"/>
              </a:lnSpc>
              <a:spcBef>
                <a:spcPts val="1000"/>
              </a:spcBef>
              <a:spcAft>
                <a:spcPts val="0"/>
              </a:spcAft>
              <a:buClrTx/>
              <a:buSzTx/>
              <a:buFont typeface="Arial" panose="020B0604020202020204" pitchFamily="34" charset="0"/>
              <a:buNone/>
              <a:tabLst/>
              <a:defRPr sz="2000" b="1">
                <a:latin typeface="Century Gothic" panose="020B0502020202020204" pitchFamily="34" charset="0"/>
              </a:defRPr>
            </a:lvl2pPr>
            <a:lvl3pPr indent="0">
              <a:lnSpc>
                <a:spcPct val="100000"/>
              </a:lnSpc>
              <a:spcBef>
                <a:spcPts val="500"/>
              </a:spcBef>
              <a:buFont typeface="Arial" panose="020B0604020202020204" pitchFamily="34" charset="0"/>
              <a:buNone/>
              <a:defRPr b="1">
                <a:latin typeface="Century Gothic" panose="020B0502020202020204" pitchFamily="34" charset="0"/>
              </a:defRPr>
            </a:lvl3pPr>
            <a:lvl4pPr indent="0">
              <a:lnSpc>
                <a:spcPct val="100000"/>
              </a:lnSpc>
              <a:spcBef>
                <a:spcPts val="500"/>
              </a:spcBef>
              <a:buFont typeface="Arial" panose="020B0604020202020204" pitchFamily="34" charset="0"/>
              <a:buNone/>
              <a:defRPr sz="1600" b="1">
                <a:latin typeface="Century Gothic" panose="020B0502020202020204" pitchFamily="34" charset="0"/>
              </a:defRPr>
            </a:lvl4pPr>
            <a:lvl5pPr indent="0">
              <a:lnSpc>
                <a:spcPct val="100000"/>
              </a:lnSpc>
              <a:spcBef>
                <a:spcPts val="500"/>
              </a:spcBef>
              <a:buFont typeface="Arial" panose="020B0604020202020204" pitchFamily="34" charset="0"/>
              <a:buNone/>
              <a:defRPr sz="1600" b="1">
                <a:latin typeface="Century Gothic" panose="020B0502020202020204" pitchFamily="34" charset="0"/>
              </a:defRPr>
            </a:lvl5pPr>
            <a:lvl6pPr indent="0">
              <a:lnSpc>
                <a:spcPct val="100000"/>
              </a:lnSpc>
              <a:spcBef>
                <a:spcPts val="500"/>
              </a:spcBef>
              <a:buFont typeface="Arial" panose="020B0604020202020204" pitchFamily="34" charset="0"/>
              <a:buNone/>
              <a:defRPr sz="1600" b="1">
                <a:latin typeface="Century Gothic" panose="020B0502020202020204" pitchFamily="34" charset="0"/>
              </a:defRPr>
            </a:lvl6pPr>
            <a:lvl7pPr indent="0">
              <a:lnSpc>
                <a:spcPct val="90000"/>
              </a:lnSpc>
              <a:spcBef>
                <a:spcPts val="500"/>
              </a:spcBef>
              <a:buFont typeface="Arial" panose="020B0604020202020204" pitchFamily="34" charset="0"/>
              <a:buNone/>
              <a:defRPr sz="1600" b="1"/>
            </a:lvl7pPr>
            <a:lvl8pPr indent="0">
              <a:lnSpc>
                <a:spcPct val="90000"/>
              </a:lnSpc>
              <a:spcBef>
                <a:spcPts val="500"/>
              </a:spcBef>
              <a:buFont typeface="Arial" panose="020B0604020202020204" pitchFamily="34" charset="0"/>
              <a:buNone/>
              <a:defRPr sz="1600" b="1"/>
            </a:lvl8pPr>
            <a:lvl9pPr indent="0">
              <a:lnSpc>
                <a:spcPct val="90000"/>
              </a:lnSpc>
              <a:spcBef>
                <a:spcPts val="500"/>
              </a:spcBef>
              <a:buFont typeface="Arial" panose="020B0604020202020204" pitchFamily="34" charset="0"/>
              <a:buNone/>
              <a:defRPr sz="1600" b="1"/>
            </a:lvl9pPr>
          </a:lstStyle>
          <a:p>
            <a:pPr>
              <a:defRPr/>
            </a:pPr>
            <a:r>
              <a:rPr lang="en-GB" b="0" noProof="0">
                <a:solidFill>
                  <a:srgbClr val="F14949"/>
                </a:solidFill>
                <a:latin typeface="Santander Headline" panose="020B0504020201020104"/>
              </a:rPr>
              <a:t>¿Why an agent system?</a:t>
            </a:r>
          </a:p>
        </p:txBody>
      </p:sp>
      <p:sp>
        <p:nvSpPr>
          <p:cNvPr id="37" name="Rectangle 59">
            <a:extLst>
              <a:ext uri="{FF2B5EF4-FFF2-40B4-BE49-F238E27FC236}">
                <a16:creationId xmlns:a16="http://schemas.microsoft.com/office/drawing/2014/main" id="{A8C0027D-AAB0-1066-5354-C86DF705D7B5}"/>
              </a:ext>
            </a:extLst>
          </p:cNvPr>
          <p:cNvSpPr/>
          <p:nvPr/>
        </p:nvSpPr>
        <p:spPr>
          <a:xfrm>
            <a:off x="3174" y="6149290"/>
            <a:ext cx="12188826" cy="708710"/>
          </a:xfrm>
          <a:prstGeom prst="rect">
            <a:avLst/>
          </a:prstGeom>
          <a:solidFill>
            <a:srgbClr val="C00000"/>
          </a:solidFill>
          <a:ln w="9525">
            <a:solidFill>
              <a:srgbClr val="00416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45720" rIns="720000" bIns="45720" numCol="1" spcCol="0" rtlCol="0" fromWordArt="0" anchor="ctr" anchorCtr="0" forceAA="0" compatLnSpc="1">
            <a:prstTxWarp prst="textNoShape">
              <a:avLst/>
            </a:prstTxWarp>
            <a:noAutofit/>
          </a:bodyPr>
          <a:lstStyle/>
          <a:p>
            <a:pPr algn="ctr"/>
            <a:r>
              <a:rPr lang="en-GB" sz="1400" b="1" noProof="0">
                <a:latin typeface="Santander Text" panose="020B0504020201020104"/>
              </a:rPr>
              <a:t>Each collaborating agent specializes in a functional domain and has access to tools that encapsulate business logic and calls to external systems, allowing them to act autonomously under the supervision of the operator. </a:t>
            </a:r>
          </a:p>
        </p:txBody>
      </p:sp>
      <p:sp>
        <p:nvSpPr>
          <p:cNvPr id="3" name="Rectángulo: esquinas redondeadas 2">
            <a:extLst>
              <a:ext uri="{FF2B5EF4-FFF2-40B4-BE49-F238E27FC236}">
                <a16:creationId xmlns:a16="http://schemas.microsoft.com/office/drawing/2014/main" id="{574A755A-A2C7-7566-5217-FB1A1DF00767}"/>
              </a:ext>
            </a:extLst>
          </p:cNvPr>
          <p:cNvSpPr/>
          <p:nvPr/>
        </p:nvSpPr>
        <p:spPr>
          <a:xfrm>
            <a:off x="7242407" y="1038062"/>
            <a:ext cx="4804878" cy="686909"/>
          </a:xfrm>
          <a:prstGeom prst="roundRect">
            <a:avLst/>
          </a:prstGeom>
          <a:solidFill>
            <a:srgbClr val="FFEFE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lnSpc>
                <a:spcPct val="110000"/>
              </a:lnSpc>
              <a:spcBef>
                <a:spcPts val="600"/>
              </a:spcBef>
            </a:pPr>
            <a:r>
              <a:rPr lang="en-GB" sz="1300" b="1" noProof="0">
                <a:solidFill>
                  <a:schemeClr val="tx1"/>
                </a:solidFill>
                <a:latin typeface="Santander Text" panose="020B0504020201020104"/>
              </a:rPr>
              <a:t>Autonomy and operational efficiency: </a:t>
            </a:r>
            <a:r>
              <a:rPr lang="en-GB" sz="1300" noProof="0">
                <a:solidFill>
                  <a:schemeClr val="tx1"/>
                </a:solidFill>
                <a:latin typeface="Santander Text" panose="020B0504020201020104"/>
              </a:rPr>
              <a:t>Agent systems execute tasks independently and asynchronously, adapting to obstacles without external intervention.</a:t>
            </a:r>
          </a:p>
        </p:txBody>
      </p:sp>
      <p:sp>
        <p:nvSpPr>
          <p:cNvPr id="4" name="Rectángulo: esquinas redondeadas 3">
            <a:extLst>
              <a:ext uri="{FF2B5EF4-FFF2-40B4-BE49-F238E27FC236}">
                <a16:creationId xmlns:a16="http://schemas.microsoft.com/office/drawing/2014/main" id="{D0FC6068-51EB-DC0A-A9E9-3A1AD56C514B}"/>
              </a:ext>
            </a:extLst>
          </p:cNvPr>
          <p:cNvSpPr/>
          <p:nvPr/>
        </p:nvSpPr>
        <p:spPr>
          <a:xfrm>
            <a:off x="7242406" y="1806819"/>
            <a:ext cx="4804877" cy="686909"/>
          </a:xfrm>
          <a:prstGeom prst="roundRect">
            <a:avLst/>
          </a:prstGeom>
          <a:solidFill>
            <a:srgbClr val="FFEFE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lnSpc>
                <a:spcPct val="110000"/>
              </a:lnSpc>
              <a:spcBef>
                <a:spcPts val="600"/>
              </a:spcBef>
              <a:defRPr/>
            </a:pPr>
            <a:r>
              <a:rPr lang="en-GB" sz="1300" b="1" noProof="0">
                <a:solidFill>
                  <a:schemeClr val="tx1"/>
                </a:solidFill>
                <a:latin typeface="Santander Text" panose="020B0504020201020104"/>
              </a:rPr>
              <a:t>Multi-stage problem-solving ability: </a:t>
            </a:r>
            <a:r>
              <a:rPr lang="en-GB" sz="1300" noProof="0">
                <a:solidFill>
                  <a:schemeClr val="tx1"/>
                </a:solidFill>
                <a:latin typeface="Santander Text" panose="020B0504020201020104"/>
              </a:rPr>
              <a:t>agents break down complex problems into subtasks, executing them sequentially and adapting their approach according to the results obtained. </a:t>
            </a:r>
            <a:endParaRPr kumimoji="0" lang="en-GB" sz="1300" i="0" u="none" strike="noStrike" kern="1200" cap="none" spc="0" normalizeH="0" baseline="0" noProof="0">
              <a:ln>
                <a:noFill/>
              </a:ln>
              <a:solidFill>
                <a:schemeClr val="tx1"/>
              </a:solidFill>
              <a:effectLst/>
              <a:uLnTx/>
              <a:uFillTx/>
              <a:latin typeface="Santander Text" panose="020B0504020201020104"/>
            </a:endParaRPr>
          </a:p>
        </p:txBody>
      </p:sp>
      <p:sp>
        <p:nvSpPr>
          <p:cNvPr id="5" name="Rectángulo: esquinas redondeadas 4">
            <a:extLst>
              <a:ext uri="{FF2B5EF4-FFF2-40B4-BE49-F238E27FC236}">
                <a16:creationId xmlns:a16="http://schemas.microsoft.com/office/drawing/2014/main" id="{DB7A4DB6-522A-2DA6-618F-162AF753E5D7}"/>
              </a:ext>
            </a:extLst>
          </p:cNvPr>
          <p:cNvSpPr/>
          <p:nvPr/>
        </p:nvSpPr>
        <p:spPr>
          <a:xfrm>
            <a:off x="7242407" y="2575576"/>
            <a:ext cx="4804876" cy="686909"/>
          </a:xfrm>
          <a:prstGeom prst="roundRect">
            <a:avLst/>
          </a:prstGeom>
          <a:solidFill>
            <a:srgbClr val="FFEFE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lnSpc>
                <a:spcPct val="110000"/>
              </a:lnSpc>
              <a:spcBef>
                <a:spcPts val="600"/>
              </a:spcBef>
              <a:defRPr/>
            </a:pPr>
            <a:r>
              <a:rPr lang="en-GB" sz="1300" b="1" noProof="0">
                <a:solidFill>
                  <a:schemeClr val="tx1"/>
                </a:solidFill>
                <a:latin typeface="Santander Text" panose="020B0504020201020104"/>
              </a:rPr>
              <a:t>Tool integration and orchestration: </a:t>
            </a:r>
            <a:r>
              <a:rPr lang="en-GB" sz="1300" noProof="0">
                <a:solidFill>
                  <a:schemeClr val="tx1"/>
                </a:solidFill>
                <a:latin typeface="Santander Text" panose="020B0504020201020104"/>
              </a:rPr>
              <a:t>Agents use various tools and APIs in a coordinated manner, eliminating the need to constantly switch between applications and systems.</a:t>
            </a:r>
            <a:endParaRPr kumimoji="0" lang="en-GB" sz="1300" i="0" u="none" strike="noStrike" kern="1200" cap="none" spc="0" normalizeH="0" baseline="0" noProof="0">
              <a:ln>
                <a:noFill/>
              </a:ln>
              <a:solidFill>
                <a:schemeClr val="tx1"/>
              </a:solidFill>
              <a:effectLst/>
              <a:uLnTx/>
              <a:uFillTx/>
              <a:latin typeface="Santander Text" panose="020B0504020201020104"/>
            </a:endParaRPr>
          </a:p>
        </p:txBody>
      </p:sp>
      <p:sp>
        <p:nvSpPr>
          <p:cNvPr id="6" name="Rectángulo: esquinas redondeadas 5">
            <a:extLst>
              <a:ext uri="{FF2B5EF4-FFF2-40B4-BE49-F238E27FC236}">
                <a16:creationId xmlns:a16="http://schemas.microsoft.com/office/drawing/2014/main" id="{838E5E0D-5828-BF59-07EF-56F8DC56E343}"/>
              </a:ext>
            </a:extLst>
          </p:cNvPr>
          <p:cNvSpPr/>
          <p:nvPr/>
        </p:nvSpPr>
        <p:spPr>
          <a:xfrm>
            <a:off x="7242406" y="3331106"/>
            <a:ext cx="4804875" cy="686909"/>
          </a:xfrm>
          <a:prstGeom prst="roundRect">
            <a:avLst/>
          </a:prstGeom>
          <a:solidFill>
            <a:srgbClr val="FFEFE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lnSpc>
                <a:spcPct val="110000"/>
              </a:lnSpc>
              <a:spcBef>
                <a:spcPts val="600"/>
              </a:spcBef>
              <a:defRPr/>
            </a:pPr>
            <a:r>
              <a:rPr lang="en-GB" sz="1300" b="1" noProof="0">
                <a:solidFill>
                  <a:schemeClr val="tx1"/>
                </a:solidFill>
                <a:latin typeface="Santander Text" panose="020B0504020201020104"/>
              </a:rPr>
              <a:t>Contextual adaptability: </a:t>
            </a:r>
            <a:r>
              <a:rPr lang="en-GB" sz="1300" noProof="0">
                <a:solidFill>
                  <a:schemeClr val="tx1"/>
                </a:solidFill>
                <a:latin typeface="Santander Text" panose="020B0504020201020104"/>
              </a:rPr>
              <a:t>Agent systems adjust their behaviour to the specific context, learning from intermediate results and modifying strategies in real time. </a:t>
            </a:r>
            <a:endParaRPr kumimoji="0" lang="en-GB" sz="1300" i="0" u="none" strike="noStrike" kern="1200" cap="none" spc="0" normalizeH="0" baseline="0" noProof="0">
              <a:ln>
                <a:noFill/>
              </a:ln>
              <a:solidFill>
                <a:schemeClr val="tx1"/>
              </a:solidFill>
              <a:effectLst/>
              <a:uLnTx/>
              <a:uFillTx/>
              <a:latin typeface="Santander Text" panose="020B0504020201020104"/>
            </a:endParaRPr>
          </a:p>
        </p:txBody>
      </p:sp>
      <p:sp>
        <p:nvSpPr>
          <p:cNvPr id="7" name="Rectángulo: esquinas redondeadas 6">
            <a:extLst>
              <a:ext uri="{FF2B5EF4-FFF2-40B4-BE49-F238E27FC236}">
                <a16:creationId xmlns:a16="http://schemas.microsoft.com/office/drawing/2014/main" id="{38A36423-D9A1-A33D-0A0B-36DCC6C9B82F}"/>
              </a:ext>
            </a:extLst>
          </p:cNvPr>
          <p:cNvSpPr/>
          <p:nvPr/>
        </p:nvSpPr>
        <p:spPr>
          <a:xfrm>
            <a:off x="7242407" y="4104528"/>
            <a:ext cx="4804874" cy="686909"/>
          </a:xfrm>
          <a:prstGeom prst="roundRect">
            <a:avLst/>
          </a:prstGeom>
          <a:solidFill>
            <a:srgbClr val="FFEFE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lnSpc>
                <a:spcPct val="110000"/>
              </a:lnSpc>
              <a:spcBef>
                <a:spcPts val="600"/>
              </a:spcBef>
              <a:defRPr/>
            </a:pPr>
            <a:r>
              <a:rPr lang="en-GB" sz="1300" b="1" noProof="0">
                <a:solidFill>
                  <a:schemeClr val="tx1"/>
                </a:solidFill>
                <a:latin typeface="Santander Text" panose="020B0504020201020104"/>
              </a:rPr>
              <a:t>Scalability and productivity: </a:t>
            </a:r>
            <a:r>
              <a:rPr lang="en-GB" sz="1300" noProof="0">
                <a:solidFill>
                  <a:schemeClr val="tx1"/>
                </a:solidFill>
                <a:latin typeface="Santander Text" panose="020B0504020201020104"/>
              </a:rPr>
              <a:t>workflow automation processes multiple tasks simultaneously, scaling operational capacity without proportional increases in human resources.</a:t>
            </a:r>
            <a:endParaRPr kumimoji="0" lang="en-GB" sz="1300" i="0" u="none" strike="noStrike" kern="1200" cap="none" spc="0" normalizeH="0" baseline="0" noProof="0">
              <a:ln>
                <a:noFill/>
              </a:ln>
              <a:solidFill>
                <a:schemeClr val="tx1"/>
              </a:solidFill>
              <a:effectLst/>
              <a:uLnTx/>
              <a:uFillTx/>
              <a:latin typeface="Santander Text" panose="020B0504020201020104"/>
            </a:endParaRPr>
          </a:p>
        </p:txBody>
      </p:sp>
      <p:sp>
        <p:nvSpPr>
          <p:cNvPr id="8" name="Rectángulo: esquinas redondeadas 7">
            <a:extLst>
              <a:ext uri="{FF2B5EF4-FFF2-40B4-BE49-F238E27FC236}">
                <a16:creationId xmlns:a16="http://schemas.microsoft.com/office/drawing/2014/main" id="{6D53DF7D-C68C-5AE5-ED08-BE97B078B1CD}"/>
              </a:ext>
            </a:extLst>
          </p:cNvPr>
          <p:cNvSpPr/>
          <p:nvPr/>
        </p:nvSpPr>
        <p:spPr>
          <a:xfrm>
            <a:off x="7242406" y="4871833"/>
            <a:ext cx="4804873" cy="686909"/>
          </a:xfrm>
          <a:prstGeom prst="roundRect">
            <a:avLst/>
          </a:prstGeom>
          <a:solidFill>
            <a:srgbClr val="FFEFE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lnSpc>
                <a:spcPct val="110000"/>
              </a:lnSpc>
              <a:spcBef>
                <a:spcPts val="600"/>
              </a:spcBef>
              <a:defRPr/>
            </a:pPr>
            <a:r>
              <a:rPr lang="en-GB" sz="1300" b="1" noProof="0">
                <a:solidFill>
                  <a:schemeClr val="tx1"/>
                </a:solidFill>
                <a:latin typeface="Santander Text" panose="020B0504020201020104"/>
              </a:rPr>
              <a:t>Error Reduction and Consistency: </a:t>
            </a:r>
            <a:r>
              <a:rPr lang="en-GB" sz="1300" noProof="0">
                <a:solidFill>
                  <a:schemeClr val="tx1"/>
                </a:solidFill>
                <a:latin typeface="Santander Text" panose="020B0504020201020104"/>
              </a:rPr>
              <a:t>Automation reduces human error and ensures consistency in repetitive tasks, improving the quality and reliability of results.</a:t>
            </a:r>
            <a:endParaRPr kumimoji="0" lang="en-GB" sz="1300" i="0" u="none" strike="noStrike" kern="1200" cap="none" spc="0" normalizeH="0" baseline="0" noProof="0">
              <a:ln>
                <a:noFill/>
              </a:ln>
              <a:solidFill>
                <a:schemeClr val="tx1"/>
              </a:solidFill>
              <a:effectLst/>
              <a:uLnTx/>
              <a:uFillTx/>
              <a:latin typeface="Santander Text" panose="020B0504020201020104"/>
            </a:endParaRPr>
          </a:p>
        </p:txBody>
      </p:sp>
      <p:sp>
        <p:nvSpPr>
          <p:cNvPr id="41" name="Título 5">
            <a:extLst>
              <a:ext uri="{FF2B5EF4-FFF2-40B4-BE49-F238E27FC236}">
                <a16:creationId xmlns:a16="http://schemas.microsoft.com/office/drawing/2014/main" id="{623E8D0B-26E1-B0D6-D28C-75C0CD723280}"/>
              </a:ext>
            </a:extLst>
          </p:cNvPr>
          <p:cNvSpPr txBox="1">
            <a:spLocks/>
          </p:cNvSpPr>
          <p:nvPr/>
        </p:nvSpPr>
        <p:spPr bwMode="gray">
          <a:xfrm>
            <a:off x="1243346" y="431987"/>
            <a:ext cx="7358396" cy="360000"/>
          </a:xfrm>
          <a:prstGeom prst="rect">
            <a:avLst/>
          </a:prstGeom>
        </p:spPr>
        <p:txBody>
          <a:bodyPr vert="horz" lIns="0" tIns="45720" rIns="0" bIns="45720" rtlCol="0" anchor="t">
            <a:noAutofit/>
          </a:bodyPr>
          <a:lstStyle>
            <a:lvl1pPr algn="l" defTabSz="914400" rtl="0" eaLnBrk="1" latinLnBrk="0" hangingPunct="1">
              <a:lnSpc>
                <a:spcPct val="90000"/>
              </a:lnSpc>
              <a:spcBef>
                <a:spcPct val="0"/>
              </a:spcBef>
              <a:buNone/>
              <a:defRPr lang="en-US" sz="2800" kern="1200" dirty="0">
                <a:solidFill>
                  <a:schemeClr val="bg1"/>
                </a:solidFill>
                <a:latin typeface="Georgia" panose="02040502050405020303" pitchFamily="18" charset="0"/>
                <a:ea typeface="+mj-ea"/>
                <a:cs typeface="+mj-cs"/>
              </a:defRPr>
            </a:lvl1pPr>
          </a:lstStyle>
          <a:p>
            <a:pPr algn="just">
              <a:defRPr/>
            </a:pPr>
            <a:endParaRPr lang="en-GB" sz="3200" noProof="0">
              <a:solidFill>
                <a:srgbClr val="FFFFFF"/>
              </a:solidFill>
              <a:latin typeface="Aptos" panose="020B0004020202020204" pitchFamily="34" charset="0"/>
              <a:cs typeface="Arial" panose="020B0604020202020204" pitchFamily="34" charset="0"/>
            </a:endParaRPr>
          </a:p>
        </p:txBody>
      </p:sp>
      <p:sp>
        <p:nvSpPr>
          <p:cNvPr id="42" name="Título 5">
            <a:extLst>
              <a:ext uri="{FF2B5EF4-FFF2-40B4-BE49-F238E27FC236}">
                <a16:creationId xmlns:a16="http://schemas.microsoft.com/office/drawing/2014/main" id="{60AF579C-AB8A-B3CA-E31B-727A14D637EB}"/>
              </a:ext>
            </a:extLst>
          </p:cNvPr>
          <p:cNvSpPr txBox="1">
            <a:spLocks/>
          </p:cNvSpPr>
          <p:nvPr/>
        </p:nvSpPr>
        <p:spPr bwMode="gray">
          <a:xfrm>
            <a:off x="-1449059" y="350686"/>
            <a:ext cx="7358396" cy="360000"/>
          </a:xfrm>
          <a:prstGeom prst="rect">
            <a:avLst/>
          </a:prstGeom>
        </p:spPr>
        <p:txBody>
          <a:bodyPr vert="horz" lIns="0" tIns="45720" rIns="0" bIns="45720" rtlCol="0" anchor="t">
            <a:noAutofit/>
          </a:bodyPr>
          <a:lstStyle>
            <a:lvl1pPr algn="l" defTabSz="914400" rtl="0" eaLnBrk="1" latinLnBrk="0" hangingPunct="1">
              <a:lnSpc>
                <a:spcPct val="90000"/>
              </a:lnSpc>
              <a:spcBef>
                <a:spcPct val="0"/>
              </a:spcBef>
              <a:buNone/>
              <a:defRPr lang="en-US" sz="2800" kern="1200" dirty="0">
                <a:solidFill>
                  <a:schemeClr val="bg1"/>
                </a:solidFill>
                <a:latin typeface="Georgia" panose="02040502050405020303" pitchFamily="18" charset="0"/>
                <a:ea typeface="+mj-ea"/>
                <a:cs typeface="+mj-cs"/>
              </a:defRPr>
            </a:lvl1pPr>
          </a:lstStyle>
          <a:p>
            <a:pPr algn="just">
              <a:defRPr/>
            </a:pPr>
            <a:endParaRPr lang="en-GB" sz="3200" noProof="0">
              <a:solidFill>
                <a:srgbClr val="FFFFFF"/>
              </a:solidFill>
              <a:latin typeface="Aptos"/>
              <a:cs typeface="Arial"/>
            </a:endParaRPr>
          </a:p>
        </p:txBody>
      </p:sp>
      <p:pic>
        <p:nvPicPr>
          <p:cNvPr id="2" name="Picture 2">
            <a:extLst>
              <a:ext uri="{FF2B5EF4-FFF2-40B4-BE49-F238E27FC236}">
                <a16:creationId xmlns:a16="http://schemas.microsoft.com/office/drawing/2014/main" id="{EC92C40C-F29A-E33C-D1FA-A6C4DC148B21}"/>
              </a:ext>
            </a:extLst>
          </p:cNvPr>
          <p:cNvPicPr/>
          <p:nvPr/>
        </p:nvPicPr>
        <p:blipFill>
          <a:blip r:embed="rId4"/>
          <a:srcRect r="22480"/>
          <a:stretch>
            <a:fillRect/>
          </a:stretch>
        </p:blipFill>
        <p:spPr>
          <a:xfrm>
            <a:off x="9081410" y="78055"/>
            <a:ext cx="1610515" cy="388493"/>
          </a:xfrm>
          <a:prstGeom prst="rect">
            <a:avLst/>
          </a:prstGeom>
        </p:spPr>
      </p:pic>
      <p:pic>
        <p:nvPicPr>
          <p:cNvPr id="9" name="Imagen 2" descr="NTT Data - Red Seguridad">
            <a:extLst>
              <a:ext uri="{FF2B5EF4-FFF2-40B4-BE49-F238E27FC236}">
                <a16:creationId xmlns:a16="http://schemas.microsoft.com/office/drawing/2014/main" id="{6CC9554F-CE16-6B15-15D3-77A031CC8D5B}"/>
              </a:ext>
            </a:extLst>
          </p:cNvPr>
          <p:cNvPicPr/>
          <p:nvPr/>
        </p:nvPicPr>
        <p:blipFill>
          <a:blip r:embed="rId5"/>
          <a:stretch>
            <a:fillRect/>
          </a:stretch>
        </p:blipFill>
        <p:spPr>
          <a:xfrm>
            <a:off x="10872169" y="-156949"/>
            <a:ext cx="1166998" cy="847775"/>
          </a:xfrm>
          <a:prstGeom prst="rect">
            <a:avLst/>
          </a:prstGeom>
        </p:spPr>
      </p:pic>
      <p:sp>
        <p:nvSpPr>
          <p:cNvPr id="10" name="Rectangle: Rounded Corners 9">
            <a:extLst>
              <a:ext uri="{FF2B5EF4-FFF2-40B4-BE49-F238E27FC236}">
                <a16:creationId xmlns:a16="http://schemas.microsoft.com/office/drawing/2014/main" id="{2D80E8C4-23E1-939A-75DD-E49AF262CFF0}"/>
              </a:ext>
            </a:extLst>
          </p:cNvPr>
          <p:cNvSpPr/>
          <p:nvPr/>
        </p:nvSpPr>
        <p:spPr>
          <a:xfrm>
            <a:off x="247747" y="2419124"/>
            <a:ext cx="1691640" cy="1124571"/>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en-GB" sz="900" noProof="0">
                <a:solidFill>
                  <a:schemeClr val="tx1"/>
                </a:solidFill>
                <a:latin typeface="Santander Text" panose="020B0504020201020104"/>
              </a:rPr>
              <a:t>Alternate between thinking and acting, allowing you to solve complex tasks step by step. Combine generating intermediate thoughts with invoking tools or decisions.</a:t>
            </a:r>
          </a:p>
        </p:txBody>
      </p:sp>
      <p:sp>
        <p:nvSpPr>
          <p:cNvPr id="11" name="Rectangle: Rounded Corners 10">
            <a:extLst>
              <a:ext uri="{FF2B5EF4-FFF2-40B4-BE49-F238E27FC236}">
                <a16:creationId xmlns:a16="http://schemas.microsoft.com/office/drawing/2014/main" id="{73511676-F44F-D499-1C25-984C401979BD}"/>
              </a:ext>
            </a:extLst>
          </p:cNvPr>
          <p:cNvSpPr/>
          <p:nvPr/>
        </p:nvSpPr>
        <p:spPr>
          <a:xfrm>
            <a:off x="247747" y="4146857"/>
            <a:ext cx="1691640" cy="781791"/>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en-GB" sz="900" noProof="0">
                <a:solidFill>
                  <a:schemeClr val="tx1"/>
                </a:solidFill>
                <a:latin typeface="Santander Text" panose="020B0504020201020104"/>
              </a:rPr>
              <a:t>Leverage external tools, such as APIs and databases, to enhance your capabilities and knowledge.</a:t>
            </a:r>
          </a:p>
        </p:txBody>
      </p:sp>
      <p:sp>
        <p:nvSpPr>
          <p:cNvPr id="12" name="Rectangle: Rounded Corners 11">
            <a:extLst>
              <a:ext uri="{FF2B5EF4-FFF2-40B4-BE49-F238E27FC236}">
                <a16:creationId xmlns:a16="http://schemas.microsoft.com/office/drawing/2014/main" id="{A2012163-8470-9363-6F99-3684278C87D7}"/>
              </a:ext>
            </a:extLst>
          </p:cNvPr>
          <p:cNvSpPr/>
          <p:nvPr/>
        </p:nvSpPr>
        <p:spPr>
          <a:xfrm>
            <a:off x="4794034" y="2336011"/>
            <a:ext cx="1935924" cy="729318"/>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en-GB" sz="900" noProof="0">
                <a:solidFill>
                  <a:schemeClr val="tx1"/>
                </a:solidFill>
                <a:latin typeface="Santander Text" panose="020B0504020201020104"/>
              </a:rPr>
              <a:t>Acting in real time, interacting with environments and making decisions based on current data</a:t>
            </a:r>
          </a:p>
        </p:txBody>
      </p:sp>
      <p:sp>
        <p:nvSpPr>
          <p:cNvPr id="13" name="Rectangle: Rounded Corners 12">
            <a:extLst>
              <a:ext uri="{FF2B5EF4-FFF2-40B4-BE49-F238E27FC236}">
                <a16:creationId xmlns:a16="http://schemas.microsoft.com/office/drawing/2014/main" id="{B2209A66-A31E-5A40-6806-4FC616D09208}"/>
              </a:ext>
            </a:extLst>
          </p:cNvPr>
          <p:cNvSpPr/>
          <p:nvPr/>
        </p:nvSpPr>
        <p:spPr>
          <a:xfrm>
            <a:off x="4949594" y="4146857"/>
            <a:ext cx="1780364" cy="839953"/>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en-GB" sz="900" noProof="0">
                <a:solidFill>
                  <a:schemeClr val="tx1"/>
                </a:solidFill>
                <a:latin typeface="Santander Text" panose="020B0504020201020104"/>
              </a:rPr>
              <a:t>Use memory to retain context and past experiences, ensuring consistency and efficiency in tasks.</a:t>
            </a:r>
          </a:p>
        </p:txBody>
      </p:sp>
    </p:spTree>
    <p:extLst>
      <p:ext uri="{BB962C8B-B14F-4D97-AF65-F5344CB8AC3E}">
        <p14:creationId xmlns:p14="http://schemas.microsoft.com/office/powerpoint/2010/main" val="39289996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24A3BDF-7568-9E14-7396-0E4DC6DD1E0A}"/>
            </a:ext>
          </a:extLst>
        </p:cNvPr>
        <p:cNvGrpSpPr/>
        <p:nvPr/>
      </p:nvGrpSpPr>
      <p:grpSpPr>
        <a:xfrm>
          <a:off x="0" y="0"/>
          <a:ext cx="0" cy="0"/>
          <a:chOff x="0" y="0"/>
          <a:chExt cx="0" cy="0"/>
        </a:xfrm>
      </p:grpSpPr>
      <p:sp>
        <p:nvSpPr>
          <p:cNvPr id="56" name="Título 5">
            <a:extLst>
              <a:ext uri="{FF2B5EF4-FFF2-40B4-BE49-F238E27FC236}">
                <a16:creationId xmlns:a16="http://schemas.microsoft.com/office/drawing/2014/main" id="{8A8D09A6-DCD1-70E6-A388-DACEB4ECC152}"/>
              </a:ext>
            </a:extLst>
          </p:cNvPr>
          <p:cNvSpPr txBox="1">
            <a:spLocks/>
          </p:cNvSpPr>
          <p:nvPr/>
        </p:nvSpPr>
        <p:spPr bwMode="gray">
          <a:xfrm>
            <a:off x="219218" y="129447"/>
            <a:ext cx="4142470" cy="360000"/>
          </a:xfrm>
          <a:prstGeom prst="rect">
            <a:avLst/>
          </a:prstGeom>
        </p:spPr>
        <p:txBody>
          <a:bodyPr vert="horz" lIns="0" tIns="45720" rIns="0" bIns="45720" rtlCol="0" anchor="t">
            <a:noAutofit/>
          </a:bodyPr>
          <a:lstStyle>
            <a:lvl1pPr algn="l" defTabSz="914400" rtl="0" eaLnBrk="1" latinLnBrk="0" hangingPunct="1">
              <a:lnSpc>
                <a:spcPct val="90000"/>
              </a:lnSpc>
              <a:spcBef>
                <a:spcPct val="0"/>
              </a:spcBef>
              <a:buNone/>
              <a:defRPr lang="en-US" sz="2800" kern="1200" dirty="0">
                <a:solidFill>
                  <a:schemeClr val="bg1"/>
                </a:solidFill>
                <a:latin typeface="Georgia" panose="02040502050405020303" pitchFamily="18" charset="0"/>
                <a:ea typeface="+mj-ea"/>
                <a:cs typeface="+mj-cs"/>
              </a:defRPr>
            </a:lvl1pPr>
          </a:lstStyle>
          <a:p>
            <a:pPr marL="0" marR="0" lvl="0" indent="0" algn="just"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err="1">
                <a:ln>
                  <a:noFill/>
                </a:ln>
                <a:solidFill>
                  <a:srgbClr val="FFFFFF"/>
                </a:solidFill>
                <a:effectLst/>
                <a:uLnTx/>
                <a:uFillTx/>
                <a:latin typeface="Aptos" panose="020B0004020202020204" pitchFamily="34" charset="0"/>
                <a:ea typeface="+mj-ea"/>
                <a:cs typeface="Arial" panose="020B0604020202020204" pitchFamily="34" charset="0"/>
              </a:rPr>
              <a:t>Quantexa</a:t>
            </a:r>
            <a:r>
              <a:rPr kumimoji="0" lang="en-US" sz="1800" b="0" i="0" u="none" strike="noStrike" kern="1200" cap="none" spc="0" normalizeH="0" baseline="0" noProof="0">
                <a:ln>
                  <a:noFill/>
                </a:ln>
                <a:solidFill>
                  <a:srgbClr val="FFFFFF"/>
                </a:solidFill>
                <a:effectLst/>
                <a:uLnTx/>
                <a:uFillTx/>
                <a:latin typeface="Aptos" panose="020B0004020202020204" pitchFamily="34" charset="0"/>
                <a:ea typeface="+mj-ea"/>
                <a:cs typeface="Arial" panose="020B0604020202020204" pitchFamily="34" charset="0"/>
              </a:rPr>
              <a:t>: </a:t>
            </a:r>
            <a:r>
              <a:rPr kumimoji="0" lang="en-US" sz="1800" b="0" i="0" u="none" strike="noStrike" kern="1200" cap="none" spc="0" normalizeH="0" baseline="0" noProof="0" err="1">
                <a:ln>
                  <a:noFill/>
                </a:ln>
                <a:solidFill>
                  <a:srgbClr val="FFFFFF"/>
                </a:solidFill>
                <a:effectLst/>
                <a:uLnTx/>
                <a:uFillTx/>
                <a:latin typeface="Aptos" panose="020B0004020202020204" pitchFamily="34" charset="0"/>
                <a:ea typeface="+mj-ea"/>
                <a:cs typeface="Arial" panose="020B0604020202020204" pitchFamily="34" charset="0"/>
              </a:rPr>
              <a:t>Segmentación</a:t>
            </a:r>
            <a:r>
              <a:rPr kumimoji="0" lang="en-US" sz="1800" b="0" i="0" u="none" strike="noStrike" kern="1200" cap="none" spc="0" normalizeH="0" baseline="0" noProof="0">
                <a:ln>
                  <a:noFill/>
                </a:ln>
                <a:solidFill>
                  <a:srgbClr val="FFFFFF"/>
                </a:solidFill>
                <a:effectLst/>
                <a:uLnTx/>
                <a:uFillTx/>
                <a:latin typeface="Aptos" panose="020B0004020202020204" pitchFamily="34" charset="0"/>
                <a:ea typeface="+mj-ea"/>
                <a:cs typeface="Arial" panose="020B0604020202020204" pitchFamily="34" charset="0"/>
              </a:rPr>
              <a:t> de </a:t>
            </a:r>
            <a:r>
              <a:rPr kumimoji="0" lang="en-US" sz="1800" b="0" i="0" u="none" strike="noStrike" kern="1200" cap="none" spc="0" normalizeH="0" baseline="0" noProof="0" err="1">
                <a:ln>
                  <a:noFill/>
                </a:ln>
                <a:solidFill>
                  <a:srgbClr val="FFFFFF"/>
                </a:solidFill>
                <a:effectLst/>
                <a:uLnTx/>
                <a:uFillTx/>
                <a:latin typeface="Aptos" panose="020B0004020202020204" pitchFamily="34" charset="0"/>
                <a:ea typeface="+mj-ea"/>
                <a:cs typeface="Arial" panose="020B0604020202020204" pitchFamily="34" charset="0"/>
              </a:rPr>
              <a:t>Clientes</a:t>
            </a:r>
            <a:endParaRPr kumimoji="0" lang="en-US" sz="1800" b="0" i="0" u="none" strike="noStrike" kern="1200" cap="none" spc="0" normalizeH="0" baseline="0" noProof="0">
              <a:ln>
                <a:noFill/>
              </a:ln>
              <a:solidFill>
                <a:srgbClr val="FFFFFF"/>
              </a:solidFill>
              <a:effectLst/>
              <a:uLnTx/>
              <a:uFillTx/>
              <a:latin typeface="Aptos" panose="020B0004020202020204" pitchFamily="34" charset="0"/>
              <a:ea typeface="+mj-ea"/>
              <a:cs typeface="Arial" panose="020B0604020202020204" pitchFamily="34" charset="0"/>
            </a:endParaRPr>
          </a:p>
        </p:txBody>
      </p:sp>
      <p:sp>
        <p:nvSpPr>
          <p:cNvPr id="61" name="Título 5">
            <a:extLst>
              <a:ext uri="{FF2B5EF4-FFF2-40B4-BE49-F238E27FC236}">
                <a16:creationId xmlns:a16="http://schemas.microsoft.com/office/drawing/2014/main" id="{442791B2-804A-5BA3-58F3-D8DC7CC375F6}"/>
              </a:ext>
            </a:extLst>
          </p:cNvPr>
          <p:cNvSpPr txBox="1">
            <a:spLocks/>
          </p:cNvSpPr>
          <p:nvPr/>
        </p:nvSpPr>
        <p:spPr bwMode="gray">
          <a:xfrm>
            <a:off x="1243346" y="432001"/>
            <a:ext cx="7358396" cy="360000"/>
          </a:xfrm>
          <a:prstGeom prst="rect">
            <a:avLst/>
          </a:prstGeom>
        </p:spPr>
        <p:txBody>
          <a:bodyPr vert="horz" lIns="0" tIns="45720" rIns="0" bIns="45720" rtlCol="0" anchor="t">
            <a:noAutofit/>
          </a:bodyPr>
          <a:lstStyle>
            <a:lvl1pPr algn="l" defTabSz="914400" rtl="0" eaLnBrk="1" latinLnBrk="0" hangingPunct="1">
              <a:lnSpc>
                <a:spcPct val="90000"/>
              </a:lnSpc>
              <a:spcBef>
                <a:spcPct val="0"/>
              </a:spcBef>
              <a:buNone/>
              <a:defRPr lang="en-US" sz="2800" kern="1200" dirty="0">
                <a:solidFill>
                  <a:schemeClr val="bg1"/>
                </a:solidFill>
                <a:latin typeface="Georgia" panose="02040502050405020303" pitchFamily="18" charset="0"/>
                <a:ea typeface="+mj-ea"/>
                <a:cs typeface="+mj-cs"/>
              </a:defRPr>
            </a:lvl1pPr>
          </a:lstStyle>
          <a:p>
            <a:pPr marL="0" marR="0" lvl="0" indent="0" algn="just" defTabSz="914400"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ptos" panose="020B0004020202020204" pitchFamily="34" charset="0"/>
              <a:ea typeface="+mj-ea"/>
              <a:cs typeface="Arial" panose="020B0604020202020204" pitchFamily="34" charset="0"/>
            </a:endParaRPr>
          </a:p>
        </p:txBody>
      </p:sp>
      <p:sp>
        <p:nvSpPr>
          <p:cNvPr id="39" name="Título 5">
            <a:extLst>
              <a:ext uri="{FF2B5EF4-FFF2-40B4-BE49-F238E27FC236}">
                <a16:creationId xmlns:a16="http://schemas.microsoft.com/office/drawing/2014/main" id="{683173A7-1E98-0D26-DCC8-3549AE647656}"/>
              </a:ext>
            </a:extLst>
          </p:cNvPr>
          <p:cNvSpPr txBox="1">
            <a:spLocks/>
          </p:cNvSpPr>
          <p:nvPr/>
        </p:nvSpPr>
        <p:spPr bwMode="gray">
          <a:xfrm>
            <a:off x="1243346" y="432001"/>
            <a:ext cx="7358396" cy="360000"/>
          </a:xfrm>
          <a:prstGeom prst="rect">
            <a:avLst/>
          </a:prstGeom>
        </p:spPr>
        <p:txBody>
          <a:bodyPr vert="horz" lIns="0" tIns="45720" rIns="0" bIns="45720" rtlCol="0" anchor="t">
            <a:noAutofit/>
          </a:bodyPr>
          <a:lstStyle>
            <a:lvl1pPr algn="l" defTabSz="914400" rtl="0" eaLnBrk="1" latinLnBrk="0" hangingPunct="1">
              <a:lnSpc>
                <a:spcPct val="90000"/>
              </a:lnSpc>
              <a:spcBef>
                <a:spcPct val="0"/>
              </a:spcBef>
              <a:buNone/>
              <a:defRPr lang="en-US" sz="2800" kern="1200" dirty="0">
                <a:solidFill>
                  <a:schemeClr val="bg1"/>
                </a:solidFill>
                <a:latin typeface="Georgia" panose="02040502050405020303" pitchFamily="18" charset="0"/>
                <a:ea typeface="+mj-ea"/>
                <a:cs typeface="+mj-cs"/>
              </a:defRPr>
            </a:lvl1pPr>
          </a:lstStyle>
          <a:p>
            <a:pPr marL="0" marR="0" lvl="0" indent="0" algn="just" defTabSz="914400"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ptos" panose="020B0004020202020204" pitchFamily="34" charset="0"/>
              <a:ea typeface="+mj-ea"/>
              <a:cs typeface="Arial" panose="020B0604020202020204" pitchFamily="34" charset="0"/>
            </a:endParaRPr>
          </a:p>
        </p:txBody>
      </p:sp>
      <p:grpSp>
        <p:nvGrpSpPr>
          <p:cNvPr id="3" name="Group 2">
            <a:extLst>
              <a:ext uri="{FF2B5EF4-FFF2-40B4-BE49-F238E27FC236}">
                <a16:creationId xmlns:a16="http://schemas.microsoft.com/office/drawing/2014/main" id="{74966235-E5FD-0DBE-202E-22F3D6CB7804}"/>
              </a:ext>
            </a:extLst>
          </p:cNvPr>
          <p:cNvGrpSpPr/>
          <p:nvPr/>
        </p:nvGrpSpPr>
        <p:grpSpPr>
          <a:xfrm>
            <a:off x="4391962" y="2490301"/>
            <a:ext cx="3320593" cy="3382276"/>
            <a:chOff x="3018304" y="1378094"/>
            <a:chExt cx="3096667" cy="3096667"/>
          </a:xfrm>
        </p:grpSpPr>
        <p:sp>
          <p:nvSpPr>
            <p:cNvPr id="6" name="Block Arc 3">
              <a:extLst>
                <a:ext uri="{FF2B5EF4-FFF2-40B4-BE49-F238E27FC236}">
                  <a16:creationId xmlns:a16="http://schemas.microsoft.com/office/drawing/2014/main" id="{2F7F31B6-A032-BFDA-5567-09A2B00F78AB}"/>
                </a:ext>
              </a:extLst>
            </p:cNvPr>
            <p:cNvSpPr/>
            <p:nvPr/>
          </p:nvSpPr>
          <p:spPr>
            <a:xfrm rot="8261054">
              <a:off x="3018304" y="1378094"/>
              <a:ext cx="3096667" cy="3096667"/>
            </a:xfrm>
            <a:prstGeom prst="blockArc">
              <a:avLst>
                <a:gd name="adj1" fmla="val 13411126"/>
                <a:gd name="adj2" fmla="val 15919102"/>
                <a:gd name="adj3" fmla="val 6907"/>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prstClr val="black">
                    <a:lumMod val="75000"/>
                    <a:lumOff val="25000"/>
                  </a:prstClr>
                </a:solidFill>
                <a:effectLst/>
                <a:uLnTx/>
                <a:uFillTx/>
                <a:latin typeface="Aptos" panose="02110004020202020204"/>
                <a:ea typeface="맑은 고딕" panose="020B0503020000020004" pitchFamily="34" charset="-127"/>
                <a:cs typeface="+mn-cs"/>
              </a:endParaRPr>
            </a:p>
          </p:txBody>
        </p:sp>
        <p:sp>
          <p:nvSpPr>
            <p:cNvPr id="7" name="Block Arc 4">
              <a:extLst>
                <a:ext uri="{FF2B5EF4-FFF2-40B4-BE49-F238E27FC236}">
                  <a16:creationId xmlns:a16="http://schemas.microsoft.com/office/drawing/2014/main" id="{E05ACB6C-7550-76E1-3275-D68D946EB9D5}"/>
                </a:ext>
              </a:extLst>
            </p:cNvPr>
            <p:cNvSpPr/>
            <p:nvPr/>
          </p:nvSpPr>
          <p:spPr>
            <a:xfrm rot="19032052">
              <a:off x="3018304" y="1378094"/>
              <a:ext cx="3096667" cy="3096667"/>
            </a:xfrm>
            <a:prstGeom prst="blockArc">
              <a:avLst>
                <a:gd name="adj1" fmla="val 10899473"/>
                <a:gd name="adj2" fmla="val 13310838"/>
                <a:gd name="adj3" fmla="val 7042"/>
              </a:avLst>
            </a:prstGeom>
            <a:solidFill>
              <a:srgbClr val="070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prstClr val="black">
                    <a:lumMod val="75000"/>
                    <a:lumOff val="25000"/>
                  </a:prstClr>
                </a:solidFill>
                <a:effectLst/>
                <a:uLnTx/>
                <a:uFillTx/>
                <a:latin typeface="Aptos" panose="02110004020202020204"/>
                <a:ea typeface="맑은 고딕" panose="020B0503020000020004" pitchFamily="34" charset="-127"/>
                <a:cs typeface="+mn-cs"/>
              </a:endParaRPr>
            </a:p>
          </p:txBody>
        </p:sp>
        <p:grpSp>
          <p:nvGrpSpPr>
            <p:cNvPr id="8" name="Group 5">
              <a:extLst>
                <a:ext uri="{FF2B5EF4-FFF2-40B4-BE49-F238E27FC236}">
                  <a16:creationId xmlns:a16="http://schemas.microsoft.com/office/drawing/2014/main" id="{D0A6D5A6-7333-B6BD-2D9A-17DE1DEF90B3}"/>
                </a:ext>
              </a:extLst>
            </p:cNvPr>
            <p:cNvGrpSpPr/>
            <p:nvPr/>
          </p:nvGrpSpPr>
          <p:grpSpPr>
            <a:xfrm>
              <a:off x="3018304" y="1378094"/>
              <a:ext cx="3096667" cy="3096667"/>
              <a:chOff x="3018304" y="1378094"/>
              <a:chExt cx="3096667" cy="3096667"/>
            </a:xfrm>
          </p:grpSpPr>
          <p:sp>
            <p:nvSpPr>
              <p:cNvPr id="11" name="Block Arc 8">
                <a:extLst>
                  <a:ext uri="{FF2B5EF4-FFF2-40B4-BE49-F238E27FC236}">
                    <a16:creationId xmlns:a16="http://schemas.microsoft.com/office/drawing/2014/main" id="{E00710E5-A26F-DF62-BE4A-35C8C5465A91}"/>
                  </a:ext>
                </a:extLst>
              </p:cNvPr>
              <p:cNvSpPr/>
              <p:nvPr/>
            </p:nvSpPr>
            <p:spPr>
              <a:xfrm>
                <a:off x="3018304" y="1378094"/>
                <a:ext cx="3096667" cy="3096667"/>
              </a:xfrm>
              <a:prstGeom prst="blockArc">
                <a:avLst>
                  <a:gd name="adj1" fmla="val 10849205"/>
                  <a:gd name="adj2" fmla="val 13299261"/>
                  <a:gd name="adj3" fmla="val 705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prstClr val="black">
                      <a:lumMod val="75000"/>
                      <a:lumOff val="25000"/>
                    </a:prstClr>
                  </a:solidFill>
                  <a:effectLst/>
                  <a:uLnTx/>
                  <a:uFillTx/>
                  <a:latin typeface="Aptos" panose="02110004020202020204"/>
                  <a:ea typeface="맑은 고딕" panose="020B0503020000020004" pitchFamily="34" charset="-127"/>
                  <a:cs typeface="+mn-cs"/>
                </a:endParaRPr>
              </a:p>
            </p:txBody>
          </p:sp>
          <p:sp>
            <p:nvSpPr>
              <p:cNvPr id="12" name="Block Arc 9">
                <a:extLst>
                  <a:ext uri="{FF2B5EF4-FFF2-40B4-BE49-F238E27FC236}">
                    <a16:creationId xmlns:a16="http://schemas.microsoft.com/office/drawing/2014/main" id="{1BFFAD84-C270-5F22-6350-CCFA8CB9B248}"/>
                  </a:ext>
                </a:extLst>
              </p:cNvPr>
              <p:cNvSpPr/>
              <p:nvPr/>
            </p:nvSpPr>
            <p:spPr>
              <a:xfrm rot="5400000">
                <a:off x="3018304" y="1378094"/>
                <a:ext cx="3096667" cy="3096667"/>
              </a:xfrm>
              <a:prstGeom prst="blockArc">
                <a:avLst>
                  <a:gd name="adj1" fmla="val 13650321"/>
                  <a:gd name="adj2" fmla="val 16152490"/>
                  <a:gd name="adj3" fmla="val 7179"/>
                </a:avLst>
              </a:prstGeom>
              <a:solidFill>
                <a:srgbClr val="070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prstClr val="black">
                      <a:lumMod val="75000"/>
                      <a:lumOff val="25000"/>
                    </a:prstClr>
                  </a:solidFill>
                  <a:effectLst/>
                  <a:uLnTx/>
                  <a:uFillTx/>
                  <a:latin typeface="Aptos" panose="02110004020202020204"/>
                  <a:ea typeface="맑은 고딕" panose="020B0503020000020004" pitchFamily="34" charset="-127"/>
                  <a:cs typeface="+mn-cs"/>
                </a:endParaRPr>
              </a:p>
            </p:txBody>
          </p:sp>
        </p:grpSp>
        <p:sp>
          <p:nvSpPr>
            <p:cNvPr id="9" name="Block Arc 6">
              <a:extLst>
                <a:ext uri="{FF2B5EF4-FFF2-40B4-BE49-F238E27FC236}">
                  <a16:creationId xmlns:a16="http://schemas.microsoft.com/office/drawing/2014/main" id="{89F47CC3-41AF-8BCE-C0FB-C0478C64B994}"/>
                </a:ext>
              </a:extLst>
            </p:cNvPr>
            <p:cNvSpPr/>
            <p:nvPr/>
          </p:nvSpPr>
          <p:spPr>
            <a:xfrm rot="2854073">
              <a:off x="3018304" y="1378094"/>
              <a:ext cx="3096667" cy="3096667"/>
            </a:xfrm>
            <a:prstGeom prst="blockArc">
              <a:avLst>
                <a:gd name="adj1" fmla="val 10553048"/>
                <a:gd name="adj2" fmla="val 13271468"/>
                <a:gd name="adj3" fmla="val 7031"/>
              </a:avLst>
            </a:prstGeom>
            <a:solidFill>
              <a:srgbClr val="070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prstClr val="black">
                    <a:lumMod val="75000"/>
                    <a:lumOff val="25000"/>
                  </a:prstClr>
                </a:solidFill>
                <a:effectLst/>
                <a:uLnTx/>
                <a:uFillTx/>
                <a:latin typeface="Aptos" panose="02110004020202020204"/>
                <a:ea typeface="맑은 고딕" panose="020B0503020000020004" pitchFamily="34" charset="-127"/>
                <a:cs typeface="+mn-cs"/>
              </a:endParaRPr>
            </a:p>
          </p:txBody>
        </p:sp>
        <p:sp>
          <p:nvSpPr>
            <p:cNvPr id="10" name="Block Arc 7">
              <a:extLst>
                <a:ext uri="{FF2B5EF4-FFF2-40B4-BE49-F238E27FC236}">
                  <a16:creationId xmlns:a16="http://schemas.microsoft.com/office/drawing/2014/main" id="{37125E1D-2445-3711-BB15-2CEC6537384A}"/>
                </a:ext>
              </a:extLst>
            </p:cNvPr>
            <p:cNvSpPr/>
            <p:nvPr/>
          </p:nvSpPr>
          <p:spPr>
            <a:xfrm rot="2854464">
              <a:off x="3018304" y="1378094"/>
              <a:ext cx="3096667" cy="3096667"/>
            </a:xfrm>
            <a:prstGeom prst="blockArc">
              <a:avLst>
                <a:gd name="adj1" fmla="val 13411126"/>
                <a:gd name="adj2" fmla="val 16068669"/>
                <a:gd name="adj3" fmla="val 7199"/>
              </a:avLst>
            </a:prstGeom>
            <a:solidFill>
              <a:srgbClr val="156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prstClr val="black">
                    <a:lumMod val="75000"/>
                    <a:lumOff val="25000"/>
                  </a:prstClr>
                </a:solidFill>
                <a:effectLst/>
                <a:uLnTx/>
                <a:uFillTx/>
                <a:latin typeface="Aptos" panose="02110004020202020204"/>
                <a:ea typeface="맑은 고딕" panose="020B0503020000020004" pitchFamily="34" charset="-127"/>
                <a:cs typeface="+mn-cs"/>
              </a:endParaRPr>
            </a:p>
          </p:txBody>
        </p:sp>
      </p:grpSp>
      <p:grpSp>
        <p:nvGrpSpPr>
          <p:cNvPr id="13" name="Group 10">
            <a:extLst>
              <a:ext uri="{FF2B5EF4-FFF2-40B4-BE49-F238E27FC236}">
                <a16:creationId xmlns:a16="http://schemas.microsoft.com/office/drawing/2014/main" id="{94454405-C853-D24B-5A17-9928C282DEB6}"/>
              </a:ext>
            </a:extLst>
          </p:cNvPr>
          <p:cNvGrpSpPr/>
          <p:nvPr/>
        </p:nvGrpSpPr>
        <p:grpSpPr>
          <a:xfrm>
            <a:off x="8242886" y="863615"/>
            <a:ext cx="3971737" cy="1456734"/>
            <a:chOff x="6594719" y="1780040"/>
            <a:chExt cx="2757387" cy="1456734"/>
          </a:xfrm>
        </p:grpSpPr>
        <p:sp>
          <p:nvSpPr>
            <p:cNvPr id="14" name="TextBox 11">
              <a:extLst>
                <a:ext uri="{FF2B5EF4-FFF2-40B4-BE49-F238E27FC236}">
                  <a16:creationId xmlns:a16="http://schemas.microsoft.com/office/drawing/2014/main" id="{B4573CA8-8708-7965-3FC1-D6777704A119}"/>
                </a:ext>
              </a:extLst>
            </p:cNvPr>
            <p:cNvSpPr txBox="1"/>
            <p:nvPr/>
          </p:nvSpPr>
          <p:spPr>
            <a:xfrm>
              <a:off x="7194296" y="1780040"/>
              <a:ext cx="1405388" cy="280928"/>
            </a:xfrm>
            <a:prstGeom prst="roundRect">
              <a:avLst/>
            </a:prstGeom>
            <a:solidFill>
              <a:schemeClr val="tx2">
                <a:lumMod val="10000"/>
                <a:lumOff val="90000"/>
              </a:schemeClr>
            </a:solidFill>
            <a:ln w="19050">
              <a:solidFill>
                <a:srgbClr val="00206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altLang="ko-KR" sz="1000" b="1" i="0" u="none" strike="noStrike" kern="1200" cap="none" spc="0" normalizeH="0" baseline="0" noProof="0" dirty="0" err="1">
                  <a:ln>
                    <a:noFill/>
                  </a:ln>
                  <a:solidFill>
                    <a:srgbClr val="2F5597"/>
                  </a:solidFill>
                  <a:effectLst/>
                  <a:uLnTx/>
                  <a:uFillTx/>
                  <a:latin typeface="Aptos" panose="02110004020202020204"/>
                  <a:ea typeface="맑은 고딕" panose="020B0503020000020004" pitchFamily="34" charset="-127"/>
                  <a:cs typeface="Arial" pitchFamily="34" charset="0"/>
                </a:rPr>
                <a:t>Workstream</a:t>
              </a:r>
              <a:r>
                <a:rPr kumimoji="0" lang="es-MX" altLang="ko-KR" sz="1000" b="1" i="0" u="none" strike="noStrike" kern="1200" cap="none" spc="0" normalizeH="0" baseline="0" noProof="0" dirty="0">
                  <a:ln>
                    <a:noFill/>
                  </a:ln>
                  <a:solidFill>
                    <a:srgbClr val="2F5597"/>
                  </a:solidFill>
                  <a:effectLst/>
                  <a:uLnTx/>
                  <a:uFillTx/>
                  <a:latin typeface="Aptos" panose="02110004020202020204"/>
                  <a:ea typeface="맑은 고딕" panose="020B0503020000020004" pitchFamily="34" charset="-127"/>
                  <a:cs typeface="Arial" pitchFamily="34" charset="0"/>
                </a:rPr>
                <a:t> casos de uso</a:t>
              </a:r>
              <a:endParaRPr kumimoji="0" lang="ko-KR" altLang="en-US" sz="1000" b="1" i="0" u="none" strike="noStrike" kern="1200" cap="none" spc="0" normalizeH="0" baseline="0" noProof="0" dirty="0">
                <a:ln>
                  <a:noFill/>
                </a:ln>
                <a:solidFill>
                  <a:srgbClr val="2F5597"/>
                </a:solidFill>
                <a:effectLst/>
                <a:uLnTx/>
                <a:uFillTx/>
                <a:latin typeface="Aptos" panose="02110004020202020204"/>
                <a:ea typeface="맑은 고딕" panose="020B0503020000020004" pitchFamily="34" charset="-127"/>
                <a:cs typeface="Arial" pitchFamily="34" charset="0"/>
              </a:endParaRPr>
            </a:p>
          </p:txBody>
        </p:sp>
        <p:sp>
          <p:nvSpPr>
            <p:cNvPr id="15" name="TextBox 12">
              <a:extLst>
                <a:ext uri="{FF2B5EF4-FFF2-40B4-BE49-F238E27FC236}">
                  <a16:creationId xmlns:a16="http://schemas.microsoft.com/office/drawing/2014/main" id="{A7C9BA14-EE0F-F0C5-278B-547B61E7B71A}"/>
                </a:ext>
              </a:extLst>
            </p:cNvPr>
            <p:cNvSpPr txBox="1"/>
            <p:nvPr/>
          </p:nvSpPr>
          <p:spPr>
            <a:xfrm>
              <a:off x="6594719" y="2067223"/>
              <a:ext cx="2757387" cy="1169551"/>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Documentar</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1"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requisitos</a:t>
              </a:r>
              <a:r>
                <a:rPr kumimoji="1" lang="en-US" sz="1000" b="1"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1"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funcionales</a:t>
              </a:r>
              <a:r>
                <a:rPr kumimoji="1" lang="en-US" sz="1000" b="1"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de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cada</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caso</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de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uso</a:t>
              </a:r>
              <a:endPar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Analizar</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1"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dependencia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entre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caso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de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uso</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y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sistema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existente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000" b="0" i="0" u="none" strike="sng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Definir</a:t>
              </a:r>
              <a:r>
                <a:rPr kumimoji="1" lang="en-US" sz="1000" b="0" i="0" u="none" strike="sng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1" i="0" u="none" strike="sng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KPIs</a:t>
              </a:r>
              <a:r>
                <a:rPr kumimoji="1" lang="en-US" sz="1000" b="0" i="0" u="none" strike="sng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para </a:t>
              </a:r>
              <a:r>
                <a:rPr kumimoji="1" lang="en-US" sz="1000" b="0" i="0" u="none" strike="sng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validar</a:t>
              </a:r>
              <a:r>
                <a:rPr kumimoji="1" lang="en-US" sz="1000" b="0" i="0" u="none" strike="sng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sng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cada</a:t>
              </a:r>
              <a:r>
                <a:rPr kumimoji="1" lang="en-US" sz="1000" b="0" i="0" u="none" strike="sng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sng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caso</a:t>
              </a:r>
              <a:r>
                <a:rPr kumimoji="1" lang="en-US" sz="1000" b="0" i="0" u="none" strike="sng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de </a:t>
              </a:r>
              <a:r>
                <a:rPr kumimoji="1" lang="en-US" sz="1000" b="0" i="0" u="none" strike="sng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uso</a:t>
              </a:r>
              <a:r>
                <a:rPr kumimoji="1" lang="en-US" sz="1000" b="0" i="0" u="none" strike="sng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Crear </a:t>
              </a:r>
              <a:r>
                <a:rPr kumimoji="1" lang="en-US" sz="1000" b="1"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diagramas</a:t>
              </a:r>
              <a:r>
                <a:rPr kumimoji="1" lang="en-US" sz="1000" b="1"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de </a:t>
              </a:r>
              <a:r>
                <a:rPr kumimoji="1" lang="en-US" sz="1000" b="1"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flujo</a:t>
              </a:r>
              <a:r>
                <a:rPr kumimoji="1" lang="en-US" sz="1000" b="1"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de </a:t>
              </a:r>
              <a:r>
                <a:rPr kumimoji="1" lang="en-US" sz="1000" b="1"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procesos</a:t>
              </a:r>
              <a:r>
                <a:rPr kumimoji="1" lang="en-US" sz="1000" b="1"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para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cada</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caso</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de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uso</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Identificar</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caso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de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uso</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comune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entre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distinta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área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000" b="0" i="0" u="none" strike="sng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Definir</a:t>
              </a:r>
              <a:r>
                <a:rPr kumimoji="1" lang="en-US" sz="1000" b="0" i="0" u="none" strike="sng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roadmap de </a:t>
              </a:r>
              <a:r>
                <a:rPr kumimoji="1" lang="en-US" sz="1000" b="1" i="0" u="none" strike="sng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implementación</a:t>
              </a:r>
              <a:r>
                <a:rPr kumimoji="1" lang="en-US" sz="1000" b="1" i="0" u="none" strike="sng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1" i="0" u="none" strike="sng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progresiva</a:t>
              </a:r>
              <a:r>
                <a:rPr kumimoji="1" lang="en-US" sz="1000" b="1" i="0" u="none" strike="sng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Validar con stakeholders la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relevancia</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de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cada</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caso</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de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uso</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p>
          </p:txBody>
        </p:sp>
      </p:grpSp>
      <p:grpSp>
        <p:nvGrpSpPr>
          <p:cNvPr id="16" name="Group 13">
            <a:extLst>
              <a:ext uri="{FF2B5EF4-FFF2-40B4-BE49-F238E27FC236}">
                <a16:creationId xmlns:a16="http://schemas.microsoft.com/office/drawing/2014/main" id="{69879195-AC05-BB0C-1DAB-6D7368E52A98}"/>
              </a:ext>
            </a:extLst>
          </p:cNvPr>
          <p:cNvGrpSpPr/>
          <p:nvPr/>
        </p:nvGrpSpPr>
        <p:grpSpPr>
          <a:xfrm>
            <a:off x="8242886" y="2840915"/>
            <a:ext cx="3872648" cy="1761173"/>
            <a:chOff x="6881141" y="3286468"/>
            <a:chExt cx="2575602" cy="1761173"/>
          </a:xfrm>
        </p:grpSpPr>
        <p:sp>
          <p:nvSpPr>
            <p:cNvPr id="17" name="TextBox 14">
              <a:extLst>
                <a:ext uri="{FF2B5EF4-FFF2-40B4-BE49-F238E27FC236}">
                  <a16:creationId xmlns:a16="http://schemas.microsoft.com/office/drawing/2014/main" id="{9E7904D4-8D26-7F38-48E4-D00ECFAFB5E4}"/>
                </a:ext>
              </a:extLst>
            </p:cNvPr>
            <p:cNvSpPr txBox="1"/>
            <p:nvPr/>
          </p:nvSpPr>
          <p:spPr>
            <a:xfrm>
              <a:off x="7310877" y="3286468"/>
              <a:ext cx="1685099" cy="272415"/>
            </a:xfrm>
            <a:prstGeom prst="roundRect">
              <a:avLst/>
            </a:prstGeom>
            <a:solidFill>
              <a:schemeClr val="tx2">
                <a:lumMod val="10000"/>
                <a:lumOff val="90000"/>
              </a:schemeClr>
            </a:solidFill>
            <a:ln w="19050">
              <a:solidFill>
                <a:srgbClr val="00206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altLang="ko-KR" sz="1000" b="1" i="0" u="none" strike="noStrike" kern="1200" cap="none" spc="0" normalizeH="0" baseline="0" noProof="0" dirty="0">
                  <a:ln>
                    <a:noFill/>
                  </a:ln>
                  <a:solidFill>
                    <a:srgbClr val="2F5597"/>
                  </a:solidFill>
                  <a:effectLst/>
                  <a:uLnTx/>
                  <a:uFillTx/>
                  <a:latin typeface="Aptos" panose="02110004020202020204"/>
                  <a:ea typeface="맑은 고딕" panose="020B0503020000020004" pitchFamily="34" charset="-127"/>
                  <a:cs typeface="Arial" pitchFamily="34" charset="0"/>
                </a:rPr>
                <a:t>Alineamiento tecnológico de plataforma</a:t>
              </a:r>
              <a:endParaRPr kumimoji="0" lang="ko-KR" altLang="en-US" sz="1000" b="1" i="0" u="none" strike="noStrike" kern="1200" cap="none" spc="0" normalizeH="0" baseline="0" noProof="0" dirty="0">
                <a:ln>
                  <a:noFill/>
                </a:ln>
                <a:solidFill>
                  <a:srgbClr val="2F5597"/>
                </a:solidFill>
                <a:effectLst/>
                <a:uLnTx/>
                <a:uFillTx/>
                <a:latin typeface="Aptos" panose="02110004020202020204"/>
                <a:ea typeface="맑은 고딕" panose="020B0503020000020004" pitchFamily="34" charset="-127"/>
                <a:cs typeface="Arial" pitchFamily="34" charset="0"/>
              </a:endParaRPr>
            </a:p>
          </p:txBody>
        </p:sp>
        <p:sp>
          <p:nvSpPr>
            <p:cNvPr id="18" name="TextBox 15">
              <a:extLst>
                <a:ext uri="{FF2B5EF4-FFF2-40B4-BE49-F238E27FC236}">
                  <a16:creationId xmlns:a16="http://schemas.microsoft.com/office/drawing/2014/main" id="{A63674AD-2DD7-98AE-2E0C-9EFB06272368}"/>
                </a:ext>
              </a:extLst>
            </p:cNvPr>
            <p:cNvSpPr txBox="1"/>
            <p:nvPr/>
          </p:nvSpPr>
          <p:spPr>
            <a:xfrm>
              <a:off x="6881141" y="3570313"/>
              <a:ext cx="2575602" cy="1477328"/>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s-E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Identificar componentes tecnológicos disponibles en el ecosistema Santander.</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s-ES" sz="1000" b="1"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Validar el diseño tecnológico </a:t>
              </a:r>
              <a:r>
                <a:rPr kumimoji="1" lang="es-E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con áreas de IT y ciberseguridad.</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s-ES" sz="1000" b="1"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Mapear integraciones </a:t>
              </a:r>
              <a:r>
                <a:rPr kumimoji="1" lang="es-E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necesarias con sistemas internos y externo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000" b="0" i="0" u="none" strike="sng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Revisar</a:t>
              </a:r>
              <a:r>
                <a:rPr kumimoji="1" lang="en-US" sz="1000" b="0" i="0" u="none" strike="sng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1" i="0" u="none" strike="sng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cumplimiento</a:t>
              </a:r>
              <a:r>
                <a:rPr kumimoji="1" lang="en-US" sz="1000" b="1" i="0" u="none" strike="sng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1" i="0" u="none" strike="sng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normativo</a:t>
              </a:r>
              <a:r>
                <a:rPr kumimoji="1" lang="en-US" sz="1000" b="0" i="0" u="none" strike="sng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GDPR, PSD2, </a:t>
              </a:r>
              <a:r>
                <a:rPr kumimoji="1" lang="en-US" sz="1000" b="0" i="0" u="none" strike="sng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normativas</a:t>
              </a:r>
              <a:r>
                <a:rPr kumimoji="1" lang="en-US" sz="1000" b="0" i="0" u="none" strike="sng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sng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internas</a:t>
              </a:r>
              <a:r>
                <a:rPr kumimoji="1" lang="en-US" sz="1000" b="0" i="0" u="none" strike="sng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s-E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Documentar el modelo de solución de arquitectura detallado</a:t>
              </a:r>
              <a:r>
                <a:rPr kumimoji="1" lang="es-ES" sz="1000" b="0" i="1"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endParaRPr kumimoji="1" lang="en-US" sz="1000" b="0" i="1"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dirty="0">
                <a:ln>
                  <a:noFill/>
                </a:ln>
                <a:solidFill>
                  <a:srgbClr val="070F26"/>
                </a:solidFill>
                <a:effectLst/>
                <a:uLnTx/>
                <a:uFillTx/>
                <a:latin typeface="Aptos" panose="02110004020202020204"/>
                <a:ea typeface="맑은 고딕" panose="020B0503020000020004" pitchFamily="34" charset="-127"/>
                <a:cs typeface="Arial" pitchFamily="34" charset="0"/>
              </a:endParaRPr>
            </a:p>
          </p:txBody>
        </p:sp>
      </p:grpSp>
      <p:grpSp>
        <p:nvGrpSpPr>
          <p:cNvPr id="19" name="Group 16">
            <a:extLst>
              <a:ext uri="{FF2B5EF4-FFF2-40B4-BE49-F238E27FC236}">
                <a16:creationId xmlns:a16="http://schemas.microsoft.com/office/drawing/2014/main" id="{EDA1D92A-7544-A6D1-7A1A-A0A495E65053}"/>
              </a:ext>
            </a:extLst>
          </p:cNvPr>
          <p:cNvGrpSpPr/>
          <p:nvPr/>
        </p:nvGrpSpPr>
        <p:grpSpPr>
          <a:xfrm>
            <a:off x="8242884" y="4912425"/>
            <a:ext cx="3600423" cy="1086693"/>
            <a:chOff x="6372536" y="5022897"/>
            <a:chExt cx="2917695" cy="1086693"/>
          </a:xfrm>
        </p:grpSpPr>
        <p:sp>
          <p:nvSpPr>
            <p:cNvPr id="20" name="TextBox 17">
              <a:extLst>
                <a:ext uri="{FF2B5EF4-FFF2-40B4-BE49-F238E27FC236}">
                  <a16:creationId xmlns:a16="http://schemas.microsoft.com/office/drawing/2014/main" id="{1B31E616-BD1A-AB0E-71D1-405A4EDAA5D9}"/>
                </a:ext>
              </a:extLst>
            </p:cNvPr>
            <p:cNvSpPr txBox="1"/>
            <p:nvPr/>
          </p:nvSpPr>
          <p:spPr>
            <a:xfrm>
              <a:off x="7261174" y="5022897"/>
              <a:ext cx="1739070" cy="272415"/>
            </a:xfrm>
            <a:prstGeom prst="roundRect">
              <a:avLst/>
            </a:prstGeom>
            <a:solidFill>
              <a:schemeClr val="tx2">
                <a:lumMod val="10000"/>
                <a:lumOff val="90000"/>
              </a:schemeClr>
            </a:solidFill>
            <a:ln w="19050">
              <a:solidFill>
                <a:srgbClr val="00206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altLang="ko-KR" sz="1000" b="1" i="0" u="none" strike="noStrike" kern="1200" cap="none" spc="0" normalizeH="0" baseline="0" noProof="0" err="1">
                  <a:ln>
                    <a:noFill/>
                  </a:ln>
                  <a:solidFill>
                    <a:srgbClr val="2F5597"/>
                  </a:solidFill>
                  <a:effectLst/>
                  <a:uLnTx/>
                  <a:uFillTx/>
                  <a:latin typeface="Aptos" panose="02110004020202020204"/>
                  <a:ea typeface="맑은 고딕" panose="020B0503020000020004" pitchFamily="34" charset="-127"/>
                  <a:cs typeface="Arial" pitchFamily="34" charset="0"/>
                </a:rPr>
                <a:t>Workstream</a:t>
              </a:r>
              <a:r>
                <a:rPr kumimoji="0" lang="es-MX" altLang="ko-KR" sz="1000" b="1" i="0" u="none" strike="noStrike" kern="1200" cap="none" spc="0" normalizeH="0" baseline="0" noProof="0">
                  <a:ln>
                    <a:noFill/>
                  </a:ln>
                  <a:solidFill>
                    <a:srgbClr val="2F5597"/>
                  </a:solidFill>
                  <a:effectLst/>
                  <a:uLnTx/>
                  <a:uFillTx/>
                  <a:latin typeface="Aptos" panose="02110004020202020204"/>
                  <a:ea typeface="맑은 고딕" panose="020B0503020000020004" pitchFamily="34" charset="-127"/>
                  <a:cs typeface="Arial" pitchFamily="34" charset="0"/>
                </a:rPr>
                <a:t> plan de proyecto</a:t>
              </a:r>
              <a:endParaRPr kumimoji="0" lang="ko-KR" altLang="en-US" sz="1000" b="1" i="0" u="none" strike="noStrike" kern="1200" cap="none" spc="0" normalizeH="0" baseline="0" noProof="0">
                <a:ln>
                  <a:noFill/>
                </a:ln>
                <a:solidFill>
                  <a:srgbClr val="2F5597"/>
                </a:solidFill>
                <a:effectLst/>
                <a:uLnTx/>
                <a:uFillTx/>
                <a:latin typeface="Aptos" panose="02110004020202020204"/>
                <a:ea typeface="맑은 고딕" panose="020B0503020000020004" pitchFamily="34" charset="-127"/>
                <a:cs typeface="Arial" pitchFamily="34" charset="0"/>
              </a:endParaRPr>
            </a:p>
          </p:txBody>
        </p:sp>
        <p:sp>
          <p:nvSpPr>
            <p:cNvPr id="21" name="TextBox 18">
              <a:extLst>
                <a:ext uri="{FF2B5EF4-FFF2-40B4-BE49-F238E27FC236}">
                  <a16:creationId xmlns:a16="http://schemas.microsoft.com/office/drawing/2014/main" id="{F0EF5922-FC2E-8C8D-C192-D8A2E58010E6}"/>
                </a:ext>
              </a:extLst>
            </p:cNvPr>
            <p:cNvSpPr txBox="1"/>
            <p:nvPr/>
          </p:nvSpPr>
          <p:spPr>
            <a:xfrm>
              <a:off x="6372536" y="5401704"/>
              <a:ext cx="2917695" cy="707886"/>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s-E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Definir entregables claves del </a:t>
              </a:r>
              <a:r>
                <a:rPr kumimoji="1" lang="es-ES" sz="1000" b="1"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MVP</a:t>
              </a:r>
              <a:r>
                <a:rPr kumimoji="1" lang="es-E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s-E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Preparar la </a:t>
              </a:r>
              <a:r>
                <a:rPr kumimoji="1" lang="es-ES" sz="1000" b="1"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documentación de soporte </a:t>
              </a:r>
              <a:r>
                <a:rPr kumimoji="1" lang="es-E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manuales, diagramas, guías técnica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s-E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Planificar revisiones periódicas con </a:t>
              </a:r>
              <a:r>
                <a:rPr kumimoji="1" lang="es-E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stakeholders</a:t>
              </a:r>
              <a:r>
                <a:rPr kumimoji="1" lang="es-ES" sz="1000" b="0" i="1"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p>
          </p:txBody>
        </p:sp>
      </p:grpSp>
      <p:grpSp>
        <p:nvGrpSpPr>
          <p:cNvPr id="22" name="Group 19">
            <a:extLst>
              <a:ext uri="{FF2B5EF4-FFF2-40B4-BE49-F238E27FC236}">
                <a16:creationId xmlns:a16="http://schemas.microsoft.com/office/drawing/2014/main" id="{CF5B4A73-6517-764F-B9A1-8F384F9FEFB9}"/>
              </a:ext>
            </a:extLst>
          </p:cNvPr>
          <p:cNvGrpSpPr/>
          <p:nvPr/>
        </p:nvGrpSpPr>
        <p:grpSpPr>
          <a:xfrm>
            <a:off x="-48648" y="863615"/>
            <a:ext cx="5148009" cy="1916393"/>
            <a:chOff x="-552319" y="1778103"/>
            <a:chExt cx="3248323" cy="1916393"/>
          </a:xfrm>
        </p:grpSpPr>
        <p:sp>
          <p:nvSpPr>
            <p:cNvPr id="23" name="TextBox 20">
              <a:extLst>
                <a:ext uri="{FF2B5EF4-FFF2-40B4-BE49-F238E27FC236}">
                  <a16:creationId xmlns:a16="http://schemas.microsoft.com/office/drawing/2014/main" id="{F731EC74-8DA1-B142-E735-6219035F72BA}"/>
                </a:ext>
              </a:extLst>
            </p:cNvPr>
            <p:cNvSpPr txBox="1"/>
            <p:nvPr/>
          </p:nvSpPr>
          <p:spPr>
            <a:xfrm>
              <a:off x="105914" y="1778103"/>
              <a:ext cx="1448068" cy="280928"/>
            </a:xfrm>
            <a:prstGeom prst="roundRect">
              <a:avLst/>
            </a:prstGeom>
            <a:solidFill>
              <a:schemeClr val="tx2">
                <a:lumMod val="10000"/>
                <a:lumOff val="90000"/>
              </a:schemeClr>
            </a:solidFill>
            <a:ln w="19050">
              <a:solidFill>
                <a:srgbClr val="00206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altLang="ko-KR" sz="1050" b="1" i="0" u="none" strike="noStrike" kern="1200" cap="none" spc="0" normalizeH="0" baseline="0" noProof="0" dirty="0">
                  <a:ln>
                    <a:noFill/>
                  </a:ln>
                  <a:solidFill>
                    <a:srgbClr val="2F5597"/>
                  </a:solidFill>
                  <a:effectLst/>
                  <a:uLnTx/>
                  <a:uFillTx/>
                  <a:latin typeface="Aptos" panose="020B0004020202020204" pitchFamily="34" charset="0"/>
                  <a:ea typeface="맑은 고딕" panose="020B0503020000020004" pitchFamily="34" charset="-127"/>
                  <a:cs typeface="+mn-cs"/>
                </a:rPr>
                <a:t>Análisis y toma de requerimientos</a:t>
              </a:r>
              <a:endParaRPr kumimoji="0" lang="ko-KR" altLang="en-US" sz="1050" b="1" i="0" u="none" strike="noStrike" kern="1200" cap="none" spc="0" normalizeH="0" baseline="0" noProof="0" dirty="0">
                <a:ln>
                  <a:noFill/>
                </a:ln>
                <a:solidFill>
                  <a:srgbClr val="2F5597"/>
                </a:solidFill>
                <a:effectLst/>
                <a:uLnTx/>
                <a:uFillTx/>
                <a:latin typeface="Aptos" panose="020B0004020202020204" pitchFamily="34" charset="0"/>
                <a:ea typeface="맑은 고딕" panose="020B0503020000020004" pitchFamily="34" charset="-127"/>
                <a:cs typeface="+mn-cs"/>
              </a:endParaRPr>
            </a:p>
          </p:txBody>
        </p:sp>
        <p:sp>
          <p:nvSpPr>
            <p:cNvPr id="24" name="TextBox 21">
              <a:extLst>
                <a:ext uri="{FF2B5EF4-FFF2-40B4-BE49-F238E27FC236}">
                  <a16:creationId xmlns:a16="http://schemas.microsoft.com/office/drawing/2014/main" id="{F8144F56-D35A-A385-6711-0BC07EEA64DF}"/>
                </a:ext>
              </a:extLst>
            </p:cNvPr>
            <p:cNvSpPr txBox="1"/>
            <p:nvPr/>
          </p:nvSpPr>
          <p:spPr>
            <a:xfrm>
              <a:off x="-552319" y="2063280"/>
              <a:ext cx="3248323" cy="1631216"/>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Solicitar</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información</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sobre</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p>
            <a:p>
              <a:pPr marL="628650" marR="0" lvl="1" indent="-171450" algn="just" defTabSz="914400" rtl="0" eaLnBrk="1" fontAlgn="auto" latinLnBrk="0" hangingPunct="1">
                <a:lnSpc>
                  <a:spcPct val="100000"/>
                </a:lnSpc>
                <a:spcBef>
                  <a:spcPts val="0"/>
                </a:spcBef>
                <a:spcAft>
                  <a:spcPts val="0"/>
                </a:spcAft>
                <a:buClrTx/>
                <a:buSzTx/>
                <a:buFontTx/>
                <a:buChar char="-"/>
                <a:tabLst/>
                <a:defRPr/>
              </a:pP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Fuentes de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dato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p>
            <a:p>
              <a:pPr marL="628650" marR="0" lvl="1" indent="-171450" algn="just" defTabSz="914400" rtl="0" eaLnBrk="1" fontAlgn="auto" latinLnBrk="0" hangingPunct="1">
                <a:lnSpc>
                  <a:spcPct val="100000"/>
                </a:lnSpc>
                <a:spcBef>
                  <a:spcPts val="0"/>
                </a:spcBef>
                <a:spcAft>
                  <a:spcPts val="0"/>
                </a:spcAft>
                <a:buClrTx/>
                <a:buSzTx/>
                <a:buFontTx/>
                <a:buChar char="-"/>
                <a:tabLst/>
                <a:defRPr/>
              </a:pP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Proceso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de ingesta de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dato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Sistemas de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procesamiento</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p>
            <a:p>
              <a:pPr marL="628650" marR="0" lvl="1" indent="-171450" algn="just" defTabSz="914400" rtl="0" eaLnBrk="1" fontAlgn="auto" latinLnBrk="0" hangingPunct="1">
                <a:lnSpc>
                  <a:spcPct val="100000"/>
                </a:lnSpc>
                <a:spcBef>
                  <a:spcPts val="0"/>
                </a:spcBef>
                <a:spcAft>
                  <a:spcPts val="0"/>
                </a:spcAft>
                <a:buClrTx/>
                <a:buSzTx/>
                <a:buFontTx/>
                <a:buChar char="-"/>
                <a:tabLst/>
                <a:defRPr/>
              </a:pP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lmacenamiento y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destino</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de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dato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p>
            <a:p>
              <a:pPr marL="628650" marR="0" lvl="1" indent="-171450" algn="just" defTabSz="914400" rtl="0" eaLnBrk="1" fontAlgn="auto" latinLnBrk="0" hangingPunct="1">
                <a:lnSpc>
                  <a:spcPct val="100000"/>
                </a:lnSpc>
                <a:spcBef>
                  <a:spcPts val="0"/>
                </a:spcBef>
                <a:spcAft>
                  <a:spcPts val="0"/>
                </a:spcAft>
                <a:buClrTx/>
                <a:buSzTx/>
                <a:buFontTx/>
                <a:buChar char="-"/>
                <a:tabLst/>
                <a:defRPr/>
              </a:pP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Gobernanza</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y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cumplimiento</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p>
            <a:p>
              <a:pPr marL="628650" marR="0" lvl="1" indent="-171450" algn="just" defTabSz="914400" rtl="0" eaLnBrk="1" fontAlgn="auto" latinLnBrk="0" hangingPunct="1">
                <a:lnSpc>
                  <a:spcPct val="100000"/>
                </a:lnSpc>
                <a:spcBef>
                  <a:spcPts val="0"/>
                </a:spcBef>
                <a:spcAft>
                  <a:spcPts val="0"/>
                </a:spcAft>
                <a:buClrTx/>
                <a:buSzTx/>
                <a:buFontTx/>
                <a:buChar char="-"/>
                <a:tabLst/>
                <a:defRPr/>
              </a:pP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Consumo</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y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explotación</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de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dato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p>
            <a:p>
              <a:pPr marL="628650" marR="0" lvl="1" indent="-171450" algn="just" defTabSz="914400" rtl="0" eaLnBrk="1" fontAlgn="auto" latinLnBrk="0" hangingPunct="1">
                <a:lnSpc>
                  <a:spcPct val="100000"/>
                </a:lnSpc>
                <a:spcBef>
                  <a:spcPts val="0"/>
                </a:spcBef>
                <a:spcAft>
                  <a:spcPts val="0"/>
                </a:spcAft>
                <a:buClrTx/>
                <a:buSzTx/>
                <a:buFontTx/>
                <a:buChar char="-"/>
                <a:tabLst/>
                <a:defRPr/>
              </a:pP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Arquitectura</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end to end y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bloque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funcionale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FMIS / SANAR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Conocimiento</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detallado</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arquitectura</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y workflow del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dato</a:t>
              </a:r>
              <a:endPar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Gestión</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y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almacenamiento</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de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dato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histórico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relevante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escenario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Identificar</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Modelo</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Semántico</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Ontología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endParaRPr kumimoji="0" lang="ko-KR" altLang="en-US" sz="1000" b="0" i="0" u="none" strike="noStrike" kern="1200" cap="none" spc="0" normalizeH="0" baseline="0" noProof="0" dirty="0">
                <a:ln>
                  <a:noFill/>
                </a:ln>
                <a:solidFill>
                  <a:srgbClr val="070F26"/>
                </a:solidFill>
                <a:effectLst/>
                <a:uLnTx/>
                <a:uFillTx/>
                <a:latin typeface="Aptos" panose="02110004020202020204"/>
                <a:ea typeface="맑은 고딕" panose="020B0503020000020004" pitchFamily="34" charset="-127"/>
                <a:cs typeface="Arial" pitchFamily="34" charset="0"/>
              </a:endParaRPr>
            </a:p>
          </p:txBody>
        </p:sp>
      </p:grpSp>
      <p:grpSp>
        <p:nvGrpSpPr>
          <p:cNvPr id="25" name="Group 22">
            <a:extLst>
              <a:ext uri="{FF2B5EF4-FFF2-40B4-BE49-F238E27FC236}">
                <a16:creationId xmlns:a16="http://schemas.microsoft.com/office/drawing/2014/main" id="{3D9F1380-CABD-E629-79E9-D3F3E87C0D4A}"/>
              </a:ext>
            </a:extLst>
          </p:cNvPr>
          <p:cNvGrpSpPr/>
          <p:nvPr/>
        </p:nvGrpSpPr>
        <p:grpSpPr>
          <a:xfrm>
            <a:off x="-48649" y="2854641"/>
            <a:ext cx="4381293" cy="1758256"/>
            <a:chOff x="-125668" y="3265647"/>
            <a:chExt cx="2714810" cy="1758256"/>
          </a:xfrm>
        </p:grpSpPr>
        <p:sp>
          <p:nvSpPr>
            <p:cNvPr id="26" name="TextBox 23">
              <a:extLst>
                <a:ext uri="{FF2B5EF4-FFF2-40B4-BE49-F238E27FC236}">
                  <a16:creationId xmlns:a16="http://schemas.microsoft.com/office/drawing/2014/main" id="{E1ABE236-6826-38AF-A418-DDE27E839B27}"/>
                </a:ext>
              </a:extLst>
            </p:cNvPr>
            <p:cNvSpPr txBox="1"/>
            <p:nvPr/>
          </p:nvSpPr>
          <p:spPr>
            <a:xfrm>
              <a:off x="468174" y="3265647"/>
              <a:ext cx="1499194" cy="280928"/>
            </a:xfrm>
            <a:prstGeom prst="roundRect">
              <a:avLst/>
            </a:prstGeom>
            <a:solidFill>
              <a:schemeClr val="tx2">
                <a:lumMod val="10000"/>
                <a:lumOff val="90000"/>
              </a:schemeClr>
            </a:solidFill>
            <a:ln w="19050">
              <a:solidFill>
                <a:srgbClr val="00206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altLang="ko-KR" sz="1050" b="1" i="0" u="none" strike="noStrike" kern="1200" cap="none" spc="0" normalizeH="0" baseline="0" noProof="0" dirty="0">
                  <a:ln>
                    <a:noFill/>
                  </a:ln>
                  <a:solidFill>
                    <a:srgbClr val="2F5597"/>
                  </a:solidFill>
                  <a:effectLst/>
                  <a:uLnTx/>
                  <a:uFillTx/>
                  <a:latin typeface="Aptos" panose="02110004020202020204"/>
                  <a:ea typeface="맑은 고딕" panose="020B0503020000020004" pitchFamily="34" charset="-127"/>
                  <a:cs typeface="Arial" pitchFamily="34" charset="0"/>
                </a:rPr>
                <a:t>Identificación y gestión de errores</a:t>
              </a:r>
              <a:endParaRPr kumimoji="0" lang="ko-KR" altLang="en-US" sz="1050" b="1" i="0" u="none" strike="noStrike" kern="1200" cap="none" spc="0" normalizeH="0" baseline="0" noProof="0" dirty="0">
                <a:ln>
                  <a:noFill/>
                </a:ln>
                <a:solidFill>
                  <a:srgbClr val="2F5597"/>
                </a:solidFill>
                <a:effectLst/>
                <a:uLnTx/>
                <a:uFillTx/>
                <a:latin typeface="Aptos" panose="02110004020202020204"/>
                <a:ea typeface="맑은 고딕" panose="020B0503020000020004" pitchFamily="34" charset="-127"/>
                <a:cs typeface="Arial" pitchFamily="34" charset="0"/>
              </a:endParaRPr>
            </a:p>
          </p:txBody>
        </p:sp>
        <p:sp>
          <p:nvSpPr>
            <p:cNvPr id="27" name="TextBox 24">
              <a:extLst>
                <a:ext uri="{FF2B5EF4-FFF2-40B4-BE49-F238E27FC236}">
                  <a16:creationId xmlns:a16="http://schemas.microsoft.com/office/drawing/2014/main" id="{6B75C231-3F2C-47D3-304E-39527E32D47D}"/>
                </a:ext>
              </a:extLst>
            </p:cNvPr>
            <p:cNvSpPr txBox="1"/>
            <p:nvPr/>
          </p:nvSpPr>
          <p:spPr>
            <a:xfrm>
              <a:off x="-125668" y="3546575"/>
              <a:ext cx="2714810" cy="1477328"/>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Analizar</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proceso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actuale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para </a:t>
              </a:r>
              <a:r>
                <a:rPr kumimoji="1" lang="en-US" sz="1000" b="1"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localizar</a:t>
              </a:r>
              <a:r>
                <a:rPr kumimoji="1" lang="en-US" sz="1000" b="1"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puntos de </a:t>
              </a:r>
              <a:r>
                <a:rPr kumimoji="1" lang="en-US" sz="1000" b="1"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fallo</a:t>
              </a:r>
              <a:r>
                <a:rPr kumimoji="1" lang="en-US" sz="1000" b="1"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Comparar</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práctica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interna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con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estándare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de mercado.</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Elaborar</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listado</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preliminar</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de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brecha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1"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GAP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Revisar</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1"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reglas</a:t>
              </a:r>
              <a:r>
                <a:rPr kumimoji="1" lang="en-US" sz="1000" b="1"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y </a:t>
              </a:r>
              <a:r>
                <a:rPr kumimoji="1" lang="en-US" sz="1000" b="1"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criterios</a:t>
              </a:r>
              <a:r>
                <a:rPr kumimoji="1" lang="en-US" sz="1000" b="1"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manuale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y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automático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Identificar</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posible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1"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solucione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Claisificación</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de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requerimiento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granularidad</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y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nivel</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de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remediación</a:t>
              </a:r>
              <a:endPar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Evaluar</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1"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calidad</a:t>
              </a:r>
              <a:r>
                <a:rPr kumimoji="1" lang="en-US" sz="1000" b="1"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de </a:t>
              </a:r>
              <a:r>
                <a:rPr kumimoji="1" lang="en-US" sz="1000" b="1"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los</a:t>
              </a:r>
              <a:r>
                <a:rPr kumimoji="1" lang="en-US" sz="1000" b="1"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1"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datos</a:t>
              </a:r>
              <a:r>
                <a:rPr kumimoji="1" lang="en-US" sz="1000" b="1"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de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origen</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000" b="1"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Validar</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con stakeholders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hallazgo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iniciale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y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su</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priorización</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Identificar</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1000" b="1"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duplicidade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entre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fuente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y definer </a:t>
              </a:r>
              <a:r>
                <a:rPr kumimoji="1" lang="en-US" sz="1000" b="0"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reglas</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 de </a:t>
              </a:r>
              <a:r>
                <a:rPr kumimoji="1" lang="en-US" sz="1000" b="1" i="0" u="none" strike="noStrike" kern="0" cap="none" spc="0" normalizeH="0" baseline="0" noProof="0" dirty="0" err="1">
                  <a:ln>
                    <a:noFill/>
                  </a:ln>
                  <a:solidFill>
                    <a:srgbClr val="070F26"/>
                  </a:solidFill>
                  <a:effectLst/>
                  <a:uLnTx/>
                  <a:uFillTx/>
                  <a:latin typeface="Aptos" panose="020B0004020202020204" pitchFamily="34" charset="0"/>
                  <a:ea typeface="+mn-ea"/>
                  <a:cs typeface="Calibri" panose="020F0502020204030204" pitchFamily="34" charset="0"/>
                </a:rPr>
                <a:t>consolidación</a:t>
              </a:r>
              <a:r>
                <a:rPr kumimoji="1" lang="en-US" sz="1000" b="0" i="0" u="none" strike="noStrike" kern="0" cap="none" spc="0" normalizeH="0" baseline="0" noProof="0" dirty="0">
                  <a:ln>
                    <a:noFill/>
                  </a:ln>
                  <a:solidFill>
                    <a:srgbClr val="070F26"/>
                  </a:solidFill>
                  <a:effectLst/>
                  <a:uLnTx/>
                  <a:uFillTx/>
                  <a:latin typeface="Aptos" panose="020B0004020202020204" pitchFamily="34" charset="0"/>
                  <a:ea typeface="+mn-ea"/>
                  <a:cs typeface="Calibri" panose="020F0502020204030204" pitchFamily="34" charset="0"/>
                </a:rPr>
                <a:t>.</a:t>
              </a:r>
              <a:endParaRPr kumimoji="0" lang="ko-KR" altLang="en-US" sz="1000" b="0" i="0" u="none" strike="noStrike" kern="1200" cap="none" spc="0" normalizeH="0" baseline="0" noProof="0" dirty="0">
                <a:ln>
                  <a:noFill/>
                </a:ln>
                <a:solidFill>
                  <a:srgbClr val="070F26"/>
                </a:solidFill>
                <a:effectLst/>
                <a:uLnTx/>
                <a:uFillTx/>
                <a:latin typeface="Aptos" panose="02110004020202020204"/>
                <a:ea typeface="맑은 고딕" panose="020B0503020000020004" pitchFamily="34" charset="-127"/>
                <a:cs typeface="Arial" pitchFamily="34" charset="0"/>
              </a:endParaRPr>
            </a:p>
          </p:txBody>
        </p:sp>
      </p:grpSp>
      <p:grpSp>
        <p:nvGrpSpPr>
          <p:cNvPr id="28" name="Group 25">
            <a:extLst>
              <a:ext uri="{FF2B5EF4-FFF2-40B4-BE49-F238E27FC236}">
                <a16:creationId xmlns:a16="http://schemas.microsoft.com/office/drawing/2014/main" id="{D8FB15C3-F0DE-0A30-EB4C-CD58113D2586}"/>
              </a:ext>
            </a:extLst>
          </p:cNvPr>
          <p:cNvGrpSpPr/>
          <p:nvPr/>
        </p:nvGrpSpPr>
        <p:grpSpPr>
          <a:xfrm>
            <a:off x="-28631" y="4927548"/>
            <a:ext cx="4361275" cy="1635785"/>
            <a:chOff x="-477208" y="5010891"/>
            <a:chExt cx="3013736" cy="1635785"/>
          </a:xfrm>
        </p:grpSpPr>
        <p:sp>
          <p:nvSpPr>
            <p:cNvPr id="29" name="TextBox 26">
              <a:extLst>
                <a:ext uri="{FF2B5EF4-FFF2-40B4-BE49-F238E27FC236}">
                  <a16:creationId xmlns:a16="http://schemas.microsoft.com/office/drawing/2014/main" id="{DDC4B32A-09F4-2065-51DB-1BE40487BA23}"/>
                </a:ext>
              </a:extLst>
            </p:cNvPr>
            <p:cNvSpPr txBox="1"/>
            <p:nvPr/>
          </p:nvSpPr>
          <p:spPr>
            <a:xfrm>
              <a:off x="-2583" y="5010891"/>
              <a:ext cx="2019503" cy="272415"/>
            </a:xfrm>
            <a:prstGeom prst="roundRect">
              <a:avLst/>
            </a:prstGeom>
            <a:solidFill>
              <a:schemeClr val="tx2">
                <a:lumMod val="10000"/>
                <a:lumOff val="90000"/>
              </a:schemeClr>
            </a:solidFill>
            <a:ln w="19050">
              <a:solidFill>
                <a:srgbClr val="00206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altLang="ko-KR" sz="1000" b="1" i="0" u="none" strike="noStrike" kern="1200" cap="none" spc="0" normalizeH="0" baseline="0" noProof="0">
                  <a:ln>
                    <a:noFill/>
                  </a:ln>
                  <a:solidFill>
                    <a:srgbClr val="2F5597"/>
                  </a:solidFill>
                  <a:effectLst/>
                  <a:uLnTx/>
                  <a:uFillTx/>
                  <a:latin typeface="Aptos" panose="02110004020202020204"/>
                  <a:ea typeface="맑은 고딕" panose="020B0503020000020004" pitchFamily="34" charset="-127"/>
                  <a:cs typeface="Arial" pitchFamily="34" charset="0"/>
                </a:rPr>
                <a:t>Soporte tecnológico y requerimientos </a:t>
              </a:r>
              <a:r>
                <a:rPr kumimoji="0" lang="es-MX" altLang="ko-KR" sz="1000" b="1" i="0" u="none" strike="noStrike" kern="1200" cap="none" spc="0" normalizeH="0" baseline="0" noProof="0" err="1">
                  <a:ln>
                    <a:noFill/>
                  </a:ln>
                  <a:solidFill>
                    <a:srgbClr val="2F5597"/>
                  </a:solidFill>
                  <a:effectLst/>
                  <a:uLnTx/>
                  <a:uFillTx/>
                  <a:latin typeface="Aptos" panose="02110004020202020204"/>
                  <a:ea typeface="맑은 고딕" panose="020B0503020000020004" pitchFamily="34" charset="-127"/>
                  <a:cs typeface="Arial" pitchFamily="34" charset="0"/>
                </a:rPr>
                <a:t>chatbot</a:t>
              </a:r>
              <a:endParaRPr kumimoji="0" lang="ko-KR" altLang="en-US" sz="1000" b="1" i="0" u="none" strike="noStrike" kern="1200" cap="none" spc="0" normalizeH="0" baseline="0" noProof="0">
                <a:ln>
                  <a:noFill/>
                </a:ln>
                <a:solidFill>
                  <a:srgbClr val="2F5597"/>
                </a:solidFill>
                <a:effectLst/>
                <a:uLnTx/>
                <a:uFillTx/>
                <a:latin typeface="Aptos" panose="02110004020202020204"/>
                <a:ea typeface="맑은 고딕" panose="020B0503020000020004" pitchFamily="34" charset="-127"/>
                <a:cs typeface="Arial" pitchFamily="34" charset="0"/>
              </a:endParaRPr>
            </a:p>
          </p:txBody>
        </p:sp>
        <p:sp>
          <p:nvSpPr>
            <p:cNvPr id="30" name="TextBox 27">
              <a:extLst>
                <a:ext uri="{FF2B5EF4-FFF2-40B4-BE49-F238E27FC236}">
                  <a16:creationId xmlns:a16="http://schemas.microsoft.com/office/drawing/2014/main" id="{1FAB0177-42FC-39BD-C4C6-68B4409C1B3A}"/>
                </a:ext>
              </a:extLst>
            </p:cNvPr>
            <p:cNvSpPr txBox="1"/>
            <p:nvPr/>
          </p:nvSpPr>
          <p:spPr>
            <a:xfrm>
              <a:off x="-477208" y="5292459"/>
              <a:ext cx="3013736" cy="1354217"/>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900" b="0" i="0" u="none" strike="noStrike" kern="0" cap="none" spc="0" normalizeH="0" baseline="0" noProof="0" err="1">
                  <a:ln>
                    <a:noFill/>
                  </a:ln>
                  <a:solidFill>
                    <a:srgbClr val="070F26"/>
                  </a:solidFill>
                  <a:effectLst/>
                  <a:uLnTx/>
                  <a:uFillTx/>
                  <a:latin typeface="Aptos" panose="020B0004020202020204" pitchFamily="34" charset="0"/>
                  <a:ea typeface="+mn-ea"/>
                  <a:cs typeface="Calibri" panose="020F0502020204030204" pitchFamily="34" charset="0"/>
                </a:rPr>
                <a:t>Definir</a:t>
              </a:r>
              <a:r>
                <a:rPr kumimoji="1" lang="en-US" sz="900" b="0"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900" b="1" i="0" u="none" strike="noStrike" kern="0" cap="none" spc="0" normalizeH="0" baseline="0" noProof="0" err="1">
                  <a:ln>
                    <a:noFill/>
                  </a:ln>
                  <a:solidFill>
                    <a:srgbClr val="070F26"/>
                  </a:solidFill>
                  <a:effectLst/>
                  <a:uLnTx/>
                  <a:uFillTx/>
                  <a:latin typeface="Aptos" panose="020B0004020202020204" pitchFamily="34" charset="0"/>
                  <a:ea typeface="+mn-ea"/>
                  <a:cs typeface="Calibri" panose="020F0502020204030204" pitchFamily="34" charset="0"/>
                </a:rPr>
                <a:t>escenarios</a:t>
              </a:r>
              <a:r>
                <a:rPr kumimoji="1" lang="en-US" sz="900" b="1"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 de </a:t>
              </a:r>
              <a:r>
                <a:rPr kumimoji="1" lang="en-US" sz="900" b="1" i="0" u="none" strike="noStrike" kern="0" cap="none" spc="0" normalizeH="0" baseline="0" noProof="0" err="1">
                  <a:ln>
                    <a:noFill/>
                  </a:ln>
                  <a:solidFill>
                    <a:srgbClr val="070F26"/>
                  </a:solidFill>
                  <a:effectLst/>
                  <a:uLnTx/>
                  <a:uFillTx/>
                  <a:latin typeface="Aptos" panose="020B0004020202020204" pitchFamily="34" charset="0"/>
                  <a:ea typeface="+mn-ea"/>
                  <a:cs typeface="Calibri" panose="020F0502020204030204" pitchFamily="34" charset="0"/>
                </a:rPr>
                <a:t>uso</a:t>
              </a:r>
              <a:r>
                <a:rPr kumimoji="1" lang="en-US" sz="900" b="1"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900" b="0"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del chatbo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900" b="0" i="0" u="none" strike="noStrike" kern="0" cap="none" spc="0" normalizeH="0" baseline="0" noProof="0" err="1">
                  <a:ln>
                    <a:noFill/>
                  </a:ln>
                  <a:solidFill>
                    <a:srgbClr val="070F26"/>
                  </a:solidFill>
                  <a:effectLst/>
                  <a:uLnTx/>
                  <a:uFillTx/>
                  <a:latin typeface="Aptos" panose="020B0004020202020204" pitchFamily="34" charset="0"/>
                  <a:ea typeface="+mn-ea"/>
                  <a:cs typeface="Calibri" panose="020F0502020204030204" pitchFamily="34" charset="0"/>
                </a:rPr>
                <a:t>Prepara</a:t>
              </a:r>
              <a:r>
                <a:rPr kumimoji="1" lang="en-US" sz="900" b="0"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 FAQs para </a:t>
              </a:r>
              <a:r>
                <a:rPr kumimoji="1" lang="en-US" sz="900" b="1" i="0" u="none" strike="noStrike" kern="0" cap="none" spc="0" normalizeH="0" baseline="0" noProof="0" err="1">
                  <a:ln>
                    <a:noFill/>
                  </a:ln>
                  <a:solidFill>
                    <a:srgbClr val="070F26"/>
                  </a:solidFill>
                  <a:effectLst/>
                  <a:uLnTx/>
                  <a:uFillTx/>
                  <a:latin typeface="Aptos" panose="020B0004020202020204" pitchFamily="34" charset="0"/>
                  <a:ea typeface="+mn-ea"/>
                  <a:cs typeface="Calibri" panose="020F0502020204030204" pitchFamily="34" charset="0"/>
                </a:rPr>
                <a:t>entrenar</a:t>
              </a:r>
              <a:r>
                <a:rPr kumimoji="1" lang="en-US" sz="900" b="1"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 al </a:t>
              </a:r>
              <a:r>
                <a:rPr kumimoji="1" lang="en-US" sz="900" b="1" i="0" u="none" strike="noStrike" kern="0" cap="none" spc="0" normalizeH="0" baseline="0" noProof="0" err="1">
                  <a:ln>
                    <a:noFill/>
                  </a:ln>
                  <a:solidFill>
                    <a:srgbClr val="070F26"/>
                  </a:solidFill>
                  <a:effectLst/>
                  <a:uLnTx/>
                  <a:uFillTx/>
                  <a:latin typeface="Aptos" panose="020B0004020202020204" pitchFamily="34" charset="0"/>
                  <a:ea typeface="+mn-ea"/>
                  <a:cs typeface="Calibri" panose="020F0502020204030204" pitchFamily="34" charset="0"/>
                </a:rPr>
                <a:t>modelo</a:t>
              </a:r>
              <a:r>
                <a:rPr kumimoji="1" lang="en-US" sz="900" b="1"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900" b="0" i="0" u="none" strike="noStrike" kern="0" cap="none" spc="0" normalizeH="0" baseline="0" noProof="0" err="1">
                  <a:ln>
                    <a:noFill/>
                  </a:ln>
                  <a:solidFill>
                    <a:srgbClr val="070F26"/>
                  </a:solidFill>
                  <a:effectLst/>
                  <a:uLnTx/>
                  <a:uFillTx/>
                  <a:latin typeface="Aptos" panose="020B0004020202020204" pitchFamily="34" charset="0"/>
                  <a:ea typeface="+mn-ea"/>
                  <a:cs typeface="Calibri" panose="020F0502020204030204" pitchFamily="34" charset="0"/>
                </a:rPr>
                <a:t>Identificar</a:t>
              </a:r>
              <a:r>
                <a:rPr kumimoji="1" lang="en-US" sz="900" b="0"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900" b="0" i="0" u="none" strike="noStrike" kern="0" cap="none" spc="0" normalizeH="0" baseline="0" noProof="0" err="1">
                  <a:ln>
                    <a:noFill/>
                  </a:ln>
                  <a:solidFill>
                    <a:srgbClr val="070F26"/>
                  </a:solidFill>
                  <a:effectLst/>
                  <a:uLnTx/>
                  <a:uFillTx/>
                  <a:latin typeface="Aptos" panose="020B0004020202020204" pitchFamily="34" charset="0"/>
                  <a:ea typeface="+mn-ea"/>
                  <a:cs typeface="Calibri" panose="020F0502020204030204" pitchFamily="34" charset="0"/>
                </a:rPr>
                <a:t>requisitos</a:t>
              </a:r>
              <a:r>
                <a:rPr kumimoji="1" lang="en-US" sz="900" b="0"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900" b="0" i="0" u="none" strike="noStrike" kern="0" cap="none" spc="0" normalizeH="0" baseline="0" noProof="0" err="1">
                  <a:ln>
                    <a:noFill/>
                  </a:ln>
                  <a:solidFill>
                    <a:srgbClr val="070F26"/>
                  </a:solidFill>
                  <a:effectLst/>
                  <a:uLnTx/>
                  <a:uFillTx/>
                  <a:latin typeface="Aptos" panose="020B0004020202020204" pitchFamily="34" charset="0"/>
                  <a:ea typeface="+mn-ea"/>
                  <a:cs typeface="Calibri" panose="020F0502020204030204" pitchFamily="34" charset="0"/>
                </a:rPr>
                <a:t>técnicos</a:t>
              </a:r>
              <a:r>
                <a:rPr kumimoji="1" lang="en-US" sz="900" b="0"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900" b="0"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Sistema de</a:t>
              </a:r>
              <a:r>
                <a:rPr kumimoji="1" lang="en-US" sz="900" b="1"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 feedback </a:t>
              </a:r>
              <a:r>
                <a:rPr kumimoji="1" lang="en-US" sz="900" b="0"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con </a:t>
              </a:r>
              <a:r>
                <a:rPr kumimoji="1" lang="en-US" sz="900" b="0" i="0" u="none" strike="noStrike" kern="0" cap="none" spc="0" normalizeH="0" baseline="0" noProof="0" err="1">
                  <a:ln>
                    <a:noFill/>
                  </a:ln>
                  <a:solidFill>
                    <a:srgbClr val="070F26"/>
                  </a:solidFill>
                  <a:effectLst/>
                  <a:uLnTx/>
                  <a:uFillTx/>
                  <a:latin typeface="Aptos" panose="020B0004020202020204" pitchFamily="34" charset="0"/>
                  <a:ea typeface="+mn-ea"/>
                  <a:cs typeface="Calibri" panose="020F0502020204030204" pitchFamily="34" charset="0"/>
                </a:rPr>
                <a:t>los</a:t>
              </a:r>
              <a:r>
                <a:rPr kumimoji="1" lang="en-US" sz="900" b="0"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900" b="0" i="0" u="none" strike="noStrike" kern="0" cap="none" spc="0" normalizeH="0" baseline="0" noProof="0" err="1">
                  <a:ln>
                    <a:noFill/>
                  </a:ln>
                  <a:solidFill>
                    <a:srgbClr val="070F26"/>
                  </a:solidFill>
                  <a:effectLst/>
                  <a:uLnTx/>
                  <a:uFillTx/>
                  <a:latin typeface="Aptos" panose="020B0004020202020204" pitchFamily="34" charset="0"/>
                  <a:ea typeface="+mn-ea"/>
                  <a:cs typeface="Calibri" panose="020F0502020204030204" pitchFamily="34" charset="0"/>
                </a:rPr>
                <a:t>usarios</a:t>
              </a:r>
              <a:r>
                <a:rPr kumimoji="1" lang="en-US" sz="900" b="0"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900" kern="0" err="1">
                  <a:solidFill>
                    <a:srgbClr val="070F26"/>
                  </a:solidFill>
                  <a:latin typeface="Aptos" panose="020B0004020202020204" pitchFamily="34" charset="0"/>
                  <a:cs typeface="Calibri" panose="020F0502020204030204" pitchFamily="34" charset="0"/>
                </a:rPr>
                <a:t>Evaluar</a:t>
              </a:r>
              <a:r>
                <a:rPr kumimoji="1" lang="en-US" sz="900" kern="0">
                  <a:solidFill>
                    <a:srgbClr val="070F26"/>
                  </a:solidFill>
                  <a:latin typeface="Aptos" panose="020B0004020202020204" pitchFamily="34" charset="0"/>
                  <a:cs typeface="Calibri" panose="020F0502020204030204" pitchFamily="34" charset="0"/>
                </a:rPr>
                <a:t> </a:t>
              </a:r>
              <a:r>
                <a:rPr kumimoji="1" lang="en-US" sz="900" kern="0" err="1">
                  <a:solidFill>
                    <a:srgbClr val="070F26"/>
                  </a:solidFill>
                  <a:latin typeface="Aptos" panose="020B0004020202020204" pitchFamily="34" charset="0"/>
                  <a:cs typeface="Calibri" panose="020F0502020204030204" pitchFamily="34" charset="0"/>
                </a:rPr>
                <a:t>posibilidad</a:t>
              </a:r>
              <a:r>
                <a:rPr kumimoji="1" lang="en-US" sz="900" kern="0">
                  <a:solidFill>
                    <a:srgbClr val="070F26"/>
                  </a:solidFill>
                  <a:latin typeface="Aptos" panose="020B0004020202020204" pitchFamily="34" charset="0"/>
                  <a:cs typeface="Calibri" panose="020F0502020204030204" pitchFamily="34" charset="0"/>
                </a:rPr>
                <a:t> de </a:t>
              </a:r>
              <a:r>
                <a:rPr kumimoji="1" lang="en-US" sz="900" b="0" i="0" u="none" strike="noStrike" kern="0" cap="none" spc="0" normalizeH="0" baseline="0" noProof="0" err="1">
                  <a:ln>
                    <a:noFill/>
                  </a:ln>
                  <a:solidFill>
                    <a:srgbClr val="070F26"/>
                  </a:solidFill>
                  <a:effectLst/>
                  <a:uLnTx/>
                  <a:uFillTx/>
                  <a:latin typeface="Aptos" panose="020B0004020202020204" pitchFamily="34" charset="0"/>
                  <a:ea typeface="+mn-ea"/>
                  <a:cs typeface="Calibri" panose="020F0502020204030204" pitchFamily="34" charset="0"/>
                </a:rPr>
                <a:t>Conectar</a:t>
              </a:r>
              <a:r>
                <a:rPr kumimoji="1" lang="en-US" sz="900" b="0"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 chatbot a la base de </a:t>
              </a:r>
              <a:r>
                <a:rPr kumimoji="1" lang="en-US" sz="900" b="0" i="0" u="none" strike="noStrike" kern="0" cap="none" spc="0" normalizeH="0" baseline="0" noProof="0" err="1">
                  <a:ln>
                    <a:noFill/>
                  </a:ln>
                  <a:solidFill>
                    <a:srgbClr val="070F26"/>
                  </a:solidFill>
                  <a:effectLst/>
                  <a:uLnTx/>
                  <a:uFillTx/>
                  <a:latin typeface="Aptos" panose="020B0004020202020204" pitchFamily="34" charset="0"/>
                  <a:ea typeface="+mn-ea"/>
                  <a:cs typeface="Calibri" panose="020F0502020204030204" pitchFamily="34" charset="0"/>
                </a:rPr>
                <a:t>datos</a:t>
              </a:r>
              <a:r>
                <a:rPr kumimoji="1" lang="en-US" sz="900" b="0"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900" b="0" i="0" u="none" strike="noStrike" kern="0" cap="none" spc="0" normalizeH="0" baseline="0" noProof="0" err="1">
                  <a:ln>
                    <a:noFill/>
                  </a:ln>
                  <a:solidFill>
                    <a:srgbClr val="070F26"/>
                  </a:solidFill>
                  <a:effectLst/>
                  <a:uLnTx/>
                  <a:uFillTx/>
                  <a:latin typeface="Aptos" panose="020B0004020202020204" pitchFamily="34" charset="0"/>
                  <a:ea typeface="+mn-ea"/>
                  <a:cs typeface="Calibri" panose="020F0502020204030204" pitchFamily="34" charset="0"/>
                </a:rPr>
                <a:t>en</a:t>
              </a:r>
              <a:r>
                <a:rPr kumimoji="1" lang="en-US" sz="900" b="0"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 </a:t>
              </a:r>
              <a:r>
                <a:rPr kumimoji="1" lang="en-US" sz="900" b="0" i="0" u="none" strike="noStrike" kern="0" cap="none" spc="0" normalizeH="0" baseline="0" noProof="0" err="1">
                  <a:ln>
                    <a:noFill/>
                  </a:ln>
                  <a:solidFill>
                    <a:srgbClr val="070F26"/>
                  </a:solidFill>
                  <a:effectLst/>
                  <a:uLnTx/>
                  <a:uFillTx/>
                  <a:latin typeface="Aptos" panose="020B0004020202020204" pitchFamily="34" charset="0"/>
                  <a:ea typeface="+mn-ea"/>
                  <a:cs typeface="Calibri" panose="020F0502020204030204" pitchFamily="34" charset="0"/>
                </a:rPr>
                <a:t>tiempo</a:t>
              </a:r>
              <a:r>
                <a:rPr kumimoji="1" lang="en-US" sz="900" b="0"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 real.</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s-ES" sz="900" b="0"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Detectar consultas no entendidas y añadirlas al entrenamiento.</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s-ES" sz="900" b="1" i="0" u="none" strike="noStrike" kern="0" cap="none" spc="0" normalizeH="0" baseline="0" noProof="0" err="1">
                  <a:ln>
                    <a:noFill/>
                  </a:ln>
                  <a:solidFill>
                    <a:srgbClr val="070F26"/>
                  </a:solidFill>
                  <a:effectLst/>
                  <a:uLnTx/>
                  <a:uFillTx/>
                  <a:latin typeface="Aptos" panose="020B0004020202020204" pitchFamily="34" charset="0"/>
                  <a:ea typeface="+mn-ea"/>
                  <a:cs typeface="Calibri" panose="020F0502020204030204" pitchFamily="34" charset="0"/>
                </a:rPr>
                <a:t>Integracón</a:t>
              </a:r>
              <a:r>
                <a:rPr kumimoji="1" lang="es-ES" sz="900" b="0"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 con otros sistema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s-ES" sz="900" b="0"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Explorar usos de </a:t>
              </a:r>
              <a:r>
                <a:rPr kumimoji="1" lang="es-ES" sz="900" b="0" i="0" u="none" strike="noStrike" kern="0" cap="none" spc="0" normalizeH="0" baseline="0" noProof="0" err="1">
                  <a:ln>
                    <a:noFill/>
                  </a:ln>
                  <a:solidFill>
                    <a:srgbClr val="070F26"/>
                  </a:solidFill>
                  <a:effectLst/>
                  <a:uLnTx/>
                  <a:uFillTx/>
                  <a:latin typeface="Aptos" panose="020B0004020202020204" pitchFamily="34" charset="0"/>
                  <a:ea typeface="+mn-ea"/>
                  <a:cs typeface="Calibri" panose="020F0502020204030204" pitchFamily="34" charset="0"/>
                </a:rPr>
                <a:t>chatbot</a:t>
              </a:r>
              <a:r>
                <a:rPr kumimoji="1" lang="es-ES" sz="900" b="0" i="0" u="none" strike="noStrike" kern="0" cap="none" spc="0" normalizeH="0" baseline="0" noProof="0">
                  <a:ln>
                    <a:noFill/>
                  </a:ln>
                  <a:solidFill>
                    <a:srgbClr val="070F26"/>
                  </a:solidFill>
                  <a:effectLst/>
                  <a:uLnTx/>
                  <a:uFillTx/>
                  <a:latin typeface="Aptos" panose="020B0004020202020204" pitchFamily="34" charset="0"/>
                  <a:ea typeface="+mn-ea"/>
                  <a:cs typeface="Calibri" panose="020F0502020204030204" pitchFamily="34" charset="0"/>
                </a:rPr>
                <a:t> en el mercado.</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a:ln>
                  <a:noFill/>
                </a:ln>
                <a:solidFill>
                  <a:srgbClr val="070F26"/>
                </a:solidFill>
                <a:effectLst/>
                <a:uLnTx/>
                <a:uFillTx/>
                <a:latin typeface="Aptos" panose="02110004020202020204"/>
                <a:ea typeface="맑은 고딕" panose="020B0503020000020004" pitchFamily="34" charset="-127"/>
                <a:cs typeface="Arial" pitchFamily="34" charset="0"/>
              </a:endParaRPr>
            </a:p>
          </p:txBody>
        </p:sp>
      </p:grpSp>
      <p:sp>
        <p:nvSpPr>
          <p:cNvPr id="35" name="Freeform 98">
            <a:extLst>
              <a:ext uri="{FF2B5EF4-FFF2-40B4-BE49-F238E27FC236}">
                <a16:creationId xmlns:a16="http://schemas.microsoft.com/office/drawing/2014/main" id="{DCD1B09B-7332-AC81-4DE7-FDE6B91B4436}"/>
              </a:ext>
            </a:extLst>
          </p:cNvPr>
          <p:cNvSpPr/>
          <p:nvPr/>
        </p:nvSpPr>
        <p:spPr>
          <a:xfrm>
            <a:off x="6797472" y="949452"/>
            <a:ext cx="2309043" cy="1721586"/>
          </a:xfrm>
          <a:custGeom>
            <a:avLst/>
            <a:gdLst>
              <a:gd name="connsiteX0" fmla="*/ 0 w 944880"/>
              <a:gd name="connsiteY0" fmla="*/ 350520 h 350520"/>
              <a:gd name="connsiteX1" fmla="*/ 388620 w 944880"/>
              <a:gd name="connsiteY1" fmla="*/ 0 h 350520"/>
              <a:gd name="connsiteX2" fmla="*/ 944880 w 944880"/>
              <a:gd name="connsiteY2" fmla="*/ 0 h 350520"/>
            </a:gdLst>
            <a:ahLst/>
            <a:cxnLst>
              <a:cxn ang="0">
                <a:pos x="connsiteX0" y="connsiteY0"/>
              </a:cxn>
              <a:cxn ang="0">
                <a:pos x="connsiteX1" y="connsiteY1"/>
              </a:cxn>
              <a:cxn ang="0">
                <a:pos x="connsiteX2" y="connsiteY2"/>
              </a:cxn>
            </a:cxnLst>
            <a:rect l="l" t="t" r="r" b="b"/>
            <a:pathLst>
              <a:path w="944880" h="350520">
                <a:moveTo>
                  <a:pt x="0" y="350520"/>
                </a:moveTo>
                <a:lnTo>
                  <a:pt x="388620" y="0"/>
                </a:lnTo>
                <a:lnTo>
                  <a:pt x="944880" y="0"/>
                </a:lnTo>
              </a:path>
            </a:pathLst>
          </a:custGeom>
          <a:ln>
            <a:solidFill>
              <a:srgbClr val="00206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prstClr val="black">
                  <a:lumMod val="75000"/>
                  <a:lumOff val="25000"/>
                </a:prstClr>
              </a:solidFill>
              <a:effectLst/>
              <a:uLnTx/>
              <a:uFillTx/>
              <a:latin typeface="Aptos" panose="02110004020202020204"/>
              <a:ea typeface="맑은 고딕" panose="020B0503020000020004" pitchFamily="34" charset="-127"/>
              <a:cs typeface="+mn-cs"/>
            </a:endParaRPr>
          </a:p>
        </p:txBody>
      </p:sp>
      <p:sp>
        <p:nvSpPr>
          <p:cNvPr id="36" name="Freeform 99">
            <a:extLst>
              <a:ext uri="{FF2B5EF4-FFF2-40B4-BE49-F238E27FC236}">
                <a16:creationId xmlns:a16="http://schemas.microsoft.com/office/drawing/2014/main" id="{20318451-96CD-442D-AA10-84CEE5A30020}"/>
              </a:ext>
            </a:extLst>
          </p:cNvPr>
          <p:cNvSpPr/>
          <p:nvPr/>
        </p:nvSpPr>
        <p:spPr>
          <a:xfrm flipH="1">
            <a:off x="3275403" y="949450"/>
            <a:ext cx="2119126" cy="1678676"/>
          </a:xfrm>
          <a:custGeom>
            <a:avLst/>
            <a:gdLst>
              <a:gd name="connsiteX0" fmla="*/ 0 w 944880"/>
              <a:gd name="connsiteY0" fmla="*/ 350520 h 350520"/>
              <a:gd name="connsiteX1" fmla="*/ 388620 w 944880"/>
              <a:gd name="connsiteY1" fmla="*/ 0 h 350520"/>
              <a:gd name="connsiteX2" fmla="*/ 944880 w 944880"/>
              <a:gd name="connsiteY2" fmla="*/ 0 h 350520"/>
            </a:gdLst>
            <a:ahLst/>
            <a:cxnLst>
              <a:cxn ang="0">
                <a:pos x="connsiteX0" y="connsiteY0"/>
              </a:cxn>
              <a:cxn ang="0">
                <a:pos x="connsiteX1" y="connsiteY1"/>
              </a:cxn>
              <a:cxn ang="0">
                <a:pos x="connsiteX2" y="connsiteY2"/>
              </a:cxn>
            </a:cxnLst>
            <a:rect l="l" t="t" r="r" b="b"/>
            <a:pathLst>
              <a:path w="944880" h="350520">
                <a:moveTo>
                  <a:pt x="0" y="350520"/>
                </a:moveTo>
                <a:lnTo>
                  <a:pt x="388620" y="0"/>
                </a:lnTo>
                <a:lnTo>
                  <a:pt x="944880" y="0"/>
                </a:lnTo>
              </a:path>
            </a:pathLst>
          </a:custGeom>
          <a:ln>
            <a:solidFill>
              <a:srgbClr val="00206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prstClr val="black">
                  <a:lumMod val="75000"/>
                  <a:lumOff val="25000"/>
                </a:prstClr>
              </a:solidFill>
              <a:effectLst/>
              <a:uLnTx/>
              <a:uFillTx/>
              <a:latin typeface="Aptos" panose="02110004020202020204"/>
              <a:ea typeface="맑은 고딕" panose="020B0503020000020004" pitchFamily="34" charset="-127"/>
              <a:cs typeface="+mn-cs"/>
            </a:endParaRPr>
          </a:p>
        </p:txBody>
      </p:sp>
      <p:sp>
        <p:nvSpPr>
          <p:cNvPr id="41" name="Freeform 103">
            <a:extLst>
              <a:ext uri="{FF2B5EF4-FFF2-40B4-BE49-F238E27FC236}">
                <a16:creationId xmlns:a16="http://schemas.microsoft.com/office/drawing/2014/main" id="{C7E3EEE0-5E87-D883-A0CC-F22F0599E68D}"/>
              </a:ext>
            </a:extLst>
          </p:cNvPr>
          <p:cNvSpPr/>
          <p:nvPr/>
        </p:nvSpPr>
        <p:spPr>
          <a:xfrm flipH="1">
            <a:off x="2141996" y="4670486"/>
            <a:ext cx="2387517" cy="247909"/>
          </a:xfrm>
          <a:custGeom>
            <a:avLst/>
            <a:gdLst>
              <a:gd name="connsiteX0" fmla="*/ 0 w 670560"/>
              <a:gd name="connsiteY0" fmla="*/ 0 h 137160"/>
              <a:gd name="connsiteX1" fmla="*/ 670560 w 670560"/>
              <a:gd name="connsiteY1" fmla="*/ 0 h 137160"/>
              <a:gd name="connsiteX2" fmla="*/ 670560 w 670560"/>
              <a:gd name="connsiteY2" fmla="*/ 137160 h 137160"/>
            </a:gdLst>
            <a:ahLst/>
            <a:cxnLst>
              <a:cxn ang="0">
                <a:pos x="connsiteX0" y="connsiteY0"/>
              </a:cxn>
              <a:cxn ang="0">
                <a:pos x="connsiteX1" y="connsiteY1"/>
              </a:cxn>
              <a:cxn ang="0">
                <a:pos x="connsiteX2" y="connsiteY2"/>
              </a:cxn>
            </a:cxnLst>
            <a:rect l="l" t="t" r="r" b="b"/>
            <a:pathLst>
              <a:path w="670560" h="137160">
                <a:moveTo>
                  <a:pt x="0" y="0"/>
                </a:moveTo>
                <a:lnTo>
                  <a:pt x="670560" y="0"/>
                </a:lnTo>
                <a:lnTo>
                  <a:pt x="670560" y="137160"/>
                </a:lnTo>
              </a:path>
            </a:pathLst>
          </a:custGeom>
          <a:ln>
            <a:solidFill>
              <a:srgbClr val="00206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prstClr val="black">
                  <a:lumMod val="85000"/>
                  <a:lumOff val="15000"/>
                </a:prstClr>
              </a:solidFill>
              <a:effectLst/>
              <a:uLnTx/>
              <a:uFillTx/>
              <a:latin typeface="Aptos" panose="02110004020202020204"/>
              <a:ea typeface="맑은 고딕" panose="020B0503020000020004" pitchFamily="34" charset="-127"/>
              <a:cs typeface="+mn-cs"/>
            </a:endParaRPr>
          </a:p>
        </p:txBody>
      </p:sp>
      <p:sp>
        <p:nvSpPr>
          <p:cNvPr id="43" name="Freeform 103">
            <a:extLst>
              <a:ext uri="{FF2B5EF4-FFF2-40B4-BE49-F238E27FC236}">
                <a16:creationId xmlns:a16="http://schemas.microsoft.com/office/drawing/2014/main" id="{A68C5661-6273-BA78-22BE-CBBA5E80721D}"/>
              </a:ext>
            </a:extLst>
          </p:cNvPr>
          <p:cNvSpPr/>
          <p:nvPr/>
        </p:nvSpPr>
        <p:spPr>
          <a:xfrm>
            <a:off x="7659504" y="4668012"/>
            <a:ext cx="2754496" cy="259605"/>
          </a:xfrm>
          <a:custGeom>
            <a:avLst/>
            <a:gdLst>
              <a:gd name="connsiteX0" fmla="*/ 0 w 670560"/>
              <a:gd name="connsiteY0" fmla="*/ 0 h 137160"/>
              <a:gd name="connsiteX1" fmla="*/ 670560 w 670560"/>
              <a:gd name="connsiteY1" fmla="*/ 0 h 137160"/>
              <a:gd name="connsiteX2" fmla="*/ 670560 w 670560"/>
              <a:gd name="connsiteY2" fmla="*/ 137160 h 137160"/>
            </a:gdLst>
            <a:ahLst/>
            <a:cxnLst>
              <a:cxn ang="0">
                <a:pos x="connsiteX0" y="connsiteY0"/>
              </a:cxn>
              <a:cxn ang="0">
                <a:pos x="connsiteX1" y="connsiteY1"/>
              </a:cxn>
              <a:cxn ang="0">
                <a:pos x="connsiteX2" y="connsiteY2"/>
              </a:cxn>
            </a:cxnLst>
            <a:rect l="l" t="t" r="r" b="b"/>
            <a:pathLst>
              <a:path w="670560" h="137160">
                <a:moveTo>
                  <a:pt x="0" y="0"/>
                </a:moveTo>
                <a:lnTo>
                  <a:pt x="670560" y="0"/>
                </a:lnTo>
                <a:lnTo>
                  <a:pt x="670560" y="137160"/>
                </a:lnTo>
              </a:path>
            </a:pathLst>
          </a:custGeom>
          <a:ln>
            <a:solidFill>
              <a:srgbClr val="00206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prstClr val="black">
                  <a:lumMod val="85000"/>
                  <a:lumOff val="15000"/>
                </a:prstClr>
              </a:solidFill>
              <a:effectLst/>
              <a:uLnTx/>
              <a:uFillTx/>
              <a:latin typeface="Aptos" panose="02110004020202020204"/>
              <a:ea typeface="맑은 고딕" panose="020B0503020000020004" pitchFamily="34" charset="-127"/>
              <a:cs typeface="+mn-cs"/>
            </a:endParaRPr>
          </a:p>
        </p:txBody>
      </p:sp>
      <p:sp>
        <p:nvSpPr>
          <p:cNvPr id="45" name="Freeform 99">
            <a:extLst>
              <a:ext uri="{FF2B5EF4-FFF2-40B4-BE49-F238E27FC236}">
                <a16:creationId xmlns:a16="http://schemas.microsoft.com/office/drawing/2014/main" id="{F2366B86-8858-32A1-C888-9D484CF28668}"/>
              </a:ext>
            </a:extLst>
          </p:cNvPr>
          <p:cNvSpPr/>
          <p:nvPr/>
        </p:nvSpPr>
        <p:spPr>
          <a:xfrm flipH="1">
            <a:off x="3314085" y="2966884"/>
            <a:ext cx="1279413" cy="426112"/>
          </a:xfrm>
          <a:custGeom>
            <a:avLst/>
            <a:gdLst>
              <a:gd name="connsiteX0" fmla="*/ 0 w 944880"/>
              <a:gd name="connsiteY0" fmla="*/ 350520 h 350520"/>
              <a:gd name="connsiteX1" fmla="*/ 388620 w 944880"/>
              <a:gd name="connsiteY1" fmla="*/ 0 h 350520"/>
              <a:gd name="connsiteX2" fmla="*/ 944880 w 944880"/>
              <a:gd name="connsiteY2" fmla="*/ 0 h 350520"/>
            </a:gdLst>
            <a:ahLst/>
            <a:cxnLst>
              <a:cxn ang="0">
                <a:pos x="connsiteX0" y="connsiteY0"/>
              </a:cxn>
              <a:cxn ang="0">
                <a:pos x="connsiteX1" y="connsiteY1"/>
              </a:cxn>
              <a:cxn ang="0">
                <a:pos x="connsiteX2" y="connsiteY2"/>
              </a:cxn>
            </a:cxnLst>
            <a:rect l="l" t="t" r="r" b="b"/>
            <a:pathLst>
              <a:path w="944880" h="350520">
                <a:moveTo>
                  <a:pt x="0" y="350520"/>
                </a:moveTo>
                <a:lnTo>
                  <a:pt x="388620" y="0"/>
                </a:lnTo>
                <a:lnTo>
                  <a:pt x="944880" y="0"/>
                </a:lnTo>
              </a:path>
            </a:pathLst>
          </a:custGeom>
          <a:ln>
            <a:solidFill>
              <a:srgbClr val="00206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prstClr val="black">
                  <a:lumMod val="75000"/>
                  <a:lumOff val="25000"/>
                </a:prstClr>
              </a:solidFill>
              <a:effectLst/>
              <a:uLnTx/>
              <a:uFillTx/>
              <a:latin typeface="Aptos" panose="02110004020202020204"/>
              <a:ea typeface="맑은 고딕" panose="020B0503020000020004" pitchFamily="34" charset="-127"/>
              <a:cs typeface="+mn-cs"/>
            </a:endParaRPr>
          </a:p>
        </p:txBody>
      </p:sp>
      <p:sp>
        <p:nvSpPr>
          <p:cNvPr id="46" name="Freeform 98">
            <a:extLst>
              <a:ext uri="{FF2B5EF4-FFF2-40B4-BE49-F238E27FC236}">
                <a16:creationId xmlns:a16="http://schemas.microsoft.com/office/drawing/2014/main" id="{060F559D-06F1-CD4B-F060-CA7BED01BD24}"/>
              </a:ext>
            </a:extLst>
          </p:cNvPr>
          <p:cNvSpPr/>
          <p:nvPr/>
        </p:nvSpPr>
        <p:spPr>
          <a:xfrm>
            <a:off x="7516613" y="2966884"/>
            <a:ext cx="1371387" cy="427704"/>
          </a:xfrm>
          <a:custGeom>
            <a:avLst/>
            <a:gdLst>
              <a:gd name="connsiteX0" fmla="*/ 0 w 944880"/>
              <a:gd name="connsiteY0" fmla="*/ 350520 h 350520"/>
              <a:gd name="connsiteX1" fmla="*/ 388620 w 944880"/>
              <a:gd name="connsiteY1" fmla="*/ 0 h 350520"/>
              <a:gd name="connsiteX2" fmla="*/ 944880 w 944880"/>
              <a:gd name="connsiteY2" fmla="*/ 0 h 350520"/>
            </a:gdLst>
            <a:ahLst/>
            <a:cxnLst>
              <a:cxn ang="0">
                <a:pos x="connsiteX0" y="connsiteY0"/>
              </a:cxn>
              <a:cxn ang="0">
                <a:pos x="connsiteX1" y="connsiteY1"/>
              </a:cxn>
              <a:cxn ang="0">
                <a:pos x="connsiteX2" y="connsiteY2"/>
              </a:cxn>
            </a:cxnLst>
            <a:rect l="l" t="t" r="r" b="b"/>
            <a:pathLst>
              <a:path w="944880" h="350520">
                <a:moveTo>
                  <a:pt x="0" y="350520"/>
                </a:moveTo>
                <a:lnTo>
                  <a:pt x="388620" y="0"/>
                </a:lnTo>
                <a:lnTo>
                  <a:pt x="944880" y="0"/>
                </a:lnTo>
              </a:path>
            </a:pathLst>
          </a:custGeom>
          <a:ln>
            <a:solidFill>
              <a:srgbClr val="00206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prstClr val="black">
                  <a:lumMod val="75000"/>
                  <a:lumOff val="25000"/>
                </a:prstClr>
              </a:solidFill>
              <a:effectLst/>
              <a:uLnTx/>
              <a:uFillTx/>
              <a:latin typeface="Aptos" panose="02110004020202020204"/>
              <a:ea typeface="맑은 고딕" panose="020B0503020000020004" pitchFamily="34" charset="-127"/>
              <a:cs typeface="+mn-cs"/>
            </a:endParaRPr>
          </a:p>
        </p:txBody>
      </p:sp>
      <p:grpSp>
        <p:nvGrpSpPr>
          <p:cNvPr id="32" name="Grupo 31">
            <a:extLst>
              <a:ext uri="{FF2B5EF4-FFF2-40B4-BE49-F238E27FC236}">
                <a16:creationId xmlns:a16="http://schemas.microsoft.com/office/drawing/2014/main" id="{BE88EE43-2417-07EA-5AD8-4C280B6ACFA2}"/>
              </a:ext>
            </a:extLst>
          </p:cNvPr>
          <p:cNvGrpSpPr/>
          <p:nvPr/>
        </p:nvGrpSpPr>
        <p:grpSpPr>
          <a:xfrm>
            <a:off x="0" y="0"/>
            <a:ext cx="12192000" cy="792001"/>
            <a:chOff x="0" y="0"/>
            <a:chExt cx="12192000" cy="792001"/>
          </a:xfrm>
        </p:grpSpPr>
        <p:sp>
          <p:nvSpPr>
            <p:cNvPr id="34" name="Rectángulo 33">
              <a:extLst>
                <a:ext uri="{FF2B5EF4-FFF2-40B4-BE49-F238E27FC236}">
                  <a16:creationId xmlns:a16="http://schemas.microsoft.com/office/drawing/2014/main" id="{6F54AE01-2D13-3B89-E3E0-4CE3BC65A294}"/>
                </a:ext>
              </a:extLst>
            </p:cNvPr>
            <p:cNvSpPr/>
            <p:nvPr/>
          </p:nvSpPr>
          <p:spPr>
            <a:xfrm>
              <a:off x="0" y="1"/>
              <a:ext cx="12192000" cy="792000"/>
            </a:xfrm>
            <a:prstGeom prst="rect">
              <a:avLst/>
            </a:prstGeom>
            <a:solidFill>
              <a:srgbClr val="070F26"/>
            </a:solidFill>
            <a:ln w="12700" cap="flat" cmpd="sng" algn="ctr">
              <a:noFill/>
              <a:prstDash val="solid"/>
              <a:miter lim="800000"/>
            </a:ln>
            <a:effectLst/>
          </p:spPr>
          <p:txBody>
            <a:bodyPr lIns="108000" tIns="72000" rIns="108000" bIns="72000" rtlCol="0" anchor="ctr"/>
            <a:lstStyle/>
            <a:p>
              <a:pPr marL="0" marR="0" lvl="0" indent="0" algn="l" defTabSz="914400" rtl="0" eaLnBrk="1" fontAlgn="auto" latinLnBrk="0" hangingPunct="1">
                <a:lnSpc>
                  <a:spcPct val="110000"/>
                </a:lnSpc>
                <a:spcBef>
                  <a:spcPts val="600"/>
                </a:spcBef>
                <a:spcAft>
                  <a:spcPts val="0"/>
                </a:spcAft>
                <a:buClrTx/>
                <a:buSzTx/>
                <a:buFontTx/>
                <a:buNone/>
                <a:tabLst/>
                <a:defRPr/>
              </a:pPr>
              <a:r>
                <a:rPr kumimoji="0" lang="en-US" sz="3200" b="0" i="0" u="none" strike="noStrike" kern="0" cap="none" spc="0" normalizeH="0" baseline="0" noProof="0">
                  <a:ln>
                    <a:noFill/>
                  </a:ln>
                  <a:solidFill>
                    <a:srgbClr val="19A3FC"/>
                  </a:solidFill>
                  <a:effectLst/>
                  <a:uLnTx/>
                  <a:uFillTx/>
                  <a:latin typeface="Arial" panose="020B0604020202020204" pitchFamily="34" charset="0"/>
                  <a:ea typeface="+mn-ea"/>
                  <a:cs typeface="Arial" panose="020B0604020202020204" pitchFamily="34" charset="0"/>
                </a:rPr>
                <a:t> </a:t>
              </a:r>
              <a:endParaRPr kumimoji="0" lang="en-US" sz="2000" b="0" i="0" u="none" strike="noStrike" kern="0" cap="none" spc="0" normalizeH="0" baseline="0" noProof="0">
                <a:ln>
                  <a:noFill/>
                </a:ln>
                <a:solidFill>
                  <a:srgbClr val="19A3FC"/>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s-ES"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0" name="Rectángulo 39">
              <a:extLst>
                <a:ext uri="{FF2B5EF4-FFF2-40B4-BE49-F238E27FC236}">
                  <a16:creationId xmlns:a16="http://schemas.microsoft.com/office/drawing/2014/main" id="{8D5627CD-EC88-4211-68DF-91209649E261}"/>
                </a:ext>
              </a:extLst>
            </p:cNvPr>
            <p:cNvSpPr/>
            <p:nvPr/>
          </p:nvSpPr>
          <p:spPr>
            <a:xfrm>
              <a:off x="0" y="0"/>
              <a:ext cx="1080000" cy="792001"/>
            </a:xfrm>
            <a:prstGeom prst="rect">
              <a:avLst/>
            </a:prstGeom>
            <a:solidFill>
              <a:srgbClr val="90ABD8"/>
            </a:solidFill>
            <a:ln w="12700" cap="flat" cmpd="sng" algn="ctr">
              <a:noFill/>
              <a:prstDash val="solid"/>
              <a:miter lim="800000"/>
            </a:ln>
            <a:effectLst/>
          </p:spPr>
          <p:txBody>
            <a:bodyPr lIns="108000" tIns="72000" rIns="108000" bIns="72000" rtlCol="0" anchor="ctr"/>
            <a:lstStyle/>
            <a:p>
              <a:pPr marL="0" marR="0" lvl="0" indent="0" algn="l" defTabSz="914400" rtl="0" eaLnBrk="1" fontAlgn="auto" latinLnBrk="0" hangingPunct="1">
                <a:lnSpc>
                  <a:spcPct val="110000"/>
                </a:lnSpc>
                <a:spcBef>
                  <a:spcPts val="600"/>
                </a:spcBef>
                <a:spcAft>
                  <a:spcPts val="0"/>
                </a:spcAft>
                <a:buClrTx/>
                <a:buSzTx/>
                <a:buFontTx/>
                <a:buNone/>
                <a:tabLst/>
                <a:defRPr/>
              </a:pPr>
              <a:r>
                <a:rPr kumimoji="0" lang="en-US" sz="3200" b="0" i="0" u="none" strike="noStrike" kern="0" cap="none" spc="0" normalizeH="0" baseline="0" noProof="0">
                  <a:ln>
                    <a:noFill/>
                  </a:ln>
                  <a:solidFill>
                    <a:srgbClr val="19A3FC"/>
                  </a:solidFill>
                  <a:effectLst/>
                  <a:uLnTx/>
                  <a:uFillTx/>
                  <a:latin typeface="Arial" panose="020B0604020202020204" pitchFamily="34" charset="0"/>
                  <a:ea typeface="+mn-ea"/>
                  <a:cs typeface="Arial" panose="020B0604020202020204" pitchFamily="34" charset="0"/>
                </a:rPr>
                <a:t> </a:t>
              </a:r>
              <a:endParaRPr kumimoji="0" lang="en-US" sz="2000" b="0" i="0" u="none" strike="noStrike" kern="0" cap="none" spc="0" normalizeH="0" baseline="0" noProof="0">
                <a:ln>
                  <a:noFill/>
                </a:ln>
                <a:solidFill>
                  <a:srgbClr val="19A3FC"/>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s-ES"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 name="ZoneTexte 70">
              <a:extLst>
                <a:ext uri="{FF2B5EF4-FFF2-40B4-BE49-F238E27FC236}">
                  <a16:creationId xmlns:a16="http://schemas.microsoft.com/office/drawing/2014/main" id="{3B8066C5-6C5D-B623-BD36-01A898F6913E}"/>
                </a:ext>
              </a:extLst>
            </p:cNvPr>
            <p:cNvSpPr txBox="1"/>
            <p:nvPr/>
          </p:nvSpPr>
          <p:spPr>
            <a:xfrm>
              <a:off x="106035" y="42057"/>
              <a:ext cx="867930" cy="707886"/>
            </a:xfrm>
            <a:prstGeom prst="rect">
              <a:avLst/>
            </a:prstGeom>
            <a:noFill/>
            <a:ln>
              <a:noFill/>
            </a:ln>
          </p:spPr>
          <p:txBody>
            <a:bodyPr wrap="square" lIns="91440" tIns="45720" rIns="91440" bIns="45720" rtlCol="0" anchor="t">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prstClr val="black"/>
                  </a:solidFill>
                  <a:effectLst/>
                  <a:uLnTx/>
                  <a:uFillTx/>
                  <a:latin typeface="Century Gothic"/>
                  <a:ea typeface="+mn-ea"/>
                  <a:cs typeface="+mn-cs"/>
                </a:rPr>
                <a:t>03</a:t>
              </a:r>
              <a:endParaRPr kumimoji="0" lang="en-US" sz="40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sp>
        <p:nvSpPr>
          <p:cNvPr id="47" name="Rectángulo 46">
            <a:extLst>
              <a:ext uri="{FF2B5EF4-FFF2-40B4-BE49-F238E27FC236}">
                <a16:creationId xmlns:a16="http://schemas.microsoft.com/office/drawing/2014/main" id="{B81FEDA7-E48E-4C63-DF34-7A3A0104ED79}"/>
              </a:ext>
            </a:extLst>
          </p:cNvPr>
          <p:cNvSpPr/>
          <p:nvPr/>
        </p:nvSpPr>
        <p:spPr>
          <a:xfrm>
            <a:off x="688" y="6536037"/>
            <a:ext cx="12192000" cy="322696"/>
          </a:xfrm>
          <a:prstGeom prst="rect">
            <a:avLst/>
          </a:prstGeom>
          <a:solidFill>
            <a:srgbClr val="070F2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highlight>
                <a:srgbClr val="000080"/>
              </a:highlight>
              <a:uLnTx/>
              <a:uFillTx/>
              <a:latin typeface="Arial"/>
              <a:ea typeface="+mn-ea"/>
              <a:cs typeface="+mn-cs"/>
            </a:endParaRPr>
          </a:p>
        </p:txBody>
      </p:sp>
      <p:pic>
        <p:nvPicPr>
          <p:cNvPr id="49" name="Picture 2">
            <a:extLst>
              <a:ext uri="{FF2B5EF4-FFF2-40B4-BE49-F238E27FC236}">
                <a16:creationId xmlns:a16="http://schemas.microsoft.com/office/drawing/2014/main" id="{40CD9B38-FD48-EF02-06CD-28BD2FD65D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18676" y="169619"/>
            <a:ext cx="1831675" cy="319828"/>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NTT DATA - Quiénes somos - 1,2,3, emprende">
            <a:extLst>
              <a:ext uri="{FF2B5EF4-FFF2-40B4-BE49-F238E27FC236}">
                <a16:creationId xmlns:a16="http://schemas.microsoft.com/office/drawing/2014/main" id="{75B53287-B9EC-1DF2-96B2-72720FFF0BF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59961" y="6498732"/>
            <a:ext cx="1432039" cy="393065"/>
          </a:xfrm>
          <a:prstGeom prst="rect">
            <a:avLst/>
          </a:prstGeom>
          <a:noFill/>
          <a:extLst>
            <a:ext uri="{909E8E84-426E-40DD-AFC4-6F175D3DCCD1}">
              <a14:hiddenFill xmlns:a14="http://schemas.microsoft.com/office/drawing/2010/main">
                <a:solidFill>
                  <a:srgbClr val="FFFFFF"/>
                </a:solidFill>
              </a14:hiddenFill>
            </a:ext>
          </a:extLst>
        </p:spPr>
      </p:pic>
      <p:sp>
        <p:nvSpPr>
          <p:cNvPr id="53" name="Título 5">
            <a:extLst>
              <a:ext uri="{FF2B5EF4-FFF2-40B4-BE49-F238E27FC236}">
                <a16:creationId xmlns:a16="http://schemas.microsoft.com/office/drawing/2014/main" id="{A03A8523-626F-F82E-803A-24C62FA1CB7E}"/>
              </a:ext>
            </a:extLst>
          </p:cNvPr>
          <p:cNvSpPr txBox="1">
            <a:spLocks/>
          </p:cNvSpPr>
          <p:nvPr/>
        </p:nvSpPr>
        <p:spPr bwMode="gray">
          <a:xfrm>
            <a:off x="1238043" y="100021"/>
            <a:ext cx="4595899" cy="325215"/>
          </a:xfrm>
          <a:prstGeom prst="rect">
            <a:avLst/>
          </a:prstGeom>
        </p:spPr>
        <p:txBody>
          <a:bodyPr vert="horz" lIns="0" tIns="45720" rIns="0" bIns="45720" rtlCol="0" anchor="t">
            <a:noAutofit/>
          </a:bodyPr>
          <a:lstStyle>
            <a:lvl1pPr algn="l" defTabSz="914400" rtl="0" eaLnBrk="1" latinLnBrk="0" hangingPunct="1">
              <a:lnSpc>
                <a:spcPct val="90000"/>
              </a:lnSpc>
              <a:spcBef>
                <a:spcPct val="0"/>
              </a:spcBef>
              <a:buNone/>
              <a:defRPr lang="en-US" sz="2800" kern="1200" dirty="0">
                <a:solidFill>
                  <a:schemeClr val="bg1"/>
                </a:solidFill>
                <a:latin typeface="Georgia" panose="02040502050405020303" pitchFamily="18" charset="0"/>
                <a:ea typeface="+mj-ea"/>
                <a:cs typeface="+mj-cs"/>
              </a:defRPr>
            </a:lvl1pPr>
          </a:lstStyle>
          <a:p>
            <a:pPr marL="0" marR="0" lvl="0" indent="0" algn="just"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ptos" panose="02110004020202020204"/>
                <a:ea typeface="+mj-ea"/>
                <a:cs typeface="Arial" panose="020B0604020202020204" pitchFamily="34" charset="0"/>
              </a:rPr>
              <a:t>Plan de Proyecto : </a:t>
            </a:r>
            <a:r>
              <a:rPr kumimoji="0" lang="en-US" sz="1800" b="1" i="0" u="none" strike="noStrike" kern="1200" cap="none" spc="0" normalizeH="0" baseline="0" noProof="0" dirty="0" err="1">
                <a:ln>
                  <a:noFill/>
                </a:ln>
                <a:solidFill>
                  <a:srgbClr val="FFFFFF"/>
                </a:solidFill>
                <a:effectLst/>
                <a:uLnTx/>
                <a:uFillTx/>
                <a:latin typeface="Aptos" panose="02110004020202020204"/>
                <a:ea typeface="+mj-ea"/>
                <a:cs typeface="Arial" panose="020B0604020202020204" pitchFamily="34" charset="0"/>
              </a:rPr>
              <a:t>Fases</a:t>
            </a:r>
            <a:r>
              <a:rPr kumimoji="0" lang="en-US" sz="1800" b="1" i="0" u="none" strike="noStrike" kern="1200" cap="none" spc="0" normalizeH="0" baseline="0" noProof="0" dirty="0">
                <a:ln>
                  <a:noFill/>
                </a:ln>
                <a:solidFill>
                  <a:srgbClr val="FFFFFF"/>
                </a:solidFill>
                <a:effectLst/>
                <a:uLnTx/>
                <a:uFillTx/>
                <a:latin typeface="Aptos" panose="02110004020202020204"/>
                <a:ea typeface="+mj-ea"/>
                <a:cs typeface="Arial" panose="020B0604020202020204" pitchFamily="34" charset="0"/>
              </a:rPr>
              <a:t> </a:t>
            </a: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a:p>
            <a:pPr marL="0" marR="0" lvl="0" indent="0" algn="just" defTabSz="914400" rtl="0" eaLnBrk="1" fontAlgn="auto" latinLnBrk="0" hangingPunct="1">
              <a:lnSpc>
                <a:spcPct val="90000"/>
              </a:lnSpc>
              <a:spcBef>
                <a:spcPct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ptos" panose="02110004020202020204"/>
              <a:ea typeface="+mj-ea"/>
              <a:cs typeface="Arial" panose="020B0604020202020204" pitchFamily="34" charset="0"/>
            </a:endParaRPr>
          </a:p>
          <a:p>
            <a:pPr marL="0" marR="0" lvl="0" indent="0" algn="just" defTabSz="914400" rtl="0" eaLnBrk="1" fontAlgn="auto" latinLnBrk="0" hangingPunct="1">
              <a:lnSpc>
                <a:spcPct val="90000"/>
              </a:lnSpc>
              <a:spcBef>
                <a:spcPct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p:txBody>
      </p:sp>
      <p:sp>
        <p:nvSpPr>
          <p:cNvPr id="54" name="Título 5">
            <a:extLst>
              <a:ext uri="{FF2B5EF4-FFF2-40B4-BE49-F238E27FC236}">
                <a16:creationId xmlns:a16="http://schemas.microsoft.com/office/drawing/2014/main" id="{7D4E771B-6051-7D9B-052B-066DE8358397}"/>
              </a:ext>
            </a:extLst>
          </p:cNvPr>
          <p:cNvSpPr txBox="1">
            <a:spLocks/>
          </p:cNvSpPr>
          <p:nvPr/>
        </p:nvSpPr>
        <p:spPr bwMode="gray">
          <a:xfrm>
            <a:off x="1238044" y="402575"/>
            <a:ext cx="7358396" cy="360000"/>
          </a:xfrm>
          <a:prstGeom prst="rect">
            <a:avLst/>
          </a:prstGeom>
        </p:spPr>
        <p:txBody>
          <a:bodyPr vert="horz" lIns="0" tIns="45720" rIns="0" bIns="45720" rtlCol="0" anchor="t">
            <a:noAutofit/>
          </a:bodyPr>
          <a:lstStyle>
            <a:lvl1pPr algn="l" defTabSz="914400" rtl="0" eaLnBrk="1" latinLnBrk="0" hangingPunct="1">
              <a:lnSpc>
                <a:spcPct val="90000"/>
              </a:lnSpc>
              <a:spcBef>
                <a:spcPct val="0"/>
              </a:spcBef>
              <a:buNone/>
              <a:defRPr lang="en-US" sz="2800" kern="1200" dirty="0">
                <a:solidFill>
                  <a:schemeClr val="bg1"/>
                </a:solidFill>
                <a:latin typeface="Georgia" panose="02040502050405020303" pitchFamily="18" charset="0"/>
                <a:ea typeface="+mj-ea"/>
                <a:cs typeface="+mj-cs"/>
              </a:defRPr>
            </a:lvl1pPr>
          </a:lstStyle>
          <a:p>
            <a:pPr marL="0" marR="0" lvl="0" indent="0" algn="just" defTabSz="914400" rtl="0" eaLnBrk="1" fontAlgn="auto" latinLnBrk="0" hangingPunct="1">
              <a:lnSpc>
                <a:spcPct val="90000"/>
              </a:lnSpc>
              <a:spcBef>
                <a:spcPct val="0"/>
              </a:spcBef>
              <a:spcAft>
                <a:spcPts val="0"/>
              </a:spcAft>
              <a:buClrTx/>
              <a:buSzTx/>
              <a:buFontTx/>
              <a:buNone/>
              <a:tabLst/>
              <a:defRPr/>
            </a:pPr>
            <a:r>
              <a:rPr kumimoji="0" lang="es-ES" sz="1400" b="0"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Planificación del Proyecto</a:t>
            </a:r>
            <a:endParaRPr kumimoji="0" lang="en-US" sz="3200" b="0"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endParaRPr>
          </a:p>
        </p:txBody>
      </p:sp>
      <p:pic>
        <p:nvPicPr>
          <p:cNvPr id="5" name="Picture 2" descr="NTT DATA - Quiénes somos - 1,2,3, emprende">
            <a:extLst>
              <a:ext uri="{FF2B5EF4-FFF2-40B4-BE49-F238E27FC236}">
                <a16:creationId xmlns:a16="http://schemas.microsoft.com/office/drawing/2014/main" id="{10305D38-9710-1C09-E774-69561E05D5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02327" y="4744656"/>
            <a:ext cx="1699860" cy="466576"/>
          </a:xfrm>
          <a:prstGeom prst="rect">
            <a:avLst/>
          </a:prstGeom>
          <a:noFill/>
          <a:extLst>
            <a:ext uri="{909E8E84-426E-40DD-AFC4-6F175D3DCCD1}">
              <a14:hiddenFill xmlns:a14="http://schemas.microsoft.com/office/drawing/2010/main">
                <a:solidFill>
                  <a:srgbClr val="FFFFFF"/>
                </a:solidFill>
              </a14:hiddenFill>
            </a:ext>
          </a:extLst>
        </p:spPr>
      </p:pic>
      <p:sp>
        <p:nvSpPr>
          <p:cNvPr id="38" name="CuadroTexto 37">
            <a:extLst>
              <a:ext uri="{FF2B5EF4-FFF2-40B4-BE49-F238E27FC236}">
                <a16:creationId xmlns:a16="http://schemas.microsoft.com/office/drawing/2014/main" id="{47146FA2-9D0C-1087-8685-186ECCE17716}"/>
              </a:ext>
            </a:extLst>
          </p:cNvPr>
          <p:cNvSpPr txBox="1"/>
          <p:nvPr/>
        </p:nvSpPr>
        <p:spPr>
          <a:xfrm>
            <a:off x="4743489" y="3527615"/>
            <a:ext cx="2617537" cy="1200329"/>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rgbClr val="0072BC"/>
                </a:solidFill>
                <a:effectLst/>
                <a:uLnTx/>
                <a:uFillTx/>
                <a:latin typeface="Arial"/>
                <a:ea typeface="+mn-ea"/>
                <a:cs typeface="+mn-cs"/>
              </a:rPr>
              <a:t>Estructuramos el proyecto en fases claramente definidas, desglosadas en tareas específicas. Esta organización asegura el cumplimiento ordenado y eficiente de cada proceso</a:t>
            </a:r>
            <a:endParaRPr kumimoji="0" lang="es-ES" sz="1800" b="0" i="0" u="none" strike="noStrike" kern="1200" cap="none" spc="0" normalizeH="0" baseline="0" noProof="0">
              <a:ln>
                <a:noFill/>
              </a:ln>
              <a:solidFill>
                <a:srgbClr val="2E404D"/>
              </a:solidFill>
              <a:effectLst/>
              <a:uLnTx/>
              <a:uFillTx/>
              <a:latin typeface="Arial"/>
              <a:ea typeface="+mn-ea"/>
              <a:cs typeface="+mn-cs"/>
            </a:endParaRPr>
          </a:p>
        </p:txBody>
      </p:sp>
      <p:pic>
        <p:nvPicPr>
          <p:cNvPr id="48" name="Picture 2">
            <a:extLst>
              <a:ext uri="{FF2B5EF4-FFF2-40B4-BE49-F238E27FC236}">
                <a16:creationId xmlns:a16="http://schemas.microsoft.com/office/drawing/2014/main" id="{4F9153A1-8091-31CF-C172-9727761658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3828" y="3124760"/>
            <a:ext cx="1744234" cy="3045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57536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F0FF3E-CB3E-FF88-7E4C-A3CED9707D17}"/>
            </a:ext>
          </a:extLst>
        </p:cNvPr>
        <p:cNvGrpSpPr/>
        <p:nvPr/>
      </p:nvGrpSpPr>
      <p:grpSpPr>
        <a:xfrm>
          <a:off x="0" y="0"/>
          <a:ext cx="0" cy="0"/>
          <a:chOff x="0" y="0"/>
          <a:chExt cx="0" cy="0"/>
        </a:xfrm>
      </p:grpSpPr>
      <p:pic>
        <p:nvPicPr>
          <p:cNvPr id="3" name="Imagen 2" descr="NTT Data - Red Seguridad">
            <a:extLst>
              <a:ext uri="{FF2B5EF4-FFF2-40B4-BE49-F238E27FC236}">
                <a16:creationId xmlns:a16="http://schemas.microsoft.com/office/drawing/2014/main" id="{C096EA1B-C112-A10D-7C5C-2618F14B5EFF}"/>
              </a:ext>
            </a:extLst>
          </p:cNvPr>
          <p:cNvPicPr>
            <a:picLocks noChangeAspect="1"/>
          </p:cNvPicPr>
          <p:nvPr/>
        </p:nvPicPr>
        <p:blipFill>
          <a:blip r:embed="rId3"/>
          <a:stretch>
            <a:fillRect/>
          </a:stretch>
        </p:blipFill>
        <p:spPr>
          <a:xfrm>
            <a:off x="10881313" y="-202669"/>
            <a:ext cx="1166998" cy="847775"/>
          </a:xfrm>
          <a:prstGeom prst="rect">
            <a:avLst/>
          </a:prstGeom>
        </p:spPr>
      </p:pic>
      <p:pic>
        <p:nvPicPr>
          <p:cNvPr id="4" name="Picture 3">
            <a:extLst>
              <a:ext uri="{FF2B5EF4-FFF2-40B4-BE49-F238E27FC236}">
                <a16:creationId xmlns:a16="http://schemas.microsoft.com/office/drawing/2014/main" id="{2D0AD233-8563-E03E-9EA7-B4547E88CF34}"/>
              </a:ext>
            </a:extLst>
          </p:cNvPr>
          <p:cNvPicPr>
            <a:picLocks noChangeAspect="1"/>
          </p:cNvPicPr>
          <p:nvPr/>
        </p:nvPicPr>
        <p:blipFill>
          <a:blip r:embed="rId4"/>
          <a:srcRect r="22480"/>
          <a:stretch>
            <a:fillRect/>
          </a:stretch>
        </p:blipFill>
        <p:spPr>
          <a:xfrm>
            <a:off x="9081410" y="32335"/>
            <a:ext cx="1610515" cy="388493"/>
          </a:xfrm>
          <a:prstGeom prst="rect">
            <a:avLst/>
          </a:prstGeom>
        </p:spPr>
      </p:pic>
      <p:sp>
        <p:nvSpPr>
          <p:cNvPr id="5" name="Text Placeholder 3">
            <a:extLst>
              <a:ext uri="{FF2B5EF4-FFF2-40B4-BE49-F238E27FC236}">
                <a16:creationId xmlns:a16="http://schemas.microsoft.com/office/drawing/2014/main" id="{863FE258-2B65-1FC4-399D-A0D04D7817C5}"/>
              </a:ext>
            </a:extLst>
          </p:cNvPr>
          <p:cNvSpPr txBox="1">
            <a:spLocks/>
          </p:cNvSpPr>
          <p:nvPr/>
        </p:nvSpPr>
        <p:spPr>
          <a:xfrm>
            <a:off x="354840" y="201563"/>
            <a:ext cx="2028697" cy="276999"/>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000" b="0" i="0" u="none" strike="noStrike" kern="1200" cap="none" spc="0" normalizeH="0" baseline="0" noProof="0" dirty="0">
                <a:ln>
                  <a:noFill/>
                </a:ln>
                <a:solidFill>
                  <a:srgbClr val="F14949"/>
                </a:solidFill>
                <a:effectLst/>
                <a:uLnTx/>
                <a:uFillTx/>
                <a:latin typeface="Santander Headline" panose="020B0504020201020104"/>
                <a:ea typeface="+mn-ea"/>
                <a:cs typeface="+mn-cs"/>
              </a:rPr>
              <a:t>Workstreams effort</a:t>
            </a:r>
          </a:p>
        </p:txBody>
      </p:sp>
      <p:sp>
        <p:nvSpPr>
          <p:cNvPr id="31" name="Marcador de texto 63">
            <a:extLst>
              <a:ext uri="{FF2B5EF4-FFF2-40B4-BE49-F238E27FC236}">
                <a16:creationId xmlns:a16="http://schemas.microsoft.com/office/drawing/2014/main" id="{F69A7573-BB1E-A0E9-56B6-4D4C1E9D4FA0}"/>
              </a:ext>
            </a:extLst>
          </p:cNvPr>
          <p:cNvSpPr txBox="1">
            <a:spLocks/>
          </p:cNvSpPr>
          <p:nvPr/>
        </p:nvSpPr>
        <p:spPr>
          <a:xfrm>
            <a:off x="704213" y="1313381"/>
            <a:ext cx="1276151" cy="655402"/>
          </a:xfrm>
          <a:prstGeom prst="rect">
            <a:avLst/>
          </a:prstGeom>
          <a:solidFill>
            <a:srgbClr val="9B2D1F"/>
          </a:solidFill>
          <a:ln w="19050" cap="flat" cmpd="sng" algn="ctr">
            <a:noFill/>
            <a:prstDash val="solid"/>
            <a:miter lim="800000"/>
          </a:ln>
          <a:effectLst/>
        </p:spPr>
        <p:txBody>
          <a:bodyPr rtlCol="0" anchor="ctr"/>
          <a:lstStyle>
            <a:defPPr>
              <a:defRPr lang="es-ES"/>
            </a:defPPr>
            <a:lvl1pPr marR="0" lvl="0" indent="0" algn="ctr" fontAlgn="auto">
              <a:lnSpc>
                <a:spcPct val="100000"/>
              </a:lnSpc>
              <a:spcBef>
                <a:spcPts val="0"/>
              </a:spcBef>
              <a:spcAft>
                <a:spcPts val="0"/>
              </a:spcAft>
              <a:buClrTx/>
              <a:buSzTx/>
              <a:buFontTx/>
              <a:buNone/>
              <a:tabLst/>
              <a:defRPr kumimoji="0" sz="1100" b="1" i="0" u="none" strike="noStrike" kern="0" cap="none" spc="0" normalizeH="0" baseline="0">
                <a:ln>
                  <a:noFill/>
                </a:ln>
                <a:solidFill>
                  <a:prstClr val="white"/>
                </a:solidFill>
                <a:effectLst>
                  <a:outerShdw blurRad="38100" dist="38100" dir="2700000" algn="tl">
                    <a:srgbClr val="000000">
                      <a:alpha val="43137"/>
                    </a:srgbClr>
                  </a:outerShdw>
                </a:effectLst>
                <a:uLnTx/>
                <a:uFillTx/>
                <a:latin typeface="Santander Text" panose="020B0504020201020104"/>
                <a:cs typeface="Arial" panose="020B0604020202020204" pitchFamily="34" charset="0"/>
              </a:defRPr>
            </a:lvl1pPr>
            <a:lvl2pPr marL="0" indent="0" algn="ctr" defTabSz="914400" rtl="0" eaLnBrk="0" fontAlgn="base" latinLnBrk="0" hangingPunct="0">
              <a:lnSpc>
                <a:spcPct val="90000"/>
              </a:lnSpc>
              <a:spcBef>
                <a:spcPts val="300"/>
              </a:spcBef>
              <a:buFont typeface="Arial" panose="020B0604020202020204" pitchFamily="34" charset="0"/>
              <a:buNone/>
              <a:defRPr lang="es-ES" sz="4000" b="1" kern="1200" dirty="0" smtClean="0">
                <a:solidFill>
                  <a:srgbClr val="6F7779"/>
                </a:solidFill>
                <a:latin typeface="Santander Text"/>
                <a:ea typeface="+mn-ea"/>
                <a:cs typeface="Arial" charset="0"/>
              </a:defRPr>
            </a:lvl2pPr>
            <a:lvl3pPr marL="0" indent="0" algn="ctr" defTabSz="914400" rtl="0" eaLnBrk="0" fontAlgn="base" latinLnBrk="0" hangingPunct="0">
              <a:lnSpc>
                <a:spcPct val="90000"/>
              </a:lnSpc>
              <a:spcBef>
                <a:spcPts val="300"/>
              </a:spcBef>
              <a:buFont typeface="Arial" panose="020B0604020202020204" pitchFamily="34" charset="0"/>
              <a:buNone/>
              <a:defRPr lang="es-ES" sz="4000" b="1" kern="1200" dirty="0" smtClean="0">
                <a:solidFill>
                  <a:srgbClr val="6F7779"/>
                </a:solidFill>
                <a:latin typeface="Santander Text"/>
                <a:ea typeface="+mn-ea"/>
                <a:cs typeface="Arial" charset="0"/>
              </a:defRPr>
            </a:lvl3pPr>
            <a:lvl4pPr marL="0" indent="0" algn="ctr" defTabSz="914400" rtl="0" eaLnBrk="0" fontAlgn="base" latinLnBrk="0" hangingPunct="0">
              <a:lnSpc>
                <a:spcPct val="90000"/>
              </a:lnSpc>
              <a:spcBef>
                <a:spcPts val="300"/>
              </a:spcBef>
              <a:buFont typeface="Arial" panose="020B0604020202020204" pitchFamily="34" charset="0"/>
              <a:buNone/>
              <a:defRPr lang="es-ES" sz="4000" b="1" kern="1200" dirty="0" smtClean="0">
                <a:solidFill>
                  <a:srgbClr val="6F7779"/>
                </a:solidFill>
                <a:latin typeface="Santander Text"/>
                <a:ea typeface="+mn-ea"/>
                <a:cs typeface="Arial" charset="0"/>
              </a:defRPr>
            </a:lvl4pPr>
            <a:lvl5pPr marL="0" indent="0" algn="ctr" defTabSz="914400" rtl="0" eaLnBrk="0" fontAlgn="base" latinLnBrk="0" hangingPunct="0">
              <a:lnSpc>
                <a:spcPct val="90000"/>
              </a:lnSpc>
              <a:spcBef>
                <a:spcPts val="300"/>
              </a:spcBef>
              <a:buFont typeface="Arial" panose="020B0604020202020204" pitchFamily="34" charset="0"/>
              <a:buNone/>
              <a:defRPr lang="es-ES" sz="4000" b="1" kern="1200" dirty="0">
                <a:solidFill>
                  <a:srgbClr val="6F7779"/>
                </a:solidFill>
                <a:latin typeface="Santander Text"/>
                <a:ea typeface="+mn-ea"/>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4000">
                <a:latin typeface="Santander Headline" panose="020B0504020201020104"/>
              </a:rPr>
              <a:t>1</a:t>
            </a:r>
          </a:p>
        </p:txBody>
      </p:sp>
      <p:sp>
        <p:nvSpPr>
          <p:cNvPr id="32" name="Marcador de texto 64">
            <a:extLst>
              <a:ext uri="{FF2B5EF4-FFF2-40B4-BE49-F238E27FC236}">
                <a16:creationId xmlns:a16="http://schemas.microsoft.com/office/drawing/2014/main" id="{98AC47BC-3F37-5AE9-99D4-A8AD8131D232}"/>
              </a:ext>
            </a:extLst>
          </p:cNvPr>
          <p:cNvSpPr txBox="1">
            <a:spLocks/>
          </p:cNvSpPr>
          <p:nvPr/>
        </p:nvSpPr>
        <p:spPr>
          <a:xfrm>
            <a:off x="1980364" y="1309547"/>
            <a:ext cx="2514470" cy="663092"/>
          </a:xfrm>
          <a:prstGeom prst="rect">
            <a:avLst/>
          </a:prstGeom>
          <a:solidFill>
            <a:schemeClr val="accent2">
              <a:lumMod val="20000"/>
              <a:lumOff val="80000"/>
            </a:schemeClr>
          </a:solidFill>
        </p:spPr>
        <p:txBody>
          <a:bodyPr anchor="ctr"/>
          <a:lstStyle>
            <a:lvl1pPr marL="0" indent="0" algn="l" defTabSz="914400" rtl="0" eaLnBrk="1" latinLnBrk="0" hangingPunct="1">
              <a:lnSpc>
                <a:spcPct val="90000"/>
              </a:lnSpc>
              <a:spcBef>
                <a:spcPts val="0"/>
              </a:spcBef>
              <a:spcAft>
                <a:spcPts val="400"/>
              </a:spcAft>
              <a:buFont typeface="Arial" panose="020B0604020202020204" pitchFamily="34" charset="0"/>
              <a:buNone/>
              <a:defRPr sz="1400" b="1" kern="1200">
                <a:solidFill>
                  <a:schemeClr val="tx1"/>
                </a:solidFill>
                <a:latin typeface="+mj-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antander Text" panose="020B05040202010201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antander Text" panose="020B05040202010201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400"/>
              </a:spcAft>
              <a:buClrTx/>
              <a:buSzTx/>
              <a:buFont typeface="Arial" panose="020B0604020202020204" pitchFamily="34" charset="0"/>
              <a:buNone/>
              <a:tabLst/>
              <a:defRPr/>
            </a:pPr>
            <a:r>
              <a:rPr kumimoji="0" lang="es-ES" sz="1400" b="1" i="0" u="none" strike="noStrike" kern="1200" cap="none" spc="0" normalizeH="0" baseline="0" noProof="0">
                <a:ln>
                  <a:noFill/>
                </a:ln>
                <a:solidFill>
                  <a:srgbClr val="6F7779"/>
                </a:solidFill>
                <a:effectLst/>
                <a:uLnTx/>
                <a:uFillTx/>
                <a:latin typeface="Santander Text"/>
                <a:ea typeface="+mn-ea"/>
                <a:cs typeface="+mn-cs"/>
              </a:rPr>
              <a:t>Analysis and requirements gathering</a:t>
            </a:r>
            <a:endParaRPr kumimoji="0" lang="es-ES" sz="1400" b="1" i="0" u="none" strike="noStrike" kern="1200" cap="none" spc="0" normalizeH="0" baseline="0" noProof="0" dirty="0">
              <a:ln>
                <a:noFill/>
              </a:ln>
              <a:solidFill>
                <a:srgbClr val="6F7779"/>
              </a:solidFill>
              <a:effectLst/>
              <a:uLnTx/>
              <a:uFillTx/>
              <a:latin typeface="Santander Text"/>
              <a:ea typeface="+mn-ea"/>
              <a:cs typeface="+mn-cs"/>
            </a:endParaRPr>
          </a:p>
        </p:txBody>
      </p:sp>
      <p:sp>
        <p:nvSpPr>
          <p:cNvPr id="33" name="Marcador de texto 65">
            <a:extLst>
              <a:ext uri="{FF2B5EF4-FFF2-40B4-BE49-F238E27FC236}">
                <a16:creationId xmlns:a16="http://schemas.microsoft.com/office/drawing/2014/main" id="{2BBF8099-4D28-076F-E1EB-7B1537F7DC0D}"/>
              </a:ext>
            </a:extLst>
          </p:cNvPr>
          <p:cNvSpPr txBox="1">
            <a:spLocks/>
          </p:cNvSpPr>
          <p:nvPr/>
        </p:nvSpPr>
        <p:spPr>
          <a:xfrm>
            <a:off x="4494834" y="1309547"/>
            <a:ext cx="7206297" cy="663092"/>
          </a:xfrm>
          <a:prstGeom prst="rect">
            <a:avLst/>
          </a:prstGeom>
          <a:solidFill>
            <a:srgbClr val="FFFFFF">
              <a:lumMod val="95000"/>
            </a:srgbClr>
          </a:solidFill>
        </p:spPr>
        <p:txBody>
          <a:bodyPr anchor="ctr"/>
          <a:lstStyle>
            <a:lvl1pPr marL="180000" indent="-180000" algn="l" defTabSz="914400" rtl="0" eaLnBrk="1" latinLnBrk="0" hangingPunct="1">
              <a:lnSpc>
                <a:spcPct val="100000"/>
              </a:lnSpc>
              <a:spcBef>
                <a:spcPts val="300"/>
              </a:spcBef>
              <a:spcAft>
                <a:spcPts val="0"/>
              </a:spcAft>
              <a:buClr>
                <a:schemeClr val="accent1">
                  <a:lumMod val="75000"/>
                </a:schemeClr>
              </a:buClr>
              <a:buFont typeface="Santander Text" panose="020B0504020201020104" pitchFamily="34" charset="0"/>
              <a:buChar char="•"/>
              <a:defRPr sz="800" b="0" kern="1200">
                <a:solidFill>
                  <a:schemeClr val="tx1"/>
                </a:solidFill>
                <a:latin typeface="+mj-lt"/>
                <a:ea typeface="+mn-ea"/>
                <a:cs typeface="+mn-cs"/>
              </a:defRPr>
            </a:lvl1pPr>
            <a:lvl2pPr marL="180000" indent="-180000" algn="l" defTabSz="914400" rtl="0" eaLnBrk="1" latinLnBrk="0" hangingPunct="1">
              <a:lnSpc>
                <a:spcPct val="100000"/>
              </a:lnSpc>
              <a:spcBef>
                <a:spcPts val="300"/>
              </a:spcBef>
              <a:spcAft>
                <a:spcPts val="0"/>
              </a:spcAft>
              <a:buClr>
                <a:schemeClr val="accent1">
                  <a:lumMod val="75000"/>
                </a:schemeClr>
              </a:buClr>
              <a:buFont typeface="Santander Text" panose="020B0504020201020104" pitchFamily="34" charset="0"/>
              <a:buChar char="•"/>
              <a:defRPr sz="800" b="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antander Text" panose="020B05040202010201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antander Text" panose="020B05040202010201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0" indent="-180000" algn="just" defTabSz="914400" rtl="0" eaLnBrk="1" fontAlgn="auto" latinLnBrk="0" hangingPunct="1">
              <a:lnSpc>
                <a:spcPct val="100000"/>
              </a:lnSpc>
              <a:spcBef>
                <a:spcPts val="300"/>
              </a:spcBef>
              <a:spcAft>
                <a:spcPts val="0"/>
              </a:spcAft>
              <a:buClr>
                <a:srgbClr val="184E62">
                  <a:lumMod val="75000"/>
                </a:srgbClr>
              </a:buClr>
              <a:buSzTx/>
              <a:buFont typeface="Santander Text" panose="020B0504020201020104" pitchFamily="34" charset="0"/>
              <a:buChar char="•"/>
              <a:tabLst/>
              <a:defRPr/>
            </a:pPr>
            <a:r>
              <a:rPr kumimoji="0" lang="en-US" sz="800" b="0" i="0" u="none" strike="noStrike" kern="1200" cap="none" spc="0" normalizeH="0" baseline="0" noProof="0">
                <a:ln>
                  <a:noFill/>
                </a:ln>
                <a:solidFill>
                  <a:srgbClr val="6F7779"/>
                </a:solidFill>
                <a:effectLst/>
                <a:uLnTx/>
                <a:uFillTx/>
                <a:latin typeface="Santander Text"/>
                <a:ea typeface="+mn-ea"/>
                <a:cs typeface="+mn-cs"/>
              </a:rPr>
              <a:t>The initiative seeks to gather comprehensive information about data sources, ingestion processes, processing systems, storage and data destination, governance and compliance frameworks, and data consumption and exploitation practices. It aims to understand the end-to-end architecture and functional blocks of FMIS/SANART systems, including detailed knowledge of data architecture and workflows. Additionally, it focuses on managing and storing relevant historical data and scenarios, while identifying the semantic model and ontologies that underpin the system's data structure.</a:t>
            </a:r>
            <a:endParaRPr kumimoji="0" lang="es-ES" sz="800" b="0" i="0" u="none" strike="noStrike" kern="1200" cap="none" spc="0" normalizeH="0" baseline="0" noProof="0" dirty="0">
              <a:ln>
                <a:noFill/>
              </a:ln>
              <a:solidFill>
                <a:srgbClr val="6F7779"/>
              </a:solidFill>
              <a:effectLst/>
              <a:uLnTx/>
              <a:uFillTx/>
              <a:latin typeface="Santander Text"/>
              <a:ea typeface="+mn-ea"/>
              <a:cs typeface="+mn-cs"/>
            </a:endParaRPr>
          </a:p>
        </p:txBody>
      </p:sp>
      <p:sp>
        <p:nvSpPr>
          <p:cNvPr id="34" name="Marcador de texto 66">
            <a:extLst>
              <a:ext uri="{FF2B5EF4-FFF2-40B4-BE49-F238E27FC236}">
                <a16:creationId xmlns:a16="http://schemas.microsoft.com/office/drawing/2014/main" id="{B1FB137D-8B5B-EAA2-8089-FB5A48E87C25}"/>
              </a:ext>
            </a:extLst>
          </p:cNvPr>
          <p:cNvSpPr txBox="1">
            <a:spLocks/>
          </p:cNvSpPr>
          <p:nvPr/>
        </p:nvSpPr>
        <p:spPr>
          <a:xfrm>
            <a:off x="704213" y="2083943"/>
            <a:ext cx="1276151" cy="655402"/>
          </a:xfrm>
          <a:prstGeom prst="rect">
            <a:avLst/>
          </a:prstGeom>
          <a:solidFill>
            <a:srgbClr val="9B2D1F"/>
          </a:solidFill>
          <a:ln w="19050" cap="flat" cmpd="sng" algn="ctr">
            <a:noFill/>
            <a:prstDash val="solid"/>
            <a:miter lim="800000"/>
          </a:ln>
          <a:effectLst/>
        </p:spPr>
        <p:txBody>
          <a:bodyPr rtlCol="0" anchor="ctr"/>
          <a:lstStyle>
            <a:defPPr>
              <a:defRPr lang="es-ES"/>
            </a:defPPr>
            <a:lvl1pPr marR="0" lvl="0" indent="0" algn="ctr" fontAlgn="auto">
              <a:lnSpc>
                <a:spcPct val="100000"/>
              </a:lnSpc>
              <a:spcBef>
                <a:spcPts val="0"/>
              </a:spcBef>
              <a:spcAft>
                <a:spcPts val="0"/>
              </a:spcAft>
              <a:buClrTx/>
              <a:buSzTx/>
              <a:buFontTx/>
              <a:buNone/>
              <a:tabLst/>
              <a:defRPr kumimoji="0" sz="4000" b="1" i="0" u="none" strike="noStrike" kern="0" cap="none" spc="0" normalizeH="0" baseline="0">
                <a:ln>
                  <a:noFill/>
                </a:ln>
                <a:solidFill>
                  <a:prstClr val="white"/>
                </a:solidFill>
                <a:effectLst>
                  <a:outerShdw blurRad="38100" dist="38100" dir="2700000" algn="tl">
                    <a:srgbClr val="000000">
                      <a:alpha val="43137"/>
                    </a:srgbClr>
                  </a:outerShdw>
                </a:effectLst>
                <a:uLnTx/>
                <a:uFillTx/>
                <a:latin typeface="Santander Headline" panose="020B0504020201020104"/>
                <a:cs typeface="Arial" panose="020B0604020202020204" pitchFamily="34" charset="0"/>
              </a:defRPr>
            </a:lvl1pPr>
            <a:lvl2pPr marL="0" indent="0" algn="ctr" eaLnBrk="0" fontAlgn="base" hangingPunct="0">
              <a:lnSpc>
                <a:spcPct val="90000"/>
              </a:lnSpc>
              <a:spcBef>
                <a:spcPts val="300"/>
              </a:spcBef>
              <a:buFont typeface="Arial" panose="020B0604020202020204" pitchFamily="34" charset="0"/>
              <a:buNone/>
              <a:defRPr sz="4000" b="1">
                <a:solidFill>
                  <a:srgbClr val="6F7779"/>
                </a:solidFill>
                <a:latin typeface="Santander Text"/>
                <a:cs typeface="Arial" charset="0"/>
              </a:defRPr>
            </a:lvl2pPr>
            <a:lvl3pPr marL="0" indent="0" algn="ctr" eaLnBrk="0" fontAlgn="base" hangingPunct="0">
              <a:lnSpc>
                <a:spcPct val="90000"/>
              </a:lnSpc>
              <a:spcBef>
                <a:spcPts val="300"/>
              </a:spcBef>
              <a:buFont typeface="Arial" panose="020B0604020202020204" pitchFamily="34" charset="0"/>
              <a:buNone/>
              <a:defRPr sz="4000" b="1">
                <a:solidFill>
                  <a:srgbClr val="6F7779"/>
                </a:solidFill>
                <a:latin typeface="Santander Text"/>
                <a:cs typeface="Arial" charset="0"/>
              </a:defRPr>
            </a:lvl3pPr>
            <a:lvl4pPr marL="0" indent="0" algn="ctr" eaLnBrk="0" fontAlgn="base" hangingPunct="0">
              <a:lnSpc>
                <a:spcPct val="90000"/>
              </a:lnSpc>
              <a:spcBef>
                <a:spcPts val="300"/>
              </a:spcBef>
              <a:buFont typeface="Arial" panose="020B0604020202020204" pitchFamily="34" charset="0"/>
              <a:buNone/>
              <a:defRPr sz="4000" b="1">
                <a:solidFill>
                  <a:srgbClr val="6F7779"/>
                </a:solidFill>
                <a:latin typeface="Santander Text"/>
                <a:cs typeface="Arial" charset="0"/>
              </a:defRPr>
            </a:lvl4pPr>
            <a:lvl5pPr marL="0" indent="0" algn="ctr" eaLnBrk="0" fontAlgn="base" hangingPunct="0">
              <a:lnSpc>
                <a:spcPct val="90000"/>
              </a:lnSpc>
              <a:spcBef>
                <a:spcPts val="300"/>
              </a:spcBef>
              <a:buFont typeface="Arial" panose="020B0604020202020204" pitchFamily="34" charset="0"/>
              <a:buNone/>
              <a:defRPr sz="4000" b="1">
                <a:solidFill>
                  <a:srgbClr val="6F7779"/>
                </a:solidFill>
                <a:latin typeface="Santander Text"/>
                <a:cs typeface="Arial"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s-ES"/>
              <a:t>2</a:t>
            </a:r>
          </a:p>
        </p:txBody>
      </p:sp>
      <p:sp>
        <p:nvSpPr>
          <p:cNvPr id="35" name="Marcador de texto 67">
            <a:extLst>
              <a:ext uri="{FF2B5EF4-FFF2-40B4-BE49-F238E27FC236}">
                <a16:creationId xmlns:a16="http://schemas.microsoft.com/office/drawing/2014/main" id="{D2A62E42-5B4A-B43A-D454-E57665F5B883}"/>
              </a:ext>
            </a:extLst>
          </p:cNvPr>
          <p:cNvSpPr txBox="1">
            <a:spLocks/>
          </p:cNvSpPr>
          <p:nvPr/>
        </p:nvSpPr>
        <p:spPr>
          <a:xfrm>
            <a:off x="1980364" y="2080109"/>
            <a:ext cx="2514470" cy="663092"/>
          </a:xfrm>
          <a:prstGeom prst="rect">
            <a:avLst/>
          </a:prstGeom>
          <a:solidFill>
            <a:schemeClr val="accent2">
              <a:lumMod val="20000"/>
              <a:lumOff val="80000"/>
            </a:schemeClr>
          </a:solidFill>
        </p:spPr>
        <p:txBody>
          <a:bodyPr anchor="ctr"/>
          <a:lstStyle>
            <a:defPPr>
              <a:defRPr lang="es-ES"/>
            </a:defPPr>
            <a:lvl1pPr marR="0" lvl="0" indent="0" fontAlgn="auto">
              <a:lnSpc>
                <a:spcPct val="90000"/>
              </a:lnSpc>
              <a:spcBef>
                <a:spcPts val="0"/>
              </a:spcBef>
              <a:spcAft>
                <a:spcPts val="400"/>
              </a:spcAft>
              <a:buClrTx/>
              <a:buSzTx/>
              <a:buFont typeface="Arial" panose="020B0604020202020204" pitchFamily="34" charset="0"/>
              <a:buNone/>
              <a:tabLst/>
              <a:defRPr kumimoji="0" sz="1400" b="1" i="0" u="none" strike="noStrike" cap="none" spc="0" normalizeH="0" baseline="0">
                <a:ln>
                  <a:noFill/>
                </a:ln>
                <a:solidFill>
                  <a:srgbClr val="6F7779"/>
                </a:solidFill>
                <a:effectLst/>
                <a:uLnTx/>
                <a:uFillTx/>
                <a:latin typeface="Santander Text"/>
              </a:defRPr>
            </a:lvl1pPr>
            <a:lvl2pPr marL="0" indent="0">
              <a:lnSpc>
                <a:spcPct val="100000"/>
              </a:lnSpc>
              <a:spcBef>
                <a:spcPts val="0"/>
              </a:spcBef>
              <a:buFont typeface="Arial" panose="020B0604020202020204" pitchFamily="34" charset="0"/>
              <a:buNone/>
              <a:defRPr sz="1400">
                <a:latin typeface="+mj-lt"/>
              </a:defRPr>
            </a:lvl2pPr>
            <a:lvl3pPr marL="1143000" indent="-228600">
              <a:lnSpc>
                <a:spcPct val="90000"/>
              </a:lnSpc>
              <a:spcBef>
                <a:spcPts val="500"/>
              </a:spcBef>
              <a:buFont typeface="Arial" panose="020B0604020202020204" pitchFamily="34" charset="0"/>
              <a:buChar char="•"/>
              <a:defRPr sz="2000">
                <a:latin typeface="Santander Text" panose="020B0504020201020104" pitchFamily="34" charset="77"/>
              </a:defRPr>
            </a:lvl3pPr>
            <a:lvl4pPr marL="1600200" indent="-228600">
              <a:lnSpc>
                <a:spcPct val="90000"/>
              </a:lnSpc>
              <a:spcBef>
                <a:spcPts val="500"/>
              </a:spcBef>
              <a:buFont typeface="Arial" panose="020B0604020202020204" pitchFamily="34" charset="0"/>
              <a:buChar char="•"/>
              <a:defRPr>
                <a:latin typeface="Santander Text" panose="020B0504020201020104" pitchFamily="34" charset="77"/>
              </a:defRPr>
            </a:lvl4pPr>
            <a:lvl5pPr marL="2057400" indent="-228600">
              <a:lnSpc>
                <a:spcPct val="90000"/>
              </a:lnSpc>
              <a:spcBef>
                <a:spcPts val="500"/>
              </a:spcBef>
              <a:buFont typeface="Arial" panose="020B0604020202020204" pitchFamily="34" charset="0"/>
              <a:buChar char="•"/>
              <a:defRPr>
                <a:latin typeface="Santander Text" panose="020B0504020201020104" pitchFamily="34"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s-ES"/>
              <a:t>Identification and erros management</a:t>
            </a:r>
          </a:p>
        </p:txBody>
      </p:sp>
      <p:sp>
        <p:nvSpPr>
          <p:cNvPr id="36" name="Marcador de texto 68">
            <a:extLst>
              <a:ext uri="{FF2B5EF4-FFF2-40B4-BE49-F238E27FC236}">
                <a16:creationId xmlns:a16="http://schemas.microsoft.com/office/drawing/2014/main" id="{DA5E5E68-5F43-9FD3-0263-7F860D1C3490}"/>
              </a:ext>
            </a:extLst>
          </p:cNvPr>
          <p:cNvSpPr txBox="1">
            <a:spLocks/>
          </p:cNvSpPr>
          <p:nvPr/>
        </p:nvSpPr>
        <p:spPr>
          <a:xfrm>
            <a:off x="4494834" y="2080109"/>
            <a:ext cx="7206297" cy="663092"/>
          </a:xfrm>
          <a:prstGeom prst="rect">
            <a:avLst/>
          </a:prstGeom>
          <a:solidFill>
            <a:srgbClr val="FFFFFF">
              <a:lumMod val="95000"/>
            </a:srgbClr>
          </a:solidFill>
        </p:spPr>
        <p:txBody>
          <a:bodyPr anchor="ctr"/>
          <a:lstStyle>
            <a:lvl1pPr marL="180000" indent="-180000" algn="l" defTabSz="914400" rtl="0" eaLnBrk="1" latinLnBrk="0" hangingPunct="1">
              <a:lnSpc>
                <a:spcPct val="100000"/>
              </a:lnSpc>
              <a:spcBef>
                <a:spcPts val="300"/>
              </a:spcBef>
              <a:spcAft>
                <a:spcPts val="0"/>
              </a:spcAft>
              <a:buClr>
                <a:schemeClr val="accent1">
                  <a:lumMod val="75000"/>
                </a:schemeClr>
              </a:buClr>
              <a:buFont typeface="Santander Text" panose="020B0504020201020104" pitchFamily="34" charset="0"/>
              <a:buChar char="•"/>
              <a:defRPr sz="800" b="0" kern="1200">
                <a:solidFill>
                  <a:schemeClr val="tx1"/>
                </a:solidFill>
                <a:latin typeface="+mj-lt"/>
                <a:ea typeface="+mn-ea"/>
                <a:cs typeface="+mn-cs"/>
              </a:defRPr>
            </a:lvl1pPr>
            <a:lvl2pPr marL="180000" indent="-180000" algn="l" defTabSz="914400" rtl="0" eaLnBrk="1" latinLnBrk="0" hangingPunct="1">
              <a:lnSpc>
                <a:spcPct val="100000"/>
              </a:lnSpc>
              <a:spcBef>
                <a:spcPts val="300"/>
              </a:spcBef>
              <a:spcAft>
                <a:spcPts val="0"/>
              </a:spcAft>
              <a:buClr>
                <a:schemeClr val="accent1">
                  <a:lumMod val="75000"/>
                </a:schemeClr>
              </a:buClr>
              <a:buFont typeface="Santander Text" panose="020B0504020201020104" pitchFamily="34" charset="0"/>
              <a:buChar char="•"/>
              <a:defRPr sz="800" b="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antander Text" panose="020B05040202010201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antander Text" panose="020B05040202010201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0" indent="-180000" algn="just" defTabSz="914400" rtl="0" eaLnBrk="1" fontAlgn="auto" latinLnBrk="0" hangingPunct="1">
              <a:lnSpc>
                <a:spcPct val="100000"/>
              </a:lnSpc>
              <a:spcBef>
                <a:spcPts val="300"/>
              </a:spcBef>
              <a:spcAft>
                <a:spcPts val="0"/>
              </a:spcAft>
              <a:buClr>
                <a:srgbClr val="184E62">
                  <a:lumMod val="75000"/>
                </a:srgbClr>
              </a:buClr>
              <a:buSzTx/>
              <a:buFont typeface="Santander Text" panose="020B0504020201020104" pitchFamily="34" charset="0"/>
              <a:buChar char="•"/>
              <a:tabLst/>
              <a:defRPr/>
            </a:pPr>
            <a:r>
              <a:rPr kumimoji="0" lang="en-US" sz="800" b="0" i="0" u="none" strike="noStrike" kern="1200" cap="none" spc="0" normalizeH="0" baseline="0" noProof="0" dirty="0">
                <a:ln>
                  <a:noFill/>
                </a:ln>
                <a:solidFill>
                  <a:srgbClr val="6F7779"/>
                </a:solidFill>
                <a:effectLst/>
                <a:uLnTx/>
                <a:uFillTx/>
                <a:latin typeface="Santander Text"/>
                <a:ea typeface="+mn-ea"/>
                <a:cs typeface="+mn-cs"/>
              </a:rPr>
              <a:t>The work involves analyzing current processes to identify failure points and comparing </a:t>
            </a:r>
            <a:r>
              <a:rPr kumimoji="0" lang="en-US" sz="800" b="0" i="0" u="none" strike="noStrike" kern="1200" cap="none" spc="0" normalizeH="0" baseline="0" noProof="0">
                <a:ln>
                  <a:noFill/>
                </a:ln>
                <a:solidFill>
                  <a:srgbClr val="6F7779"/>
                </a:solidFill>
                <a:effectLst/>
                <a:uLnTx/>
                <a:uFillTx/>
                <a:latin typeface="Santander Text"/>
                <a:ea typeface="+mn-ea"/>
                <a:cs typeface="+mn-cs"/>
              </a:rPr>
              <a:t>internal practices. </a:t>
            </a:r>
            <a:r>
              <a:rPr kumimoji="0" lang="en-US" sz="800" b="0" i="0" u="none" strike="noStrike" kern="1200" cap="none" spc="0" normalizeH="0" baseline="0" noProof="0" dirty="0">
                <a:ln>
                  <a:noFill/>
                </a:ln>
                <a:solidFill>
                  <a:srgbClr val="6F7779"/>
                </a:solidFill>
                <a:effectLst/>
                <a:uLnTx/>
                <a:uFillTx/>
                <a:latin typeface="Santander Text"/>
                <a:ea typeface="+mn-ea"/>
                <a:cs typeface="+mn-cs"/>
              </a:rPr>
              <a:t>It includes developing a preliminary gap list, reviewing both manual and automatic rules and criteria, and identifying potential solutions. The effort encompasses classifying requirements by granularity and remediation level, evaluating data quality at the source, and validating findings with stakeholders to determine initial priorities. Additionally, it focuses on identifying duplications across sources and defining consolidation rules to ensure data consistency and integrity</a:t>
            </a:r>
            <a:endParaRPr kumimoji="0" lang="es-ES" sz="800" b="0" i="0" u="none" strike="noStrike" kern="1200" cap="none" spc="0" normalizeH="0" baseline="0" noProof="0" dirty="0">
              <a:ln>
                <a:noFill/>
              </a:ln>
              <a:solidFill>
                <a:srgbClr val="6F7779"/>
              </a:solidFill>
              <a:effectLst/>
              <a:uLnTx/>
              <a:uFillTx/>
              <a:latin typeface="Santander Text"/>
              <a:ea typeface="+mn-ea"/>
              <a:cs typeface="+mn-cs"/>
            </a:endParaRPr>
          </a:p>
        </p:txBody>
      </p:sp>
      <p:sp>
        <p:nvSpPr>
          <p:cNvPr id="37" name="Marcador de texto 69">
            <a:extLst>
              <a:ext uri="{FF2B5EF4-FFF2-40B4-BE49-F238E27FC236}">
                <a16:creationId xmlns:a16="http://schemas.microsoft.com/office/drawing/2014/main" id="{60C83924-39C4-B667-2FA7-65903222D51D}"/>
              </a:ext>
            </a:extLst>
          </p:cNvPr>
          <p:cNvSpPr txBox="1">
            <a:spLocks/>
          </p:cNvSpPr>
          <p:nvPr/>
        </p:nvSpPr>
        <p:spPr>
          <a:xfrm>
            <a:off x="704213" y="2844230"/>
            <a:ext cx="1276151" cy="655402"/>
          </a:xfrm>
          <a:prstGeom prst="rect">
            <a:avLst/>
          </a:prstGeom>
          <a:solidFill>
            <a:srgbClr val="9B2D1F"/>
          </a:solidFill>
          <a:ln w="19050" cap="flat" cmpd="sng" algn="ctr">
            <a:noFill/>
            <a:prstDash val="solid"/>
            <a:miter lim="800000"/>
          </a:ln>
          <a:effectLst/>
        </p:spPr>
        <p:txBody>
          <a:bodyPr rtlCol="0" anchor="ctr"/>
          <a:lstStyle>
            <a:defPPr>
              <a:defRPr lang="es-ES"/>
            </a:defPPr>
            <a:lvl1pPr marR="0" lvl="0" indent="0" algn="ctr" fontAlgn="auto">
              <a:lnSpc>
                <a:spcPct val="100000"/>
              </a:lnSpc>
              <a:spcBef>
                <a:spcPts val="0"/>
              </a:spcBef>
              <a:spcAft>
                <a:spcPts val="0"/>
              </a:spcAft>
              <a:buClrTx/>
              <a:buSzTx/>
              <a:buFontTx/>
              <a:buNone/>
              <a:tabLst/>
              <a:defRPr kumimoji="0" sz="4000" b="1" i="0" u="none" strike="noStrike" kern="0" cap="none" spc="0" normalizeH="0" baseline="0">
                <a:ln>
                  <a:noFill/>
                </a:ln>
                <a:solidFill>
                  <a:prstClr val="white"/>
                </a:solidFill>
                <a:effectLst>
                  <a:outerShdw blurRad="38100" dist="38100" dir="2700000" algn="tl">
                    <a:srgbClr val="000000">
                      <a:alpha val="43137"/>
                    </a:srgbClr>
                  </a:outerShdw>
                </a:effectLst>
                <a:uLnTx/>
                <a:uFillTx/>
                <a:latin typeface="Santander Headline" panose="020B0504020201020104"/>
                <a:cs typeface="Arial" panose="020B0604020202020204" pitchFamily="34" charset="0"/>
              </a:defRPr>
            </a:lvl1pPr>
            <a:lvl2pPr marL="0" indent="0" algn="ctr" eaLnBrk="0" fontAlgn="base" hangingPunct="0">
              <a:lnSpc>
                <a:spcPct val="90000"/>
              </a:lnSpc>
              <a:spcBef>
                <a:spcPts val="300"/>
              </a:spcBef>
              <a:buFont typeface="Arial" panose="020B0604020202020204" pitchFamily="34" charset="0"/>
              <a:buNone/>
              <a:defRPr sz="4000" b="1">
                <a:solidFill>
                  <a:srgbClr val="6F7779"/>
                </a:solidFill>
                <a:latin typeface="Santander Text"/>
                <a:cs typeface="Arial" charset="0"/>
              </a:defRPr>
            </a:lvl2pPr>
            <a:lvl3pPr marL="0" indent="0" algn="ctr" eaLnBrk="0" fontAlgn="base" hangingPunct="0">
              <a:lnSpc>
                <a:spcPct val="90000"/>
              </a:lnSpc>
              <a:spcBef>
                <a:spcPts val="300"/>
              </a:spcBef>
              <a:buFont typeface="Arial" panose="020B0604020202020204" pitchFamily="34" charset="0"/>
              <a:buNone/>
              <a:defRPr sz="4000" b="1">
                <a:solidFill>
                  <a:srgbClr val="6F7779"/>
                </a:solidFill>
                <a:latin typeface="Santander Text"/>
                <a:cs typeface="Arial" charset="0"/>
              </a:defRPr>
            </a:lvl3pPr>
            <a:lvl4pPr marL="0" indent="0" algn="ctr" eaLnBrk="0" fontAlgn="base" hangingPunct="0">
              <a:lnSpc>
                <a:spcPct val="90000"/>
              </a:lnSpc>
              <a:spcBef>
                <a:spcPts val="300"/>
              </a:spcBef>
              <a:buFont typeface="Arial" panose="020B0604020202020204" pitchFamily="34" charset="0"/>
              <a:buNone/>
              <a:defRPr sz="4000" b="1">
                <a:solidFill>
                  <a:srgbClr val="6F7779"/>
                </a:solidFill>
                <a:latin typeface="Santander Text"/>
                <a:cs typeface="Arial" charset="0"/>
              </a:defRPr>
            </a:lvl4pPr>
            <a:lvl5pPr marL="0" indent="0" algn="ctr" eaLnBrk="0" fontAlgn="base" hangingPunct="0">
              <a:lnSpc>
                <a:spcPct val="90000"/>
              </a:lnSpc>
              <a:spcBef>
                <a:spcPts val="300"/>
              </a:spcBef>
              <a:buFont typeface="Arial" panose="020B0604020202020204" pitchFamily="34" charset="0"/>
              <a:buNone/>
              <a:defRPr sz="4000" b="1">
                <a:solidFill>
                  <a:srgbClr val="6F7779"/>
                </a:solidFill>
                <a:latin typeface="Santander Text"/>
                <a:cs typeface="Arial"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s-ES"/>
              <a:t>3</a:t>
            </a:r>
          </a:p>
        </p:txBody>
      </p:sp>
      <p:sp>
        <p:nvSpPr>
          <p:cNvPr id="38" name="Marcador de texto 70">
            <a:extLst>
              <a:ext uri="{FF2B5EF4-FFF2-40B4-BE49-F238E27FC236}">
                <a16:creationId xmlns:a16="http://schemas.microsoft.com/office/drawing/2014/main" id="{4E119DCB-22FF-D617-B7E8-F705DE853A7A}"/>
              </a:ext>
            </a:extLst>
          </p:cNvPr>
          <p:cNvSpPr txBox="1">
            <a:spLocks/>
          </p:cNvSpPr>
          <p:nvPr/>
        </p:nvSpPr>
        <p:spPr>
          <a:xfrm>
            <a:off x="1980364" y="2840396"/>
            <a:ext cx="2514470" cy="663092"/>
          </a:xfrm>
          <a:prstGeom prst="rect">
            <a:avLst/>
          </a:prstGeom>
          <a:solidFill>
            <a:schemeClr val="accent2">
              <a:lumMod val="20000"/>
              <a:lumOff val="80000"/>
            </a:schemeClr>
          </a:solidFill>
        </p:spPr>
        <p:txBody>
          <a:bodyPr anchor="ctr"/>
          <a:lstStyle>
            <a:defPPr>
              <a:defRPr lang="es-ES"/>
            </a:defPPr>
            <a:lvl1pPr marR="0" lvl="0" indent="0" fontAlgn="auto">
              <a:lnSpc>
                <a:spcPct val="90000"/>
              </a:lnSpc>
              <a:spcBef>
                <a:spcPts val="0"/>
              </a:spcBef>
              <a:spcAft>
                <a:spcPts val="400"/>
              </a:spcAft>
              <a:buClrTx/>
              <a:buSzTx/>
              <a:buFont typeface="Arial" panose="020B0604020202020204" pitchFamily="34" charset="0"/>
              <a:buNone/>
              <a:tabLst/>
              <a:defRPr kumimoji="0" sz="1400" b="1" i="0" u="none" strike="noStrike" cap="none" spc="0" normalizeH="0" baseline="0">
                <a:ln>
                  <a:noFill/>
                </a:ln>
                <a:solidFill>
                  <a:srgbClr val="6F7779"/>
                </a:solidFill>
                <a:effectLst/>
                <a:uLnTx/>
                <a:uFillTx/>
                <a:latin typeface="Santander Text"/>
              </a:defRPr>
            </a:lvl1pPr>
            <a:lvl2pPr marL="0" indent="0">
              <a:lnSpc>
                <a:spcPct val="100000"/>
              </a:lnSpc>
              <a:spcBef>
                <a:spcPts val="0"/>
              </a:spcBef>
              <a:buFont typeface="Arial" panose="020B0604020202020204" pitchFamily="34" charset="0"/>
              <a:buNone/>
              <a:defRPr sz="1400">
                <a:latin typeface="+mj-lt"/>
              </a:defRPr>
            </a:lvl2pPr>
            <a:lvl3pPr marL="1143000" indent="-228600">
              <a:lnSpc>
                <a:spcPct val="90000"/>
              </a:lnSpc>
              <a:spcBef>
                <a:spcPts val="500"/>
              </a:spcBef>
              <a:buFont typeface="Arial" panose="020B0604020202020204" pitchFamily="34" charset="0"/>
              <a:buChar char="•"/>
              <a:defRPr sz="2000">
                <a:latin typeface="Santander Text" panose="020B0504020201020104" pitchFamily="34" charset="77"/>
              </a:defRPr>
            </a:lvl3pPr>
            <a:lvl4pPr marL="1600200" indent="-228600">
              <a:lnSpc>
                <a:spcPct val="90000"/>
              </a:lnSpc>
              <a:spcBef>
                <a:spcPts val="500"/>
              </a:spcBef>
              <a:buFont typeface="Arial" panose="020B0604020202020204" pitchFamily="34" charset="0"/>
              <a:buChar char="•"/>
              <a:defRPr>
                <a:latin typeface="Santander Text" panose="020B0504020201020104" pitchFamily="34" charset="77"/>
              </a:defRPr>
            </a:lvl4pPr>
            <a:lvl5pPr marL="2057400" indent="-228600">
              <a:lnSpc>
                <a:spcPct val="90000"/>
              </a:lnSpc>
              <a:spcBef>
                <a:spcPts val="500"/>
              </a:spcBef>
              <a:buFont typeface="Arial" panose="020B0604020202020204" pitchFamily="34" charset="0"/>
              <a:buChar char="•"/>
              <a:defRPr>
                <a:latin typeface="Santander Text" panose="020B0504020201020104" pitchFamily="34"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s-ES"/>
              <a:t>Techincal support and chatbot requirements</a:t>
            </a:r>
          </a:p>
        </p:txBody>
      </p:sp>
      <p:sp>
        <p:nvSpPr>
          <p:cNvPr id="39" name="Marcador de texto 71">
            <a:extLst>
              <a:ext uri="{FF2B5EF4-FFF2-40B4-BE49-F238E27FC236}">
                <a16:creationId xmlns:a16="http://schemas.microsoft.com/office/drawing/2014/main" id="{0834D1F8-C8F2-7294-EF74-BDA470DAAD53}"/>
              </a:ext>
            </a:extLst>
          </p:cNvPr>
          <p:cNvSpPr txBox="1">
            <a:spLocks/>
          </p:cNvSpPr>
          <p:nvPr/>
        </p:nvSpPr>
        <p:spPr>
          <a:xfrm>
            <a:off x="4494834" y="2840396"/>
            <a:ext cx="7206297" cy="663092"/>
          </a:xfrm>
          <a:prstGeom prst="rect">
            <a:avLst/>
          </a:prstGeom>
          <a:solidFill>
            <a:srgbClr val="FFFFFF">
              <a:lumMod val="95000"/>
            </a:srgbClr>
          </a:solidFill>
        </p:spPr>
        <p:txBody>
          <a:bodyPr anchor="ctr"/>
          <a:lstStyle>
            <a:lvl1pPr marL="180000" indent="-180000" algn="l" defTabSz="914400" rtl="0" eaLnBrk="1" latinLnBrk="0" hangingPunct="1">
              <a:lnSpc>
                <a:spcPct val="100000"/>
              </a:lnSpc>
              <a:spcBef>
                <a:spcPts val="300"/>
              </a:spcBef>
              <a:spcAft>
                <a:spcPts val="0"/>
              </a:spcAft>
              <a:buClr>
                <a:schemeClr val="accent1">
                  <a:lumMod val="75000"/>
                </a:schemeClr>
              </a:buClr>
              <a:buFont typeface="Santander Text" panose="020B0504020201020104" pitchFamily="34" charset="0"/>
              <a:buChar char="•"/>
              <a:defRPr sz="800" b="0" kern="1200">
                <a:solidFill>
                  <a:schemeClr val="tx1"/>
                </a:solidFill>
                <a:latin typeface="+mj-lt"/>
                <a:ea typeface="+mn-ea"/>
                <a:cs typeface="+mn-cs"/>
              </a:defRPr>
            </a:lvl1pPr>
            <a:lvl2pPr marL="180000" indent="-180000" algn="l" defTabSz="914400" rtl="0" eaLnBrk="1" latinLnBrk="0" hangingPunct="1">
              <a:lnSpc>
                <a:spcPct val="100000"/>
              </a:lnSpc>
              <a:spcBef>
                <a:spcPts val="300"/>
              </a:spcBef>
              <a:spcAft>
                <a:spcPts val="0"/>
              </a:spcAft>
              <a:buClr>
                <a:schemeClr val="accent1">
                  <a:lumMod val="75000"/>
                </a:schemeClr>
              </a:buClr>
              <a:buFont typeface="Santander Text" panose="020B0504020201020104" pitchFamily="34" charset="0"/>
              <a:buChar char="•"/>
              <a:defRPr sz="800" b="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antander Text" panose="020B05040202010201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antander Text" panose="020B05040202010201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0" indent="-180000" algn="l" defTabSz="914400" rtl="0" eaLnBrk="1" fontAlgn="auto" latinLnBrk="0" hangingPunct="1">
              <a:lnSpc>
                <a:spcPct val="100000"/>
              </a:lnSpc>
              <a:spcBef>
                <a:spcPts val="300"/>
              </a:spcBef>
              <a:spcAft>
                <a:spcPts val="0"/>
              </a:spcAft>
              <a:buClr>
                <a:srgbClr val="184E62">
                  <a:lumMod val="75000"/>
                </a:srgbClr>
              </a:buClr>
              <a:buSzTx/>
              <a:buFont typeface="Santander Text" panose="020B0504020201020104" pitchFamily="34" charset="0"/>
              <a:buChar char="•"/>
              <a:tabLst/>
              <a:defRPr/>
            </a:pPr>
            <a:r>
              <a:rPr kumimoji="0" lang="en-US" sz="800" b="0" i="0" u="none" strike="noStrike" kern="1200" cap="none" spc="0" normalizeH="0" baseline="0" noProof="0">
                <a:ln>
                  <a:noFill/>
                </a:ln>
                <a:solidFill>
                  <a:srgbClr val="6F7779"/>
                </a:solidFill>
                <a:effectLst/>
                <a:uLnTx/>
                <a:uFillTx/>
                <a:latin typeface="Santander Text"/>
                <a:ea typeface="+mn-ea"/>
                <a:cs typeface="+mn-cs"/>
              </a:rPr>
              <a:t>The project entails defining chatbot usage scenarios and preparing FAQs for model training, while identifying technical requirements and establishing a user feedback system. It includes evaluating the feasibility of connecting the chatbot to the database in real-time and detecting misunderstood queries to incorporate them into the training process. </a:t>
            </a:r>
            <a:endParaRPr kumimoji="0" lang="es-ES" sz="800" b="0" i="0" u="none" strike="noStrike" kern="1200" cap="none" spc="0" normalizeH="0" baseline="0" noProof="0" dirty="0">
              <a:ln>
                <a:noFill/>
              </a:ln>
              <a:solidFill>
                <a:srgbClr val="6F7779"/>
              </a:solidFill>
              <a:effectLst/>
              <a:uLnTx/>
              <a:uFillTx/>
              <a:latin typeface="Santander Text"/>
              <a:ea typeface="+mn-ea"/>
              <a:cs typeface="+mn-cs"/>
            </a:endParaRPr>
          </a:p>
        </p:txBody>
      </p:sp>
      <p:sp>
        <p:nvSpPr>
          <p:cNvPr id="40" name="Marcador de texto 72">
            <a:extLst>
              <a:ext uri="{FF2B5EF4-FFF2-40B4-BE49-F238E27FC236}">
                <a16:creationId xmlns:a16="http://schemas.microsoft.com/office/drawing/2014/main" id="{2A759FEC-D09D-8BC6-50FC-42781BBFC019}"/>
              </a:ext>
            </a:extLst>
          </p:cNvPr>
          <p:cNvSpPr txBox="1">
            <a:spLocks/>
          </p:cNvSpPr>
          <p:nvPr/>
        </p:nvSpPr>
        <p:spPr>
          <a:xfrm>
            <a:off x="704213" y="3604517"/>
            <a:ext cx="1276151" cy="655402"/>
          </a:xfrm>
          <a:prstGeom prst="rect">
            <a:avLst/>
          </a:prstGeom>
          <a:solidFill>
            <a:srgbClr val="9B2D1F"/>
          </a:solidFill>
          <a:ln w="19050" cap="flat" cmpd="sng" algn="ctr">
            <a:noFill/>
            <a:prstDash val="solid"/>
            <a:miter lim="800000"/>
          </a:ln>
          <a:effectLst/>
        </p:spPr>
        <p:txBody>
          <a:bodyPr rtlCol="0" anchor="ctr"/>
          <a:lstStyle>
            <a:defPPr>
              <a:defRPr lang="es-ES"/>
            </a:defPPr>
            <a:lvl1pPr marR="0" lvl="0" indent="0" algn="ctr" fontAlgn="auto">
              <a:lnSpc>
                <a:spcPct val="100000"/>
              </a:lnSpc>
              <a:spcBef>
                <a:spcPts val="0"/>
              </a:spcBef>
              <a:spcAft>
                <a:spcPts val="0"/>
              </a:spcAft>
              <a:buClrTx/>
              <a:buSzTx/>
              <a:buFontTx/>
              <a:buNone/>
              <a:tabLst/>
              <a:defRPr kumimoji="0" sz="4000" b="1" i="0" u="none" strike="noStrike" kern="0" cap="none" spc="0" normalizeH="0" baseline="0">
                <a:ln>
                  <a:noFill/>
                </a:ln>
                <a:solidFill>
                  <a:prstClr val="white"/>
                </a:solidFill>
                <a:effectLst>
                  <a:outerShdw blurRad="38100" dist="38100" dir="2700000" algn="tl">
                    <a:srgbClr val="000000">
                      <a:alpha val="43137"/>
                    </a:srgbClr>
                  </a:outerShdw>
                </a:effectLst>
                <a:uLnTx/>
                <a:uFillTx/>
                <a:latin typeface="Santander Headline" panose="020B0504020201020104"/>
                <a:cs typeface="Arial" panose="020B0604020202020204" pitchFamily="34" charset="0"/>
              </a:defRPr>
            </a:lvl1pPr>
            <a:lvl2pPr marL="0" indent="0" algn="ctr" eaLnBrk="0" fontAlgn="base" hangingPunct="0">
              <a:lnSpc>
                <a:spcPct val="90000"/>
              </a:lnSpc>
              <a:spcBef>
                <a:spcPts val="300"/>
              </a:spcBef>
              <a:buFont typeface="Arial" panose="020B0604020202020204" pitchFamily="34" charset="0"/>
              <a:buNone/>
              <a:defRPr sz="4000" b="1">
                <a:solidFill>
                  <a:srgbClr val="6F7779"/>
                </a:solidFill>
                <a:latin typeface="Santander Text"/>
                <a:cs typeface="Arial" charset="0"/>
              </a:defRPr>
            </a:lvl2pPr>
            <a:lvl3pPr marL="0" indent="0" algn="ctr" eaLnBrk="0" fontAlgn="base" hangingPunct="0">
              <a:lnSpc>
                <a:spcPct val="90000"/>
              </a:lnSpc>
              <a:spcBef>
                <a:spcPts val="300"/>
              </a:spcBef>
              <a:buFont typeface="Arial" panose="020B0604020202020204" pitchFamily="34" charset="0"/>
              <a:buNone/>
              <a:defRPr sz="4000" b="1">
                <a:solidFill>
                  <a:srgbClr val="6F7779"/>
                </a:solidFill>
                <a:latin typeface="Santander Text"/>
                <a:cs typeface="Arial" charset="0"/>
              </a:defRPr>
            </a:lvl3pPr>
            <a:lvl4pPr marL="0" indent="0" algn="ctr" eaLnBrk="0" fontAlgn="base" hangingPunct="0">
              <a:lnSpc>
                <a:spcPct val="90000"/>
              </a:lnSpc>
              <a:spcBef>
                <a:spcPts val="300"/>
              </a:spcBef>
              <a:buFont typeface="Arial" panose="020B0604020202020204" pitchFamily="34" charset="0"/>
              <a:buNone/>
              <a:defRPr sz="4000" b="1">
                <a:solidFill>
                  <a:srgbClr val="6F7779"/>
                </a:solidFill>
                <a:latin typeface="Santander Text"/>
                <a:cs typeface="Arial" charset="0"/>
              </a:defRPr>
            </a:lvl4pPr>
            <a:lvl5pPr marL="0" indent="0" algn="ctr" eaLnBrk="0" fontAlgn="base" hangingPunct="0">
              <a:lnSpc>
                <a:spcPct val="90000"/>
              </a:lnSpc>
              <a:spcBef>
                <a:spcPts val="300"/>
              </a:spcBef>
              <a:buFont typeface="Arial" panose="020B0604020202020204" pitchFamily="34" charset="0"/>
              <a:buNone/>
              <a:defRPr sz="4000" b="1">
                <a:solidFill>
                  <a:srgbClr val="6F7779"/>
                </a:solidFill>
                <a:latin typeface="Santander Text"/>
                <a:cs typeface="Arial"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s-ES"/>
              <a:t>4</a:t>
            </a:r>
          </a:p>
        </p:txBody>
      </p:sp>
      <p:sp>
        <p:nvSpPr>
          <p:cNvPr id="41" name="Marcador de texto 73">
            <a:extLst>
              <a:ext uri="{FF2B5EF4-FFF2-40B4-BE49-F238E27FC236}">
                <a16:creationId xmlns:a16="http://schemas.microsoft.com/office/drawing/2014/main" id="{49F24647-998A-17B7-AAFC-6CE6181B02A1}"/>
              </a:ext>
            </a:extLst>
          </p:cNvPr>
          <p:cNvSpPr txBox="1">
            <a:spLocks/>
          </p:cNvSpPr>
          <p:nvPr/>
        </p:nvSpPr>
        <p:spPr>
          <a:xfrm>
            <a:off x="1980364" y="3600683"/>
            <a:ext cx="2514470" cy="663092"/>
          </a:xfrm>
          <a:prstGeom prst="rect">
            <a:avLst/>
          </a:prstGeom>
          <a:solidFill>
            <a:schemeClr val="accent2">
              <a:lumMod val="20000"/>
              <a:lumOff val="80000"/>
            </a:schemeClr>
          </a:solidFill>
        </p:spPr>
        <p:txBody>
          <a:bodyPr anchor="ctr"/>
          <a:lstStyle>
            <a:defPPr>
              <a:defRPr lang="es-ES"/>
            </a:defPPr>
            <a:lvl1pPr marR="0" lvl="0" indent="0" fontAlgn="auto">
              <a:lnSpc>
                <a:spcPct val="90000"/>
              </a:lnSpc>
              <a:spcBef>
                <a:spcPts val="0"/>
              </a:spcBef>
              <a:spcAft>
                <a:spcPts val="400"/>
              </a:spcAft>
              <a:buClrTx/>
              <a:buSzTx/>
              <a:buFont typeface="Arial" panose="020B0604020202020204" pitchFamily="34" charset="0"/>
              <a:buNone/>
              <a:tabLst/>
              <a:defRPr kumimoji="0" sz="1400" b="1" i="0" u="none" strike="noStrike" cap="none" spc="0" normalizeH="0" baseline="0">
                <a:ln>
                  <a:noFill/>
                </a:ln>
                <a:solidFill>
                  <a:srgbClr val="6F7779"/>
                </a:solidFill>
                <a:effectLst/>
                <a:uLnTx/>
                <a:uFillTx/>
                <a:latin typeface="Santander Text"/>
              </a:defRPr>
            </a:lvl1pPr>
            <a:lvl2pPr marL="0" indent="0">
              <a:lnSpc>
                <a:spcPct val="100000"/>
              </a:lnSpc>
              <a:spcBef>
                <a:spcPts val="0"/>
              </a:spcBef>
              <a:buFont typeface="Arial" panose="020B0604020202020204" pitchFamily="34" charset="0"/>
              <a:buNone/>
              <a:defRPr sz="1400">
                <a:latin typeface="+mj-lt"/>
              </a:defRPr>
            </a:lvl2pPr>
            <a:lvl3pPr marL="1143000" indent="-228600">
              <a:lnSpc>
                <a:spcPct val="90000"/>
              </a:lnSpc>
              <a:spcBef>
                <a:spcPts val="500"/>
              </a:spcBef>
              <a:buFont typeface="Arial" panose="020B0604020202020204" pitchFamily="34" charset="0"/>
              <a:buChar char="•"/>
              <a:defRPr sz="2000">
                <a:latin typeface="Santander Text" panose="020B0504020201020104" pitchFamily="34" charset="77"/>
              </a:defRPr>
            </a:lvl3pPr>
            <a:lvl4pPr marL="1600200" indent="-228600">
              <a:lnSpc>
                <a:spcPct val="90000"/>
              </a:lnSpc>
              <a:spcBef>
                <a:spcPts val="500"/>
              </a:spcBef>
              <a:buFont typeface="Arial" panose="020B0604020202020204" pitchFamily="34" charset="0"/>
              <a:buChar char="•"/>
              <a:defRPr>
                <a:latin typeface="Santander Text" panose="020B0504020201020104" pitchFamily="34" charset="77"/>
              </a:defRPr>
            </a:lvl4pPr>
            <a:lvl5pPr marL="2057400" indent="-228600">
              <a:lnSpc>
                <a:spcPct val="90000"/>
              </a:lnSpc>
              <a:spcBef>
                <a:spcPts val="500"/>
              </a:spcBef>
              <a:buFont typeface="Arial" panose="020B0604020202020204" pitchFamily="34" charset="0"/>
              <a:buChar char="•"/>
              <a:defRPr>
                <a:latin typeface="Santander Text" panose="020B0504020201020104" pitchFamily="34"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s-ES"/>
              <a:t>Use Cases Workstream</a:t>
            </a:r>
          </a:p>
        </p:txBody>
      </p:sp>
      <p:sp>
        <p:nvSpPr>
          <p:cNvPr id="42" name="Marcador de texto 74">
            <a:extLst>
              <a:ext uri="{FF2B5EF4-FFF2-40B4-BE49-F238E27FC236}">
                <a16:creationId xmlns:a16="http://schemas.microsoft.com/office/drawing/2014/main" id="{EE28A9C7-AD06-7672-01D0-968EEAAB7618}"/>
              </a:ext>
            </a:extLst>
          </p:cNvPr>
          <p:cNvSpPr txBox="1">
            <a:spLocks/>
          </p:cNvSpPr>
          <p:nvPr/>
        </p:nvSpPr>
        <p:spPr>
          <a:xfrm>
            <a:off x="4494834" y="3600683"/>
            <a:ext cx="7206297" cy="663092"/>
          </a:xfrm>
          <a:prstGeom prst="rect">
            <a:avLst/>
          </a:prstGeom>
          <a:solidFill>
            <a:srgbClr val="FFFFFF">
              <a:lumMod val="95000"/>
            </a:srgbClr>
          </a:solidFill>
        </p:spPr>
        <p:txBody>
          <a:bodyPr anchor="ctr"/>
          <a:lstStyle>
            <a:lvl1pPr marL="180000" indent="-180000" algn="l" defTabSz="914400" rtl="0" eaLnBrk="1" latinLnBrk="0" hangingPunct="1">
              <a:lnSpc>
                <a:spcPct val="100000"/>
              </a:lnSpc>
              <a:spcBef>
                <a:spcPts val="300"/>
              </a:spcBef>
              <a:spcAft>
                <a:spcPts val="0"/>
              </a:spcAft>
              <a:buClr>
                <a:schemeClr val="accent1">
                  <a:lumMod val="75000"/>
                </a:schemeClr>
              </a:buClr>
              <a:buFont typeface="Santander Text" panose="020B0504020201020104" pitchFamily="34" charset="0"/>
              <a:buChar char="•"/>
              <a:defRPr sz="800" b="0" kern="1200">
                <a:solidFill>
                  <a:schemeClr val="tx1"/>
                </a:solidFill>
                <a:latin typeface="+mj-lt"/>
                <a:ea typeface="+mn-ea"/>
                <a:cs typeface="+mn-cs"/>
              </a:defRPr>
            </a:lvl1pPr>
            <a:lvl2pPr marL="180000" indent="-180000" algn="l" defTabSz="914400" rtl="0" eaLnBrk="1" latinLnBrk="0" hangingPunct="1">
              <a:lnSpc>
                <a:spcPct val="100000"/>
              </a:lnSpc>
              <a:spcBef>
                <a:spcPts val="300"/>
              </a:spcBef>
              <a:spcAft>
                <a:spcPts val="0"/>
              </a:spcAft>
              <a:buClr>
                <a:schemeClr val="accent1">
                  <a:lumMod val="75000"/>
                </a:schemeClr>
              </a:buClr>
              <a:buFont typeface="Santander Text" panose="020B0504020201020104" pitchFamily="34" charset="0"/>
              <a:buChar char="•"/>
              <a:defRPr sz="800" b="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antander Text" panose="020B05040202010201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antander Text" panose="020B05040202010201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0" indent="-180000" algn="l" defTabSz="914400" rtl="0" eaLnBrk="1" fontAlgn="auto" latinLnBrk="0" hangingPunct="1">
              <a:lnSpc>
                <a:spcPct val="100000"/>
              </a:lnSpc>
              <a:spcBef>
                <a:spcPts val="300"/>
              </a:spcBef>
              <a:spcAft>
                <a:spcPts val="0"/>
              </a:spcAft>
              <a:buClr>
                <a:srgbClr val="184E62">
                  <a:lumMod val="75000"/>
                </a:srgbClr>
              </a:buClr>
              <a:buSzTx/>
              <a:buFont typeface="Santander Text" panose="020B0504020201020104" pitchFamily="34" charset="0"/>
              <a:buChar char="•"/>
              <a:tabLst/>
              <a:defRPr/>
            </a:pPr>
            <a:r>
              <a:rPr kumimoji="0" lang="en-US" sz="800" b="0" i="0" u="none" strike="noStrike" kern="1200" cap="none" spc="0" normalizeH="0" baseline="0" noProof="0">
                <a:ln>
                  <a:noFill/>
                </a:ln>
                <a:solidFill>
                  <a:srgbClr val="6F7779"/>
                </a:solidFill>
                <a:effectLst/>
                <a:uLnTx/>
                <a:uFillTx/>
                <a:latin typeface="Santander Text"/>
                <a:ea typeface="+mn-ea"/>
                <a:cs typeface="+mn-cs"/>
              </a:rPr>
              <a:t>The initiative involves documenting functional requirements for each use case and analyzing dependencies between use cases and existing systems. It includes creating process flow diagrams for each use case and identifying common use cases across different areas. The work also encompasses validating the relevance of each use case with stakeholders to ensure alignment with business needs and priorities</a:t>
            </a:r>
            <a:endParaRPr kumimoji="0" lang="es-ES" sz="800" b="0" i="0" u="none" strike="noStrike" kern="1200" cap="none" spc="0" normalizeH="0" baseline="0" noProof="0" dirty="0">
              <a:ln>
                <a:noFill/>
              </a:ln>
              <a:solidFill>
                <a:srgbClr val="6F7779"/>
              </a:solidFill>
              <a:effectLst/>
              <a:uLnTx/>
              <a:uFillTx/>
              <a:latin typeface="Santander Text"/>
              <a:ea typeface="+mn-ea"/>
              <a:cs typeface="+mn-cs"/>
            </a:endParaRPr>
          </a:p>
        </p:txBody>
      </p:sp>
      <p:sp>
        <p:nvSpPr>
          <p:cNvPr id="43" name="Marcador de texto 75">
            <a:extLst>
              <a:ext uri="{FF2B5EF4-FFF2-40B4-BE49-F238E27FC236}">
                <a16:creationId xmlns:a16="http://schemas.microsoft.com/office/drawing/2014/main" id="{A9201A82-322E-9C47-95B4-41E9F5A9583F}"/>
              </a:ext>
            </a:extLst>
          </p:cNvPr>
          <p:cNvSpPr txBox="1">
            <a:spLocks/>
          </p:cNvSpPr>
          <p:nvPr/>
        </p:nvSpPr>
        <p:spPr>
          <a:xfrm>
            <a:off x="704213" y="4375080"/>
            <a:ext cx="1276151" cy="655402"/>
          </a:xfrm>
          <a:prstGeom prst="rect">
            <a:avLst/>
          </a:prstGeom>
          <a:solidFill>
            <a:srgbClr val="9B2D1F"/>
          </a:solidFill>
          <a:ln w="19050" cap="flat" cmpd="sng" algn="ctr">
            <a:noFill/>
            <a:prstDash val="solid"/>
            <a:miter lim="800000"/>
          </a:ln>
          <a:effectLst/>
        </p:spPr>
        <p:txBody>
          <a:bodyPr rtlCol="0" anchor="ctr"/>
          <a:lstStyle>
            <a:defPPr>
              <a:defRPr lang="es-ES"/>
            </a:defPPr>
            <a:lvl1pPr marR="0" lvl="0" indent="0" algn="ctr" fontAlgn="auto">
              <a:lnSpc>
                <a:spcPct val="100000"/>
              </a:lnSpc>
              <a:spcBef>
                <a:spcPts val="0"/>
              </a:spcBef>
              <a:spcAft>
                <a:spcPts val="0"/>
              </a:spcAft>
              <a:buClrTx/>
              <a:buSzTx/>
              <a:buFontTx/>
              <a:buNone/>
              <a:tabLst/>
              <a:defRPr kumimoji="0" sz="4000" b="1" i="0" u="none" strike="noStrike" kern="0" cap="none" spc="0" normalizeH="0" baseline="0">
                <a:ln>
                  <a:noFill/>
                </a:ln>
                <a:solidFill>
                  <a:prstClr val="white"/>
                </a:solidFill>
                <a:effectLst>
                  <a:outerShdw blurRad="38100" dist="38100" dir="2700000" algn="tl">
                    <a:srgbClr val="000000">
                      <a:alpha val="43137"/>
                    </a:srgbClr>
                  </a:outerShdw>
                </a:effectLst>
                <a:uLnTx/>
                <a:uFillTx/>
                <a:latin typeface="Santander Headline" panose="020B0504020201020104"/>
                <a:cs typeface="Arial" panose="020B0604020202020204" pitchFamily="34" charset="0"/>
              </a:defRPr>
            </a:lvl1pPr>
            <a:lvl2pPr marL="0" indent="0" algn="ctr" eaLnBrk="0" fontAlgn="base" hangingPunct="0">
              <a:lnSpc>
                <a:spcPct val="90000"/>
              </a:lnSpc>
              <a:spcBef>
                <a:spcPts val="300"/>
              </a:spcBef>
              <a:buFont typeface="Arial" panose="020B0604020202020204" pitchFamily="34" charset="0"/>
              <a:buNone/>
              <a:defRPr sz="4000" b="1">
                <a:solidFill>
                  <a:srgbClr val="6F7779"/>
                </a:solidFill>
                <a:latin typeface="Santander Text"/>
                <a:cs typeface="Arial" charset="0"/>
              </a:defRPr>
            </a:lvl2pPr>
            <a:lvl3pPr marL="0" indent="0" algn="ctr" eaLnBrk="0" fontAlgn="base" hangingPunct="0">
              <a:lnSpc>
                <a:spcPct val="90000"/>
              </a:lnSpc>
              <a:spcBef>
                <a:spcPts val="300"/>
              </a:spcBef>
              <a:buFont typeface="Arial" panose="020B0604020202020204" pitchFamily="34" charset="0"/>
              <a:buNone/>
              <a:defRPr sz="4000" b="1">
                <a:solidFill>
                  <a:srgbClr val="6F7779"/>
                </a:solidFill>
                <a:latin typeface="Santander Text"/>
                <a:cs typeface="Arial" charset="0"/>
              </a:defRPr>
            </a:lvl3pPr>
            <a:lvl4pPr marL="0" indent="0" algn="ctr" eaLnBrk="0" fontAlgn="base" hangingPunct="0">
              <a:lnSpc>
                <a:spcPct val="90000"/>
              </a:lnSpc>
              <a:spcBef>
                <a:spcPts val="300"/>
              </a:spcBef>
              <a:buFont typeface="Arial" panose="020B0604020202020204" pitchFamily="34" charset="0"/>
              <a:buNone/>
              <a:defRPr sz="4000" b="1">
                <a:solidFill>
                  <a:srgbClr val="6F7779"/>
                </a:solidFill>
                <a:latin typeface="Santander Text"/>
                <a:cs typeface="Arial" charset="0"/>
              </a:defRPr>
            </a:lvl4pPr>
            <a:lvl5pPr marL="0" indent="0" algn="ctr" eaLnBrk="0" fontAlgn="base" hangingPunct="0">
              <a:lnSpc>
                <a:spcPct val="90000"/>
              </a:lnSpc>
              <a:spcBef>
                <a:spcPts val="300"/>
              </a:spcBef>
              <a:buFont typeface="Arial" panose="020B0604020202020204" pitchFamily="34" charset="0"/>
              <a:buNone/>
              <a:defRPr sz="4000" b="1">
                <a:solidFill>
                  <a:srgbClr val="6F7779"/>
                </a:solidFill>
                <a:latin typeface="Santander Text"/>
                <a:cs typeface="Arial"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s-ES"/>
              <a:t>5</a:t>
            </a:r>
          </a:p>
        </p:txBody>
      </p:sp>
      <p:sp>
        <p:nvSpPr>
          <p:cNvPr id="44" name="Marcador de texto 76">
            <a:extLst>
              <a:ext uri="{FF2B5EF4-FFF2-40B4-BE49-F238E27FC236}">
                <a16:creationId xmlns:a16="http://schemas.microsoft.com/office/drawing/2014/main" id="{3E2894F0-3E52-67B5-BB11-9B449F3627B5}"/>
              </a:ext>
            </a:extLst>
          </p:cNvPr>
          <p:cNvSpPr txBox="1">
            <a:spLocks/>
          </p:cNvSpPr>
          <p:nvPr/>
        </p:nvSpPr>
        <p:spPr>
          <a:xfrm>
            <a:off x="1980364" y="4371246"/>
            <a:ext cx="2514470" cy="663092"/>
          </a:xfrm>
          <a:prstGeom prst="rect">
            <a:avLst/>
          </a:prstGeom>
          <a:solidFill>
            <a:schemeClr val="accent2">
              <a:lumMod val="20000"/>
              <a:lumOff val="80000"/>
            </a:schemeClr>
          </a:solidFill>
        </p:spPr>
        <p:txBody>
          <a:bodyPr anchor="ctr"/>
          <a:lstStyle>
            <a:defPPr>
              <a:defRPr lang="es-ES"/>
            </a:defPPr>
            <a:lvl1pPr marR="0" lvl="0" indent="0" fontAlgn="auto">
              <a:lnSpc>
                <a:spcPct val="90000"/>
              </a:lnSpc>
              <a:spcBef>
                <a:spcPts val="0"/>
              </a:spcBef>
              <a:spcAft>
                <a:spcPts val="400"/>
              </a:spcAft>
              <a:buClrTx/>
              <a:buSzTx/>
              <a:buFont typeface="Arial" panose="020B0604020202020204" pitchFamily="34" charset="0"/>
              <a:buNone/>
              <a:tabLst/>
              <a:defRPr kumimoji="0" sz="1400" b="1" i="0" u="none" strike="noStrike" cap="none" spc="0" normalizeH="0" baseline="0">
                <a:ln>
                  <a:noFill/>
                </a:ln>
                <a:solidFill>
                  <a:srgbClr val="6F7779"/>
                </a:solidFill>
                <a:effectLst/>
                <a:uLnTx/>
                <a:uFillTx/>
                <a:latin typeface="Santander Text"/>
              </a:defRPr>
            </a:lvl1pPr>
            <a:lvl2pPr marL="0" indent="0">
              <a:lnSpc>
                <a:spcPct val="100000"/>
              </a:lnSpc>
              <a:spcBef>
                <a:spcPts val="0"/>
              </a:spcBef>
              <a:buFont typeface="Arial" panose="020B0604020202020204" pitchFamily="34" charset="0"/>
              <a:buNone/>
              <a:defRPr sz="1400">
                <a:latin typeface="+mj-lt"/>
              </a:defRPr>
            </a:lvl2pPr>
            <a:lvl3pPr marL="1143000" indent="-228600">
              <a:lnSpc>
                <a:spcPct val="90000"/>
              </a:lnSpc>
              <a:spcBef>
                <a:spcPts val="500"/>
              </a:spcBef>
              <a:buFont typeface="Arial" panose="020B0604020202020204" pitchFamily="34" charset="0"/>
              <a:buChar char="•"/>
              <a:defRPr sz="2000">
                <a:latin typeface="Santander Text" panose="020B0504020201020104" pitchFamily="34" charset="77"/>
              </a:defRPr>
            </a:lvl3pPr>
            <a:lvl4pPr marL="1600200" indent="-228600">
              <a:lnSpc>
                <a:spcPct val="90000"/>
              </a:lnSpc>
              <a:spcBef>
                <a:spcPts val="500"/>
              </a:spcBef>
              <a:buFont typeface="Arial" panose="020B0604020202020204" pitchFamily="34" charset="0"/>
              <a:buChar char="•"/>
              <a:defRPr>
                <a:latin typeface="Santander Text" panose="020B0504020201020104" pitchFamily="34" charset="77"/>
              </a:defRPr>
            </a:lvl4pPr>
            <a:lvl5pPr marL="2057400" indent="-228600">
              <a:lnSpc>
                <a:spcPct val="90000"/>
              </a:lnSpc>
              <a:spcBef>
                <a:spcPts val="500"/>
              </a:spcBef>
              <a:buFont typeface="Arial" panose="020B0604020202020204" pitchFamily="34" charset="0"/>
              <a:buChar char="•"/>
              <a:defRPr>
                <a:latin typeface="Santander Text" panose="020B0504020201020104" pitchFamily="34"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s-ES"/>
              <a:t>Technological alignment of the platform</a:t>
            </a:r>
          </a:p>
        </p:txBody>
      </p:sp>
      <p:sp>
        <p:nvSpPr>
          <p:cNvPr id="45" name="Marcador de texto 77">
            <a:extLst>
              <a:ext uri="{FF2B5EF4-FFF2-40B4-BE49-F238E27FC236}">
                <a16:creationId xmlns:a16="http://schemas.microsoft.com/office/drawing/2014/main" id="{7D5DE79E-1E05-1757-AE29-5EF52B615BE7}"/>
              </a:ext>
            </a:extLst>
          </p:cNvPr>
          <p:cNvSpPr txBox="1">
            <a:spLocks/>
          </p:cNvSpPr>
          <p:nvPr/>
        </p:nvSpPr>
        <p:spPr>
          <a:xfrm>
            <a:off x="4494834" y="4371246"/>
            <a:ext cx="7206297" cy="663092"/>
          </a:xfrm>
          <a:prstGeom prst="rect">
            <a:avLst/>
          </a:prstGeom>
          <a:solidFill>
            <a:srgbClr val="FFFFFF">
              <a:lumMod val="95000"/>
            </a:srgbClr>
          </a:solidFill>
        </p:spPr>
        <p:txBody>
          <a:bodyPr anchor="ctr"/>
          <a:lstStyle>
            <a:lvl1pPr marL="180000" indent="-180000" algn="l" defTabSz="914400" rtl="0" eaLnBrk="1" latinLnBrk="0" hangingPunct="1">
              <a:lnSpc>
                <a:spcPct val="100000"/>
              </a:lnSpc>
              <a:spcBef>
                <a:spcPts val="300"/>
              </a:spcBef>
              <a:spcAft>
                <a:spcPts val="0"/>
              </a:spcAft>
              <a:buClr>
                <a:schemeClr val="accent1">
                  <a:lumMod val="75000"/>
                </a:schemeClr>
              </a:buClr>
              <a:buFont typeface="Santander Text" panose="020B0504020201020104" pitchFamily="34" charset="0"/>
              <a:buChar char="•"/>
              <a:defRPr sz="800" b="0" kern="1200">
                <a:solidFill>
                  <a:schemeClr val="tx1"/>
                </a:solidFill>
                <a:latin typeface="+mj-lt"/>
                <a:ea typeface="+mn-ea"/>
                <a:cs typeface="+mn-cs"/>
              </a:defRPr>
            </a:lvl1pPr>
            <a:lvl2pPr marL="180000" indent="-180000" algn="l" defTabSz="914400" rtl="0" eaLnBrk="1" latinLnBrk="0" hangingPunct="1">
              <a:lnSpc>
                <a:spcPct val="100000"/>
              </a:lnSpc>
              <a:spcBef>
                <a:spcPts val="300"/>
              </a:spcBef>
              <a:spcAft>
                <a:spcPts val="0"/>
              </a:spcAft>
              <a:buClr>
                <a:schemeClr val="accent1">
                  <a:lumMod val="75000"/>
                </a:schemeClr>
              </a:buClr>
              <a:buFont typeface="Santander Text" panose="020B0504020201020104" pitchFamily="34" charset="0"/>
              <a:buChar char="•"/>
              <a:defRPr sz="800" b="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antander Text" panose="020B05040202010201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antander Text" panose="020B05040202010201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0" indent="-180000" algn="l" defTabSz="914400" rtl="0" eaLnBrk="1" fontAlgn="auto" latinLnBrk="0" hangingPunct="1">
              <a:lnSpc>
                <a:spcPct val="100000"/>
              </a:lnSpc>
              <a:spcBef>
                <a:spcPts val="300"/>
              </a:spcBef>
              <a:spcAft>
                <a:spcPts val="0"/>
              </a:spcAft>
              <a:buClr>
                <a:srgbClr val="184E62">
                  <a:lumMod val="75000"/>
                </a:srgbClr>
              </a:buClr>
              <a:buSzTx/>
              <a:buFont typeface="Santander Text" panose="020B0504020201020104" pitchFamily="34" charset="0"/>
              <a:buChar char="•"/>
              <a:tabLst/>
              <a:defRPr/>
            </a:pPr>
            <a:r>
              <a:rPr kumimoji="0" lang="en-US" sz="800" b="0" i="0" u="none" strike="noStrike" kern="1200" cap="none" spc="0" normalizeH="0" baseline="0" noProof="0">
                <a:ln>
                  <a:noFill/>
                </a:ln>
                <a:solidFill>
                  <a:srgbClr val="6F7779"/>
                </a:solidFill>
                <a:effectLst/>
                <a:uLnTx/>
                <a:uFillTx/>
                <a:latin typeface="Santander Text"/>
                <a:ea typeface="+mn-ea"/>
                <a:cs typeface="+mn-cs"/>
              </a:rPr>
              <a:t>The work involves identifying available technological components within the Santander ecosystem and validating the technological design with IT and cybersecurity areas. It includes mapping necessary integrations with internal and external systems and documenting the detailed solution architecture model to ensure comprehensive technical alignment and implementation readiness.</a:t>
            </a:r>
            <a:endParaRPr kumimoji="0" lang="es-ES" sz="800" b="0" i="0" u="none" strike="noStrike" kern="1200" cap="none" spc="0" normalizeH="0" baseline="0" noProof="0" dirty="0">
              <a:ln>
                <a:noFill/>
              </a:ln>
              <a:solidFill>
                <a:srgbClr val="6F7779"/>
              </a:solidFill>
              <a:effectLst/>
              <a:uLnTx/>
              <a:uFillTx/>
              <a:latin typeface="Santander Text"/>
              <a:ea typeface="+mn-ea"/>
              <a:cs typeface="+mn-cs"/>
            </a:endParaRPr>
          </a:p>
        </p:txBody>
      </p:sp>
      <p:sp>
        <p:nvSpPr>
          <p:cNvPr id="46" name="Marcador de texto 78">
            <a:extLst>
              <a:ext uri="{FF2B5EF4-FFF2-40B4-BE49-F238E27FC236}">
                <a16:creationId xmlns:a16="http://schemas.microsoft.com/office/drawing/2014/main" id="{19F6C598-E04B-5337-B2BC-18B6C990F266}"/>
              </a:ext>
            </a:extLst>
          </p:cNvPr>
          <p:cNvSpPr txBox="1">
            <a:spLocks/>
          </p:cNvSpPr>
          <p:nvPr/>
        </p:nvSpPr>
        <p:spPr>
          <a:xfrm>
            <a:off x="704213" y="5166190"/>
            <a:ext cx="1276151" cy="655402"/>
          </a:xfrm>
          <a:prstGeom prst="rect">
            <a:avLst/>
          </a:prstGeom>
          <a:solidFill>
            <a:srgbClr val="9B2D1F"/>
          </a:solidFill>
          <a:ln w="19050" cap="flat" cmpd="sng" algn="ctr">
            <a:noFill/>
            <a:prstDash val="solid"/>
            <a:miter lim="800000"/>
          </a:ln>
          <a:effectLst/>
        </p:spPr>
        <p:txBody>
          <a:bodyPr rtlCol="0" anchor="ctr"/>
          <a:lstStyle>
            <a:defPPr>
              <a:defRPr lang="es-ES"/>
            </a:defPPr>
            <a:lvl1pPr marR="0" lvl="0" indent="0" algn="ctr" fontAlgn="auto">
              <a:lnSpc>
                <a:spcPct val="100000"/>
              </a:lnSpc>
              <a:spcBef>
                <a:spcPts val="0"/>
              </a:spcBef>
              <a:spcAft>
                <a:spcPts val="0"/>
              </a:spcAft>
              <a:buClrTx/>
              <a:buSzTx/>
              <a:buFontTx/>
              <a:buNone/>
              <a:tabLst/>
              <a:defRPr kumimoji="0" sz="4000" b="1" i="0" u="none" strike="noStrike" kern="0" cap="none" spc="0" normalizeH="0" baseline="0">
                <a:ln>
                  <a:noFill/>
                </a:ln>
                <a:solidFill>
                  <a:prstClr val="white"/>
                </a:solidFill>
                <a:effectLst>
                  <a:outerShdw blurRad="38100" dist="38100" dir="2700000" algn="tl">
                    <a:srgbClr val="000000">
                      <a:alpha val="43137"/>
                    </a:srgbClr>
                  </a:outerShdw>
                </a:effectLst>
                <a:uLnTx/>
                <a:uFillTx/>
                <a:latin typeface="Santander Headline" panose="020B0504020201020104"/>
                <a:cs typeface="Arial" panose="020B0604020202020204" pitchFamily="34" charset="0"/>
              </a:defRPr>
            </a:lvl1pPr>
            <a:lvl2pPr marL="0" indent="0" algn="ctr" eaLnBrk="0" fontAlgn="base" hangingPunct="0">
              <a:lnSpc>
                <a:spcPct val="90000"/>
              </a:lnSpc>
              <a:spcBef>
                <a:spcPts val="300"/>
              </a:spcBef>
              <a:buFont typeface="Arial" panose="020B0604020202020204" pitchFamily="34" charset="0"/>
              <a:buNone/>
              <a:defRPr sz="4000" b="1">
                <a:solidFill>
                  <a:srgbClr val="6F7779"/>
                </a:solidFill>
                <a:latin typeface="Santander Text"/>
                <a:cs typeface="Arial" charset="0"/>
              </a:defRPr>
            </a:lvl2pPr>
            <a:lvl3pPr marL="0" indent="0" algn="ctr" eaLnBrk="0" fontAlgn="base" hangingPunct="0">
              <a:lnSpc>
                <a:spcPct val="90000"/>
              </a:lnSpc>
              <a:spcBef>
                <a:spcPts val="300"/>
              </a:spcBef>
              <a:buFont typeface="Arial" panose="020B0604020202020204" pitchFamily="34" charset="0"/>
              <a:buNone/>
              <a:defRPr sz="4000" b="1">
                <a:solidFill>
                  <a:srgbClr val="6F7779"/>
                </a:solidFill>
                <a:latin typeface="Santander Text"/>
                <a:cs typeface="Arial" charset="0"/>
              </a:defRPr>
            </a:lvl3pPr>
            <a:lvl4pPr marL="0" indent="0" algn="ctr" eaLnBrk="0" fontAlgn="base" hangingPunct="0">
              <a:lnSpc>
                <a:spcPct val="90000"/>
              </a:lnSpc>
              <a:spcBef>
                <a:spcPts val="300"/>
              </a:spcBef>
              <a:buFont typeface="Arial" panose="020B0604020202020204" pitchFamily="34" charset="0"/>
              <a:buNone/>
              <a:defRPr sz="4000" b="1">
                <a:solidFill>
                  <a:srgbClr val="6F7779"/>
                </a:solidFill>
                <a:latin typeface="Santander Text"/>
                <a:cs typeface="Arial" charset="0"/>
              </a:defRPr>
            </a:lvl4pPr>
            <a:lvl5pPr marL="0" indent="0" algn="ctr" eaLnBrk="0" fontAlgn="base" hangingPunct="0">
              <a:lnSpc>
                <a:spcPct val="90000"/>
              </a:lnSpc>
              <a:spcBef>
                <a:spcPts val="300"/>
              </a:spcBef>
              <a:buFont typeface="Arial" panose="020B0604020202020204" pitchFamily="34" charset="0"/>
              <a:buNone/>
              <a:defRPr sz="4000" b="1">
                <a:solidFill>
                  <a:srgbClr val="6F7779"/>
                </a:solidFill>
                <a:latin typeface="Santander Text"/>
                <a:cs typeface="Arial"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s-ES"/>
              <a:t>6</a:t>
            </a:r>
          </a:p>
        </p:txBody>
      </p:sp>
      <p:sp>
        <p:nvSpPr>
          <p:cNvPr id="47" name="Marcador de texto 79">
            <a:extLst>
              <a:ext uri="{FF2B5EF4-FFF2-40B4-BE49-F238E27FC236}">
                <a16:creationId xmlns:a16="http://schemas.microsoft.com/office/drawing/2014/main" id="{2EA6492C-88D1-5BAF-F8AD-3EEA8D6E7245}"/>
              </a:ext>
            </a:extLst>
          </p:cNvPr>
          <p:cNvSpPr txBox="1">
            <a:spLocks/>
          </p:cNvSpPr>
          <p:nvPr/>
        </p:nvSpPr>
        <p:spPr>
          <a:xfrm>
            <a:off x="1980364" y="5162356"/>
            <a:ext cx="2514470" cy="663092"/>
          </a:xfrm>
          <a:prstGeom prst="rect">
            <a:avLst/>
          </a:prstGeom>
          <a:solidFill>
            <a:schemeClr val="accent2">
              <a:lumMod val="20000"/>
              <a:lumOff val="80000"/>
            </a:schemeClr>
          </a:solidFill>
        </p:spPr>
        <p:txBody>
          <a:bodyPr anchor="ctr"/>
          <a:lstStyle>
            <a:defPPr>
              <a:defRPr lang="es-ES"/>
            </a:defPPr>
            <a:lvl1pPr marR="0" lvl="0" indent="0" fontAlgn="auto">
              <a:lnSpc>
                <a:spcPct val="90000"/>
              </a:lnSpc>
              <a:spcBef>
                <a:spcPts val="0"/>
              </a:spcBef>
              <a:spcAft>
                <a:spcPts val="400"/>
              </a:spcAft>
              <a:buClrTx/>
              <a:buSzTx/>
              <a:buFont typeface="Arial" panose="020B0604020202020204" pitchFamily="34" charset="0"/>
              <a:buNone/>
              <a:tabLst/>
              <a:defRPr kumimoji="0" sz="1400" b="1" i="0" u="none" strike="noStrike" cap="none" spc="0" normalizeH="0" baseline="0">
                <a:ln>
                  <a:noFill/>
                </a:ln>
                <a:solidFill>
                  <a:srgbClr val="6F7779"/>
                </a:solidFill>
                <a:effectLst/>
                <a:uLnTx/>
                <a:uFillTx/>
                <a:latin typeface="Santander Text"/>
              </a:defRPr>
            </a:lvl1pPr>
            <a:lvl2pPr marL="0" indent="0">
              <a:lnSpc>
                <a:spcPct val="100000"/>
              </a:lnSpc>
              <a:spcBef>
                <a:spcPts val="0"/>
              </a:spcBef>
              <a:buFont typeface="Arial" panose="020B0604020202020204" pitchFamily="34" charset="0"/>
              <a:buNone/>
              <a:defRPr sz="1400">
                <a:latin typeface="+mj-lt"/>
              </a:defRPr>
            </a:lvl2pPr>
            <a:lvl3pPr marL="1143000" indent="-228600">
              <a:lnSpc>
                <a:spcPct val="90000"/>
              </a:lnSpc>
              <a:spcBef>
                <a:spcPts val="500"/>
              </a:spcBef>
              <a:buFont typeface="Arial" panose="020B0604020202020204" pitchFamily="34" charset="0"/>
              <a:buChar char="•"/>
              <a:defRPr sz="2000">
                <a:latin typeface="Santander Text" panose="020B0504020201020104" pitchFamily="34" charset="77"/>
              </a:defRPr>
            </a:lvl3pPr>
            <a:lvl4pPr marL="1600200" indent="-228600">
              <a:lnSpc>
                <a:spcPct val="90000"/>
              </a:lnSpc>
              <a:spcBef>
                <a:spcPts val="500"/>
              </a:spcBef>
              <a:buFont typeface="Arial" panose="020B0604020202020204" pitchFamily="34" charset="0"/>
              <a:buChar char="•"/>
              <a:defRPr>
                <a:latin typeface="Santander Text" panose="020B0504020201020104" pitchFamily="34" charset="77"/>
              </a:defRPr>
            </a:lvl4pPr>
            <a:lvl5pPr marL="2057400" indent="-228600">
              <a:lnSpc>
                <a:spcPct val="90000"/>
              </a:lnSpc>
              <a:spcBef>
                <a:spcPts val="500"/>
              </a:spcBef>
              <a:buFont typeface="Arial" panose="020B0604020202020204" pitchFamily="34" charset="0"/>
              <a:buChar char="•"/>
              <a:defRPr>
                <a:latin typeface="Santander Text" panose="020B0504020201020104" pitchFamily="34"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s-ES"/>
              <a:t>Project Plan</a:t>
            </a:r>
          </a:p>
        </p:txBody>
      </p:sp>
      <p:sp>
        <p:nvSpPr>
          <p:cNvPr id="48" name="Marcador de texto 80">
            <a:extLst>
              <a:ext uri="{FF2B5EF4-FFF2-40B4-BE49-F238E27FC236}">
                <a16:creationId xmlns:a16="http://schemas.microsoft.com/office/drawing/2014/main" id="{333920A5-33BB-DEE7-B10A-1EB8D7F085C5}"/>
              </a:ext>
            </a:extLst>
          </p:cNvPr>
          <p:cNvSpPr txBox="1">
            <a:spLocks/>
          </p:cNvSpPr>
          <p:nvPr/>
        </p:nvSpPr>
        <p:spPr>
          <a:xfrm>
            <a:off x="4494834" y="5162356"/>
            <a:ext cx="7206297" cy="663092"/>
          </a:xfrm>
          <a:prstGeom prst="rect">
            <a:avLst/>
          </a:prstGeom>
          <a:solidFill>
            <a:srgbClr val="FFFFFF">
              <a:lumMod val="95000"/>
            </a:srgbClr>
          </a:solidFill>
        </p:spPr>
        <p:txBody>
          <a:bodyPr anchor="ctr"/>
          <a:lstStyle>
            <a:lvl1pPr marL="180000" indent="-180000" algn="l" defTabSz="914400" rtl="0" eaLnBrk="1" latinLnBrk="0" hangingPunct="1">
              <a:lnSpc>
                <a:spcPct val="100000"/>
              </a:lnSpc>
              <a:spcBef>
                <a:spcPts val="300"/>
              </a:spcBef>
              <a:spcAft>
                <a:spcPts val="0"/>
              </a:spcAft>
              <a:buClr>
                <a:schemeClr val="accent1">
                  <a:lumMod val="75000"/>
                </a:schemeClr>
              </a:buClr>
              <a:buFont typeface="Santander Text" panose="020B0504020201020104" pitchFamily="34" charset="0"/>
              <a:buChar char="•"/>
              <a:defRPr sz="800" b="0" kern="1200">
                <a:solidFill>
                  <a:schemeClr val="tx1"/>
                </a:solidFill>
                <a:latin typeface="+mj-lt"/>
                <a:ea typeface="+mn-ea"/>
                <a:cs typeface="+mn-cs"/>
              </a:defRPr>
            </a:lvl1pPr>
            <a:lvl2pPr marL="180000" indent="-180000" algn="l" defTabSz="914400" rtl="0" eaLnBrk="1" latinLnBrk="0" hangingPunct="1">
              <a:lnSpc>
                <a:spcPct val="100000"/>
              </a:lnSpc>
              <a:spcBef>
                <a:spcPts val="300"/>
              </a:spcBef>
              <a:spcAft>
                <a:spcPts val="0"/>
              </a:spcAft>
              <a:buClr>
                <a:schemeClr val="accent1">
                  <a:lumMod val="75000"/>
                </a:schemeClr>
              </a:buClr>
              <a:buFont typeface="Santander Text" panose="020B0504020201020104" pitchFamily="34" charset="0"/>
              <a:buChar char="•"/>
              <a:defRPr sz="800" b="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antander Text" panose="020B05040202010201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antander Text" panose="020B05040202010201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0" indent="-180000" algn="l" defTabSz="914400" rtl="0" eaLnBrk="1" fontAlgn="auto" latinLnBrk="0" hangingPunct="1">
              <a:lnSpc>
                <a:spcPct val="100000"/>
              </a:lnSpc>
              <a:spcBef>
                <a:spcPts val="300"/>
              </a:spcBef>
              <a:spcAft>
                <a:spcPts val="0"/>
              </a:spcAft>
              <a:buClr>
                <a:srgbClr val="184E62">
                  <a:lumMod val="75000"/>
                </a:srgbClr>
              </a:buClr>
              <a:buSzTx/>
              <a:buFont typeface="Santander Text" panose="020B0504020201020104" pitchFamily="34" charset="0"/>
              <a:buChar char="•"/>
              <a:tabLst/>
              <a:defRPr/>
            </a:pPr>
            <a:r>
              <a:rPr kumimoji="0" lang="en-US" sz="800" b="0" i="0" u="none" strike="noStrike" kern="1200" cap="none" spc="0" normalizeH="0" baseline="0" noProof="0" dirty="0">
                <a:ln>
                  <a:noFill/>
                </a:ln>
                <a:solidFill>
                  <a:srgbClr val="6F7779"/>
                </a:solidFill>
                <a:effectLst/>
                <a:uLnTx/>
                <a:uFillTx/>
                <a:latin typeface="Santander Text"/>
                <a:ea typeface="+mn-ea"/>
                <a:cs typeface="+mn-cs"/>
              </a:rPr>
              <a:t>The effort focuses on defining key deliverables for the MVP and preparing comprehensive support documentation, diagrams, and technical guides. It also involves planning periodic reviews with stakeholders to ensure alignment and gather feedback throughout the development process and the definition of roadmap implementation</a:t>
            </a:r>
            <a:endParaRPr kumimoji="0" lang="es-ES" sz="800" b="0" i="0" u="none" strike="noStrike" kern="1200" cap="none" spc="0" normalizeH="0" baseline="0" noProof="0" dirty="0">
              <a:ln>
                <a:noFill/>
              </a:ln>
              <a:solidFill>
                <a:srgbClr val="6F7779"/>
              </a:solidFill>
              <a:effectLst/>
              <a:uLnTx/>
              <a:uFillTx/>
              <a:latin typeface="Santander Text"/>
              <a:ea typeface="+mn-ea"/>
              <a:cs typeface="+mn-cs"/>
            </a:endParaRPr>
          </a:p>
        </p:txBody>
      </p:sp>
    </p:spTree>
    <p:extLst>
      <p:ext uri="{BB962C8B-B14F-4D97-AF65-F5344CB8AC3E}">
        <p14:creationId xmlns:p14="http://schemas.microsoft.com/office/powerpoint/2010/main" val="42476141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E31C0E-6FA0-F370-0BCB-306CE5BAE8AD}"/>
            </a:ext>
          </a:extLst>
        </p:cNvPr>
        <p:cNvGrpSpPr/>
        <p:nvPr/>
      </p:nvGrpSpPr>
      <p:grpSpPr>
        <a:xfrm>
          <a:off x="0" y="0"/>
          <a:ext cx="0" cy="0"/>
          <a:chOff x="0" y="0"/>
          <a:chExt cx="0" cy="0"/>
        </a:xfrm>
      </p:grpSpPr>
      <p:pic>
        <p:nvPicPr>
          <p:cNvPr id="63" name="Marcador de posición de imagen 62">
            <a:extLst>
              <a:ext uri="{FF2B5EF4-FFF2-40B4-BE49-F238E27FC236}">
                <a16:creationId xmlns:a16="http://schemas.microsoft.com/office/drawing/2014/main" id="{11947A53-2A73-A6C6-E954-00102525D63D}"/>
              </a:ext>
            </a:extLst>
          </p:cNvPr>
          <p:cNvPicPr>
            <a:picLocks noGrp="1" noRot="1" noChangeAspect="1" noMove="1" noResize="1" noEditPoints="1" noAdjustHandles="1" noChangeArrowheads="1" noChangeShapeType="1" noCrop="1"/>
          </p:cNvPicPr>
          <p:nvPr>
            <p:ph type="pic" sz="quarter" idx="4294967295"/>
          </p:nvPr>
        </p:nvPicPr>
        <p:blipFill>
          <a:blip r:embed="rId2">
            <a:extLst>
              <a:ext uri="{28A0092B-C50C-407E-A947-70E740481C1C}">
                <a14:useLocalDpi xmlns:a14="http://schemas.microsoft.com/office/drawing/2010/main" val="0"/>
              </a:ext>
            </a:extLst>
          </a:blip>
          <a:srcRect t="7841" b="7841"/>
          <a:stretch/>
        </p:blipFill>
        <p:spPr>
          <a:xfrm>
            <a:off x="0" y="0"/>
            <a:ext cx="12192000" cy="6858000"/>
          </a:xfrm>
        </p:spPr>
      </p:pic>
      <p:sp>
        <p:nvSpPr>
          <p:cNvPr id="43" name="Marcador de texto 42">
            <a:extLst>
              <a:ext uri="{FF2B5EF4-FFF2-40B4-BE49-F238E27FC236}">
                <a16:creationId xmlns:a16="http://schemas.microsoft.com/office/drawing/2014/main" id="{5D3D5099-B7B7-8713-EFF3-A8E12B2942F6}"/>
              </a:ext>
            </a:extLst>
          </p:cNvPr>
          <p:cNvSpPr>
            <a:spLocks noGrp="1"/>
          </p:cNvSpPr>
          <p:nvPr>
            <p:ph type="body" sz="quarter" idx="14"/>
          </p:nvPr>
        </p:nvSpPr>
        <p:spPr/>
        <p:txBody>
          <a:bodyPr/>
          <a:lstStyle/>
          <a:p>
            <a:r>
              <a:rPr lang="en-GB" noProof="0" dirty="0"/>
              <a:t>0</a:t>
            </a:r>
            <a:r>
              <a:rPr lang="en-GB" dirty="0"/>
              <a:t>2</a:t>
            </a:r>
            <a:endParaRPr lang="en-GB" noProof="0" dirty="0"/>
          </a:p>
        </p:txBody>
      </p:sp>
      <p:sp>
        <p:nvSpPr>
          <p:cNvPr id="4" name="Text Placeholder 3">
            <a:extLst>
              <a:ext uri="{FF2B5EF4-FFF2-40B4-BE49-F238E27FC236}">
                <a16:creationId xmlns:a16="http://schemas.microsoft.com/office/drawing/2014/main" id="{85F8C5B0-216A-08A3-A124-BDB29066AC51}"/>
              </a:ext>
            </a:extLst>
          </p:cNvPr>
          <p:cNvSpPr>
            <a:spLocks noGrp="1"/>
          </p:cNvSpPr>
          <p:nvPr>
            <p:ph type="body" sz="quarter" idx="17"/>
          </p:nvPr>
        </p:nvSpPr>
        <p:spPr/>
        <p:txBody>
          <a:bodyPr/>
          <a:lstStyle/>
          <a:p>
            <a:endParaRPr lang="en-GB" noProof="0" dirty="0"/>
          </a:p>
        </p:txBody>
      </p:sp>
      <p:sp>
        <p:nvSpPr>
          <p:cNvPr id="42" name="Título 41">
            <a:extLst>
              <a:ext uri="{FF2B5EF4-FFF2-40B4-BE49-F238E27FC236}">
                <a16:creationId xmlns:a16="http://schemas.microsoft.com/office/drawing/2014/main" id="{BAD95477-FD3A-CB38-A80A-6DFA1A2D57DF}"/>
              </a:ext>
            </a:extLst>
          </p:cNvPr>
          <p:cNvSpPr>
            <a:spLocks noGrp="1"/>
          </p:cNvSpPr>
          <p:nvPr>
            <p:ph type="title"/>
          </p:nvPr>
        </p:nvSpPr>
        <p:spPr/>
        <p:txBody>
          <a:bodyPr/>
          <a:lstStyle/>
          <a:p>
            <a:r>
              <a:rPr lang="en-GB" dirty="0"/>
              <a:t>Status</a:t>
            </a:r>
            <a:endParaRPr lang="en-GB" noProof="0" dirty="0"/>
          </a:p>
        </p:txBody>
      </p:sp>
      <p:sp>
        <p:nvSpPr>
          <p:cNvPr id="5" name="Text Placeholder 4">
            <a:extLst>
              <a:ext uri="{FF2B5EF4-FFF2-40B4-BE49-F238E27FC236}">
                <a16:creationId xmlns:a16="http://schemas.microsoft.com/office/drawing/2014/main" id="{A3D00A83-C071-7F01-9551-FEDADAF74438}"/>
              </a:ext>
            </a:extLst>
          </p:cNvPr>
          <p:cNvSpPr>
            <a:spLocks noGrp="1"/>
          </p:cNvSpPr>
          <p:nvPr>
            <p:ph type="body" sz="quarter" idx="19"/>
          </p:nvPr>
        </p:nvSpPr>
        <p:spPr/>
        <p:txBody>
          <a:bodyPr/>
          <a:lstStyle/>
          <a:p>
            <a:endParaRPr lang="en-GB" noProof="0"/>
          </a:p>
        </p:txBody>
      </p:sp>
      <p:pic>
        <p:nvPicPr>
          <p:cNvPr id="7" name="NTT DATA Global Logo">
            <a:extLst>
              <a:ext uri="{FF2B5EF4-FFF2-40B4-BE49-F238E27FC236}">
                <a16:creationId xmlns:a16="http://schemas.microsoft.com/office/drawing/2014/main" id="{DB8327B2-A791-186A-663F-9764263F6D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gray">
          <a:xfrm>
            <a:off x="3136422" y="5934318"/>
            <a:ext cx="1288971" cy="262800"/>
          </a:xfrm>
          <a:prstGeom prst="rect">
            <a:avLst/>
          </a:prstGeom>
        </p:spPr>
      </p:pic>
    </p:spTree>
    <p:extLst>
      <p:ext uri="{BB962C8B-B14F-4D97-AF65-F5344CB8AC3E}">
        <p14:creationId xmlns:p14="http://schemas.microsoft.com/office/powerpoint/2010/main" val="1067872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EDCAA8C1-1AEA-8263-3535-0E81BD5C7433}"/>
              </a:ext>
            </a:extLst>
          </p:cNvPr>
          <p:cNvSpPr/>
          <p:nvPr/>
        </p:nvSpPr>
        <p:spPr>
          <a:xfrm>
            <a:off x="6206490" y="568317"/>
            <a:ext cx="5756910" cy="311793"/>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noProof="0">
                <a:solidFill>
                  <a:prstClr val="white"/>
                </a:solidFill>
                <a:latin typeface="Santander Text" panose="020B0504020201020104"/>
                <a:ea typeface="Calibri" panose="020F0502020204030204" pitchFamily="34" charset="0"/>
                <a:cs typeface="Calibri" panose="020F0502020204030204" pitchFamily="34" charset="0"/>
              </a:rPr>
              <a:t>PROBLEMS AND RISKS</a:t>
            </a:r>
          </a:p>
        </p:txBody>
      </p:sp>
      <p:sp>
        <p:nvSpPr>
          <p:cNvPr id="5" name="Rectángulo 4">
            <a:extLst>
              <a:ext uri="{FF2B5EF4-FFF2-40B4-BE49-F238E27FC236}">
                <a16:creationId xmlns:a16="http://schemas.microsoft.com/office/drawing/2014/main" id="{457588E2-3606-BC52-4347-0492C247687D}"/>
              </a:ext>
            </a:extLst>
          </p:cNvPr>
          <p:cNvSpPr/>
          <p:nvPr/>
        </p:nvSpPr>
        <p:spPr>
          <a:xfrm>
            <a:off x="6206490" y="3255891"/>
            <a:ext cx="5756910" cy="311793"/>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noProof="0">
                <a:solidFill>
                  <a:prstClr val="white"/>
                </a:solidFill>
                <a:latin typeface="Santander Text" panose="020B0504020201020104"/>
                <a:ea typeface="Calibri" panose="020F0502020204030204" pitchFamily="34" charset="0"/>
                <a:cs typeface="Calibri" panose="020F0502020204030204" pitchFamily="34" charset="0"/>
              </a:rPr>
              <a:t>TARGET DATES</a:t>
            </a:r>
          </a:p>
        </p:txBody>
      </p:sp>
      <p:sp>
        <p:nvSpPr>
          <p:cNvPr id="7" name="Rectángulo 6">
            <a:extLst>
              <a:ext uri="{FF2B5EF4-FFF2-40B4-BE49-F238E27FC236}">
                <a16:creationId xmlns:a16="http://schemas.microsoft.com/office/drawing/2014/main" id="{6961BDDF-6FA2-B1FE-3792-44A4B8BC5D62}"/>
              </a:ext>
            </a:extLst>
          </p:cNvPr>
          <p:cNvSpPr/>
          <p:nvPr/>
        </p:nvSpPr>
        <p:spPr>
          <a:xfrm>
            <a:off x="228598" y="973047"/>
            <a:ext cx="5867400" cy="4036155"/>
          </a:xfrm>
          <a:prstGeom prst="rect">
            <a:avLst/>
          </a:prstGeom>
          <a:solidFill>
            <a:srgbClr val="F2F2F2"/>
          </a:solidFill>
          <a:ln w="9525">
            <a:noFill/>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en-GB" sz="900" b="1" dirty="0">
                <a:solidFill>
                  <a:schemeClr val="tx1"/>
                </a:solidFill>
                <a:latin typeface="Santander Text" panose="020B0504020201020104"/>
              </a:rPr>
              <a:t>Schedule</a:t>
            </a:r>
            <a:endParaRPr lang="en-GB" sz="800" b="1" dirty="0">
              <a:solidFill>
                <a:schemeClr val="tx1"/>
              </a:solidFill>
              <a:latin typeface="Santander Text" panose="020B0504020201020104"/>
            </a:endParaRPr>
          </a:p>
          <a:p>
            <a:endParaRPr lang="en-GB" sz="800" b="1" noProof="0" dirty="0">
              <a:solidFill>
                <a:schemeClr val="tx1"/>
              </a:solidFill>
              <a:latin typeface="Santander Text" panose="020B0504020201020104"/>
            </a:endParaRPr>
          </a:p>
          <a:p>
            <a:pPr algn="just"/>
            <a:r>
              <a:rPr lang="en-GB" sz="800" b="1" noProof="0" dirty="0">
                <a:solidFill>
                  <a:schemeClr val="tx1"/>
                </a:solidFill>
                <a:latin typeface="Santander Text" panose="020B0504020201020104"/>
              </a:rPr>
              <a:t>Session 1 FMIS – 17/10/2025</a:t>
            </a:r>
          </a:p>
          <a:p>
            <a:pPr algn="just"/>
            <a:r>
              <a:rPr lang="en-GB" sz="800" noProof="0" dirty="0">
                <a:solidFill>
                  <a:schemeClr val="tx1"/>
                </a:solidFill>
                <a:latin typeface="Santander Text" panose="020B0504020201020104"/>
              </a:rPr>
              <a:t>The data flow and current (“AS IS”) FMIS processes were reviewed, identifying sources, ingestion errors, and manual detection mechanisms. The importance of TTI calculation and the need to apply Data Quality and AI to optimize error detection and remediation were highlighted.</a:t>
            </a:r>
          </a:p>
          <a:p>
            <a:pPr algn="just"/>
            <a:endParaRPr lang="en-GB" sz="100" noProof="0" dirty="0">
              <a:solidFill>
                <a:schemeClr val="tx1"/>
              </a:solidFill>
              <a:latin typeface="Santander Text" panose="020B0504020201020104"/>
            </a:endParaRPr>
          </a:p>
          <a:p>
            <a:pPr algn="just"/>
            <a:r>
              <a:rPr lang="en-GB" sz="800" b="1" noProof="0" dirty="0">
                <a:solidFill>
                  <a:schemeClr val="tx1"/>
                </a:solidFill>
                <a:latin typeface="Santander Text" panose="020B0504020201020104"/>
              </a:rPr>
              <a:t>Session 2 FMIS – 20/10/2025</a:t>
            </a:r>
          </a:p>
          <a:p>
            <a:pPr algn="just"/>
            <a:r>
              <a:rPr lang="en-GB" sz="800" noProof="0" dirty="0">
                <a:solidFill>
                  <a:schemeClr val="tx1"/>
                </a:solidFill>
                <a:latin typeface="Santander Text" panose="020B0504020201020104"/>
              </a:rPr>
              <a:t>Focus was placed on using intelligent agents to remediate data errors in the Landing layer and improve TTI calculation quality. Next steps were defined: list of errors, data flow map, technological solutions, and FMIS system documentation.</a:t>
            </a:r>
          </a:p>
          <a:p>
            <a:pPr algn="just"/>
            <a:endParaRPr lang="en-GB" sz="100" noProof="0" dirty="0">
              <a:solidFill>
                <a:schemeClr val="tx1"/>
              </a:solidFill>
              <a:latin typeface="Santander Text" panose="020B0504020201020104"/>
            </a:endParaRPr>
          </a:p>
          <a:p>
            <a:pPr algn="just"/>
            <a:r>
              <a:rPr lang="en-GB" sz="800" b="1" noProof="0" dirty="0">
                <a:solidFill>
                  <a:schemeClr val="tx1"/>
                </a:solidFill>
                <a:latin typeface="Santander Text" panose="020B0504020201020104"/>
              </a:rPr>
              <a:t>Session 1 SANART – 22/10/2025</a:t>
            </a:r>
          </a:p>
          <a:p>
            <a:pPr algn="just"/>
            <a:r>
              <a:rPr lang="en-GB" sz="800" noProof="0" dirty="0">
                <a:solidFill>
                  <a:schemeClr val="tx1"/>
                </a:solidFill>
                <a:latin typeface="Santander Text" panose="020B0504020201020104"/>
              </a:rPr>
              <a:t>Use cases were analysed for a chatbot connected to Oracle and Power BI, focused on functional queries on reports. The data flow between FMIS and SANART, information sources, and possibilities for data cleansing and quality control were reviewed.</a:t>
            </a:r>
          </a:p>
          <a:p>
            <a:pPr algn="just"/>
            <a:endParaRPr lang="en-GB" sz="100" b="1" noProof="0" dirty="0">
              <a:solidFill>
                <a:schemeClr val="tx1"/>
              </a:solidFill>
              <a:latin typeface="Santander Text" panose="020B0504020201020104"/>
            </a:endParaRPr>
          </a:p>
          <a:p>
            <a:pPr algn="just"/>
            <a:r>
              <a:rPr lang="en-GB" sz="800" b="1" noProof="0" dirty="0">
                <a:solidFill>
                  <a:schemeClr val="tx1"/>
                </a:solidFill>
                <a:latin typeface="Santander Text" panose="020B0504020201020104"/>
              </a:rPr>
              <a:t>Scope Change – 30/10/2025</a:t>
            </a:r>
          </a:p>
          <a:p>
            <a:pPr algn="just"/>
            <a:r>
              <a:rPr lang="en-GB" sz="800" noProof="0" dirty="0">
                <a:solidFill>
                  <a:schemeClr val="tx1"/>
                </a:solidFill>
                <a:latin typeface="Santander Text" panose="020B0504020201020104"/>
              </a:rPr>
              <a:t>It was established that Santander’s AI Department will validate the AI components to be integrated. Priority is given to the functionality of the conversational agent system in the FMIS TTI calculation module.</a:t>
            </a:r>
          </a:p>
          <a:p>
            <a:pPr algn="just"/>
            <a:r>
              <a:rPr lang="en-GB" sz="800" b="1" dirty="0">
                <a:solidFill>
                  <a:schemeClr val="tx1"/>
                </a:solidFill>
                <a:latin typeface="Santander Text" panose="020B0504020201020104"/>
              </a:rPr>
              <a:t>Session 3 FMIS – 15/11/2025</a:t>
            </a:r>
          </a:p>
          <a:p>
            <a:pPr algn="just"/>
            <a:r>
              <a:rPr lang="en-US" sz="800" dirty="0">
                <a:solidFill>
                  <a:schemeClr val="tx1"/>
                </a:solidFill>
                <a:latin typeface="Santander Text" panose="020B0504020201020104"/>
              </a:rPr>
              <a:t>After reviewing the use cases presented to the FMIS team, they agreed internally that remediation at the landing layer was out of scope, the solution should focus on the conversational agent that handles the variations and calculation of the TTIs. The FMIS team provides the decision tree and calculation methodology that will serve as the knowledge base for the agent system.</a:t>
            </a:r>
            <a:endParaRPr lang="en-GB" sz="800" dirty="0">
              <a:solidFill>
                <a:schemeClr val="tx1"/>
              </a:solidFill>
              <a:latin typeface="Santander Text" panose="020B0504020201020104"/>
            </a:endParaRPr>
          </a:p>
          <a:p>
            <a:pPr algn="just"/>
            <a:r>
              <a:rPr lang="en-GB" sz="800" b="1" noProof="0" dirty="0">
                <a:solidFill>
                  <a:schemeClr val="tx1"/>
                </a:solidFill>
                <a:latin typeface="Santander Text" panose="020B0504020201020104"/>
              </a:rPr>
              <a:t>CTO Session -  27/11/2025</a:t>
            </a:r>
          </a:p>
          <a:p>
            <a:pPr algn="just"/>
            <a:r>
              <a:rPr lang="en-US" sz="800" dirty="0">
                <a:solidFill>
                  <a:schemeClr val="tx1"/>
                </a:solidFill>
                <a:latin typeface="Santander Text" panose="020B0504020201020104"/>
              </a:rPr>
              <a:t>The proposed architecture for the different use cases was reviewed with Santander's CTO team, concluding that at this assessment stage, describing the capabilities of the agent platform does not add as much value as specifying in detail the specific components of the agents focused on the use case.</a:t>
            </a:r>
            <a:endParaRPr lang="en-GB" sz="800" dirty="0">
              <a:solidFill>
                <a:schemeClr val="tx1"/>
              </a:solidFill>
              <a:latin typeface="Santander Text" panose="020B0504020201020104"/>
            </a:endParaRPr>
          </a:p>
          <a:p>
            <a:pPr algn="just"/>
            <a:endParaRPr lang="en-GB" sz="800" noProof="0" dirty="0">
              <a:solidFill>
                <a:schemeClr val="tx1"/>
              </a:solidFill>
              <a:latin typeface="Santander Text" panose="020B0504020201020104"/>
            </a:endParaRPr>
          </a:p>
          <a:p>
            <a:pPr algn="just"/>
            <a:r>
              <a:rPr lang="en-GB" sz="900" b="1" noProof="0" dirty="0">
                <a:solidFill>
                  <a:schemeClr val="tx1"/>
                </a:solidFill>
                <a:latin typeface="Santander Text" panose="020B0504020201020104"/>
              </a:rPr>
              <a:t>Milestone</a:t>
            </a:r>
            <a:endParaRPr lang="en-GB" sz="800" b="1" noProof="0" dirty="0">
              <a:solidFill>
                <a:schemeClr val="tx1"/>
              </a:solidFill>
              <a:latin typeface="Santander Text" panose="020B0504020201020104"/>
            </a:endParaRPr>
          </a:p>
          <a:p>
            <a:pPr algn="just"/>
            <a:endParaRPr lang="en-GB" sz="800" b="1" noProof="0" dirty="0">
              <a:solidFill>
                <a:schemeClr val="tx1"/>
              </a:solidFill>
              <a:latin typeface="Santander Text" panose="020B0504020201020104"/>
            </a:endParaRPr>
          </a:p>
          <a:p>
            <a:pPr marL="228600" indent="-228600" algn="just">
              <a:buFont typeface="+mj-lt"/>
              <a:buAutoNum type="arabicPeriod"/>
            </a:pPr>
            <a:r>
              <a:rPr lang="en-GB" sz="900" dirty="0">
                <a:solidFill>
                  <a:schemeClr val="tx1"/>
                </a:solidFill>
              </a:rPr>
              <a:t>Data Quality Remediation Landing Data Layer - </a:t>
            </a:r>
            <a:r>
              <a:rPr lang="en-GB" sz="900" b="1" dirty="0">
                <a:solidFill>
                  <a:schemeClr val="tx1"/>
                </a:solidFill>
              </a:rPr>
              <a:t>Cancelled</a:t>
            </a:r>
            <a:endParaRPr lang="en-GB" sz="900" b="1" dirty="0">
              <a:solidFill>
                <a:schemeClr val="tx1"/>
              </a:solidFill>
              <a:latin typeface="Aptos" panose="020B0004020202020204" pitchFamily="34" charset="0"/>
              <a:ea typeface="Roboto"/>
              <a:cs typeface="Calibri"/>
            </a:endParaRPr>
          </a:p>
          <a:p>
            <a:pPr marL="228600" indent="-228600" algn="just">
              <a:buFont typeface="+mj-lt"/>
              <a:buAutoNum type="arabicPeriod"/>
            </a:pPr>
            <a:r>
              <a:rPr lang="en-GB" sz="900" dirty="0">
                <a:solidFill>
                  <a:schemeClr val="tx1"/>
                </a:solidFill>
              </a:rPr>
              <a:t>Agent Conversational System to check TTIs – Implementation plan</a:t>
            </a:r>
          </a:p>
          <a:p>
            <a:pPr marL="228600" indent="-228600" algn="just">
              <a:buFont typeface="+mj-lt"/>
              <a:buAutoNum type="arabicPeriod"/>
            </a:pPr>
            <a:r>
              <a:rPr lang="en-GB" sz="900" dirty="0">
                <a:solidFill>
                  <a:schemeClr val="tx1"/>
                </a:solidFill>
              </a:rPr>
              <a:t>Agent flow to provide responses to the customer SANART – </a:t>
            </a:r>
            <a:r>
              <a:rPr lang="en-GB" sz="900" b="1" dirty="0">
                <a:solidFill>
                  <a:schemeClr val="tx1"/>
                </a:solidFill>
              </a:rPr>
              <a:t>Cancelled</a:t>
            </a:r>
          </a:p>
          <a:p>
            <a:pPr marL="228600" indent="-228600" algn="just">
              <a:buFont typeface="+mj-lt"/>
              <a:buAutoNum type="arabicPeriod"/>
            </a:pPr>
            <a:endParaRPr lang="en-GB" sz="800" dirty="0">
              <a:solidFill>
                <a:schemeClr val="tx1"/>
              </a:solidFill>
              <a:latin typeface="Aptos" panose="020B0004020202020204" pitchFamily="34" charset="0"/>
              <a:ea typeface="Roboto"/>
              <a:cs typeface="Calibri"/>
            </a:endParaRPr>
          </a:p>
          <a:p>
            <a:pPr algn="just"/>
            <a:endParaRPr lang="en-GB" sz="800" b="1" noProof="0" dirty="0">
              <a:solidFill>
                <a:schemeClr val="tx1"/>
              </a:solidFill>
              <a:latin typeface="Santander Text" panose="020B0504020201020104"/>
            </a:endParaRPr>
          </a:p>
        </p:txBody>
      </p:sp>
      <p:sp>
        <p:nvSpPr>
          <p:cNvPr id="9" name="Rectángulo 8">
            <a:extLst>
              <a:ext uri="{FF2B5EF4-FFF2-40B4-BE49-F238E27FC236}">
                <a16:creationId xmlns:a16="http://schemas.microsoft.com/office/drawing/2014/main" id="{EE4BC9A4-F6C8-937E-FC20-07B58AE9CEC2}"/>
              </a:ext>
            </a:extLst>
          </p:cNvPr>
          <p:cNvSpPr/>
          <p:nvPr/>
        </p:nvSpPr>
        <p:spPr>
          <a:xfrm>
            <a:off x="228598" y="5523546"/>
            <a:ext cx="5867400" cy="1067753"/>
          </a:xfrm>
          <a:prstGeom prst="rect">
            <a:avLst/>
          </a:prstGeom>
          <a:solidFill>
            <a:srgbClr val="F2F2F2"/>
          </a:solidFill>
          <a:ln w="9525">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latin typeface="Santander Text" panose="020B0504020201020104"/>
            </a:endParaRPr>
          </a:p>
        </p:txBody>
      </p:sp>
      <p:graphicFrame>
        <p:nvGraphicFramePr>
          <p:cNvPr id="10" name="Tabla 9">
            <a:extLst>
              <a:ext uri="{FF2B5EF4-FFF2-40B4-BE49-F238E27FC236}">
                <a16:creationId xmlns:a16="http://schemas.microsoft.com/office/drawing/2014/main" id="{A17CDA5B-FC9A-E420-7601-82CF8C0462F8}"/>
              </a:ext>
            </a:extLst>
          </p:cNvPr>
          <p:cNvGraphicFramePr>
            <a:graphicFrameLocks noGrp="1"/>
          </p:cNvGraphicFramePr>
          <p:nvPr>
            <p:extLst>
              <p:ext uri="{D42A27DB-BD31-4B8C-83A1-F6EECF244321}">
                <p14:modId xmlns:p14="http://schemas.microsoft.com/office/powerpoint/2010/main" val="164420407"/>
              </p:ext>
            </p:extLst>
          </p:nvPr>
        </p:nvGraphicFramePr>
        <p:xfrm>
          <a:off x="6202955" y="973048"/>
          <a:ext cx="5756910" cy="1166368"/>
        </p:xfrm>
        <a:graphic>
          <a:graphicData uri="http://schemas.openxmlformats.org/drawingml/2006/table">
            <a:tbl>
              <a:tblPr firstRow="1" bandRow="1">
                <a:tableStyleId>{5A111915-BE36-4E01-A7E5-04B1672EAD32}</a:tableStyleId>
              </a:tblPr>
              <a:tblGrid>
                <a:gridCol w="1693926">
                  <a:extLst>
                    <a:ext uri="{9D8B030D-6E8A-4147-A177-3AD203B41FA5}">
                      <a16:colId xmlns:a16="http://schemas.microsoft.com/office/drawing/2014/main" val="2481998695"/>
                    </a:ext>
                  </a:extLst>
                </a:gridCol>
                <a:gridCol w="1170432">
                  <a:extLst>
                    <a:ext uri="{9D8B030D-6E8A-4147-A177-3AD203B41FA5}">
                      <a16:colId xmlns:a16="http://schemas.microsoft.com/office/drawing/2014/main" val="2704700125"/>
                    </a:ext>
                  </a:extLst>
                </a:gridCol>
                <a:gridCol w="649224">
                  <a:extLst>
                    <a:ext uri="{9D8B030D-6E8A-4147-A177-3AD203B41FA5}">
                      <a16:colId xmlns:a16="http://schemas.microsoft.com/office/drawing/2014/main" val="4153116172"/>
                    </a:ext>
                  </a:extLst>
                </a:gridCol>
                <a:gridCol w="1091946">
                  <a:extLst>
                    <a:ext uri="{9D8B030D-6E8A-4147-A177-3AD203B41FA5}">
                      <a16:colId xmlns:a16="http://schemas.microsoft.com/office/drawing/2014/main" val="199675353"/>
                    </a:ext>
                  </a:extLst>
                </a:gridCol>
                <a:gridCol w="1151382">
                  <a:extLst>
                    <a:ext uri="{9D8B030D-6E8A-4147-A177-3AD203B41FA5}">
                      <a16:colId xmlns:a16="http://schemas.microsoft.com/office/drawing/2014/main" val="3256624466"/>
                    </a:ext>
                  </a:extLst>
                </a:gridCol>
              </a:tblGrid>
              <a:tr h="292608">
                <a:tc>
                  <a:txBody>
                    <a:bodyPr/>
                    <a:lstStyle/>
                    <a:p>
                      <a:r>
                        <a:rPr lang="en-GB" sz="1050" noProof="0">
                          <a:effectLst>
                            <a:outerShdw blurRad="38100" dist="38100" dir="2700000" algn="tl">
                              <a:srgbClr val="000000">
                                <a:alpha val="43137"/>
                              </a:srgbClr>
                            </a:outerShdw>
                          </a:effectLst>
                        </a:rPr>
                        <a:t>Descriptions</a:t>
                      </a:r>
                    </a:p>
                  </a:txBody>
                  <a:tcPr>
                    <a:lnB w="12700" cap="flat" cmpd="sng" algn="ctr">
                      <a:solidFill>
                        <a:schemeClr val="bg1">
                          <a:lumMod val="85000"/>
                        </a:schemeClr>
                      </a:solidFill>
                      <a:prstDash val="solid"/>
                      <a:round/>
                      <a:headEnd type="none" w="med" len="med"/>
                      <a:tailEnd type="none" w="med" len="med"/>
                    </a:lnB>
                    <a:solidFill>
                      <a:schemeClr val="bg1">
                        <a:lumMod val="75000"/>
                      </a:schemeClr>
                    </a:solidFill>
                  </a:tcPr>
                </a:tc>
                <a:tc>
                  <a:txBody>
                    <a:bodyPr/>
                    <a:lstStyle/>
                    <a:p>
                      <a:r>
                        <a:rPr lang="en-GB" sz="1050" noProof="0">
                          <a:effectLst>
                            <a:outerShdw blurRad="38100" dist="38100" dir="2700000" algn="tl">
                              <a:srgbClr val="000000">
                                <a:alpha val="43137"/>
                              </a:srgbClr>
                            </a:outerShdw>
                          </a:effectLst>
                        </a:rPr>
                        <a:t>Resolution Date</a:t>
                      </a:r>
                    </a:p>
                  </a:txBody>
                  <a:tcPr>
                    <a:lnB w="12700" cap="flat" cmpd="sng" algn="ctr">
                      <a:solidFill>
                        <a:schemeClr val="bg1">
                          <a:lumMod val="85000"/>
                        </a:schemeClr>
                      </a:solidFill>
                      <a:prstDash val="solid"/>
                      <a:round/>
                      <a:headEnd type="none" w="med" len="med"/>
                      <a:tailEnd type="none" w="med" len="med"/>
                    </a:lnB>
                    <a:solidFill>
                      <a:schemeClr val="bg1">
                        <a:lumMod val="75000"/>
                      </a:schemeClr>
                    </a:solidFill>
                  </a:tcPr>
                </a:tc>
                <a:tc>
                  <a:txBody>
                    <a:bodyPr/>
                    <a:lstStyle/>
                    <a:p>
                      <a:r>
                        <a:rPr lang="en-GB" sz="1050" noProof="0">
                          <a:effectLst>
                            <a:outerShdw blurRad="38100" dist="38100" dir="2700000" algn="tl">
                              <a:srgbClr val="000000">
                                <a:alpha val="43137"/>
                              </a:srgbClr>
                            </a:outerShdw>
                          </a:effectLst>
                        </a:rPr>
                        <a:t>Status</a:t>
                      </a:r>
                    </a:p>
                  </a:txBody>
                  <a:tcPr>
                    <a:lnB w="12700" cap="flat" cmpd="sng" algn="ctr">
                      <a:solidFill>
                        <a:schemeClr val="bg1">
                          <a:lumMod val="85000"/>
                        </a:schemeClr>
                      </a:solidFill>
                      <a:prstDash val="solid"/>
                      <a:round/>
                      <a:headEnd type="none" w="med" len="med"/>
                      <a:tailEnd type="none" w="med" len="med"/>
                    </a:lnB>
                    <a:solidFill>
                      <a:schemeClr val="bg1">
                        <a:lumMod val="75000"/>
                      </a:schemeClr>
                    </a:solidFill>
                  </a:tcPr>
                </a:tc>
                <a:tc>
                  <a:txBody>
                    <a:bodyPr/>
                    <a:lstStyle/>
                    <a:p>
                      <a:r>
                        <a:rPr lang="en-GB" sz="1050" noProof="0">
                          <a:effectLst>
                            <a:outerShdw blurRad="38100" dist="38100" dir="2700000" algn="tl">
                              <a:srgbClr val="000000">
                                <a:alpha val="43137"/>
                              </a:srgbClr>
                            </a:outerShdw>
                          </a:effectLst>
                        </a:rPr>
                        <a:t>Owner</a:t>
                      </a:r>
                    </a:p>
                  </a:txBody>
                  <a:tcPr>
                    <a:lnB w="12700" cap="flat" cmpd="sng" algn="ctr">
                      <a:solidFill>
                        <a:schemeClr val="bg1">
                          <a:lumMod val="85000"/>
                        </a:schemeClr>
                      </a:solidFill>
                      <a:prstDash val="solid"/>
                      <a:round/>
                      <a:headEnd type="none" w="med" len="med"/>
                      <a:tailEnd type="none" w="med" len="med"/>
                    </a:lnB>
                    <a:solidFill>
                      <a:schemeClr val="bg1">
                        <a:lumMod val="75000"/>
                      </a:schemeClr>
                    </a:solidFill>
                  </a:tcPr>
                </a:tc>
                <a:tc>
                  <a:txBody>
                    <a:bodyPr/>
                    <a:lstStyle/>
                    <a:p>
                      <a:r>
                        <a:rPr lang="en-GB" sz="1050" noProof="0">
                          <a:effectLst>
                            <a:outerShdw blurRad="38100" dist="38100" dir="2700000" algn="tl">
                              <a:srgbClr val="000000">
                                <a:alpha val="43137"/>
                              </a:srgbClr>
                            </a:outerShdw>
                          </a:effectLst>
                        </a:rPr>
                        <a:t>Comments</a:t>
                      </a:r>
                    </a:p>
                  </a:txBody>
                  <a:tcPr>
                    <a:lnB w="12700" cap="flat" cmpd="sng" algn="ctr">
                      <a:solidFill>
                        <a:schemeClr val="bg1">
                          <a:lumMod val="85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0423379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kern="1200" noProof="0" dirty="0">
                          <a:solidFill>
                            <a:schemeClr val="tx1"/>
                          </a:solidFill>
                          <a:latin typeface="Santander Text" panose="020B0504020201020104"/>
                          <a:ea typeface="+mn-ea"/>
                          <a:cs typeface="+mn-cs"/>
                        </a:rPr>
                        <a:t>SANART Requirements Scope Solu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kern="1200" noProof="0">
                          <a:solidFill>
                            <a:schemeClr val="tx1"/>
                          </a:solidFill>
                          <a:latin typeface="Santander Text" panose="020B0504020201020104"/>
                          <a:ea typeface="+mn-ea"/>
                          <a:cs typeface="+mn-cs"/>
                        </a:rPr>
                        <a:t>N/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GB" sz="1100" noProof="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kern="1200" noProof="0">
                          <a:solidFill>
                            <a:schemeClr val="tx1"/>
                          </a:solidFill>
                          <a:latin typeface="Santander Text" panose="020B0504020201020104"/>
                          <a:ea typeface="+mn-ea"/>
                          <a:cs typeface="+mn-cs"/>
                        </a:rPr>
                        <a:t>SANART Team</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900" kern="1200" noProof="0" dirty="0">
                          <a:solidFill>
                            <a:schemeClr val="tx1"/>
                          </a:solidFill>
                          <a:latin typeface="Santander Text" panose="020B0504020201020104"/>
                          <a:ea typeface="+mn-ea"/>
                          <a:cs typeface="+mn-cs"/>
                        </a:rPr>
                        <a:t>Cancelled by the customer reques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66278342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kern="1200" noProof="0" dirty="0">
                          <a:solidFill>
                            <a:schemeClr val="tx1"/>
                          </a:solidFill>
                          <a:latin typeface="Santander Text" panose="020B0504020201020104"/>
                          <a:ea typeface="+mn-ea"/>
                          <a:cs typeface="+mn-cs"/>
                        </a:rPr>
                        <a:t>AI Agent Systems Standardiza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kern="1200" noProof="0">
                          <a:solidFill>
                            <a:schemeClr val="tx1"/>
                          </a:solidFill>
                          <a:latin typeface="Santander Text" panose="020B0504020201020104"/>
                          <a:ea typeface="+mn-ea"/>
                          <a:cs typeface="+mn-cs"/>
                        </a:rPr>
                        <a:t>TBC</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GB" sz="1100" noProof="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kern="1200" noProof="0">
                          <a:solidFill>
                            <a:schemeClr val="tx1"/>
                          </a:solidFill>
                          <a:latin typeface="Santander Text" panose="020B0504020201020104"/>
                          <a:ea typeface="+mn-ea"/>
                          <a:cs typeface="+mn-cs"/>
                        </a:rPr>
                        <a:t>CTO / CDAIO Santander</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900" kern="1200" noProof="0" dirty="0">
                          <a:solidFill>
                            <a:schemeClr val="tx1"/>
                          </a:solidFill>
                          <a:latin typeface="Santander Text" panose="020B0504020201020104"/>
                          <a:ea typeface="+mn-ea"/>
                          <a:cs typeface="+mn-cs"/>
                        </a:rPr>
                        <a:t>Need to approve by Santander CIB CDAIO/CET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530327939"/>
                  </a:ext>
                </a:extLst>
              </a:tr>
            </a:tbl>
          </a:graphicData>
        </a:graphic>
      </p:graphicFrame>
      <p:graphicFrame>
        <p:nvGraphicFramePr>
          <p:cNvPr id="11" name="Tabla 10">
            <a:extLst>
              <a:ext uri="{FF2B5EF4-FFF2-40B4-BE49-F238E27FC236}">
                <a16:creationId xmlns:a16="http://schemas.microsoft.com/office/drawing/2014/main" id="{CE18CADC-40EA-F775-1B81-9C830AFF4CBD}"/>
              </a:ext>
            </a:extLst>
          </p:cNvPr>
          <p:cNvGraphicFramePr>
            <a:graphicFrameLocks noGrp="1"/>
          </p:cNvGraphicFramePr>
          <p:nvPr>
            <p:extLst>
              <p:ext uri="{D42A27DB-BD31-4B8C-83A1-F6EECF244321}">
                <p14:modId xmlns:p14="http://schemas.microsoft.com/office/powerpoint/2010/main" val="256008524"/>
              </p:ext>
            </p:extLst>
          </p:nvPr>
        </p:nvGraphicFramePr>
        <p:xfrm>
          <a:off x="6202953" y="3693881"/>
          <a:ext cx="5756912" cy="3135630"/>
        </p:xfrm>
        <a:graphic>
          <a:graphicData uri="http://schemas.openxmlformats.org/drawingml/2006/table">
            <a:tbl>
              <a:tblPr firstRow="1" bandRow="1">
                <a:tableStyleId>{5A111915-BE36-4E01-A7E5-04B1672EAD32}</a:tableStyleId>
              </a:tblPr>
              <a:tblGrid>
                <a:gridCol w="2343150">
                  <a:extLst>
                    <a:ext uri="{9D8B030D-6E8A-4147-A177-3AD203B41FA5}">
                      <a16:colId xmlns:a16="http://schemas.microsoft.com/office/drawing/2014/main" val="2481998695"/>
                    </a:ext>
                  </a:extLst>
                </a:gridCol>
                <a:gridCol w="941832">
                  <a:extLst>
                    <a:ext uri="{9D8B030D-6E8A-4147-A177-3AD203B41FA5}">
                      <a16:colId xmlns:a16="http://schemas.microsoft.com/office/drawing/2014/main" val="2704700125"/>
                    </a:ext>
                  </a:extLst>
                </a:gridCol>
                <a:gridCol w="1032702">
                  <a:extLst>
                    <a:ext uri="{9D8B030D-6E8A-4147-A177-3AD203B41FA5}">
                      <a16:colId xmlns:a16="http://schemas.microsoft.com/office/drawing/2014/main" val="4153116172"/>
                    </a:ext>
                  </a:extLst>
                </a:gridCol>
                <a:gridCol w="1439228">
                  <a:extLst>
                    <a:ext uri="{9D8B030D-6E8A-4147-A177-3AD203B41FA5}">
                      <a16:colId xmlns:a16="http://schemas.microsoft.com/office/drawing/2014/main" val="199675353"/>
                    </a:ext>
                  </a:extLst>
                </a:gridCol>
              </a:tblGrid>
              <a:tr h="255270">
                <a:tc>
                  <a:txBody>
                    <a:bodyPr/>
                    <a:lstStyle/>
                    <a:p>
                      <a:r>
                        <a:rPr lang="en-GB" sz="1100" noProof="0" dirty="0">
                          <a:effectLst>
                            <a:outerShdw blurRad="38100" dist="38100" dir="2700000" algn="tl">
                              <a:srgbClr val="000000">
                                <a:alpha val="43137"/>
                              </a:srgbClr>
                            </a:outerShdw>
                          </a:effectLst>
                        </a:rPr>
                        <a:t>Activity</a:t>
                      </a:r>
                    </a:p>
                  </a:txBody>
                  <a:tcPr>
                    <a:lnB w="12700" cap="flat" cmpd="sng" algn="ctr">
                      <a:solidFill>
                        <a:schemeClr val="bg1">
                          <a:lumMod val="85000"/>
                        </a:schemeClr>
                      </a:solidFill>
                      <a:prstDash val="solid"/>
                      <a:round/>
                      <a:headEnd type="none" w="med" len="med"/>
                      <a:tailEnd type="none" w="med" len="med"/>
                    </a:lnB>
                    <a:solidFill>
                      <a:srgbClr val="BFBFBF"/>
                    </a:solidFill>
                  </a:tcPr>
                </a:tc>
                <a:tc>
                  <a:txBody>
                    <a:bodyPr/>
                    <a:lstStyle/>
                    <a:p>
                      <a:r>
                        <a:rPr lang="en-GB" sz="1100" noProof="0">
                          <a:effectLst>
                            <a:outerShdw blurRad="38100" dist="38100" dir="2700000" algn="tl">
                              <a:srgbClr val="000000">
                                <a:alpha val="43137"/>
                              </a:srgbClr>
                            </a:outerShdw>
                          </a:effectLst>
                        </a:rPr>
                        <a:t>Deadline</a:t>
                      </a:r>
                    </a:p>
                  </a:txBody>
                  <a:tcPr>
                    <a:lnB w="12700" cap="flat" cmpd="sng" algn="ctr">
                      <a:solidFill>
                        <a:schemeClr val="bg1">
                          <a:lumMod val="85000"/>
                        </a:schemeClr>
                      </a:solidFill>
                      <a:prstDash val="solid"/>
                      <a:round/>
                      <a:headEnd type="none" w="med" len="med"/>
                      <a:tailEnd type="none" w="med" len="med"/>
                    </a:lnB>
                    <a:solidFill>
                      <a:srgbClr val="BFBFBF"/>
                    </a:solidFill>
                  </a:tcPr>
                </a:tc>
                <a:tc>
                  <a:txBody>
                    <a:bodyPr/>
                    <a:lstStyle/>
                    <a:p>
                      <a:pPr algn="ctr"/>
                      <a:r>
                        <a:rPr lang="en-GB" sz="1100" noProof="0">
                          <a:effectLst>
                            <a:outerShdw blurRad="38100" dist="38100" dir="2700000" algn="tl">
                              <a:srgbClr val="000000">
                                <a:alpha val="43137"/>
                              </a:srgbClr>
                            </a:outerShdw>
                          </a:effectLst>
                        </a:rPr>
                        <a:t>Status</a:t>
                      </a:r>
                    </a:p>
                  </a:txBody>
                  <a:tcPr>
                    <a:lnB w="12700" cap="flat" cmpd="sng" algn="ctr">
                      <a:solidFill>
                        <a:schemeClr val="bg1">
                          <a:lumMod val="85000"/>
                        </a:schemeClr>
                      </a:solidFill>
                      <a:prstDash val="solid"/>
                      <a:round/>
                      <a:headEnd type="none" w="med" len="med"/>
                      <a:tailEnd type="none" w="med" len="med"/>
                    </a:lnB>
                    <a:solidFill>
                      <a:srgbClr val="BFBFBF"/>
                    </a:solidFill>
                  </a:tcPr>
                </a:tc>
                <a:tc>
                  <a:txBody>
                    <a:bodyPr/>
                    <a:lstStyle/>
                    <a:p>
                      <a:r>
                        <a:rPr lang="en-GB" sz="1100" noProof="0" dirty="0">
                          <a:effectLst>
                            <a:outerShdw blurRad="38100" dist="38100" dir="2700000" algn="tl">
                              <a:srgbClr val="000000">
                                <a:alpha val="43137"/>
                              </a:srgbClr>
                            </a:outerShdw>
                          </a:effectLst>
                        </a:rPr>
                        <a:t>Owner</a:t>
                      </a:r>
                    </a:p>
                  </a:txBody>
                  <a:tcPr>
                    <a:lnB w="12700" cap="flat" cmpd="sng" algn="ctr">
                      <a:solidFill>
                        <a:schemeClr val="bg1">
                          <a:lumMod val="85000"/>
                        </a:schemeClr>
                      </a:solidFill>
                      <a:prstDash val="solid"/>
                      <a:round/>
                      <a:headEnd type="none" w="med" len="med"/>
                      <a:tailEnd type="none" w="med" len="med"/>
                    </a:lnB>
                    <a:solidFill>
                      <a:srgbClr val="BFBFBF"/>
                    </a:solidFill>
                  </a:tcPr>
                </a:tc>
                <a:extLst>
                  <a:ext uri="{0D108BD9-81ED-4DB2-BD59-A6C34878D82A}">
                    <a16:rowId xmlns:a16="http://schemas.microsoft.com/office/drawing/2014/main" val="304233790"/>
                  </a:ext>
                </a:extLst>
              </a:tr>
              <a:tr h="255270">
                <a:tc>
                  <a:txBody>
                    <a:bodyPr/>
                    <a:lstStyle/>
                    <a:p>
                      <a:r>
                        <a:rPr lang="en-GB" sz="900" noProof="0" dirty="0">
                          <a:latin typeface="Santander Text" panose="020B0504020201020104"/>
                        </a:rPr>
                        <a:t>Collection of Internal FMIS Process Informa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ctr" defTabSz="914400" rtl="0" eaLnBrk="1" latinLnBrk="0" hangingPunct="1"/>
                      <a:r>
                        <a:rPr lang="en-GB" sz="900" kern="1200" noProof="0">
                          <a:solidFill>
                            <a:schemeClr val="tx1"/>
                          </a:solidFill>
                          <a:latin typeface="Santander Text" panose="020B0504020201020104"/>
                          <a:ea typeface="+mn-ea"/>
                          <a:cs typeface="+mn-cs"/>
                        </a:rPr>
                        <a:t>04/1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GB" sz="1100" noProof="0" dirty="0">
                        <a:latin typeface="Santander Text" panose="020B0504020201020104"/>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GB" sz="800" noProof="0" dirty="0">
                          <a:latin typeface="Santander Text" panose="020B0504020201020104"/>
                        </a:rPr>
                        <a:t>Alvaro Tejada / Alejandra Sierra</a:t>
                      </a:r>
                      <a:endParaRPr lang="en-GB" sz="1050" noProof="0" dirty="0">
                        <a:latin typeface="Santander Text" panose="020B0504020201020104"/>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47983118"/>
                  </a:ext>
                </a:extLst>
              </a:tr>
              <a:tr h="247650">
                <a:tc>
                  <a:txBody>
                    <a:bodyPr/>
                    <a:lstStyle/>
                    <a:p>
                      <a:r>
                        <a:rPr lang="en-GB" sz="900" noProof="0" dirty="0">
                          <a:latin typeface="Santander Text" panose="020B0504020201020104"/>
                        </a:rPr>
                        <a:t>Functional Requirements Checklist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ctr" defTabSz="914400" rtl="0" eaLnBrk="1" latinLnBrk="0" hangingPunct="1"/>
                      <a:r>
                        <a:rPr lang="en-GB" sz="900" kern="1200" noProof="0">
                          <a:solidFill>
                            <a:schemeClr val="tx1"/>
                          </a:solidFill>
                          <a:latin typeface="Santander Text" panose="020B0504020201020104"/>
                          <a:ea typeface="+mn-ea"/>
                          <a:cs typeface="+mn-cs"/>
                        </a:rPr>
                        <a:t>11/1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GB" sz="1100" noProof="0" dirty="0">
                        <a:latin typeface="Santander Text" panose="020B0504020201020104"/>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noProof="0">
                          <a:latin typeface="Santander Text" panose="020B0504020201020104"/>
                        </a:rPr>
                        <a:t>Alvaro Tejada / Alejandra Sierra</a:t>
                      </a:r>
                      <a:endParaRPr lang="en-GB" sz="1050" noProof="0">
                        <a:latin typeface="Santander Text" panose="020B0504020201020104"/>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341923886"/>
                  </a:ext>
                </a:extLst>
              </a:tr>
              <a:tr h="255270">
                <a:tc>
                  <a:txBody>
                    <a:bodyPr/>
                    <a:lstStyle/>
                    <a:p>
                      <a:r>
                        <a:rPr lang="en-GB" sz="900" noProof="0">
                          <a:latin typeface="Santander Text" panose="020B0504020201020104"/>
                        </a:rPr>
                        <a:t>HLD Architecture (High-Level Desig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ctr" defTabSz="914400" rtl="0" eaLnBrk="1" latinLnBrk="0" hangingPunct="1"/>
                      <a:r>
                        <a:rPr lang="en-GB" sz="900" kern="1200" noProof="0">
                          <a:solidFill>
                            <a:schemeClr val="tx1"/>
                          </a:solidFill>
                          <a:latin typeface="Santander Text" panose="020B0504020201020104"/>
                          <a:ea typeface="+mn-ea"/>
                          <a:cs typeface="+mn-cs"/>
                        </a:rPr>
                        <a:t>18/1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l" defTabSz="914400" rtl="0" eaLnBrk="1" latinLnBrk="0" hangingPunct="1"/>
                      <a:endParaRPr lang="en-GB" sz="800" kern="1200" noProof="0" dirty="0">
                        <a:solidFill>
                          <a:schemeClr val="tx1"/>
                        </a:solidFill>
                        <a:latin typeface="Santander Text" panose="020B0504020201020104"/>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l" defTabSz="914400" rtl="0" eaLnBrk="1" latinLnBrk="0" hangingPunct="1"/>
                      <a:r>
                        <a:rPr lang="en-GB" sz="800" kern="1200" noProof="0" dirty="0">
                          <a:solidFill>
                            <a:schemeClr val="tx1"/>
                          </a:solidFill>
                          <a:latin typeface="Santander Text" panose="020B0504020201020104"/>
                          <a:ea typeface="+mn-ea"/>
                          <a:cs typeface="+mn-cs"/>
                        </a:rPr>
                        <a:t>Angel Lopez / Roberto Navarr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662783426"/>
                  </a:ext>
                </a:extLst>
              </a:tr>
              <a:tr h="2552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dirty="0">
                          <a:latin typeface="Santander Text" panose="020B0504020201020104"/>
                        </a:rPr>
                        <a:t>Functional Refined Use Cas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ctr" defTabSz="914400" rtl="0" eaLnBrk="1" latinLnBrk="0" hangingPunct="1"/>
                      <a:r>
                        <a:rPr lang="en-GB" sz="900" kern="1200" noProof="0" dirty="0">
                          <a:solidFill>
                            <a:schemeClr val="tx1"/>
                          </a:solidFill>
                          <a:latin typeface="Santander Text" panose="020B0504020201020104"/>
                          <a:ea typeface="+mn-ea"/>
                          <a:cs typeface="+mn-cs"/>
                        </a:rPr>
                        <a:t>22/1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l" defTabSz="914400" rtl="0" eaLnBrk="1" latinLnBrk="0" hangingPunct="1"/>
                      <a:endParaRPr lang="en-GB" sz="900" kern="1200" noProof="0" dirty="0">
                        <a:solidFill>
                          <a:schemeClr val="tx1"/>
                        </a:solidFill>
                        <a:latin typeface="Santander Text" panose="020B0504020201020104"/>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noProof="0" dirty="0">
                          <a:latin typeface="Santander Text" panose="020B0504020201020104"/>
                        </a:rPr>
                        <a:t>Alvaro Tejada / Alejandra Sierra / </a:t>
                      </a:r>
                      <a:r>
                        <a:rPr lang="en-GB" sz="800" kern="1200" noProof="0" dirty="0">
                          <a:solidFill>
                            <a:schemeClr val="tx1"/>
                          </a:solidFill>
                          <a:latin typeface="Santander Text" panose="020B0504020201020104"/>
                          <a:ea typeface="+mn-ea"/>
                          <a:cs typeface="+mn-cs"/>
                        </a:rPr>
                        <a:t>Angel Lopez / Roberto Navarr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530327939"/>
                  </a:ext>
                </a:extLst>
              </a:tr>
              <a:tr h="2552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dirty="0">
                          <a:latin typeface="Santander Text" panose="020B0504020201020104"/>
                        </a:rPr>
                        <a:t>Low Level Design Architectur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ctr" defTabSz="914400" rtl="0" eaLnBrk="1" latinLnBrk="0" hangingPunct="1"/>
                      <a:r>
                        <a:rPr lang="en-GB" sz="900" kern="1200" noProof="0" dirty="0">
                          <a:solidFill>
                            <a:schemeClr val="tx1"/>
                          </a:solidFill>
                          <a:latin typeface="Santander Text" panose="020B0504020201020104"/>
                          <a:ea typeface="+mn-ea"/>
                          <a:cs typeface="+mn-cs"/>
                        </a:rPr>
                        <a:t>27/1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l" defTabSz="914400" rtl="0" eaLnBrk="1" latinLnBrk="0" hangingPunct="1"/>
                      <a:endParaRPr lang="en-GB" sz="900" kern="1200" noProof="0" dirty="0">
                        <a:solidFill>
                          <a:schemeClr val="tx1"/>
                        </a:solidFill>
                        <a:latin typeface="Santander Text" panose="020B0504020201020104"/>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kern="1200" noProof="0" dirty="0">
                          <a:solidFill>
                            <a:schemeClr val="tx1"/>
                          </a:solidFill>
                          <a:latin typeface="Santander Text" panose="020B0504020201020104"/>
                          <a:ea typeface="+mn-ea"/>
                          <a:cs typeface="+mn-cs"/>
                        </a:rPr>
                        <a:t>Angel Lopez / Roberto Navarr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98332112"/>
                  </a:ext>
                </a:extLst>
              </a:tr>
              <a:tr h="2552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dirty="0">
                          <a:latin typeface="Santander Text" panose="020B0504020201020104"/>
                        </a:rPr>
                        <a:t>Technical validation repor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ctr" defTabSz="914400" rtl="0" eaLnBrk="1" latinLnBrk="0" hangingPunct="1"/>
                      <a:r>
                        <a:rPr lang="en-GB" sz="900" kern="1200" noProof="0" dirty="0">
                          <a:solidFill>
                            <a:schemeClr val="tx1"/>
                          </a:solidFill>
                          <a:latin typeface="Santander Text" panose="020B0504020201020104"/>
                          <a:ea typeface="+mn-ea"/>
                          <a:cs typeface="+mn-cs"/>
                        </a:rPr>
                        <a:t>30/1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l" defTabSz="914400" rtl="0" eaLnBrk="1" latinLnBrk="0" hangingPunct="1"/>
                      <a:endParaRPr lang="en-GB" sz="900" kern="1200" noProof="0" dirty="0">
                        <a:solidFill>
                          <a:schemeClr val="tx1"/>
                        </a:solidFill>
                        <a:latin typeface="Santander Text" panose="020B0504020201020104"/>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kern="1200" noProof="0" dirty="0">
                          <a:solidFill>
                            <a:schemeClr val="tx1"/>
                          </a:solidFill>
                          <a:latin typeface="Santander Text" panose="020B0504020201020104"/>
                          <a:ea typeface="+mn-ea"/>
                          <a:cs typeface="+mn-cs"/>
                        </a:rPr>
                        <a:t>Angel Lopez / Roberto Navarr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536907228"/>
                  </a:ext>
                </a:extLst>
              </a:tr>
              <a:tr h="2552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dirty="0">
                          <a:latin typeface="Santander Text" panose="020B0504020201020104"/>
                        </a:rPr>
                        <a:t>Use Cases Scope Alignmen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ctr" defTabSz="914400" rtl="0" eaLnBrk="1" latinLnBrk="0" hangingPunct="1"/>
                      <a:r>
                        <a:rPr lang="en-GB" sz="900" kern="1200" noProof="0" dirty="0">
                          <a:solidFill>
                            <a:schemeClr val="tx1"/>
                          </a:solidFill>
                          <a:latin typeface="Santander Text" panose="020B0504020201020104"/>
                          <a:ea typeface="+mn-ea"/>
                          <a:cs typeface="+mn-cs"/>
                        </a:rPr>
                        <a:t>03/1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l" defTabSz="914400" rtl="0" eaLnBrk="1" latinLnBrk="0" hangingPunct="1"/>
                      <a:endParaRPr lang="en-GB" sz="900" kern="1200" noProof="0" dirty="0">
                        <a:solidFill>
                          <a:schemeClr val="tx1"/>
                        </a:solidFill>
                        <a:latin typeface="Santander Text" panose="020B0504020201020104"/>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kern="1200" noProof="0">
                          <a:solidFill>
                            <a:schemeClr val="tx1"/>
                          </a:solidFill>
                          <a:latin typeface="Santander Text" panose="020B0504020201020104"/>
                          <a:ea typeface="+mn-ea"/>
                          <a:cs typeface="+mn-cs"/>
                        </a:rPr>
                        <a:t>Steering Comitt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526237981"/>
                  </a:ext>
                </a:extLst>
              </a:tr>
              <a:tr h="2552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dirty="0">
                          <a:latin typeface="Santander Text" panose="020B0504020201020104"/>
                        </a:rPr>
                        <a:t>Project pla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ctr" defTabSz="914400" rtl="0" eaLnBrk="1" latinLnBrk="0" hangingPunct="1"/>
                      <a:r>
                        <a:rPr lang="en-GB" sz="900" kern="1200" noProof="0">
                          <a:solidFill>
                            <a:schemeClr val="tx1"/>
                          </a:solidFill>
                          <a:latin typeface="Santander Text" panose="020B0504020201020104"/>
                          <a:ea typeface="+mn-ea"/>
                          <a:cs typeface="+mn-cs"/>
                        </a:rPr>
                        <a:t>10/1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l" defTabSz="914400" rtl="0" eaLnBrk="1" latinLnBrk="0" hangingPunct="1"/>
                      <a:endParaRPr lang="en-GB" sz="900" kern="1200" noProof="0" dirty="0">
                        <a:solidFill>
                          <a:schemeClr val="tx1"/>
                        </a:solidFill>
                        <a:latin typeface="Santander Text" panose="020B0504020201020104"/>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noProof="0" dirty="0">
                          <a:latin typeface="Santander Text" panose="020B0504020201020104"/>
                        </a:rPr>
                        <a:t>Alvaro Tejada / Alejandra Sierra / </a:t>
                      </a:r>
                      <a:r>
                        <a:rPr lang="en-GB" sz="800" kern="1200" noProof="0" dirty="0">
                          <a:solidFill>
                            <a:schemeClr val="tx1"/>
                          </a:solidFill>
                          <a:latin typeface="Santander Text" panose="020B0504020201020104"/>
                          <a:ea typeface="+mn-ea"/>
                          <a:cs typeface="+mn-cs"/>
                        </a:rPr>
                        <a:t>Angel Lopez / Roberto Navarr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82073808"/>
                  </a:ext>
                </a:extLst>
              </a:tr>
            </a:tbl>
          </a:graphicData>
        </a:graphic>
      </p:graphicFrame>
      <p:sp>
        <p:nvSpPr>
          <p:cNvPr id="2" name="Oval 1">
            <a:extLst>
              <a:ext uri="{FF2B5EF4-FFF2-40B4-BE49-F238E27FC236}">
                <a16:creationId xmlns:a16="http://schemas.microsoft.com/office/drawing/2014/main" id="{1B3B3AD3-413A-35DB-15EB-BFADD7109133}"/>
              </a:ext>
            </a:extLst>
          </p:cNvPr>
          <p:cNvSpPr/>
          <p:nvPr/>
        </p:nvSpPr>
        <p:spPr>
          <a:xfrm>
            <a:off x="9336024" y="1362456"/>
            <a:ext cx="128016" cy="137160"/>
          </a:xfrm>
          <a:prstGeom prst="ellips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Santander Text" panose="020B0504020201020104"/>
            </a:endParaRPr>
          </a:p>
        </p:txBody>
      </p:sp>
      <p:sp>
        <p:nvSpPr>
          <p:cNvPr id="16" name="Oval 15">
            <a:extLst>
              <a:ext uri="{FF2B5EF4-FFF2-40B4-BE49-F238E27FC236}">
                <a16:creationId xmlns:a16="http://schemas.microsoft.com/office/drawing/2014/main" id="{DF14ABDB-BE67-D9FD-8FE7-07BF8C3F01FA}"/>
              </a:ext>
            </a:extLst>
          </p:cNvPr>
          <p:cNvSpPr/>
          <p:nvPr/>
        </p:nvSpPr>
        <p:spPr>
          <a:xfrm>
            <a:off x="9917669" y="4426741"/>
            <a:ext cx="128016" cy="137160"/>
          </a:xfrm>
          <a:prstGeom prst="ellips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latin typeface="Santander Text" panose="020B0504020201020104"/>
            </a:endParaRPr>
          </a:p>
        </p:txBody>
      </p:sp>
      <p:pic>
        <p:nvPicPr>
          <p:cNvPr id="20" name="Imagen 2" descr="NTT Data - Red Seguridad">
            <a:extLst>
              <a:ext uri="{FF2B5EF4-FFF2-40B4-BE49-F238E27FC236}">
                <a16:creationId xmlns:a16="http://schemas.microsoft.com/office/drawing/2014/main" id="{752926AF-8C24-DE9F-CE21-50F5AAEF0EEB}"/>
              </a:ext>
            </a:extLst>
          </p:cNvPr>
          <p:cNvPicPr>
            <a:picLocks noChangeAspect="1"/>
          </p:cNvPicPr>
          <p:nvPr/>
        </p:nvPicPr>
        <p:blipFill>
          <a:blip r:embed="rId3"/>
          <a:stretch>
            <a:fillRect/>
          </a:stretch>
        </p:blipFill>
        <p:spPr>
          <a:xfrm>
            <a:off x="10881313" y="-202669"/>
            <a:ext cx="1166998" cy="847775"/>
          </a:xfrm>
          <a:prstGeom prst="rect">
            <a:avLst/>
          </a:prstGeom>
        </p:spPr>
      </p:pic>
      <p:pic>
        <p:nvPicPr>
          <p:cNvPr id="21" name="Picture 20">
            <a:extLst>
              <a:ext uri="{FF2B5EF4-FFF2-40B4-BE49-F238E27FC236}">
                <a16:creationId xmlns:a16="http://schemas.microsoft.com/office/drawing/2014/main" id="{B436A15F-F218-7B95-B0CB-7ECB714AFB3A}"/>
              </a:ext>
            </a:extLst>
          </p:cNvPr>
          <p:cNvPicPr>
            <a:picLocks noChangeAspect="1"/>
          </p:cNvPicPr>
          <p:nvPr/>
        </p:nvPicPr>
        <p:blipFill>
          <a:blip r:embed="rId4"/>
          <a:srcRect r="22480"/>
          <a:stretch>
            <a:fillRect/>
          </a:stretch>
        </p:blipFill>
        <p:spPr>
          <a:xfrm>
            <a:off x="9081410" y="32335"/>
            <a:ext cx="1610515" cy="388493"/>
          </a:xfrm>
          <a:prstGeom prst="rect">
            <a:avLst/>
          </a:prstGeom>
        </p:spPr>
      </p:pic>
      <p:sp>
        <p:nvSpPr>
          <p:cNvPr id="12" name="Rectangle 1">
            <a:extLst>
              <a:ext uri="{FF2B5EF4-FFF2-40B4-BE49-F238E27FC236}">
                <a16:creationId xmlns:a16="http://schemas.microsoft.com/office/drawing/2014/main" id="{A7609DFC-FD76-E8EC-CEB5-E59916338741}"/>
              </a:ext>
            </a:extLst>
          </p:cNvPr>
          <p:cNvSpPr>
            <a:spLocks noChangeArrowheads="1"/>
          </p:cNvSpPr>
          <p:nvPr/>
        </p:nvSpPr>
        <p:spPr bwMode="auto">
          <a:xfrm>
            <a:off x="228598" y="5539042"/>
            <a:ext cx="5867400" cy="1036759"/>
          </a:xfrm>
          <a:prstGeom prst="rect">
            <a:avLst/>
          </a:prstGeom>
          <a:solidFill>
            <a:srgbClr val="F2F2F2"/>
          </a:solidFill>
          <a:ln>
            <a:noFill/>
          </a:ln>
          <a:effectLst/>
        </p:spPr>
        <p:txBody>
          <a:bodyPr vert="horz" wrap="square" lIns="91440" tIns="45720" rIns="91440" bIns="45720" numCol="1" anchor="ctr" anchorCtr="0" compatLnSpc="1">
            <a:prstTxWarp prst="textNoShape">
              <a:avLst/>
            </a:prstTxWarp>
            <a:spAutoFit/>
          </a:bodyPr>
          <a:lstStyle/>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GB" sz="1050" b="0" i="0" u="none" strike="noStrike" cap="none" normalizeH="0" baseline="0" noProof="0" dirty="0">
                <a:ln>
                  <a:noFill/>
                </a:ln>
                <a:solidFill>
                  <a:schemeClr val="tx1"/>
                </a:solidFill>
                <a:effectLst/>
                <a:latin typeface="Santander Text" panose="020B0504020201020104"/>
              </a:rPr>
              <a:t>Define Scope </a:t>
            </a:r>
            <a:r>
              <a:rPr kumimoji="0" lang="en-GB" sz="1050" b="0" i="0" u="none" strike="noStrike" cap="none" normalizeH="0" baseline="0" noProof="0" dirty="0" err="1">
                <a:ln>
                  <a:noFill/>
                </a:ln>
                <a:solidFill>
                  <a:schemeClr val="tx1"/>
                </a:solidFill>
                <a:effectLst/>
                <a:latin typeface="Santander Text" panose="020B0504020201020104"/>
              </a:rPr>
              <a:t>Aligment</a:t>
            </a:r>
            <a:r>
              <a:rPr kumimoji="0" lang="en-GB" sz="1050" b="0" i="0" u="none" strike="noStrike" cap="none" normalizeH="0" baseline="0" noProof="0" dirty="0">
                <a:ln>
                  <a:noFill/>
                </a:ln>
                <a:solidFill>
                  <a:schemeClr val="tx1"/>
                </a:solidFill>
                <a:effectLst/>
                <a:latin typeface="Santander Text" panose="020B0504020201020104"/>
              </a:rPr>
              <a:t> in order to move forward with project plan</a:t>
            </a: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GB" sz="1050" b="0" i="0" u="none" strike="noStrike" cap="none" normalizeH="0" baseline="0" noProof="0" dirty="0">
                <a:ln>
                  <a:noFill/>
                </a:ln>
                <a:solidFill>
                  <a:schemeClr val="tx1"/>
                </a:solidFill>
                <a:effectLst/>
                <a:latin typeface="Santander Text" panose="020B0504020201020104"/>
              </a:rPr>
              <a:t>Project Plan </a:t>
            </a:r>
            <a:r>
              <a:rPr lang="en-GB" sz="1050" dirty="0">
                <a:latin typeface="Santander Text" panose="020B0504020201020104"/>
              </a:rPr>
              <a:t>Implementation</a:t>
            </a: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GB" sz="1050" b="0" i="0" u="none" strike="noStrike" cap="none" normalizeH="0" baseline="0" noProof="0" dirty="0">
                <a:ln>
                  <a:noFill/>
                </a:ln>
                <a:solidFill>
                  <a:schemeClr val="tx1"/>
                </a:solidFill>
                <a:effectLst/>
                <a:latin typeface="Santander Text" panose="020B0504020201020104"/>
              </a:rPr>
              <a:t>Technical validation and go live architecture</a:t>
            </a: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GB" sz="1050" b="0" i="0" u="none" strike="noStrike" cap="none" normalizeH="0" baseline="0" noProof="0" dirty="0">
                <a:ln>
                  <a:noFill/>
                </a:ln>
                <a:solidFill>
                  <a:schemeClr val="tx1"/>
                </a:solidFill>
                <a:effectLst/>
                <a:latin typeface="Santander Text" panose="020B0504020201020104"/>
              </a:rPr>
              <a:t>Approve AI system standardization processes within Santander CIB architecture (CDAIO /CETO).</a:t>
            </a:r>
          </a:p>
        </p:txBody>
      </p:sp>
      <p:sp>
        <p:nvSpPr>
          <p:cNvPr id="22" name="Oval 21">
            <a:extLst>
              <a:ext uri="{FF2B5EF4-FFF2-40B4-BE49-F238E27FC236}">
                <a16:creationId xmlns:a16="http://schemas.microsoft.com/office/drawing/2014/main" id="{ADF7FB46-4AA9-BFA5-A829-235FEB32168B}"/>
              </a:ext>
            </a:extLst>
          </p:cNvPr>
          <p:cNvSpPr/>
          <p:nvPr/>
        </p:nvSpPr>
        <p:spPr>
          <a:xfrm>
            <a:off x="9917669" y="4078133"/>
            <a:ext cx="128016" cy="137160"/>
          </a:xfrm>
          <a:prstGeom prst="ellips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latin typeface="Santander Text" panose="020B0504020201020104"/>
            </a:endParaRPr>
          </a:p>
        </p:txBody>
      </p:sp>
      <p:sp>
        <p:nvSpPr>
          <p:cNvPr id="23" name="Oval 22">
            <a:extLst>
              <a:ext uri="{FF2B5EF4-FFF2-40B4-BE49-F238E27FC236}">
                <a16:creationId xmlns:a16="http://schemas.microsoft.com/office/drawing/2014/main" id="{9A30AF90-EA04-6586-3B06-E95BAFA6C980}"/>
              </a:ext>
            </a:extLst>
          </p:cNvPr>
          <p:cNvSpPr/>
          <p:nvPr/>
        </p:nvSpPr>
        <p:spPr>
          <a:xfrm>
            <a:off x="9917669" y="4763230"/>
            <a:ext cx="128016" cy="137160"/>
          </a:xfrm>
          <a:prstGeom prst="ellips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latin typeface="Santander Text" panose="020B0504020201020104"/>
            </a:endParaRPr>
          </a:p>
        </p:txBody>
      </p:sp>
      <p:sp>
        <p:nvSpPr>
          <p:cNvPr id="3" name="Rectángulo 2">
            <a:extLst>
              <a:ext uri="{FF2B5EF4-FFF2-40B4-BE49-F238E27FC236}">
                <a16:creationId xmlns:a16="http://schemas.microsoft.com/office/drawing/2014/main" id="{DBF61F75-40F7-62E8-1029-D69CE3AC699E}"/>
              </a:ext>
            </a:extLst>
          </p:cNvPr>
          <p:cNvSpPr/>
          <p:nvPr/>
        </p:nvSpPr>
        <p:spPr>
          <a:xfrm>
            <a:off x="228600" y="568317"/>
            <a:ext cx="5867400" cy="311793"/>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noProof="0">
                <a:solidFill>
                  <a:prstClr val="white"/>
                </a:solidFill>
                <a:latin typeface="Santander Text" panose="020B0504020201020104"/>
                <a:ea typeface="Calibri" panose="020F0502020204030204" pitchFamily="34" charset="0"/>
                <a:cs typeface="Calibri" panose="020F0502020204030204" pitchFamily="34" charset="0"/>
              </a:rPr>
              <a:t>Highlights</a:t>
            </a:r>
          </a:p>
        </p:txBody>
      </p:sp>
      <p:sp>
        <p:nvSpPr>
          <p:cNvPr id="6" name="Rectángulo 5">
            <a:extLst>
              <a:ext uri="{FF2B5EF4-FFF2-40B4-BE49-F238E27FC236}">
                <a16:creationId xmlns:a16="http://schemas.microsoft.com/office/drawing/2014/main" id="{864C1FE5-3A30-884A-BE7D-992041260FED}"/>
              </a:ext>
            </a:extLst>
          </p:cNvPr>
          <p:cNvSpPr/>
          <p:nvPr/>
        </p:nvSpPr>
        <p:spPr>
          <a:xfrm>
            <a:off x="228598" y="5145888"/>
            <a:ext cx="5867400" cy="311793"/>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noProof="0">
                <a:solidFill>
                  <a:prstClr val="white"/>
                </a:solidFill>
                <a:latin typeface="Santander Text" panose="020B0504020201020104"/>
                <a:ea typeface="Calibri" panose="020F0502020204030204" pitchFamily="34" charset="0"/>
                <a:cs typeface="Calibri" panose="020F0502020204030204" pitchFamily="34" charset="0"/>
              </a:rPr>
              <a:t>NEXT STEPS AND DECISIONS </a:t>
            </a:r>
          </a:p>
        </p:txBody>
      </p:sp>
      <p:sp>
        <p:nvSpPr>
          <p:cNvPr id="13" name="Oval 12">
            <a:extLst>
              <a:ext uri="{FF2B5EF4-FFF2-40B4-BE49-F238E27FC236}">
                <a16:creationId xmlns:a16="http://schemas.microsoft.com/office/drawing/2014/main" id="{0BA2E469-053D-44A9-4980-0A84B6C4D9D8}"/>
              </a:ext>
            </a:extLst>
          </p:cNvPr>
          <p:cNvSpPr/>
          <p:nvPr/>
        </p:nvSpPr>
        <p:spPr>
          <a:xfrm>
            <a:off x="9336024" y="1808410"/>
            <a:ext cx="128016" cy="137160"/>
          </a:xfrm>
          <a:prstGeom prst="ellipse">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GB" b="1" noProof="0">
              <a:solidFill>
                <a:prstClr val="white"/>
              </a:solidFill>
              <a:latin typeface="Santander Text" panose="020B0504020201020104"/>
              <a:ea typeface="Calibri" panose="020F0502020204030204" pitchFamily="34" charset="0"/>
              <a:cs typeface="Calibri" panose="020F0502020204030204" pitchFamily="34" charset="0"/>
            </a:endParaRPr>
          </a:p>
        </p:txBody>
      </p:sp>
      <p:sp>
        <p:nvSpPr>
          <p:cNvPr id="8" name="Text Placeholder 3">
            <a:extLst>
              <a:ext uri="{FF2B5EF4-FFF2-40B4-BE49-F238E27FC236}">
                <a16:creationId xmlns:a16="http://schemas.microsoft.com/office/drawing/2014/main" id="{86F172A4-0C6E-80EC-7DE2-43373C6A836E}"/>
              </a:ext>
            </a:extLst>
          </p:cNvPr>
          <p:cNvSpPr txBox="1">
            <a:spLocks/>
          </p:cNvSpPr>
          <p:nvPr/>
        </p:nvSpPr>
        <p:spPr>
          <a:xfrm>
            <a:off x="354840" y="201563"/>
            <a:ext cx="3572838" cy="276999"/>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defRPr/>
            </a:pPr>
            <a:r>
              <a:rPr lang="en-GB" b="0" dirty="0">
                <a:solidFill>
                  <a:srgbClr val="F14949"/>
                </a:solidFill>
                <a:latin typeface="Santander Headline" panose="020B0504020201020104"/>
              </a:rPr>
              <a:t>Status</a:t>
            </a:r>
            <a:r>
              <a:rPr lang="en-GB" b="0" noProof="0" dirty="0">
                <a:solidFill>
                  <a:srgbClr val="F14949"/>
                </a:solidFill>
                <a:latin typeface="Santander Headline" panose="020B0504020201020104"/>
              </a:rPr>
              <a:t> – AI Agent Implementation.</a:t>
            </a:r>
          </a:p>
        </p:txBody>
      </p:sp>
      <p:sp>
        <p:nvSpPr>
          <p:cNvPr id="15" name="Oval 14">
            <a:extLst>
              <a:ext uri="{FF2B5EF4-FFF2-40B4-BE49-F238E27FC236}">
                <a16:creationId xmlns:a16="http://schemas.microsoft.com/office/drawing/2014/main" id="{38AB26E7-A048-3412-E9B1-250E4853ACE2}"/>
              </a:ext>
            </a:extLst>
          </p:cNvPr>
          <p:cNvSpPr/>
          <p:nvPr/>
        </p:nvSpPr>
        <p:spPr>
          <a:xfrm>
            <a:off x="9917669" y="5165225"/>
            <a:ext cx="128016" cy="137160"/>
          </a:xfrm>
          <a:prstGeom prst="ellips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latin typeface="Santander Text" panose="020B0504020201020104"/>
            </a:endParaRPr>
          </a:p>
        </p:txBody>
      </p:sp>
      <p:sp>
        <p:nvSpPr>
          <p:cNvPr id="17" name="Oval 16">
            <a:extLst>
              <a:ext uri="{FF2B5EF4-FFF2-40B4-BE49-F238E27FC236}">
                <a16:creationId xmlns:a16="http://schemas.microsoft.com/office/drawing/2014/main" id="{A0E386AB-F3E5-9C2F-84A5-2A406C386C57}"/>
              </a:ext>
            </a:extLst>
          </p:cNvPr>
          <p:cNvSpPr/>
          <p:nvPr/>
        </p:nvSpPr>
        <p:spPr>
          <a:xfrm>
            <a:off x="9917669" y="5550685"/>
            <a:ext cx="128016" cy="137160"/>
          </a:xfrm>
          <a:prstGeom prst="ellipse">
            <a:avLst/>
          </a:prstGeom>
          <a:solidFill>
            <a:srgbClr val="FFFF00"/>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GB" b="1">
              <a:solidFill>
                <a:prstClr val="white"/>
              </a:solidFill>
              <a:latin typeface="Santander Text" panose="020B0504020201020104"/>
              <a:ea typeface="Calibri" panose="020F0502020204030204" pitchFamily="34" charset="0"/>
              <a:cs typeface="Calibri" panose="020F0502020204030204" pitchFamily="34" charset="0"/>
            </a:endParaRPr>
          </a:p>
        </p:txBody>
      </p:sp>
      <p:sp>
        <p:nvSpPr>
          <p:cNvPr id="18" name="Oval 17">
            <a:extLst>
              <a:ext uri="{FF2B5EF4-FFF2-40B4-BE49-F238E27FC236}">
                <a16:creationId xmlns:a16="http://schemas.microsoft.com/office/drawing/2014/main" id="{9FD021F6-421B-71FE-7D05-34A5E6ECE838}"/>
              </a:ext>
            </a:extLst>
          </p:cNvPr>
          <p:cNvSpPr/>
          <p:nvPr/>
        </p:nvSpPr>
        <p:spPr>
          <a:xfrm>
            <a:off x="9917669" y="5895128"/>
            <a:ext cx="128016" cy="137160"/>
          </a:xfrm>
          <a:prstGeom prst="ellipse">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GB" b="1" noProof="0">
              <a:solidFill>
                <a:prstClr val="white"/>
              </a:solidFill>
              <a:latin typeface="Santander Text" panose="020B0504020201020104"/>
              <a:ea typeface="Calibri" panose="020F0502020204030204" pitchFamily="34" charset="0"/>
              <a:cs typeface="Calibri" panose="020F0502020204030204" pitchFamily="34" charset="0"/>
            </a:endParaRPr>
          </a:p>
        </p:txBody>
      </p:sp>
      <p:sp>
        <p:nvSpPr>
          <p:cNvPr id="24" name="Oval 23">
            <a:extLst>
              <a:ext uri="{FF2B5EF4-FFF2-40B4-BE49-F238E27FC236}">
                <a16:creationId xmlns:a16="http://schemas.microsoft.com/office/drawing/2014/main" id="{24D6A242-3D03-2351-FC4D-74D4C698261D}"/>
              </a:ext>
            </a:extLst>
          </p:cNvPr>
          <p:cNvSpPr/>
          <p:nvPr/>
        </p:nvSpPr>
        <p:spPr>
          <a:xfrm>
            <a:off x="9917669" y="6505661"/>
            <a:ext cx="128016" cy="137160"/>
          </a:xfrm>
          <a:prstGeom prst="ellipse">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GB" b="1" noProof="0">
              <a:solidFill>
                <a:prstClr val="white"/>
              </a:solidFill>
              <a:latin typeface="Santander Text" panose="020B0504020201020104"/>
              <a:ea typeface="Calibri" panose="020F0502020204030204" pitchFamily="34" charset="0"/>
              <a:cs typeface="Calibri" panose="020F0502020204030204" pitchFamily="34" charset="0"/>
            </a:endParaRPr>
          </a:p>
        </p:txBody>
      </p:sp>
      <p:sp>
        <p:nvSpPr>
          <p:cNvPr id="25" name="Oval 24">
            <a:extLst>
              <a:ext uri="{FF2B5EF4-FFF2-40B4-BE49-F238E27FC236}">
                <a16:creationId xmlns:a16="http://schemas.microsoft.com/office/drawing/2014/main" id="{AB32624D-7979-0C9C-A116-19D1198EF2FC}"/>
              </a:ext>
            </a:extLst>
          </p:cNvPr>
          <p:cNvSpPr/>
          <p:nvPr/>
        </p:nvSpPr>
        <p:spPr>
          <a:xfrm>
            <a:off x="9917669" y="6181098"/>
            <a:ext cx="128016" cy="137160"/>
          </a:xfrm>
          <a:prstGeom prst="ellipse">
            <a:avLst/>
          </a:prstGeom>
          <a:solidFill>
            <a:srgbClr val="FFFF00"/>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GB" b="1">
              <a:solidFill>
                <a:prstClr val="white"/>
              </a:solidFill>
              <a:latin typeface="Santander Text" panose="020B0504020201020104"/>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153491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6F50C2-B8F9-C677-4FE8-712BED57513C}"/>
            </a:ext>
          </a:extLst>
        </p:cNvPr>
        <p:cNvGrpSpPr/>
        <p:nvPr/>
      </p:nvGrpSpPr>
      <p:grpSpPr>
        <a:xfrm>
          <a:off x="0" y="0"/>
          <a:ext cx="0" cy="0"/>
          <a:chOff x="0" y="0"/>
          <a:chExt cx="0" cy="0"/>
        </a:xfrm>
      </p:grpSpPr>
      <p:pic>
        <p:nvPicPr>
          <p:cNvPr id="63" name="Marcador de posición de imagen 62">
            <a:extLst>
              <a:ext uri="{FF2B5EF4-FFF2-40B4-BE49-F238E27FC236}">
                <a16:creationId xmlns:a16="http://schemas.microsoft.com/office/drawing/2014/main" id="{848332B7-E355-60AC-CA0D-D599E1535421}"/>
              </a:ext>
            </a:extLst>
          </p:cNvPr>
          <p:cNvPicPr>
            <a:picLocks noGrp="1" noRot="1" noChangeAspect="1" noMove="1" noResize="1" noEditPoints="1" noAdjustHandles="1" noChangeArrowheads="1" noChangeShapeType="1" noCrop="1"/>
          </p:cNvPicPr>
          <p:nvPr>
            <p:ph type="pic" sz="quarter" idx="4294967295"/>
          </p:nvPr>
        </p:nvPicPr>
        <p:blipFill>
          <a:blip r:embed="rId2">
            <a:extLst>
              <a:ext uri="{28A0092B-C50C-407E-A947-70E740481C1C}">
                <a14:useLocalDpi xmlns:a14="http://schemas.microsoft.com/office/drawing/2010/main" val="0"/>
              </a:ext>
            </a:extLst>
          </a:blip>
          <a:srcRect t="7841" b="7841"/>
          <a:stretch/>
        </p:blipFill>
        <p:spPr>
          <a:xfrm>
            <a:off x="0" y="0"/>
            <a:ext cx="12192000" cy="6858000"/>
          </a:xfrm>
        </p:spPr>
      </p:pic>
      <p:sp>
        <p:nvSpPr>
          <p:cNvPr id="43" name="Marcador de texto 42">
            <a:extLst>
              <a:ext uri="{FF2B5EF4-FFF2-40B4-BE49-F238E27FC236}">
                <a16:creationId xmlns:a16="http://schemas.microsoft.com/office/drawing/2014/main" id="{3A856572-0E3E-9547-2882-B8B26F401531}"/>
              </a:ext>
            </a:extLst>
          </p:cNvPr>
          <p:cNvSpPr>
            <a:spLocks noGrp="1"/>
          </p:cNvSpPr>
          <p:nvPr>
            <p:ph type="body" sz="quarter" idx="14"/>
          </p:nvPr>
        </p:nvSpPr>
        <p:spPr/>
        <p:txBody>
          <a:bodyPr/>
          <a:lstStyle/>
          <a:p>
            <a:r>
              <a:rPr lang="en-GB" noProof="0" dirty="0"/>
              <a:t>03</a:t>
            </a:r>
          </a:p>
        </p:txBody>
      </p:sp>
      <p:sp>
        <p:nvSpPr>
          <p:cNvPr id="4" name="Text Placeholder 3">
            <a:extLst>
              <a:ext uri="{FF2B5EF4-FFF2-40B4-BE49-F238E27FC236}">
                <a16:creationId xmlns:a16="http://schemas.microsoft.com/office/drawing/2014/main" id="{00BF280E-4A0D-E15A-3B8F-EE2CF337E934}"/>
              </a:ext>
            </a:extLst>
          </p:cNvPr>
          <p:cNvSpPr>
            <a:spLocks noGrp="1"/>
          </p:cNvSpPr>
          <p:nvPr>
            <p:ph type="body" sz="quarter" idx="17"/>
          </p:nvPr>
        </p:nvSpPr>
        <p:spPr/>
        <p:txBody>
          <a:bodyPr/>
          <a:lstStyle/>
          <a:p>
            <a:endParaRPr lang="en-GB" noProof="0"/>
          </a:p>
        </p:txBody>
      </p:sp>
      <p:sp>
        <p:nvSpPr>
          <p:cNvPr id="42" name="Título 41">
            <a:extLst>
              <a:ext uri="{FF2B5EF4-FFF2-40B4-BE49-F238E27FC236}">
                <a16:creationId xmlns:a16="http://schemas.microsoft.com/office/drawing/2014/main" id="{D774BC90-3E99-26C7-8324-FB5C2587FFB9}"/>
              </a:ext>
            </a:extLst>
          </p:cNvPr>
          <p:cNvSpPr>
            <a:spLocks noGrp="1"/>
          </p:cNvSpPr>
          <p:nvPr>
            <p:ph type="title"/>
          </p:nvPr>
        </p:nvSpPr>
        <p:spPr/>
        <p:txBody>
          <a:bodyPr/>
          <a:lstStyle/>
          <a:p>
            <a:r>
              <a:rPr lang="en-GB" dirty="0"/>
              <a:t>Architecture</a:t>
            </a:r>
            <a:endParaRPr lang="en-GB" noProof="0" dirty="0"/>
          </a:p>
        </p:txBody>
      </p:sp>
      <p:sp>
        <p:nvSpPr>
          <p:cNvPr id="5" name="Text Placeholder 4">
            <a:extLst>
              <a:ext uri="{FF2B5EF4-FFF2-40B4-BE49-F238E27FC236}">
                <a16:creationId xmlns:a16="http://schemas.microsoft.com/office/drawing/2014/main" id="{4538A4D5-E7D0-55E7-D13C-D9F3908F1B70}"/>
              </a:ext>
            </a:extLst>
          </p:cNvPr>
          <p:cNvSpPr>
            <a:spLocks noGrp="1"/>
          </p:cNvSpPr>
          <p:nvPr>
            <p:ph type="body" sz="quarter" idx="19"/>
          </p:nvPr>
        </p:nvSpPr>
        <p:spPr/>
        <p:txBody>
          <a:bodyPr/>
          <a:lstStyle/>
          <a:p>
            <a:endParaRPr lang="en-GB" noProof="0"/>
          </a:p>
        </p:txBody>
      </p:sp>
      <p:pic>
        <p:nvPicPr>
          <p:cNvPr id="7" name="NTT DATA Global Logo">
            <a:extLst>
              <a:ext uri="{FF2B5EF4-FFF2-40B4-BE49-F238E27FC236}">
                <a16:creationId xmlns:a16="http://schemas.microsoft.com/office/drawing/2014/main" id="{0C4BCFF2-CC6F-D3BF-ECA7-F9475E6E852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gray">
          <a:xfrm>
            <a:off x="3136422" y="5934318"/>
            <a:ext cx="1288971" cy="262800"/>
          </a:xfrm>
          <a:prstGeom prst="rect">
            <a:avLst/>
          </a:prstGeom>
        </p:spPr>
      </p:pic>
    </p:spTree>
    <p:extLst>
      <p:ext uri="{BB962C8B-B14F-4D97-AF65-F5344CB8AC3E}">
        <p14:creationId xmlns:p14="http://schemas.microsoft.com/office/powerpoint/2010/main" val="31838161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843C98-A207-79AA-436E-D8D11FD0C336}"/>
            </a:ext>
          </a:extLst>
        </p:cNvPr>
        <p:cNvGrpSpPr/>
        <p:nvPr/>
      </p:nvGrpSpPr>
      <p:grpSpPr>
        <a:xfrm>
          <a:off x="0" y="0"/>
          <a:ext cx="0" cy="0"/>
          <a:chOff x="0" y="0"/>
          <a:chExt cx="0" cy="0"/>
        </a:xfrm>
      </p:grpSpPr>
      <p:pic>
        <p:nvPicPr>
          <p:cNvPr id="11" name="Imagen 2" descr="NTT Data - Red Seguridad">
            <a:extLst>
              <a:ext uri="{FF2B5EF4-FFF2-40B4-BE49-F238E27FC236}">
                <a16:creationId xmlns:a16="http://schemas.microsoft.com/office/drawing/2014/main" id="{345FB28E-C4EB-2F2C-B461-87FA45EBA4B2}"/>
              </a:ext>
            </a:extLst>
          </p:cNvPr>
          <p:cNvPicPr>
            <a:picLocks noChangeAspect="1"/>
          </p:cNvPicPr>
          <p:nvPr/>
        </p:nvPicPr>
        <p:blipFill>
          <a:blip r:embed="rId2"/>
          <a:stretch>
            <a:fillRect/>
          </a:stretch>
        </p:blipFill>
        <p:spPr>
          <a:xfrm>
            <a:off x="10881313" y="-202669"/>
            <a:ext cx="1166998" cy="847775"/>
          </a:xfrm>
          <a:prstGeom prst="rect">
            <a:avLst/>
          </a:prstGeom>
        </p:spPr>
      </p:pic>
      <p:pic>
        <p:nvPicPr>
          <p:cNvPr id="12" name="Picture 11">
            <a:extLst>
              <a:ext uri="{FF2B5EF4-FFF2-40B4-BE49-F238E27FC236}">
                <a16:creationId xmlns:a16="http://schemas.microsoft.com/office/drawing/2014/main" id="{05C77BB8-3450-A8B7-6269-1D4E37FD49E6}"/>
              </a:ext>
            </a:extLst>
          </p:cNvPr>
          <p:cNvPicPr>
            <a:picLocks noChangeAspect="1"/>
          </p:cNvPicPr>
          <p:nvPr/>
        </p:nvPicPr>
        <p:blipFill>
          <a:blip r:embed="rId3"/>
          <a:srcRect r="22480"/>
          <a:stretch>
            <a:fillRect/>
          </a:stretch>
        </p:blipFill>
        <p:spPr>
          <a:xfrm>
            <a:off x="9081410" y="32335"/>
            <a:ext cx="1610515" cy="388493"/>
          </a:xfrm>
          <a:prstGeom prst="rect">
            <a:avLst/>
          </a:prstGeom>
        </p:spPr>
      </p:pic>
      <p:sp>
        <p:nvSpPr>
          <p:cNvPr id="17" name="Text Placeholder 3">
            <a:extLst>
              <a:ext uri="{FF2B5EF4-FFF2-40B4-BE49-F238E27FC236}">
                <a16:creationId xmlns:a16="http://schemas.microsoft.com/office/drawing/2014/main" id="{455E556C-A9A6-922A-5714-C755F4595F63}"/>
              </a:ext>
            </a:extLst>
          </p:cNvPr>
          <p:cNvSpPr txBox="1">
            <a:spLocks/>
          </p:cNvSpPr>
          <p:nvPr/>
        </p:nvSpPr>
        <p:spPr>
          <a:xfrm>
            <a:off x="354840" y="201563"/>
            <a:ext cx="6522555" cy="276999"/>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defRPr/>
            </a:pPr>
            <a:r>
              <a:rPr lang="en-GB" b="0" dirty="0">
                <a:solidFill>
                  <a:srgbClr val="F14949"/>
                </a:solidFill>
                <a:latin typeface="Santander Headline" panose="020B0504020201020104"/>
              </a:rPr>
              <a:t>Check TTI FMIS Multi-Agent System— </a:t>
            </a:r>
            <a:r>
              <a:rPr lang="en-GB" b="0" dirty="0" err="1">
                <a:solidFill>
                  <a:srgbClr val="F14949"/>
                </a:solidFill>
                <a:latin typeface="Santander Headline" panose="020B0504020201020104"/>
              </a:rPr>
              <a:t>LangGraph</a:t>
            </a:r>
            <a:r>
              <a:rPr lang="en-GB" b="0" dirty="0">
                <a:solidFill>
                  <a:srgbClr val="F14949"/>
                </a:solidFill>
                <a:latin typeface="Santander Headline" panose="020B0504020201020104"/>
              </a:rPr>
              <a:t> Architecture.</a:t>
            </a:r>
            <a:endParaRPr lang="en-GB" b="0" noProof="0" dirty="0">
              <a:solidFill>
                <a:srgbClr val="F14949"/>
              </a:solidFill>
              <a:latin typeface="Santander Headline" panose="020B0504020201020104"/>
            </a:endParaRPr>
          </a:p>
        </p:txBody>
      </p:sp>
      <p:pic>
        <p:nvPicPr>
          <p:cNvPr id="19" name="Picture 18" descr="A screenshot of a computer&#10;&#10;AI-generated content may be incorrect.">
            <a:extLst>
              <a:ext uri="{FF2B5EF4-FFF2-40B4-BE49-F238E27FC236}">
                <a16:creationId xmlns:a16="http://schemas.microsoft.com/office/drawing/2014/main" id="{E31CC36D-922F-0B6A-9711-52C7EA47A38A}"/>
              </a:ext>
            </a:extLst>
          </p:cNvPr>
          <p:cNvPicPr>
            <a:picLocks noChangeAspect="1"/>
          </p:cNvPicPr>
          <p:nvPr/>
        </p:nvPicPr>
        <p:blipFill>
          <a:blip r:embed="rId4">
            <a:extLst>
              <a:ext uri="{28A0092B-C50C-407E-A947-70E740481C1C}">
                <a14:useLocalDpi xmlns:a14="http://schemas.microsoft.com/office/drawing/2010/main" val="0"/>
              </a:ext>
            </a:extLst>
          </a:blip>
          <a:srcRect t="6556"/>
          <a:stretch>
            <a:fillRect/>
          </a:stretch>
        </p:blipFill>
        <p:spPr>
          <a:xfrm>
            <a:off x="0" y="541606"/>
            <a:ext cx="12192000" cy="6210575"/>
          </a:xfrm>
          <a:prstGeom prst="rect">
            <a:avLst/>
          </a:prstGeom>
        </p:spPr>
      </p:pic>
      <p:sp>
        <p:nvSpPr>
          <p:cNvPr id="22" name="TextBox 21">
            <a:extLst>
              <a:ext uri="{FF2B5EF4-FFF2-40B4-BE49-F238E27FC236}">
                <a16:creationId xmlns:a16="http://schemas.microsoft.com/office/drawing/2014/main" id="{8A239430-E9BA-5ED7-55D4-E6E5CAB3BF52}"/>
              </a:ext>
            </a:extLst>
          </p:cNvPr>
          <p:cNvSpPr txBox="1"/>
          <p:nvPr/>
        </p:nvSpPr>
        <p:spPr>
          <a:xfrm rot="1149828">
            <a:off x="10766862" y="575933"/>
            <a:ext cx="1395901" cy="276999"/>
          </a:xfrm>
          <a:prstGeom prst="rect">
            <a:avLst/>
          </a:prstGeom>
          <a:solidFill>
            <a:srgbClr val="FFFF00"/>
          </a:solidFill>
        </p:spPr>
        <p:txBody>
          <a:bodyPr wrap="square">
            <a:spAutoFit/>
          </a:bodyPr>
          <a:lstStyle/>
          <a:p>
            <a:r>
              <a:rPr lang="es-ES" sz="1200" b="1" dirty="0"/>
              <a:t>WORKING DRAFT</a:t>
            </a:r>
          </a:p>
        </p:txBody>
      </p:sp>
    </p:spTree>
    <p:extLst>
      <p:ext uri="{BB962C8B-B14F-4D97-AF65-F5344CB8AC3E}">
        <p14:creationId xmlns:p14="http://schemas.microsoft.com/office/powerpoint/2010/main" val="10995499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0C48D-59B3-F06A-B052-33D3CF0CBD0B}"/>
            </a:ext>
          </a:extLst>
        </p:cNvPr>
        <p:cNvGrpSpPr/>
        <p:nvPr/>
      </p:nvGrpSpPr>
      <p:grpSpPr>
        <a:xfrm>
          <a:off x="0" y="0"/>
          <a:ext cx="0" cy="0"/>
          <a:chOff x="0" y="0"/>
          <a:chExt cx="0" cy="0"/>
        </a:xfrm>
      </p:grpSpPr>
      <p:pic>
        <p:nvPicPr>
          <p:cNvPr id="4" name="Imagen 2" descr="NTT Data - Red Seguridad">
            <a:extLst>
              <a:ext uri="{FF2B5EF4-FFF2-40B4-BE49-F238E27FC236}">
                <a16:creationId xmlns:a16="http://schemas.microsoft.com/office/drawing/2014/main" id="{8F77346F-AC5B-115F-091E-3B9A8B49AABA}"/>
              </a:ext>
            </a:extLst>
          </p:cNvPr>
          <p:cNvPicPr>
            <a:picLocks noChangeAspect="1"/>
          </p:cNvPicPr>
          <p:nvPr/>
        </p:nvPicPr>
        <p:blipFill>
          <a:blip r:embed="rId2"/>
          <a:stretch>
            <a:fillRect/>
          </a:stretch>
        </p:blipFill>
        <p:spPr>
          <a:xfrm>
            <a:off x="10881313" y="-202669"/>
            <a:ext cx="1166998" cy="847775"/>
          </a:xfrm>
          <a:prstGeom prst="rect">
            <a:avLst/>
          </a:prstGeom>
        </p:spPr>
      </p:pic>
      <p:pic>
        <p:nvPicPr>
          <p:cNvPr id="6" name="Picture 5">
            <a:extLst>
              <a:ext uri="{FF2B5EF4-FFF2-40B4-BE49-F238E27FC236}">
                <a16:creationId xmlns:a16="http://schemas.microsoft.com/office/drawing/2014/main" id="{67CEF192-87B5-6AD6-11C2-D653129E04C6}"/>
              </a:ext>
            </a:extLst>
          </p:cNvPr>
          <p:cNvPicPr>
            <a:picLocks noChangeAspect="1"/>
          </p:cNvPicPr>
          <p:nvPr/>
        </p:nvPicPr>
        <p:blipFill>
          <a:blip r:embed="rId3"/>
          <a:srcRect r="22480"/>
          <a:stretch>
            <a:fillRect/>
          </a:stretch>
        </p:blipFill>
        <p:spPr>
          <a:xfrm>
            <a:off x="9081410" y="32335"/>
            <a:ext cx="1610515" cy="388493"/>
          </a:xfrm>
          <a:prstGeom prst="rect">
            <a:avLst/>
          </a:prstGeom>
        </p:spPr>
      </p:pic>
      <p:sp>
        <p:nvSpPr>
          <p:cNvPr id="11" name="Text Placeholder 3">
            <a:extLst>
              <a:ext uri="{FF2B5EF4-FFF2-40B4-BE49-F238E27FC236}">
                <a16:creationId xmlns:a16="http://schemas.microsoft.com/office/drawing/2014/main" id="{6EB43753-6FF2-8769-EF1D-EC01070E241E}"/>
              </a:ext>
            </a:extLst>
          </p:cNvPr>
          <p:cNvSpPr txBox="1">
            <a:spLocks/>
          </p:cNvSpPr>
          <p:nvPr/>
        </p:nvSpPr>
        <p:spPr>
          <a:xfrm>
            <a:off x="354840" y="201563"/>
            <a:ext cx="7168437" cy="276999"/>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defRPr/>
            </a:pPr>
            <a:r>
              <a:rPr lang="en-GB" b="0" dirty="0">
                <a:solidFill>
                  <a:srgbClr val="F14949"/>
                </a:solidFill>
                <a:latin typeface="Santander Headline" panose="020B0504020201020104"/>
              </a:rPr>
              <a:t>Check TTI FMIS Multi-Agent System — </a:t>
            </a:r>
            <a:r>
              <a:rPr lang="en-GB" b="0" dirty="0" err="1">
                <a:solidFill>
                  <a:srgbClr val="F14949"/>
                </a:solidFill>
                <a:latin typeface="Santander Headline" panose="020B0504020201020104"/>
              </a:rPr>
              <a:t>LangGraph</a:t>
            </a:r>
            <a:r>
              <a:rPr lang="en-GB" b="0" dirty="0">
                <a:solidFill>
                  <a:srgbClr val="F14949"/>
                </a:solidFill>
                <a:latin typeface="Santander Headline" panose="020B0504020201020104"/>
              </a:rPr>
              <a:t> Sequence Diagram.</a:t>
            </a:r>
            <a:endParaRPr lang="en-GB" b="0" noProof="0" dirty="0">
              <a:solidFill>
                <a:srgbClr val="F14949"/>
              </a:solidFill>
              <a:latin typeface="Santander Headline" panose="020B0504020201020104"/>
            </a:endParaRPr>
          </a:p>
        </p:txBody>
      </p:sp>
      <p:pic>
        <p:nvPicPr>
          <p:cNvPr id="15" name="Picture 14" descr="A screenshot of a diagram&#10;&#10;AI-generated content may be incorrect.">
            <a:extLst>
              <a:ext uri="{FF2B5EF4-FFF2-40B4-BE49-F238E27FC236}">
                <a16:creationId xmlns:a16="http://schemas.microsoft.com/office/drawing/2014/main" id="{24129E95-6FFB-E17D-2F20-37C6BB746B74}"/>
              </a:ext>
            </a:extLst>
          </p:cNvPr>
          <p:cNvPicPr>
            <a:picLocks noChangeAspect="1"/>
          </p:cNvPicPr>
          <p:nvPr/>
        </p:nvPicPr>
        <p:blipFill>
          <a:blip r:embed="rId4">
            <a:extLst>
              <a:ext uri="{28A0092B-C50C-407E-A947-70E740481C1C}">
                <a14:useLocalDpi xmlns:a14="http://schemas.microsoft.com/office/drawing/2010/main" val="0"/>
              </a:ext>
            </a:extLst>
          </a:blip>
          <a:srcRect t="4102"/>
          <a:stretch>
            <a:fillRect/>
          </a:stretch>
        </p:blipFill>
        <p:spPr>
          <a:xfrm>
            <a:off x="1406768" y="547888"/>
            <a:ext cx="9792071" cy="6310112"/>
          </a:xfrm>
          <a:prstGeom prst="rect">
            <a:avLst/>
          </a:prstGeom>
        </p:spPr>
      </p:pic>
      <p:sp>
        <p:nvSpPr>
          <p:cNvPr id="16" name="TextBox 15">
            <a:extLst>
              <a:ext uri="{FF2B5EF4-FFF2-40B4-BE49-F238E27FC236}">
                <a16:creationId xmlns:a16="http://schemas.microsoft.com/office/drawing/2014/main" id="{7340E49D-D062-E8F9-95C4-F0D21B7B6223}"/>
              </a:ext>
            </a:extLst>
          </p:cNvPr>
          <p:cNvSpPr txBox="1"/>
          <p:nvPr/>
        </p:nvSpPr>
        <p:spPr>
          <a:xfrm rot="1149828">
            <a:off x="10766862" y="575933"/>
            <a:ext cx="1395901" cy="276999"/>
          </a:xfrm>
          <a:prstGeom prst="rect">
            <a:avLst/>
          </a:prstGeom>
          <a:solidFill>
            <a:srgbClr val="FFFF00"/>
          </a:solidFill>
        </p:spPr>
        <p:txBody>
          <a:bodyPr wrap="square">
            <a:spAutoFit/>
          </a:bodyPr>
          <a:lstStyle/>
          <a:p>
            <a:r>
              <a:rPr lang="es-ES" sz="1200" b="1" dirty="0"/>
              <a:t>WORKING DRAFT</a:t>
            </a:r>
          </a:p>
        </p:txBody>
      </p:sp>
    </p:spTree>
    <p:extLst>
      <p:ext uri="{BB962C8B-B14F-4D97-AF65-F5344CB8AC3E}">
        <p14:creationId xmlns:p14="http://schemas.microsoft.com/office/powerpoint/2010/main" val="41774472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PSLIDESHAPELIBITEMID" val="48eec1f2-8316-409e-a320-88dd5130ee8b"/>
  <p:tag name="UPSLIDESHAPELIBITEMEDITIONDATE" val="638427322011731454"/>
  <p:tag name="UPSLIDESHAPELIBITEMLASTCREATOR" val="FilipePintodaCruz"/>
  <p:tag name="UPSLIDESHAPELIBITEMNAME" val="Confidential Label"/>
  <p:tag name="UPSLIDESTOREDSHAPELOCATION" val="c:\customization\libraries\Santander\Information Security Labels.lib"/>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xml><?xml version="1.0" encoding="utf-8"?>
<p:tagLst xmlns:a="http://schemas.openxmlformats.org/drawingml/2006/main" xmlns:r="http://schemas.openxmlformats.org/officeDocument/2006/relationships" xmlns:p="http://schemas.openxmlformats.org/presentationml/2006/main">
  <p:tag name="UPSLIDESHAPELIBITEMID" val="48eec1f2-8316-409e-a320-88dd5130ee8b"/>
  <p:tag name="UPSLIDESHAPELIBITEMEDITIONDATE" val="638427322011731454"/>
  <p:tag name="UPSLIDESHAPELIBITEMLASTCREATOR" val="FilipePintodaCruz"/>
  <p:tag name="UPSLIDESHAPELIBITEMNAME" val="Confidential Label"/>
  <p:tag name="UPSLIDESTOREDSHAPELOCATION" val="c:\customization\libraries\Santander\Information Security Labels.lib"/>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xml><?xml version="1.0" encoding="utf-8"?>
<p:tagLst xmlns:a="http://schemas.openxmlformats.org/drawingml/2006/main" xmlns:r="http://schemas.openxmlformats.org/officeDocument/2006/relationships" xmlns:p="http://schemas.openxmlformats.org/presentationml/2006/main">
  <p:tag name="UPSLIDESHAPELIBITEMID" val="48eec1f2-8316-409e-a320-88dd5130ee8b"/>
  <p:tag name="UPSLIDESHAPELIBITEMEDITIONDATE" val="638427322011731454"/>
  <p:tag name="UPSLIDESHAPELIBITEMLASTCREATOR" val="FilipePintodaCruz"/>
  <p:tag name="UPSLIDESHAPELIBITEMNAME" val="Confidential Label"/>
  <p:tag name="UPSLIDESTOREDSHAPELOCATION" val="c:\customization\libraries\Santander\Information Security Labels.lib"/>
</p:tagLst>
</file>

<file path=ppt/tags/tag4.xml><?xml version="1.0" encoding="utf-8"?>
<p:tagLst xmlns:a="http://schemas.openxmlformats.org/drawingml/2006/main" xmlns:r="http://schemas.openxmlformats.org/officeDocument/2006/relationships" xmlns:p="http://schemas.openxmlformats.org/presentationml/2006/main">
  <p:tag name="UPSLIDESHAPELIBITEMID" val="48eec1f2-8316-409e-a320-88dd5130ee8b"/>
  <p:tag name="UPSLIDESHAPELIBITEMEDITIONDATE" val="638427322011731454"/>
  <p:tag name="UPSLIDESHAPELIBITEMLASTCREATOR" val="FilipePintodaCruz"/>
  <p:tag name="UPSLIDESHAPELIBITEMNAME" val="Confidential Label"/>
  <p:tag name="UPSLIDESTOREDSHAPELOCATION" val="c:\customization\libraries\Santander\Information Security Labels.lib"/>
</p:tagLst>
</file>

<file path=ppt/tags/tag5.xml><?xml version="1.0" encoding="utf-8"?>
<p:tagLst xmlns:a="http://schemas.openxmlformats.org/drawingml/2006/main" xmlns:r="http://schemas.openxmlformats.org/officeDocument/2006/relationships" xmlns:p="http://schemas.openxmlformats.org/presentationml/2006/main">
  <p:tag name="UPSLIDESHAPELIBITEMID" val="48eec1f2-8316-409e-a320-88dd5130ee8b"/>
  <p:tag name="UPSLIDESHAPELIBITEMEDITIONDATE" val="638427322011731454"/>
  <p:tag name="UPSLIDESHAPELIBITEMLASTCREATOR" val="FilipePintodaCruz"/>
  <p:tag name="UPSLIDESHAPELIBITEMNAME" val="Confidential Label"/>
  <p:tag name="UPSLIDESTOREDSHAPELOCATION" val="c:\customization\libraries\Santander\Information Security Labels.lib"/>
</p:tagLst>
</file>

<file path=ppt/tags/tag6.xml><?xml version="1.0" encoding="utf-8"?>
<p:tagLst xmlns:a="http://schemas.openxmlformats.org/drawingml/2006/main" xmlns:r="http://schemas.openxmlformats.org/officeDocument/2006/relationships" xmlns:p="http://schemas.openxmlformats.org/presentationml/2006/main">
  <p:tag name="UPSLIDESHAPELIBITEMID" val="48eec1f2-8316-409e-a320-88dd5130ee8b"/>
  <p:tag name="UPSLIDESHAPELIBITEMEDITIONDATE" val="638427322011731454"/>
  <p:tag name="UPSLIDESHAPELIBITEMLASTCREATOR" val="FilipePintodaCruz"/>
  <p:tag name="UPSLIDESHAPELIBITEMNAME" val="Confidential Label"/>
  <p:tag name="UPSLIDESTOREDSHAPELOCATION" val="c:\customization\libraries\Santander\Information Security Labels.lib"/>
</p:tagLst>
</file>

<file path=ppt/tags/tag7.xml><?xml version="1.0" encoding="utf-8"?>
<p:tagLst xmlns:a="http://schemas.openxmlformats.org/drawingml/2006/main" xmlns:r="http://schemas.openxmlformats.org/officeDocument/2006/relationships" xmlns:p="http://schemas.openxmlformats.org/presentationml/2006/main">
  <p:tag name="UPSLIDESHAPELIBITEMID" val="48eec1f2-8316-409e-a320-88dd5130ee8b"/>
  <p:tag name="UPSLIDESHAPELIBITEMEDITIONDATE" val="638427322011731454"/>
  <p:tag name="UPSLIDESHAPELIBITEMLASTCREATOR" val="FilipePintodaCruz"/>
  <p:tag name="UPSLIDESHAPELIBITEMNAME" val="Confidential Label"/>
  <p:tag name="UPSLIDESTOREDSHAPELOCATION" val="c:\customization\libraries\Santander\Information Security Labels.lib"/>
</p:tagLst>
</file>

<file path=ppt/tags/tag8.xml><?xml version="1.0" encoding="utf-8"?>
<p:tagLst xmlns:a="http://schemas.openxmlformats.org/drawingml/2006/main" xmlns:r="http://schemas.openxmlformats.org/officeDocument/2006/relationships" xmlns:p="http://schemas.openxmlformats.org/presentationml/2006/main">
  <p:tag name="UPSLIDESHAPELIBITEMID" val="48eec1f2-8316-409e-a320-88dd5130ee8b"/>
  <p:tag name="UPSLIDESHAPELIBITEMEDITIONDATE" val="638427322011731454"/>
  <p:tag name="UPSLIDESHAPELIBITEMLASTCREATOR" val="FilipePintodaCruz"/>
  <p:tag name="UPSLIDESHAPELIBITEMNAME" val="Confidential Label"/>
  <p:tag name="UPSLIDESTOREDSHAPELOCATION" val="c:\customization\libraries\Santander\Information Security Labels.lib"/>
</p:tagLst>
</file>

<file path=ppt/tags/tag9.xml><?xml version="1.0" encoding="utf-8"?>
<p:tagLst xmlns:a="http://schemas.openxmlformats.org/drawingml/2006/main" xmlns:r="http://schemas.openxmlformats.org/officeDocument/2006/relationships" xmlns:p="http://schemas.openxmlformats.org/presentationml/2006/main">
  <p:tag name="UPSLIDESHAPELIBITEMID" val="48eec1f2-8316-409e-a320-88dd5130ee8b"/>
  <p:tag name="UPSLIDESHAPELIBITEMEDITIONDATE" val="638427322011731454"/>
  <p:tag name="UPSLIDESHAPELIBITEMLASTCREATOR" val="FilipePintodaCruz"/>
  <p:tag name="UPSLIDESHAPELIBITEMNAME" val="Confidential Label"/>
  <p:tag name="UPSLIDESTOREDSHAPELOCATION" val="c:\customization\libraries\Santander\Information Security Labels.lib"/>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Tema de Office">
  <a:themeElements>
    <a:clrScheme name="Naranja rojo">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2013 - Tema de 2022">
  <a:themeElements>
    <a:clrScheme name="Custom 30">
      <a:dk1>
        <a:srgbClr val="6F7779"/>
      </a:dk1>
      <a:lt1>
        <a:srgbClr val="FFFFFF"/>
      </a:lt1>
      <a:dk2>
        <a:srgbClr val="000000"/>
      </a:dk2>
      <a:lt2>
        <a:srgbClr val="C5C8C9"/>
      </a:lt2>
      <a:accent1>
        <a:srgbClr val="184E62"/>
      </a:accent1>
      <a:accent2>
        <a:srgbClr val="23779A"/>
      </a:accent2>
      <a:accent3>
        <a:srgbClr val="9BC3D3"/>
      </a:accent3>
      <a:accent4>
        <a:srgbClr val="C3DEE7"/>
      </a:accent4>
      <a:accent5>
        <a:srgbClr val="CCB8A3"/>
      </a:accent5>
      <a:accent6>
        <a:srgbClr val="9F9084"/>
      </a:accent6>
      <a:hlink>
        <a:srgbClr val="3366FF"/>
      </a:hlink>
      <a:folHlink>
        <a:srgbClr val="9E3667"/>
      </a:folHlink>
    </a:clrScheme>
    <a:fontScheme name="Personalizado 40">
      <a:majorFont>
        <a:latin typeface="Santander Text"/>
        <a:ea typeface=""/>
        <a:cs typeface=""/>
      </a:majorFont>
      <a:minorFont>
        <a:latin typeface="Santander Text Light"/>
        <a:ea typeface=""/>
        <a:cs typeface=""/>
      </a:minorFont>
    </a:fontScheme>
    <a:fmtScheme name="Office 2013 - Tema de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C0000"/>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custClrLst>
    <a:custClr name="DARK BURGUNDY">
      <a:srgbClr val="60001D"/>
    </a:custClr>
    <a:custClr name="LIGHT BURGUNDY">
      <a:srgbClr val="8C0014"/>
    </a:custClr>
    <a:custClr name="SANTANDER RED">
      <a:srgbClr val="EC0000"/>
    </a:custClr>
    <a:custClr name="SANTANDER DARK RED">
      <a:srgbClr val="BA010A"/>
    </a:custClr>
    <a:custClr name="DARK SAND">
      <a:srgbClr val="CCB8A3"/>
    </a:custClr>
    <a:custClr name="MEDIUM SAND">
      <a:srgbClr val="DBCCBD"/>
    </a:custClr>
    <a:custClr name="SAND">
      <a:srgbClr val="E6DCD2"/>
    </a:custClr>
    <a:custClr name="LIGHT SAND">
      <a:srgbClr val="F8F5F2"/>
    </a:custClr>
    <a:custClr name="DARK SKY">
      <a:srgbClr val="184E62"/>
    </a:custClr>
    <a:custClr name="MEDIUM SKY">
      <a:srgbClr val="23779A"/>
    </a:custClr>
    <a:custClr name="SKY">
      <a:srgbClr val="9BC3D3"/>
    </a:custClr>
    <a:custClr name="LIGHT SKY">
      <a:srgbClr val="C3DEE7"/>
    </a:custClr>
    <a:custClr name="ULTRA LIGHT SKY">
      <a:srgbClr val="DEEDF2"/>
    </a:custClr>
    <a:custClr name="DARK BLUE">
      <a:srgbClr val="002DB6"/>
    </a:custClr>
    <a:custClr name="MEDIUM BLUE">
      <a:srgbClr val="3366FF"/>
    </a:custClr>
    <a:custClr name="LIGHT BLUE">
      <a:srgbClr val="99B3FF"/>
    </a:custClr>
  </a:custClrLst>
  <a:extLst>
    <a:ext uri="{05A4C25C-085E-4340-85A3-A5531E510DB2}">
      <thm15:themeFamily xmlns:thm15="http://schemas.microsoft.com/office/thememl/2012/main" name="Office 2013 - 2022 Theme" id="{62F939B6-93AF-4DB8-9C6B-D6C7DFDC589F}" vid="{4A3C46E8-61CC-4603-A589-7422A47A8E4A}"/>
    </a:ext>
  </a:extLst>
</a:theme>
</file>

<file path=ppt/theme/theme4.xml><?xml version="1.0" encoding="utf-8"?>
<a:theme xmlns:a="http://schemas.openxmlformats.org/drawingml/2006/main" name="1_Light Body Slides">
  <a:themeElements>
    <a:clrScheme name="NTT DATA 2024">
      <a:dk1>
        <a:srgbClr val="FFFFFF"/>
      </a:dk1>
      <a:lt1>
        <a:srgbClr val="070F26"/>
      </a:lt1>
      <a:dk2>
        <a:srgbClr val="2E404D"/>
      </a:dk2>
      <a:lt2>
        <a:srgbClr val="0072BC"/>
      </a:lt2>
      <a:accent1>
        <a:srgbClr val="19A3FC"/>
      </a:accent1>
      <a:accent2>
        <a:srgbClr val="00DFED"/>
      </a:accent2>
      <a:accent3>
        <a:srgbClr val="00CB5D"/>
      </a:accent3>
      <a:accent4>
        <a:srgbClr val="FFC400"/>
      </a:accent4>
      <a:accent5>
        <a:srgbClr val="FF7A00"/>
      </a:accent5>
      <a:accent6>
        <a:srgbClr val="949494"/>
      </a:accent6>
      <a:hlink>
        <a:srgbClr val="0072BC"/>
      </a:hlink>
      <a:folHlink>
        <a:srgbClr val="00DFED"/>
      </a:folHlink>
    </a:clrScheme>
    <a:fontScheme name="NTT DATA Fonts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9525">
          <a:solidFill>
            <a:schemeClr val="tx1">
              <a:lumMod val="50000"/>
            </a:schemeClr>
          </a:solidFill>
        </a:ln>
      </a:spPr>
      <a:bodyPr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ln w="9525" cap="rnd">
          <a:solidFill>
            <a:schemeClr val="tx1">
              <a:lumMod val="50000"/>
            </a:schemeClr>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dirty="0" err="1" smtClean="0">
            <a:solidFill>
              <a:schemeClr val="tx2"/>
            </a:solidFill>
          </a:defRPr>
        </a:defPPr>
      </a:lstStyle>
    </a:txDef>
  </a:objectDefaults>
  <a:extraClrSchemeLst/>
  <a:custClrLst>
    <a:custClr name="A-Smart Navy">
      <a:srgbClr val="070F26"/>
    </a:custClr>
    <a:custClr name="B-White">
      <a:srgbClr val="FFFFFF"/>
    </a:custClr>
    <a:custClr name="C-Future Blue 150">
      <a:srgbClr val="005B96"/>
    </a:custClr>
    <a:custClr name="D-Future Blue">
      <a:srgbClr val="0072BC"/>
    </a:custClr>
    <a:custClr name="E-Future Blue 50">
      <a:srgbClr val="19A3FC"/>
    </a:custClr>
    <a:custClr name="F-Turquoise 100">
      <a:srgbClr val="009AA4"/>
    </a:custClr>
    <a:custClr name="G-Turquoise">
      <a:srgbClr val="00DFED"/>
    </a:custClr>
    <a:custClr name="H-Turquoise 50">
      <a:srgbClr val="7BF7FF"/>
    </a:custClr>
    <a:custClr name="I-Green 150">
      <a:srgbClr val="068941"/>
    </a:custClr>
    <a:custClr name="J-Green">
      <a:srgbClr val="00CB5D"/>
    </a:custClr>
    <a:custClr name="K-Green 50">
      <a:srgbClr val="38F990"/>
    </a:custClr>
    <a:custClr name="L-Yellow">
      <a:srgbClr val="FFC400"/>
    </a:custClr>
    <a:custClr name="M-Yellow 50">
      <a:srgbClr val="FFEDB2"/>
    </a:custClr>
    <a:custClr name="N-Yellow 100">
      <a:srgbClr val="FFDB66"/>
    </a:custClr>
    <a:custClr name="O-Orange 150">
      <a:srgbClr val="B22000"/>
    </a:custClr>
    <a:custClr name="P-Orange 100">
      <a:srgbClr val="E42600"/>
    </a:custClr>
    <a:custClr name="Q-Orange">
      <a:srgbClr val="FF7A00"/>
    </a:custClr>
    <a:custClr name="R-Grey 100">
      <a:srgbClr val="949494"/>
    </a:custClr>
    <a:custClr name="S-Grey 50">
      <a:srgbClr val="E8E8E8"/>
    </a:custClr>
    <a:custClr name="T-Black">
      <a:srgbClr val="000000"/>
    </a:custClr>
    <a:custClr name="U-Text Grey">
      <a:srgbClr val="2E404D"/>
    </a:custClr>
  </a:custClrLst>
  <a:extLst>
    <a:ext uri="{05A4C25C-085E-4340-85A3-A5531E510DB2}">
      <thm15:themeFamily xmlns:thm15="http://schemas.microsoft.com/office/thememl/2012/main" name="NTT DATA Inc PowerPoint Template (23-11-21).potx" id="{D3E1D1C2-B5EE-4B35-8BBF-C4A592713C72}" vid="{D16543F1-DD13-435B-B8AC-D7A23A05C60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4FBF2527E9B9D4AA45731BE02CC682F" ma:contentTypeVersion="3" ma:contentTypeDescription="Create a new document." ma:contentTypeScope="" ma:versionID="d6f6520f08064e1c1db71ab57bf40ce7">
  <xsd:schema xmlns:xsd="http://www.w3.org/2001/XMLSchema" xmlns:xs="http://www.w3.org/2001/XMLSchema" xmlns:p="http://schemas.microsoft.com/office/2006/metadata/properties" xmlns:ns2="b60ec818-ec84-4908-b58f-e29e7ebf6b5b" targetNamespace="http://schemas.microsoft.com/office/2006/metadata/properties" ma:root="true" ma:fieldsID="6b635ee35d19194db186e648d4395c94" ns2:_="">
    <xsd:import namespace="b60ec818-ec84-4908-b58f-e29e7ebf6b5b"/>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0ec818-ec84-4908-b58f-e29e7ebf6b5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A838247-CE11-4F09-A831-B2EEF9014EE0}">
  <ds:schemaRefs>
    <ds:schemaRef ds:uri="http://purl.org/dc/elements/1.1/"/>
    <ds:schemaRef ds:uri="b60ec818-ec84-4908-b58f-e29e7ebf6b5b"/>
    <ds:schemaRef ds:uri="http://schemas.microsoft.com/office/2006/documentManagement/types"/>
    <ds:schemaRef ds:uri="http://schemas.openxmlformats.org/package/2006/metadata/core-properties"/>
    <ds:schemaRef ds:uri="http://purl.org/dc/dcmitype/"/>
    <ds:schemaRef ds:uri="http://schemas.microsoft.com/office/2006/metadata/properties"/>
    <ds:schemaRef ds:uri="http://schemas.microsoft.com/office/infopath/2007/PartnerControls"/>
    <ds:schemaRef ds:uri="http://www.w3.org/XML/1998/namespace"/>
    <ds:schemaRef ds:uri="http://purl.org/dc/terms/"/>
  </ds:schemaRefs>
</ds:datastoreItem>
</file>

<file path=customXml/itemProps2.xml><?xml version="1.0" encoding="utf-8"?>
<ds:datastoreItem xmlns:ds="http://schemas.openxmlformats.org/officeDocument/2006/customXml" ds:itemID="{762BCC98-6D0F-4415-A367-009983E2BAA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60ec818-ec84-4908-b58f-e29e7ebf6b5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37CCEDB-C361-44FC-A144-BBFF8C7DFC2C}">
  <ds:schemaRefs>
    <ds:schemaRef ds:uri="http://schemas.microsoft.com/sharepoint/v3/contenttype/forms"/>
  </ds:schemaRefs>
</ds:datastoreItem>
</file>

<file path=docMetadata/LabelInfo.xml><?xml version="1.0" encoding="utf-8"?>
<clbl:labelList xmlns:clbl="http://schemas.microsoft.com/office/2020/mipLabelMetadata">
  <clbl:label id="{3048dc87-43f0-4100-9acb-ae1971c79395}" enabled="0" method="" siteId="{3048dc87-43f0-4100-9acb-ae1971c79395}" removed="1"/>
</clbl:labelList>
</file>

<file path=docProps/app.xml><?xml version="1.0" encoding="utf-8"?>
<Properties xmlns="http://schemas.openxmlformats.org/officeDocument/2006/extended-properties" xmlns:vt="http://schemas.openxmlformats.org/officeDocument/2006/docPropsVTypes">
  <TotalTime>620</TotalTime>
  <Words>6519</Words>
  <Application>Microsoft Office PowerPoint</Application>
  <PresentationFormat>Widescreen</PresentationFormat>
  <Paragraphs>722</Paragraphs>
  <Slides>36</Slides>
  <Notes>15</Notes>
  <HiddenSlides>4</HiddenSlides>
  <MMClips>0</MMClips>
  <ScaleCrop>false</ScaleCrop>
  <HeadingPairs>
    <vt:vector size="6" baseType="variant">
      <vt:variant>
        <vt:lpstr>Fonts Used</vt:lpstr>
      </vt:variant>
      <vt:variant>
        <vt:i4>16</vt:i4>
      </vt:variant>
      <vt:variant>
        <vt:lpstr>Theme</vt:lpstr>
      </vt:variant>
      <vt:variant>
        <vt:i4>4</vt:i4>
      </vt:variant>
      <vt:variant>
        <vt:lpstr>Slide Titles</vt:lpstr>
      </vt:variant>
      <vt:variant>
        <vt:i4>36</vt:i4>
      </vt:variant>
    </vt:vector>
  </HeadingPairs>
  <TitlesOfParts>
    <vt:vector size="56" baseType="lpstr">
      <vt:lpstr>Aptos</vt:lpstr>
      <vt:lpstr>Aptos Display</vt:lpstr>
      <vt:lpstr>Arial</vt:lpstr>
      <vt:lpstr>Calibri</vt:lpstr>
      <vt:lpstr>Century Gothic</vt:lpstr>
      <vt:lpstr>Courier New</vt:lpstr>
      <vt:lpstr>Dubai Medium</vt:lpstr>
      <vt:lpstr>Georgia</vt:lpstr>
      <vt:lpstr>Santander Headline</vt:lpstr>
      <vt:lpstr>Santander Headline Light</vt:lpstr>
      <vt:lpstr>Santander Micro Text Light</vt:lpstr>
      <vt:lpstr>Santander Text</vt:lpstr>
      <vt:lpstr>Santander Text Light</vt:lpstr>
      <vt:lpstr>Times New Roman</vt:lpstr>
      <vt:lpstr>Ubuntu</vt:lpstr>
      <vt:lpstr>Wingdings</vt:lpstr>
      <vt:lpstr>Office Theme</vt:lpstr>
      <vt:lpstr>Tema de Office</vt:lpstr>
      <vt:lpstr>Office 2013 - Tema de 2022</vt:lpstr>
      <vt:lpstr>1_Light Body Slides</vt:lpstr>
      <vt:lpstr> BANCO SANTANDER Corporate &amp; Investment Banking  SteerCo SCIB Agentics for Finance FMIS &amp; SANART</vt:lpstr>
      <vt:lpstr>PowerPoint Presentation</vt:lpstr>
      <vt:lpstr>Context</vt:lpstr>
      <vt:lpstr>PowerPoint Presentation</vt:lpstr>
      <vt:lpstr>Status</vt:lpstr>
      <vt:lpstr>PowerPoint Presentation</vt:lpstr>
      <vt:lpstr>Architecture</vt:lpstr>
      <vt:lpstr>PowerPoint Presentation</vt:lpstr>
      <vt:lpstr>PowerPoint Presentation</vt:lpstr>
      <vt:lpstr>Annex</vt:lpstr>
      <vt:lpstr>FMIS Use case</vt:lpstr>
      <vt:lpstr>PowerPoint Presentation</vt:lpstr>
      <vt:lpstr>PowerPoint Presentation</vt:lpstr>
      <vt:lpstr> The implementation of agents is primarily planned for the Common data layers where the TTIs are calculated. The value proposition includes positioning the agent as a monitoring tool for TTI calculations and implementing a chatbot capable of retrieving information from the decision tree using natural languag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ANART Use case</vt:lpstr>
      <vt:lpstr>PowerPoint Presentation</vt:lpstr>
      <vt:lpstr>PowerPoint Presentation</vt:lpstr>
      <vt:lpstr>PowerPoint Presentation</vt:lpstr>
      <vt:lpstr>Agentic Architecture Over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lvaro Tejada Seoane</dc:creator>
  <cp:lastModifiedBy>Angel Lopez Pazos</cp:lastModifiedBy>
  <cp:revision>2</cp:revision>
  <dcterms:created xsi:type="dcterms:W3CDTF">2025-12-02T12:39:42Z</dcterms:created>
  <dcterms:modified xsi:type="dcterms:W3CDTF">2025-12-03T10:05: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FBF2527E9B9D4AA45731BE02CC682F</vt:lpwstr>
  </property>
</Properties>
</file>